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8.xml" ContentType="application/vnd.openxmlformats-officedocument.theme+xml"/>
  <Override PartName="/ppt/tags/tag216.xml" ContentType="application/vnd.openxmlformats-officedocument.presentationml.tags+xml"/>
  <Override PartName="/ppt/notesSlides/notesSlide1.xml" ContentType="application/vnd.openxmlformats-officedocument.presentationml.notesSlide+xml"/>
  <Override PartName="/ppt/tags/tag2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5.xml" ContentType="application/vnd.openxmlformats-officedocument.presentationml.notesSlide+xml"/>
  <Override PartName="/ppt/tags/tag2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9.xml" ContentType="application/vnd.openxmlformats-officedocument.presentationml.tags+xml"/>
  <Override PartName="/ppt/notesSlides/notesSlide8.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9.xml" ContentType="application/vnd.openxmlformats-officedocument.presentationml.notesSlide+xml"/>
  <Override PartName="/ppt/tags/tag22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96" r:id="rId4"/>
    <p:sldMasterId id="2147483708" r:id="rId5"/>
    <p:sldMasterId id="2147483720" r:id="rId6"/>
    <p:sldMasterId id="2147483731" r:id="rId7"/>
  </p:sldMasterIdLst>
  <p:notesMasterIdLst>
    <p:notesMasterId r:id="rId19"/>
  </p:notesMasterIdLst>
  <p:sldIdLst>
    <p:sldId id="984" r:id="rId8"/>
    <p:sldId id="1013" r:id="rId9"/>
    <p:sldId id="986" r:id="rId10"/>
    <p:sldId id="1007" r:id="rId11"/>
    <p:sldId id="995" r:id="rId12"/>
    <p:sldId id="1008" r:id="rId13"/>
    <p:sldId id="1009" r:id="rId14"/>
    <p:sldId id="1010" r:id="rId15"/>
    <p:sldId id="1014" r:id="rId16"/>
    <p:sldId id="1002" r:id="rId17"/>
    <p:sldId id="101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66"/>
    <a:srgbClr val="F62E3C"/>
    <a:srgbClr val="7F0000"/>
    <a:srgbClr val="005D83"/>
    <a:srgbClr val="008DC2"/>
    <a:srgbClr val="F8AD7A"/>
    <a:srgbClr val="D9D9D9"/>
    <a:srgbClr val="DA082B"/>
    <a:srgbClr val="C6560A"/>
    <a:srgbClr val="CE330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64544" autoAdjust="0"/>
  </p:normalViewPr>
  <p:slideViewPr>
    <p:cSldViewPr snapToGrid="0">
      <p:cViewPr varScale="1">
        <p:scale>
          <a:sx n="83" d="100"/>
          <a:sy n="83" d="100"/>
        </p:scale>
        <p:origin x="61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57062146892726E-2"/>
          <c:y val="0.10337669924180652"/>
          <c:w val="0.86440677966101698"/>
          <c:h val="0.59119010819165285"/>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4-8B2D-447F-84F7-61EBC1530658}"/>
              </c:ext>
            </c:extLst>
          </c:dPt>
          <c:dPt>
            <c:idx val="1"/>
            <c:bubble3D val="0"/>
            <c:spPr>
              <a:solidFill>
                <a:schemeClr val="accent2"/>
              </a:solidFill>
              <a:ln>
                <a:noFill/>
              </a:ln>
              <a:effectLst/>
            </c:spPr>
            <c:extLst>
              <c:ext xmlns:c16="http://schemas.microsoft.com/office/drawing/2014/chart" uri="{C3380CC4-5D6E-409C-BE32-E72D297353CC}">
                <c16:uniqueId val="{00000005-8B2D-447F-84F7-61EBC1530658}"/>
              </c:ext>
            </c:extLst>
          </c:dPt>
          <c:dPt>
            <c:idx val="2"/>
            <c:bubble3D val="0"/>
            <c:spPr>
              <a:solidFill>
                <a:schemeClr val="accent3"/>
              </a:solidFill>
              <a:ln>
                <a:noFill/>
              </a:ln>
              <a:effectLst/>
            </c:spPr>
            <c:extLst>
              <c:ext xmlns:c16="http://schemas.microsoft.com/office/drawing/2014/chart" uri="{C3380CC4-5D6E-409C-BE32-E72D297353CC}">
                <c16:uniqueId val="{00000001-B8A9-48F8-8784-F2347166192A}"/>
              </c:ext>
            </c:extLst>
          </c:dPt>
          <c:dPt>
            <c:idx val="3"/>
            <c:bubble3D val="0"/>
            <c:spPr>
              <a:solidFill>
                <a:schemeClr val="accent4"/>
              </a:solidFill>
              <a:ln>
                <a:noFill/>
              </a:ln>
              <a:effectLst/>
            </c:spPr>
            <c:extLst>
              <c:ext xmlns:c16="http://schemas.microsoft.com/office/drawing/2014/chart" uri="{C3380CC4-5D6E-409C-BE32-E72D297353CC}">
                <c16:uniqueId val="{00000002-B8A9-48F8-8784-F2347166192A}"/>
              </c:ext>
            </c:extLst>
          </c:dPt>
          <c:dPt>
            <c:idx val="4"/>
            <c:bubble3D val="0"/>
            <c:spPr>
              <a:solidFill>
                <a:schemeClr val="accent5"/>
              </a:solidFill>
              <a:ln>
                <a:noFill/>
              </a:ln>
              <a:effectLst/>
            </c:spPr>
            <c:extLst>
              <c:ext xmlns:c16="http://schemas.microsoft.com/office/drawing/2014/chart" uri="{C3380CC4-5D6E-409C-BE32-E72D297353CC}">
                <c16:uniqueId val="{00000003-B8A9-48F8-8784-F2347166192A}"/>
              </c:ext>
            </c:extLst>
          </c:dPt>
          <c:dPt>
            <c:idx val="5"/>
            <c:bubble3D val="0"/>
            <c:spPr>
              <a:solidFill>
                <a:schemeClr val="accent6"/>
              </a:solidFill>
              <a:ln>
                <a:noFill/>
              </a:ln>
              <a:effectLst/>
            </c:spPr>
            <c:extLst>
              <c:ext xmlns:c16="http://schemas.microsoft.com/office/drawing/2014/chart" uri="{C3380CC4-5D6E-409C-BE32-E72D297353CC}">
                <c16:uniqueId val="{00000004-B8A9-48F8-8784-F2347166192A}"/>
              </c:ext>
            </c:extLst>
          </c:dPt>
          <c:dLbls>
            <c:dLbl>
              <c:idx val="1"/>
              <c:layout>
                <c:manualLayout>
                  <c:x val="7.3040727078456366E-2"/>
                  <c:y val="9.478733645645041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B2D-447F-84F7-61EBC1530658}"/>
                </c:ext>
              </c:extLst>
            </c:dLbl>
            <c:dLbl>
              <c:idx val="3"/>
              <c:layout>
                <c:manualLayout>
                  <c:x val="6.1398514383481949E-2"/>
                  <c:y val="8.319819433744338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8A9-48F8-8784-F2347166192A}"/>
                </c:ext>
              </c:extLst>
            </c:dLbl>
            <c:dLbl>
              <c:idx val="4"/>
              <c:layout>
                <c:manualLayout>
                  <c:x val="6.6725267670487406E-2"/>
                  <c:y val="6.944250318410319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A9-48F8-8784-F2347166192A}"/>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Brazil</c:v>
                </c:pt>
                <c:pt idx="1">
                  <c:v>Peru</c:v>
                </c:pt>
                <c:pt idx="2">
                  <c:v>Nicaragua</c:v>
                </c:pt>
                <c:pt idx="3">
                  <c:v>Colombia</c:v>
                </c:pt>
                <c:pt idx="4">
                  <c:v>Paraguay</c:v>
                </c:pt>
              </c:strCache>
            </c:strRef>
          </c:cat>
          <c:val>
            <c:numRef>
              <c:f>Sheet1!$B$2:$B$6</c:f>
              <c:numCache>
                <c:formatCode>0%</c:formatCode>
                <c:ptCount val="5"/>
                <c:pt idx="0">
                  <c:v>0.87438253005874422</c:v>
                </c:pt>
                <c:pt idx="1">
                  <c:v>4.4246717417059184E-2</c:v>
                </c:pt>
                <c:pt idx="2">
                  <c:v>3.3748191146147195E-2</c:v>
                </c:pt>
                <c:pt idx="3">
                  <c:v>2.6051594865929596E-2</c:v>
                </c:pt>
                <c:pt idx="4">
                  <c:v>2.1570966512119833E-2</c:v>
                </c:pt>
              </c:numCache>
            </c:numRef>
          </c:val>
          <c:extLst>
            <c:ext xmlns:c16="http://schemas.microsoft.com/office/drawing/2014/chart" uri="{C3380CC4-5D6E-409C-BE32-E72D297353CC}">
              <c16:uniqueId val="{00000005-B8A9-48F8-8784-F2347166192A}"/>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0404341830152587"/>
          <c:y val="0.75113729021893916"/>
          <c:w val="0.69247777926064324"/>
          <c:h val="0.1221239153452031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57062146892726E-2"/>
          <c:y val="0.10337669924180652"/>
          <c:w val="0.86440677966101698"/>
          <c:h val="0.59119010819165285"/>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EB98-4DFD-ACBC-B85A65DBC9FF}"/>
              </c:ext>
            </c:extLst>
          </c:dPt>
          <c:dPt>
            <c:idx val="1"/>
            <c:bubble3D val="0"/>
            <c:spPr>
              <a:solidFill>
                <a:schemeClr val="accent2"/>
              </a:solidFill>
              <a:ln>
                <a:noFill/>
              </a:ln>
              <a:effectLst/>
            </c:spPr>
            <c:extLst>
              <c:ext xmlns:c16="http://schemas.microsoft.com/office/drawing/2014/chart" uri="{C3380CC4-5D6E-409C-BE32-E72D297353CC}">
                <c16:uniqueId val="{00000003-EB98-4DFD-ACBC-B85A65DBC9FF}"/>
              </c:ext>
            </c:extLst>
          </c:dPt>
          <c:dPt>
            <c:idx val="2"/>
            <c:bubble3D val="0"/>
            <c:spPr>
              <a:solidFill>
                <a:schemeClr val="accent3"/>
              </a:solidFill>
              <a:ln>
                <a:noFill/>
              </a:ln>
              <a:effectLst/>
            </c:spPr>
            <c:extLst>
              <c:ext xmlns:c16="http://schemas.microsoft.com/office/drawing/2014/chart" uri="{C3380CC4-5D6E-409C-BE32-E72D297353CC}">
                <c16:uniqueId val="{00000005-EB98-4DFD-ACBC-B85A65DBC9FF}"/>
              </c:ext>
            </c:extLst>
          </c:dPt>
          <c:dPt>
            <c:idx val="3"/>
            <c:bubble3D val="0"/>
            <c:spPr>
              <a:solidFill>
                <a:schemeClr val="accent4"/>
              </a:solidFill>
              <a:ln>
                <a:noFill/>
              </a:ln>
              <a:effectLst/>
            </c:spPr>
            <c:extLst>
              <c:ext xmlns:c16="http://schemas.microsoft.com/office/drawing/2014/chart" uri="{C3380CC4-5D6E-409C-BE32-E72D297353CC}">
                <c16:uniqueId val="{00000007-EB98-4DFD-ACBC-B85A65DBC9FF}"/>
              </c:ext>
            </c:extLst>
          </c:dPt>
          <c:dPt>
            <c:idx val="4"/>
            <c:bubble3D val="0"/>
            <c:spPr>
              <a:solidFill>
                <a:schemeClr val="accent5"/>
              </a:solidFill>
              <a:ln>
                <a:noFill/>
              </a:ln>
              <a:effectLst/>
            </c:spPr>
            <c:extLst>
              <c:ext xmlns:c16="http://schemas.microsoft.com/office/drawing/2014/chart" uri="{C3380CC4-5D6E-409C-BE32-E72D297353CC}">
                <c16:uniqueId val="{00000009-EB98-4DFD-ACBC-B85A65DBC9FF}"/>
              </c:ext>
            </c:extLst>
          </c:dPt>
          <c:dPt>
            <c:idx val="5"/>
            <c:bubble3D val="0"/>
            <c:spPr>
              <a:solidFill>
                <a:schemeClr val="accent6"/>
              </a:solidFill>
              <a:ln>
                <a:noFill/>
              </a:ln>
              <a:effectLst/>
            </c:spPr>
            <c:extLst>
              <c:ext xmlns:c16="http://schemas.microsoft.com/office/drawing/2014/chart" uri="{C3380CC4-5D6E-409C-BE32-E72D297353CC}">
                <c16:uniqueId val="{0000000B-EB98-4DFD-ACBC-B85A65DBC9FF}"/>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3D1D-4621-90AF-32923E84B941}"/>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3D1D-4621-90AF-32923E84B941}"/>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3D1D-4621-90AF-32923E84B941}"/>
              </c:ext>
            </c:extLst>
          </c:dPt>
          <c:dPt>
            <c:idx val="9"/>
            <c:bubble3D val="0"/>
            <c:spPr>
              <a:solidFill>
                <a:schemeClr val="accent4">
                  <a:lumMod val="60000"/>
                </a:schemeClr>
              </a:solidFill>
              <a:ln>
                <a:noFill/>
              </a:ln>
              <a:effectLst/>
            </c:spPr>
            <c:extLst>
              <c:ext xmlns:c16="http://schemas.microsoft.com/office/drawing/2014/chart" uri="{C3380CC4-5D6E-409C-BE32-E72D297353CC}">
                <c16:uniqueId val="{00000013-3D1D-4621-90AF-32923E84B941}"/>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11</c:f>
              <c:strCache>
                <c:ptCount val="10"/>
                <c:pt idx="0">
                  <c:v>Cambodia</c:v>
                </c:pt>
                <c:pt idx="1">
                  <c:v>Malaysia</c:v>
                </c:pt>
                <c:pt idx="2">
                  <c:v>Pakistan</c:v>
                </c:pt>
                <c:pt idx="3">
                  <c:v>Philippines</c:v>
                </c:pt>
                <c:pt idx="4">
                  <c:v>Singapore</c:v>
                </c:pt>
                <c:pt idx="5">
                  <c:v>Sri Lanka</c:v>
                </c:pt>
                <c:pt idx="6">
                  <c:v>Thailand</c:v>
                </c:pt>
                <c:pt idx="7">
                  <c:v>Vietnam</c:v>
                </c:pt>
                <c:pt idx="8">
                  <c:v>India</c:v>
                </c:pt>
                <c:pt idx="9">
                  <c:v>Indonesia</c:v>
                </c:pt>
              </c:strCache>
            </c:strRef>
          </c:cat>
          <c:val>
            <c:numRef>
              <c:f>Sheet1!$B$2:$B$11</c:f>
              <c:numCache>
                <c:formatCode>0%</c:formatCode>
                <c:ptCount val="10"/>
                <c:pt idx="0">
                  <c:v>7.5831124872084172E-3</c:v>
                </c:pt>
                <c:pt idx="1">
                  <c:v>0.12745663981527644</c:v>
                </c:pt>
                <c:pt idx="2">
                  <c:v>1.462832253155257E-2</c:v>
                </c:pt>
                <c:pt idx="3">
                  <c:v>0.2312980504316339</c:v>
                </c:pt>
                <c:pt idx="4">
                  <c:v>3.4465115058644483E-2</c:v>
                </c:pt>
                <c:pt idx="5">
                  <c:v>9.9918658654981507E-2</c:v>
                </c:pt>
                <c:pt idx="6">
                  <c:v>2.7957807457164599E-2</c:v>
                </c:pt>
                <c:pt idx="7">
                  <c:v>0.3148697226522526</c:v>
                </c:pt>
                <c:pt idx="8">
                  <c:v>6.1504552491406683E-2</c:v>
                </c:pt>
                <c:pt idx="9">
                  <c:v>8.0318018419878776E-2</c:v>
                </c:pt>
              </c:numCache>
            </c:numRef>
          </c:val>
          <c:extLst>
            <c:ext xmlns:c16="http://schemas.microsoft.com/office/drawing/2014/chart" uri="{C3380CC4-5D6E-409C-BE32-E72D297353CC}">
              <c16:uniqueId val="{0000000C-EB98-4DFD-ACBC-B85A65DBC9FF}"/>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2910498766741075E-3"/>
          <c:y val="0.7265595668736361"/>
          <c:w val="0.99870895012332594"/>
          <c:h val="0.1614481772573050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57062146892726E-2"/>
          <c:y val="0.10337669924180652"/>
          <c:w val="0.86440677966101698"/>
          <c:h val="0.59119010819165285"/>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6BA6-4858-BF80-F70982D4F3CC}"/>
              </c:ext>
            </c:extLst>
          </c:dPt>
          <c:dPt>
            <c:idx val="1"/>
            <c:bubble3D val="0"/>
            <c:spPr>
              <a:solidFill>
                <a:schemeClr val="accent2"/>
              </a:solidFill>
              <a:ln>
                <a:noFill/>
              </a:ln>
              <a:effectLst/>
            </c:spPr>
            <c:extLst>
              <c:ext xmlns:c16="http://schemas.microsoft.com/office/drawing/2014/chart" uri="{C3380CC4-5D6E-409C-BE32-E72D297353CC}">
                <c16:uniqueId val="{00000003-6BA6-4858-BF80-F70982D4F3CC}"/>
              </c:ext>
            </c:extLst>
          </c:dPt>
          <c:dPt>
            <c:idx val="2"/>
            <c:bubble3D val="0"/>
            <c:spPr>
              <a:solidFill>
                <a:schemeClr val="accent3"/>
              </a:solidFill>
              <a:ln>
                <a:noFill/>
              </a:ln>
              <a:effectLst/>
            </c:spPr>
            <c:extLst>
              <c:ext xmlns:c16="http://schemas.microsoft.com/office/drawing/2014/chart" uri="{C3380CC4-5D6E-409C-BE32-E72D297353CC}">
                <c16:uniqueId val="{00000005-6BA6-4858-BF80-F70982D4F3CC}"/>
              </c:ext>
            </c:extLst>
          </c:dPt>
          <c:dPt>
            <c:idx val="3"/>
            <c:bubble3D val="0"/>
            <c:spPr>
              <a:solidFill>
                <a:schemeClr val="accent4"/>
              </a:solidFill>
              <a:ln>
                <a:noFill/>
              </a:ln>
              <a:effectLst/>
            </c:spPr>
            <c:extLst>
              <c:ext xmlns:c16="http://schemas.microsoft.com/office/drawing/2014/chart" uri="{C3380CC4-5D6E-409C-BE32-E72D297353CC}">
                <c16:uniqueId val="{00000007-6BA6-4858-BF80-F70982D4F3CC}"/>
              </c:ext>
            </c:extLst>
          </c:dPt>
          <c:dPt>
            <c:idx val="4"/>
            <c:bubble3D val="0"/>
            <c:spPr>
              <a:solidFill>
                <a:schemeClr val="accent5"/>
              </a:solidFill>
              <a:ln>
                <a:noFill/>
              </a:ln>
              <a:effectLst/>
            </c:spPr>
            <c:extLst>
              <c:ext xmlns:c16="http://schemas.microsoft.com/office/drawing/2014/chart" uri="{C3380CC4-5D6E-409C-BE32-E72D297353CC}">
                <c16:uniqueId val="{00000009-6BA6-4858-BF80-F70982D4F3CC}"/>
              </c:ext>
            </c:extLst>
          </c:dPt>
          <c:dPt>
            <c:idx val="5"/>
            <c:bubble3D val="0"/>
            <c:spPr>
              <a:solidFill>
                <a:schemeClr val="accent6"/>
              </a:solidFill>
              <a:ln>
                <a:noFill/>
              </a:ln>
              <a:effectLst/>
            </c:spPr>
            <c:extLst>
              <c:ext xmlns:c16="http://schemas.microsoft.com/office/drawing/2014/chart" uri="{C3380CC4-5D6E-409C-BE32-E72D297353CC}">
                <c16:uniqueId val="{0000000B-6BA6-4858-BF80-F70982D4F3CC}"/>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3</c:f>
              <c:strCache>
                <c:ptCount val="2"/>
                <c:pt idx="0">
                  <c:v>Réunion</c:v>
                </c:pt>
                <c:pt idx="1">
                  <c:v>Kenya</c:v>
                </c:pt>
              </c:strCache>
            </c:strRef>
          </c:cat>
          <c:val>
            <c:numRef>
              <c:f>Sheet1!$B$2:$B$3</c:f>
              <c:numCache>
                <c:formatCode>0%</c:formatCode>
                <c:ptCount val="2"/>
                <c:pt idx="0">
                  <c:v>0.96059850374064837</c:v>
                </c:pt>
                <c:pt idx="1">
                  <c:v>3.9401496259351618E-2</c:v>
                </c:pt>
              </c:numCache>
            </c:numRef>
          </c:val>
          <c:extLst>
            <c:ext xmlns:c16="http://schemas.microsoft.com/office/drawing/2014/chart" uri="{C3380CC4-5D6E-409C-BE32-E72D297353CC}">
              <c16:uniqueId val="{0000000C-6BA6-4858-BF80-F70982D4F3C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0404341830152587"/>
          <c:y val="0.75113729021893916"/>
          <c:w val="0.69247777926064324"/>
          <c:h val="0.1221239153452031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2641509433968"/>
          <c:y val="0.10658307210031349"/>
          <c:w val="0.71257181736476394"/>
          <c:h val="0.54343882862160864"/>
        </c:manualLayout>
      </c:layout>
      <c:barChart>
        <c:barDir val="col"/>
        <c:grouping val="clustered"/>
        <c:varyColors val="0"/>
        <c:ser>
          <c:idx val="0"/>
          <c:order val="0"/>
          <c:tx>
            <c:strRef>
              <c:f>Sheet1!$A$2</c:f>
              <c:strCache>
                <c:ptCount val="1"/>
                <c:pt idx="0">
                  <c:v>2021</c:v>
                </c:pt>
              </c:strCache>
            </c:strRef>
          </c:tx>
          <c:spPr>
            <a:solidFill>
              <a:schemeClr val="accent1"/>
            </a:solidFill>
            <a:ln>
              <a:noFill/>
            </a:ln>
          </c:spPr>
          <c:invertIfNegative val="0"/>
          <c:dPt>
            <c:idx val="0"/>
            <c:invertIfNegative val="0"/>
            <c:bubble3D val="0"/>
            <c:extLst>
              <c:ext xmlns:c16="http://schemas.microsoft.com/office/drawing/2014/chart" uri="{C3380CC4-5D6E-409C-BE32-E72D297353CC}">
                <c16:uniqueId val="{00000000-1542-4F83-BA10-98979368B61E}"/>
              </c:ext>
            </c:extLst>
          </c:dPt>
          <c:dPt>
            <c:idx val="1"/>
            <c:invertIfNegative val="0"/>
            <c:bubble3D val="0"/>
            <c:extLst>
              <c:ext xmlns:c16="http://schemas.microsoft.com/office/drawing/2014/chart" uri="{C3380CC4-5D6E-409C-BE32-E72D297353CC}">
                <c16:uniqueId val="{00000001-1542-4F83-BA10-98979368B61E}"/>
              </c:ext>
            </c:extLst>
          </c:dPt>
          <c:dPt>
            <c:idx val="2"/>
            <c:invertIfNegative val="0"/>
            <c:bubble3D val="0"/>
            <c:extLst>
              <c:ext xmlns:c16="http://schemas.microsoft.com/office/drawing/2014/chart" uri="{C3380CC4-5D6E-409C-BE32-E72D297353CC}">
                <c16:uniqueId val="{00000002-1542-4F83-BA10-98979368B61E}"/>
              </c:ext>
            </c:extLst>
          </c:dPt>
          <c:dPt>
            <c:idx val="3"/>
            <c:invertIfNegative val="0"/>
            <c:bubble3D val="0"/>
            <c:extLst>
              <c:ext xmlns:c16="http://schemas.microsoft.com/office/drawing/2014/chart" uri="{C3380CC4-5D6E-409C-BE32-E72D297353CC}">
                <c16:uniqueId val="{00000003-1542-4F83-BA10-98979368B61E}"/>
              </c:ext>
            </c:extLst>
          </c:dPt>
          <c:dPt>
            <c:idx val="4"/>
            <c:invertIfNegative val="0"/>
            <c:bubble3D val="0"/>
            <c:extLst>
              <c:ext xmlns:c16="http://schemas.microsoft.com/office/drawing/2014/chart" uri="{C3380CC4-5D6E-409C-BE32-E72D297353CC}">
                <c16:uniqueId val="{00000004-1542-4F83-BA10-98979368B61E}"/>
              </c:ext>
            </c:extLst>
          </c:dPt>
          <c:dLbls>
            <c:dLbl>
              <c:idx val="1"/>
              <c:layout>
                <c:manualLayout>
                  <c:x val="9.629567473191385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42-4F83-BA10-98979368B61E}"/>
                </c:ext>
              </c:extLst>
            </c:dLbl>
            <c:spPr>
              <a:noFill/>
              <a:ln>
                <a:noFill/>
              </a:ln>
              <a:effectLst/>
            </c:spPr>
            <c:txPr>
              <a:bodyPr wrap="square" lIns="38100" tIns="19050" rIns="38100" bIns="19050" anchor="ctr">
                <a:spAutoFit/>
              </a:bodyPr>
              <a:lstStyle/>
              <a:p>
                <a:pPr>
                  <a:defRPr sz="900">
                    <a:solidFill>
                      <a:schemeClr val="accent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Brazil</c:v>
                </c:pt>
                <c:pt idx="1">
                  <c:v>Peru</c:v>
                </c:pt>
                <c:pt idx="2">
                  <c:v>Nicaragua</c:v>
                </c:pt>
                <c:pt idx="3">
                  <c:v>Colombia</c:v>
                </c:pt>
                <c:pt idx="4">
                  <c:v>Paraguay</c:v>
                </c:pt>
              </c:strCache>
            </c:strRef>
          </c:cat>
          <c:val>
            <c:numRef>
              <c:f>Sheet1!$B$2:$F$2</c:f>
              <c:numCache>
                <c:formatCode>General</c:formatCode>
                <c:ptCount val="5"/>
                <c:pt idx="0">
                  <c:v>426592</c:v>
                </c:pt>
                <c:pt idx="1">
                  <c:v>21587</c:v>
                </c:pt>
                <c:pt idx="2">
                  <c:v>16465</c:v>
                </c:pt>
                <c:pt idx="3">
                  <c:v>12710</c:v>
                </c:pt>
                <c:pt idx="4">
                  <c:v>10524</c:v>
                </c:pt>
              </c:numCache>
            </c:numRef>
          </c:val>
          <c:extLst>
            <c:ext xmlns:c16="http://schemas.microsoft.com/office/drawing/2014/chart" uri="{C3380CC4-5D6E-409C-BE32-E72D297353CC}">
              <c16:uniqueId val="{00000006-1542-4F83-BA10-98979368B61E}"/>
            </c:ext>
          </c:extLst>
        </c:ser>
        <c:dLbls>
          <c:dLblPos val="inBase"/>
          <c:showLegendKey val="0"/>
          <c:showVal val="1"/>
          <c:showCatName val="0"/>
          <c:showSerName val="0"/>
          <c:showPercent val="0"/>
          <c:showBubbleSize val="0"/>
        </c:dLbls>
        <c:gapWidth val="100"/>
        <c:axId val="319282736"/>
        <c:axId val="319283296"/>
      </c:barChart>
      <c:lineChart>
        <c:grouping val="standard"/>
        <c:varyColors val="0"/>
        <c:ser>
          <c:idx val="1"/>
          <c:order val="1"/>
          <c:tx>
            <c:strRef>
              <c:f>Sheet1!$A$3</c:f>
              <c:strCache>
                <c:ptCount val="1"/>
                <c:pt idx="0">
                  <c:v>2020</c:v>
                </c:pt>
              </c:strCache>
            </c:strRef>
          </c:tx>
          <c:spPr>
            <a:ln>
              <a:solidFill>
                <a:schemeClr val="accent2">
                  <a:lumMod val="60000"/>
                  <a:lumOff val="40000"/>
                </a:schemeClr>
              </a:solidFill>
            </a:ln>
          </c:spPr>
          <c:marker>
            <c:symbol val="none"/>
          </c:marker>
          <c:dLbls>
            <c:dLbl>
              <c:idx val="0"/>
              <c:layout>
                <c:manualLayout>
                  <c:x val="3.6466236866129327E-2"/>
                  <c:y val="5.22365516015324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542-4F83-BA10-98979368B61E}"/>
                </c:ext>
              </c:extLst>
            </c:dLbl>
            <c:dLbl>
              <c:idx val="1"/>
              <c:layout>
                <c:manualLayout>
                  <c:x val="-2.2005710004943682E-2"/>
                  <c:y val="-0.1392974709374198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542-4F83-BA10-98979368B61E}"/>
                </c:ext>
              </c:extLst>
            </c:dLbl>
            <c:dLbl>
              <c:idx val="2"/>
              <c:layout>
                <c:manualLayout>
                  <c:x val="-6.8828887321420876E-3"/>
                  <c:y val="-0.156709654804597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542-4F83-BA10-98979368B61E}"/>
                </c:ext>
              </c:extLst>
            </c:dLbl>
            <c:dLbl>
              <c:idx val="3"/>
              <c:layout>
                <c:manualLayout>
                  <c:x val="6.8828887321420876E-3"/>
                  <c:y val="-0.145101532226479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542-4F83-BA10-98979368B61E}"/>
                </c:ext>
              </c:extLst>
            </c:dLbl>
            <c:dLbl>
              <c:idx val="4"/>
              <c:layout>
                <c:manualLayout>
                  <c:x val="-2.9120216430215829E-2"/>
                  <c:y val="-6.96487354687099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542-4F83-BA10-98979368B61E}"/>
                </c:ext>
              </c:extLst>
            </c:dLbl>
            <c:spPr>
              <a:noFill/>
              <a:ln>
                <a:noFill/>
              </a:ln>
              <a:effectLst/>
            </c:spPr>
            <c:txPr>
              <a:bodyPr wrap="square" lIns="38100" tIns="19050" rIns="38100" bIns="19050" anchor="ctr">
                <a:spAutoFit/>
              </a:bodyPr>
              <a:lstStyle/>
              <a:p>
                <a:pPr>
                  <a:defRPr sz="900">
                    <a:solidFill>
                      <a:schemeClr val="accent2">
                        <a:lumMod val="60000"/>
                        <a:lumOff val="40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Brazil</c:v>
                </c:pt>
                <c:pt idx="1">
                  <c:v>Peru</c:v>
                </c:pt>
                <c:pt idx="2">
                  <c:v>Nicaragua</c:v>
                </c:pt>
                <c:pt idx="3">
                  <c:v>Colombia</c:v>
                </c:pt>
                <c:pt idx="4">
                  <c:v>Paraguay</c:v>
                </c:pt>
              </c:strCache>
            </c:strRef>
          </c:cat>
          <c:val>
            <c:numRef>
              <c:f>Sheet1!$B$3:$F$3</c:f>
              <c:numCache>
                <c:formatCode>General</c:formatCode>
                <c:ptCount val="5"/>
                <c:pt idx="0">
                  <c:v>1467142</c:v>
                </c:pt>
                <c:pt idx="1">
                  <c:v>56394</c:v>
                </c:pt>
                <c:pt idx="2">
                  <c:v>53953</c:v>
                </c:pt>
                <c:pt idx="3">
                  <c:v>78976</c:v>
                </c:pt>
                <c:pt idx="4">
                  <c:v>223782</c:v>
                </c:pt>
              </c:numCache>
            </c:numRef>
          </c:val>
          <c:smooth val="0"/>
          <c:extLst>
            <c:ext xmlns:c16="http://schemas.microsoft.com/office/drawing/2014/chart" uri="{C3380CC4-5D6E-409C-BE32-E72D297353CC}">
              <c16:uniqueId val="{00000008-1542-4F83-BA10-98979368B61E}"/>
            </c:ext>
          </c:extLst>
        </c:ser>
        <c:dLbls>
          <c:showLegendKey val="0"/>
          <c:showVal val="1"/>
          <c:showCatName val="0"/>
          <c:showSerName val="0"/>
          <c:showPercent val="0"/>
          <c:showBubbleSize val="0"/>
        </c:dLbls>
        <c:marker val="1"/>
        <c:smooth val="0"/>
        <c:axId val="1442217743"/>
        <c:axId val="1442206927"/>
      </c:lineChart>
      <c:catAx>
        <c:axId val="319282736"/>
        <c:scaling>
          <c:orientation val="minMax"/>
        </c:scaling>
        <c:delete val="0"/>
        <c:axPos val="b"/>
        <c:numFmt formatCode="General" sourceLinked="1"/>
        <c:majorTickMark val="none"/>
        <c:minorTickMark val="none"/>
        <c:tickLblPos val="nextTo"/>
        <c:spPr>
          <a:ln w="9525">
            <a:solidFill>
              <a:schemeClr val="tx1"/>
            </a:solidFill>
          </a:ln>
        </c:spPr>
        <c:txPr>
          <a:bodyPr/>
          <a:lstStyle/>
          <a:p>
            <a:pPr>
              <a:defRPr sz="900"/>
            </a:pPr>
            <a:endParaRPr lang="en-US"/>
          </a:p>
        </c:txPr>
        <c:crossAx val="319283296"/>
        <c:crosses val="autoZero"/>
        <c:auto val="1"/>
        <c:lblAlgn val="ctr"/>
        <c:lblOffset val="100"/>
        <c:noMultiLvlLbl val="0"/>
      </c:catAx>
      <c:valAx>
        <c:axId val="319283296"/>
        <c:scaling>
          <c:orientation val="minMax"/>
          <c:max val="500000"/>
          <c:min val="10000"/>
        </c:scaling>
        <c:delete val="0"/>
        <c:axPos val="l"/>
        <c:numFmt formatCode="0" sourceLinked="0"/>
        <c:majorTickMark val="out"/>
        <c:minorTickMark val="none"/>
        <c:tickLblPos val="nextTo"/>
        <c:spPr>
          <a:ln w="9525">
            <a:solidFill>
              <a:schemeClr val="tx1"/>
            </a:solidFill>
          </a:ln>
        </c:spPr>
        <c:txPr>
          <a:bodyPr rot="0" vert="horz"/>
          <a:lstStyle/>
          <a:p>
            <a:pPr>
              <a:defRPr sz="900"/>
            </a:pPr>
            <a:endParaRPr lang="en-US"/>
          </a:p>
        </c:txPr>
        <c:crossAx val="319282736"/>
        <c:crosses val="autoZero"/>
        <c:crossBetween val="between"/>
        <c:majorUnit val="100000"/>
        <c:minorUnit val="10000"/>
      </c:valAx>
      <c:valAx>
        <c:axId val="1442206927"/>
        <c:scaling>
          <c:orientation val="minMax"/>
          <c:max val="1500000"/>
          <c:min val="10000"/>
        </c:scaling>
        <c:delete val="0"/>
        <c:axPos val="r"/>
        <c:numFmt formatCode="0" sourceLinked="0"/>
        <c:majorTickMark val="out"/>
        <c:minorTickMark val="none"/>
        <c:tickLblPos val="nextTo"/>
        <c:txPr>
          <a:bodyPr/>
          <a:lstStyle/>
          <a:p>
            <a:pPr>
              <a:defRPr sz="900"/>
            </a:pPr>
            <a:endParaRPr lang="en-US"/>
          </a:p>
        </c:txPr>
        <c:crossAx val="1442217743"/>
        <c:crosses val="max"/>
        <c:crossBetween val="between"/>
        <c:majorUnit val="500000"/>
        <c:minorUnit val="50000"/>
      </c:valAx>
      <c:catAx>
        <c:axId val="1442217743"/>
        <c:scaling>
          <c:orientation val="minMax"/>
        </c:scaling>
        <c:delete val="1"/>
        <c:axPos val="b"/>
        <c:numFmt formatCode="General" sourceLinked="1"/>
        <c:majorTickMark val="out"/>
        <c:minorTickMark val="none"/>
        <c:tickLblPos val="nextTo"/>
        <c:crossAx val="1442206927"/>
        <c:crosses val="autoZero"/>
        <c:auto val="1"/>
        <c:lblAlgn val="ctr"/>
        <c:lblOffset val="100"/>
        <c:noMultiLvlLbl val="0"/>
      </c:catAx>
    </c:plotArea>
    <c:legend>
      <c:legendPos val="r"/>
      <c:layout>
        <c:manualLayout>
          <c:xMode val="edge"/>
          <c:yMode val="edge"/>
          <c:x val="0.21638257588588061"/>
          <c:y val="0.71314866668829857"/>
          <c:w val="0.54959920722128841"/>
          <c:h val="0.22375707398532901"/>
        </c:manualLayout>
      </c:layout>
      <c:overlay val="0"/>
      <c:txPr>
        <a:bodyPr/>
        <a:lstStyle/>
        <a:p>
          <a:pPr>
            <a:defRPr sz="100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65801581492724"/>
          <c:y val="0.10658307210031349"/>
          <c:w val="0.74102562087585555"/>
          <c:h val="0.54343882862160864"/>
        </c:manualLayout>
      </c:layout>
      <c:barChart>
        <c:barDir val="col"/>
        <c:grouping val="clustered"/>
        <c:varyColors val="0"/>
        <c:ser>
          <c:idx val="0"/>
          <c:order val="0"/>
          <c:tx>
            <c:strRef>
              <c:f>Sheet1!$A$2</c:f>
              <c:strCache>
                <c:ptCount val="1"/>
                <c:pt idx="0">
                  <c:v>May-21</c:v>
                </c:pt>
              </c:strCache>
            </c:strRef>
          </c:tx>
          <c:spPr>
            <a:solidFill>
              <a:schemeClr val="accent1"/>
            </a:solidFill>
            <a:ln>
              <a:noFill/>
            </a:ln>
          </c:spPr>
          <c:invertIfNegative val="0"/>
          <c:dPt>
            <c:idx val="0"/>
            <c:invertIfNegative val="0"/>
            <c:bubble3D val="0"/>
            <c:extLst>
              <c:ext xmlns:c16="http://schemas.microsoft.com/office/drawing/2014/chart" uri="{C3380CC4-5D6E-409C-BE32-E72D297353CC}">
                <c16:uniqueId val="{00000000-E8BB-4E2F-BE2F-B9CE478F7BF2}"/>
              </c:ext>
            </c:extLst>
          </c:dPt>
          <c:dPt>
            <c:idx val="1"/>
            <c:invertIfNegative val="0"/>
            <c:bubble3D val="0"/>
            <c:extLst>
              <c:ext xmlns:c16="http://schemas.microsoft.com/office/drawing/2014/chart" uri="{C3380CC4-5D6E-409C-BE32-E72D297353CC}">
                <c16:uniqueId val="{00000001-E8BB-4E2F-BE2F-B9CE478F7BF2}"/>
              </c:ext>
            </c:extLst>
          </c:dPt>
          <c:dLbls>
            <c:spPr>
              <a:noFill/>
              <a:ln>
                <a:noFill/>
              </a:ln>
              <a:effectLst/>
            </c:spPr>
            <c:txPr>
              <a:bodyPr wrap="square" lIns="38100" tIns="19050" rIns="38100" bIns="19050" anchor="ctr">
                <a:spAutoFit/>
              </a:bodyPr>
              <a:lstStyle/>
              <a:p>
                <a:pPr>
                  <a:defRPr sz="900">
                    <a:solidFill>
                      <a:schemeClr val="accent2">
                        <a:lumMod val="7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Réunion</c:v>
                </c:pt>
                <c:pt idx="1">
                  <c:v>Kenya</c:v>
                </c:pt>
              </c:strCache>
            </c:strRef>
          </c:cat>
          <c:val>
            <c:numRef>
              <c:f>Sheet1!$B$2:$C$2</c:f>
              <c:numCache>
                <c:formatCode>General</c:formatCode>
                <c:ptCount val="2"/>
                <c:pt idx="0">
                  <c:v>13482</c:v>
                </c:pt>
                <c:pt idx="1">
                  <c:v>553</c:v>
                </c:pt>
              </c:numCache>
            </c:numRef>
          </c:val>
          <c:extLst>
            <c:ext xmlns:c16="http://schemas.microsoft.com/office/drawing/2014/chart" uri="{C3380CC4-5D6E-409C-BE32-E72D297353CC}">
              <c16:uniqueId val="{00000005-E8BB-4E2F-BE2F-B9CE478F7BF2}"/>
            </c:ext>
          </c:extLst>
        </c:ser>
        <c:dLbls>
          <c:showLegendKey val="0"/>
          <c:showVal val="0"/>
          <c:showCatName val="0"/>
          <c:showSerName val="0"/>
          <c:showPercent val="0"/>
          <c:showBubbleSize val="0"/>
        </c:dLbls>
        <c:gapWidth val="100"/>
        <c:axId val="319282736"/>
        <c:axId val="319283296"/>
      </c:barChart>
      <c:lineChart>
        <c:grouping val="standard"/>
        <c:varyColors val="0"/>
        <c:ser>
          <c:idx val="1"/>
          <c:order val="1"/>
          <c:tx>
            <c:strRef>
              <c:f>Sheet1!$A$3</c:f>
              <c:strCache>
                <c:ptCount val="1"/>
                <c:pt idx="0">
                  <c:v>Apr-21</c:v>
                </c:pt>
              </c:strCache>
            </c:strRef>
          </c:tx>
          <c:spPr>
            <a:ln>
              <a:solidFill>
                <a:schemeClr val="accent2">
                  <a:lumMod val="60000"/>
                  <a:lumOff val="40000"/>
                </a:schemeClr>
              </a:solidFill>
            </a:ln>
          </c:spPr>
          <c:marker>
            <c:symbol val="none"/>
          </c:marker>
          <c:dLbls>
            <c:dLbl>
              <c:idx val="0"/>
              <c:layout>
                <c:manualLayout>
                  <c:x val="7.9153220419634004E-2"/>
                  <c:y val="-4.6432490312473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8BB-4E2F-BE2F-B9CE478F7BF2}"/>
                </c:ext>
              </c:extLst>
            </c:dLbl>
            <c:dLbl>
              <c:idx val="1"/>
              <c:layout>
                <c:manualLayout>
                  <c:x val="-3.4414443660710438E-3"/>
                  <c:y val="-0.1160812257811832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8BB-4E2F-BE2F-B9CE478F7BF2}"/>
                </c:ext>
              </c:extLst>
            </c:dLbl>
            <c:spPr>
              <a:noFill/>
              <a:ln>
                <a:noFill/>
              </a:ln>
              <a:effectLst/>
            </c:spPr>
            <c:txPr>
              <a:bodyPr wrap="square" lIns="38100" tIns="19050" rIns="38100" bIns="19050" anchor="ctr">
                <a:spAutoFit/>
              </a:bodyPr>
              <a:lstStyle/>
              <a:p>
                <a:pPr>
                  <a:defRPr sz="900">
                    <a:solidFill>
                      <a:schemeClr val="accent2">
                        <a:lumMod val="60000"/>
                        <a:lumOff val="40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Réunion</c:v>
                </c:pt>
                <c:pt idx="1">
                  <c:v>Kenya</c:v>
                </c:pt>
              </c:strCache>
            </c:strRef>
          </c:cat>
          <c:val>
            <c:numRef>
              <c:f>Sheet1!$B$3:$C$3</c:f>
              <c:numCache>
                <c:formatCode>General</c:formatCode>
                <c:ptCount val="2"/>
                <c:pt idx="0">
                  <c:v>6188</c:v>
                </c:pt>
                <c:pt idx="1">
                  <c:v>529</c:v>
                </c:pt>
              </c:numCache>
            </c:numRef>
          </c:val>
          <c:smooth val="0"/>
          <c:extLst>
            <c:ext xmlns:c16="http://schemas.microsoft.com/office/drawing/2014/chart" uri="{C3380CC4-5D6E-409C-BE32-E72D297353CC}">
              <c16:uniqueId val="{00000008-E8BB-4E2F-BE2F-B9CE478F7BF2}"/>
            </c:ext>
          </c:extLst>
        </c:ser>
        <c:dLbls>
          <c:showLegendKey val="0"/>
          <c:showVal val="0"/>
          <c:showCatName val="0"/>
          <c:showSerName val="0"/>
          <c:showPercent val="0"/>
          <c:showBubbleSize val="0"/>
        </c:dLbls>
        <c:marker val="1"/>
        <c:smooth val="0"/>
        <c:axId val="1442217743"/>
        <c:axId val="1442206927"/>
      </c:lineChart>
      <c:catAx>
        <c:axId val="319282736"/>
        <c:scaling>
          <c:orientation val="minMax"/>
        </c:scaling>
        <c:delete val="0"/>
        <c:axPos val="b"/>
        <c:numFmt formatCode="General" sourceLinked="1"/>
        <c:majorTickMark val="none"/>
        <c:minorTickMark val="none"/>
        <c:tickLblPos val="nextTo"/>
        <c:spPr>
          <a:ln w="9525">
            <a:solidFill>
              <a:schemeClr val="tx1"/>
            </a:solidFill>
          </a:ln>
        </c:spPr>
        <c:txPr>
          <a:bodyPr/>
          <a:lstStyle/>
          <a:p>
            <a:pPr>
              <a:defRPr sz="900"/>
            </a:pPr>
            <a:endParaRPr lang="en-US"/>
          </a:p>
        </c:txPr>
        <c:crossAx val="319283296"/>
        <c:crosses val="autoZero"/>
        <c:auto val="1"/>
        <c:lblAlgn val="ctr"/>
        <c:lblOffset val="100"/>
        <c:noMultiLvlLbl val="0"/>
      </c:catAx>
      <c:valAx>
        <c:axId val="319283296"/>
        <c:scaling>
          <c:orientation val="minMax"/>
          <c:max val="15000"/>
          <c:min val="500"/>
        </c:scaling>
        <c:delete val="0"/>
        <c:axPos val="l"/>
        <c:numFmt formatCode="0" sourceLinked="0"/>
        <c:majorTickMark val="out"/>
        <c:minorTickMark val="none"/>
        <c:tickLblPos val="nextTo"/>
        <c:spPr>
          <a:ln w="9525">
            <a:solidFill>
              <a:schemeClr val="tx1"/>
            </a:solidFill>
          </a:ln>
        </c:spPr>
        <c:txPr>
          <a:bodyPr rot="0" vert="horz"/>
          <a:lstStyle/>
          <a:p>
            <a:pPr>
              <a:defRPr sz="900"/>
            </a:pPr>
            <a:endParaRPr lang="en-US"/>
          </a:p>
        </c:txPr>
        <c:crossAx val="319282736"/>
        <c:crosses val="autoZero"/>
        <c:crossBetween val="between"/>
        <c:majorUnit val="2000"/>
        <c:minorUnit val="500"/>
      </c:valAx>
      <c:valAx>
        <c:axId val="1442206927"/>
        <c:scaling>
          <c:orientation val="minMax"/>
          <c:max val="7000"/>
          <c:min val="500"/>
        </c:scaling>
        <c:delete val="0"/>
        <c:axPos val="r"/>
        <c:numFmt formatCode="0" sourceLinked="0"/>
        <c:majorTickMark val="out"/>
        <c:minorTickMark val="none"/>
        <c:tickLblPos val="nextTo"/>
        <c:txPr>
          <a:bodyPr/>
          <a:lstStyle/>
          <a:p>
            <a:pPr>
              <a:defRPr sz="900"/>
            </a:pPr>
            <a:endParaRPr lang="en-US"/>
          </a:p>
        </c:txPr>
        <c:crossAx val="1442217743"/>
        <c:crosses val="max"/>
        <c:crossBetween val="between"/>
        <c:majorUnit val="1000"/>
        <c:minorUnit val="500"/>
      </c:valAx>
      <c:catAx>
        <c:axId val="1442217743"/>
        <c:scaling>
          <c:orientation val="minMax"/>
        </c:scaling>
        <c:delete val="1"/>
        <c:axPos val="b"/>
        <c:numFmt formatCode="General" sourceLinked="1"/>
        <c:majorTickMark val="out"/>
        <c:minorTickMark val="none"/>
        <c:tickLblPos val="nextTo"/>
        <c:crossAx val="1442206927"/>
        <c:crosses val="autoZero"/>
        <c:auto val="1"/>
        <c:lblAlgn val="ctr"/>
        <c:lblOffset val="100"/>
        <c:noMultiLvlLbl val="0"/>
      </c:catAx>
    </c:plotArea>
    <c:legend>
      <c:legendPos val="r"/>
      <c:layout>
        <c:manualLayout>
          <c:xMode val="edge"/>
          <c:yMode val="edge"/>
          <c:x val="0.21638257588588061"/>
          <c:y val="0.71314866668829857"/>
          <c:w val="0.54959920722128841"/>
          <c:h val="0.15410833851661901"/>
        </c:manualLayout>
      </c:layout>
      <c:overlay val="0"/>
      <c:txPr>
        <a:bodyPr/>
        <a:lstStyle/>
        <a:p>
          <a:pPr>
            <a:defRPr sz="100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2641509433968"/>
          <c:y val="0.10658307210031349"/>
          <c:w val="0.82264150943396264"/>
          <c:h val="0.54343882862160864"/>
        </c:manualLayout>
      </c:layout>
      <c:barChart>
        <c:barDir val="col"/>
        <c:grouping val="clustered"/>
        <c:varyColors val="0"/>
        <c:ser>
          <c:idx val="0"/>
          <c:order val="0"/>
          <c:tx>
            <c:strRef>
              <c:f>Sheet1!$A$2</c:f>
              <c:strCache>
                <c:ptCount val="1"/>
                <c:pt idx="0">
                  <c:v>2021</c:v>
                </c:pt>
              </c:strCache>
            </c:strRef>
          </c:tx>
          <c:spPr>
            <a:solidFill>
              <a:schemeClr val="accent1"/>
            </a:solidFill>
            <a:ln>
              <a:noFill/>
            </a:ln>
          </c:spPr>
          <c:invertIfNegative val="0"/>
          <c:dPt>
            <c:idx val="0"/>
            <c:invertIfNegative val="0"/>
            <c:bubble3D val="0"/>
            <c:extLst>
              <c:ext xmlns:c16="http://schemas.microsoft.com/office/drawing/2014/chart" uri="{C3380CC4-5D6E-409C-BE32-E72D297353CC}">
                <c16:uniqueId val="{00000000-1E98-4085-965B-AD714345A657}"/>
              </c:ext>
            </c:extLst>
          </c:dPt>
          <c:dPt>
            <c:idx val="1"/>
            <c:invertIfNegative val="0"/>
            <c:bubble3D val="0"/>
            <c:extLst>
              <c:ext xmlns:c16="http://schemas.microsoft.com/office/drawing/2014/chart" uri="{C3380CC4-5D6E-409C-BE32-E72D297353CC}">
                <c16:uniqueId val="{00000001-1E98-4085-965B-AD714345A657}"/>
              </c:ext>
            </c:extLst>
          </c:dPt>
          <c:dLbls>
            <c:spPr>
              <a:noFill/>
              <a:ln>
                <a:noFill/>
              </a:ln>
              <a:effectLst/>
            </c:spPr>
            <c:txPr>
              <a:bodyPr wrap="square" lIns="38100" tIns="19050" rIns="38100" bIns="19050" anchor="ctr">
                <a:spAutoFit/>
              </a:bodyPr>
              <a:lstStyle/>
              <a:p>
                <a:pPr>
                  <a:defRPr sz="900">
                    <a:solidFill>
                      <a:schemeClr val="accent2">
                        <a:lumMod val="7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Cambodia</c:v>
                </c:pt>
                <c:pt idx="1">
                  <c:v>Indonesia</c:v>
                </c:pt>
                <c:pt idx="2">
                  <c:v>Malaysia</c:v>
                </c:pt>
                <c:pt idx="3">
                  <c:v>Philippines</c:v>
                </c:pt>
                <c:pt idx="4">
                  <c:v>Vietnam</c:v>
                </c:pt>
              </c:strCache>
            </c:strRef>
          </c:cat>
          <c:val>
            <c:numRef>
              <c:f>Sheet1!$B$2:$F$2</c:f>
              <c:numCache>
                <c:formatCode>General</c:formatCode>
                <c:ptCount val="5"/>
                <c:pt idx="0">
                  <c:v>578</c:v>
                </c:pt>
                <c:pt idx="1">
                  <c:v>6122</c:v>
                </c:pt>
                <c:pt idx="2">
                  <c:v>9715</c:v>
                </c:pt>
                <c:pt idx="3">
                  <c:v>17630</c:v>
                </c:pt>
                <c:pt idx="4">
                  <c:v>24000</c:v>
                </c:pt>
              </c:numCache>
            </c:numRef>
          </c:val>
          <c:extLst>
            <c:ext xmlns:c16="http://schemas.microsoft.com/office/drawing/2014/chart" uri="{C3380CC4-5D6E-409C-BE32-E72D297353CC}">
              <c16:uniqueId val="{00000002-1E98-4085-965B-AD714345A657}"/>
            </c:ext>
          </c:extLst>
        </c:ser>
        <c:dLbls>
          <c:showLegendKey val="0"/>
          <c:showVal val="0"/>
          <c:showCatName val="0"/>
          <c:showSerName val="0"/>
          <c:showPercent val="0"/>
          <c:showBubbleSize val="0"/>
        </c:dLbls>
        <c:gapWidth val="100"/>
        <c:axId val="319282736"/>
        <c:axId val="319283296"/>
      </c:barChart>
      <c:lineChart>
        <c:grouping val="standard"/>
        <c:varyColors val="0"/>
        <c:ser>
          <c:idx val="1"/>
          <c:order val="1"/>
          <c:tx>
            <c:strRef>
              <c:f>Sheet1!$A$3</c:f>
              <c:strCache>
                <c:ptCount val="1"/>
                <c:pt idx="0">
                  <c:v>2020</c:v>
                </c:pt>
              </c:strCache>
            </c:strRef>
          </c:tx>
          <c:spPr>
            <a:ln>
              <a:solidFill>
                <a:schemeClr val="accent2">
                  <a:lumMod val="60000"/>
                  <a:lumOff val="40000"/>
                </a:schemeClr>
              </a:solidFill>
            </a:ln>
          </c:spPr>
          <c:marker>
            <c:symbol val="none"/>
          </c:marker>
          <c:dLbls>
            <c:dLbl>
              <c:idx val="0"/>
              <c:layout>
                <c:manualLayout>
                  <c:x val="-7.2887428686981628E-2"/>
                  <c:y val="-0.1218852870702423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98-4085-965B-AD714345A657}"/>
                </c:ext>
              </c:extLst>
            </c:dLbl>
            <c:dLbl>
              <c:idx val="1"/>
              <c:layout>
                <c:manualLayout>
                  <c:x val="-1.3765777464284175E-2"/>
                  <c:y val="-0.145101532226479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98-4085-965B-AD714345A657}"/>
                </c:ext>
              </c:extLst>
            </c:dLbl>
            <c:dLbl>
              <c:idx val="2"/>
              <c:layout>
                <c:manualLayout>
                  <c:x val="-2.3409122080496232E-2"/>
                  <c:y val="-0.150905593515538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E98-4085-965B-AD714345A657}"/>
                </c:ext>
              </c:extLst>
            </c:dLbl>
            <c:dLbl>
              <c:idx val="3"/>
              <c:layout>
                <c:manualLayout>
                  <c:x val="-2.3953834994928938E-2"/>
                  <c:y val="-0.27279088058578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98-4085-965B-AD714345A657}"/>
                </c:ext>
              </c:extLst>
            </c:dLbl>
            <c:dLbl>
              <c:idx val="4"/>
              <c:layout>
                <c:manualLayout>
                  <c:x val="-5.6461458503312127E-2"/>
                  <c:y val="-0.4527167805466146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98-4085-965B-AD714345A657}"/>
                </c:ext>
              </c:extLst>
            </c:dLbl>
            <c:spPr>
              <a:noFill/>
              <a:ln>
                <a:noFill/>
              </a:ln>
              <a:effectLst/>
            </c:spPr>
            <c:txPr>
              <a:bodyPr wrap="square" lIns="38100" tIns="19050" rIns="38100" bIns="19050" anchor="ctr">
                <a:spAutoFit/>
              </a:bodyPr>
              <a:lstStyle/>
              <a:p>
                <a:pPr>
                  <a:defRPr sz="900">
                    <a:solidFill>
                      <a:schemeClr val="accent2">
                        <a:lumMod val="60000"/>
                        <a:lumOff val="40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Cambodia</c:v>
                </c:pt>
                <c:pt idx="1">
                  <c:v>Indonesia</c:v>
                </c:pt>
                <c:pt idx="2">
                  <c:v>Malaysia</c:v>
                </c:pt>
                <c:pt idx="3">
                  <c:v>Philippines</c:v>
                </c:pt>
                <c:pt idx="4">
                  <c:v>Vietnam</c:v>
                </c:pt>
              </c:strCache>
            </c:strRef>
          </c:cat>
          <c:val>
            <c:numRef>
              <c:f>Sheet1!$B$3:$F$3</c:f>
              <c:numCache>
                <c:formatCode>General</c:formatCode>
                <c:ptCount val="5"/>
                <c:pt idx="0">
                  <c:v>2095</c:v>
                </c:pt>
                <c:pt idx="1">
                  <c:v>132594</c:v>
                </c:pt>
                <c:pt idx="2">
                  <c:v>40397</c:v>
                </c:pt>
                <c:pt idx="3">
                  <c:v>47249</c:v>
                </c:pt>
                <c:pt idx="4">
                  <c:v>25752</c:v>
                </c:pt>
              </c:numCache>
            </c:numRef>
          </c:val>
          <c:smooth val="0"/>
          <c:extLst>
            <c:ext xmlns:c16="http://schemas.microsoft.com/office/drawing/2014/chart" uri="{C3380CC4-5D6E-409C-BE32-E72D297353CC}">
              <c16:uniqueId val="{00000005-1E98-4085-965B-AD714345A657}"/>
            </c:ext>
          </c:extLst>
        </c:ser>
        <c:dLbls>
          <c:showLegendKey val="0"/>
          <c:showVal val="0"/>
          <c:showCatName val="0"/>
          <c:showSerName val="0"/>
          <c:showPercent val="0"/>
          <c:showBubbleSize val="0"/>
        </c:dLbls>
        <c:marker val="1"/>
        <c:smooth val="0"/>
        <c:axId val="1442217743"/>
        <c:axId val="1442206927"/>
      </c:lineChart>
      <c:catAx>
        <c:axId val="319282736"/>
        <c:scaling>
          <c:orientation val="minMax"/>
        </c:scaling>
        <c:delete val="0"/>
        <c:axPos val="b"/>
        <c:numFmt formatCode="General" sourceLinked="1"/>
        <c:majorTickMark val="none"/>
        <c:minorTickMark val="none"/>
        <c:tickLblPos val="nextTo"/>
        <c:spPr>
          <a:ln w="9525">
            <a:solidFill>
              <a:schemeClr val="tx1"/>
            </a:solidFill>
          </a:ln>
        </c:spPr>
        <c:txPr>
          <a:bodyPr/>
          <a:lstStyle/>
          <a:p>
            <a:pPr>
              <a:defRPr sz="900"/>
            </a:pPr>
            <a:endParaRPr lang="en-US"/>
          </a:p>
        </c:txPr>
        <c:crossAx val="319283296"/>
        <c:crosses val="autoZero"/>
        <c:auto val="1"/>
        <c:lblAlgn val="ctr"/>
        <c:lblOffset val="100"/>
        <c:noMultiLvlLbl val="0"/>
      </c:catAx>
      <c:valAx>
        <c:axId val="319283296"/>
        <c:scaling>
          <c:orientation val="minMax"/>
          <c:max val="30000"/>
          <c:min val="500"/>
        </c:scaling>
        <c:delete val="0"/>
        <c:axPos val="l"/>
        <c:numFmt formatCode="0" sourceLinked="0"/>
        <c:majorTickMark val="out"/>
        <c:minorTickMark val="none"/>
        <c:tickLblPos val="nextTo"/>
        <c:spPr>
          <a:ln w="9525">
            <a:solidFill>
              <a:schemeClr val="tx1"/>
            </a:solidFill>
          </a:ln>
        </c:spPr>
        <c:txPr>
          <a:bodyPr rot="0" vert="horz"/>
          <a:lstStyle/>
          <a:p>
            <a:pPr>
              <a:defRPr sz="900"/>
            </a:pPr>
            <a:endParaRPr lang="en-US"/>
          </a:p>
        </c:txPr>
        <c:crossAx val="319282736"/>
        <c:crosses val="autoZero"/>
        <c:crossBetween val="between"/>
        <c:minorUnit val="1000"/>
      </c:valAx>
      <c:valAx>
        <c:axId val="1442206927"/>
        <c:scaling>
          <c:orientation val="minMax"/>
          <c:max val="150000"/>
          <c:min val="500"/>
        </c:scaling>
        <c:delete val="0"/>
        <c:axPos val="r"/>
        <c:numFmt formatCode="0" sourceLinked="0"/>
        <c:majorTickMark val="out"/>
        <c:minorTickMark val="none"/>
        <c:tickLblPos val="nextTo"/>
        <c:txPr>
          <a:bodyPr/>
          <a:lstStyle/>
          <a:p>
            <a:pPr>
              <a:defRPr sz="900"/>
            </a:pPr>
            <a:endParaRPr lang="en-US"/>
          </a:p>
        </c:txPr>
        <c:crossAx val="1442217743"/>
        <c:crosses val="max"/>
        <c:crossBetween val="between"/>
        <c:majorUnit val="30000"/>
        <c:minorUnit val="10000"/>
      </c:valAx>
      <c:catAx>
        <c:axId val="1442217743"/>
        <c:scaling>
          <c:orientation val="minMax"/>
        </c:scaling>
        <c:delete val="1"/>
        <c:axPos val="b"/>
        <c:numFmt formatCode="General" sourceLinked="1"/>
        <c:majorTickMark val="out"/>
        <c:minorTickMark val="none"/>
        <c:tickLblPos val="nextTo"/>
        <c:crossAx val="1442206927"/>
        <c:crosses val="autoZero"/>
        <c:auto val="1"/>
        <c:lblAlgn val="ctr"/>
        <c:lblOffset val="100"/>
        <c:noMultiLvlLbl val="0"/>
      </c:catAx>
    </c:plotArea>
    <c:legend>
      <c:legendPos val="r"/>
      <c:layout>
        <c:manualLayout>
          <c:xMode val="edge"/>
          <c:yMode val="edge"/>
          <c:x val="0.21638257588588061"/>
          <c:y val="0.71314866668829857"/>
          <c:w val="0.54959920722128841"/>
          <c:h val="0.15410833851661901"/>
        </c:manualLayout>
      </c:layout>
      <c:overlay val="0"/>
      <c:txPr>
        <a:bodyPr/>
        <a:lstStyle/>
        <a:p>
          <a:pPr>
            <a:defRPr sz="100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01F918-E684-4806-851F-26E001D0835F}" type="datetimeFigureOut">
              <a:rPr lang="en-IN" smtClean="0"/>
              <a:t>04-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F2B7BC-6DA5-4D6D-AE66-3935623AA236}" type="slidenum">
              <a:rPr lang="en-IN" smtClean="0"/>
              <a:t>‹#›</a:t>
            </a:fld>
            <a:endParaRPr lang="en-IN"/>
          </a:p>
        </p:txBody>
      </p:sp>
    </p:spTree>
    <p:extLst>
      <p:ext uri="{BB962C8B-B14F-4D97-AF65-F5344CB8AC3E}">
        <p14:creationId xmlns:p14="http://schemas.microsoft.com/office/powerpoint/2010/main" val="3450062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ecdc.europa.eu/en/dengue-monthly"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dc.gov/dengue/areaswithrisk/index.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thelancet.com/journals/lancet/article/PIIS0140-6736(19)32525-5/fulltext" TargetMode="External"/><Relationship Id="rId3" Type="http://schemas.openxmlformats.org/officeDocument/2006/relationships/hyperlink" Target="https://www.reuters.com/companies/SNY.O" TargetMode="External"/><Relationship Id="rId7" Type="http://schemas.openxmlformats.org/officeDocument/2006/relationships/hyperlink" Target="https://www.ncbi.nlm.nih.gov/pmc/articles/PMC6816420/#:~:text=Dengvaxia%C2%AE%20is%20a%20live,yellow%20fever%20dengue%20%E2%80%93%20CYD"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who.int/news-room/fact-sheets/detail/dengue-and-severe-dengue" TargetMode="External"/><Relationship Id="rId5" Type="http://schemas.openxmlformats.org/officeDocument/2006/relationships/hyperlink" Target="https://en.wikipedia.org/wiki/Sanofi" TargetMode="External"/><Relationship Id="rId4" Type="http://schemas.openxmlformats.org/officeDocument/2006/relationships/hyperlink" Target="https://www.macrotrends.net/stocks/charts/SNY/sanofi/revenue" TargetMode="External"/><Relationship Id="rId9" Type="http://schemas.openxmlformats.org/officeDocument/2006/relationships/hyperlink" Target="https://www.fda.gov/media/124379/download"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breakdengue.org/dengue-vaccine-pipeline-are-new-approvals-on-the-horizon/"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transparencymarketresearch.com/dengue-vaccine-market.htm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F2B7BC-6DA5-4D6D-AE66-3935623AA236}"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468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9036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09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https://www.ecdc.europa.eu/en/dengue-monthly</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N" dirty="0"/>
              <a:t>https://www3.paho.org/data/index.php/en/mnu-topics/indicadores-dengue-en/dengue-nacional-en/252-dengue-pais-ano-en.html</a:t>
            </a:r>
          </a:p>
          <a:p>
            <a:r>
              <a:rPr lang="en-IN" dirty="0"/>
              <a:t>https://sehatnegeriku.kemkes.go.id/baca/umum/20201203/2335899/data-kasus-terbaru-dbd-indonesia/</a:t>
            </a:r>
          </a:p>
          <a:p>
            <a:r>
              <a:rPr lang="en-IN" dirty="0"/>
              <a:t>https://nvbdcp.gov.in/index4.php?lang=1&amp;level=0&amp;linkid=431&amp;lid=3715</a:t>
            </a:r>
          </a:p>
        </p:txBody>
      </p:sp>
      <p:sp>
        <p:nvSpPr>
          <p:cNvPr id="4" name="Slide Number Placeholder 3"/>
          <p:cNvSpPr>
            <a:spLocks noGrp="1"/>
          </p:cNvSpPr>
          <p:nvPr>
            <p:ph type="sldNum" sz="quarter" idx="5"/>
          </p:nvPr>
        </p:nvSpPr>
        <p:spPr/>
        <p:txBody>
          <a:bodyPr/>
          <a:lstStyle/>
          <a:p>
            <a:fld id="{4DF2B7BC-6DA5-4D6D-AE66-3935623AA236}" type="slidenum">
              <a:rPr lang="en-IN" smtClean="0"/>
              <a:t>4</a:t>
            </a:fld>
            <a:endParaRPr lang="en-IN"/>
          </a:p>
        </p:txBody>
      </p:sp>
    </p:spTree>
    <p:extLst>
      <p:ext uri="{BB962C8B-B14F-4D97-AF65-F5344CB8AC3E}">
        <p14:creationId xmlns:p14="http://schemas.microsoft.com/office/powerpoint/2010/main" val="1667971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dirty="0">
                <a:effectLst/>
                <a:latin typeface="Calibri" panose="020F0502020204030204" pitchFamily="34" charset="0"/>
                <a:ea typeface="Calibri" panose="020F0502020204030204" pitchFamily="34" charset="0"/>
                <a:cs typeface="Times New Roman" panose="02020603050405020304" pitchFamily="18" charset="0"/>
              </a:rPr>
              <a:t>https://www.ecdc.europa.eu/en/dengue-monthly</a:t>
            </a:r>
          </a:p>
          <a:p>
            <a:r>
              <a:rPr lang="en-IN" sz="1800" dirty="0">
                <a:effectLst/>
                <a:latin typeface="Calibri" panose="020F0502020204030204" pitchFamily="34" charset="0"/>
                <a:ea typeface="Calibri" panose="020F0502020204030204" pitchFamily="34" charset="0"/>
                <a:cs typeface="Times New Roman" panose="02020603050405020304" pitchFamily="18" charset="0"/>
              </a:rPr>
              <a:t>https://www3.paho.org/data/index.php/en/mnu-topics/indicadores-dengue-en/dengue-nacional-en/252-dengue-pais-ano-en.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sehatnegeriku.kemkes.go.id/baca/umum/20201203/2335899/data-kasus-terbaru-dbd-indonesia/</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nvbdcp.gov.in/index4.php?lang=1&amp;level=0&amp;linkid=431&amp;lid=3715</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unitedengue.org/regionaldengue.html</a:t>
            </a:r>
          </a:p>
          <a:p>
            <a:endParaRPr lang="en-IN" dirty="0"/>
          </a:p>
        </p:txBody>
      </p:sp>
      <p:sp>
        <p:nvSpPr>
          <p:cNvPr id="4" name="Slide Number Placeholder 3"/>
          <p:cNvSpPr>
            <a:spLocks noGrp="1"/>
          </p:cNvSpPr>
          <p:nvPr>
            <p:ph type="sldNum" sz="quarter" idx="5"/>
          </p:nvPr>
        </p:nvSpPr>
        <p:spPr/>
        <p:txBody>
          <a:bodyPr/>
          <a:lstStyle/>
          <a:p>
            <a:fld id="{4DF2B7BC-6DA5-4D6D-AE66-3935623AA236}" type="slidenum">
              <a:rPr lang="en-IN" smtClean="0"/>
              <a:t>5</a:t>
            </a:fld>
            <a:endParaRPr lang="en-IN"/>
          </a:p>
        </p:txBody>
      </p:sp>
    </p:spTree>
    <p:extLst>
      <p:ext uri="{BB962C8B-B14F-4D97-AF65-F5344CB8AC3E}">
        <p14:creationId xmlns:p14="http://schemas.microsoft.com/office/powerpoint/2010/main" val="1425159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lnSpc>
                <a:spcPct val="107000"/>
              </a:lnSpc>
              <a:spcAft>
                <a:spcPts val="800"/>
              </a:spcAft>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https://www.cdc.gov/dengue/areaswithrisk/index.html</a:t>
            </a:r>
            <a:endPar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https://www.who.int/news-room/fact-sheets/detail/dengue-and-severe-dengue</a:t>
            </a:r>
          </a:p>
          <a:p>
            <a:pPr marL="457200">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https://www.sciencedirect.com/science/article/pii/S2414644719300077</a:t>
            </a:r>
          </a:p>
          <a:p>
            <a:pPr marL="457200">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https://www.nature.com/articles/s41564-019-0476-8</a:t>
            </a:r>
          </a:p>
          <a:p>
            <a:pPr marL="457200">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4DF2B7BC-6DA5-4D6D-AE66-3935623AA236}" type="slidenum">
              <a:rPr lang="en-IN" smtClean="0"/>
              <a:t>6</a:t>
            </a:fld>
            <a:endParaRPr lang="en-IN"/>
          </a:p>
        </p:txBody>
      </p:sp>
    </p:spTree>
    <p:extLst>
      <p:ext uri="{BB962C8B-B14F-4D97-AF65-F5344CB8AC3E}">
        <p14:creationId xmlns:p14="http://schemas.microsoft.com/office/powerpoint/2010/main" val="2626434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674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lnSpc>
                <a:spcPct val="107000"/>
              </a:lnSpc>
              <a:spcAft>
                <a:spcPts val="800"/>
              </a:spcAft>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https://www.reuters.com/companies/SNY.O</a:t>
            </a:r>
            <a:r>
              <a:rPr lang="en-IN" sz="1800" dirty="0">
                <a:effectLst/>
                <a:latin typeface="Calibri" panose="020F0502020204030204" pitchFamily="34" charset="0"/>
                <a:ea typeface="Calibri" panose="020F0502020204030204" pitchFamily="34" charset="0"/>
                <a:cs typeface="Times New Roman" panose="02020603050405020304" pitchFamily="18" charset="0"/>
              </a:rPr>
              <a:t> </a:t>
            </a:r>
          </a:p>
          <a:p>
            <a:pPr marL="457200">
              <a:lnSpc>
                <a:spcPct val="107000"/>
              </a:lnSpc>
              <a:spcAft>
                <a:spcPts val="800"/>
              </a:spcAft>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https://www.macrotrends.net/stocks/charts/SNY/sanofi/revenue</a:t>
            </a:r>
            <a:endPar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800"/>
              </a:spcAft>
              <a:buClrTx/>
              <a:buSzTx/>
              <a:buFontTx/>
              <a:buNone/>
              <a:tabLst/>
              <a:defRPr/>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https://en.wikipedia.org/wiki/Sanofi</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https://www.sanofi.com/en/our-responsibility/equality-and-inclusiveness/partners</a:t>
            </a:r>
          </a:p>
          <a:p>
            <a:pPr marL="457200">
              <a:lnSpc>
                <a:spcPct val="107000"/>
              </a:lnSpc>
              <a:spcAft>
                <a:spcPts val="800"/>
              </a:spcAft>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https://www.who.int/news-room/fact-sheets/detail/dengue-and-severe-dengue</a:t>
            </a:r>
            <a:endPar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800"/>
              </a:spcAft>
              <a:buClrTx/>
              <a:buSzTx/>
              <a:buFontTx/>
              <a:buNone/>
              <a:tabLst/>
              <a:defRPr/>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https://www.ncbi.nlm.nih.gov/pmc/articles/PMC6816420/#:~:text=Dengvaxia%C2%AE%20is%20a%20live,yellow%20fever%20dengue%20%E2%80%93%20CYD</a:t>
            </a:r>
            <a:r>
              <a:rPr lang="en-IN" sz="1800" dirty="0">
                <a:effectLst/>
                <a:latin typeface="Calibri" panose="020F0502020204030204" pitchFamily="34" charset="0"/>
                <a:ea typeface="Calibri" panose="020F0502020204030204" pitchFamily="34" charset="0"/>
                <a:cs typeface="Times New Roman" panose="02020603050405020304" pitchFamily="18" charset="0"/>
              </a:rPr>
              <a:t>).</a:t>
            </a:r>
          </a:p>
          <a:p>
            <a:pPr marL="457200">
              <a:lnSpc>
                <a:spcPct val="107000"/>
              </a:lnSpc>
              <a:spcAft>
                <a:spcPts val="800"/>
              </a:spcAft>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https://www.thelancet.com/journals/lancet/article/PIIS0140-6736(19)32525-5/fulltext</a:t>
            </a:r>
            <a:endPar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800"/>
              </a:spcAft>
              <a:buClrTx/>
              <a:buSzTx/>
              <a:buFontTx/>
              <a:buNone/>
              <a:tabLst/>
              <a:defRPr/>
            </a:pPr>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9"/>
              </a:rPr>
              <a:t>https://www.fda.gov/media/124379/download</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F2B7BC-6DA5-4D6D-AE66-3935623AA236}"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978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193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clinicaltrials.gov/ct2/show/NCT02747927</a:t>
            </a:r>
          </a:p>
          <a:p>
            <a:r>
              <a:rPr lang="en-IN" dirty="0"/>
              <a:t>https://clinicaltrials.gov/ct2/show/NCT02406729</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panaceabiotec.com/press-release-panacea-biotec-announces-successful-completion-of-phase-i-ii-study-of-its-novel-tetravalent-recombinant-chimeric-dengue-candidate-vaccine-dengiall</a:t>
            </a:r>
          </a:p>
          <a:p>
            <a:r>
              <a:rPr lang="en-IN" dirty="0"/>
              <a:t>https://ichgcp.net/clinical-trials-registry/NCT03110952</a:t>
            </a:r>
          </a:p>
          <a:p>
            <a:r>
              <a:rPr lang="en-IN" dirty="0"/>
              <a:t>https://clinicaltrials.gov/ct2/show/NCT01477580</a:t>
            </a:r>
          </a:p>
          <a:p>
            <a:r>
              <a:rPr lang="en-IN" dirty="0"/>
              <a:t>https://clinicaltrials.gov/ct2/show/NCT00290147</a:t>
            </a:r>
          </a:p>
          <a:p>
            <a:r>
              <a:rPr lang="en-IN" dirty="0"/>
              <a:t>https://www.anzctr.org.au/Trial/Registration/TrialReview.aspx?id=375233</a:t>
            </a:r>
          </a:p>
          <a:p>
            <a:r>
              <a:rPr lang="en-IN" dirty="0"/>
              <a:t>https://ichgcp.net/clinical-trials-registry/NCT0403527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Dengue vaccine pipeline: Are new approvals on the horizon? · Break Dengue</a:t>
            </a:r>
            <a:endParaRPr lang="en-US" dirty="0"/>
          </a:p>
          <a:p>
            <a:r>
              <a:rPr lang="en-IN" dirty="0"/>
              <a:t>https://www.takeda.com/newsroom/newsreleases/2021/takeda-begins-regulatory-submissions-for-dengue-vaccine-candidate-in-eu--and-dengue-endemic-countries/</a:t>
            </a:r>
          </a:p>
          <a:p>
            <a:r>
              <a:rPr lang="en-IN" dirty="0"/>
              <a:t>https://sunpharma.com/wp-content/uploads/2020/12/Press-Release-Sun-Pharma-ICGEB-announce-collaboration-to-develop-novel-dengue-vaccine.pdf</a:t>
            </a:r>
          </a:p>
          <a:p>
            <a:r>
              <a:rPr lang="en-IN" dirty="0"/>
              <a:t>https://www.icgeb.org/icgeb-with-sun-pharma-for-phase-ii-clinical-trial-on-aqch-for-treatment-of-covid-19-pati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https://www.transparencymarketresearch.com/dengue-vaccine-market.html</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4DF2B7BC-6DA5-4D6D-AE66-3935623AA236}" type="slidenum">
              <a:rPr lang="en-IN" smtClean="0"/>
              <a:t>10</a:t>
            </a:fld>
            <a:endParaRPr lang="en-IN"/>
          </a:p>
        </p:txBody>
      </p:sp>
    </p:spTree>
    <p:extLst>
      <p:ext uri="{BB962C8B-B14F-4D97-AF65-F5344CB8AC3E}">
        <p14:creationId xmlns:p14="http://schemas.microsoft.com/office/powerpoint/2010/main" val="33493334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oleObject" Target="../embeddings/oleObject4.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2.xml"/><Relationship Id="rId7" Type="http://schemas.openxmlformats.org/officeDocument/2006/relationships/oleObject" Target="../embeddings/oleObject3.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30.bin"/><Relationship Id="rId10" Type="http://schemas.openxmlformats.org/officeDocument/2006/relationships/image" Target="../media/image2.emf"/><Relationship Id="rId4" Type="http://schemas.openxmlformats.org/officeDocument/2006/relationships/slideMaster" Target="../slideMasters/slideMaster1.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6.xml"/><Relationship Id="rId7" Type="http://schemas.openxmlformats.org/officeDocument/2006/relationships/image" Target="../media/image2.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jpeg"/><Relationship Id="rId4" Type="http://schemas.openxmlformats.org/officeDocument/2006/relationships/slideMaster" Target="../slideMasters/slideMaster2.xml"/><Relationship Id="rId9"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9.xml"/><Relationship Id="rId7" Type="http://schemas.openxmlformats.org/officeDocument/2006/relationships/oleObject" Target="../embeddings/oleObject6.bin"/><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2.xml"/><Relationship Id="rId7" Type="http://schemas.openxmlformats.org/officeDocument/2006/relationships/oleObject" Target="../embeddings/oleObject9.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5.xml"/><Relationship Id="rId7" Type="http://schemas.openxmlformats.org/officeDocument/2006/relationships/oleObject" Target="../embeddings/oleObject12.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48.xml"/><Relationship Id="rId7" Type="http://schemas.openxmlformats.org/officeDocument/2006/relationships/oleObject" Target="../embeddings/oleObject15.bin"/><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51.xml"/><Relationship Id="rId7" Type="http://schemas.openxmlformats.org/officeDocument/2006/relationships/oleObject" Target="../embeddings/oleObject18.bin"/><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4.xml"/><Relationship Id="rId7" Type="http://schemas.openxmlformats.org/officeDocument/2006/relationships/oleObject" Target="../embeddings/oleObject21.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57.xml"/><Relationship Id="rId7" Type="http://schemas.openxmlformats.org/officeDocument/2006/relationships/oleObject" Target="../embeddings/oleObject24.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7.xml"/><Relationship Id="rId7"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60.xml"/><Relationship Id="rId7" Type="http://schemas.openxmlformats.org/officeDocument/2006/relationships/oleObject" Target="../embeddings/oleObject27.bin"/><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4.xml"/><Relationship Id="rId7" Type="http://schemas.openxmlformats.org/officeDocument/2006/relationships/oleObject" Target="../embeddings/oleObject3.bin"/><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30.bin"/><Relationship Id="rId10" Type="http://schemas.openxmlformats.org/officeDocument/2006/relationships/image" Target="../media/image2.emf"/><Relationship Id="rId4" Type="http://schemas.openxmlformats.org/officeDocument/2006/relationships/slideMaster" Target="../slideMasters/slideMaster2.xml"/><Relationship Id="rId9"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8.xml"/><Relationship Id="rId7" Type="http://schemas.openxmlformats.org/officeDocument/2006/relationships/image" Target="../media/image2.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jpeg"/><Relationship Id="rId4" Type="http://schemas.openxmlformats.org/officeDocument/2006/relationships/slideMaster" Target="../slideMasters/slideMaster3.xml"/><Relationship Id="rId9"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71.xml"/><Relationship Id="rId7" Type="http://schemas.openxmlformats.org/officeDocument/2006/relationships/oleObject" Target="../embeddings/oleObject6.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74.xml"/><Relationship Id="rId7" Type="http://schemas.openxmlformats.org/officeDocument/2006/relationships/oleObject" Target="../embeddings/oleObject9.bin"/><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77.xml"/><Relationship Id="rId7" Type="http://schemas.openxmlformats.org/officeDocument/2006/relationships/oleObject" Target="../embeddings/oleObject12.bin"/><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80.xml"/><Relationship Id="rId7" Type="http://schemas.openxmlformats.org/officeDocument/2006/relationships/oleObject" Target="../embeddings/oleObject15.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83.xml"/><Relationship Id="rId7" Type="http://schemas.openxmlformats.org/officeDocument/2006/relationships/oleObject" Target="../embeddings/oleObject18.bin"/><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86.xml"/><Relationship Id="rId7" Type="http://schemas.openxmlformats.org/officeDocument/2006/relationships/oleObject" Target="../embeddings/oleObject21.bin"/><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0.xml"/><Relationship Id="rId7"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89.xml"/><Relationship Id="rId7" Type="http://schemas.openxmlformats.org/officeDocument/2006/relationships/oleObject" Target="../embeddings/oleObject24.bin"/><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92.xml"/><Relationship Id="rId7" Type="http://schemas.openxmlformats.org/officeDocument/2006/relationships/oleObject" Target="../embeddings/oleObject27.bin"/><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96.xml"/><Relationship Id="rId7" Type="http://schemas.openxmlformats.org/officeDocument/2006/relationships/oleObject" Target="../embeddings/oleObject3.bin"/><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5" Type="http://schemas.openxmlformats.org/officeDocument/2006/relationships/oleObject" Target="../embeddings/oleObject30.bin"/><Relationship Id="rId10" Type="http://schemas.openxmlformats.org/officeDocument/2006/relationships/image" Target="../media/image2.emf"/><Relationship Id="rId4" Type="http://schemas.openxmlformats.org/officeDocument/2006/relationships/slideMaster" Target="../slideMasters/slideMaster3.xml"/><Relationship Id="rId9" Type="http://schemas.openxmlformats.org/officeDocument/2006/relationships/image" Target="../media/image3.jpeg"/></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0.xml"/><Relationship Id="rId7" Type="http://schemas.openxmlformats.org/officeDocument/2006/relationships/image" Target="../media/image2.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jpeg"/><Relationship Id="rId4" Type="http://schemas.openxmlformats.org/officeDocument/2006/relationships/slideMaster" Target="../slideMasters/slideMaster4.xml"/><Relationship Id="rId9"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03.xml"/><Relationship Id="rId7" Type="http://schemas.openxmlformats.org/officeDocument/2006/relationships/oleObject" Target="../embeddings/oleObject6.bin"/><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06.xml"/><Relationship Id="rId7" Type="http://schemas.openxmlformats.org/officeDocument/2006/relationships/oleObject" Target="../embeddings/oleObject9.bin"/><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9.xml"/><Relationship Id="rId7" Type="http://schemas.openxmlformats.org/officeDocument/2006/relationships/oleObject" Target="../embeddings/oleObject12.bin"/><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2.xml"/><Relationship Id="rId7" Type="http://schemas.openxmlformats.org/officeDocument/2006/relationships/oleObject" Target="../embeddings/oleObject15.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15.xml"/><Relationship Id="rId7" Type="http://schemas.openxmlformats.org/officeDocument/2006/relationships/oleObject" Target="../embeddings/oleObject18.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3.xml"/><Relationship Id="rId7"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18.xml"/><Relationship Id="rId7" Type="http://schemas.openxmlformats.org/officeDocument/2006/relationships/oleObject" Target="../embeddings/oleObject21.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21.xml"/><Relationship Id="rId7" Type="http://schemas.openxmlformats.org/officeDocument/2006/relationships/oleObject" Target="../embeddings/oleObject24.bin"/><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24.xml"/><Relationship Id="rId7" Type="http://schemas.openxmlformats.org/officeDocument/2006/relationships/oleObject" Target="../embeddings/oleObject27.bin"/><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125.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28.xml"/><Relationship Id="rId7" Type="http://schemas.openxmlformats.org/officeDocument/2006/relationships/oleObject" Target="../embeddings/oleObject3.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emf"/><Relationship Id="rId5" Type="http://schemas.openxmlformats.org/officeDocument/2006/relationships/oleObject" Target="../embeddings/oleObject30.bin"/><Relationship Id="rId10" Type="http://schemas.openxmlformats.org/officeDocument/2006/relationships/image" Target="../media/image2.emf"/><Relationship Id="rId4" Type="http://schemas.openxmlformats.org/officeDocument/2006/relationships/slideMaster" Target="../slideMasters/slideMaster4.xml"/><Relationship Id="rId9" Type="http://schemas.openxmlformats.org/officeDocument/2006/relationships/image" Target="../media/image3.jpeg"/></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32.xml"/><Relationship Id="rId7" Type="http://schemas.openxmlformats.org/officeDocument/2006/relationships/image" Target="../media/image2.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3.jpeg"/><Relationship Id="rId4" Type="http://schemas.openxmlformats.org/officeDocument/2006/relationships/slideMaster" Target="../slideMasters/slideMaster5.xml"/><Relationship Id="rId9" Type="http://schemas.openxmlformats.org/officeDocument/2006/relationships/oleObject" Target="../embeddings/oleObject4.bin"/></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35.xml"/><Relationship Id="rId7" Type="http://schemas.openxmlformats.org/officeDocument/2006/relationships/oleObject" Target="../embeddings/oleObject6.bin"/><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38.xml"/><Relationship Id="rId7" Type="http://schemas.openxmlformats.org/officeDocument/2006/relationships/oleObject" Target="../embeddings/oleObject9.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41.xml"/><Relationship Id="rId7" Type="http://schemas.openxmlformats.org/officeDocument/2006/relationships/oleObject" Target="../embeddings/oleObject12.bin"/><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44.xml"/><Relationship Id="rId7" Type="http://schemas.openxmlformats.org/officeDocument/2006/relationships/oleObject" Target="../embeddings/oleObject15.bin"/><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6.xml"/><Relationship Id="rId7"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7.xml"/><Relationship Id="rId7" Type="http://schemas.openxmlformats.org/officeDocument/2006/relationships/oleObject" Target="../embeddings/oleObject18.bin"/><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0.xml"/><Relationship Id="rId7" Type="http://schemas.openxmlformats.org/officeDocument/2006/relationships/oleObject" Target="../embeddings/oleObject21.bin"/><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53.xml"/><Relationship Id="rId7" Type="http://schemas.openxmlformats.org/officeDocument/2006/relationships/oleObject" Target="../embeddings/oleObject24.bin"/><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56.xml"/><Relationship Id="rId7" Type="http://schemas.openxmlformats.org/officeDocument/2006/relationships/oleObject" Target="../embeddings/oleObject27.bin"/><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157.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0.xml"/><Relationship Id="rId7" Type="http://schemas.openxmlformats.org/officeDocument/2006/relationships/oleObject" Target="../embeddings/oleObject3.bin"/><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emf"/><Relationship Id="rId5" Type="http://schemas.openxmlformats.org/officeDocument/2006/relationships/oleObject" Target="../embeddings/oleObject30.bin"/><Relationship Id="rId10" Type="http://schemas.openxmlformats.org/officeDocument/2006/relationships/image" Target="../media/image2.emf"/><Relationship Id="rId4" Type="http://schemas.openxmlformats.org/officeDocument/2006/relationships/slideMaster" Target="../slideMasters/slideMaster5.xml"/><Relationship Id="rId9" Type="http://schemas.openxmlformats.org/officeDocument/2006/relationships/image" Target="../media/image3.jpe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64.xml"/><Relationship Id="rId7"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7.emf"/><Relationship Id="rId5" Type="http://schemas.openxmlformats.org/officeDocument/2006/relationships/oleObject" Target="../embeddings/oleObject32.bin"/><Relationship Id="rId4" Type="http://schemas.openxmlformats.org/officeDocument/2006/relationships/slideMaster" Target="../slideMasters/slideMaster6.xml"/><Relationship Id="rId9"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165.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9.xml"/><Relationship Id="rId7"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11.jpeg"/><Relationship Id="rId5" Type="http://schemas.openxmlformats.org/officeDocument/2006/relationships/image" Target="../media/image7.emf"/><Relationship Id="rId4" Type="http://schemas.openxmlformats.org/officeDocument/2006/relationships/oleObject" Target="../embeddings/oleObject35.bin"/><Relationship Id="rId9"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2.jpeg"/><Relationship Id="rId5" Type="http://schemas.openxmlformats.org/officeDocument/2006/relationships/image" Target="../media/image7.emf"/><Relationship Id="rId4" Type="http://schemas.openxmlformats.org/officeDocument/2006/relationships/oleObject" Target="../embeddings/oleObject36.bin"/><Relationship Id="rId9"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13.jpeg"/><Relationship Id="rId5" Type="http://schemas.openxmlformats.org/officeDocument/2006/relationships/image" Target="../media/image7.emf"/><Relationship Id="rId4" Type="http://schemas.openxmlformats.org/officeDocument/2006/relationships/oleObject" Target="../embeddings/oleObject37.bin"/><Relationship Id="rId9"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4.emf"/><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14.emf"/><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15.emf"/><Relationship Id="rId4" Type="http://schemas.openxmlformats.org/officeDocument/2006/relationships/tags" Target="../tags/tag180.xml"/><Relationship Id="rId9" Type="http://schemas.openxmlformats.org/officeDocument/2006/relationships/oleObject" Target="../embeddings/oleObject40.bin"/></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87.xml"/><Relationship Id="rId7" Type="http://schemas.openxmlformats.org/officeDocument/2006/relationships/image" Target="../media/image2.emf"/><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emf"/><Relationship Id="rId5" Type="http://schemas.openxmlformats.org/officeDocument/2006/relationships/oleObject" Target="../embeddings/oleObject42.bin"/><Relationship Id="rId10" Type="http://schemas.openxmlformats.org/officeDocument/2006/relationships/image" Target="../media/image3.jpeg"/><Relationship Id="rId4" Type="http://schemas.openxmlformats.org/officeDocument/2006/relationships/slideMaster" Target="../slideMasters/slideMaster7.xml"/><Relationship Id="rId9" Type="http://schemas.openxmlformats.org/officeDocument/2006/relationships/oleObject" Target="../embeddings/oleObject44.bin"/></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190.xml"/><Relationship Id="rId7" Type="http://schemas.openxmlformats.org/officeDocument/2006/relationships/oleObject" Target="../embeddings/oleObject46.bin"/><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3.xml"/><Relationship Id="rId7" Type="http://schemas.openxmlformats.org/officeDocument/2006/relationships/oleObject" Target="../embeddings/oleObject49.bin"/><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196.xml"/><Relationship Id="rId7" Type="http://schemas.openxmlformats.org/officeDocument/2006/relationships/oleObject" Target="../embeddings/oleObject52.bin"/><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2.xml"/><Relationship Id="rId7"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199.xml"/><Relationship Id="rId7" Type="http://schemas.openxmlformats.org/officeDocument/2006/relationships/oleObject" Target="../embeddings/oleObject55.bin"/><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202.xml"/><Relationship Id="rId7" Type="http://schemas.openxmlformats.org/officeDocument/2006/relationships/oleObject" Target="../embeddings/oleObject58.bin"/><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205.xml"/><Relationship Id="rId7" Type="http://schemas.openxmlformats.org/officeDocument/2006/relationships/oleObject" Target="../embeddings/oleObject61.bin"/><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208.xml"/><Relationship Id="rId7" Type="http://schemas.openxmlformats.org/officeDocument/2006/relationships/oleObject" Target="../embeddings/oleObject64.bin"/><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211.xml"/><Relationship Id="rId7" Type="http://schemas.openxmlformats.org/officeDocument/2006/relationships/oleObject" Target="../embeddings/oleObject67.bin"/><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7.xml"/><Relationship Id="rId1" Type="http://schemas.openxmlformats.org/officeDocument/2006/relationships/tags" Target="../tags/tag212.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15.xml"/><Relationship Id="rId7" Type="http://schemas.openxmlformats.org/officeDocument/2006/relationships/oleObject" Target="../embeddings/oleObject43.bin"/><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1.emf"/><Relationship Id="rId5" Type="http://schemas.openxmlformats.org/officeDocument/2006/relationships/oleObject" Target="../embeddings/oleObject70.bin"/><Relationship Id="rId10" Type="http://schemas.openxmlformats.org/officeDocument/2006/relationships/image" Target="../media/image2.emf"/><Relationship Id="rId4" Type="http://schemas.openxmlformats.org/officeDocument/2006/relationships/slideMaster" Target="../slideMasters/slideMaster7.xml"/><Relationship Id="rId9"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5.xml"/><Relationship Id="rId7" Type="http://schemas.openxmlformats.org/officeDocument/2006/relationships/oleObject" Target="../embeddings/oleObject24.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8.xml"/><Relationship Id="rId7" Type="http://schemas.openxmlformats.org/officeDocument/2006/relationships/oleObject" Target="../embeddings/oleObject27.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487503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04234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1740190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6195116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2015391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95121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80978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3684383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0"/>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369802183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874361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592479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3012490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367052732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304378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33474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1345170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09832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96868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795082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207654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440858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5352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2546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37625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29811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256689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32608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2524689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410544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0962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371625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633595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914511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88433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622568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1829250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66326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891737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57798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3189992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05652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32416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489919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1949780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009596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00556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07926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3521352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37531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3262298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146552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90373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4235917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0"/>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81998938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07033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96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348381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122041821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27008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771576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28816339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623771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83757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58674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475541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9626110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13019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69003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1712867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859937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31309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60630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1042342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76724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09088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918365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1498530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256879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30798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28420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2927622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49728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346926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81155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3737973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056454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79673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12934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24490638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80503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86489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85703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2243524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914616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19653014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9771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496725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3403587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0"/>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229894711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943285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017128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1040729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192086541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325579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72204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1503987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97785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75109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910416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240497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419851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98589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65819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3682342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14224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161991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87939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1841002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938056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73428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298712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1662840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13966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03874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91784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2577660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064861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26867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32058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3693252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74389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954592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64904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075563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186490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27883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92902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217989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645371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27414914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325655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46622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2117375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0"/>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235158465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11042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54930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2413436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109277689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277776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211859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469933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299295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27138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488887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3700863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078808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540569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200326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1628802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53667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97452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02294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749324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49617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90123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84781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3438836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34614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4413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84163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1790660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732330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205775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91205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2993395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13471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58929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0851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863827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755090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847201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82141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370303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38846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31585662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1806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372081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3356166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0"/>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1665589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856900740"/>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2122" y="1589"/>
                        <a:ext cx="2116"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91EB13CF-A550-4B14-AFFC-BDCB0272CACE}"/>
              </a:ext>
            </a:extLst>
          </p:cNvPr>
          <p:cNvGrpSpPr/>
          <p:nvPr userDrawn="1"/>
        </p:nvGrpSpPr>
        <p:grpSpPr>
          <a:xfrm>
            <a:off x="5" y="0"/>
            <a:ext cx="12192001" cy="6858000"/>
            <a:chOff x="575999" y="775432"/>
            <a:chExt cx="9144001" cy="6858000"/>
          </a:xfrm>
        </p:grpSpPr>
        <p:sp>
          <p:nvSpPr>
            <p:cNvPr id="24" name="Freihandform 3">
              <a:extLst>
                <a:ext uri="{FF2B5EF4-FFF2-40B4-BE49-F238E27FC236}">
                  <a16:creationId xmlns:a16="http://schemas.microsoft.com/office/drawing/2014/main" id="{7D9B7D66-EB0B-45F6-A60A-0D8D00368CD6}"/>
                </a:ext>
              </a:extLst>
            </p:cNvPr>
            <p:cNvSpPr/>
            <p:nvPr userDrawn="1">
              <p:custDataLst>
                <p:tags r:id="rId3"/>
              </p:custDataLst>
            </p:nvPr>
          </p:nvSpPr>
          <p:spPr bwMode="auto">
            <a:xfrm>
              <a:off x="575999" y="775432"/>
              <a:ext cx="9144001" cy="6037942"/>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1219108" fontAlgn="base">
                <a:spcBef>
                  <a:spcPct val="0"/>
                </a:spcBef>
                <a:spcAft>
                  <a:spcPct val="0"/>
                </a:spcAft>
              </a:pPr>
              <a:endParaRPr lang="en-US" sz="2667" dirty="0">
                <a:solidFill>
                  <a:srgbClr val="000000"/>
                </a:solidFill>
                <a:latin typeface="Arial" charset="0"/>
              </a:endParaRPr>
            </a:p>
          </p:txBody>
        </p:sp>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75999" y="775432"/>
              <a:ext cx="9144000" cy="6858000"/>
            </a:xfrm>
            <a:prstGeom prst="rect">
              <a:avLst/>
            </a:prstGeom>
          </p:spPr>
        </p:pic>
      </p:grpSp>
      <p:sp>
        <p:nvSpPr>
          <p:cNvPr id="11" name="Text Placeholder 3"/>
          <p:cNvSpPr>
            <a:spLocks noGrp="1"/>
          </p:cNvSpPr>
          <p:nvPr>
            <p:ph type="body" sz="quarter" idx="14" hasCustomPrompt="1"/>
          </p:nvPr>
        </p:nvSpPr>
        <p:spPr>
          <a:xfrm>
            <a:off x="1104899" y="3051880"/>
            <a:ext cx="8216901" cy="595035"/>
          </a:xfrm>
          <a:prstGeom prst="rect">
            <a:avLst/>
          </a:prstGeom>
        </p:spPr>
        <p:txBody>
          <a:bodyPr lIns="0" tIns="0" rIns="0" bIns="0">
            <a:spAutoFit/>
          </a:bodyPr>
          <a:lstStyle>
            <a:lvl1pPr marL="0" indent="0" algn="l">
              <a:lnSpc>
                <a:spcPct val="100000"/>
              </a:lnSpc>
              <a:spcBef>
                <a:spcPts val="0"/>
              </a:spcBef>
              <a:buFontTx/>
              <a:buNone/>
              <a:defRPr sz="3867" b="0" i="0" baseline="0">
                <a:solidFill>
                  <a:schemeClr val="bg1"/>
                </a:solidFill>
                <a:latin typeface="+mj-lt"/>
              </a:defRPr>
            </a:lvl1pPr>
            <a:lvl2pPr>
              <a:defRPr sz="6400"/>
            </a:lvl2pPr>
            <a:lvl3pPr>
              <a:defRPr sz="6400"/>
            </a:lvl3pPr>
            <a:lvl4pPr>
              <a:defRPr sz="6400"/>
            </a:lvl4pPr>
            <a:lvl5pPr>
              <a:defRPr sz="6400"/>
            </a:lvl5pPr>
          </a:lstStyle>
          <a:p>
            <a:pPr lvl="0"/>
            <a:r>
              <a:rPr lang="en-US" noProof="0" dirty="0"/>
              <a:t>Subtitle 29pt</a:t>
            </a:r>
          </a:p>
        </p:txBody>
      </p:sp>
      <p:sp>
        <p:nvSpPr>
          <p:cNvPr id="19"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1104000" y="4408944"/>
            <a:ext cx="5760000" cy="252000"/>
          </a:xfrm>
          <a:prstGeom prst="rect">
            <a:avLst/>
          </a:prstGeom>
        </p:spPr>
        <p:txBody>
          <a:bodyPr lIns="0" tIns="0" rIns="0" bIns="0" anchor="ctr"/>
          <a:lstStyle>
            <a:lvl1pPr marL="0" indent="0">
              <a:spcBef>
                <a:spcPts val="0"/>
              </a:spcBef>
              <a:buFontTx/>
              <a:buNone/>
              <a:defRPr sz="1467"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1104000" y="4678944"/>
            <a:ext cx="5760000" cy="252000"/>
          </a:xfrm>
          <a:prstGeom prst="rect">
            <a:avLst/>
          </a:prstGeom>
        </p:spPr>
        <p:txBody>
          <a:bodyPr lIns="0" tIns="0" rIns="0" bIns="0" anchor="ctr"/>
          <a:lstStyle>
            <a:lvl1pPr marL="0" indent="0">
              <a:spcBef>
                <a:spcPts val="0"/>
              </a:spcBef>
              <a:buFontTx/>
              <a:buNone/>
              <a:defRPr sz="1467"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1104000" y="4957736"/>
            <a:ext cx="5760000" cy="252000"/>
          </a:xfrm>
          <a:prstGeom prst="rect">
            <a:avLst/>
          </a:prstGeom>
        </p:spPr>
        <p:txBody>
          <a:bodyPr lIns="0" tIns="0" rIns="0" bIns="0" anchor="ctr"/>
          <a:lstStyle>
            <a:lvl1pPr marL="0" indent="0">
              <a:spcBef>
                <a:spcPts val="0"/>
              </a:spcBef>
              <a:buFontTx/>
              <a:buNone/>
              <a:defRPr sz="1467"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1104899" y="2046818"/>
            <a:ext cx="8216901" cy="964367"/>
          </a:xfrm>
          <a:prstGeom prst="rect">
            <a:avLst/>
          </a:prstGeom>
        </p:spPr>
        <p:txBody>
          <a:bodyPr lIns="0" tIns="0" rIns="0" bIns="0">
            <a:spAutoFit/>
          </a:bodyPr>
          <a:lstStyle>
            <a:lvl1pPr marL="0" indent="0" algn="l">
              <a:spcBef>
                <a:spcPts val="0"/>
              </a:spcBef>
              <a:buFontTx/>
              <a:buNone/>
              <a:defRPr sz="6267">
                <a:solidFill>
                  <a:schemeClr val="bg1"/>
                </a:solidFill>
                <a:latin typeface="+mj-lt"/>
              </a:defRPr>
            </a:lvl1pPr>
            <a:lvl2pPr>
              <a:defRPr sz="6400"/>
            </a:lvl2pPr>
            <a:lvl3pPr>
              <a:defRPr sz="6400"/>
            </a:lvl3pPr>
            <a:lvl4pPr>
              <a:defRPr sz="6400"/>
            </a:lvl4pPr>
            <a:lvl5pPr>
              <a:defRPr sz="6400"/>
            </a:lvl5pPr>
          </a:lstStyle>
          <a:p>
            <a:pPr lvl="0"/>
            <a:r>
              <a:rPr lang="en-US" noProof="0" dirty="0"/>
              <a:t>Presentation title 47pt</a:t>
            </a:r>
          </a:p>
        </p:txBody>
      </p:sp>
      <p:pic>
        <p:nvPicPr>
          <p:cNvPr id="23" name="Picture 22">
            <a:extLst>
              <a:ext uri="{FF2B5EF4-FFF2-40B4-BE49-F238E27FC236}">
                <a16:creationId xmlns:a16="http://schemas.microsoft.com/office/drawing/2014/main" id="{868EF30C-603B-4867-BDFE-6AE71C8E959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9375" y="6288409"/>
            <a:ext cx="1727743" cy="269704"/>
          </a:xfrm>
          <a:prstGeom prst="rect">
            <a:avLst/>
          </a:prstGeom>
        </p:spPr>
      </p:pic>
      <p:pic>
        <p:nvPicPr>
          <p:cNvPr id="26" name="Picture 25">
            <a:extLst>
              <a:ext uri="{FF2B5EF4-FFF2-40B4-BE49-F238E27FC236}">
                <a16:creationId xmlns:a16="http://schemas.microsoft.com/office/drawing/2014/main" id="{513C8B92-AD9A-4844-8B73-1C379655E962}"/>
              </a:ext>
            </a:extLst>
          </p:cNvPr>
          <p:cNvPicPr>
            <a:picLocks/>
          </p:cNvPicPr>
          <p:nvPr userDrawn="1">
            <p:custDataLst>
              <p:tags r:id="rId2"/>
            </p:custDataLst>
          </p:nvPr>
        </p:nvPicPr>
        <p:blipFill>
          <a:blip r:embed="rId9" cstate="screen">
            <a:extLst>
              <a:ext uri="{28A0092B-C50C-407E-A947-70E740481C1C}">
                <a14:useLocalDpi xmlns:a14="http://schemas.microsoft.com/office/drawing/2010/main"/>
              </a:ext>
            </a:extLst>
          </a:blip>
          <a:stretch>
            <a:fillRect/>
          </a:stretch>
        </p:blipFill>
        <p:spPr>
          <a:xfrm>
            <a:off x="9724202" y="6160237"/>
            <a:ext cx="1934292"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8699903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a16="http://schemas.microsoft.com/office/drawing/2014/main" id="{592F83E9-3D0E-403D-80AD-FE4CC96ADA6F}"/>
              </a:ext>
            </a:extLst>
          </p:cNvPr>
          <p:cNvSpPr>
            <a:spLocks noGrp="1"/>
          </p:cNvSpPr>
          <p:nvPr>
            <p:ph type="title" hasCustomPrompt="1"/>
          </p:nvPr>
        </p:nvSpPr>
        <p:spPr>
          <a:xfrm>
            <a:off x="599018" y="656759"/>
            <a:ext cx="10988812" cy="1153236"/>
          </a:xfrm>
          <a:prstGeom prst="rect">
            <a:avLst/>
          </a:prstGeom>
        </p:spPr>
        <p:txBody>
          <a:bodyPr vert="horz" lIns="0" tIns="0" rIns="0" bIns="0" rtlCol="0" anchor="t">
            <a:noAutofit/>
          </a:bodyPr>
          <a:lstStyle>
            <a:lvl1pPr>
              <a:defRPr/>
            </a:lvl1pPr>
          </a:lstStyle>
          <a:p>
            <a:r>
              <a:rPr lang="en-US" dirty="0"/>
              <a:t>Action title: 26pt black</a:t>
            </a:r>
            <a:br>
              <a:rPr lang="en-US" dirty="0"/>
            </a:br>
            <a:r>
              <a:rPr lang="en-US" dirty="0"/>
              <a:t>Sub title: 18pt Philips Group Blue 4</a:t>
            </a:r>
          </a:p>
        </p:txBody>
      </p:sp>
      <p:sp>
        <p:nvSpPr>
          <p:cNvPr id="6" name="Text Placeholder 3">
            <a:extLst>
              <a:ext uri="{FF2B5EF4-FFF2-40B4-BE49-F238E27FC236}">
                <a16:creationId xmlns:a16="http://schemas.microsoft.com/office/drawing/2014/main" id="{985691D2-DCCA-4BE3-96F0-EE9A1E1FD48C}"/>
              </a:ext>
            </a:extLst>
          </p:cNvPr>
          <p:cNvSpPr>
            <a:spLocks noGrp="1"/>
          </p:cNvSpPr>
          <p:nvPr>
            <p:ph idx="1"/>
          </p:nvPr>
        </p:nvSpPr>
        <p:spPr>
          <a:xfrm>
            <a:off x="599018" y="2070103"/>
            <a:ext cx="10988812" cy="40560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51270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5F45EE-7358-4F1F-886B-A400B7241BF0}"/>
              </a:ext>
            </a:extLst>
          </p:cNvPr>
          <p:cNvGraphicFramePr>
            <a:graphicFrameLocks noChangeAspect="1"/>
          </p:cNvGraphicFramePr>
          <p:nvPr userDrawn="1">
            <p:custDataLst>
              <p:tags r:id="rId1"/>
            </p:custDataLst>
            <p:extLst>
              <p:ext uri="{D42A27DB-BD31-4B8C-83A1-F6EECF244321}">
                <p14:modId xmlns:p14="http://schemas.microsoft.com/office/powerpoint/2010/main" val="318453262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3" name="Object 2" hidden="1">
                        <a:extLst>
                          <a:ext uri="{FF2B5EF4-FFF2-40B4-BE49-F238E27FC236}">
                            <a16:creationId xmlns:a16="http://schemas.microsoft.com/office/drawing/2014/main" id="{DD5F45EE-7358-4F1F-886B-A400B7241BF0}"/>
                          </a:ext>
                        </a:extLst>
                      </p:cNvPr>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5" name="Title Placeholder 2">
            <a:extLst>
              <a:ext uri="{FF2B5EF4-FFF2-40B4-BE49-F238E27FC236}">
                <a16:creationId xmlns:a16="http://schemas.microsoft.com/office/drawing/2014/main" id="{749D9634-C662-4333-AA56-C31C1CDB3281}"/>
              </a:ext>
            </a:extLst>
          </p:cNvPr>
          <p:cNvSpPr>
            <a:spLocks noGrp="1"/>
          </p:cNvSpPr>
          <p:nvPr>
            <p:ph type="title" hasCustomPrompt="1"/>
          </p:nvPr>
        </p:nvSpPr>
        <p:spPr>
          <a:xfrm>
            <a:off x="599018" y="656759"/>
            <a:ext cx="10988812" cy="1153236"/>
          </a:xfrm>
          <a:prstGeom prst="rect">
            <a:avLst/>
          </a:prstGeom>
        </p:spPr>
        <p:txBody>
          <a:bodyPr vert="horz" lIns="0" tIns="0" rIns="0" bIns="0" rtlCol="0" anchor="t">
            <a:noAutofit/>
          </a:bodyPr>
          <a:lstStyle>
            <a:lvl1pPr>
              <a:defRPr/>
            </a:lvl1pPr>
          </a:lstStyle>
          <a:p>
            <a:r>
              <a:rPr lang="en-US" dirty="0"/>
              <a:t>Action title: 26pt black</a:t>
            </a:r>
            <a:br>
              <a:rPr lang="en-US" dirty="0"/>
            </a:br>
            <a:r>
              <a:rPr lang="en-US" dirty="0"/>
              <a:t>Sub title: 18pt Philips Group Blue 4</a:t>
            </a:r>
          </a:p>
        </p:txBody>
      </p:sp>
    </p:spTree>
    <p:extLst>
      <p:ext uri="{BB962C8B-B14F-4D97-AF65-F5344CB8AC3E}">
        <p14:creationId xmlns:p14="http://schemas.microsoft.com/office/powerpoint/2010/main" val="33395385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BE399E-D4FC-415B-A07C-1F95BF028492}"/>
              </a:ext>
            </a:extLst>
          </p:cNvPr>
          <p:cNvGraphicFramePr>
            <a:graphicFrameLocks noChangeAspect="1"/>
          </p:cNvGraphicFramePr>
          <p:nvPr userDrawn="1">
            <p:custDataLst>
              <p:tags r:id="rId1"/>
            </p:custDataLst>
            <p:extLst>
              <p:ext uri="{D42A27DB-BD31-4B8C-83A1-F6EECF244321}">
                <p14:modId xmlns:p14="http://schemas.microsoft.com/office/powerpoint/2010/main" val="214023508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C4BE399E-D4FC-415B-A07C-1F95BF028492}"/>
                          </a:ext>
                        </a:extLst>
                      </p:cNvPr>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Rectangle 2"/>
          <p:cNvSpPr/>
          <p:nvPr userDrawn="1"/>
        </p:nvSpPr>
        <p:spPr>
          <a:xfrm>
            <a:off x="0" y="6324600"/>
            <a:ext cx="43688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 name="Rectangle 3"/>
          <p:cNvSpPr/>
          <p:nvPr userDrawn="1"/>
        </p:nvSpPr>
        <p:spPr>
          <a:xfrm>
            <a:off x="7805383" y="6324600"/>
            <a:ext cx="43688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4643799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952526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205928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987522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482948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Pag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147339794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2122" y="1589"/>
                        <a:ext cx="2116" cy="1587"/>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D68B8554-42C9-4CFC-BF86-EF89B659442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43338" y="247960"/>
            <a:ext cx="11801012" cy="6434491"/>
          </a:xfrm>
          <a:prstGeom prst="rect">
            <a:avLst/>
          </a:prstGeom>
        </p:spPr>
      </p:pic>
      <p:pic>
        <p:nvPicPr>
          <p:cNvPr id="21" name="Picture 20">
            <a:extLst>
              <a:ext uri="{FF2B5EF4-FFF2-40B4-BE49-F238E27FC236}">
                <a16:creationId xmlns:a16="http://schemas.microsoft.com/office/drawing/2014/main" id="{CA855349-4EF4-4F3C-BB17-05C8EA8ADF7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36205"/>
            <a:ext cx="12192000" cy="6858000"/>
          </a:xfrm>
          <a:prstGeom prst="rect">
            <a:avLst/>
          </a:prstGeom>
        </p:spPr>
      </p:pic>
      <p:sp>
        <p:nvSpPr>
          <p:cNvPr id="23" name="Text Placeholder 3">
            <a:extLst>
              <a:ext uri="{FF2B5EF4-FFF2-40B4-BE49-F238E27FC236}">
                <a16:creationId xmlns:a16="http://schemas.microsoft.com/office/drawing/2014/main" id="{88A21D4B-A9DE-471E-AA63-EF499C6B8CAF}"/>
              </a:ext>
            </a:extLst>
          </p:cNvPr>
          <p:cNvSpPr>
            <a:spLocks noGrp="1"/>
          </p:cNvSpPr>
          <p:nvPr>
            <p:ph type="body" sz="quarter" idx="11" hasCustomPrompt="1"/>
          </p:nvPr>
        </p:nvSpPr>
        <p:spPr bwMode="white">
          <a:xfrm>
            <a:off x="1104000" y="4408944"/>
            <a:ext cx="5760000" cy="252000"/>
          </a:xfrm>
          <a:prstGeom prst="rect">
            <a:avLst/>
          </a:prstGeom>
        </p:spPr>
        <p:txBody>
          <a:bodyPr lIns="0" tIns="0" rIns="0" bIns="0" anchor="ctr"/>
          <a:lstStyle>
            <a:lvl1pPr marL="0" indent="0">
              <a:spcBef>
                <a:spcPts val="0"/>
              </a:spcBef>
              <a:buFontTx/>
              <a:buNone/>
              <a:defRPr sz="1467" b="1">
                <a:solidFill>
                  <a:schemeClr val="bg1"/>
                </a:solidFill>
              </a:defRPr>
            </a:lvl1pPr>
          </a:lstStyle>
          <a:p>
            <a:pPr lvl="0"/>
            <a:r>
              <a:rPr lang="en-US" noProof="0" dirty="0"/>
              <a:t>_Author</a:t>
            </a:r>
          </a:p>
        </p:txBody>
      </p:sp>
      <p:sp>
        <p:nvSpPr>
          <p:cNvPr id="24" name="Text Placeholder 3">
            <a:extLst>
              <a:ext uri="{FF2B5EF4-FFF2-40B4-BE49-F238E27FC236}">
                <a16:creationId xmlns:a16="http://schemas.microsoft.com/office/drawing/2014/main" id="{7F9D22DA-E440-47F8-A4EA-6AE09D56D6F9}"/>
              </a:ext>
            </a:extLst>
          </p:cNvPr>
          <p:cNvSpPr>
            <a:spLocks noGrp="1"/>
          </p:cNvSpPr>
          <p:nvPr>
            <p:ph type="body" sz="quarter" idx="12" hasCustomPrompt="1"/>
          </p:nvPr>
        </p:nvSpPr>
        <p:spPr bwMode="white">
          <a:xfrm>
            <a:off x="1104000" y="4678944"/>
            <a:ext cx="5760000" cy="252000"/>
          </a:xfrm>
          <a:prstGeom prst="rect">
            <a:avLst/>
          </a:prstGeom>
        </p:spPr>
        <p:txBody>
          <a:bodyPr lIns="0" tIns="0" rIns="0" bIns="0" anchor="ctr"/>
          <a:lstStyle>
            <a:lvl1pPr marL="0" indent="0">
              <a:spcBef>
                <a:spcPts val="0"/>
              </a:spcBef>
              <a:buFontTx/>
              <a:buNone/>
              <a:defRPr sz="1467" b="0">
                <a:solidFill>
                  <a:schemeClr val="bg1"/>
                </a:solidFill>
              </a:defRPr>
            </a:lvl1pPr>
          </a:lstStyle>
          <a:p>
            <a:pPr lvl="0"/>
            <a:r>
              <a:rPr lang="en-US" noProof="0" dirty="0"/>
              <a:t>_Business</a:t>
            </a:r>
          </a:p>
        </p:txBody>
      </p:sp>
      <p:sp>
        <p:nvSpPr>
          <p:cNvPr id="26" name="Text Placeholder 3">
            <a:extLst>
              <a:ext uri="{FF2B5EF4-FFF2-40B4-BE49-F238E27FC236}">
                <a16:creationId xmlns:a16="http://schemas.microsoft.com/office/drawing/2014/main" id="{A8072E42-69B2-46A4-9742-C3CD12BD31D6}"/>
              </a:ext>
            </a:extLst>
          </p:cNvPr>
          <p:cNvSpPr>
            <a:spLocks noGrp="1"/>
          </p:cNvSpPr>
          <p:nvPr>
            <p:ph type="body" sz="quarter" idx="14" hasCustomPrompt="1"/>
          </p:nvPr>
        </p:nvSpPr>
        <p:spPr bwMode="white">
          <a:xfrm>
            <a:off x="1104000" y="4957736"/>
            <a:ext cx="5760000" cy="252000"/>
          </a:xfrm>
          <a:prstGeom prst="rect">
            <a:avLst/>
          </a:prstGeom>
        </p:spPr>
        <p:txBody>
          <a:bodyPr lIns="0" tIns="0" rIns="0" bIns="0" anchor="ctr"/>
          <a:lstStyle>
            <a:lvl1pPr marL="0" indent="0">
              <a:spcBef>
                <a:spcPts val="0"/>
              </a:spcBef>
              <a:buFontTx/>
              <a:buNone/>
              <a:defRPr sz="1467" b="0">
                <a:solidFill>
                  <a:schemeClr val="bg1"/>
                </a:solidFill>
              </a:defRPr>
            </a:lvl1pPr>
          </a:lstStyle>
          <a:p>
            <a:pPr lvl="0"/>
            <a:r>
              <a:rPr lang="en-US" noProof="0" dirty="0"/>
              <a:t>_Date</a:t>
            </a:r>
          </a:p>
        </p:txBody>
      </p:sp>
      <p:pic>
        <p:nvPicPr>
          <p:cNvPr id="27" name="Picture 26">
            <a:extLst>
              <a:ext uri="{FF2B5EF4-FFF2-40B4-BE49-F238E27FC236}">
                <a16:creationId xmlns:a16="http://schemas.microsoft.com/office/drawing/2014/main" id="{F38881FA-D41A-4ECC-B6BA-F6AA6910FDE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9375" y="6288409"/>
            <a:ext cx="1727743" cy="269704"/>
          </a:xfrm>
          <a:prstGeom prst="rect">
            <a:avLst/>
          </a:prstGeom>
        </p:spPr>
      </p:pic>
      <p:pic>
        <p:nvPicPr>
          <p:cNvPr id="28" name="Picture 27">
            <a:extLst>
              <a:ext uri="{FF2B5EF4-FFF2-40B4-BE49-F238E27FC236}">
                <a16:creationId xmlns:a16="http://schemas.microsoft.com/office/drawing/2014/main" id="{4F0A5106-9244-46FF-884F-34EC6A87E7E8}"/>
              </a:ext>
            </a:extLst>
          </p:cNvPr>
          <p:cNvPicPr>
            <a:picLocks/>
          </p:cNvPicPr>
          <p:nvPr userDrawn="1">
            <p:custDataLst>
              <p:tags r:id="rId2"/>
            </p:custDataLst>
          </p:nvPr>
        </p:nvPicPr>
        <p:blipFill>
          <a:blip r:embed="rId9" cstate="screen">
            <a:extLst>
              <a:ext uri="{28A0092B-C50C-407E-A947-70E740481C1C}">
                <a14:useLocalDpi xmlns:a14="http://schemas.microsoft.com/office/drawing/2010/main"/>
              </a:ext>
            </a:extLst>
          </a:blip>
          <a:stretch>
            <a:fillRect/>
          </a:stretch>
        </p:blipFill>
        <p:spPr>
          <a:xfrm>
            <a:off x="9724202" y="6160237"/>
            <a:ext cx="1934292"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0" name="Text Placeholder 3">
            <a:extLst>
              <a:ext uri="{FF2B5EF4-FFF2-40B4-BE49-F238E27FC236}">
                <a16:creationId xmlns:a16="http://schemas.microsoft.com/office/drawing/2014/main" id="{833E943D-31DE-4703-BB1D-98964ACF6F0D}"/>
              </a:ext>
            </a:extLst>
          </p:cNvPr>
          <p:cNvSpPr>
            <a:spLocks noGrp="1"/>
          </p:cNvSpPr>
          <p:nvPr>
            <p:ph type="body" sz="quarter" idx="15" hasCustomPrompt="1"/>
          </p:nvPr>
        </p:nvSpPr>
        <p:spPr>
          <a:xfrm>
            <a:off x="1104899" y="3051880"/>
            <a:ext cx="8216901" cy="595035"/>
          </a:xfrm>
          <a:prstGeom prst="rect">
            <a:avLst/>
          </a:prstGeom>
        </p:spPr>
        <p:txBody>
          <a:bodyPr lIns="0" tIns="0" rIns="0" bIns="0">
            <a:spAutoFit/>
          </a:bodyPr>
          <a:lstStyle>
            <a:lvl1pPr marL="0" indent="0" algn="l">
              <a:lnSpc>
                <a:spcPct val="100000"/>
              </a:lnSpc>
              <a:spcBef>
                <a:spcPts val="0"/>
              </a:spcBef>
              <a:buFontTx/>
              <a:buNone/>
              <a:defRPr sz="3867" b="0" i="0" baseline="0">
                <a:solidFill>
                  <a:schemeClr val="bg1"/>
                </a:solidFill>
                <a:latin typeface="+mj-lt"/>
              </a:defRPr>
            </a:lvl1pPr>
            <a:lvl2pPr>
              <a:defRPr sz="6400"/>
            </a:lvl2pPr>
            <a:lvl3pPr>
              <a:defRPr sz="6400"/>
            </a:lvl3pPr>
            <a:lvl4pPr>
              <a:defRPr sz="6400"/>
            </a:lvl4pPr>
            <a:lvl5pPr>
              <a:defRPr sz="6400"/>
            </a:lvl5pPr>
          </a:lstStyle>
          <a:p>
            <a:pPr lvl="0"/>
            <a:r>
              <a:rPr lang="en-US" noProof="0" dirty="0"/>
              <a:t>Subtitle 29pt</a:t>
            </a:r>
          </a:p>
        </p:txBody>
      </p:sp>
      <p:sp>
        <p:nvSpPr>
          <p:cNvPr id="31" name="Text Placeholder 3">
            <a:extLst>
              <a:ext uri="{FF2B5EF4-FFF2-40B4-BE49-F238E27FC236}">
                <a16:creationId xmlns:a16="http://schemas.microsoft.com/office/drawing/2014/main" id="{F747A16C-0F41-4EA9-A068-D4A6DCEBA0D5}"/>
              </a:ext>
            </a:extLst>
          </p:cNvPr>
          <p:cNvSpPr>
            <a:spLocks noGrp="1"/>
          </p:cNvSpPr>
          <p:nvPr>
            <p:ph type="body" sz="quarter" idx="10" hasCustomPrompt="1"/>
          </p:nvPr>
        </p:nvSpPr>
        <p:spPr bwMode="white">
          <a:xfrm>
            <a:off x="1104899" y="2046818"/>
            <a:ext cx="8216901" cy="964367"/>
          </a:xfrm>
          <a:prstGeom prst="rect">
            <a:avLst/>
          </a:prstGeom>
        </p:spPr>
        <p:txBody>
          <a:bodyPr lIns="0" tIns="0" rIns="0" bIns="0">
            <a:spAutoFit/>
          </a:bodyPr>
          <a:lstStyle>
            <a:lvl1pPr marL="0" indent="0" algn="l">
              <a:spcBef>
                <a:spcPts val="0"/>
              </a:spcBef>
              <a:buFontTx/>
              <a:buNone/>
              <a:defRPr sz="6267">
                <a:solidFill>
                  <a:schemeClr val="bg1"/>
                </a:solidFill>
                <a:latin typeface="+mj-lt"/>
              </a:defRPr>
            </a:lvl1pPr>
            <a:lvl2pPr>
              <a:defRPr sz="6400"/>
            </a:lvl2pPr>
            <a:lvl3pPr>
              <a:defRPr sz="6400"/>
            </a:lvl3pPr>
            <a:lvl4pPr>
              <a:defRPr sz="6400"/>
            </a:lvl4pPr>
            <a:lvl5pPr>
              <a:defRPr sz="6400"/>
            </a:lvl5pPr>
          </a:lstStyle>
          <a:p>
            <a:pPr lvl="0"/>
            <a:r>
              <a:rPr lang="en-US" noProof="0" dirty="0"/>
              <a:t>Presentation title 47pt</a:t>
            </a:r>
          </a:p>
        </p:txBody>
      </p:sp>
    </p:spTree>
    <p:extLst>
      <p:ext uri="{BB962C8B-B14F-4D97-AF65-F5344CB8AC3E}">
        <p14:creationId xmlns:p14="http://schemas.microsoft.com/office/powerpoint/2010/main" val="1494146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351440488"/>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2122" y="1589"/>
                        <a:ext cx="2116" cy="1587"/>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D149FE00-20EF-4A3A-8137-489ADEC472B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70936" y="154329"/>
            <a:ext cx="11661421" cy="6659048"/>
          </a:xfrm>
          <a:prstGeom prst="rect">
            <a:avLst/>
          </a:prstGeom>
        </p:spPr>
      </p:pic>
      <p:sp>
        <p:nvSpPr>
          <p:cNvPr id="17" name="Rectangle 16">
            <a:extLst>
              <a:ext uri="{FF2B5EF4-FFF2-40B4-BE49-F238E27FC236}">
                <a16:creationId xmlns:a16="http://schemas.microsoft.com/office/drawing/2014/main" id="{615F2552-07A9-4D98-ABDC-0B74893B529A}"/>
              </a:ext>
            </a:extLst>
          </p:cNvPr>
          <p:cNvSpPr/>
          <p:nvPr userDrawn="1"/>
        </p:nvSpPr>
        <p:spPr>
          <a:xfrm>
            <a:off x="270935" y="115750"/>
            <a:ext cx="8820813"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ext Placeholder 3"/>
          <p:cNvSpPr>
            <a:spLocks noGrp="1"/>
          </p:cNvSpPr>
          <p:nvPr userDrawn="1">
            <p:ph type="body" sz="quarter" idx="10" hasCustomPrompt="1"/>
          </p:nvPr>
        </p:nvSpPr>
        <p:spPr>
          <a:xfrm>
            <a:off x="1104904" y="1128075"/>
            <a:ext cx="7797801" cy="964367"/>
          </a:xfrm>
          <a:prstGeom prst="rect">
            <a:avLst/>
          </a:prstGeom>
        </p:spPr>
        <p:txBody>
          <a:bodyPr lIns="0" tIns="0" rIns="0" bIns="0">
            <a:spAutoFit/>
          </a:bodyPr>
          <a:lstStyle>
            <a:lvl1pPr marL="0" indent="0" algn="l">
              <a:lnSpc>
                <a:spcPct val="100000"/>
              </a:lnSpc>
              <a:spcBef>
                <a:spcPts val="0"/>
              </a:spcBef>
              <a:buFontTx/>
              <a:buNone/>
              <a:defRPr sz="6267" baseline="0">
                <a:solidFill>
                  <a:schemeClr val="bg1"/>
                </a:solidFill>
                <a:latin typeface="+mj-lt"/>
              </a:defRPr>
            </a:lvl1pPr>
            <a:lvl2pPr>
              <a:defRPr sz="6400"/>
            </a:lvl2pPr>
            <a:lvl3pPr>
              <a:defRPr sz="6400"/>
            </a:lvl3pPr>
            <a:lvl4pPr>
              <a:defRPr sz="6400"/>
            </a:lvl4pPr>
            <a:lvl5pPr>
              <a:defRPr sz="64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1104904" y="2114681"/>
            <a:ext cx="7797801" cy="595035"/>
          </a:xfrm>
          <a:prstGeom prst="rect">
            <a:avLst/>
          </a:prstGeom>
        </p:spPr>
        <p:txBody>
          <a:bodyPr lIns="0" tIns="0" rIns="0" bIns="0">
            <a:spAutoFit/>
          </a:bodyPr>
          <a:lstStyle>
            <a:lvl1pPr marL="0" indent="0" algn="l">
              <a:lnSpc>
                <a:spcPct val="100000"/>
              </a:lnSpc>
              <a:spcBef>
                <a:spcPts val="0"/>
              </a:spcBef>
              <a:buFontTx/>
              <a:buNone/>
              <a:defRPr sz="3867" b="0" i="0" baseline="0">
                <a:solidFill>
                  <a:schemeClr val="bg1"/>
                </a:solidFill>
                <a:latin typeface="+mj-lt"/>
              </a:defRPr>
            </a:lvl1pPr>
            <a:lvl2pPr>
              <a:defRPr sz="6400"/>
            </a:lvl2pPr>
            <a:lvl3pPr>
              <a:defRPr sz="6400"/>
            </a:lvl3pPr>
            <a:lvl4pPr>
              <a:defRPr sz="6400"/>
            </a:lvl4pPr>
            <a:lvl5pPr>
              <a:defRPr sz="6400"/>
            </a:lvl5pPr>
          </a:lstStyle>
          <a:p>
            <a:pPr lvl="0"/>
            <a:r>
              <a:rPr lang="en-US" noProof="0" dirty="0"/>
              <a:t>Subtitle 29pt</a:t>
            </a:r>
          </a:p>
        </p:txBody>
      </p:sp>
      <p:sp>
        <p:nvSpPr>
          <p:cNvPr id="15" name="Text Placeholder 3">
            <a:extLst>
              <a:ext uri="{FF2B5EF4-FFF2-40B4-BE49-F238E27FC236}">
                <a16:creationId xmlns:a16="http://schemas.microsoft.com/office/drawing/2014/main" id="{84EA3A7C-3AC9-4273-92E7-F2418291B8BE}"/>
              </a:ext>
            </a:extLst>
          </p:cNvPr>
          <p:cNvSpPr>
            <a:spLocks noGrp="1"/>
          </p:cNvSpPr>
          <p:nvPr>
            <p:ph type="body" sz="quarter" idx="11" hasCustomPrompt="1"/>
          </p:nvPr>
        </p:nvSpPr>
        <p:spPr>
          <a:xfrm>
            <a:off x="1104000" y="4697891"/>
            <a:ext cx="5760000" cy="225703"/>
          </a:xfrm>
          <a:prstGeom prst="rect">
            <a:avLst/>
          </a:prstGeom>
        </p:spPr>
        <p:txBody>
          <a:bodyPr lIns="0" tIns="0" rIns="0" bIns="0" anchor="ctr">
            <a:spAutoFit/>
          </a:bodyPr>
          <a:lstStyle>
            <a:lvl1pPr marL="0" indent="0">
              <a:spcBef>
                <a:spcPts val="0"/>
              </a:spcBef>
              <a:buFontTx/>
              <a:buNone/>
              <a:defRPr sz="1467" b="1">
                <a:solidFill>
                  <a:schemeClr val="bg1"/>
                </a:solidFill>
                <a:latin typeface="+mn-lt"/>
              </a:defRPr>
            </a:lvl1pPr>
          </a:lstStyle>
          <a:p>
            <a:pPr lvl="0"/>
            <a:r>
              <a:rPr lang="en-US" noProof="0" dirty="0"/>
              <a:t>_Author</a:t>
            </a:r>
          </a:p>
        </p:txBody>
      </p:sp>
      <p:sp>
        <p:nvSpPr>
          <p:cNvPr id="19" name="Text Placeholder 3">
            <a:extLst>
              <a:ext uri="{FF2B5EF4-FFF2-40B4-BE49-F238E27FC236}">
                <a16:creationId xmlns:a16="http://schemas.microsoft.com/office/drawing/2014/main" id="{860B6FF2-5950-4D34-B064-86DAA90060CA}"/>
              </a:ext>
            </a:extLst>
          </p:cNvPr>
          <p:cNvSpPr>
            <a:spLocks noGrp="1"/>
          </p:cNvSpPr>
          <p:nvPr>
            <p:ph type="body" sz="quarter" idx="12" hasCustomPrompt="1"/>
          </p:nvPr>
        </p:nvSpPr>
        <p:spPr>
          <a:xfrm>
            <a:off x="1104000" y="4929521"/>
            <a:ext cx="5760000" cy="225703"/>
          </a:xfrm>
          <a:prstGeom prst="rect">
            <a:avLst/>
          </a:prstGeom>
        </p:spPr>
        <p:txBody>
          <a:bodyPr lIns="0" tIns="0" rIns="0" bIns="0" anchor="ctr">
            <a:spAutoFit/>
          </a:bodyPr>
          <a:lstStyle>
            <a:lvl1pPr marL="0" indent="0">
              <a:spcBef>
                <a:spcPts val="0"/>
              </a:spcBef>
              <a:buFontTx/>
              <a:buNone/>
              <a:defRPr sz="1467" b="0">
                <a:solidFill>
                  <a:schemeClr val="bg1"/>
                </a:solidFill>
                <a:latin typeface="+mn-lt"/>
              </a:defRPr>
            </a:lvl1pPr>
          </a:lstStyle>
          <a:p>
            <a:pPr lvl="0"/>
            <a:r>
              <a:rPr lang="en-US" noProof="0" dirty="0"/>
              <a:t>_Sector</a:t>
            </a:r>
          </a:p>
        </p:txBody>
      </p:sp>
      <p:sp>
        <p:nvSpPr>
          <p:cNvPr id="20" name="Text Placeholder 3">
            <a:extLst>
              <a:ext uri="{FF2B5EF4-FFF2-40B4-BE49-F238E27FC236}">
                <a16:creationId xmlns:a16="http://schemas.microsoft.com/office/drawing/2014/main" id="{18F4B12E-749C-466A-B2F6-5269B9EF7DCD}"/>
              </a:ext>
            </a:extLst>
          </p:cNvPr>
          <p:cNvSpPr>
            <a:spLocks noGrp="1"/>
          </p:cNvSpPr>
          <p:nvPr>
            <p:ph type="body" sz="quarter" idx="13" hasCustomPrompt="1"/>
          </p:nvPr>
        </p:nvSpPr>
        <p:spPr>
          <a:xfrm>
            <a:off x="1104000" y="5161118"/>
            <a:ext cx="5760000" cy="225767"/>
          </a:xfrm>
          <a:prstGeom prst="rect">
            <a:avLst/>
          </a:prstGeom>
        </p:spPr>
        <p:txBody>
          <a:bodyPr lIns="0" tIns="0" rIns="0" bIns="0" anchor="ctr">
            <a:spAutoFit/>
          </a:bodyPr>
          <a:lstStyle>
            <a:lvl1pPr marL="0" marR="0" indent="0" algn="l" defTabSz="1219139" rtl="0" eaLnBrk="1" fontAlgn="auto" latinLnBrk="0" hangingPunct="1">
              <a:lnSpc>
                <a:spcPct val="100000"/>
              </a:lnSpc>
              <a:spcBef>
                <a:spcPct val="20000"/>
              </a:spcBef>
              <a:spcAft>
                <a:spcPts val="0"/>
              </a:spcAft>
              <a:buClrTx/>
              <a:buSzTx/>
              <a:buFontTx/>
              <a:buNone/>
              <a:tabLst/>
              <a:defRPr sz="1467" b="0">
                <a:solidFill>
                  <a:schemeClr val="bg1"/>
                </a:solidFill>
                <a:latin typeface="+mn-lt"/>
              </a:defRPr>
            </a:lvl1pPr>
          </a:lstStyle>
          <a:p>
            <a:pPr marL="0" marR="0" lvl="0" indent="0" algn="l" defTabSz="1219139" rtl="0" eaLnBrk="1" fontAlgn="auto" latinLnBrk="0" hangingPunct="1">
              <a:lnSpc>
                <a:spcPct val="100000"/>
              </a:lnSpc>
              <a:spcBef>
                <a:spcPct val="20000"/>
              </a:spcBef>
              <a:spcAft>
                <a:spcPts val="0"/>
              </a:spcAft>
              <a:buClrTx/>
              <a:buSzTx/>
              <a:buFontTx/>
              <a:buNone/>
              <a:tabLst/>
              <a:defRPr/>
            </a:pPr>
            <a:r>
              <a:rPr lang="en-US" noProof="0" dirty="0"/>
              <a:t>_Date</a:t>
            </a:r>
          </a:p>
        </p:txBody>
      </p:sp>
      <p:pic>
        <p:nvPicPr>
          <p:cNvPr id="21" name="Picture 20">
            <a:extLst>
              <a:ext uri="{FF2B5EF4-FFF2-40B4-BE49-F238E27FC236}">
                <a16:creationId xmlns:a16="http://schemas.microsoft.com/office/drawing/2014/main" id="{3999963D-4BE9-4110-870C-2B004E41F34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9375" y="6288409"/>
            <a:ext cx="1727743" cy="269704"/>
          </a:xfrm>
          <a:prstGeom prst="rect">
            <a:avLst/>
          </a:prstGeom>
        </p:spPr>
      </p:pic>
      <p:pic>
        <p:nvPicPr>
          <p:cNvPr id="22" name="Picture 21">
            <a:extLst>
              <a:ext uri="{FF2B5EF4-FFF2-40B4-BE49-F238E27FC236}">
                <a16:creationId xmlns:a16="http://schemas.microsoft.com/office/drawing/2014/main" id="{10E7B16B-6148-4C03-8F2F-C6B4BE1AB2A8}"/>
              </a:ext>
            </a:extLst>
          </p:cNvPr>
          <p:cNvPicPr>
            <a:picLocks/>
          </p:cNvPicPr>
          <p:nvPr userDrawn="1">
            <p:custDataLst>
              <p:tags r:id="rId2"/>
            </p:custDataLst>
          </p:nvPr>
        </p:nvPicPr>
        <p:blipFill>
          <a:blip r:embed="rId9" cstate="screen">
            <a:extLst>
              <a:ext uri="{28A0092B-C50C-407E-A947-70E740481C1C}">
                <a14:useLocalDpi xmlns:a14="http://schemas.microsoft.com/office/drawing/2010/main"/>
              </a:ext>
            </a:extLst>
          </a:blip>
          <a:stretch>
            <a:fillRect/>
          </a:stretch>
        </p:blipFill>
        <p:spPr>
          <a:xfrm>
            <a:off x="9724202" y="6160237"/>
            <a:ext cx="1934292"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1829929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1765828377"/>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2122" y="1589"/>
                        <a:ext cx="2116" cy="1587"/>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50928FE5-047E-4270-8A4D-E27277A9697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82223" y="154330"/>
            <a:ext cx="11661421" cy="6262801"/>
          </a:xfrm>
          <a:prstGeom prst="rect">
            <a:avLst/>
          </a:prstGeom>
        </p:spPr>
      </p:pic>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3"/>
          <p:cNvSpPr>
            <a:spLocks noGrp="1"/>
          </p:cNvSpPr>
          <p:nvPr userDrawn="1">
            <p:ph type="body" sz="quarter" idx="11" hasCustomPrompt="1"/>
          </p:nvPr>
        </p:nvSpPr>
        <p:spPr>
          <a:xfrm>
            <a:off x="1104000" y="4697891"/>
            <a:ext cx="5760000" cy="225703"/>
          </a:xfrm>
          <a:prstGeom prst="rect">
            <a:avLst/>
          </a:prstGeom>
        </p:spPr>
        <p:txBody>
          <a:bodyPr lIns="0" tIns="0" rIns="0" bIns="0" anchor="ctr">
            <a:spAutoFit/>
          </a:bodyPr>
          <a:lstStyle>
            <a:lvl1pPr marL="0" indent="0">
              <a:spcBef>
                <a:spcPts val="0"/>
              </a:spcBef>
              <a:buFontTx/>
              <a:buNone/>
              <a:defRPr sz="1467"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1104000" y="4929521"/>
            <a:ext cx="5760000" cy="225703"/>
          </a:xfrm>
          <a:prstGeom prst="rect">
            <a:avLst/>
          </a:prstGeom>
        </p:spPr>
        <p:txBody>
          <a:bodyPr lIns="0" tIns="0" rIns="0" bIns="0" anchor="ctr">
            <a:spAutoFit/>
          </a:bodyPr>
          <a:lstStyle>
            <a:lvl1pPr marL="0" indent="0">
              <a:spcBef>
                <a:spcPts val="0"/>
              </a:spcBef>
              <a:buFontTx/>
              <a:buNone/>
              <a:defRPr sz="1467"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1104000" y="5161118"/>
            <a:ext cx="5760000" cy="225767"/>
          </a:xfrm>
          <a:prstGeom prst="rect">
            <a:avLst/>
          </a:prstGeom>
        </p:spPr>
        <p:txBody>
          <a:bodyPr lIns="0" tIns="0" rIns="0" bIns="0" anchor="ctr">
            <a:spAutoFit/>
          </a:bodyPr>
          <a:lstStyle>
            <a:lvl1pPr marL="0" marR="0" indent="0" algn="l" defTabSz="1219139" rtl="0" eaLnBrk="1" fontAlgn="auto" latinLnBrk="0" hangingPunct="1">
              <a:lnSpc>
                <a:spcPct val="100000"/>
              </a:lnSpc>
              <a:spcBef>
                <a:spcPct val="20000"/>
              </a:spcBef>
              <a:spcAft>
                <a:spcPts val="0"/>
              </a:spcAft>
              <a:buClrTx/>
              <a:buSzTx/>
              <a:buFontTx/>
              <a:buNone/>
              <a:tabLst/>
              <a:defRPr sz="1467" b="0">
                <a:solidFill>
                  <a:schemeClr val="bg1"/>
                </a:solidFill>
                <a:latin typeface="+mn-lt"/>
              </a:defRPr>
            </a:lvl1pPr>
          </a:lstStyle>
          <a:p>
            <a:pPr marL="0" marR="0" lvl="0" indent="0" algn="l" defTabSz="1219139"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1104904" y="2693234"/>
            <a:ext cx="7797801" cy="964367"/>
          </a:xfrm>
          <a:prstGeom prst="rect">
            <a:avLst/>
          </a:prstGeom>
        </p:spPr>
        <p:txBody>
          <a:bodyPr lIns="0" tIns="0" rIns="0" bIns="0">
            <a:spAutoFit/>
          </a:bodyPr>
          <a:lstStyle>
            <a:lvl1pPr marL="0" indent="0" algn="l">
              <a:lnSpc>
                <a:spcPct val="100000"/>
              </a:lnSpc>
              <a:spcBef>
                <a:spcPts val="0"/>
              </a:spcBef>
              <a:buFontTx/>
              <a:buNone/>
              <a:defRPr sz="6267" baseline="0">
                <a:solidFill>
                  <a:schemeClr val="bg1"/>
                </a:solidFill>
                <a:latin typeface="+mj-lt"/>
              </a:defRPr>
            </a:lvl1pPr>
            <a:lvl2pPr>
              <a:defRPr sz="6400"/>
            </a:lvl2pPr>
            <a:lvl3pPr>
              <a:defRPr sz="6400"/>
            </a:lvl3pPr>
            <a:lvl4pPr>
              <a:defRPr sz="6400"/>
            </a:lvl4pPr>
            <a:lvl5pPr>
              <a:defRPr sz="64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1104904" y="3657600"/>
            <a:ext cx="7797801" cy="595035"/>
          </a:xfrm>
          <a:prstGeom prst="rect">
            <a:avLst/>
          </a:prstGeom>
        </p:spPr>
        <p:txBody>
          <a:bodyPr lIns="0" tIns="0" rIns="0" bIns="0">
            <a:spAutoFit/>
          </a:bodyPr>
          <a:lstStyle>
            <a:lvl1pPr marL="0" indent="0" algn="l">
              <a:lnSpc>
                <a:spcPct val="100000"/>
              </a:lnSpc>
              <a:spcBef>
                <a:spcPts val="0"/>
              </a:spcBef>
              <a:buFontTx/>
              <a:buNone/>
              <a:defRPr sz="3867" b="0" i="0" baseline="0">
                <a:solidFill>
                  <a:schemeClr val="bg1"/>
                </a:solidFill>
                <a:latin typeface="+mj-lt"/>
              </a:defRPr>
            </a:lvl1pPr>
            <a:lvl2pPr>
              <a:defRPr sz="6400"/>
            </a:lvl2pPr>
            <a:lvl3pPr>
              <a:defRPr sz="6400"/>
            </a:lvl3pPr>
            <a:lvl4pPr>
              <a:defRPr sz="6400"/>
            </a:lvl4pPr>
            <a:lvl5pPr>
              <a:defRPr sz="6400"/>
            </a:lvl5pPr>
          </a:lstStyle>
          <a:p>
            <a:pPr lvl="0"/>
            <a:r>
              <a:rPr lang="en-US" noProof="0" dirty="0"/>
              <a:t>Subtitle 29pt</a:t>
            </a:r>
          </a:p>
        </p:txBody>
      </p:sp>
      <p:pic>
        <p:nvPicPr>
          <p:cNvPr id="14" name="Picture 13">
            <a:extLst>
              <a:ext uri="{FF2B5EF4-FFF2-40B4-BE49-F238E27FC236}">
                <a16:creationId xmlns:a16="http://schemas.microsoft.com/office/drawing/2014/main" id="{C8DB05A0-1F6C-4818-AE9C-844565FE6D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9375" y="6288409"/>
            <a:ext cx="1727743" cy="269704"/>
          </a:xfrm>
          <a:prstGeom prst="rect">
            <a:avLst/>
          </a:prstGeom>
        </p:spPr>
      </p:pic>
      <p:pic>
        <p:nvPicPr>
          <p:cNvPr id="17" name="Picture 16">
            <a:extLst>
              <a:ext uri="{FF2B5EF4-FFF2-40B4-BE49-F238E27FC236}">
                <a16:creationId xmlns:a16="http://schemas.microsoft.com/office/drawing/2014/main" id="{4DFD1CE9-01F6-4734-BB68-8CA2FB8A8012}"/>
              </a:ext>
            </a:extLst>
          </p:cNvPr>
          <p:cNvPicPr>
            <a:picLocks/>
          </p:cNvPicPr>
          <p:nvPr userDrawn="1">
            <p:custDataLst>
              <p:tags r:id="rId2"/>
            </p:custDataLst>
          </p:nvPr>
        </p:nvPicPr>
        <p:blipFill>
          <a:blip r:embed="rId9" cstate="screen">
            <a:extLst>
              <a:ext uri="{28A0092B-C50C-407E-A947-70E740481C1C}">
                <a14:useLocalDpi xmlns:a14="http://schemas.microsoft.com/office/drawing/2010/main"/>
              </a:ext>
            </a:extLst>
          </a:blip>
          <a:stretch>
            <a:fillRect/>
          </a:stretch>
        </p:blipFill>
        <p:spPr>
          <a:xfrm>
            <a:off x="9724202" y="6160237"/>
            <a:ext cx="1934292"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4744172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BEB451-A2EF-499D-919D-8E4685ED8CC4}"/>
              </a:ext>
            </a:extLst>
          </p:cNvPr>
          <p:cNvGraphicFramePr>
            <a:graphicFrameLocks noChangeAspect="1"/>
          </p:cNvGraphicFramePr>
          <p:nvPr userDrawn="1">
            <p:custDataLst>
              <p:tags r:id="rId1"/>
            </p:custDataLst>
            <p:extLst>
              <p:ext uri="{D42A27DB-BD31-4B8C-83A1-F6EECF244321}">
                <p14:modId xmlns:p14="http://schemas.microsoft.com/office/powerpoint/2010/main" val="361988332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2" name="Object 1" hidden="1">
                        <a:extLst>
                          <a:ext uri="{FF2B5EF4-FFF2-40B4-BE49-F238E27FC236}">
                            <a16:creationId xmlns:a16="http://schemas.microsoft.com/office/drawing/2014/main" id="{A2BEB451-A2EF-499D-919D-8E4685ED8CC4}"/>
                          </a:ext>
                        </a:extLst>
                      </p:cNvPr>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5" name="Freihandform 3">
            <a:extLst>
              <a:ext uri="{FF2B5EF4-FFF2-40B4-BE49-F238E27FC236}">
                <a16:creationId xmlns:a16="http://schemas.microsoft.com/office/drawing/2014/main" id="{2E594BD7-3C66-4ECE-BEAA-D57B822B90D9}"/>
              </a:ext>
            </a:extLst>
          </p:cNvPr>
          <p:cNvSpPr/>
          <p:nvPr userDrawn="1">
            <p:custDataLst>
              <p:tags r:id="rId2"/>
            </p:custDataLst>
          </p:nvPr>
        </p:nvSpPr>
        <p:spPr bwMode="auto">
          <a:xfrm>
            <a:off x="7" y="3"/>
            <a:ext cx="12192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121920" tIns="60960" rIns="121920" bIns="60960" numCol="1" rtlCol="0" anchor="t" anchorCtr="0" compatLnSpc="1">
            <a:prstTxWarp prst="textNoShape">
              <a:avLst/>
            </a:prstTxWarp>
          </a:bodyPr>
          <a:lstStyle/>
          <a:p>
            <a:pPr defTabSz="1219108" fontAlgn="base">
              <a:spcBef>
                <a:spcPct val="0"/>
              </a:spcBef>
              <a:spcAft>
                <a:spcPct val="0"/>
              </a:spcAft>
            </a:pPr>
            <a:endParaRPr lang="en-US" sz="2667" dirty="0">
              <a:solidFill>
                <a:srgbClr val="000000"/>
              </a:solidFill>
              <a:latin typeface="Arial" charset="0"/>
            </a:endParaRPr>
          </a:p>
        </p:txBody>
      </p:sp>
      <p:sp>
        <p:nvSpPr>
          <p:cNvPr id="4" name="Text Placeholder 3"/>
          <p:cNvSpPr>
            <a:spLocks noGrp="1"/>
          </p:cNvSpPr>
          <p:nvPr>
            <p:ph type="body" sz="quarter" idx="10"/>
          </p:nvPr>
        </p:nvSpPr>
        <p:spPr>
          <a:xfrm>
            <a:off x="1104000" y="2840895"/>
            <a:ext cx="9984000" cy="1620000"/>
          </a:xfrm>
          <a:prstGeom prst="rect">
            <a:avLst/>
          </a:prstGeom>
        </p:spPr>
        <p:txBody>
          <a:bodyPr lIns="0" tIns="0" rIns="0" bIns="0">
            <a:normAutofit/>
          </a:bodyPr>
          <a:lstStyle>
            <a:lvl1pPr marL="0" indent="0" algn="l">
              <a:spcBef>
                <a:spcPts val="0"/>
              </a:spcBef>
              <a:buFontTx/>
              <a:buNone/>
              <a:defRPr sz="6267" b="0">
                <a:solidFill>
                  <a:schemeClr val="bg1"/>
                </a:solidFill>
                <a:latin typeface="+mn-lt"/>
              </a:defRPr>
            </a:lvl1pPr>
            <a:lvl2pPr>
              <a:defRPr sz="6400"/>
            </a:lvl2pPr>
            <a:lvl3pPr>
              <a:defRPr sz="6400"/>
            </a:lvl3pPr>
            <a:lvl4pPr>
              <a:defRPr sz="6400"/>
            </a:lvl4pPr>
            <a:lvl5pPr>
              <a:defRPr sz="6400"/>
            </a:lvl5pPr>
          </a:lstStyle>
          <a:p>
            <a:pPr lvl="0"/>
            <a:r>
              <a:rPr lang="en-US" noProof="0"/>
              <a:t>Click to edit Master text styles</a:t>
            </a:r>
          </a:p>
        </p:txBody>
      </p:sp>
      <p:sp>
        <p:nvSpPr>
          <p:cNvPr id="6" name="Text Placeholder 5"/>
          <p:cNvSpPr>
            <a:spLocks noGrp="1"/>
          </p:cNvSpPr>
          <p:nvPr>
            <p:ph type="body" sz="quarter" idx="11"/>
          </p:nvPr>
        </p:nvSpPr>
        <p:spPr>
          <a:xfrm>
            <a:off x="1104900" y="2156895"/>
            <a:ext cx="9984317" cy="404816"/>
          </a:xfrm>
          <a:prstGeom prst="rect">
            <a:avLst/>
          </a:prstGeom>
        </p:spPr>
        <p:txBody>
          <a:bodyPr lIns="0" tIns="0" rIns="0" bIns="0" anchor="ctr">
            <a:normAutofit/>
          </a:bodyPr>
          <a:lstStyle>
            <a:lvl1pPr marL="0" indent="0">
              <a:spcBef>
                <a:spcPts val="0"/>
              </a:spcBef>
              <a:buFontTx/>
              <a:buNone/>
              <a:defRPr sz="2400">
                <a:solidFill>
                  <a:schemeClr val="bg1"/>
                </a:solidFill>
                <a:latin typeface="+mn-lt"/>
              </a:defRPr>
            </a:lvl1pPr>
          </a:lstStyle>
          <a:p>
            <a:pPr lvl="0"/>
            <a:r>
              <a:rPr lang="en-US" noProof="0"/>
              <a:t>Click to edit Master text styles</a:t>
            </a:r>
          </a:p>
        </p:txBody>
      </p:sp>
      <p:pic>
        <p:nvPicPr>
          <p:cNvPr id="10" name="Picture 9">
            <a:extLst>
              <a:ext uri="{FF2B5EF4-FFF2-40B4-BE49-F238E27FC236}">
                <a16:creationId xmlns:a16="http://schemas.microsoft.com/office/drawing/2014/main" id="{CD37A42D-C056-48B1-B1CC-D4D44452BC43}"/>
              </a:ext>
            </a:extLst>
          </p:cNvPr>
          <p:cNvPicPr>
            <a:picLocks/>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11078424" y="289984"/>
            <a:ext cx="471203" cy="599017"/>
          </a:xfrm>
          <a:prstGeom prst="rect">
            <a:avLst/>
          </a:prstGeom>
          <a:noFill/>
        </p:spPr>
      </p:pic>
    </p:spTree>
    <p:extLst>
      <p:ext uri="{BB962C8B-B14F-4D97-AF65-F5344CB8AC3E}">
        <p14:creationId xmlns:p14="http://schemas.microsoft.com/office/powerpoint/2010/main" val="41557874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415A2E-C4A5-4E76-BCDA-093B76FE546F}"/>
              </a:ext>
            </a:extLst>
          </p:cNvPr>
          <p:cNvGraphicFramePr>
            <a:graphicFrameLocks noChangeAspect="1"/>
          </p:cNvGraphicFramePr>
          <p:nvPr userDrawn="1">
            <p:custDataLst>
              <p:tags r:id="rId1"/>
            </p:custDataLst>
            <p:extLst>
              <p:ext uri="{D42A27DB-BD31-4B8C-83A1-F6EECF244321}">
                <p14:modId xmlns:p14="http://schemas.microsoft.com/office/powerpoint/2010/main" val="4020403878"/>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21415A2E-C4A5-4E76-BCDA-093B76FE546F}"/>
                          </a:ext>
                        </a:extLst>
                      </p:cNvPr>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6" name="Freihandform 3">
            <a:extLst>
              <a:ext uri="{FF2B5EF4-FFF2-40B4-BE49-F238E27FC236}">
                <a16:creationId xmlns:a16="http://schemas.microsoft.com/office/drawing/2014/main" id="{64D289E2-3F36-4C00-A8FE-11C673249BB4}"/>
              </a:ext>
            </a:extLst>
          </p:cNvPr>
          <p:cNvSpPr/>
          <p:nvPr userDrawn="1">
            <p:custDataLst>
              <p:tags r:id="rId2"/>
            </p:custDataLst>
          </p:nvPr>
        </p:nvSpPr>
        <p:spPr bwMode="auto">
          <a:xfrm>
            <a:off x="7" y="3"/>
            <a:ext cx="12192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121920" tIns="60960" rIns="121920" bIns="60960" numCol="1" rtlCol="0" anchor="t" anchorCtr="0" compatLnSpc="1">
            <a:prstTxWarp prst="textNoShape">
              <a:avLst/>
            </a:prstTxWarp>
          </a:bodyPr>
          <a:lstStyle/>
          <a:p>
            <a:pPr defTabSz="1219108" fontAlgn="base">
              <a:spcBef>
                <a:spcPct val="0"/>
              </a:spcBef>
              <a:spcAft>
                <a:spcPct val="0"/>
              </a:spcAft>
            </a:pPr>
            <a:endParaRPr lang="en-US" sz="2667" dirty="0">
              <a:solidFill>
                <a:srgbClr val="000000"/>
              </a:solidFill>
              <a:latin typeface="Arial" charset="0"/>
            </a:endParaRPr>
          </a:p>
        </p:txBody>
      </p:sp>
      <p:pic>
        <p:nvPicPr>
          <p:cNvPr id="5" name="Picture 4">
            <a:extLst>
              <a:ext uri="{FF2B5EF4-FFF2-40B4-BE49-F238E27FC236}">
                <a16:creationId xmlns:a16="http://schemas.microsoft.com/office/drawing/2014/main" id="{1409CA90-39FB-46F4-9F50-390A81801786}"/>
              </a:ext>
            </a:extLst>
          </p:cNvPr>
          <p:cNvPicPr>
            <a:picLocks/>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5317471" y="2447784"/>
            <a:ext cx="1526003" cy="1943765"/>
          </a:xfrm>
          <a:prstGeom prst="rect">
            <a:avLst/>
          </a:prstGeom>
          <a:noFill/>
        </p:spPr>
      </p:pic>
    </p:spTree>
    <p:extLst>
      <p:ext uri="{BB962C8B-B14F-4D97-AF65-F5344CB8AC3E}">
        <p14:creationId xmlns:p14="http://schemas.microsoft.com/office/powerpoint/2010/main" val="22556140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2"/>
          <a:ext cx="211667" cy="158751"/>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5" name="Object 4"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2"/>
                        <a:ext cx="211667"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userDrawn="1">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800" b="0" i="0" baseline="0" dirty="0">
              <a:latin typeface="Calibri" panose="020F0502020204030204" pitchFamily="34" charset="0"/>
              <a:ea typeface="+mn-ea"/>
              <a:cs typeface="+mn-cs"/>
              <a:sym typeface="Calibri" panose="020F0502020204030204" pitchFamily="34" charset="0"/>
            </a:endParaRPr>
          </a:p>
        </p:txBody>
      </p:sp>
      <p:sp>
        <p:nvSpPr>
          <p:cNvPr id="2" name="Title 1"/>
          <p:cNvSpPr>
            <a:spLocks noGrp="1"/>
          </p:cNvSpPr>
          <p:nvPr>
            <p:ph type="ctrTitle"/>
            <p:custDataLst>
              <p:tags r:id="rId3"/>
            </p:custDataLst>
          </p:nvPr>
        </p:nvSpPr>
        <p:spPr>
          <a:xfrm>
            <a:off x="1104004" y="2052005"/>
            <a:ext cx="9983995" cy="1619999"/>
          </a:xfrm>
          <a:ln w="0"/>
          <a:effectLst/>
          <a:extLst>
            <a:ext uri="{53640926-AAD7-44D8-BBD7-CCE9431645EC}">
              <a14:shadowObscured xmlns:a14="http://schemas.microsoft.com/office/drawing/2010/main"/>
            </a:ext>
          </a:extLst>
        </p:spPr>
        <p:txBody>
          <a:bodyPr wrap="square" lIns="0" tIns="0" rIns="0" bIns="0" anchor="t"/>
          <a:lstStyle>
            <a:lvl1pPr algn="l" rtl="0" eaLnBrk="1" fontAlgn="base" hangingPunct="1">
              <a:spcBef>
                <a:spcPts val="0"/>
              </a:spcBef>
              <a:spcAft>
                <a:spcPts val="0"/>
              </a:spcAft>
              <a:buNone/>
              <a:defRPr sz="4800">
                <a:solidFill>
                  <a:srgbClr val="FFFFFF"/>
                </a:solidFill>
              </a:defRPr>
            </a:lvl1pPr>
          </a:lstStyle>
          <a:p>
            <a:r>
              <a:rPr lang="en-US" dirty="0"/>
              <a:t>Click to edit Master title style</a:t>
            </a:r>
          </a:p>
        </p:txBody>
      </p:sp>
      <p:sp>
        <p:nvSpPr>
          <p:cNvPr id="3" name="Subtitle 2" hidden="1"/>
          <p:cNvSpPr>
            <a:spLocks noGrp="1"/>
          </p:cNvSpPr>
          <p:nvPr>
            <p:ph type="subTitle" idx="1"/>
            <p:custDataLst>
              <p:tags r:id="rId4"/>
            </p:custDataLst>
          </p:nvPr>
        </p:nvSpPr>
        <p:spPr>
          <a:xfrm>
            <a:off x="1100667" y="6350002"/>
            <a:ext cx="1016000" cy="139700"/>
          </a:xfrm>
          <a:ln w="0"/>
          <a:effectLst/>
          <a:extLst>
            <a:ext uri="{53640926-AAD7-44D8-BBD7-CCE9431645EC}">
              <a14:shadowObscured xmlns:a14="http://schemas.microsoft.com/office/drawing/2010/main"/>
            </a:ext>
          </a:extLst>
        </p:spPr>
        <p:txBody>
          <a:bodyPr wrap="square" lIns="0" tIns="0" rIns="0" bIns="0"/>
          <a:lstStyle>
            <a:lvl1pPr marL="285737" indent="-285737" algn="l" rtl="0" eaLnBrk="1" fontAlgn="base" hangingPunct="1">
              <a:spcBef>
                <a:spcPct val="0"/>
              </a:spcBef>
              <a:spcAft>
                <a:spcPct val="0"/>
              </a:spcAft>
              <a:buClrTx/>
              <a:buSzPct val="100000"/>
              <a:buFont typeface="Calibri"/>
              <a:buNone/>
              <a:defRPr sz="1800" b="0" i="0" u="none">
                <a:solidFill>
                  <a:srgbClr val="FFFFFF"/>
                </a:solidFill>
                <a:latin typeface="Calibri"/>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p>
        </p:txBody>
      </p:sp>
      <p:sp>
        <p:nvSpPr>
          <p:cNvPr id="4" name="Footer Placeholder 3" hidden="1"/>
          <p:cNvSpPr>
            <a:spLocks noGrp="1"/>
          </p:cNvSpPr>
          <p:nvPr>
            <p:ph type="ftr" sz="quarter" idx="10"/>
            <p:custDataLst>
              <p:tags r:id="rId5"/>
            </p:custDataLst>
          </p:nvPr>
        </p:nvSpPr>
        <p:spPr>
          <a:xfrm>
            <a:off x="1100667" y="6502402"/>
            <a:ext cx="1016000" cy="139700"/>
          </a:xfrm>
          <a:prstGeom prst="rect">
            <a:avLst/>
          </a:prstGeom>
          <a:ln w="0"/>
          <a:effectLst/>
          <a:extLst>
            <a:ext uri="{53640926-AAD7-44D8-BBD7-CCE9431645EC}">
              <a14:shadowObscured xmlns:a14="http://schemas.microsoft.com/office/drawing/2010/main"/>
            </a:ext>
          </a:extLst>
        </p:spPr>
        <p:txBody>
          <a:bodyPr wrap="square" lIns="0" tIns="0" rIns="0" bIns="0" anchor="b"/>
          <a:lstStyle>
            <a:lvl1pPr eaLnBrk="1">
              <a:defRPr>
                <a:solidFill>
                  <a:srgbClr val="FFFFFF"/>
                </a:solidFill>
              </a:defRPr>
            </a:lvl1pPr>
          </a:lstStyle>
          <a:p>
            <a:endParaRPr lang="en-US" altLang="zh-CN" dirty="0"/>
          </a:p>
        </p:txBody>
      </p:sp>
      <p:sp>
        <p:nvSpPr>
          <p:cNvPr id="6" name="Slide Number Placeholder 5" hidden="1"/>
          <p:cNvSpPr>
            <a:spLocks noGrp="1"/>
          </p:cNvSpPr>
          <p:nvPr>
            <p:ph type="sldNum" sz="quarter" idx="12"/>
            <p:custDataLst>
              <p:tags r:id="rId6"/>
            </p:custDataLst>
          </p:nvPr>
        </p:nvSpPr>
        <p:spPr>
          <a:xfrm>
            <a:off x="279400" y="6464302"/>
            <a:ext cx="677333" cy="184151"/>
          </a:xfrm>
          <a:prstGeom prst="rect">
            <a:avLst/>
          </a:prstGeom>
          <a:ln w="0"/>
          <a:effectLst/>
          <a:extLst>
            <a:ext uri="{53640926-AAD7-44D8-BBD7-CCE9431645EC}">
              <a14:shadowObscured xmlns:a14="http://schemas.microsoft.com/office/drawing/2010/main"/>
            </a:ext>
          </a:extLst>
        </p:spPr>
        <p:txBody>
          <a:bodyPr wrap="square" lIns="0" tIns="0" rIns="0" bIns="0"/>
          <a:lstStyle>
            <a:lvl1pPr>
              <a:defRPr>
                <a:solidFill>
                  <a:srgbClr val="FFFFFF"/>
                </a:solidFill>
              </a:defRPr>
            </a:lvl1pPr>
          </a:lstStyle>
          <a:p>
            <a:fld id="{B7AB8A21-15EC-4B97-9FCB-DCCEB0F18CB1}" type="slidenum">
              <a:rPr lang="en-US" altLang="zh-CN" smtClean="0"/>
              <a:pPr/>
              <a:t>‹#›</a:t>
            </a:fld>
            <a:endParaRPr lang="en-US" altLang="zh-CN" dirty="0"/>
          </a:p>
        </p:txBody>
      </p:sp>
      <p:sp>
        <p:nvSpPr>
          <p:cNvPr id="7" name="Date Placeholder 6" hidden="1"/>
          <p:cNvSpPr>
            <a:spLocks noGrp="1"/>
          </p:cNvSpPr>
          <p:nvPr>
            <p:ph type="dt" sz="half" idx="13"/>
            <p:custDataLst>
              <p:tags r:id="rId7"/>
            </p:custDataLst>
          </p:nvPr>
        </p:nvSpPr>
        <p:spPr>
          <a:xfrm>
            <a:off x="2116667" y="6502402"/>
            <a:ext cx="5249333" cy="139700"/>
          </a:xfrm>
          <a:prstGeom prst="rect">
            <a:avLst/>
          </a:prstGeom>
          <a:ln w="0"/>
          <a:effectLst/>
          <a:extLst>
            <a:ext uri="{53640926-AAD7-44D8-BBD7-CCE9431645EC}">
              <a14:shadowObscured xmlns:a14="http://schemas.microsoft.com/office/drawing/2010/main"/>
            </a:ext>
          </a:extLst>
        </p:spPr>
        <p:txBody>
          <a:bodyPr wrap="square" lIns="0" tIns="0" rIns="0" bIns="0"/>
          <a:lstStyle>
            <a:lvl1pPr eaLnBrk="1">
              <a:defRPr>
                <a:solidFill>
                  <a:srgbClr val="FFFFFF"/>
                </a:solidFill>
              </a:defRPr>
            </a:lvl1pPr>
          </a:lstStyle>
          <a:p>
            <a:endParaRPr lang="en-US" altLang="zh-CN" dirty="0"/>
          </a:p>
        </p:txBody>
      </p:sp>
    </p:spTree>
    <p:extLst>
      <p:ext uri="{BB962C8B-B14F-4D97-AF65-F5344CB8AC3E}">
        <p14:creationId xmlns:p14="http://schemas.microsoft.com/office/powerpoint/2010/main" val="25245263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788875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98907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1450244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298684949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62675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754976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2876522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415521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618657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81587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4080832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681582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355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2564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1751835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45690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01061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68752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859871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785966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52645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08470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3379401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068561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32786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31514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977124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674323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93107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79218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3"/>
            </p:custDataLst>
            <p:extLst>
              <p:ext uri="{D42A27DB-BD31-4B8C-83A1-F6EECF244321}">
                <p14:modId xmlns:p14="http://schemas.microsoft.com/office/powerpoint/2010/main" val="1474516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319455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13144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74989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8331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304615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757291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12228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856295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072601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41593753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84753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415029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3"/>
            </p:custDataLst>
            <p:extLst>
              <p:ext uri="{D42A27DB-BD31-4B8C-83A1-F6EECF244321}">
                <p14:modId xmlns:p14="http://schemas.microsoft.com/office/powerpoint/2010/main" val="1521545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0"/>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209307483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6770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59172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812255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96185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8708710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225800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38" imgH="338" progId="TCLayout.ActiveDocument.1">
                  <p:embed/>
                </p:oleObj>
              </mc:Choice>
              <mc:Fallback>
                <p:oleObj name="think-cell Slide" r:id="rId7" imgW="338" imgH="338"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1593007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11752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6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2.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97.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image" Target="../media/image2.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129.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6" Type="http://schemas.openxmlformats.org/officeDocument/2006/relationships/image" Target="../media/image2.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oleObject" Target="../embeddings/oleObject31.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161.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6.xml"/><Relationship Id="rId5" Type="http://schemas.openxmlformats.org/officeDocument/2006/relationships/slideLayout" Target="../slideLayouts/slideLayout60.xml"/><Relationship Id="rId15" Type="http://schemas.openxmlformats.org/officeDocument/2006/relationships/image" Target="../media/image6.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5.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84.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7.xml"/><Relationship Id="rId2" Type="http://schemas.openxmlformats.org/officeDocument/2006/relationships/slideLayout" Target="../slideLayouts/slideLayout67.xml"/><Relationship Id="rId16" Type="http://schemas.openxmlformats.org/officeDocument/2006/relationships/image" Target="../media/image2.emf"/><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1.emf"/><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oleObject" Target="../embeddings/oleObject4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211606306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Object 6" hidden="1"/>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35827452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1108754515"/>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Object 6" hidden="1"/>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25181420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2700272129"/>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Object 6" hidden="1"/>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192594420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30488402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Object 6" hidden="1"/>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290306053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2080220371"/>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Object 6" hidden="1"/>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202893463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85177798"/>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2122" y="1589"/>
                        <a:ext cx="2116" cy="1587"/>
                      </a:xfrm>
                      <a:prstGeom prst="rect">
                        <a:avLst/>
                      </a:prstGeom>
                    </p:spPr>
                  </p:pic>
                </p:oleObj>
              </mc:Fallback>
            </mc:AlternateContent>
          </a:graphicData>
        </a:graphic>
      </p:graphicFrame>
      <p:pic>
        <p:nvPicPr>
          <p:cNvPr id="13" name="Picture 6">
            <a:extLst>
              <a:ext uri="{FF2B5EF4-FFF2-40B4-BE49-F238E27FC236}">
                <a16:creationId xmlns:a16="http://schemas.microsoft.com/office/drawing/2014/main" id="{C5FA1554-124E-4486-B5F7-8D06C4A911C6}"/>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236960" y="117265"/>
            <a:ext cx="383787" cy="487889"/>
          </a:xfrm>
          <a:prstGeom prst="rect">
            <a:avLst/>
          </a:prstGeom>
          <a:ln>
            <a:noFill/>
          </a:ln>
        </p:spPr>
      </p:pic>
      <p:sp>
        <p:nvSpPr>
          <p:cNvPr id="11" name="TextBox 10"/>
          <p:cNvSpPr txBox="1"/>
          <p:nvPr/>
        </p:nvSpPr>
        <p:spPr>
          <a:xfrm>
            <a:off x="599018" y="6472502"/>
            <a:ext cx="677333" cy="184151"/>
          </a:xfrm>
          <a:prstGeom prst="rect">
            <a:avLst/>
          </a:prstGeom>
        </p:spPr>
        <p:txBody>
          <a:bodyPr vert="horz" lIns="0" tIns="0" rIns="0" bIns="0" rtlCol="0" anchor="ctr"/>
          <a:lstStyle>
            <a:defPPr>
              <a:defRPr lang="de-DE"/>
            </a:defPPr>
            <a:lvl1pPr>
              <a:defRPr lang="en-US" sz="1200" smtClean="0"/>
            </a:lvl1pPr>
          </a:lstStyle>
          <a:p>
            <a:pPr lvl="0"/>
            <a:fld id="{C3A9D72B-53BE-4D95-9D29-99D7313A36B1}" type="slidenum">
              <a:rPr lang="en-US" sz="1467" noProof="0" smtClean="0"/>
              <a:pPr lvl="0"/>
              <a:t>‹#›</a:t>
            </a:fld>
            <a:endParaRPr lang="en-US" sz="1467" noProof="0" dirty="0"/>
          </a:p>
        </p:txBody>
      </p:sp>
      <p:sp>
        <p:nvSpPr>
          <p:cNvPr id="12" name="TextBox 11"/>
          <p:cNvSpPr txBox="1"/>
          <p:nvPr/>
        </p:nvSpPr>
        <p:spPr>
          <a:xfrm>
            <a:off x="10747281" y="6466584"/>
            <a:ext cx="840551" cy="205121"/>
          </a:xfrm>
          <a:prstGeom prst="rect">
            <a:avLst/>
          </a:prstGeom>
          <a:noFill/>
        </p:spPr>
        <p:txBody>
          <a:bodyPr wrap="none" lIns="0" tIns="0" rIns="0" bIns="0" rtlCol="0" anchor="ctr">
            <a:spAutoFit/>
          </a:bodyPr>
          <a:lstStyle/>
          <a:p>
            <a:pPr algn="r"/>
            <a:r>
              <a:rPr lang="en-US" sz="1333" kern="1200" noProof="0" dirty="0">
                <a:solidFill>
                  <a:srgbClr val="000000"/>
                </a:solidFill>
                <a:latin typeface="Calibri"/>
                <a:ea typeface="+mn-ea"/>
                <a:cs typeface="+mn-cs"/>
              </a:rPr>
              <a:t>Confidential</a:t>
            </a: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599018" y="656759"/>
            <a:ext cx="10988812" cy="1153236"/>
          </a:xfrm>
          <a:prstGeom prst="rect">
            <a:avLst/>
          </a:prstGeom>
        </p:spPr>
        <p:txBody>
          <a:bodyPr vert="horz" lIns="0" tIns="0" rIns="0" bIns="0" rtlCol="0" anchor="t">
            <a:noAutofit/>
          </a:bodyPr>
          <a:lstStyle/>
          <a:p>
            <a:r>
              <a:rPr lang="en-US" dirty="0"/>
              <a:t>Action title: 26pt black</a:t>
            </a:r>
            <a:br>
              <a:rPr lang="en-US" dirty="0"/>
            </a:br>
            <a:r>
              <a:rPr lang="en-US" dirty="0"/>
              <a:t>Sub title: 18pt Philips Group Blue 4</a:t>
            </a:r>
          </a:p>
        </p:txBody>
      </p:sp>
      <p:sp>
        <p:nvSpPr>
          <p:cNvPr id="4" name="Text Placeholder 3">
            <a:extLst>
              <a:ext uri="{FF2B5EF4-FFF2-40B4-BE49-F238E27FC236}">
                <a16:creationId xmlns:a16="http://schemas.microsoft.com/office/drawing/2014/main" id="{381D293A-FBF7-4852-9D8A-61BE77E4B17F}"/>
              </a:ext>
            </a:extLst>
          </p:cNvPr>
          <p:cNvSpPr>
            <a:spLocks noGrp="1"/>
          </p:cNvSpPr>
          <p:nvPr>
            <p:ph type="body" idx="1"/>
          </p:nvPr>
        </p:nvSpPr>
        <p:spPr>
          <a:xfrm>
            <a:off x="599018" y="2070103"/>
            <a:ext cx="10988812" cy="40560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312987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Lst>
  <p:hf sldNum="0" hdr="0" dt="0"/>
  <p:txStyles>
    <p:titleStyle>
      <a:lvl1pPr algn="l" defTabSz="1219139" rtl="0" eaLnBrk="1" latinLnBrk="0" hangingPunct="1">
        <a:lnSpc>
          <a:spcPct val="100000"/>
        </a:lnSpc>
        <a:spcBef>
          <a:spcPct val="0"/>
        </a:spcBef>
        <a:buNone/>
        <a:defRPr lang="en-US" sz="3467" kern="1200" smtClean="0">
          <a:solidFill>
            <a:schemeClr val="tx1"/>
          </a:solidFill>
          <a:latin typeface="+mj-lt"/>
          <a:ea typeface="+mj-ea"/>
          <a:cs typeface="+mj-cs"/>
        </a:defRPr>
      </a:lvl1pPr>
    </p:titleStyle>
    <p:bodyStyle>
      <a:lvl1pPr marL="374391" indent="-374391" algn="l" defTabSz="1219139" rtl="0" eaLnBrk="1" latinLnBrk="0" hangingPunct="1">
        <a:lnSpc>
          <a:spcPct val="100000"/>
        </a:lnSpc>
        <a:spcBef>
          <a:spcPts val="0"/>
        </a:spcBef>
        <a:spcAft>
          <a:spcPts val="0"/>
        </a:spcAft>
        <a:buClr>
          <a:srgbClr val="000000"/>
        </a:buClr>
        <a:buSzPct val="90000"/>
        <a:buFont typeface="Wingdings" panose="05000000000000000000" pitchFamily="2" charset="2"/>
        <a:buChar char=""/>
        <a:defRPr lang="en-US" sz="2400" kern="1200" dirty="0">
          <a:solidFill>
            <a:srgbClr val="000000"/>
          </a:solidFill>
          <a:latin typeface="+mn-lt"/>
          <a:ea typeface="+mn-ea"/>
          <a:cs typeface="+mn-cs"/>
        </a:defRPr>
      </a:lvl1pPr>
      <a:lvl2pPr marL="710382" indent="-321592" algn="l" defTabSz="1219139" rtl="0" eaLnBrk="1" latinLnBrk="0" hangingPunct="1">
        <a:lnSpc>
          <a:spcPct val="100000"/>
        </a:lnSpc>
        <a:spcBef>
          <a:spcPts val="0"/>
        </a:spcBef>
        <a:spcAft>
          <a:spcPts val="0"/>
        </a:spcAft>
        <a:buClr>
          <a:srgbClr val="000000"/>
        </a:buClr>
        <a:buSzPts val="1800"/>
        <a:buFont typeface="Calibri" panose="020F0502020204030204" pitchFamily="34" charset="0"/>
        <a:buChar char="–"/>
        <a:defRPr lang="en-US" sz="2400" kern="1200" dirty="0">
          <a:solidFill>
            <a:srgbClr val="000000"/>
          </a:solidFill>
          <a:latin typeface="+mn-lt"/>
          <a:ea typeface="+mn-ea"/>
          <a:cs typeface="+mn-cs"/>
        </a:defRPr>
      </a:lvl2pPr>
      <a:lvl3pPr marL="1017575" indent="-307192" algn="l" defTabSz="1219139" rtl="0" eaLnBrk="1" latinLnBrk="0" hangingPunct="1">
        <a:lnSpc>
          <a:spcPct val="100000"/>
        </a:lnSpc>
        <a:spcBef>
          <a:spcPts val="0"/>
        </a:spcBef>
        <a:spcAft>
          <a:spcPts val="0"/>
        </a:spcAft>
        <a:buClr>
          <a:srgbClr val="000000"/>
        </a:buClr>
        <a:buSzPct val="55000"/>
        <a:buFont typeface="Wingdings" panose="05000000000000000000" pitchFamily="2" charset="2"/>
        <a:buChar char="n"/>
        <a:defRPr lang="en-US" sz="2400" kern="1200" dirty="0">
          <a:solidFill>
            <a:srgbClr val="000000"/>
          </a:solidFill>
          <a:latin typeface="+mn-lt"/>
          <a:ea typeface="+mn-ea"/>
          <a:cs typeface="+mn-cs"/>
        </a:defRPr>
      </a:lvl3pPr>
      <a:lvl4pPr marL="1439964" indent="-321592" algn="l" defTabSz="1219139" rtl="0" eaLnBrk="1" latinLnBrk="0" hangingPunct="1">
        <a:lnSpc>
          <a:spcPct val="100000"/>
        </a:lnSpc>
        <a:spcBef>
          <a:spcPts val="0"/>
        </a:spcBef>
        <a:spcAft>
          <a:spcPts val="0"/>
        </a:spcAft>
        <a:buClr>
          <a:srgbClr val="000000"/>
        </a:buClr>
        <a:buSzPts val="1800"/>
        <a:buFont typeface="Arial" pitchFamily="34" charset="0"/>
        <a:buChar char="•"/>
        <a:defRPr lang="en-US" sz="2400" kern="1200" dirty="0">
          <a:solidFill>
            <a:srgbClr val="000000"/>
          </a:solidFill>
          <a:latin typeface="+mn-lt"/>
          <a:ea typeface="+mn-ea"/>
          <a:cs typeface="+mn-cs"/>
        </a:defRPr>
      </a:lvl4pPr>
      <a:lvl5pPr marL="1919952" indent="-321592" algn="l" defTabSz="1219139" rtl="0" eaLnBrk="1" latinLnBrk="0" hangingPunct="1">
        <a:lnSpc>
          <a:spcPct val="100000"/>
        </a:lnSpc>
        <a:spcBef>
          <a:spcPts val="0"/>
        </a:spcBef>
        <a:spcAft>
          <a:spcPts val="0"/>
        </a:spcAft>
        <a:buClr>
          <a:srgbClr val="000000"/>
        </a:buClr>
        <a:buSzPts val="1800"/>
        <a:buFont typeface="Calibri" panose="020F0502020204030204" pitchFamily="34" charset="0"/>
        <a:buChar char="─"/>
        <a:defRPr lang="en-US" sz="2400" kern="1200" dirty="0">
          <a:solidFill>
            <a:srgbClr val="000000"/>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142788275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Object 6" hidden="1"/>
                      <p:cNvPicPr/>
                      <p:nvPr/>
                    </p:nvPicPr>
                    <p:blipFill>
                      <a:blip r:embed="rId15"/>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231868638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xml"/><Relationship Id="rId1" Type="http://schemas.openxmlformats.org/officeDocument/2006/relationships/tags" Target="../tags/tag216.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jpeg"/><Relationship Id="rId3" Type="http://schemas.openxmlformats.org/officeDocument/2006/relationships/slideLayout" Target="../slideLayouts/slideLayout29.xml"/><Relationship Id="rId7" Type="http://schemas.openxmlformats.org/officeDocument/2006/relationships/image" Target="../media/image48.png"/><Relationship Id="rId12" Type="http://schemas.openxmlformats.org/officeDocument/2006/relationships/image" Target="../media/image53.jpeg"/><Relationship Id="rId2" Type="http://schemas.openxmlformats.org/officeDocument/2006/relationships/tags" Target="../tags/tag221.xml"/><Relationship Id="rId16" Type="http://schemas.openxmlformats.org/officeDocument/2006/relationships/image" Target="../media/image57.jpeg"/><Relationship Id="rId1" Type="http://schemas.openxmlformats.org/officeDocument/2006/relationships/tags" Target="../tags/tag220.xml"/><Relationship Id="rId6" Type="http://schemas.openxmlformats.org/officeDocument/2006/relationships/image" Target="../media/image1.emf"/><Relationship Id="rId11" Type="http://schemas.openxmlformats.org/officeDocument/2006/relationships/image" Target="../media/image52.png"/><Relationship Id="rId5" Type="http://schemas.openxmlformats.org/officeDocument/2006/relationships/oleObject" Target="../embeddings/oleObject73.bin"/><Relationship Id="rId15" Type="http://schemas.openxmlformats.org/officeDocument/2006/relationships/image" Target="../media/image56.jpeg"/><Relationship Id="rId10" Type="http://schemas.openxmlformats.org/officeDocument/2006/relationships/image" Target="../media/image51.jpeg"/><Relationship Id="rId4" Type="http://schemas.openxmlformats.org/officeDocument/2006/relationships/notesSlide" Target="../notesSlides/notesSlide9.xml"/><Relationship Id="rId9" Type="http://schemas.openxmlformats.org/officeDocument/2006/relationships/image" Target="../media/image50.png"/><Relationship Id="rId14" Type="http://schemas.openxmlformats.org/officeDocument/2006/relationships/image" Target="../media/image55.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6.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217.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svg"/><Relationship Id="rId9" Type="http://schemas.openxmlformats.org/officeDocument/2006/relationships/image" Target="../media/image23.jpeg"/></Relationships>
</file>

<file path=ppt/slides/_rels/slide5.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51.xml"/><Relationship Id="rId6" Type="http://schemas.openxmlformats.org/officeDocument/2006/relationships/chart" Target="../charts/chart4.xml"/><Relationship Id="rId11" Type="http://schemas.openxmlformats.org/officeDocument/2006/relationships/image" Target="../media/image20.jpeg"/><Relationship Id="rId5" Type="http://schemas.openxmlformats.org/officeDocument/2006/relationships/chart" Target="../charts/chart3.xml"/><Relationship Id="rId10" Type="http://schemas.openxmlformats.org/officeDocument/2006/relationships/image" Target="../media/image23.jpeg"/><Relationship Id="rId4" Type="http://schemas.openxmlformats.org/officeDocument/2006/relationships/chart" Target="../charts/chart2.xml"/><Relationship Id="rId9" Type="http://schemas.openxmlformats.org/officeDocument/2006/relationships/image" Target="../media/image19.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218.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18" Type="http://schemas.openxmlformats.org/officeDocument/2006/relationships/image" Target="../media/image40.jpeg"/><Relationship Id="rId3" Type="http://schemas.openxmlformats.org/officeDocument/2006/relationships/image" Target="../media/image25.png"/><Relationship Id="rId21" Type="http://schemas.openxmlformats.org/officeDocument/2006/relationships/image" Target="../media/image43.jpe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notesSlide" Target="../notesSlides/notesSlide7.xml"/><Relationship Id="rId16" Type="http://schemas.openxmlformats.org/officeDocument/2006/relationships/image" Target="../media/image38.jpeg"/><Relationship Id="rId20" Type="http://schemas.openxmlformats.org/officeDocument/2006/relationships/image" Target="../media/image42.png"/><Relationship Id="rId1" Type="http://schemas.openxmlformats.org/officeDocument/2006/relationships/slideLayout" Target="../slideLayouts/slideLayout51.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6.png"/><Relationship Id="rId5" Type="http://schemas.openxmlformats.org/officeDocument/2006/relationships/image" Target="../media/image27.png"/><Relationship Id="rId15" Type="http://schemas.openxmlformats.org/officeDocument/2006/relationships/image" Target="../media/image37.jpeg"/><Relationship Id="rId23" Type="http://schemas.openxmlformats.org/officeDocument/2006/relationships/image" Target="../media/image45.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jpeg"/><Relationship Id="rId22" Type="http://schemas.openxmlformats.org/officeDocument/2006/relationships/image" Target="../media/image44.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219.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7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11" name="Objec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2"/>
          <p:cNvSpPr>
            <a:spLocks noGrp="1"/>
          </p:cNvSpPr>
          <p:nvPr>
            <p:ph type="ctrTitle"/>
          </p:nvPr>
        </p:nvSpPr>
        <p:spPr/>
        <p:txBody>
          <a:bodyPr/>
          <a:lstStyle/>
          <a:p>
            <a:r>
              <a:rPr lang="en-IN" dirty="0"/>
              <a:t>Dengue Vaccines</a:t>
            </a:r>
          </a:p>
        </p:txBody>
      </p:sp>
      <p:sp>
        <p:nvSpPr>
          <p:cNvPr id="15" name="Subtitle 14"/>
          <p:cNvSpPr>
            <a:spLocks noGrp="1"/>
          </p:cNvSpPr>
          <p:nvPr>
            <p:ph type="subTitle" idx="1"/>
          </p:nvPr>
        </p:nvSpPr>
        <p:spPr/>
        <p:txBody>
          <a:bodyPr/>
          <a:lstStyle/>
          <a:p>
            <a:r>
              <a:rPr lang="en-IN" dirty="0"/>
              <a:t>Market/Disease Landscape</a:t>
            </a:r>
          </a:p>
        </p:txBody>
      </p:sp>
      <p:sp>
        <p:nvSpPr>
          <p:cNvPr id="16" name="Text Placeholder 15"/>
          <p:cNvSpPr>
            <a:spLocks noGrp="1"/>
          </p:cNvSpPr>
          <p:nvPr>
            <p:ph type="body" sz="quarter" idx="10"/>
          </p:nvPr>
        </p:nvSpPr>
        <p:spPr/>
        <p:txBody>
          <a:bodyPr/>
          <a:lstStyle/>
          <a:p>
            <a:r>
              <a:rPr lang="en-IN" dirty="0"/>
              <a:t>04-June-2021</a:t>
            </a:r>
          </a:p>
        </p:txBody>
      </p:sp>
    </p:spTree>
    <p:extLst>
      <p:ext uri="{BB962C8B-B14F-4D97-AF65-F5344CB8AC3E}">
        <p14:creationId xmlns:p14="http://schemas.microsoft.com/office/powerpoint/2010/main" val="3112754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413854061"/>
              </p:ext>
            </p:extLst>
          </p:nvPr>
        </p:nvGraphicFramePr>
        <p:xfrm>
          <a:off x="448959" y="1465562"/>
          <a:ext cx="11161992" cy="4643222"/>
        </p:xfrm>
        <a:graphic>
          <a:graphicData uri="http://schemas.openxmlformats.org/drawingml/2006/table">
            <a:tbl>
              <a:tblPr firstRow="1" bandRow="1">
                <a:tableStyleId>{5C22544A-7EE6-4342-B048-85BDC9FD1C3A}</a:tableStyleId>
              </a:tblPr>
              <a:tblGrid>
                <a:gridCol w="2790498">
                  <a:extLst>
                    <a:ext uri="{9D8B030D-6E8A-4147-A177-3AD203B41FA5}">
                      <a16:colId xmlns:a16="http://schemas.microsoft.com/office/drawing/2014/main" val="791072776"/>
                    </a:ext>
                  </a:extLst>
                </a:gridCol>
                <a:gridCol w="2790498">
                  <a:extLst>
                    <a:ext uri="{9D8B030D-6E8A-4147-A177-3AD203B41FA5}">
                      <a16:colId xmlns:a16="http://schemas.microsoft.com/office/drawing/2014/main" val="3066245345"/>
                    </a:ext>
                  </a:extLst>
                </a:gridCol>
                <a:gridCol w="2790498">
                  <a:extLst>
                    <a:ext uri="{9D8B030D-6E8A-4147-A177-3AD203B41FA5}">
                      <a16:colId xmlns:a16="http://schemas.microsoft.com/office/drawing/2014/main" val="694657136"/>
                    </a:ext>
                  </a:extLst>
                </a:gridCol>
                <a:gridCol w="2790498">
                  <a:extLst>
                    <a:ext uri="{9D8B030D-6E8A-4147-A177-3AD203B41FA5}">
                      <a16:colId xmlns:a16="http://schemas.microsoft.com/office/drawing/2014/main" val="2341728148"/>
                    </a:ext>
                  </a:extLst>
                </a:gridCol>
              </a:tblGrid>
              <a:tr h="2979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dirty="0">
                          <a:latin typeface="+mn-lt"/>
                        </a:rPr>
                        <a:t>Sponsor</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ctr"/>
                      <a:r>
                        <a:rPr lang="en-IN" sz="1400" dirty="0">
                          <a:latin typeface="+mn-lt"/>
                        </a:rPr>
                        <a:t>Product</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ctr"/>
                      <a:r>
                        <a:rPr lang="en-IN" sz="1400" dirty="0">
                          <a:latin typeface="+mn-lt"/>
                        </a:rPr>
                        <a:t>Development Phase</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ctr"/>
                      <a:r>
                        <a:rPr lang="en-IN" sz="1400" dirty="0">
                          <a:latin typeface="+mn-lt"/>
                        </a:rPr>
                        <a:t>Vaccine candidate</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51139273"/>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464646"/>
                          </a:solidFill>
                          <a:effectLst/>
                          <a:uLnTx/>
                          <a:uFillTx/>
                          <a:latin typeface="+mn-lt"/>
                          <a:ea typeface="+mn-ea"/>
                          <a:cs typeface="+mn-cs"/>
                        </a:rPr>
                        <a:t>TAK-003</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IN" sz="1000" b="0" i="0" u="none" strike="noStrike" kern="1200" cap="none" spc="0" normalizeH="0" baseline="0" noProof="0" dirty="0">
                          <a:ln>
                            <a:noFill/>
                          </a:ln>
                          <a:solidFill>
                            <a:srgbClr val="464646"/>
                          </a:solidFill>
                          <a:effectLst/>
                          <a:uLnTx/>
                          <a:uFillTx/>
                          <a:latin typeface="+mn-lt"/>
                          <a:ea typeface="+mn-ea"/>
                          <a:cs typeface="+mn-cs"/>
                        </a:rPr>
                        <a:t>Live-attenuated DENV-2</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53620786"/>
                  </a:ext>
                </a:extLst>
              </a:tr>
              <a:tr h="5810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464646"/>
                          </a:solidFill>
                          <a:effectLst/>
                          <a:uLnTx/>
                          <a:uFillTx/>
                          <a:latin typeface="+mn-lt"/>
                          <a:ea typeface="+mn-ea"/>
                          <a:cs typeface="+mn-cs"/>
                        </a:rPr>
                        <a:t>TV003/TV005</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IN" sz="1000" b="0" i="0" u="none" strike="noStrike" kern="1200" cap="none" spc="0" normalizeH="0" baseline="0" noProof="0" dirty="0">
                          <a:ln>
                            <a:noFill/>
                          </a:ln>
                          <a:solidFill>
                            <a:srgbClr val="464646"/>
                          </a:solidFill>
                          <a:effectLst/>
                          <a:uLnTx/>
                          <a:uFillTx/>
                          <a:latin typeface="+mn-lt"/>
                          <a:ea typeface="+mn-ea"/>
                          <a:cs typeface="+mn-cs"/>
                        </a:rPr>
                        <a:t>Live-attenuated and recombinant vaccine ( TV003 </a:t>
                      </a:r>
                      <a:r>
                        <a:rPr kumimoji="0" lang="en-US" sz="1000" b="0" i="0" u="none" strike="noStrike" kern="1200" cap="none" spc="0" normalizeH="0" baseline="0" noProof="0" dirty="0">
                          <a:ln>
                            <a:noFill/>
                          </a:ln>
                          <a:solidFill>
                            <a:srgbClr val="464646"/>
                          </a:solidFill>
                          <a:effectLst/>
                          <a:uLnTx/>
                          <a:uFillTx/>
                          <a:latin typeface="+mn-lt"/>
                          <a:ea typeface="+mn-ea"/>
                          <a:cs typeface="+mn-cs"/>
                        </a:rPr>
                        <a:t>has ten times more of the DENV-2 component than TV005</a:t>
                      </a:r>
                      <a:r>
                        <a:rPr kumimoji="0" lang="en-IN" sz="1000" b="0" i="0" u="none" strike="noStrike" kern="1200" cap="none" spc="0" normalizeH="0" baseline="0" noProof="0" dirty="0">
                          <a:ln>
                            <a:noFill/>
                          </a:ln>
                          <a:solidFill>
                            <a:srgbClr val="464646"/>
                          </a:solidFill>
                          <a:effectLst/>
                          <a:uLnTx/>
                          <a:uFillTx/>
                          <a:latin typeface="+mn-lt"/>
                          <a:ea typeface="+mn-ea"/>
                          <a:cs typeface="+mn-cs"/>
                        </a:rPr>
                        <a:t>)</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07765043"/>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err="1">
                          <a:ln>
                            <a:noFill/>
                          </a:ln>
                          <a:solidFill>
                            <a:srgbClr val="464646"/>
                          </a:solidFill>
                          <a:effectLst/>
                          <a:uLnTx/>
                          <a:uFillTx/>
                          <a:latin typeface="+mn-lt"/>
                          <a:ea typeface="+mn-ea"/>
                          <a:cs typeface="+mn-cs"/>
                        </a:rPr>
                        <a:t>DengiAll</a:t>
                      </a:r>
                      <a:endParaRPr kumimoji="0" lang="en-IN" sz="10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IN" sz="1000" b="0" i="0" u="none" strike="noStrike" kern="1200" cap="none" spc="0" normalizeH="0" baseline="0" noProof="0" dirty="0">
                          <a:ln>
                            <a:noFill/>
                          </a:ln>
                          <a:solidFill>
                            <a:srgbClr val="464646"/>
                          </a:solidFill>
                          <a:effectLst/>
                          <a:uLnTx/>
                          <a:uFillTx/>
                          <a:latin typeface="+mn-lt"/>
                          <a:ea typeface="+mn-ea"/>
                          <a:cs typeface="+mn-cs"/>
                        </a:rPr>
                        <a:t>Tetravalent recombinant chimeric</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42788089"/>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464646"/>
                          </a:solidFill>
                          <a:effectLst/>
                          <a:uLnTx/>
                          <a:uFillTx/>
                          <a:latin typeface="+mn-lt"/>
                          <a:ea typeface="+mn-ea"/>
                          <a:cs typeface="+mn-cs"/>
                        </a:rPr>
                        <a:t>TDENV-PIV</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US" sz="1000" b="0" i="0" u="none" strike="noStrike" kern="1200" cap="none" spc="0" normalizeH="0" baseline="0" noProof="0" dirty="0">
                          <a:ln>
                            <a:noFill/>
                          </a:ln>
                          <a:solidFill>
                            <a:srgbClr val="464646"/>
                          </a:solidFill>
                          <a:effectLst/>
                          <a:uLnTx/>
                          <a:uFillTx/>
                          <a:latin typeface="+mn-lt"/>
                          <a:ea typeface="+mn-ea"/>
                          <a:cs typeface="+mn-cs"/>
                        </a:rPr>
                        <a:t>Dead purified components of the dengue virus with an adjuvant</a:t>
                      </a:r>
                      <a:endParaRPr kumimoji="0" lang="en-IN" sz="10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74345697"/>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464646"/>
                          </a:solidFill>
                          <a:effectLst/>
                          <a:uLnTx/>
                          <a:uFillTx/>
                          <a:latin typeface="+mn-lt"/>
                          <a:ea typeface="+mn-ea"/>
                          <a:cs typeface="+mn-cs"/>
                        </a:rPr>
                        <a:t>V180</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IN" sz="1000" b="0" i="0" u="none" strike="noStrike" kern="1200" cap="none" spc="0" normalizeH="0" baseline="0" noProof="0" dirty="0">
                          <a:ln>
                            <a:noFill/>
                          </a:ln>
                          <a:solidFill>
                            <a:srgbClr val="464646"/>
                          </a:solidFill>
                          <a:effectLst/>
                          <a:uLnTx/>
                          <a:uFillTx/>
                          <a:latin typeface="+mn-lt"/>
                          <a:ea typeface="+mn-ea"/>
                          <a:cs typeface="+mn-cs"/>
                        </a:rPr>
                        <a:t>Recombinant subunit dengue vaccine</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926896982"/>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464646"/>
                          </a:solidFill>
                          <a:effectLst/>
                          <a:uLnTx/>
                          <a:uFillTx/>
                          <a:latin typeface="+mn-lt"/>
                          <a:ea typeface="+mn-ea"/>
                          <a:cs typeface="+mn-cs"/>
                        </a:rPr>
                        <a:t>D1ME100</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IN" sz="1000" b="0" i="0" u="none" strike="noStrike" kern="1200" cap="none" spc="0" normalizeH="0" baseline="0" noProof="0" dirty="0">
                          <a:ln>
                            <a:noFill/>
                          </a:ln>
                          <a:solidFill>
                            <a:srgbClr val="464646"/>
                          </a:solidFill>
                          <a:effectLst/>
                          <a:uLnTx/>
                          <a:uFillTx/>
                          <a:latin typeface="+mn-lt"/>
                          <a:ea typeface="+mn-ea"/>
                          <a:cs typeface="+mn-cs"/>
                        </a:rPr>
                        <a:t>DENV-1 component</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66799437"/>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464646"/>
                          </a:solidFill>
                          <a:effectLst/>
                          <a:uLnTx/>
                          <a:uFillTx/>
                          <a:latin typeface="+mn-lt"/>
                          <a:ea typeface="+mn-ea"/>
                          <a:cs typeface="+mn-cs"/>
                        </a:rPr>
                        <a:t>KD-382</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US" sz="1000" b="0" i="0" u="none" strike="noStrike" kern="1200" cap="none" spc="0" normalizeH="0" baseline="0" noProof="0" dirty="0">
                          <a:ln>
                            <a:noFill/>
                          </a:ln>
                          <a:solidFill>
                            <a:srgbClr val="464646"/>
                          </a:solidFill>
                          <a:effectLst/>
                          <a:uLnTx/>
                          <a:uFillTx/>
                          <a:latin typeface="+mn-lt"/>
                          <a:ea typeface="+mn-ea"/>
                          <a:cs typeface="+mn-cs"/>
                        </a:rPr>
                        <a:t>Live attenuated tetravalent dengue vaccine</a:t>
                      </a:r>
                      <a:endParaRPr kumimoji="0" lang="en-IN" sz="10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79485976"/>
                  </a:ext>
                </a:extLst>
              </a:tr>
              <a:tr h="536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1" i="0" u="none" strike="noStrike" kern="1200" cap="none" spc="0" normalizeH="0" baseline="0" noProof="0" dirty="0" err="1">
                          <a:ln>
                            <a:noFill/>
                          </a:ln>
                          <a:solidFill>
                            <a:srgbClr val="464646"/>
                          </a:solidFill>
                          <a:effectLst/>
                          <a:uLnTx/>
                          <a:uFillTx/>
                          <a:latin typeface="+mn-lt"/>
                          <a:ea typeface="+mn-ea"/>
                          <a:cs typeface="+mn-cs"/>
                        </a:rPr>
                        <a:t>Dengusiil</a:t>
                      </a:r>
                      <a:r>
                        <a:rPr kumimoji="0" lang="en-IN" sz="1000" b="1" i="0" u="none" strike="noStrike" kern="1200" cap="none" spc="0" normalizeH="0" baseline="0" noProof="0" dirty="0">
                          <a:ln>
                            <a:noFill/>
                          </a:ln>
                          <a:solidFill>
                            <a:srgbClr val="464646"/>
                          </a:solidFill>
                          <a:effectLst/>
                          <a:uLnTx/>
                          <a:uFillTx/>
                          <a:latin typeface="+mn-lt"/>
                          <a:ea typeface="+mn-ea"/>
                          <a:cs typeface="+mn-cs"/>
                        </a:rPr>
                        <a:t> </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endParaRPr kumimoji="0" lang="en-IN" sz="1100" b="0" i="0" u="none" strike="noStrike" kern="1200" cap="none" spc="0" normalizeH="0" baseline="0" noProof="0" dirty="0">
                        <a:ln>
                          <a:noFill/>
                        </a:ln>
                        <a:solidFill>
                          <a:srgbClr val="464646"/>
                        </a:solidFill>
                        <a:effectLst/>
                        <a:uLnTx/>
                        <a:uFillTx/>
                        <a:latin typeface="+mn-lt"/>
                        <a:ea typeface="+mn-ea"/>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300"/>
                        </a:spcBef>
                        <a:spcAft>
                          <a:spcPts val="300"/>
                        </a:spcAft>
                        <a:buClr>
                          <a:srgbClr val="008CC1"/>
                        </a:buClr>
                        <a:buSzPct val="100000"/>
                        <a:buFont typeface="Wingdings" panose="05000000000000000000" pitchFamily="2" charset="2"/>
                        <a:buNone/>
                        <a:tabLst/>
                        <a:defRPr/>
                      </a:pPr>
                      <a:r>
                        <a:rPr kumimoji="0" lang="en-IN" sz="1000" b="0" i="0" u="none" strike="noStrike" kern="1200" cap="none" spc="0" normalizeH="0" baseline="0" noProof="0" dirty="0">
                          <a:ln>
                            <a:noFill/>
                          </a:ln>
                          <a:solidFill>
                            <a:srgbClr val="464646"/>
                          </a:solidFill>
                          <a:effectLst/>
                          <a:uLnTx/>
                          <a:uFillTx/>
                          <a:latin typeface="+mn-lt"/>
                          <a:ea typeface="+mn-ea"/>
                          <a:cs typeface="+mn-cs"/>
                        </a:rPr>
                        <a:t>Live attenuated tetravalent vaccine</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03603737"/>
                  </a:ext>
                </a:extLst>
              </a:tr>
            </a:tbl>
          </a:graphicData>
        </a:graphic>
      </p:graphicFrame>
      <p:graphicFrame>
        <p:nvGraphicFramePr>
          <p:cNvPr id="5" name="Objec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mn-lt"/>
            </a:endParaRPr>
          </a:p>
        </p:txBody>
      </p:sp>
      <p:sp>
        <p:nvSpPr>
          <p:cNvPr id="2" name="Title 1"/>
          <p:cNvSpPr>
            <a:spLocks noGrp="1"/>
          </p:cNvSpPr>
          <p:nvPr>
            <p:ph type="title"/>
          </p:nvPr>
        </p:nvSpPr>
        <p:spPr/>
        <p:txBody>
          <a:bodyPr/>
          <a:lstStyle/>
          <a:p>
            <a:r>
              <a:rPr lang="en-US" dirty="0"/>
              <a:t>Future Market and Pipeline Products</a:t>
            </a:r>
          </a:p>
        </p:txBody>
      </p:sp>
      <p:sp>
        <p:nvSpPr>
          <p:cNvPr id="11" name="Text Placeholder 10"/>
          <p:cNvSpPr>
            <a:spLocks noGrp="1"/>
          </p:cNvSpPr>
          <p:nvPr>
            <p:ph type="body" sz="quarter" idx="11"/>
          </p:nvPr>
        </p:nvSpPr>
        <p:spPr/>
        <p:txBody>
          <a:bodyPr/>
          <a:lstStyle/>
          <a:p>
            <a:r>
              <a:rPr lang="en-US" dirty="0"/>
              <a:t>The overall dengue vaccines market is projected to cross US$ 1.4 Bn by 2031. However, </a:t>
            </a:r>
            <a:r>
              <a:rPr lang="en-IN" dirty="0"/>
              <a:t>TAK-003 from Takeda </a:t>
            </a:r>
            <a:r>
              <a:rPr lang="en-US" dirty="0"/>
              <a:t>is the most advanced vaccine currently in the pipeline. </a:t>
            </a:r>
            <a:endParaRPr lang="en-IN" dirty="0"/>
          </a:p>
        </p:txBody>
      </p:sp>
      <p:pic>
        <p:nvPicPr>
          <p:cNvPr id="1026" name="Picture 2" descr="Takeda Ecuador">
            <a:extLst>
              <a:ext uri="{FF2B5EF4-FFF2-40B4-BE49-F238E27FC236}">
                <a16:creationId xmlns:a16="http://schemas.microsoft.com/office/drawing/2014/main" id="{0B850CD3-94B5-40AA-ABD9-BFA7BD750B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295" b="12070"/>
          <a:stretch/>
        </p:blipFill>
        <p:spPr bwMode="auto">
          <a:xfrm>
            <a:off x="1003671" y="1814465"/>
            <a:ext cx="1571162" cy="47562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ocky Mountain Laboratories - Wikipedia">
            <a:extLst>
              <a:ext uri="{FF2B5EF4-FFF2-40B4-BE49-F238E27FC236}">
                <a16:creationId xmlns:a16="http://schemas.microsoft.com/office/drawing/2014/main" id="{371A2AA7-58E6-4D6F-8712-6FB8E9E7BC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3927" y="2332378"/>
            <a:ext cx="1571162" cy="54074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GlaxoSmithKline - Wikipedia">
            <a:extLst>
              <a:ext uri="{FF2B5EF4-FFF2-40B4-BE49-F238E27FC236}">
                <a16:creationId xmlns:a16="http://schemas.microsoft.com/office/drawing/2014/main" id="{3CFAC1AA-5166-4438-AB86-90065D7E439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204" y="3468642"/>
            <a:ext cx="540713" cy="46550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Walter Reed Army Institute of Research - Crunchbase Company Profile &amp;amp;  Funding">
            <a:extLst>
              <a:ext uri="{FF2B5EF4-FFF2-40B4-BE49-F238E27FC236}">
                <a16:creationId xmlns:a16="http://schemas.microsoft.com/office/drawing/2014/main" id="{4D50D7FA-2190-4002-967B-AFA185F78BD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4185" b="13126"/>
          <a:stretch/>
        </p:blipFill>
        <p:spPr bwMode="auto">
          <a:xfrm>
            <a:off x="1518035" y="3511487"/>
            <a:ext cx="604963" cy="43973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Fiocruz divulga carta A PEC 241 e os impactos sobre direitos sociais, a  saúde e a vida - CONASEMS">
            <a:extLst>
              <a:ext uri="{FF2B5EF4-FFF2-40B4-BE49-F238E27FC236}">
                <a16:creationId xmlns:a16="http://schemas.microsoft.com/office/drawing/2014/main" id="{00E9D901-5991-4C0B-9C7C-6C7CD19E8BB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6421" t="30904" r="18159" b="26068"/>
          <a:stretch/>
        </p:blipFill>
        <p:spPr bwMode="auto">
          <a:xfrm>
            <a:off x="2366289" y="3462558"/>
            <a:ext cx="832916" cy="401402"/>
          </a:xfrm>
          <a:prstGeom prst="rect">
            <a:avLst/>
          </a:prstGeom>
          <a:noFill/>
          <a:extLst>
            <a:ext uri="{909E8E84-426E-40DD-AFC4-6F175D3DCCD1}">
              <a14:hiddenFill xmlns:a14="http://schemas.microsoft.com/office/drawing/2010/main">
                <a:solidFill>
                  <a:srgbClr val="FFFFFF"/>
                </a:solidFill>
              </a14:hiddenFill>
            </a:ext>
          </a:extLst>
        </p:spPr>
      </p:pic>
      <p:sp>
        <p:nvSpPr>
          <p:cNvPr id="3" name="Plus Sign 2">
            <a:extLst>
              <a:ext uri="{FF2B5EF4-FFF2-40B4-BE49-F238E27FC236}">
                <a16:creationId xmlns:a16="http://schemas.microsoft.com/office/drawing/2014/main" id="{AD65F535-B1B6-4466-B941-19D264961F6D}"/>
              </a:ext>
            </a:extLst>
          </p:cNvPr>
          <p:cNvSpPr/>
          <p:nvPr/>
        </p:nvSpPr>
        <p:spPr>
          <a:xfrm>
            <a:off x="1245547" y="3611453"/>
            <a:ext cx="240145" cy="175304"/>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Plus Sign 16">
            <a:extLst>
              <a:ext uri="{FF2B5EF4-FFF2-40B4-BE49-F238E27FC236}">
                <a16:creationId xmlns:a16="http://schemas.microsoft.com/office/drawing/2014/main" id="{A39D1525-607B-40D6-91FF-AA3E7E91939A}"/>
              </a:ext>
            </a:extLst>
          </p:cNvPr>
          <p:cNvSpPr/>
          <p:nvPr/>
        </p:nvSpPr>
        <p:spPr>
          <a:xfrm>
            <a:off x="2080355" y="3602485"/>
            <a:ext cx="240145" cy="175304"/>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40" name="Picture 16" descr="Merck KGaA, Darmstadt, Germany">
            <a:extLst>
              <a:ext uri="{FF2B5EF4-FFF2-40B4-BE49-F238E27FC236}">
                <a16:creationId xmlns:a16="http://schemas.microsoft.com/office/drawing/2014/main" id="{DAE634E3-A9C0-40EA-98B5-9D894957C4C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580" y="4000362"/>
            <a:ext cx="869736" cy="48937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Press Release">
            <a:extLst>
              <a:ext uri="{FF2B5EF4-FFF2-40B4-BE49-F238E27FC236}">
                <a16:creationId xmlns:a16="http://schemas.microsoft.com/office/drawing/2014/main" id="{3E783DC7-252C-4C2C-AE12-9CF17F1CA6B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22385" y="5077167"/>
            <a:ext cx="800613" cy="45403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AVI and Serum Institute of India to Develop and Manufacture Globally  Affordable and Accessible Antibody Products for HIV">
            <a:extLst>
              <a:ext uri="{FF2B5EF4-FFF2-40B4-BE49-F238E27FC236}">
                <a16:creationId xmlns:a16="http://schemas.microsoft.com/office/drawing/2014/main" id="{AE2D9424-1D4C-4DC2-AA47-F7B69CC1BE0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682" t="33675" r="-682" b="31698"/>
          <a:stretch/>
        </p:blipFill>
        <p:spPr bwMode="auto">
          <a:xfrm>
            <a:off x="697401" y="5636989"/>
            <a:ext cx="2210233" cy="43200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Naval Medical Research Center - Photos | Facebook">
            <a:extLst>
              <a:ext uri="{FF2B5EF4-FFF2-40B4-BE49-F238E27FC236}">
                <a16:creationId xmlns:a16="http://schemas.microsoft.com/office/drawing/2014/main" id="{6C9D27A6-3062-4D02-9A4A-2AD36AD8D08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63341" y="4554957"/>
            <a:ext cx="442715" cy="44271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0B039CD-2D34-4148-8594-6B498414D728}"/>
              </a:ext>
            </a:extLst>
          </p:cNvPr>
          <p:cNvSpPr txBox="1"/>
          <p:nvPr/>
        </p:nvSpPr>
        <p:spPr>
          <a:xfrm>
            <a:off x="1546660" y="4532023"/>
            <a:ext cx="1256145" cy="507831"/>
          </a:xfrm>
          <a:prstGeom prst="rect">
            <a:avLst/>
          </a:prstGeom>
          <a:noFill/>
        </p:spPr>
        <p:txBody>
          <a:bodyPr wrap="square" rtlCol="0">
            <a:spAutoFit/>
          </a:bodyPr>
          <a:lstStyle/>
          <a:p>
            <a:r>
              <a:rPr lang="en-US" sz="900" dirty="0">
                <a:latin typeface="Berlin Sans FB" panose="020E0602020502020306" pitchFamily="34" charset="0"/>
                <a:cs typeface="Arial" panose="020B0604020202020204" pitchFamily="34" charset="0"/>
              </a:rPr>
              <a:t>Naval Medical Research Center (NMRC)</a:t>
            </a:r>
          </a:p>
        </p:txBody>
      </p:sp>
      <p:sp>
        <p:nvSpPr>
          <p:cNvPr id="25" name="PhilipsSource5">
            <a:extLst>
              <a:ext uri="{FF2B5EF4-FFF2-40B4-BE49-F238E27FC236}">
                <a16:creationId xmlns:a16="http://schemas.microsoft.com/office/drawing/2014/main" id="{A586F558-CED5-436C-A420-E719702882B1}"/>
              </a:ext>
            </a:extLst>
          </p:cNvPr>
          <p:cNvSpPr/>
          <p:nvPr/>
        </p:nvSpPr>
        <p:spPr>
          <a:xfrm>
            <a:off x="1567492" y="6378965"/>
            <a:ext cx="6218763" cy="328423"/>
          </a:xfrm>
          <a:prstGeom prst="rect">
            <a:avLst/>
          </a:prstGeom>
          <a:noFill/>
          <a:ln w="25400" cap="flat" cmpd="sng" algn="ctr">
            <a:noFill/>
            <a:prstDash val="soli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defTabSz="1219170"/>
            <a:r>
              <a:rPr lang="en-US" sz="1067" i="1" dirty="0">
                <a:solidFill>
                  <a:srgbClr val="B9B9B9"/>
                </a:solidFill>
                <a:latin typeface="Calibri" panose="020F0502020204030204" pitchFamily="34" charset="0"/>
              </a:rPr>
              <a:t> </a:t>
            </a:r>
          </a:p>
          <a:p>
            <a:pPr defTabSz="1219170"/>
            <a:r>
              <a:rPr lang="en-US" sz="1067" i="1" dirty="0">
                <a:solidFill>
                  <a:srgbClr val="B9B9B9"/>
                </a:solidFill>
                <a:latin typeface="Calibri" panose="020F0502020204030204" pitchFamily="34" charset="0"/>
              </a:rPr>
              <a:t>Source: ClinicalTrials.gov; ICHGCP; </a:t>
            </a:r>
            <a:r>
              <a:rPr lang="en-US" sz="1067" i="1" dirty="0" err="1">
                <a:solidFill>
                  <a:srgbClr val="B9B9B9"/>
                </a:solidFill>
                <a:latin typeface="Calibri" panose="020F0502020204030204" pitchFamily="34" charset="0"/>
              </a:rPr>
              <a:t>Anzctr</a:t>
            </a:r>
            <a:r>
              <a:rPr lang="en-US" sz="1067" i="1" dirty="0">
                <a:solidFill>
                  <a:srgbClr val="B9B9B9"/>
                </a:solidFill>
                <a:latin typeface="Calibri" panose="020F0502020204030204" pitchFamily="34" charset="0"/>
              </a:rPr>
              <a:t>; Takeda; </a:t>
            </a:r>
            <a:r>
              <a:rPr lang="en-US" sz="1067" i="1" dirty="0" err="1">
                <a:solidFill>
                  <a:srgbClr val="B9B9B9"/>
                </a:solidFill>
                <a:latin typeface="Calibri" panose="020F0502020204030204" pitchFamily="34" charset="0"/>
              </a:rPr>
              <a:t>SunPharma</a:t>
            </a:r>
            <a:r>
              <a:rPr lang="en-US" sz="1067" i="1" dirty="0">
                <a:solidFill>
                  <a:srgbClr val="B9B9B9"/>
                </a:solidFill>
                <a:latin typeface="Calibri" panose="020F0502020204030204" pitchFamily="34" charset="0"/>
              </a:rPr>
              <a:t>; </a:t>
            </a:r>
            <a:r>
              <a:rPr lang="en-US" sz="1067" i="1" dirty="0" err="1">
                <a:solidFill>
                  <a:srgbClr val="B9B9B9"/>
                </a:solidFill>
                <a:latin typeface="Calibri" panose="020F0502020204030204" pitchFamily="34" charset="0"/>
              </a:rPr>
              <a:t>PanaceaBiotech</a:t>
            </a:r>
            <a:r>
              <a:rPr lang="en-US" sz="1067" i="1" dirty="0">
                <a:solidFill>
                  <a:srgbClr val="B9B9B9"/>
                </a:solidFill>
                <a:latin typeface="Calibri" panose="020F0502020204030204" pitchFamily="34" charset="0"/>
              </a:rPr>
              <a:t>; </a:t>
            </a:r>
            <a:r>
              <a:rPr lang="en-US" sz="1067" i="1" dirty="0" err="1">
                <a:solidFill>
                  <a:srgbClr val="B9B9B9"/>
                </a:solidFill>
                <a:latin typeface="Calibri" panose="020F0502020204030204" pitchFamily="34" charset="0"/>
              </a:rPr>
              <a:t>TransparencyMarketResearch</a:t>
            </a:r>
            <a:endParaRPr lang="en-US" sz="1067" i="1" dirty="0">
              <a:solidFill>
                <a:srgbClr val="B9B9B9"/>
              </a:solidFill>
              <a:latin typeface="Calibri" panose="020F0502020204030204" pitchFamily="34" charset="0"/>
            </a:endParaRPr>
          </a:p>
        </p:txBody>
      </p:sp>
      <p:sp>
        <p:nvSpPr>
          <p:cNvPr id="26" name="Oval 25">
            <a:extLst>
              <a:ext uri="{FF2B5EF4-FFF2-40B4-BE49-F238E27FC236}">
                <a16:creationId xmlns:a16="http://schemas.microsoft.com/office/drawing/2014/main" id="{ED928CF9-42A6-43E9-A2BE-9F925123CADA}"/>
              </a:ext>
            </a:extLst>
          </p:cNvPr>
          <p:cNvSpPr/>
          <p:nvPr/>
        </p:nvSpPr>
        <p:spPr>
          <a:xfrm>
            <a:off x="7146930" y="1835588"/>
            <a:ext cx="432000" cy="432000"/>
          </a:xfrm>
          <a:prstGeom prst="ellipse">
            <a:avLst/>
          </a:prstGeom>
          <a:solidFill>
            <a:schemeClr val="accent6">
              <a:lumMod val="60000"/>
              <a:lumOff val="4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rgbClr val="002060"/>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002060"/>
                </a:solidFill>
                <a:effectLst/>
                <a:uLnTx/>
                <a:uFillTx/>
                <a:latin typeface="Arial"/>
                <a:ea typeface="+mn-ea"/>
                <a:cs typeface="+mn-cs"/>
              </a:rPr>
              <a:t>3</a:t>
            </a:r>
          </a:p>
        </p:txBody>
      </p:sp>
      <p:sp>
        <p:nvSpPr>
          <p:cNvPr id="27" name="Oval 26">
            <a:extLst>
              <a:ext uri="{FF2B5EF4-FFF2-40B4-BE49-F238E27FC236}">
                <a16:creationId xmlns:a16="http://schemas.microsoft.com/office/drawing/2014/main" id="{FCF2C71C-93C7-4E30-A7CC-2944D1483B17}"/>
              </a:ext>
            </a:extLst>
          </p:cNvPr>
          <p:cNvSpPr/>
          <p:nvPr/>
        </p:nvSpPr>
        <p:spPr>
          <a:xfrm>
            <a:off x="7146930" y="2396061"/>
            <a:ext cx="432000" cy="432000"/>
          </a:xfrm>
          <a:prstGeom prst="ellipse">
            <a:avLst/>
          </a:prstGeom>
          <a:solidFill>
            <a:schemeClr val="accent6">
              <a:lumMod val="60000"/>
              <a:lumOff val="4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rgbClr val="002060"/>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002060"/>
                </a:solidFill>
                <a:effectLst/>
                <a:uLnTx/>
                <a:uFillTx/>
                <a:latin typeface="Arial"/>
                <a:ea typeface="+mn-ea"/>
                <a:cs typeface="+mn-cs"/>
              </a:rPr>
              <a:t>3</a:t>
            </a:r>
          </a:p>
        </p:txBody>
      </p:sp>
      <p:sp>
        <p:nvSpPr>
          <p:cNvPr id="28" name="Oval 27">
            <a:extLst>
              <a:ext uri="{FF2B5EF4-FFF2-40B4-BE49-F238E27FC236}">
                <a16:creationId xmlns:a16="http://schemas.microsoft.com/office/drawing/2014/main" id="{CAF6F6F8-0B54-4BAA-B091-5498302396C5}"/>
              </a:ext>
            </a:extLst>
          </p:cNvPr>
          <p:cNvSpPr/>
          <p:nvPr/>
        </p:nvSpPr>
        <p:spPr>
          <a:xfrm>
            <a:off x="7146930" y="3483733"/>
            <a:ext cx="432000" cy="432000"/>
          </a:xfrm>
          <a:prstGeom prst="ellipse">
            <a:avLst/>
          </a:prstGeom>
          <a:solidFill>
            <a:schemeClr val="accent5">
              <a:lumMod val="75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1</a:t>
            </a:r>
            <a:endParaRPr kumimoji="0" lang="en-IN" sz="800" b="1" i="0" u="none" strike="noStrike" kern="0" cap="none" spc="0" normalizeH="0" baseline="0" noProof="0" dirty="0">
              <a:ln>
                <a:noFill/>
              </a:ln>
              <a:solidFill>
                <a:schemeClr val="bg1"/>
              </a:solidFill>
              <a:effectLst/>
              <a:uLnTx/>
              <a:uFillTx/>
              <a:latin typeface="Arial"/>
              <a:ea typeface="+mn-ea"/>
              <a:cs typeface="+mn-cs"/>
            </a:endParaRPr>
          </a:p>
        </p:txBody>
      </p:sp>
      <p:sp>
        <p:nvSpPr>
          <p:cNvPr id="29" name="Oval 28">
            <a:extLst>
              <a:ext uri="{FF2B5EF4-FFF2-40B4-BE49-F238E27FC236}">
                <a16:creationId xmlns:a16="http://schemas.microsoft.com/office/drawing/2014/main" id="{76C1E1E6-B0E8-496F-8C1D-D689F065B659}"/>
              </a:ext>
            </a:extLst>
          </p:cNvPr>
          <p:cNvSpPr/>
          <p:nvPr/>
        </p:nvSpPr>
        <p:spPr>
          <a:xfrm>
            <a:off x="7146930" y="4028767"/>
            <a:ext cx="432000" cy="432000"/>
          </a:xfrm>
          <a:prstGeom prst="ellipse">
            <a:avLst/>
          </a:prstGeom>
          <a:solidFill>
            <a:schemeClr val="accent5">
              <a:lumMod val="75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1</a:t>
            </a:r>
            <a:endParaRPr kumimoji="0" lang="en-IN" sz="800" b="1" i="0" u="none" strike="noStrike" kern="0" cap="none" spc="0" normalizeH="0" baseline="0" noProof="0" dirty="0">
              <a:ln>
                <a:noFill/>
              </a:ln>
              <a:solidFill>
                <a:schemeClr val="bg1"/>
              </a:solidFill>
              <a:effectLst/>
              <a:uLnTx/>
              <a:uFillTx/>
              <a:latin typeface="Arial"/>
              <a:ea typeface="+mn-ea"/>
              <a:cs typeface="+mn-cs"/>
            </a:endParaRPr>
          </a:p>
        </p:txBody>
      </p:sp>
      <p:sp>
        <p:nvSpPr>
          <p:cNvPr id="30" name="Oval 29">
            <a:extLst>
              <a:ext uri="{FF2B5EF4-FFF2-40B4-BE49-F238E27FC236}">
                <a16:creationId xmlns:a16="http://schemas.microsoft.com/office/drawing/2014/main" id="{0D26A2F6-EB16-499F-A0EA-9C69301FFB63}"/>
              </a:ext>
            </a:extLst>
          </p:cNvPr>
          <p:cNvSpPr/>
          <p:nvPr/>
        </p:nvSpPr>
        <p:spPr>
          <a:xfrm>
            <a:off x="7146930" y="4526493"/>
            <a:ext cx="432000" cy="432000"/>
          </a:xfrm>
          <a:prstGeom prst="ellipse">
            <a:avLst/>
          </a:prstGeom>
          <a:solidFill>
            <a:schemeClr val="accent5">
              <a:lumMod val="75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1</a:t>
            </a:r>
            <a:endParaRPr kumimoji="0" lang="en-IN" sz="800" b="1" i="0" u="none" strike="noStrike" kern="0" cap="none" spc="0" normalizeH="0" baseline="0" noProof="0" dirty="0">
              <a:ln>
                <a:noFill/>
              </a:ln>
              <a:solidFill>
                <a:schemeClr val="bg1"/>
              </a:solidFill>
              <a:effectLst/>
              <a:uLnTx/>
              <a:uFillTx/>
              <a:latin typeface="Arial"/>
              <a:ea typeface="+mn-ea"/>
              <a:cs typeface="+mn-cs"/>
            </a:endParaRPr>
          </a:p>
        </p:txBody>
      </p:sp>
      <p:sp>
        <p:nvSpPr>
          <p:cNvPr id="31" name="Oval 30">
            <a:extLst>
              <a:ext uri="{FF2B5EF4-FFF2-40B4-BE49-F238E27FC236}">
                <a16:creationId xmlns:a16="http://schemas.microsoft.com/office/drawing/2014/main" id="{0A995F82-5B37-4DB6-B866-7642B4A549D8}"/>
              </a:ext>
            </a:extLst>
          </p:cNvPr>
          <p:cNvSpPr/>
          <p:nvPr/>
        </p:nvSpPr>
        <p:spPr>
          <a:xfrm>
            <a:off x="7146930" y="5078670"/>
            <a:ext cx="432000" cy="432000"/>
          </a:xfrm>
          <a:prstGeom prst="ellipse">
            <a:avLst/>
          </a:prstGeom>
          <a:solidFill>
            <a:schemeClr val="accent5">
              <a:lumMod val="75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1</a:t>
            </a:r>
            <a:endParaRPr kumimoji="0" lang="en-IN" sz="800" b="1" i="0" u="none" strike="noStrike" kern="0" cap="none" spc="0" normalizeH="0" baseline="0" noProof="0" dirty="0">
              <a:ln>
                <a:noFill/>
              </a:ln>
              <a:solidFill>
                <a:schemeClr val="bg1"/>
              </a:solidFill>
              <a:effectLst/>
              <a:uLnTx/>
              <a:uFillTx/>
              <a:latin typeface="Arial"/>
              <a:ea typeface="+mn-ea"/>
              <a:cs typeface="+mn-cs"/>
            </a:endParaRPr>
          </a:p>
        </p:txBody>
      </p:sp>
      <p:sp>
        <p:nvSpPr>
          <p:cNvPr id="32" name="Oval 31">
            <a:extLst>
              <a:ext uri="{FF2B5EF4-FFF2-40B4-BE49-F238E27FC236}">
                <a16:creationId xmlns:a16="http://schemas.microsoft.com/office/drawing/2014/main" id="{CF195945-1192-4F1E-8B87-D6D635F32F46}"/>
              </a:ext>
            </a:extLst>
          </p:cNvPr>
          <p:cNvSpPr/>
          <p:nvPr/>
        </p:nvSpPr>
        <p:spPr>
          <a:xfrm>
            <a:off x="7146930" y="5608537"/>
            <a:ext cx="432000" cy="432000"/>
          </a:xfrm>
          <a:prstGeom prst="ellipse">
            <a:avLst/>
          </a:prstGeom>
          <a:solidFill>
            <a:schemeClr val="accent5">
              <a:lumMod val="75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chemeClr val="bg1"/>
                </a:solidFill>
                <a:latin typeface="Arial"/>
              </a:rPr>
              <a:t>1</a:t>
            </a:r>
            <a:endParaRPr kumimoji="0" lang="en-IN" sz="800" b="1" i="0" u="none" strike="noStrike" kern="0" cap="none" spc="0" normalizeH="0" baseline="0" noProof="0" dirty="0">
              <a:ln>
                <a:noFill/>
              </a:ln>
              <a:solidFill>
                <a:schemeClr val="bg1"/>
              </a:solidFill>
              <a:effectLst/>
              <a:uLnTx/>
              <a:uFillTx/>
              <a:latin typeface="Arial"/>
              <a:ea typeface="+mn-ea"/>
              <a:cs typeface="+mn-cs"/>
            </a:endParaRPr>
          </a:p>
        </p:txBody>
      </p:sp>
      <p:sp>
        <p:nvSpPr>
          <p:cNvPr id="4" name="TextBox 3">
            <a:extLst>
              <a:ext uri="{FF2B5EF4-FFF2-40B4-BE49-F238E27FC236}">
                <a16:creationId xmlns:a16="http://schemas.microsoft.com/office/drawing/2014/main" id="{E7471A02-A651-4D08-A591-C45F0038A990}"/>
              </a:ext>
            </a:extLst>
          </p:cNvPr>
          <p:cNvSpPr txBox="1"/>
          <p:nvPr/>
        </p:nvSpPr>
        <p:spPr>
          <a:xfrm>
            <a:off x="1456177" y="6205395"/>
            <a:ext cx="10088351" cy="338554"/>
          </a:xfrm>
          <a:prstGeom prst="rect">
            <a:avLst/>
          </a:prstGeom>
          <a:noFill/>
        </p:spPr>
        <p:txBody>
          <a:bodyPr wrap="square" rtlCol="0">
            <a:spAutoFit/>
          </a:bodyPr>
          <a:lstStyle/>
          <a:p>
            <a:pPr marL="171450" indent="-171450">
              <a:buFont typeface="Arial" panose="020B0604020202020204" pitchFamily="34" charset="0"/>
              <a:buChar char="•"/>
            </a:pPr>
            <a:r>
              <a:rPr lang="en-IN" sz="800" i="1" dirty="0"/>
              <a:t>Sun Pharma in collaboration with ICGEB is developing a dengue vaccine which </a:t>
            </a:r>
            <a:r>
              <a:rPr lang="en-US" sz="800" i="1" dirty="0"/>
              <a:t>is now proceeding to clinical development Phase II clinical trial on AQCH (a phytopharmaceutical drug, for dengue and COVID-19)</a:t>
            </a:r>
          </a:p>
          <a:p>
            <a:pPr marL="171450" indent="-171450">
              <a:buFont typeface="Arial" panose="020B0604020202020204" pitchFamily="34" charset="0"/>
              <a:buChar char="•"/>
            </a:pPr>
            <a:r>
              <a:rPr lang="en-US" sz="800" i="1" dirty="0"/>
              <a:t>TAK-003 is studied for the prevention of dengue due to any virus serotype in Individuals ages from four to sixty, and</a:t>
            </a:r>
            <a:r>
              <a:rPr lang="en-US" sz="800" dirty="0"/>
              <a:t> </a:t>
            </a:r>
            <a:r>
              <a:rPr lang="en-US" sz="800" i="1" dirty="0"/>
              <a:t>aims to file for regulatory in Asia, Latin America, and the European Union</a:t>
            </a:r>
          </a:p>
        </p:txBody>
      </p:sp>
      <p:pic>
        <p:nvPicPr>
          <p:cNvPr id="13" name="Picture 2" descr="Panacea Biotec and Refana Announce Landmark Collaboration for COVID-19  Vaccine">
            <a:extLst>
              <a:ext uri="{FF2B5EF4-FFF2-40B4-BE49-F238E27FC236}">
                <a16:creationId xmlns:a16="http://schemas.microsoft.com/office/drawing/2014/main" id="{77E108E2-6C66-4D5B-9DD9-C787D82738A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84699" y="2932910"/>
            <a:ext cx="839675" cy="439736"/>
          </a:xfrm>
          <a:prstGeom prst="rect">
            <a:avLst/>
          </a:prstGeom>
          <a:noFill/>
          <a:extLst>
            <a:ext uri="{909E8E84-426E-40DD-AFC4-6F175D3DCCD1}">
              <a14:hiddenFill xmlns:a14="http://schemas.microsoft.com/office/drawing/2010/main">
                <a:solidFill>
                  <a:srgbClr val="FFFFFF"/>
                </a:solidFill>
              </a14:hiddenFill>
            </a:ext>
          </a:extLst>
        </p:spPr>
      </p:pic>
      <p:sp>
        <p:nvSpPr>
          <p:cNvPr id="34" name="Oval 33">
            <a:extLst>
              <a:ext uri="{FF2B5EF4-FFF2-40B4-BE49-F238E27FC236}">
                <a16:creationId xmlns:a16="http://schemas.microsoft.com/office/drawing/2014/main" id="{19F676F1-A5D2-4D2D-8D82-1936B18FD882}"/>
              </a:ext>
            </a:extLst>
          </p:cNvPr>
          <p:cNvSpPr/>
          <p:nvPr/>
        </p:nvSpPr>
        <p:spPr>
          <a:xfrm>
            <a:off x="7146930" y="2948238"/>
            <a:ext cx="432000" cy="432000"/>
          </a:xfrm>
          <a:prstGeom prst="ellipse">
            <a:avLst/>
          </a:prstGeom>
          <a:solidFill>
            <a:schemeClr val="accent5">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a:sp3d>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rgbClr val="002060"/>
                </a:solidFill>
                <a:latin typeface="Arial"/>
              </a:rPr>
              <a:t>Phase</a:t>
            </a:r>
          </a:p>
          <a:p>
            <a:pPr marL="0" marR="0" lvl="0" indent="0" algn="ctr" defTabSz="914400" eaLnBrk="1" fontAlgn="auto" latinLnBrk="0" hangingPunct="1">
              <a:lnSpc>
                <a:spcPct val="100000"/>
              </a:lnSpc>
              <a:spcBef>
                <a:spcPts val="0"/>
              </a:spcBef>
              <a:spcAft>
                <a:spcPts val="0"/>
              </a:spcAft>
              <a:buClrTx/>
              <a:buSzTx/>
              <a:buFontTx/>
              <a:buNone/>
              <a:tabLst/>
              <a:defRPr/>
            </a:pPr>
            <a:r>
              <a:rPr lang="en-IN" sz="800" b="1" kern="0" dirty="0">
                <a:solidFill>
                  <a:srgbClr val="002060"/>
                </a:solidFill>
                <a:latin typeface="Arial"/>
              </a:rPr>
              <a:t>2</a:t>
            </a:r>
            <a:endParaRPr kumimoji="0" lang="en-IN" sz="800" b="1" i="0" u="none" strike="noStrike" kern="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3605896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 Placeholder 13"/>
          <p:cNvSpPr>
            <a:spLocks noGrp="1"/>
          </p:cNvSpPr>
          <p:nvPr>
            <p:ph type="body" sz="quarter" idx="10"/>
          </p:nvPr>
        </p:nvSpPr>
        <p:spPr/>
        <p:txBody>
          <a:bodyPr/>
          <a:lstStyle/>
          <a:p>
            <a:r>
              <a:rPr lang="en-IN" dirty="0"/>
              <a:t>Prateek Kumar Yadav</a:t>
            </a:r>
          </a:p>
        </p:txBody>
      </p:sp>
      <p:sp>
        <p:nvSpPr>
          <p:cNvPr id="15" name="Text Placeholder 14"/>
          <p:cNvSpPr>
            <a:spLocks noGrp="1"/>
          </p:cNvSpPr>
          <p:nvPr>
            <p:ph type="body" sz="quarter" idx="11"/>
          </p:nvPr>
        </p:nvSpPr>
        <p:spPr/>
        <p:txBody>
          <a:bodyPr/>
          <a:lstStyle/>
          <a:p>
            <a:r>
              <a:rPr lang="en-IN" dirty="0"/>
              <a:t>Associate Project Lead</a:t>
            </a:r>
          </a:p>
        </p:txBody>
      </p:sp>
      <p:sp>
        <p:nvSpPr>
          <p:cNvPr id="16" name="Text Placeholder 15"/>
          <p:cNvSpPr>
            <a:spLocks noGrp="1"/>
          </p:cNvSpPr>
          <p:nvPr>
            <p:ph type="body" sz="quarter" idx="12"/>
          </p:nvPr>
        </p:nvSpPr>
        <p:spPr/>
        <p:txBody>
          <a:bodyPr/>
          <a:lstStyle/>
          <a:p>
            <a:r>
              <a:rPr lang="en-IN" dirty="0"/>
              <a:t>Prateek.yadav@grailinsights.com</a:t>
            </a:r>
          </a:p>
        </p:txBody>
      </p:sp>
      <p:sp>
        <p:nvSpPr>
          <p:cNvPr id="18" name="Text Placeholder 17"/>
          <p:cNvSpPr>
            <a:spLocks noGrp="1"/>
          </p:cNvSpPr>
          <p:nvPr>
            <p:ph type="body" sz="quarter" idx="13"/>
          </p:nvPr>
        </p:nvSpPr>
        <p:spPr/>
        <p:txBody>
          <a:bodyPr/>
          <a:lstStyle/>
          <a:p>
            <a:r>
              <a:rPr lang="en-IN" dirty="0"/>
              <a:t>+918401901191</a:t>
            </a:r>
          </a:p>
        </p:txBody>
      </p:sp>
    </p:spTree>
    <p:extLst>
      <p:ext uri="{BB962C8B-B14F-4D97-AF65-F5344CB8AC3E}">
        <p14:creationId xmlns:p14="http://schemas.microsoft.com/office/powerpoint/2010/main" val="3274268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ecutive summary</a:t>
            </a:r>
          </a:p>
        </p:txBody>
      </p:sp>
      <p:grpSp>
        <p:nvGrpSpPr>
          <p:cNvPr id="26" name="Group 25">
            <a:extLst>
              <a:ext uri="{FF2B5EF4-FFF2-40B4-BE49-F238E27FC236}">
                <a16:creationId xmlns:a16="http://schemas.microsoft.com/office/drawing/2014/main" id="{F02E3905-2E3A-4C44-BCB2-CCA003CA4E09}"/>
              </a:ext>
            </a:extLst>
          </p:cNvPr>
          <p:cNvGrpSpPr/>
          <p:nvPr/>
        </p:nvGrpSpPr>
        <p:grpSpPr>
          <a:xfrm>
            <a:off x="3942519" y="1543050"/>
            <a:ext cx="4330293" cy="4332388"/>
            <a:chOff x="2261320" y="1219200"/>
            <a:chExt cx="4977680" cy="4980088"/>
          </a:xfrm>
          <a:effectLst>
            <a:outerShdw blurRad="50800" dist="38100" dir="2700000" algn="tl" rotWithShape="0">
              <a:prstClr val="black">
                <a:alpha val="40000"/>
              </a:prstClr>
            </a:outerShdw>
          </a:effectLst>
        </p:grpSpPr>
        <p:grpSp>
          <p:nvGrpSpPr>
            <p:cNvPr id="27" name="Group 10">
              <a:extLst>
                <a:ext uri="{FF2B5EF4-FFF2-40B4-BE49-F238E27FC236}">
                  <a16:creationId xmlns:a16="http://schemas.microsoft.com/office/drawing/2014/main" id="{CCFCBD0E-2066-4CC0-99FF-1A176B135516}"/>
                </a:ext>
              </a:extLst>
            </p:cNvPr>
            <p:cNvGrpSpPr/>
            <p:nvPr/>
          </p:nvGrpSpPr>
          <p:grpSpPr>
            <a:xfrm>
              <a:off x="2261320" y="1219200"/>
              <a:ext cx="4977680" cy="4980088"/>
              <a:chOff x="2805112" y="1981201"/>
              <a:chExt cx="3273426" cy="3275012"/>
            </a:xfrm>
            <a:effectLst>
              <a:reflection blurRad="6350" stA="52000" endA="300" endPos="35000" dir="5400000" sy="-100000" algn="bl" rotWithShape="0"/>
            </a:effectLst>
          </p:grpSpPr>
          <p:sp>
            <p:nvSpPr>
              <p:cNvPr id="35" name="Freeform 32">
                <a:extLst>
                  <a:ext uri="{FF2B5EF4-FFF2-40B4-BE49-F238E27FC236}">
                    <a16:creationId xmlns:a16="http://schemas.microsoft.com/office/drawing/2014/main" id="{A7AB7809-DF46-420D-BBB8-14866B98086B}"/>
                  </a:ext>
                </a:extLst>
              </p:cNvPr>
              <p:cNvSpPr>
                <a:spLocks/>
              </p:cNvSpPr>
              <p:nvPr/>
            </p:nvSpPr>
            <p:spPr bwMode="auto">
              <a:xfrm>
                <a:off x="2895600" y="1981201"/>
                <a:ext cx="1693863" cy="1601788"/>
              </a:xfrm>
              <a:custGeom>
                <a:avLst/>
                <a:gdLst/>
                <a:ahLst/>
                <a:cxnLst>
                  <a:cxn ang="0">
                    <a:pos x="417" y="70"/>
                  </a:cxn>
                  <a:cxn ang="0">
                    <a:pos x="407" y="60"/>
                  </a:cxn>
                  <a:cxn ang="0">
                    <a:pos x="407" y="0"/>
                  </a:cxn>
                  <a:cxn ang="0">
                    <a:pos x="0" y="295"/>
                  </a:cxn>
                  <a:cxn ang="0">
                    <a:pos x="68" y="317"/>
                  </a:cxn>
                  <a:cxn ang="0">
                    <a:pos x="111" y="295"/>
                  </a:cxn>
                  <a:cxn ang="0">
                    <a:pos x="133" y="338"/>
                  </a:cxn>
                  <a:cxn ang="0">
                    <a:pos x="399" y="425"/>
                  </a:cxn>
                  <a:cxn ang="0">
                    <a:pos x="407" y="427"/>
                  </a:cxn>
                  <a:cxn ang="0">
                    <a:pos x="407" y="419"/>
                  </a:cxn>
                  <a:cxn ang="0">
                    <a:pos x="407" y="148"/>
                  </a:cxn>
                  <a:cxn ang="0">
                    <a:pos x="417" y="138"/>
                  </a:cxn>
                  <a:cxn ang="0">
                    <a:pos x="452" y="104"/>
                  </a:cxn>
                  <a:cxn ang="0">
                    <a:pos x="417" y="70"/>
                  </a:cxn>
                </a:cxnLst>
                <a:rect l="0" t="0" r="r" b="b"/>
                <a:pathLst>
                  <a:path w="452" h="427">
                    <a:moveTo>
                      <a:pt x="417" y="70"/>
                    </a:moveTo>
                    <a:cubicBezTo>
                      <a:pt x="407" y="60"/>
                      <a:pt x="407" y="60"/>
                      <a:pt x="407" y="60"/>
                    </a:cubicBezTo>
                    <a:cubicBezTo>
                      <a:pt x="407" y="0"/>
                      <a:pt x="407" y="0"/>
                      <a:pt x="407" y="0"/>
                    </a:cubicBezTo>
                    <a:cubicBezTo>
                      <a:pt x="218" y="3"/>
                      <a:pt x="58" y="125"/>
                      <a:pt x="0" y="295"/>
                    </a:cubicBezTo>
                    <a:cubicBezTo>
                      <a:pt x="68" y="317"/>
                      <a:pt x="68" y="317"/>
                      <a:pt x="68" y="317"/>
                    </a:cubicBezTo>
                    <a:cubicBezTo>
                      <a:pt x="111" y="295"/>
                      <a:pt x="111" y="295"/>
                      <a:pt x="111" y="295"/>
                    </a:cubicBezTo>
                    <a:cubicBezTo>
                      <a:pt x="133" y="338"/>
                      <a:pt x="133" y="338"/>
                      <a:pt x="133" y="338"/>
                    </a:cubicBezTo>
                    <a:cubicBezTo>
                      <a:pt x="399" y="425"/>
                      <a:pt x="399" y="425"/>
                      <a:pt x="399" y="425"/>
                    </a:cubicBezTo>
                    <a:cubicBezTo>
                      <a:pt x="407" y="427"/>
                      <a:pt x="407" y="427"/>
                      <a:pt x="407" y="427"/>
                    </a:cubicBezTo>
                    <a:cubicBezTo>
                      <a:pt x="407" y="419"/>
                      <a:pt x="407" y="419"/>
                      <a:pt x="407" y="419"/>
                    </a:cubicBezTo>
                    <a:cubicBezTo>
                      <a:pt x="407" y="148"/>
                      <a:pt x="407" y="148"/>
                      <a:pt x="407" y="148"/>
                    </a:cubicBezTo>
                    <a:cubicBezTo>
                      <a:pt x="417" y="138"/>
                      <a:pt x="417" y="138"/>
                      <a:pt x="417" y="138"/>
                    </a:cubicBezTo>
                    <a:cubicBezTo>
                      <a:pt x="452" y="104"/>
                      <a:pt x="452" y="104"/>
                      <a:pt x="452" y="104"/>
                    </a:cubicBezTo>
                    <a:lnTo>
                      <a:pt x="417" y="70"/>
                    </a:lnTo>
                    <a:close/>
                  </a:path>
                </a:pathLst>
              </a:custGeom>
              <a:gradFill flip="none" rotWithShape="1">
                <a:gsLst>
                  <a:gs pos="0">
                    <a:srgbClr val="3B3B3B">
                      <a:shade val="30000"/>
                      <a:satMod val="115000"/>
                    </a:srgbClr>
                  </a:gs>
                  <a:gs pos="50000">
                    <a:srgbClr val="3B3B3B">
                      <a:shade val="67500"/>
                      <a:satMod val="115000"/>
                    </a:srgbClr>
                  </a:gs>
                  <a:gs pos="100000">
                    <a:srgbClr val="3B3B3B">
                      <a:shade val="100000"/>
                      <a:satMod val="115000"/>
                    </a:srgbClr>
                  </a:gs>
                </a:gsLst>
                <a:lin ang="81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6" name="Freeform 33">
                <a:extLst>
                  <a:ext uri="{FF2B5EF4-FFF2-40B4-BE49-F238E27FC236}">
                    <a16:creationId xmlns:a16="http://schemas.microsoft.com/office/drawing/2014/main" id="{4144AC9B-1628-4737-BF83-BFFB1D5AB14E}"/>
                  </a:ext>
                </a:extLst>
              </p:cNvPr>
              <p:cNvSpPr>
                <a:spLocks/>
              </p:cNvSpPr>
              <p:nvPr/>
            </p:nvSpPr>
            <p:spPr bwMode="auto">
              <a:xfrm>
                <a:off x="4459287" y="1981201"/>
                <a:ext cx="1530350" cy="1601788"/>
              </a:xfrm>
              <a:custGeom>
                <a:avLst/>
                <a:gdLst/>
                <a:ahLst/>
                <a:cxnLst>
                  <a:cxn ang="0">
                    <a:pos x="0" y="0"/>
                  </a:cxn>
                  <a:cxn ang="0">
                    <a:pos x="0" y="70"/>
                  </a:cxn>
                  <a:cxn ang="0">
                    <a:pos x="35" y="104"/>
                  </a:cxn>
                  <a:cxn ang="0">
                    <a:pos x="0" y="138"/>
                  </a:cxn>
                  <a:cxn ang="0">
                    <a:pos x="0" y="419"/>
                  </a:cxn>
                  <a:cxn ang="0">
                    <a:pos x="0" y="427"/>
                  </a:cxn>
                  <a:cxn ang="0">
                    <a:pos x="9" y="425"/>
                  </a:cxn>
                  <a:cxn ang="0">
                    <a:pos x="264" y="341"/>
                  </a:cxn>
                  <a:cxn ang="0">
                    <a:pos x="277" y="348"/>
                  </a:cxn>
                  <a:cxn ang="0">
                    <a:pos x="320" y="370"/>
                  </a:cxn>
                  <a:cxn ang="0">
                    <a:pos x="342" y="327"/>
                  </a:cxn>
                  <a:cxn ang="0">
                    <a:pos x="349" y="314"/>
                  </a:cxn>
                  <a:cxn ang="0">
                    <a:pos x="408" y="295"/>
                  </a:cxn>
                  <a:cxn ang="0">
                    <a:pos x="0" y="0"/>
                  </a:cxn>
                </a:cxnLst>
                <a:rect l="0" t="0" r="r" b="b"/>
                <a:pathLst>
                  <a:path w="408" h="427">
                    <a:moveTo>
                      <a:pt x="0" y="0"/>
                    </a:moveTo>
                    <a:cubicBezTo>
                      <a:pt x="0" y="70"/>
                      <a:pt x="0" y="70"/>
                      <a:pt x="0" y="70"/>
                    </a:cubicBezTo>
                    <a:cubicBezTo>
                      <a:pt x="35" y="104"/>
                      <a:pt x="35" y="104"/>
                      <a:pt x="35" y="104"/>
                    </a:cubicBezTo>
                    <a:cubicBezTo>
                      <a:pt x="0" y="138"/>
                      <a:pt x="0" y="138"/>
                      <a:pt x="0" y="138"/>
                    </a:cubicBezTo>
                    <a:cubicBezTo>
                      <a:pt x="0" y="419"/>
                      <a:pt x="0" y="419"/>
                      <a:pt x="0" y="419"/>
                    </a:cubicBezTo>
                    <a:cubicBezTo>
                      <a:pt x="0" y="427"/>
                      <a:pt x="0" y="427"/>
                      <a:pt x="0" y="427"/>
                    </a:cubicBezTo>
                    <a:cubicBezTo>
                      <a:pt x="9" y="425"/>
                      <a:pt x="9" y="425"/>
                      <a:pt x="9" y="425"/>
                    </a:cubicBezTo>
                    <a:cubicBezTo>
                      <a:pt x="264" y="341"/>
                      <a:pt x="264" y="341"/>
                      <a:pt x="264" y="341"/>
                    </a:cubicBezTo>
                    <a:cubicBezTo>
                      <a:pt x="277" y="348"/>
                      <a:pt x="277" y="348"/>
                      <a:pt x="277" y="348"/>
                    </a:cubicBezTo>
                    <a:cubicBezTo>
                      <a:pt x="320" y="370"/>
                      <a:pt x="320" y="370"/>
                      <a:pt x="320" y="370"/>
                    </a:cubicBezTo>
                    <a:cubicBezTo>
                      <a:pt x="342" y="327"/>
                      <a:pt x="342" y="327"/>
                      <a:pt x="342" y="327"/>
                    </a:cubicBezTo>
                    <a:cubicBezTo>
                      <a:pt x="349" y="314"/>
                      <a:pt x="349" y="314"/>
                      <a:pt x="349" y="314"/>
                    </a:cubicBezTo>
                    <a:cubicBezTo>
                      <a:pt x="408" y="295"/>
                      <a:pt x="408" y="295"/>
                      <a:pt x="408" y="295"/>
                    </a:cubicBezTo>
                    <a:cubicBezTo>
                      <a:pt x="350" y="125"/>
                      <a:pt x="190" y="3"/>
                      <a:pt x="0" y="0"/>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62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4">
                <a:extLst>
                  <a:ext uri="{FF2B5EF4-FFF2-40B4-BE49-F238E27FC236}">
                    <a16:creationId xmlns:a16="http://schemas.microsoft.com/office/drawing/2014/main" id="{82E25D7A-AB3D-4AD2-89E5-FD5A93A39298}"/>
                  </a:ext>
                </a:extLst>
              </p:cNvPr>
              <p:cNvSpPr>
                <a:spLocks/>
              </p:cNvSpPr>
              <p:nvPr/>
            </p:nvSpPr>
            <p:spPr bwMode="auto">
              <a:xfrm>
                <a:off x="4473575" y="3122614"/>
                <a:ext cx="1604963" cy="1806575"/>
              </a:xfrm>
              <a:custGeom>
                <a:avLst/>
                <a:gdLst/>
                <a:ahLst/>
                <a:cxnLst>
                  <a:cxn ang="0">
                    <a:pos x="407" y="0"/>
                  </a:cxn>
                  <a:cxn ang="0">
                    <a:pos x="338" y="23"/>
                  </a:cxn>
                  <a:cxn ang="0">
                    <a:pos x="316" y="66"/>
                  </a:cxn>
                  <a:cxn ang="0">
                    <a:pos x="273" y="44"/>
                  </a:cxn>
                  <a:cxn ang="0">
                    <a:pos x="8" y="130"/>
                  </a:cxn>
                  <a:cxn ang="0">
                    <a:pos x="0" y="133"/>
                  </a:cxn>
                  <a:cxn ang="0">
                    <a:pos x="5" y="140"/>
                  </a:cxn>
                  <a:cxn ang="0">
                    <a:pos x="161" y="356"/>
                  </a:cxn>
                  <a:cxn ang="0">
                    <a:pos x="159" y="370"/>
                  </a:cxn>
                  <a:cxn ang="0">
                    <a:pos x="151" y="420"/>
                  </a:cxn>
                  <a:cxn ang="0">
                    <a:pos x="201" y="427"/>
                  </a:cxn>
                  <a:cxn ang="0">
                    <a:pos x="215" y="430"/>
                  </a:cxn>
                  <a:cxn ang="0">
                    <a:pos x="253" y="482"/>
                  </a:cxn>
                  <a:cxn ang="0">
                    <a:pos x="428" y="133"/>
                  </a:cxn>
                  <a:cxn ang="0">
                    <a:pos x="407" y="0"/>
                  </a:cxn>
                </a:cxnLst>
                <a:rect l="0" t="0" r="r" b="b"/>
                <a:pathLst>
                  <a:path w="428" h="482">
                    <a:moveTo>
                      <a:pt x="407" y="0"/>
                    </a:moveTo>
                    <a:cubicBezTo>
                      <a:pt x="338" y="23"/>
                      <a:pt x="338" y="23"/>
                      <a:pt x="338" y="23"/>
                    </a:cubicBezTo>
                    <a:cubicBezTo>
                      <a:pt x="316" y="66"/>
                      <a:pt x="316" y="66"/>
                      <a:pt x="316" y="66"/>
                    </a:cubicBezTo>
                    <a:cubicBezTo>
                      <a:pt x="273" y="44"/>
                      <a:pt x="273" y="44"/>
                      <a:pt x="273" y="44"/>
                    </a:cubicBezTo>
                    <a:cubicBezTo>
                      <a:pt x="8" y="130"/>
                      <a:pt x="8" y="130"/>
                      <a:pt x="8" y="130"/>
                    </a:cubicBezTo>
                    <a:cubicBezTo>
                      <a:pt x="0" y="133"/>
                      <a:pt x="0" y="133"/>
                      <a:pt x="0" y="133"/>
                    </a:cubicBezTo>
                    <a:cubicBezTo>
                      <a:pt x="5" y="140"/>
                      <a:pt x="5" y="140"/>
                      <a:pt x="5" y="140"/>
                    </a:cubicBezTo>
                    <a:cubicBezTo>
                      <a:pt x="161" y="356"/>
                      <a:pt x="161" y="356"/>
                      <a:pt x="161" y="356"/>
                    </a:cubicBezTo>
                    <a:cubicBezTo>
                      <a:pt x="159" y="370"/>
                      <a:pt x="159" y="370"/>
                      <a:pt x="159" y="370"/>
                    </a:cubicBezTo>
                    <a:cubicBezTo>
                      <a:pt x="151" y="420"/>
                      <a:pt x="151" y="420"/>
                      <a:pt x="151" y="420"/>
                    </a:cubicBezTo>
                    <a:cubicBezTo>
                      <a:pt x="201" y="427"/>
                      <a:pt x="201" y="427"/>
                      <a:pt x="201" y="427"/>
                    </a:cubicBezTo>
                    <a:cubicBezTo>
                      <a:pt x="215" y="430"/>
                      <a:pt x="215" y="430"/>
                      <a:pt x="215" y="430"/>
                    </a:cubicBezTo>
                    <a:cubicBezTo>
                      <a:pt x="253" y="482"/>
                      <a:pt x="253" y="482"/>
                      <a:pt x="253" y="482"/>
                    </a:cubicBezTo>
                    <a:cubicBezTo>
                      <a:pt x="359" y="402"/>
                      <a:pt x="428" y="276"/>
                      <a:pt x="428" y="133"/>
                    </a:cubicBezTo>
                    <a:cubicBezTo>
                      <a:pt x="428" y="87"/>
                      <a:pt x="421" y="42"/>
                      <a:pt x="407" y="0"/>
                    </a:cubicBezTo>
                    <a:close/>
                  </a:path>
                </a:pathLst>
              </a:cu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162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8" name="Freeform 35">
                <a:extLst>
                  <a:ext uri="{FF2B5EF4-FFF2-40B4-BE49-F238E27FC236}">
                    <a16:creationId xmlns:a16="http://schemas.microsoft.com/office/drawing/2014/main" id="{4B72CAE0-9572-4612-A604-DE737DB9FBAB}"/>
                  </a:ext>
                </a:extLst>
              </p:cNvPr>
              <p:cNvSpPr>
                <a:spLocks/>
              </p:cNvSpPr>
              <p:nvPr/>
            </p:nvSpPr>
            <p:spPr bwMode="auto">
              <a:xfrm>
                <a:off x="2805112" y="3087688"/>
                <a:ext cx="1604963" cy="1841500"/>
              </a:xfrm>
              <a:custGeom>
                <a:avLst/>
                <a:gdLst/>
                <a:ahLst/>
                <a:cxnLst>
                  <a:cxn ang="0">
                    <a:pos x="420" y="139"/>
                  </a:cxn>
                  <a:cxn ang="0">
                    <a:pos x="164" y="56"/>
                  </a:cxn>
                  <a:cxn ang="0">
                    <a:pos x="157" y="43"/>
                  </a:cxn>
                  <a:cxn ang="0">
                    <a:pos x="135" y="0"/>
                  </a:cxn>
                  <a:cxn ang="0">
                    <a:pos x="92" y="22"/>
                  </a:cxn>
                  <a:cxn ang="0">
                    <a:pos x="79" y="28"/>
                  </a:cxn>
                  <a:cxn ang="0">
                    <a:pos x="21" y="9"/>
                  </a:cxn>
                  <a:cxn ang="0">
                    <a:pos x="0" y="142"/>
                  </a:cxn>
                  <a:cxn ang="0">
                    <a:pos x="175" y="491"/>
                  </a:cxn>
                  <a:cxn ang="0">
                    <a:pos x="217" y="433"/>
                  </a:cxn>
                  <a:cxn ang="0">
                    <a:pos x="209" y="384"/>
                  </a:cxn>
                  <a:cxn ang="0">
                    <a:pos x="258" y="377"/>
                  </a:cxn>
                  <a:cxn ang="0">
                    <a:pos x="423" y="149"/>
                  </a:cxn>
                  <a:cxn ang="0">
                    <a:pos x="428" y="142"/>
                  </a:cxn>
                  <a:cxn ang="0">
                    <a:pos x="420" y="139"/>
                  </a:cxn>
                </a:cxnLst>
                <a:rect l="0" t="0" r="r" b="b"/>
                <a:pathLst>
                  <a:path w="428" h="491">
                    <a:moveTo>
                      <a:pt x="420" y="139"/>
                    </a:moveTo>
                    <a:cubicBezTo>
                      <a:pt x="164" y="56"/>
                      <a:pt x="164" y="56"/>
                      <a:pt x="164" y="56"/>
                    </a:cubicBezTo>
                    <a:cubicBezTo>
                      <a:pt x="157" y="43"/>
                      <a:pt x="157" y="43"/>
                      <a:pt x="157" y="43"/>
                    </a:cubicBezTo>
                    <a:cubicBezTo>
                      <a:pt x="135" y="0"/>
                      <a:pt x="135" y="0"/>
                      <a:pt x="135" y="0"/>
                    </a:cubicBezTo>
                    <a:cubicBezTo>
                      <a:pt x="92" y="22"/>
                      <a:pt x="92" y="22"/>
                      <a:pt x="92" y="22"/>
                    </a:cubicBezTo>
                    <a:cubicBezTo>
                      <a:pt x="79" y="28"/>
                      <a:pt x="79" y="28"/>
                      <a:pt x="79" y="28"/>
                    </a:cubicBezTo>
                    <a:cubicBezTo>
                      <a:pt x="21" y="9"/>
                      <a:pt x="21" y="9"/>
                      <a:pt x="21" y="9"/>
                    </a:cubicBezTo>
                    <a:cubicBezTo>
                      <a:pt x="7" y="51"/>
                      <a:pt x="0" y="96"/>
                      <a:pt x="0" y="142"/>
                    </a:cubicBezTo>
                    <a:cubicBezTo>
                      <a:pt x="0" y="285"/>
                      <a:pt x="69" y="411"/>
                      <a:pt x="175" y="491"/>
                    </a:cubicBezTo>
                    <a:cubicBezTo>
                      <a:pt x="217" y="433"/>
                      <a:pt x="217" y="433"/>
                      <a:pt x="217" y="433"/>
                    </a:cubicBezTo>
                    <a:cubicBezTo>
                      <a:pt x="209" y="384"/>
                      <a:pt x="209" y="384"/>
                      <a:pt x="209" y="384"/>
                    </a:cubicBezTo>
                    <a:cubicBezTo>
                      <a:pt x="258" y="377"/>
                      <a:pt x="258" y="377"/>
                      <a:pt x="258" y="377"/>
                    </a:cubicBezTo>
                    <a:cubicBezTo>
                      <a:pt x="423" y="149"/>
                      <a:pt x="423" y="149"/>
                      <a:pt x="423" y="149"/>
                    </a:cubicBezTo>
                    <a:cubicBezTo>
                      <a:pt x="428" y="142"/>
                      <a:pt x="428" y="142"/>
                      <a:pt x="428" y="142"/>
                    </a:cubicBezTo>
                    <a:lnTo>
                      <a:pt x="420" y="139"/>
                    </a:lnTo>
                    <a:close/>
                  </a:path>
                </a:pathLst>
              </a:cu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9" name="Freeform 36">
                <a:extLst>
                  <a:ext uri="{FF2B5EF4-FFF2-40B4-BE49-F238E27FC236}">
                    <a16:creationId xmlns:a16="http://schemas.microsoft.com/office/drawing/2014/main" id="{7A17E1FB-B04F-444A-8DE5-FF930B2EC5A8}"/>
                  </a:ext>
                </a:extLst>
              </p:cNvPr>
              <p:cNvSpPr>
                <a:spLocks/>
              </p:cNvSpPr>
              <p:nvPr/>
            </p:nvSpPr>
            <p:spPr bwMode="auto">
              <a:xfrm>
                <a:off x="3490912" y="3643313"/>
                <a:ext cx="1901825" cy="1612900"/>
              </a:xfrm>
              <a:custGeom>
                <a:avLst/>
                <a:gdLst/>
                <a:ahLst/>
                <a:cxnLst>
                  <a:cxn ang="0">
                    <a:pos x="463" y="288"/>
                  </a:cxn>
                  <a:cxn ang="0">
                    <a:pos x="413" y="281"/>
                  </a:cxn>
                  <a:cxn ang="0">
                    <a:pos x="421" y="231"/>
                  </a:cxn>
                  <a:cxn ang="0">
                    <a:pos x="258" y="7"/>
                  </a:cxn>
                  <a:cxn ang="0">
                    <a:pos x="253" y="0"/>
                  </a:cxn>
                  <a:cxn ang="0">
                    <a:pos x="248" y="7"/>
                  </a:cxn>
                  <a:cxn ang="0">
                    <a:pos x="89" y="227"/>
                  </a:cxn>
                  <a:cxn ang="0">
                    <a:pos x="75" y="229"/>
                  </a:cxn>
                  <a:cxn ang="0">
                    <a:pos x="26" y="236"/>
                  </a:cxn>
                  <a:cxn ang="0">
                    <a:pos x="34" y="285"/>
                  </a:cxn>
                  <a:cxn ang="0">
                    <a:pos x="36" y="299"/>
                  </a:cxn>
                  <a:cxn ang="0">
                    <a:pos x="0" y="349"/>
                  </a:cxn>
                  <a:cxn ang="0">
                    <a:pos x="253" y="430"/>
                  </a:cxn>
                  <a:cxn ang="0">
                    <a:pos x="507" y="349"/>
                  </a:cxn>
                  <a:cxn ang="0">
                    <a:pos x="463" y="288"/>
                  </a:cxn>
                </a:cxnLst>
                <a:rect l="0" t="0" r="r" b="b"/>
                <a:pathLst>
                  <a:path w="507" h="430">
                    <a:moveTo>
                      <a:pt x="463" y="288"/>
                    </a:moveTo>
                    <a:cubicBezTo>
                      <a:pt x="413" y="281"/>
                      <a:pt x="413" y="281"/>
                      <a:pt x="413" y="281"/>
                    </a:cubicBezTo>
                    <a:cubicBezTo>
                      <a:pt x="421" y="231"/>
                      <a:pt x="421" y="231"/>
                      <a:pt x="421" y="231"/>
                    </a:cubicBezTo>
                    <a:cubicBezTo>
                      <a:pt x="258" y="7"/>
                      <a:pt x="258" y="7"/>
                      <a:pt x="258" y="7"/>
                    </a:cubicBezTo>
                    <a:cubicBezTo>
                      <a:pt x="253" y="0"/>
                      <a:pt x="253" y="0"/>
                      <a:pt x="253" y="0"/>
                    </a:cubicBezTo>
                    <a:cubicBezTo>
                      <a:pt x="248" y="7"/>
                      <a:pt x="248" y="7"/>
                      <a:pt x="248" y="7"/>
                    </a:cubicBezTo>
                    <a:cubicBezTo>
                      <a:pt x="89" y="227"/>
                      <a:pt x="89" y="227"/>
                      <a:pt x="89" y="227"/>
                    </a:cubicBezTo>
                    <a:cubicBezTo>
                      <a:pt x="75" y="229"/>
                      <a:pt x="75" y="229"/>
                      <a:pt x="75" y="229"/>
                    </a:cubicBezTo>
                    <a:cubicBezTo>
                      <a:pt x="26" y="236"/>
                      <a:pt x="26" y="236"/>
                      <a:pt x="26" y="236"/>
                    </a:cubicBezTo>
                    <a:cubicBezTo>
                      <a:pt x="34" y="285"/>
                      <a:pt x="34" y="285"/>
                      <a:pt x="34" y="285"/>
                    </a:cubicBezTo>
                    <a:cubicBezTo>
                      <a:pt x="36" y="299"/>
                      <a:pt x="36" y="299"/>
                      <a:pt x="36" y="299"/>
                    </a:cubicBezTo>
                    <a:cubicBezTo>
                      <a:pt x="0" y="349"/>
                      <a:pt x="0" y="349"/>
                      <a:pt x="0" y="349"/>
                    </a:cubicBezTo>
                    <a:cubicBezTo>
                      <a:pt x="71" y="400"/>
                      <a:pt x="159" y="430"/>
                      <a:pt x="253" y="430"/>
                    </a:cubicBezTo>
                    <a:cubicBezTo>
                      <a:pt x="348" y="430"/>
                      <a:pt x="436" y="400"/>
                      <a:pt x="507" y="349"/>
                    </a:cubicBezTo>
                    <a:lnTo>
                      <a:pt x="463" y="288"/>
                    </a:lnTo>
                    <a:close/>
                  </a:path>
                </a:pathLst>
              </a:cu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lin ang="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600"/>
              </a:p>
            </p:txBody>
          </p:sp>
        </p:grpSp>
        <p:sp>
          <p:nvSpPr>
            <p:cNvPr id="28" name="Oval 27">
              <a:extLst>
                <a:ext uri="{FF2B5EF4-FFF2-40B4-BE49-F238E27FC236}">
                  <a16:creationId xmlns:a16="http://schemas.microsoft.com/office/drawing/2014/main" id="{CD16E779-8F4A-4FBE-BFD5-D3C7731AC02E}"/>
                </a:ext>
              </a:extLst>
            </p:cNvPr>
            <p:cNvSpPr/>
            <p:nvPr/>
          </p:nvSpPr>
          <p:spPr>
            <a:xfrm>
              <a:off x="3741733" y="2674933"/>
              <a:ext cx="2030418" cy="2030416"/>
            </a:xfrm>
            <a:prstGeom prst="ellipse">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5400000" scaled="1"/>
              <a:tileRect/>
            </a:gradFill>
            <a:ln>
              <a:solidFill>
                <a:schemeClr val="bg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9" name="Rectangle 28">
              <a:extLst>
                <a:ext uri="{FF2B5EF4-FFF2-40B4-BE49-F238E27FC236}">
                  <a16:creationId xmlns:a16="http://schemas.microsoft.com/office/drawing/2014/main" id="{172C7429-4647-4551-9B24-556F3E40E3F0}"/>
                </a:ext>
              </a:extLst>
            </p:cNvPr>
            <p:cNvSpPr/>
            <p:nvPr/>
          </p:nvSpPr>
          <p:spPr>
            <a:xfrm>
              <a:off x="4700771" y="2031006"/>
              <a:ext cx="1981200" cy="601442"/>
            </a:xfrm>
            <a:prstGeom prst="rect">
              <a:avLst/>
            </a:prstGeom>
          </p:spPr>
          <p:txBody>
            <a:bodyPr wrap="square">
              <a:spAutoFit/>
            </a:bodyPr>
            <a:lstStyle/>
            <a:p>
              <a:pPr algn="ctr"/>
              <a:r>
                <a:rPr lang="en-US" sz="1400" dirty="0">
                  <a:solidFill>
                    <a:schemeClr val="bg1"/>
                  </a:solidFill>
                  <a:cs typeface="Arial" pitchFamily="34" charset="0"/>
                </a:rPr>
                <a:t>Highest number of dengue cases</a:t>
              </a:r>
            </a:p>
          </p:txBody>
        </p:sp>
        <p:sp>
          <p:nvSpPr>
            <p:cNvPr id="30" name="Rectangle 29">
              <a:extLst>
                <a:ext uri="{FF2B5EF4-FFF2-40B4-BE49-F238E27FC236}">
                  <a16:creationId xmlns:a16="http://schemas.microsoft.com/office/drawing/2014/main" id="{6478DCF8-AD50-4D72-9C28-E1C48E63D120}"/>
                </a:ext>
              </a:extLst>
            </p:cNvPr>
            <p:cNvSpPr/>
            <p:nvPr/>
          </p:nvSpPr>
          <p:spPr>
            <a:xfrm>
              <a:off x="3787495" y="3240653"/>
              <a:ext cx="1981200" cy="955233"/>
            </a:xfrm>
            <a:prstGeom prst="rect">
              <a:avLst/>
            </a:prstGeom>
          </p:spPr>
          <p:txBody>
            <a:bodyPr wrap="square">
              <a:spAutoFit/>
            </a:bodyPr>
            <a:lstStyle/>
            <a:p>
              <a:pPr algn="ctr"/>
              <a:r>
                <a:rPr lang="en-US" sz="1600" b="1" dirty="0"/>
                <a:t>Dengue and safety measures</a:t>
              </a:r>
            </a:p>
          </p:txBody>
        </p:sp>
        <p:sp>
          <p:nvSpPr>
            <p:cNvPr id="31" name="Rectangle 30">
              <a:extLst>
                <a:ext uri="{FF2B5EF4-FFF2-40B4-BE49-F238E27FC236}">
                  <a16:creationId xmlns:a16="http://schemas.microsoft.com/office/drawing/2014/main" id="{8A82E58F-2DC8-4308-8AC6-594A5EA79995}"/>
                </a:ext>
              </a:extLst>
            </p:cNvPr>
            <p:cNvSpPr/>
            <p:nvPr/>
          </p:nvSpPr>
          <p:spPr>
            <a:xfrm>
              <a:off x="5592374" y="3896206"/>
              <a:ext cx="1570471" cy="601442"/>
            </a:xfrm>
            <a:prstGeom prst="rect">
              <a:avLst/>
            </a:prstGeom>
          </p:spPr>
          <p:txBody>
            <a:bodyPr wrap="square">
              <a:spAutoFit/>
            </a:bodyPr>
            <a:lstStyle/>
            <a:p>
              <a:pPr algn="ctr"/>
              <a:r>
                <a:rPr lang="en-US" sz="1400" dirty="0">
                  <a:solidFill>
                    <a:srgbClr val="000000"/>
                  </a:solidFill>
                  <a:cs typeface="Arial" pitchFamily="34" charset="0"/>
                </a:rPr>
                <a:t>Country wise distribution</a:t>
              </a:r>
            </a:p>
          </p:txBody>
        </p:sp>
        <p:sp>
          <p:nvSpPr>
            <p:cNvPr id="32" name="Rectangle 31">
              <a:extLst>
                <a:ext uri="{FF2B5EF4-FFF2-40B4-BE49-F238E27FC236}">
                  <a16:creationId xmlns:a16="http://schemas.microsoft.com/office/drawing/2014/main" id="{BBDD650E-E8E5-4D5C-9C30-825C055AED2E}"/>
                </a:ext>
              </a:extLst>
            </p:cNvPr>
            <p:cNvSpPr/>
            <p:nvPr/>
          </p:nvSpPr>
          <p:spPr>
            <a:xfrm>
              <a:off x="3994942" y="5027770"/>
              <a:ext cx="1523998" cy="849096"/>
            </a:xfrm>
            <a:prstGeom prst="rect">
              <a:avLst/>
            </a:prstGeom>
          </p:spPr>
          <p:txBody>
            <a:bodyPr wrap="square">
              <a:spAutoFit/>
            </a:bodyPr>
            <a:lstStyle/>
            <a:p>
              <a:pPr algn="ctr"/>
              <a:r>
                <a:rPr lang="en-US" sz="1400" dirty="0">
                  <a:solidFill>
                    <a:schemeClr val="bg1"/>
                  </a:solidFill>
                  <a:cs typeface="Arial" pitchFamily="34" charset="0"/>
                </a:rPr>
                <a:t>Disease burden and Epidemiology</a:t>
              </a:r>
            </a:p>
          </p:txBody>
        </p:sp>
        <p:sp>
          <p:nvSpPr>
            <p:cNvPr id="33" name="Rectangle 32">
              <a:extLst>
                <a:ext uri="{FF2B5EF4-FFF2-40B4-BE49-F238E27FC236}">
                  <a16:creationId xmlns:a16="http://schemas.microsoft.com/office/drawing/2014/main" id="{B253A39E-B2C6-4F8F-8F68-CA524B53C1F7}"/>
                </a:ext>
              </a:extLst>
            </p:cNvPr>
            <p:cNvSpPr/>
            <p:nvPr/>
          </p:nvSpPr>
          <p:spPr>
            <a:xfrm>
              <a:off x="2362200" y="3810000"/>
              <a:ext cx="1447796" cy="1344401"/>
            </a:xfrm>
            <a:prstGeom prst="rect">
              <a:avLst/>
            </a:prstGeom>
          </p:spPr>
          <p:txBody>
            <a:bodyPr wrap="square">
              <a:spAutoFit/>
            </a:bodyPr>
            <a:lstStyle/>
            <a:p>
              <a:pPr algn="ctr"/>
              <a:r>
                <a:rPr lang="en-US" sz="1400" dirty="0">
                  <a:solidFill>
                    <a:schemeClr val="bg1"/>
                  </a:solidFill>
                  <a:cs typeface="Arial" pitchFamily="34" charset="0"/>
                </a:rPr>
                <a:t>Major player and the marketed dengue vaccine</a:t>
              </a:r>
            </a:p>
          </p:txBody>
        </p:sp>
        <p:sp>
          <p:nvSpPr>
            <p:cNvPr id="34" name="Rectangle 33">
              <a:extLst>
                <a:ext uri="{FF2B5EF4-FFF2-40B4-BE49-F238E27FC236}">
                  <a16:creationId xmlns:a16="http://schemas.microsoft.com/office/drawing/2014/main" id="{806D87DE-0F2A-4A39-8EB8-6864AF92FA73}"/>
                </a:ext>
              </a:extLst>
            </p:cNvPr>
            <p:cNvSpPr/>
            <p:nvPr/>
          </p:nvSpPr>
          <p:spPr>
            <a:xfrm>
              <a:off x="2734291" y="2036567"/>
              <a:ext cx="1905001" cy="601442"/>
            </a:xfrm>
            <a:prstGeom prst="rect">
              <a:avLst/>
            </a:prstGeom>
          </p:spPr>
          <p:txBody>
            <a:bodyPr wrap="square">
              <a:spAutoFit/>
            </a:bodyPr>
            <a:lstStyle/>
            <a:p>
              <a:pPr algn="ctr"/>
              <a:r>
                <a:rPr lang="en-US" sz="1400" dirty="0">
                  <a:solidFill>
                    <a:schemeClr val="bg1"/>
                  </a:solidFill>
                  <a:cs typeface="Arial" pitchFamily="34" charset="0"/>
                </a:rPr>
                <a:t>Future market and pipeline products</a:t>
              </a:r>
            </a:p>
          </p:txBody>
        </p:sp>
      </p:grpSp>
      <p:cxnSp>
        <p:nvCxnSpPr>
          <p:cNvPr id="40" name="Straight Connector 39">
            <a:extLst>
              <a:ext uri="{FF2B5EF4-FFF2-40B4-BE49-F238E27FC236}">
                <a16:creationId xmlns:a16="http://schemas.microsoft.com/office/drawing/2014/main" id="{8451882C-6F10-43CB-834B-8F9FCF836E82}"/>
              </a:ext>
            </a:extLst>
          </p:cNvPr>
          <p:cNvCxnSpPr/>
          <p:nvPr/>
        </p:nvCxnSpPr>
        <p:spPr>
          <a:xfrm rot="5400000">
            <a:off x="5800725" y="1219200"/>
            <a:ext cx="609600" cy="1588"/>
          </a:xfrm>
          <a:prstGeom prst="line">
            <a:avLst/>
          </a:prstGeom>
          <a:ln>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1CA2EDD-59E1-486D-891F-211606006243}"/>
              </a:ext>
            </a:extLst>
          </p:cNvPr>
          <p:cNvCxnSpPr/>
          <p:nvPr/>
        </p:nvCxnSpPr>
        <p:spPr>
          <a:xfrm>
            <a:off x="2362201" y="2486026"/>
            <a:ext cx="1647031" cy="524669"/>
          </a:xfrm>
          <a:prstGeom prst="line">
            <a:avLst/>
          </a:prstGeom>
          <a:ln>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AED74BD-9885-4288-8A71-49DF6160A82D}"/>
              </a:ext>
            </a:extLst>
          </p:cNvPr>
          <p:cNvCxnSpPr/>
          <p:nvPr/>
        </p:nvCxnSpPr>
        <p:spPr>
          <a:xfrm rot="10800000" flipV="1">
            <a:off x="8172450" y="2476500"/>
            <a:ext cx="1657350" cy="543718"/>
          </a:xfrm>
          <a:prstGeom prst="line">
            <a:avLst/>
          </a:prstGeom>
          <a:ln>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294DCD4-ECD8-4C71-8A0D-0F08BE0E9100}"/>
              </a:ext>
            </a:extLst>
          </p:cNvPr>
          <p:cNvCxnSpPr/>
          <p:nvPr/>
        </p:nvCxnSpPr>
        <p:spPr>
          <a:xfrm rot="5400000">
            <a:off x="3943351" y="5648327"/>
            <a:ext cx="990603" cy="704851"/>
          </a:xfrm>
          <a:prstGeom prst="line">
            <a:avLst/>
          </a:prstGeom>
          <a:ln>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C898E31-5C4F-42A3-9CF4-C6356DACF8D9}"/>
              </a:ext>
            </a:extLst>
          </p:cNvPr>
          <p:cNvCxnSpPr/>
          <p:nvPr/>
        </p:nvCxnSpPr>
        <p:spPr>
          <a:xfrm rot="16200000" flipH="1">
            <a:off x="7286624" y="5648327"/>
            <a:ext cx="990603" cy="704851"/>
          </a:xfrm>
          <a:prstGeom prst="line">
            <a:avLst/>
          </a:prstGeom>
          <a:ln>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7728A24-CB68-4FD5-8F1D-B991A0DD8A29}"/>
              </a:ext>
            </a:extLst>
          </p:cNvPr>
          <p:cNvSpPr/>
          <p:nvPr/>
        </p:nvSpPr>
        <p:spPr>
          <a:xfrm>
            <a:off x="7211239" y="1499278"/>
            <a:ext cx="3354260" cy="553998"/>
          </a:xfrm>
          <a:prstGeom prst="rect">
            <a:avLst/>
          </a:prstGeom>
        </p:spPr>
        <p:txBody>
          <a:bodyPr wrap="square">
            <a:spAutoFit/>
          </a:bodyPr>
          <a:lstStyle/>
          <a:p>
            <a:pPr algn="ctr"/>
            <a:r>
              <a:rPr lang="en-US" sz="1000" dirty="0">
                <a:solidFill>
                  <a:srgbClr val="002060"/>
                </a:solidFill>
                <a:latin typeface="+mj-lt"/>
              </a:rPr>
              <a:t>The top five countries with highest number of dengue cases are Brazil, Vietnam, Peru, the Philippines, and Nicaragua.</a:t>
            </a:r>
          </a:p>
        </p:txBody>
      </p:sp>
      <p:sp>
        <p:nvSpPr>
          <p:cNvPr id="46" name="Rectangle 45">
            <a:extLst>
              <a:ext uri="{FF2B5EF4-FFF2-40B4-BE49-F238E27FC236}">
                <a16:creationId xmlns:a16="http://schemas.microsoft.com/office/drawing/2014/main" id="{CDCC1E67-9AD1-4683-AF16-D3BB857EA084}"/>
              </a:ext>
            </a:extLst>
          </p:cNvPr>
          <p:cNvSpPr/>
          <p:nvPr/>
        </p:nvSpPr>
        <p:spPr>
          <a:xfrm>
            <a:off x="427795" y="3930073"/>
            <a:ext cx="3458405" cy="1015663"/>
          </a:xfrm>
          <a:prstGeom prst="rect">
            <a:avLst/>
          </a:prstGeom>
        </p:spPr>
        <p:txBody>
          <a:bodyPr wrap="square">
            <a:spAutoFit/>
          </a:bodyPr>
          <a:lstStyle/>
          <a:p>
            <a:pPr algn="ctr"/>
            <a:r>
              <a:rPr lang="en-GB" sz="1000" dirty="0">
                <a:solidFill>
                  <a:srgbClr val="002060"/>
                </a:solidFill>
                <a:latin typeface="+mj-lt"/>
              </a:rPr>
              <a:t>Sanofi is the first dengue vaccine producer in the market. </a:t>
            </a:r>
            <a:r>
              <a:rPr lang="en-US" sz="1000" dirty="0" err="1">
                <a:solidFill>
                  <a:srgbClr val="002060"/>
                </a:solidFill>
                <a:latin typeface="+mj-lt"/>
              </a:rPr>
              <a:t>Dengvaxia</a:t>
            </a:r>
            <a:r>
              <a:rPr lang="en-US" sz="1000" dirty="0">
                <a:solidFill>
                  <a:srgbClr val="002060"/>
                </a:solidFill>
                <a:latin typeface="+mj-lt"/>
              </a:rPr>
              <a:t>® is licensed in 20 countries and the efficacy of </a:t>
            </a:r>
            <a:r>
              <a:rPr lang="en-US" sz="1000" dirty="0" err="1">
                <a:solidFill>
                  <a:srgbClr val="002060"/>
                </a:solidFill>
                <a:latin typeface="+mj-lt"/>
              </a:rPr>
              <a:t>Dengvaxia</a:t>
            </a:r>
            <a:r>
              <a:rPr lang="en-US" sz="1000" dirty="0">
                <a:solidFill>
                  <a:srgbClr val="002060"/>
                </a:solidFill>
                <a:latin typeface="+mj-lt"/>
              </a:rPr>
              <a:t> against severe dengue in seropositive vaccinees in the phase 3 trials was 84%.</a:t>
            </a:r>
          </a:p>
          <a:p>
            <a:pPr algn="ctr"/>
            <a:endParaRPr lang="en-US" sz="1000" dirty="0">
              <a:solidFill>
                <a:srgbClr val="002060"/>
              </a:solidFill>
              <a:latin typeface="+mj-lt"/>
            </a:endParaRPr>
          </a:p>
          <a:p>
            <a:pPr algn="ctr"/>
            <a:endParaRPr lang="en-GB" sz="1000" dirty="0">
              <a:solidFill>
                <a:srgbClr val="002060"/>
              </a:solidFill>
              <a:latin typeface="+mj-lt"/>
            </a:endParaRPr>
          </a:p>
        </p:txBody>
      </p:sp>
      <p:sp>
        <p:nvSpPr>
          <p:cNvPr id="47" name="Rectangle 46">
            <a:extLst>
              <a:ext uri="{FF2B5EF4-FFF2-40B4-BE49-F238E27FC236}">
                <a16:creationId xmlns:a16="http://schemas.microsoft.com/office/drawing/2014/main" id="{036A9E8B-1CE7-4314-952A-DE72C02EDB35}"/>
              </a:ext>
            </a:extLst>
          </p:cNvPr>
          <p:cNvSpPr/>
          <p:nvPr/>
        </p:nvSpPr>
        <p:spPr>
          <a:xfrm>
            <a:off x="8284611" y="3796896"/>
            <a:ext cx="3700861" cy="707886"/>
          </a:xfrm>
          <a:prstGeom prst="rect">
            <a:avLst/>
          </a:prstGeom>
        </p:spPr>
        <p:txBody>
          <a:bodyPr wrap="square">
            <a:spAutoFit/>
          </a:bodyPr>
          <a:lstStyle/>
          <a:p>
            <a:r>
              <a:rPr lang="en-US" sz="1000" dirty="0">
                <a:solidFill>
                  <a:srgbClr val="002060"/>
                </a:solidFill>
                <a:latin typeface="+mj-lt"/>
              </a:rPr>
              <a:t>African Union has the highest growth rate of Dengue among all the regions, and more than 100% new cases were recorded with in a month. However, in most of the other countries, a pronounced decrement in cases is observed in since 2020.</a:t>
            </a:r>
          </a:p>
        </p:txBody>
      </p:sp>
      <p:sp>
        <p:nvSpPr>
          <p:cNvPr id="48" name="Rectangle 47">
            <a:extLst>
              <a:ext uri="{FF2B5EF4-FFF2-40B4-BE49-F238E27FC236}">
                <a16:creationId xmlns:a16="http://schemas.microsoft.com/office/drawing/2014/main" id="{3DC2B65F-E08C-4E1D-8022-2B17097E860D}"/>
              </a:ext>
            </a:extLst>
          </p:cNvPr>
          <p:cNvSpPr/>
          <p:nvPr/>
        </p:nvSpPr>
        <p:spPr>
          <a:xfrm>
            <a:off x="824077" y="1543049"/>
            <a:ext cx="4358519" cy="553998"/>
          </a:xfrm>
          <a:prstGeom prst="rect">
            <a:avLst/>
          </a:prstGeom>
        </p:spPr>
        <p:txBody>
          <a:bodyPr wrap="square">
            <a:spAutoFit/>
          </a:bodyPr>
          <a:lstStyle/>
          <a:p>
            <a:r>
              <a:rPr lang="en-US" sz="1000" dirty="0">
                <a:solidFill>
                  <a:srgbClr val="002060"/>
                </a:solidFill>
                <a:latin typeface="+mj-lt"/>
              </a:rPr>
              <a:t>The overall dengue vaccines market is projected to cross US$ 1.4 Bn by 2031. TAK-003 from Takeda is the most advanced vaccine currently in the pipeline. </a:t>
            </a:r>
          </a:p>
        </p:txBody>
      </p:sp>
      <p:sp>
        <p:nvSpPr>
          <p:cNvPr id="49" name="Rectangle 48">
            <a:extLst>
              <a:ext uri="{FF2B5EF4-FFF2-40B4-BE49-F238E27FC236}">
                <a16:creationId xmlns:a16="http://schemas.microsoft.com/office/drawing/2014/main" id="{493F54E6-3BC0-4C56-9264-5D4E95FC78A6}"/>
              </a:ext>
            </a:extLst>
          </p:cNvPr>
          <p:cNvSpPr/>
          <p:nvPr/>
        </p:nvSpPr>
        <p:spPr>
          <a:xfrm>
            <a:off x="4525818" y="5875437"/>
            <a:ext cx="3312238" cy="707886"/>
          </a:xfrm>
          <a:prstGeom prst="rect">
            <a:avLst/>
          </a:prstGeom>
        </p:spPr>
        <p:txBody>
          <a:bodyPr wrap="square">
            <a:spAutoFit/>
          </a:bodyPr>
          <a:lstStyle/>
          <a:p>
            <a:pPr algn="ctr"/>
            <a:r>
              <a:rPr lang="en-US" sz="1000" dirty="0">
                <a:solidFill>
                  <a:srgbClr val="002060"/>
                </a:solidFill>
                <a:latin typeface="+mj-lt"/>
              </a:rPr>
              <a:t>Around 3 billion people (40%) in the world, live in areas with risk of dengue. Southern parts of Africa is expected to be at higher risk in future due to favorable temperature and increasing rainfall.</a:t>
            </a:r>
          </a:p>
        </p:txBody>
      </p:sp>
    </p:spTree>
    <p:extLst>
      <p:ext uri="{BB962C8B-B14F-4D97-AF65-F5344CB8AC3E}">
        <p14:creationId xmlns:p14="http://schemas.microsoft.com/office/powerpoint/2010/main" val="1603224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D6FB8EFE-2EB2-4304-A687-B8824630C12A}"/>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t="4023" b="4023"/>
          <a:stretch>
            <a:fillRect/>
          </a:stretch>
        </p:blipFill>
        <p:spPr/>
      </p:pic>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IN" dirty="0"/>
              <a:t>Disease Overview for Dengue</a:t>
            </a:r>
          </a:p>
        </p:txBody>
      </p:sp>
    </p:spTree>
    <p:extLst>
      <p:ext uri="{BB962C8B-B14F-4D97-AF65-F5344CB8AC3E}">
        <p14:creationId xmlns:p14="http://schemas.microsoft.com/office/powerpoint/2010/main" val="922846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he top five countries with highest number of dengue cases are Brazil, Vietnam, Peru, the Philippines, and Nicaragua. </a:t>
            </a:r>
          </a:p>
        </p:txBody>
      </p:sp>
      <p:sp>
        <p:nvSpPr>
          <p:cNvPr id="4" name="Freeform 21"/>
          <p:cNvSpPr>
            <a:spLocks noChangeAspect="1" noEditPoints="1"/>
          </p:cNvSpPr>
          <p:nvPr/>
        </p:nvSpPr>
        <p:spPr bwMode="auto">
          <a:xfrm>
            <a:off x="6632248" y="4787510"/>
            <a:ext cx="446588" cy="437186"/>
          </a:xfrm>
          <a:custGeom>
            <a:avLst/>
            <a:gdLst>
              <a:gd name="T0" fmla="*/ 127 w 131"/>
              <a:gd name="T1" fmla="*/ 42 h 128"/>
              <a:gd name="T2" fmla="*/ 127 w 131"/>
              <a:gd name="T3" fmla="*/ 50 h 128"/>
              <a:gd name="T4" fmla="*/ 120 w 131"/>
              <a:gd name="T5" fmla="*/ 51 h 128"/>
              <a:gd name="T6" fmla="*/ 114 w 131"/>
              <a:gd name="T7" fmla="*/ 44 h 128"/>
              <a:gd name="T8" fmla="*/ 119 w 131"/>
              <a:gd name="T9" fmla="*/ 37 h 128"/>
              <a:gd name="T10" fmla="*/ 122 w 131"/>
              <a:gd name="T11" fmla="*/ 36 h 128"/>
              <a:gd name="T12" fmla="*/ 123 w 131"/>
              <a:gd name="T13" fmla="*/ 29 h 128"/>
              <a:gd name="T14" fmla="*/ 123 w 131"/>
              <a:gd name="T15" fmla="*/ 21 h 128"/>
              <a:gd name="T16" fmla="*/ 119 w 131"/>
              <a:gd name="T17" fmla="*/ 16 h 128"/>
              <a:gd name="T18" fmla="*/ 119 w 131"/>
              <a:gd name="T19" fmla="*/ 6 h 128"/>
              <a:gd name="T20" fmla="*/ 114 w 131"/>
              <a:gd name="T21" fmla="*/ 4 h 128"/>
              <a:gd name="T22" fmla="*/ 107 w 131"/>
              <a:gd name="T23" fmla="*/ 3 h 128"/>
              <a:gd name="T24" fmla="*/ 102 w 131"/>
              <a:gd name="T25" fmla="*/ 1 h 128"/>
              <a:gd name="T26" fmla="*/ 98 w 131"/>
              <a:gd name="T27" fmla="*/ 3 h 128"/>
              <a:gd name="T28" fmla="*/ 92 w 131"/>
              <a:gd name="T29" fmla="*/ 8 h 128"/>
              <a:gd name="T30" fmla="*/ 87 w 131"/>
              <a:gd name="T31" fmla="*/ 12 h 128"/>
              <a:gd name="T32" fmla="*/ 82 w 131"/>
              <a:gd name="T33" fmla="*/ 21 h 128"/>
              <a:gd name="T34" fmla="*/ 78 w 131"/>
              <a:gd name="T35" fmla="*/ 29 h 128"/>
              <a:gd name="T36" fmla="*/ 72 w 131"/>
              <a:gd name="T37" fmla="*/ 34 h 128"/>
              <a:gd name="T38" fmla="*/ 64 w 131"/>
              <a:gd name="T39" fmla="*/ 36 h 128"/>
              <a:gd name="T40" fmla="*/ 56 w 131"/>
              <a:gd name="T41" fmla="*/ 30 h 128"/>
              <a:gd name="T42" fmla="*/ 52 w 131"/>
              <a:gd name="T43" fmla="*/ 38 h 128"/>
              <a:gd name="T44" fmla="*/ 48 w 131"/>
              <a:gd name="T45" fmla="*/ 43 h 128"/>
              <a:gd name="T46" fmla="*/ 42 w 131"/>
              <a:gd name="T47" fmla="*/ 46 h 128"/>
              <a:gd name="T48" fmla="*/ 36 w 131"/>
              <a:gd name="T49" fmla="*/ 40 h 128"/>
              <a:gd name="T50" fmla="*/ 33 w 131"/>
              <a:gd name="T51" fmla="*/ 33 h 128"/>
              <a:gd name="T52" fmla="*/ 30 w 131"/>
              <a:gd name="T53" fmla="*/ 27 h 128"/>
              <a:gd name="T54" fmla="*/ 29 w 131"/>
              <a:gd name="T55" fmla="*/ 42 h 128"/>
              <a:gd name="T56" fmla="*/ 29 w 131"/>
              <a:gd name="T57" fmla="*/ 56 h 128"/>
              <a:gd name="T58" fmla="*/ 28 w 131"/>
              <a:gd name="T59" fmla="*/ 64 h 128"/>
              <a:gd name="T60" fmla="*/ 20 w 131"/>
              <a:gd name="T61" fmla="*/ 69 h 128"/>
              <a:gd name="T62" fmla="*/ 12 w 131"/>
              <a:gd name="T63" fmla="*/ 66 h 128"/>
              <a:gd name="T64" fmla="*/ 9 w 131"/>
              <a:gd name="T65" fmla="*/ 61 h 128"/>
              <a:gd name="T66" fmla="*/ 5 w 131"/>
              <a:gd name="T67" fmla="*/ 63 h 128"/>
              <a:gd name="T68" fmla="*/ 0 w 131"/>
              <a:gd name="T69" fmla="*/ 66 h 128"/>
              <a:gd name="T70" fmla="*/ 6 w 131"/>
              <a:gd name="T71" fmla="*/ 79 h 128"/>
              <a:gd name="T72" fmla="*/ 11 w 131"/>
              <a:gd name="T73" fmla="*/ 93 h 128"/>
              <a:gd name="T74" fmla="*/ 10 w 131"/>
              <a:gd name="T75" fmla="*/ 106 h 128"/>
              <a:gd name="T76" fmla="*/ 12 w 131"/>
              <a:gd name="T77" fmla="*/ 112 h 128"/>
              <a:gd name="T78" fmla="*/ 15 w 131"/>
              <a:gd name="T79" fmla="*/ 120 h 128"/>
              <a:gd name="T80" fmla="*/ 20 w 131"/>
              <a:gd name="T81" fmla="*/ 123 h 128"/>
              <a:gd name="T82" fmla="*/ 27 w 131"/>
              <a:gd name="T83" fmla="*/ 127 h 128"/>
              <a:gd name="T84" fmla="*/ 40 w 131"/>
              <a:gd name="T85" fmla="*/ 122 h 128"/>
              <a:gd name="T86" fmla="*/ 55 w 131"/>
              <a:gd name="T87" fmla="*/ 119 h 128"/>
              <a:gd name="T88" fmla="*/ 64 w 131"/>
              <a:gd name="T89" fmla="*/ 121 h 128"/>
              <a:gd name="T90" fmla="*/ 72 w 131"/>
              <a:gd name="T91" fmla="*/ 119 h 128"/>
              <a:gd name="T92" fmla="*/ 82 w 131"/>
              <a:gd name="T93" fmla="*/ 113 h 128"/>
              <a:gd name="T94" fmla="*/ 95 w 131"/>
              <a:gd name="T95" fmla="*/ 104 h 128"/>
              <a:gd name="T96" fmla="*/ 113 w 131"/>
              <a:gd name="T97" fmla="*/ 82 h 128"/>
              <a:gd name="T98" fmla="*/ 127 w 131"/>
              <a:gd name="T99" fmla="*/ 62 h 128"/>
              <a:gd name="T100" fmla="*/ 131 w 131"/>
              <a:gd name="T101" fmla="*/ 42 h 128"/>
              <a:gd name="T102" fmla="*/ 91 w 131"/>
              <a:gd name="T103" fmla="*/ 82 h 128"/>
              <a:gd name="T104" fmla="*/ 82 w 131"/>
              <a:gd name="T105" fmla="*/ 74 h 128"/>
              <a:gd name="T106" fmla="*/ 91 w 131"/>
              <a:gd name="T107" fmla="*/ 67 h 128"/>
              <a:gd name="T108" fmla="*/ 98 w 131"/>
              <a:gd name="T109" fmla="*/ 7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128">
                <a:moveTo>
                  <a:pt x="130" y="42"/>
                </a:moveTo>
                <a:cubicBezTo>
                  <a:pt x="130" y="42"/>
                  <a:pt x="130" y="43"/>
                  <a:pt x="130" y="43"/>
                </a:cubicBezTo>
                <a:cubicBezTo>
                  <a:pt x="129" y="43"/>
                  <a:pt x="128" y="43"/>
                  <a:pt x="128" y="43"/>
                </a:cubicBezTo>
                <a:cubicBezTo>
                  <a:pt x="128" y="42"/>
                  <a:pt x="127" y="42"/>
                  <a:pt x="127" y="42"/>
                </a:cubicBezTo>
                <a:cubicBezTo>
                  <a:pt x="127" y="42"/>
                  <a:pt x="127" y="43"/>
                  <a:pt x="127" y="43"/>
                </a:cubicBezTo>
                <a:cubicBezTo>
                  <a:pt x="127" y="43"/>
                  <a:pt x="127" y="45"/>
                  <a:pt x="127" y="45"/>
                </a:cubicBezTo>
                <a:cubicBezTo>
                  <a:pt x="127" y="46"/>
                  <a:pt x="127" y="47"/>
                  <a:pt x="127" y="48"/>
                </a:cubicBezTo>
                <a:cubicBezTo>
                  <a:pt x="127" y="50"/>
                  <a:pt x="127" y="50"/>
                  <a:pt x="127" y="50"/>
                </a:cubicBezTo>
                <a:cubicBezTo>
                  <a:pt x="127" y="50"/>
                  <a:pt x="126" y="52"/>
                  <a:pt x="125" y="52"/>
                </a:cubicBezTo>
                <a:cubicBezTo>
                  <a:pt x="125" y="52"/>
                  <a:pt x="125" y="52"/>
                  <a:pt x="124" y="52"/>
                </a:cubicBezTo>
                <a:cubicBezTo>
                  <a:pt x="123" y="52"/>
                  <a:pt x="123" y="52"/>
                  <a:pt x="122" y="51"/>
                </a:cubicBezTo>
                <a:cubicBezTo>
                  <a:pt x="122" y="51"/>
                  <a:pt x="121" y="51"/>
                  <a:pt x="120" y="51"/>
                </a:cubicBezTo>
                <a:cubicBezTo>
                  <a:pt x="120" y="51"/>
                  <a:pt x="119" y="51"/>
                  <a:pt x="118" y="51"/>
                </a:cubicBezTo>
                <a:cubicBezTo>
                  <a:pt x="117" y="51"/>
                  <a:pt x="116" y="50"/>
                  <a:pt x="116" y="49"/>
                </a:cubicBezTo>
                <a:cubicBezTo>
                  <a:pt x="115" y="49"/>
                  <a:pt x="114" y="46"/>
                  <a:pt x="114" y="46"/>
                </a:cubicBezTo>
                <a:cubicBezTo>
                  <a:pt x="114" y="45"/>
                  <a:pt x="114" y="44"/>
                  <a:pt x="114" y="44"/>
                </a:cubicBezTo>
                <a:cubicBezTo>
                  <a:pt x="114" y="43"/>
                  <a:pt x="115" y="41"/>
                  <a:pt x="115" y="40"/>
                </a:cubicBezTo>
                <a:cubicBezTo>
                  <a:pt x="115" y="40"/>
                  <a:pt x="116" y="39"/>
                  <a:pt x="117" y="39"/>
                </a:cubicBezTo>
                <a:cubicBezTo>
                  <a:pt x="117" y="39"/>
                  <a:pt x="117" y="38"/>
                  <a:pt x="118" y="37"/>
                </a:cubicBezTo>
                <a:cubicBezTo>
                  <a:pt x="119" y="37"/>
                  <a:pt x="119" y="37"/>
                  <a:pt x="119" y="37"/>
                </a:cubicBezTo>
                <a:cubicBezTo>
                  <a:pt x="119" y="37"/>
                  <a:pt x="120" y="36"/>
                  <a:pt x="120" y="36"/>
                </a:cubicBezTo>
                <a:cubicBezTo>
                  <a:pt x="120" y="36"/>
                  <a:pt x="120" y="36"/>
                  <a:pt x="121" y="37"/>
                </a:cubicBezTo>
                <a:cubicBezTo>
                  <a:pt x="121" y="37"/>
                  <a:pt x="122" y="37"/>
                  <a:pt x="122" y="36"/>
                </a:cubicBezTo>
                <a:cubicBezTo>
                  <a:pt x="122" y="36"/>
                  <a:pt x="122" y="36"/>
                  <a:pt x="122" y="36"/>
                </a:cubicBezTo>
                <a:cubicBezTo>
                  <a:pt x="122" y="35"/>
                  <a:pt x="123" y="34"/>
                  <a:pt x="123" y="34"/>
                </a:cubicBezTo>
                <a:cubicBezTo>
                  <a:pt x="123" y="33"/>
                  <a:pt x="123" y="33"/>
                  <a:pt x="123" y="33"/>
                </a:cubicBezTo>
                <a:cubicBezTo>
                  <a:pt x="122" y="32"/>
                  <a:pt x="123" y="32"/>
                  <a:pt x="123" y="32"/>
                </a:cubicBezTo>
                <a:cubicBezTo>
                  <a:pt x="123" y="31"/>
                  <a:pt x="123" y="29"/>
                  <a:pt x="123" y="29"/>
                </a:cubicBezTo>
                <a:cubicBezTo>
                  <a:pt x="123" y="28"/>
                  <a:pt x="123" y="27"/>
                  <a:pt x="124" y="27"/>
                </a:cubicBezTo>
                <a:cubicBezTo>
                  <a:pt x="124" y="26"/>
                  <a:pt x="124" y="26"/>
                  <a:pt x="124" y="26"/>
                </a:cubicBezTo>
                <a:cubicBezTo>
                  <a:pt x="124" y="25"/>
                  <a:pt x="124" y="23"/>
                  <a:pt x="124" y="23"/>
                </a:cubicBezTo>
                <a:cubicBezTo>
                  <a:pt x="124" y="23"/>
                  <a:pt x="123" y="22"/>
                  <a:pt x="123" y="21"/>
                </a:cubicBezTo>
                <a:cubicBezTo>
                  <a:pt x="122" y="21"/>
                  <a:pt x="123" y="21"/>
                  <a:pt x="123" y="21"/>
                </a:cubicBezTo>
                <a:cubicBezTo>
                  <a:pt x="123" y="20"/>
                  <a:pt x="122" y="19"/>
                  <a:pt x="122" y="19"/>
                </a:cubicBezTo>
                <a:cubicBezTo>
                  <a:pt x="122" y="18"/>
                  <a:pt x="121" y="17"/>
                  <a:pt x="121" y="17"/>
                </a:cubicBezTo>
                <a:cubicBezTo>
                  <a:pt x="121" y="17"/>
                  <a:pt x="120" y="16"/>
                  <a:pt x="119" y="16"/>
                </a:cubicBezTo>
                <a:cubicBezTo>
                  <a:pt x="119" y="15"/>
                  <a:pt x="119" y="14"/>
                  <a:pt x="119" y="13"/>
                </a:cubicBezTo>
                <a:cubicBezTo>
                  <a:pt x="119" y="12"/>
                  <a:pt x="119" y="11"/>
                  <a:pt x="119" y="11"/>
                </a:cubicBezTo>
                <a:cubicBezTo>
                  <a:pt x="119" y="8"/>
                  <a:pt x="119" y="8"/>
                  <a:pt x="119" y="8"/>
                </a:cubicBezTo>
                <a:cubicBezTo>
                  <a:pt x="119" y="8"/>
                  <a:pt x="119" y="8"/>
                  <a:pt x="119" y="6"/>
                </a:cubicBezTo>
                <a:cubicBezTo>
                  <a:pt x="119" y="5"/>
                  <a:pt x="119" y="5"/>
                  <a:pt x="119" y="5"/>
                </a:cubicBezTo>
                <a:cubicBezTo>
                  <a:pt x="118" y="5"/>
                  <a:pt x="117" y="5"/>
                  <a:pt x="117" y="5"/>
                </a:cubicBezTo>
                <a:cubicBezTo>
                  <a:pt x="116" y="5"/>
                  <a:pt x="116" y="5"/>
                  <a:pt x="116" y="5"/>
                </a:cubicBezTo>
                <a:cubicBezTo>
                  <a:pt x="115" y="5"/>
                  <a:pt x="114" y="5"/>
                  <a:pt x="114" y="4"/>
                </a:cubicBezTo>
                <a:cubicBezTo>
                  <a:pt x="114" y="4"/>
                  <a:pt x="114" y="4"/>
                  <a:pt x="113" y="4"/>
                </a:cubicBezTo>
                <a:cubicBezTo>
                  <a:pt x="112" y="3"/>
                  <a:pt x="111" y="4"/>
                  <a:pt x="111" y="4"/>
                </a:cubicBezTo>
                <a:cubicBezTo>
                  <a:pt x="111" y="4"/>
                  <a:pt x="109" y="4"/>
                  <a:pt x="108" y="4"/>
                </a:cubicBezTo>
                <a:cubicBezTo>
                  <a:pt x="107" y="3"/>
                  <a:pt x="107" y="3"/>
                  <a:pt x="107" y="3"/>
                </a:cubicBezTo>
                <a:cubicBezTo>
                  <a:pt x="107" y="3"/>
                  <a:pt x="107" y="2"/>
                  <a:pt x="106" y="2"/>
                </a:cubicBezTo>
                <a:cubicBezTo>
                  <a:pt x="105" y="2"/>
                  <a:pt x="105" y="3"/>
                  <a:pt x="104" y="3"/>
                </a:cubicBezTo>
                <a:cubicBezTo>
                  <a:pt x="104" y="3"/>
                  <a:pt x="104" y="2"/>
                  <a:pt x="103" y="2"/>
                </a:cubicBezTo>
                <a:cubicBezTo>
                  <a:pt x="102" y="2"/>
                  <a:pt x="102" y="1"/>
                  <a:pt x="102" y="1"/>
                </a:cubicBezTo>
                <a:cubicBezTo>
                  <a:pt x="101" y="0"/>
                  <a:pt x="101" y="0"/>
                  <a:pt x="101" y="0"/>
                </a:cubicBezTo>
                <a:cubicBezTo>
                  <a:pt x="101" y="0"/>
                  <a:pt x="101" y="0"/>
                  <a:pt x="100" y="0"/>
                </a:cubicBezTo>
                <a:cubicBezTo>
                  <a:pt x="100" y="0"/>
                  <a:pt x="100" y="0"/>
                  <a:pt x="99" y="1"/>
                </a:cubicBezTo>
                <a:cubicBezTo>
                  <a:pt x="99" y="2"/>
                  <a:pt x="98" y="3"/>
                  <a:pt x="98" y="3"/>
                </a:cubicBezTo>
                <a:cubicBezTo>
                  <a:pt x="98" y="3"/>
                  <a:pt x="97" y="4"/>
                  <a:pt x="96" y="4"/>
                </a:cubicBezTo>
                <a:cubicBezTo>
                  <a:pt x="96" y="4"/>
                  <a:pt x="95" y="5"/>
                  <a:pt x="95" y="5"/>
                </a:cubicBezTo>
                <a:cubicBezTo>
                  <a:pt x="95" y="5"/>
                  <a:pt x="93" y="6"/>
                  <a:pt x="93" y="6"/>
                </a:cubicBezTo>
                <a:cubicBezTo>
                  <a:pt x="93" y="7"/>
                  <a:pt x="92" y="8"/>
                  <a:pt x="92" y="8"/>
                </a:cubicBezTo>
                <a:cubicBezTo>
                  <a:pt x="92" y="8"/>
                  <a:pt x="91" y="9"/>
                  <a:pt x="91" y="10"/>
                </a:cubicBezTo>
                <a:cubicBezTo>
                  <a:pt x="91" y="11"/>
                  <a:pt x="90" y="11"/>
                  <a:pt x="90" y="11"/>
                </a:cubicBezTo>
                <a:cubicBezTo>
                  <a:pt x="89" y="11"/>
                  <a:pt x="88" y="11"/>
                  <a:pt x="88" y="12"/>
                </a:cubicBezTo>
                <a:cubicBezTo>
                  <a:pt x="87" y="12"/>
                  <a:pt x="87" y="12"/>
                  <a:pt x="87" y="12"/>
                </a:cubicBezTo>
                <a:cubicBezTo>
                  <a:pt x="87" y="13"/>
                  <a:pt x="86" y="14"/>
                  <a:pt x="86" y="15"/>
                </a:cubicBezTo>
                <a:cubicBezTo>
                  <a:pt x="86" y="15"/>
                  <a:pt x="85" y="15"/>
                  <a:pt x="85" y="16"/>
                </a:cubicBezTo>
                <a:cubicBezTo>
                  <a:pt x="83" y="19"/>
                  <a:pt x="83" y="19"/>
                  <a:pt x="83" y="19"/>
                </a:cubicBezTo>
                <a:cubicBezTo>
                  <a:pt x="83" y="19"/>
                  <a:pt x="82" y="21"/>
                  <a:pt x="82" y="21"/>
                </a:cubicBezTo>
                <a:cubicBezTo>
                  <a:pt x="82" y="21"/>
                  <a:pt x="81" y="24"/>
                  <a:pt x="80" y="24"/>
                </a:cubicBezTo>
                <a:cubicBezTo>
                  <a:pt x="79" y="24"/>
                  <a:pt x="79" y="26"/>
                  <a:pt x="79" y="26"/>
                </a:cubicBezTo>
                <a:cubicBezTo>
                  <a:pt x="78" y="26"/>
                  <a:pt x="78" y="26"/>
                  <a:pt x="78" y="26"/>
                </a:cubicBezTo>
                <a:cubicBezTo>
                  <a:pt x="77" y="27"/>
                  <a:pt x="78" y="29"/>
                  <a:pt x="78" y="29"/>
                </a:cubicBezTo>
                <a:cubicBezTo>
                  <a:pt x="77" y="29"/>
                  <a:pt x="76" y="32"/>
                  <a:pt x="76" y="32"/>
                </a:cubicBezTo>
                <a:cubicBezTo>
                  <a:pt x="76" y="32"/>
                  <a:pt x="76" y="33"/>
                  <a:pt x="76" y="33"/>
                </a:cubicBezTo>
                <a:cubicBezTo>
                  <a:pt x="76" y="33"/>
                  <a:pt x="75" y="34"/>
                  <a:pt x="74" y="34"/>
                </a:cubicBezTo>
                <a:cubicBezTo>
                  <a:pt x="73" y="34"/>
                  <a:pt x="73" y="34"/>
                  <a:pt x="72" y="34"/>
                </a:cubicBezTo>
                <a:cubicBezTo>
                  <a:pt x="72" y="34"/>
                  <a:pt x="71" y="34"/>
                  <a:pt x="70" y="34"/>
                </a:cubicBezTo>
                <a:cubicBezTo>
                  <a:pt x="70" y="34"/>
                  <a:pt x="68" y="35"/>
                  <a:pt x="68" y="36"/>
                </a:cubicBezTo>
                <a:cubicBezTo>
                  <a:pt x="68" y="36"/>
                  <a:pt x="67" y="36"/>
                  <a:pt x="66" y="37"/>
                </a:cubicBezTo>
                <a:cubicBezTo>
                  <a:pt x="66" y="37"/>
                  <a:pt x="65" y="36"/>
                  <a:pt x="64" y="36"/>
                </a:cubicBezTo>
                <a:cubicBezTo>
                  <a:pt x="63" y="36"/>
                  <a:pt x="62" y="35"/>
                  <a:pt x="62" y="35"/>
                </a:cubicBezTo>
                <a:cubicBezTo>
                  <a:pt x="61" y="33"/>
                  <a:pt x="61" y="33"/>
                  <a:pt x="61" y="33"/>
                </a:cubicBezTo>
                <a:cubicBezTo>
                  <a:pt x="61" y="33"/>
                  <a:pt x="59" y="31"/>
                  <a:pt x="59" y="30"/>
                </a:cubicBezTo>
                <a:cubicBezTo>
                  <a:pt x="58" y="30"/>
                  <a:pt x="58" y="30"/>
                  <a:pt x="56" y="30"/>
                </a:cubicBezTo>
                <a:cubicBezTo>
                  <a:pt x="56" y="30"/>
                  <a:pt x="55" y="31"/>
                  <a:pt x="55" y="31"/>
                </a:cubicBezTo>
                <a:cubicBezTo>
                  <a:pt x="54" y="32"/>
                  <a:pt x="53" y="32"/>
                  <a:pt x="53" y="33"/>
                </a:cubicBezTo>
                <a:cubicBezTo>
                  <a:pt x="52" y="35"/>
                  <a:pt x="52" y="35"/>
                  <a:pt x="52" y="35"/>
                </a:cubicBezTo>
                <a:cubicBezTo>
                  <a:pt x="52" y="36"/>
                  <a:pt x="52" y="38"/>
                  <a:pt x="52" y="38"/>
                </a:cubicBezTo>
                <a:cubicBezTo>
                  <a:pt x="52" y="39"/>
                  <a:pt x="52" y="40"/>
                  <a:pt x="52" y="40"/>
                </a:cubicBezTo>
                <a:cubicBezTo>
                  <a:pt x="52" y="40"/>
                  <a:pt x="51" y="41"/>
                  <a:pt x="51" y="41"/>
                </a:cubicBezTo>
                <a:cubicBezTo>
                  <a:pt x="51" y="42"/>
                  <a:pt x="50" y="42"/>
                  <a:pt x="50" y="42"/>
                </a:cubicBezTo>
                <a:cubicBezTo>
                  <a:pt x="50" y="43"/>
                  <a:pt x="49" y="43"/>
                  <a:pt x="48" y="43"/>
                </a:cubicBezTo>
                <a:cubicBezTo>
                  <a:pt x="47" y="43"/>
                  <a:pt x="47" y="43"/>
                  <a:pt x="47" y="43"/>
                </a:cubicBezTo>
                <a:cubicBezTo>
                  <a:pt x="46" y="43"/>
                  <a:pt x="46" y="43"/>
                  <a:pt x="45" y="43"/>
                </a:cubicBezTo>
                <a:cubicBezTo>
                  <a:pt x="45" y="44"/>
                  <a:pt x="44" y="44"/>
                  <a:pt x="44" y="45"/>
                </a:cubicBezTo>
                <a:cubicBezTo>
                  <a:pt x="44" y="45"/>
                  <a:pt x="43" y="46"/>
                  <a:pt x="42" y="46"/>
                </a:cubicBezTo>
                <a:cubicBezTo>
                  <a:pt x="41" y="46"/>
                  <a:pt x="39" y="46"/>
                  <a:pt x="38" y="45"/>
                </a:cubicBezTo>
                <a:cubicBezTo>
                  <a:pt x="37" y="45"/>
                  <a:pt x="36" y="43"/>
                  <a:pt x="36" y="43"/>
                </a:cubicBezTo>
                <a:cubicBezTo>
                  <a:pt x="36" y="42"/>
                  <a:pt x="36" y="41"/>
                  <a:pt x="36" y="41"/>
                </a:cubicBezTo>
                <a:cubicBezTo>
                  <a:pt x="36" y="41"/>
                  <a:pt x="36" y="41"/>
                  <a:pt x="36" y="40"/>
                </a:cubicBezTo>
                <a:cubicBezTo>
                  <a:pt x="35" y="39"/>
                  <a:pt x="35" y="39"/>
                  <a:pt x="35" y="39"/>
                </a:cubicBezTo>
                <a:cubicBezTo>
                  <a:pt x="35" y="39"/>
                  <a:pt x="35" y="37"/>
                  <a:pt x="35" y="37"/>
                </a:cubicBezTo>
                <a:cubicBezTo>
                  <a:pt x="35" y="37"/>
                  <a:pt x="35" y="36"/>
                  <a:pt x="35" y="36"/>
                </a:cubicBezTo>
                <a:cubicBezTo>
                  <a:pt x="35" y="36"/>
                  <a:pt x="35" y="36"/>
                  <a:pt x="33" y="33"/>
                </a:cubicBezTo>
                <a:cubicBezTo>
                  <a:pt x="33" y="33"/>
                  <a:pt x="33" y="33"/>
                  <a:pt x="33" y="30"/>
                </a:cubicBezTo>
                <a:cubicBezTo>
                  <a:pt x="33" y="30"/>
                  <a:pt x="33" y="30"/>
                  <a:pt x="33" y="29"/>
                </a:cubicBezTo>
                <a:cubicBezTo>
                  <a:pt x="32" y="27"/>
                  <a:pt x="32" y="27"/>
                  <a:pt x="32" y="27"/>
                </a:cubicBezTo>
                <a:cubicBezTo>
                  <a:pt x="32" y="27"/>
                  <a:pt x="30" y="27"/>
                  <a:pt x="30" y="27"/>
                </a:cubicBezTo>
                <a:cubicBezTo>
                  <a:pt x="30" y="27"/>
                  <a:pt x="29" y="27"/>
                  <a:pt x="29" y="27"/>
                </a:cubicBezTo>
                <a:cubicBezTo>
                  <a:pt x="29" y="27"/>
                  <a:pt x="29" y="27"/>
                  <a:pt x="29" y="30"/>
                </a:cubicBezTo>
                <a:cubicBezTo>
                  <a:pt x="29" y="36"/>
                  <a:pt x="29" y="36"/>
                  <a:pt x="29" y="36"/>
                </a:cubicBezTo>
                <a:cubicBezTo>
                  <a:pt x="29" y="37"/>
                  <a:pt x="29" y="41"/>
                  <a:pt x="29" y="42"/>
                </a:cubicBezTo>
                <a:cubicBezTo>
                  <a:pt x="29" y="42"/>
                  <a:pt x="29" y="44"/>
                  <a:pt x="29" y="45"/>
                </a:cubicBezTo>
                <a:cubicBezTo>
                  <a:pt x="29" y="48"/>
                  <a:pt x="29" y="48"/>
                  <a:pt x="29" y="48"/>
                </a:cubicBezTo>
                <a:cubicBezTo>
                  <a:pt x="29" y="48"/>
                  <a:pt x="29" y="52"/>
                  <a:pt x="29" y="53"/>
                </a:cubicBezTo>
                <a:cubicBezTo>
                  <a:pt x="29" y="54"/>
                  <a:pt x="29" y="55"/>
                  <a:pt x="29" y="56"/>
                </a:cubicBezTo>
                <a:cubicBezTo>
                  <a:pt x="29" y="57"/>
                  <a:pt x="29" y="58"/>
                  <a:pt x="29" y="58"/>
                </a:cubicBezTo>
                <a:cubicBezTo>
                  <a:pt x="29" y="59"/>
                  <a:pt x="29" y="60"/>
                  <a:pt x="29" y="61"/>
                </a:cubicBezTo>
                <a:cubicBezTo>
                  <a:pt x="29" y="61"/>
                  <a:pt x="29" y="63"/>
                  <a:pt x="29" y="63"/>
                </a:cubicBezTo>
                <a:cubicBezTo>
                  <a:pt x="29" y="64"/>
                  <a:pt x="28" y="64"/>
                  <a:pt x="28" y="64"/>
                </a:cubicBezTo>
                <a:cubicBezTo>
                  <a:pt x="27" y="65"/>
                  <a:pt x="26" y="66"/>
                  <a:pt x="26" y="66"/>
                </a:cubicBezTo>
                <a:cubicBezTo>
                  <a:pt x="26" y="67"/>
                  <a:pt x="25" y="67"/>
                  <a:pt x="25" y="68"/>
                </a:cubicBezTo>
                <a:cubicBezTo>
                  <a:pt x="24" y="68"/>
                  <a:pt x="23" y="68"/>
                  <a:pt x="23" y="69"/>
                </a:cubicBezTo>
                <a:cubicBezTo>
                  <a:pt x="22" y="69"/>
                  <a:pt x="21" y="69"/>
                  <a:pt x="20" y="69"/>
                </a:cubicBezTo>
                <a:cubicBezTo>
                  <a:pt x="20" y="69"/>
                  <a:pt x="18" y="69"/>
                  <a:pt x="18" y="68"/>
                </a:cubicBezTo>
                <a:cubicBezTo>
                  <a:pt x="17" y="68"/>
                  <a:pt x="17" y="68"/>
                  <a:pt x="16" y="67"/>
                </a:cubicBezTo>
                <a:cubicBezTo>
                  <a:pt x="15" y="67"/>
                  <a:pt x="14" y="67"/>
                  <a:pt x="13" y="67"/>
                </a:cubicBezTo>
                <a:cubicBezTo>
                  <a:pt x="13" y="67"/>
                  <a:pt x="12" y="67"/>
                  <a:pt x="12" y="66"/>
                </a:cubicBezTo>
                <a:cubicBezTo>
                  <a:pt x="12" y="66"/>
                  <a:pt x="12" y="66"/>
                  <a:pt x="11" y="65"/>
                </a:cubicBezTo>
                <a:cubicBezTo>
                  <a:pt x="11" y="64"/>
                  <a:pt x="10" y="64"/>
                  <a:pt x="10" y="64"/>
                </a:cubicBezTo>
                <a:cubicBezTo>
                  <a:pt x="10" y="63"/>
                  <a:pt x="10" y="63"/>
                  <a:pt x="10" y="63"/>
                </a:cubicBezTo>
                <a:cubicBezTo>
                  <a:pt x="10" y="63"/>
                  <a:pt x="10" y="61"/>
                  <a:pt x="9" y="61"/>
                </a:cubicBezTo>
                <a:cubicBezTo>
                  <a:pt x="8" y="60"/>
                  <a:pt x="7" y="60"/>
                  <a:pt x="7" y="60"/>
                </a:cubicBezTo>
                <a:cubicBezTo>
                  <a:pt x="6" y="60"/>
                  <a:pt x="6" y="60"/>
                  <a:pt x="6" y="61"/>
                </a:cubicBezTo>
                <a:cubicBezTo>
                  <a:pt x="6" y="61"/>
                  <a:pt x="6" y="62"/>
                  <a:pt x="6" y="62"/>
                </a:cubicBezTo>
                <a:cubicBezTo>
                  <a:pt x="6" y="63"/>
                  <a:pt x="6" y="63"/>
                  <a:pt x="5" y="63"/>
                </a:cubicBezTo>
                <a:cubicBezTo>
                  <a:pt x="5" y="64"/>
                  <a:pt x="5" y="64"/>
                  <a:pt x="5" y="64"/>
                </a:cubicBezTo>
                <a:cubicBezTo>
                  <a:pt x="4" y="64"/>
                  <a:pt x="4" y="64"/>
                  <a:pt x="4" y="64"/>
                </a:cubicBezTo>
                <a:cubicBezTo>
                  <a:pt x="3" y="64"/>
                  <a:pt x="2" y="65"/>
                  <a:pt x="2" y="65"/>
                </a:cubicBezTo>
                <a:cubicBezTo>
                  <a:pt x="1" y="65"/>
                  <a:pt x="0" y="64"/>
                  <a:pt x="0" y="66"/>
                </a:cubicBezTo>
                <a:cubicBezTo>
                  <a:pt x="1" y="66"/>
                  <a:pt x="1" y="67"/>
                  <a:pt x="1" y="68"/>
                </a:cubicBezTo>
                <a:cubicBezTo>
                  <a:pt x="3" y="70"/>
                  <a:pt x="3" y="71"/>
                  <a:pt x="4" y="72"/>
                </a:cubicBezTo>
                <a:cubicBezTo>
                  <a:pt x="4" y="73"/>
                  <a:pt x="4" y="73"/>
                  <a:pt x="4" y="75"/>
                </a:cubicBezTo>
                <a:cubicBezTo>
                  <a:pt x="4" y="76"/>
                  <a:pt x="5" y="78"/>
                  <a:pt x="6" y="79"/>
                </a:cubicBezTo>
                <a:cubicBezTo>
                  <a:pt x="6" y="81"/>
                  <a:pt x="7" y="81"/>
                  <a:pt x="7" y="82"/>
                </a:cubicBezTo>
                <a:cubicBezTo>
                  <a:pt x="7" y="83"/>
                  <a:pt x="7" y="84"/>
                  <a:pt x="8" y="85"/>
                </a:cubicBezTo>
                <a:cubicBezTo>
                  <a:pt x="9" y="87"/>
                  <a:pt x="9" y="88"/>
                  <a:pt x="10" y="89"/>
                </a:cubicBezTo>
                <a:cubicBezTo>
                  <a:pt x="10" y="90"/>
                  <a:pt x="10" y="92"/>
                  <a:pt x="11" y="93"/>
                </a:cubicBezTo>
                <a:cubicBezTo>
                  <a:pt x="12" y="94"/>
                  <a:pt x="13" y="96"/>
                  <a:pt x="13" y="97"/>
                </a:cubicBezTo>
                <a:cubicBezTo>
                  <a:pt x="13" y="98"/>
                  <a:pt x="13" y="101"/>
                  <a:pt x="13" y="103"/>
                </a:cubicBezTo>
                <a:cubicBezTo>
                  <a:pt x="13" y="104"/>
                  <a:pt x="13" y="104"/>
                  <a:pt x="13" y="106"/>
                </a:cubicBezTo>
                <a:cubicBezTo>
                  <a:pt x="12" y="107"/>
                  <a:pt x="11" y="107"/>
                  <a:pt x="10" y="106"/>
                </a:cubicBezTo>
                <a:cubicBezTo>
                  <a:pt x="10" y="106"/>
                  <a:pt x="10" y="106"/>
                  <a:pt x="10" y="106"/>
                </a:cubicBezTo>
                <a:cubicBezTo>
                  <a:pt x="10" y="107"/>
                  <a:pt x="9" y="108"/>
                  <a:pt x="10" y="109"/>
                </a:cubicBezTo>
                <a:cubicBezTo>
                  <a:pt x="10" y="109"/>
                  <a:pt x="11" y="110"/>
                  <a:pt x="10" y="110"/>
                </a:cubicBezTo>
                <a:cubicBezTo>
                  <a:pt x="10" y="111"/>
                  <a:pt x="11" y="112"/>
                  <a:pt x="12" y="112"/>
                </a:cubicBezTo>
                <a:cubicBezTo>
                  <a:pt x="12" y="113"/>
                  <a:pt x="13" y="114"/>
                  <a:pt x="14" y="115"/>
                </a:cubicBezTo>
                <a:cubicBezTo>
                  <a:pt x="14" y="116"/>
                  <a:pt x="13" y="118"/>
                  <a:pt x="12" y="118"/>
                </a:cubicBezTo>
                <a:cubicBezTo>
                  <a:pt x="12" y="119"/>
                  <a:pt x="12" y="120"/>
                  <a:pt x="13" y="121"/>
                </a:cubicBezTo>
                <a:cubicBezTo>
                  <a:pt x="13" y="122"/>
                  <a:pt x="15" y="121"/>
                  <a:pt x="15" y="120"/>
                </a:cubicBezTo>
                <a:cubicBezTo>
                  <a:pt x="15" y="119"/>
                  <a:pt x="15" y="119"/>
                  <a:pt x="15" y="119"/>
                </a:cubicBezTo>
                <a:cubicBezTo>
                  <a:pt x="16" y="121"/>
                  <a:pt x="15" y="122"/>
                  <a:pt x="16" y="122"/>
                </a:cubicBezTo>
                <a:cubicBezTo>
                  <a:pt x="17" y="122"/>
                  <a:pt x="18" y="122"/>
                  <a:pt x="18" y="122"/>
                </a:cubicBezTo>
                <a:cubicBezTo>
                  <a:pt x="19" y="122"/>
                  <a:pt x="20" y="124"/>
                  <a:pt x="20" y="123"/>
                </a:cubicBezTo>
                <a:cubicBezTo>
                  <a:pt x="21" y="122"/>
                  <a:pt x="21" y="122"/>
                  <a:pt x="21" y="124"/>
                </a:cubicBezTo>
                <a:cubicBezTo>
                  <a:pt x="21" y="125"/>
                  <a:pt x="22" y="125"/>
                  <a:pt x="23" y="126"/>
                </a:cubicBezTo>
                <a:cubicBezTo>
                  <a:pt x="23" y="127"/>
                  <a:pt x="26" y="127"/>
                  <a:pt x="26" y="128"/>
                </a:cubicBezTo>
                <a:cubicBezTo>
                  <a:pt x="27" y="128"/>
                  <a:pt x="27" y="127"/>
                  <a:pt x="27" y="127"/>
                </a:cubicBezTo>
                <a:cubicBezTo>
                  <a:pt x="27" y="126"/>
                  <a:pt x="29" y="125"/>
                  <a:pt x="29" y="125"/>
                </a:cubicBezTo>
                <a:cubicBezTo>
                  <a:pt x="30" y="125"/>
                  <a:pt x="32" y="124"/>
                  <a:pt x="32" y="124"/>
                </a:cubicBezTo>
                <a:cubicBezTo>
                  <a:pt x="32" y="124"/>
                  <a:pt x="33" y="123"/>
                  <a:pt x="35" y="123"/>
                </a:cubicBezTo>
                <a:cubicBezTo>
                  <a:pt x="36" y="123"/>
                  <a:pt x="38" y="123"/>
                  <a:pt x="40" y="122"/>
                </a:cubicBezTo>
                <a:cubicBezTo>
                  <a:pt x="42" y="122"/>
                  <a:pt x="43" y="122"/>
                  <a:pt x="44" y="121"/>
                </a:cubicBezTo>
                <a:cubicBezTo>
                  <a:pt x="44" y="120"/>
                  <a:pt x="46" y="119"/>
                  <a:pt x="47" y="119"/>
                </a:cubicBezTo>
                <a:cubicBezTo>
                  <a:pt x="49" y="119"/>
                  <a:pt x="50" y="119"/>
                  <a:pt x="51" y="120"/>
                </a:cubicBezTo>
                <a:cubicBezTo>
                  <a:pt x="52" y="120"/>
                  <a:pt x="54" y="120"/>
                  <a:pt x="55" y="119"/>
                </a:cubicBezTo>
                <a:cubicBezTo>
                  <a:pt x="56" y="119"/>
                  <a:pt x="58" y="119"/>
                  <a:pt x="58" y="119"/>
                </a:cubicBezTo>
                <a:cubicBezTo>
                  <a:pt x="59" y="119"/>
                  <a:pt x="59" y="120"/>
                  <a:pt x="59" y="121"/>
                </a:cubicBezTo>
                <a:cubicBezTo>
                  <a:pt x="59" y="121"/>
                  <a:pt x="61" y="121"/>
                  <a:pt x="61" y="121"/>
                </a:cubicBezTo>
                <a:cubicBezTo>
                  <a:pt x="62" y="121"/>
                  <a:pt x="63" y="121"/>
                  <a:pt x="64" y="121"/>
                </a:cubicBezTo>
                <a:cubicBezTo>
                  <a:pt x="64" y="121"/>
                  <a:pt x="65" y="121"/>
                  <a:pt x="65" y="121"/>
                </a:cubicBezTo>
                <a:cubicBezTo>
                  <a:pt x="65" y="120"/>
                  <a:pt x="65" y="119"/>
                  <a:pt x="67" y="119"/>
                </a:cubicBezTo>
                <a:cubicBezTo>
                  <a:pt x="67" y="118"/>
                  <a:pt x="69" y="118"/>
                  <a:pt x="70" y="119"/>
                </a:cubicBezTo>
                <a:cubicBezTo>
                  <a:pt x="70" y="119"/>
                  <a:pt x="71" y="119"/>
                  <a:pt x="72" y="119"/>
                </a:cubicBezTo>
                <a:cubicBezTo>
                  <a:pt x="73" y="118"/>
                  <a:pt x="72" y="117"/>
                  <a:pt x="72" y="116"/>
                </a:cubicBezTo>
                <a:cubicBezTo>
                  <a:pt x="73" y="115"/>
                  <a:pt x="74" y="115"/>
                  <a:pt x="75" y="115"/>
                </a:cubicBezTo>
                <a:cubicBezTo>
                  <a:pt x="76" y="115"/>
                  <a:pt x="77" y="116"/>
                  <a:pt x="78" y="115"/>
                </a:cubicBezTo>
                <a:cubicBezTo>
                  <a:pt x="79" y="115"/>
                  <a:pt x="81" y="114"/>
                  <a:pt x="82" y="113"/>
                </a:cubicBezTo>
                <a:cubicBezTo>
                  <a:pt x="84" y="113"/>
                  <a:pt x="85" y="112"/>
                  <a:pt x="87" y="111"/>
                </a:cubicBezTo>
                <a:cubicBezTo>
                  <a:pt x="87" y="110"/>
                  <a:pt x="88" y="109"/>
                  <a:pt x="90" y="109"/>
                </a:cubicBezTo>
                <a:cubicBezTo>
                  <a:pt x="90" y="109"/>
                  <a:pt x="90" y="108"/>
                  <a:pt x="91" y="107"/>
                </a:cubicBezTo>
                <a:cubicBezTo>
                  <a:pt x="92" y="106"/>
                  <a:pt x="95" y="105"/>
                  <a:pt x="95" y="104"/>
                </a:cubicBezTo>
                <a:cubicBezTo>
                  <a:pt x="96" y="103"/>
                  <a:pt x="100" y="98"/>
                  <a:pt x="101" y="97"/>
                </a:cubicBezTo>
                <a:cubicBezTo>
                  <a:pt x="102" y="96"/>
                  <a:pt x="104" y="92"/>
                  <a:pt x="105" y="91"/>
                </a:cubicBezTo>
                <a:cubicBezTo>
                  <a:pt x="106" y="90"/>
                  <a:pt x="108" y="88"/>
                  <a:pt x="108" y="88"/>
                </a:cubicBezTo>
                <a:cubicBezTo>
                  <a:pt x="109" y="88"/>
                  <a:pt x="111" y="84"/>
                  <a:pt x="113" y="82"/>
                </a:cubicBezTo>
                <a:cubicBezTo>
                  <a:pt x="113" y="81"/>
                  <a:pt x="114" y="79"/>
                  <a:pt x="115" y="78"/>
                </a:cubicBezTo>
                <a:cubicBezTo>
                  <a:pt x="115" y="76"/>
                  <a:pt x="116" y="74"/>
                  <a:pt x="117" y="73"/>
                </a:cubicBezTo>
                <a:cubicBezTo>
                  <a:pt x="118" y="72"/>
                  <a:pt x="119" y="70"/>
                  <a:pt x="121" y="69"/>
                </a:cubicBezTo>
                <a:cubicBezTo>
                  <a:pt x="122" y="67"/>
                  <a:pt x="125" y="64"/>
                  <a:pt x="127" y="62"/>
                </a:cubicBezTo>
                <a:cubicBezTo>
                  <a:pt x="127" y="61"/>
                  <a:pt x="128" y="60"/>
                  <a:pt x="128" y="58"/>
                </a:cubicBezTo>
                <a:cubicBezTo>
                  <a:pt x="128" y="57"/>
                  <a:pt x="128" y="54"/>
                  <a:pt x="129" y="53"/>
                </a:cubicBezTo>
                <a:cubicBezTo>
                  <a:pt x="129" y="52"/>
                  <a:pt x="130" y="48"/>
                  <a:pt x="130" y="46"/>
                </a:cubicBezTo>
                <a:cubicBezTo>
                  <a:pt x="130" y="46"/>
                  <a:pt x="130" y="44"/>
                  <a:pt x="131" y="42"/>
                </a:cubicBezTo>
                <a:lnTo>
                  <a:pt x="130" y="42"/>
                </a:lnTo>
                <a:close/>
                <a:moveTo>
                  <a:pt x="98" y="77"/>
                </a:moveTo>
                <a:cubicBezTo>
                  <a:pt x="98" y="79"/>
                  <a:pt x="96" y="79"/>
                  <a:pt x="95" y="80"/>
                </a:cubicBezTo>
                <a:cubicBezTo>
                  <a:pt x="93" y="80"/>
                  <a:pt x="92" y="82"/>
                  <a:pt x="91" y="82"/>
                </a:cubicBezTo>
                <a:cubicBezTo>
                  <a:pt x="91" y="82"/>
                  <a:pt x="91" y="82"/>
                  <a:pt x="91" y="83"/>
                </a:cubicBezTo>
                <a:cubicBezTo>
                  <a:pt x="90" y="83"/>
                  <a:pt x="87" y="82"/>
                  <a:pt x="87" y="82"/>
                </a:cubicBezTo>
                <a:cubicBezTo>
                  <a:pt x="86" y="81"/>
                  <a:pt x="85" y="79"/>
                  <a:pt x="84" y="77"/>
                </a:cubicBezTo>
                <a:cubicBezTo>
                  <a:pt x="83" y="75"/>
                  <a:pt x="82" y="76"/>
                  <a:pt x="82" y="74"/>
                </a:cubicBezTo>
                <a:cubicBezTo>
                  <a:pt x="81" y="72"/>
                  <a:pt x="82" y="72"/>
                  <a:pt x="82" y="72"/>
                </a:cubicBezTo>
                <a:cubicBezTo>
                  <a:pt x="82" y="72"/>
                  <a:pt x="85" y="71"/>
                  <a:pt x="87" y="70"/>
                </a:cubicBezTo>
                <a:cubicBezTo>
                  <a:pt x="88" y="69"/>
                  <a:pt x="90" y="68"/>
                  <a:pt x="90" y="68"/>
                </a:cubicBezTo>
                <a:cubicBezTo>
                  <a:pt x="90" y="68"/>
                  <a:pt x="90" y="67"/>
                  <a:pt x="91" y="67"/>
                </a:cubicBezTo>
                <a:cubicBezTo>
                  <a:pt x="92" y="66"/>
                  <a:pt x="93" y="65"/>
                  <a:pt x="95" y="66"/>
                </a:cubicBezTo>
                <a:cubicBezTo>
                  <a:pt x="96" y="66"/>
                  <a:pt x="98" y="67"/>
                  <a:pt x="99" y="69"/>
                </a:cubicBezTo>
                <a:cubicBezTo>
                  <a:pt x="101" y="70"/>
                  <a:pt x="101" y="72"/>
                  <a:pt x="101" y="73"/>
                </a:cubicBezTo>
                <a:cubicBezTo>
                  <a:pt x="100" y="74"/>
                  <a:pt x="99" y="75"/>
                  <a:pt x="98" y="77"/>
                </a:cubicBezTo>
                <a:close/>
              </a:path>
            </a:pathLst>
          </a:custGeom>
          <a:solidFill>
            <a:schemeClr val="accent1">
              <a:lumMod val="60000"/>
              <a:lumOff val="40000"/>
            </a:schemeClr>
          </a:solidFill>
          <a:ln w="11113" cap="flat">
            <a:solidFill>
              <a:schemeClr val="bg2">
                <a:lumMod val="20000"/>
                <a:lumOff val="8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464646"/>
              </a:solidFill>
              <a:effectLst/>
              <a:uLnTx/>
              <a:uFillTx/>
              <a:latin typeface="Arial"/>
              <a:ea typeface="+mn-ea"/>
              <a:cs typeface="+mn-cs"/>
            </a:endParaRPr>
          </a:p>
        </p:txBody>
      </p:sp>
      <p:sp>
        <p:nvSpPr>
          <p:cNvPr id="5" name="Panama"/>
          <p:cNvSpPr>
            <a:spLocks/>
          </p:cNvSpPr>
          <p:nvPr/>
        </p:nvSpPr>
        <p:spPr bwMode="auto">
          <a:xfrm>
            <a:off x="3957082" y="3758611"/>
            <a:ext cx="143721" cy="84915"/>
          </a:xfrm>
          <a:custGeom>
            <a:avLst/>
            <a:gdLst>
              <a:gd name="connsiteX0" fmla="*/ 33338 w 139700"/>
              <a:gd name="connsiteY0" fmla="*/ 69839 h 82539"/>
              <a:gd name="connsiteX1" fmla="*/ 35719 w 139700"/>
              <a:gd name="connsiteY1" fmla="*/ 71956 h 82539"/>
              <a:gd name="connsiteX2" fmla="*/ 38100 w 139700"/>
              <a:gd name="connsiteY2" fmla="*/ 76189 h 82539"/>
              <a:gd name="connsiteX3" fmla="*/ 35719 w 139700"/>
              <a:gd name="connsiteY3" fmla="*/ 80423 h 82539"/>
              <a:gd name="connsiteX4" fmla="*/ 33338 w 139700"/>
              <a:gd name="connsiteY4" fmla="*/ 82539 h 82539"/>
              <a:gd name="connsiteX5" fmla="*/ 28575 w 139700"/>
              <a:gd name="connsiteY5" fmla="*/ 80423 h 82539"/>
              <a:gd name="connsiteX6" fmla="*/ 33338 w 139700"/>
              <a:gd name="connsiteY6" fmla="*/ 69839 h 82539"/>
              <a:gd name="connsiteX7" fmla="*/ 106760 w 139700"/>
              <a:gd name="connsiteY7" fmla="*/ 34914 h 82539"/>
              <a:gd name="connsiteX8" fmla="*/ 112713 w 139700"/>
              <a:gd name="connsiteY8" fmla="*/ 36955 h 82539"/>
              <a:gd name="connsiteX9" fmla="*/ 110729 w 139700"/>
              <a:gd name="connsiteY9" fmla="*/ 45119 h 82539"/>
              <a:gd name="connsiteX10" fmla="*/ 108744 w 139700"/>
              <a:gd name="connsiteY10" fmla="*/ 49201 h 82539"/>
              <a:gd name="connsiteX11" fmla="*/ 104775 w 139700"/>
              <a:gd name="connsiteY11" fmla="*/ 43078 h 82539"/>
              <a:gd name="connsiteX12" fmla="*/ 106760 w 139700"/>
              <a:gd name="connsiteY12" fmla="*/ 34914 h 82539"/>
              <a:gd name="connsiteX13" fmla="*/ 5987 w 139700"/>
              <a:gd name="connsiteY13" fmla="*/ 404 h 82539"/>
              <a:gd name="connsiteX14" fmla="*/ 7983 w 139700"/>
              <a:gd name="connsiteY14" fmla="*/ 2408 h 82539"/>
              <a:gd name="connsiteX15" fmla="*/ 7983 w 139700"/>
              <a:gd name="connsiteY15" fmla="*/ 4411 h 82539"/>
              <a:gd name="connsiteX16" fmla="*/ 11974 w 139700"/>
              <a:gd name="connsiteY16" fmla="*/ 6414 h 82539"/>
              <a:gd name="connsiteX17" fmla="*/ 19957 w 139700"/>
              <a:gd name="connsiteY17" fmla="*/ 10421 h 82539"/>
              <a:gd name="connsiteX18" fmla="*/ 21953 w 139700"/>
              <a:gd name="connsiteY18" fmla="*/ 10421 h 82539"/>
              <a:gd name="connsiteX19" fmla="*/ 25944 w 139700"/>
              <a:gd name="connsiteY19" fmla="*/ 10421 h 82539"/>
              <a:gd name="connsiteX20" fmla="*/ 25944 w 139700"/>
              <a:gd name="connsiteY20" fmla="*/ 12424 h 82539"/>
              <a:gd name="connsiteX21" fmla="*/ 25944 w 139700"/>
              <a:gd name="connsiteY21" fmla="*/ 18434 h 82539"/>
              <a:gd name="connsiteX22" fmla="*/ 21953 w 139700"/>
              <a:gd name="connsiteY22" fmla="*/ 18434 h 82539"/>
              <a:gd name="connsiteX23" fmla="*/ 25944 w 139700"/>
              <a:gd name="connsiteY23" fmla="*/ 24444 h 82539"/>
              <a:gd name="connsiteX24" fmla="*/ 31932 w 139700"/>
              <a:gd name="connsiteY24" fmla="*/ 24444 h 82539"/>
              <a:gd name="connsiteX25" fmla="*/ 31932 w 139700"/>
              <a:gd name="connsiteY25" fmla="*/ 16430 h 82539"/>
              <a:gd name="connsiteX26" fmla="*/ 35923 w 139700"/>
              <a:gd name="connsiteY26" fmla="*/ 18434 h 82539"/>
              <a:gd name="connsiteX27" fmla="*/ 37919 w 139700"/>
              <a:gd name="connsiteY27" fmla="*/ 24444 h 82539"/>
              <a:gd name="connsiteX28" fmla="*/ 39914 w 139700"/>
              <a:gd name="connsiteY28" fmla="*/ 26447 h 82539"/>
              <a:gd name="connsiteX29" fmla="*/ 45902 w 139700"/>
              <a:gd name="connsiteY29" fmla="*/ 26447 h 82539"/>
              <a:gd name="connsiteX30" fmla="*/ 49893 w 139700"/>
              <a:gd name="connsiteY30" fmla="*/ 26447 h 82539"/>
              <a:gd name="connsiteX31" fmla="*/ 53884 w 139700"/>
              <a:gd name="connsiteY31" fmla="*/ 28450 h 82539"/>
              <a:gd name="connsiteX32" fmla="*/ 59872 w 139700"/>
              <a:gd name="connsiteY32" fmla="*/ 22440 h 82539"/>
              <a:gd name="connsiteX33" fmla="*/ 63863 w 139700"/>
              <a:gd name="connsiteY33" fmla="*/ 16430 h 82539"/>
              <a:gd name="connsiteX34" fmla="*/ 77833 w 139700"/>
              <a:gd name="connsiteY34" fmla="*/ 14427 h 82539"/>
              <a:gd name="connsiteX35" fmla="*/ 83820 w 139700"/>
              <a:gd name="connsiteY35" fmla="*/ 18434 h 82539"/>
              <a:gd name="connsiteX36" fmla="*/ 85816 w 139700"/>
              <a:gd name="connsiteY36" fmla="*/ 14427 h 82539"/>
              <a:gd name="connsiteX37" fmla="*/ 85816 w 139700"/>
              <a:gd name="connsiteY37" fmla="*/ 12424 h 82539"/>
              <a:gd name="connsiteX38" fmla="*/ 83820 w 139700"/>
              <a:gd name="connsiteY38" fmla="*/ 8417 h 82539"/>
              <a:gd name="connsiteX39" fmla="*/ 87812 w 139700"/>
              <a:gd name="connsiteY39" fmla="*/ 4411 h 82539"/>
              <a:gd name="connsiteX40" fmla="*/ 99786 w 139700"/>
              <a:gd name="connsiteY40" fmla="*/ 4411 h 82539"/>
              <a:gd name="connsiteX41" fmla="*/ 105773 w 139700"/>
              <a:gd name="connsiteY41" fmla="*/ 2408 h 82539"/>
              <a:gd name="connsiteX42" fmla="*/ 107769 w 139700"/>
              <a:gd name="connsiteY42" fmla="*/ 4411 h 82539"/>
              <a:gd name="connsiteX43" fmla="*/ 105773 w 139700"/>
              <a:gd name="connsiteY43" fmla="*/ 6414 h 82539"/>
              <a:gd name="connsiteX44" fmla="*/ 105773 w 139700"/>
              <a:gd name="connsiteY44" fmla="*/ 10421 h 82539"/>
              <a:gd name="connsiteX45" fmla="*/ 117747 w 139700"/>
              <a:gd name="connsiteY45" fmla="*/ 10421 h 82539"/>
              <a:gd name="connsiteX46" fmla="*/ 125730 w 139700"/>
              <a:gd name="connsiteY46" fmla="*/ 12424 h 82539"/>
              <a:gd name="connsiteX47" fmla="*/ 137704 w 139700"/>
              <a:gd name="connsiteY47" fmla="*/ 22440 h 82539"/>
              <a:gd name="connsiteX48" fmla="*/ 139700 w 139700"/>
              <a:gd name="connsiteY48" fmla="*/ 24444 h 82539"/>
              <a:gd name="connsiteX49" fmla="*/ 139700 w 139700"/>
              <a:gd name="connsiteY49" fmla="*/ 26447 h 82539"/>
              <a:gd name="connsiteX50" fmla="*/ 137704 w 139700"/>
              <a:gd name="connsiteY50" fmla="*/ 42473 h 82539"/>
              <a:gd name="connsiteX51" fmla="*/ 139700 w 139700"/>
              <a:gd name="connsiteY51" fmla="*/ 58499 h 82539"/>
              <a:gd name="connsiteX52" fmla="*/ 139700 w 139700"/>
              <a:gd name="connsiteY52" fmla="*/ 64509 h 82539"/>
              <a:gd name="connsiteX53" fmla="*/ 131717 w 139700"/>
              <a:gd name="connsiteY53" fmla="*/ 66512 h 82539"/>
              <a:gd name="connsiteX54" fmla="*/ 131717 w 139700"/>
              <a:gd name="connsiteY54" fmla="*/ 68515 h 82539"/>
              <a:gd name="connsiteX55" fmla="*/ 129722 w 139700"/>
              <a:gd name="connsiteY55" fmla="*/ 68515 h 82539"/>
              <a:gd name="connsiteX56" fmla="*/ 127726 w 139700"/>
              <a:gd name="connsiteY56" fmla="*/ 68515 h 82539"/>
              <a:gd name="connsiteX57" fmla="*/ 125730 w 139700"/>
              <a:gd name="connsiteY57" fmla="*/ 66512 h 82539"/>
              <a:gd name="connsiteX58" fmla="*/ 121739 w 139700"/>
              <a:gd name="connsiteY58" fmla="*/ 62506 h 82539"/>
              <a:gd name="connsiteX59" fmla="*/ 121739 w 139700"/>
              <a:gd name="connsiteY59" fmla="*/ 56496 h 82539"/>
              <a:gd name="connsiteX60" fmla="*/ 125730 w 139700"/>
              <a:gd name="connsiteY60" fmla="*/ 52489 h 82539"/>
              <a:gd name="connsiteX61" fmla="*/ 127726 w 139700"/>
              <a:gd name="connsiteY61" fmla="*/ 48483 h 82539"/>
              <a:gd name="connsiteX62" fmla="*/ 129722 w 139700"/>
              <a:gd name="connsiteY62" fmla="*/ 44476 h 82539"/>
              <a:gd name="connsiteX63" fmla="*/ 125730 w 139700"/>
              <a:gd name="connsiteY63" fmla="*/ 40470 h 82539"/>
              <a:gd name="connsiteX64" fmla="*/ 121739 w 139700"/>
              <a:gd name="connsiteY64" fmla="*/ 36463 h 82539"/>
              <a:gd name="connsiteX65" fmla="*/ 115752 w 139700"/>
              <a:gd name="connsiteY65" fmla="*/ 32457 h 82539"/>
              <a:gd name="connsiteX66" fmla="*/ 101782 w 139700"/>
              <a:gd name="connsiteY66" fmla="*/ 24444 h 82539"/>
              <a:gd name="connsiteX67" fmla="*/ 91803 w 139700"/>
              <a:gd name="connsiteY67" fmla="*/ 22440 h 82539"/>
              <a:gd name="connsiteX68" fmla="*/ 85816 w 139700"/>
              <a:gd name="connsiteY68" fmla="*/ 26447 h 82539"/>
              <a:gd name="connsiteX69" fmla="*/ 83820 w 139700"/>
              <a:gd name="connsiteY69" fmla="*/ 32457 h 82539"/>
              <a:gd name="connsiteX70" fmla="*/ 83820 w 139700"/>
              <a:gd name="connsiteY70" fmla="*/ 38466 h 82539"/>
              <a:gd name="connsiteX71" fmla="*/ 79829 w 139700"/>
              <a:gd name="connsiteY71" fmla="*/ 40470 h 82539"/>
              <a:gd name="connsiteX72" fmla="*/ 77833 w 139700"/>
              <a:gd name="connsiteY72" fmla="*/ 42473 h 82539"/>
              <a:gd name="connsiteX73" fmla="*/ 73842 w 139700"/>
              <a:gd name="connsiteY73" fmla="*/ 42473 h 82539"/>
              <a:gd name="connsiteX74" fmla="*/ 65859 w 139700"/>
              <a:gd name="connsiteY74" fmla="*/ 48483 h 82539"/>
              <a:gd name="connsiteX75" fmla="*/ 67854 w 139700"/>
              <a:gd name="connsiteY75" fmla="*/ 52489 h 82539"/>
              <a:gd name="connsiteX76" fmla="*/ 73842 w 139700"/>
              <a:gd name="connsiteY76" fmla="*/ 62506 h 82539"/>
              <a:gd name="connsiteX77" fmla="*/ 77833 w 139700"/>
              <a:gd name="connsiteY77" fmla="*/ 68515 h 82539"/>
              <a:gd name="connsiteX78" fmla="*/ 77833 w 139700"/>
              <a:gd name="connsiteY78" fmla="*/ 74525 h 82539"/>
              <a:gd name="connsiteX79" fmla="*/ 69850 w 139700"/>
              <a:gd name="connsiteY79" fmla="*/ 74525 h 82539"/>
              <a:gd name="connsiteX80" fmla="*/ 69850 w 139700"/>
              <a:gd name="connsiteY80" fmla="*/ 78532 h 82539"/>
              <a:gd name="connsiteX81" fmla="*/ 63863 w 139700"/>
              <a:gd name="connsiteY81" fmla="*/ 80535 h 82539"/>
              <a:gd name="connsiteX82" fmla="*/ 61867 w 139700"/>
              <a:gd name="connsiteY82" fmla="*/ 82538 h 82539"/>
              <a:gd name="connsiteX83" fmla="*/ 57876 w 139700"/>
              <a:gd name="connsiteY83" fmla="*/ 82538 h 82539"/>
              <a:gd name="connsiteX84" fmla="*/ 55880 w 139700"/>
              <a:gd name="connsiteY84" fmla="*/ 78532 h 82539"/>
              <a:gd name="connsiteX85" fmla="*/ 53884 w 139700"/>
              <a:gd name="connsiteY85" fmla="*/ 74525 h 82539"/>
              <a:gd name="connsiteX86" fmla="*/ 51889 w 139700"/>
              <a:gd name="connsiteY86" fmla="*/ 70519 h 82539"/>
              <a:gd name="connsiteX87" fmla="*/ 41910 w 139700"/>
              <a:gd name="connsiteY87" fmla="*/ 66512 h 82539"/>
              <a:gd name="connsiteX88" fmla="*/ 37919 w 139700"/>
              <a:gd name="connsiteY88" fmla="*/ 56496 h 82539"/>
              <a:gd name="connsiteX89" fmla="*/ 33927 w 139700"/>
              <a:gd name="connsiteY89" fmla="*/ 50486 h 82539"/>
              <a:gd name="connsiteX90" fmla="*/ 25944 w 139700"/>
              <a:gd name="connsiteY90" fmla="*/ 50486 h 82539"/>
              <a:gd name="connsiteX91" fmla="*/ 19957 w 139700"/>
              <a:gd name="connsiteY91" fmla="*/ 48483 h 82539"/>
              <a:gd name="connsiteX92" fmla="*/ 15966 w 139700"/>
              <a:gd name="connsiteY92" fmla="*/ 46479 h 82539"/>
              <a:gd name="connsiteX93" fmla="*/ 11974 w 139700"/>
              <a:gd name="connsiteY93" fmla="*/ 44476 h 82539"/>
              <a:gd name="connsiteX94" fmla="*/ 3992 w 139700"/>
              <a:gd name="connsiteY94" fmla="*/ 46479 h 82539"/>
              <a:gd name="connsiteX95" fmla="*/ 0 w 139700"/>
              <a:gd name="connsiteY95" fmla="*/ 46479 h 82539"/>
              <a:gd name="connsiteX96" fmla="*/ 1996 w 139700"/>
              <a:gd name="connsiteY96" fmla="*/ 42473 h 82539"/>
              <a:gd name="connsiteX97" fmla="*/ 1996 w 139700"/>
              <a:gd name="connsiteY97" fmla="*/ 34460 h 82539"/>
              <a:gd name="connsiteX98" fmla="*/ 3992 w 139700"/>
              <a:gd name="connsiteY98" fmla="*/ 30453 h 82539"/>
              <a:gd name="connsiteX99" fmla="*/ 7983 w 139700"/>
              <a:gd name="connsiteY99" fmla="*/ 26447 h 82539"/>
              <a:gd name="connsiteX100" fmla="*/ 7983 w 139700"/>
              <a:gd name="connsiteY100" fmla="*/ 22440 h 82539"/>
              <a:gd name="connsiteX101" fmla="*/ 3992 w 139700"/>
              <a:gd name="connsiteY101" fmla="*/ 18434 h 82539"/>
              <a:gd name="connsiteX102" fmla="*/ 1996 w 139700"/>
              <a:gd name="connsiteY102" fmla="*/ 14427 h 82539"/>
              <a:gd name="connsiteX103" fmla="*/ 1996 w 139700"/>
              <a:gd name="connsiteY103" fmla="*/ 6414 h 82539"/>
              <a:gd name="connsiteX104" fmla="*/ 5987 w 139700"/>
              <a:gd name="connsiteY104" fmla="*/ 404 h 8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39700" h="82539">
                <a:moveTo>
                  <a:pt x="33338" y="69839"/>
                </a:moveTo>
                <a:cubicBezTo>
                  <a:pt x="33338" y="69839"/>
                  <a:pt x="35719" y="69839"/>
                  <a:pt x="35719" y="71956"/>
                </a:cubicBezTo>
                <a:cubicBezTo>
                  <a:pt x="38100" y="74073"/>
                  <a:pt x="38100" y="74073"/>
                  <a:pt x="38100" y="76189"/>
                </a:cubicBezTo>
                <a:cubicBezTo>
                  <a:pt x="38100" y="78306"/>
                  <a:pt x="38100" y="80423"/>
                  <a:pt x="35719" y="80423"/>
                </a:cubicBezTo>
                <a:cubicBezTo>
                  <a:pt x="33338" y="82539"/>
                  <a:pt x="33338" y="82539"/>
                  <a:pt x="33338" y="82539"/>
                </a:cubicBezTo>
                <a:cubicBezTo>
                  <a:pt x="33338" y="82539"/>
                  <a:pt x="30956" y="82539"/>
                  <a:pt x="28575" y="80423"/>
                </a:cubicBezTo>
                <a:cubicBezTo>
                  <a:pt x="28575" y="76189"/>
                  <a:pt x="30956" y="71956"/>
                  <a:pt x="33338" y="69839"/>
                </a:cubicBezTo>
                <a:close/>
                <a:moveTo>
                  <a:pt x="106760" y="34914"/>
                </a:moveTo>
                <a:cubicBezTo>
                  <a:pt x="108744" y="34914"/>
                  <a:pt x="112713" y="36955"/>
                  <a:pt x="112713" y="36955"/>
                </a:cubicBezTo>
                <a:cubicBezTo>
                  <a:pt x="112713" y="38996"/>
                  <a:pt x="110729" y="43078"/>
                  <a:pt x="110729" y="45119"/>
                </a:cubicBezTo>
                <a:cubicBezTo>
                  <a:pt x="110729" y="47160"/>
                  <a:pt x="108744" y="49201"/>
                  <a:pt x="108744" y="49201"/>
                </a:cubicBezTo>
                <a:cubicBezTo>
                  <a:pt x="108744" y="49201"/>
                  <a:pt x="106760" y="45119"/>
                  <a:pt x="104775" y="43078"/>
                </a:cubicBezTo>
                <a:cubicBezTo>
                  <a:pt x="104775" y="41037"/>
                  <a:pt x="104775" y="36955"/>
                  <a:pt x="106760" y="34914"/>
                </a:cubicBezTo>
                <a:close/>
                <a:moveTo>
                  <a:pt x="5987" y="404"/>
                </a:moveTo>
                <a:cubicBezTo>
                  <a:pt x="5987" y="404"/>
                  <a:pt x="7983" y="2408"/>
                  <a:pt x="7983" y="2408"/>
                </a:cubicBezTo>
                <a:cubicBezTo>
                  <a:pt x="7983" y="4411"/>
                  <a:pt x="7983" y="4411"/>
                  <a:pt x="7983" y="4411"/>
                </a:cubicBezTo>
                <a:cubicBezTo>
                  <a:pt x="7983" y="4411"/>
                  <a:pt x="7983" y="6414"/>
                  <a:pt x="11974" y="6414"/>
                </a:cubicBezTo>
                <a:cubicBezTo>
                  <a:pt x="13970" y="8417"/>
                  <a:pt x="17962" y="10421"/>
                  <a:pt x="19957" y="10421"/>
                </a:cubicBezTo>
                <a:cubicBezTo>
                  <a:pt x="19957" y="10421"/>
                  <a:pt x="21953" y="10421"/>
                  <a:pt x="21953" y="10421"/>
                </a:cubicBezTo>
                <a:cubicBezTo>
                  <a:pt x="23949" y="10421"/>
                  <a:pt x="23949" y="10421"/>
                  <a:pt x="25944" y="10421"/>
                </a:cubicBezTo>
                <a:cubicBezTo>
                  <a:pt x="25944" y="12424"/>
                  <a:pt x="25944" y="12424"/>
                  <a:pt x="25944" y="12424"/>
                </a:cubicBezTo>
                <a:cubicBezTo>
                  <a:pt x="25944" y="14427"/>
                  <a:pt x="25944" y="16430"/>
                  <a:pt x="25944" y="18434"/>
                </a:cubicBezTo>
                <a:cubicBezTo>
                  <a:pt x="25944" y="18434"/>
                  <a:pt x="21953" y="18434"/>
                  <a:pt x="21953" y="18434"/>
                </a:cubicBezTo>
                <a:cubicBezTo>
                  <a:pt x="21953" y="20437"/>
                  <a:pt x="23949" y="24444"/>
                  <a:pt x="25944" y="24444"/>
                </a:cubicBezTo>
                <a:cubicBezTo>
                  <a:pt x="27940" y="24444"/>
                  <a:pt x="29936" y="26447"/>
                  <a:pt x="31932" y="24444"/>
                </a:cubicBezTo>
                <a:cubicBezTo>
                  <a:pt x="31932" y="22440"/>
                  <a:pt x="29936" y="18434"/>
                  <a:pt x="31932" y="16430"/>
                </a:cubicBezTo>
                <a:cubicBezTo>
                  <a:pt x="33927" y="16430"/>
                  <a:pt x="35923" y="16430"/>
                  <a:pt x="35923" y="18434"/>
                </a:cubicBezTo>
                <a:cubicBezTo>
                  <a:pt x="35923" y="20437"/>
                  <a:pt x="35923" y="22440"/>
                  <a:pt x="37919" y="24444"/>
                </a:cubicBezTo>
                <a:cubicBezTo>
                  <a:pt x="37919" y="24444"/>
                  <a:pt x="37919" y="26447"/>
                  <a:pt x="39914" y="26447"/>
                </a:cubicBezTo>
                <a:cubicBezTo>
                  <a:pt x="41910" y="28450"/>
                  <a:pt x="45902" y="26447"/>
                  <a:pt x="45902" y="26447"/>
                </a:cubicBezTo>
                <a:cubicBezTo>
                  <a:pt x="45902" y="26447"/>
                  <a:pt x="47897" y="24444"/>
                  <a:pt x="49893" y="26447"/>
                </a:cubicBezTo>
                <a:cubicBezTo>
                  <a:pt x="51889" y="28450"/>
                  <a:pt x="53884" y="30453"/>
                  <a:pt x="53884" y="28450"/>
                </a:cubicBezTo>
                <a:cubicBezTo>
                  <a:pt x="55880" y="28450"/>
                  <a:pt x="59872" y="22440"/>
                  <a:pt x="59872" y="22440"/>
                </a:cubicBezTo>
                <a:cubicBezTo>
                  <a:pt x="61867" y="20437"/>
                  <a:pt x="61867" y="16430"/>
                  <a:pt x="63863" y="16430"/>
                </a:cubicBezTo>
                <a:cubicBezTo>
                  <a:pt x="67854" y="16430"/>
                  <a:pt x="75837" y="14427"/>
                  <a:pt x="77833" y="14427"/>
                </a:cubicBezTo>
                <a:cubicBezTo>
                  <a:pt x="79829" y="16430"/>
                  <a:pt x="83820" y="18434"/>
                  <a:pt x="83820" y="18434"/>
                </a:cubicBezTo>
                <a:cubicBezTo>
                  <a:pt x="85816" y="16430"/>
                  <a:pt x="85816" y="16430"/>
                  <a:pt x="85816" y="14427"/>
                </a:cubicBezTo>
                <a:cubicBezTo>
                  <a:pt x="85816" y="14427"/>
                  <a:pt x="85816" y="14427"/>
                  <a:pt x="85816" y="12424"/>
                </a:cubicBezTo>
                <a:cubicBezTo>
                  <a:pt x="83820" y="12424"/>
                  <a:pt x="81824" y="10421"/>
                  <a:pt x="83820" y="8417"/>
                </a:cubicBezTo>
                <a:cubicBezTo>
                  <a:pt x="83820" y="6414"/>
                  <a:pt x="87812" y="4411"/>
                  <a:pt x="87812" y="4411"/>
                </a:cubicBezTo>
                <a:cubicBezTo>
                  <a:pt x="89807" y="4411"/>
                  <a:pt x="99786" y="4411"/>
                  <a:pt x="99786" y="4411"/>
                </a:cubicBezTo>
                <a:cubicBezTo>
                  <a:pt x="101782" y="4411"/>
                  <a:pt x="101782" y="2408"/>
                  <a:pt x="105773" y="2408"/>
                </a:cubicBezTo>
                <a:cubicBezTo>
                  <a:pt x="107769" y="2408"/>
                  <a:pt x="109764" y="2408"/>
                  <a:pt x="107769" y="4411"/>
                </a:cubicBezTo>
                <a:cubicBezTo>
                  <a:pt x="107769" y="6414"/>
                  <a:pt x="105773" y="4411"/>
                  <a:pt x="105773" y="6414"/>
                </a:cubicBezTo>
                <a:cubicBezTo>
                  <a:pt x="105773" y="8417"/>
                  <a:pt x="103777" y="10421"/>
                  <a:pt x="105773" y="10421"/>
                </a:cubicBezTo>
                <a:cubicBezTo>
                  <a:pt x="109764" y="10421"/>
                  <a:pt x="113756" y="10421"/>
                  <a:pt x="117747" y="10421"/>
                </a:cubicBezTo>
                <a:cubicBezTo>
                  <a:pt x="121739" y="10421"/>
                  <a:pt x="123734" y="10421"/>
                  <a:pt x="125730" y="12424"/>
                </a:cubicBezTo>
                <a:cubicBezTo>
                  <a:pt x="129722" y="14427"/>
                  <a:pt x="137704" y="22440"/>
                  <a:pt x="137704" y="22440"/>
                </a:cubicBezTo>
                <a:cubicBezTo>
                  <a:pt x="137704" y="22440"/>
                  <a:pt x="137704" y="24444"/>
                  <a:pt x="139700" y="24444"/>
                </a:cubicBezTo>
                <a:cubicBezTo>
                  <a:pt x="139700" y="24444"/>
                  <a:pt x="139700" y="24444"/>
                  <a:pt x="139700" y="26447"/>
                </a:cubicBezTo>
                <a:cubicBezTo>
                  <a:pt x="139700" y="26447"/>
                  <a:pt x="139700" y="40470"/>
                  <a:pt x="137704" y="42473"/>
                </a:cubicBezTo>
                <a:cubicBezTo>
                  <a:pt x="137704" y="42473"/>
                  <a:pt x="139700" y="56496"/>
                  <a:pt x="139700" y="58499"/>
                </a:cubicBezTo>
                <a:cubicBezTo>
                  <a:pt x="139700" y="58499"/>
                  <a:pt x="139700" y="62506"/>
                  <a:pt x="139700" y="64509"/>
                </a:cubicBezTo>
                <a:cubicBezTo>
                  <a:pt x="137704" y="64509"/>
                  <a:pt x="131717" y="66512"/>
                  <a:pt x="131717" y="66512"/>
                </a:cubicBezTo>
                <a:cubicBezTo>
                  <a:pt x="131717" y="66512"/>
                  <a:pt x="131717" y="68515"/>
                  <a:pt x="131717" y="68515"/>
                </a:cubicBezTo>
                <a:cubicBezTo>
                  <a:pt x="129722" y="70519"/>
                  <a:pt x="129722" y="68515"/>
                  <a:pt x="129722" y="68515"/>
                </a:cubicBezTo>
                <a:cubicBezTo>
                  <a:pt x="129722" y="68515"/>
                  <a:pt x="129722" y="68515"/>
                  <a:pt x="127726" y="68515"/>
                </a:cubicBezTo>
                <a:cubicBezTo>
                  <a:pt x="127726" y="68515"/>
                  <a:pt x="125730" y="66512"/>
                  <a:pt x="125730" y="66512"/>
                </a:cubicBezTo>
                <a:cubicBezTo>
                  <a:pt x="123734" y="66512"/>
                  <a:pt x="121739" y="62506"/>
                  <a:pt x="121739" y="62506"/>
                </a:cubicBezTo>
                <a:cubicBezTo>
                  <a:pt x="121739" y="60502"/>
                  <a:pt x="121739" y="58499"/>
                  <a:pt x="121739" y="56496"/>
                </a:cubicBezTo>
                <a:cubicBezTo>
                  <a:pt x="121739" y="54492"/>
                  <a:pt x="125730" y="52489"/>
                  <a:pt x="125730" y="52489"/>
                </a:cubicBezTo>
                <a:cubicBezTo>
                  <a:pt x="125730" y="52489"/>
                  <a:pt x="127726" y="48483"/>
                  <a:pt x="127726" y="48483"/>
                </a:cubicBezTo>
                <a:cubicBezTo>
                  <a:pt x="129722" y="46479"/>
                  <a:pt x="129722" y="44476"/>
                  <a:pt x="129722" y="44476"/>
                </a:cubicBezTo>
                <a:cubicBezTo>
                  <a:pt x="129722" y="42473"/>
                  <a:pt x="125730" y="40470"/>
                  <a:pt x="125730" y="40470"/>
                </a:cubicBezTo>
                <a:cubicBezTo>
                  <a:pt x="123734" y="38466"/>
                  <a:pt x="121739" y="36463"/>
                  <a:pt x="121739" y="36463"/>
                </a:cubicBezTo>
                <a:cubicBezTo>
                  <a:pt x="119743" y="34460"/>
                  <a:pt x="115752" y="34460"/>
                  <a:pt x="115752" y="32457"/>
                </a:cubicBezTo>
                <a:cubicBezTo>
                  <a:pt x="113756" y="32457"/>
                  <a:pt x="103777" y="24444"/>
                  <a:pt x="101782" y="24444"/>
                </a:cubicBezTo>
                <a:cubicBezTo>
                  <a:pt x="97790" y="22440"/>
                  <a:pt x="91803" y="22440"/>
                  <a:pt x="91803" y="22440"/>
                </a:cubicBezTo>
                <a:cubicBezTo>
                  <a:pt x="89807" y="22440"/>
                  <a:pt x="85816" y="24444"/>
                  <a:pt x="85816" y="26447"/>
                </a:cubicBezTo>
                <a:cubicBezTo>
                  <a:pt x="83820" y="28450"/>
                  <a:pt x="83820" y="32457"/>
                  <a:pt x="83820" y="32457"/>
                </a:cubicBezTo>
                <a:cubicBezTo>
                  <a:pt x="85816" y="36463"/>
                  <a:pt x="85816" y="38466"/>
                  <a:pt x="83820" y="38466"/>
                </a:cubicBezTo>
                <a:cubicBezTo>
                  <a:pt x="83820" y="40470"/>
                  <a:pt x="81824" y="40470"/>
                  <a:pt x="79829" y="40470"/>
                </a:cubicBezTo>
                <a:cubicBezTo>
                  <a:pt x="79829" y="40470"/>
                  <a:pt x="77833" y="42473"/>
                  <a:pt x="77833" y="42473"/>
                </a:cubicBezTo>
                <a:cubicBezTo>
                  <a:pt x="75837" y="42473"/>
                  <a:pt x="73842" y="42473"/>
                  <a:pt x="73842" y="42473"/>
                </a:cubicBezTo>
                <a:cubicBezTo>
                  <a:pt x="71846" y="44476"/>
                  <a:pt x="67854" y="46479"/>
                  <a:pt x="65859" y="48483"/>
                </a:cubicBezTo>
                <a:cubicBezTo>
                  <a:pt x="63863" y="50486"/>
                  <a:pt x="65859" y="52489"/>
                  <a:pt x="67854" y="52489"/>
                </a:cubicBezTo>
                <a:cubicBezTo>
                  <a:pt x="69850" y="54492"/>
                  <a:pt x="71846" y="60502"/>
                  <a:pt x="73842" y="62506"/>
                </a:cubicBezTo>
                <a:cubicBezTo>
                  <a:pt x="75837" y="64509"/>
                  <a:pt x="77833" y="66512"/>
                  <a:pt x="77833" y="68515"/>
                </a:cubicBezTo>
                <a:cubicBezTo>
                  <a:pt x="77833" y="72522"/>
                  <a:pt x="79829" y="72522"/>
                  <a:pt x="77833" y="74525"/>
                </a:cubicBezTo>
                <a:cubicBezTo>
                  <a:pt x="75837" y="74525"/>
                  <a:pt x="71846" y="74525"/>
                  <a:pt x="69850" y="74525"/>
                </a:cubicBezTo>
                <a:cubicBezTo>
                  <a:pt x="69850" y="76528"/>
                  <a:pt x="69850" y="78532"/>
                  <a:pt x="69850" y="78532"/>
                </a:cubicBezTo>
                <a:cubicBezTo>
                  <a:pt x="69850" y="78532"/>
                  <a:pt x="63863" y="78532"/>
                  <a:pt x="63863" y="80535"/>
                </a:cubicBezTo>
                <a:cubicBezTo>
                  <a:pt x="61867" y="80535"/>
                  <a:pt x="61867" y="82538"/>
                  <a:pt x="61867" y="82538"/>
                </a:cubicBezTo>
                <a:cubicBezTo>
                  <a:pt x="61867" y="82538"/>
                  <a:pt x="59872" y="82538"/>
                  <a:pt x="57876" y="82538"/>
                </a:cubicBezTo>
                <a:cubicBezTo>
                  <a:pt x="55880" y="82538"/>
                  <a:pt x="55880" y="80535"/>
                  <a:pt x="55880" y="78532"/>
                </a:cubicBezTo>
                <a:cubicBezTo>
                  <a:pt x="55880" y="78532"/>
                  <a:pt x="55880" y="74525"/>
                  <a:pt x="53884" y="74525"/>
                </a:cubicBezTo>
                <a:cubicBezTo>
                  <a:pt x="53884" y="72522"/>
                  <a:pt x="53884" y="70519"/>
                  <a:pt x="51889" y="70519"/>
                </a:cubicBezTo>
                <a:cubicBezTo>
                  <a:pt x="49893" y="70519"/>
                  <a:pt x="41910" y="68515"/>
                  <a:pt x="41910" y="66512"/>
                </a:cubicBezTo>
                <a:cubicBezTo>
                  <a:pt x="39914" y="64509"/>
                  <a:pt x="37919" y="56496"/>
                  <a:pt x="37919" y="56496"/>
                </a:cubicBezTo>
                <a:cubicBezTo>
                  <a:pt x="35923" y="54492"/>
                  <a:pt x="33927" y="50486"/>
                  <a:pt x="33927" y="50486"/>
                </a:cubicBezTo>
                <a:cubicBezTo>
                  <a:pt x="31932" y="48483"/>
                  <a:pt x="27940" y="50486"/>
                  <a:pt x="25944" y="50486"/>
                </a:cubicBezTo>
                <a:cubicBezTo>
                  <a:pt x="23949" y="50486"/>
                  <a:pt x="21953" y="50486"/>
                  <a:pt x="19957" y="48483"/>
                </a:cubicBezTo>
                <a:cubicBezTo>
                  <a:pt x="17962" y="48483"/>
                  <a:pt x="15966" y="46479"/>
                  <a:pt x="15966" y="46479"/>
                </a:cubicBezTo>
                <a:cubicBezTo>
                  <a:pt x="13970" y="46479"/>
                  <a:pt x="11974" y="44476"/>
                  <a:pt x="11974" y="44476"/>
                </a:cubicBezTo>
                <a:cubicBezTo>
                  <a:pt x="9979" y="46479"/>
                  <a:pt x="5987" y="46479"/>
                  <a:pt x="3992" y="46479"/>
                </a:cubicBezTo>
                <a:cubicBezTo>
                  <a:pt x="3992" y="46479"/>
                  <a:pt x="1996" y="46479"/>
                  <a:pt x="0" y="46479"/>
                </a:cubicBezTo>
                <a:cubicBezTo>
                  <a:pt x="0" y="46479"/>
                  <a:pt x="0" y="44476"/>
                  <a:pt x="1996" y="42473"/>
                </a:cubicBezTo>
                <a:cubicBezTo>
                  <a:pt x="1996" y="40470"/>
                  <a:pt x="0" y="38466"/>
                  <a:pt x="1996" y="34460"/>
                </a:cubicBezTo>
                <a:cubicBezTo>
                  <a:pt x="1996" y="32457"/>
                  <a:pt x="3992" y="32457"/>
                  <a:pt x="3992" y="30453"/>
                </a:cubicBezTo>
                <a:cubicBezTo>
                  <a:pt x="5987" y="30453"/>
                  <a:pt x="7983" y="28450"/>
                  <a:pt x="7983" y="26447"/>
                </a:cubicBezTo>
                <a:cubicBezTo>
                  <a:pt x="7983" y="26447"/>
                  <a:pt x="7983" y="22440"/>
                  <a:pt x="7983" y="22440"/>
                </a:cubicBezTo>
                <a:cubicBezTo>
                  <a:pt x="7983" y="22440"/>
                  <a:pt x="5987" y="20437"/>
                  <a:pt x="3992" y="18434"/>
                </a:cubicBezTo>
                <a:cubicBezTo>
                  <a:pt x="1996" y="18434"/>
                  <a:pt x="1996" y="14427"/>
                  <a:pt x="1996" y="14427"/>
                </a:cubicBezTo>
                <a:cubicBezTo>
                  <a:pt x="1996" y="12424"/>
                  <a:pt x="1996" y="6414"/>
                  <a:pt x="1996" y="6414"/>
                </a:cubicBezTo>
                <a:cubicBezTo>
                  <a:pt x="1996" y="4411"/>
                  <a:pt x="5987" y="-1599"/>
                  <a:pt x="5987" y="404"/>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 name="Iceland"/>
          <p:cNvSpPr>
            <a:spLocks/>
          </p:cNvSpPr>
          <p:nvPr/>
        </p:nvSpPr>
        <p:spPr bwMode="auto">
          <a:xfrm>
            <a:off x="5608239" y="1668115"/>
            <a:ext cx="254778" cy="146988"/>
          </a:xfrm>
          <a:custGeom>
            <a:avLst/>
            <a:gdLst>
              <a:gd name="connsiteX0" fmla="*/ 193726 w 247650"/>
              <a:gd name="connsiteY0" fmla="*/ 0 h 142875"/>
              <a:gd name="connsiteX1" fmla="*/ 199718 w 247650"/>
              <a:gd name="connsiteY1" fmla="*/ 1984 h 142875"/>
              <a:gd name="connsiteX2" fmla="*/ 203712 w 247650"/>
              <a:gd name="connsiteY2" fmla="*/ 3969 h 142875"/>
              <a:gd name="connsiteX3" fmla="*/ 205709 w 247650"/>
              <a:gd name="connsiteY3" fmla="*/ 11906 h 142875"/>
              <a:gd name="connsiteX4" fmla="*/ 205709 w 247650"/>
              <a:gd name="connsiteY4" fmla="*/ 15875 h 142875"/>
              <a:gd name="connsiteX5" fmla="*/ 203712 w 247650"/>
              <a:gd name="connsiteY5" fmla="*/ 19844 h 142875"/>
              <a:gd name="connsiteX6" fmla="*/ 209704 w 247650"/>
              <a:gd name="connsiteY6" fmla="*/ 19844 h 142875"/>
              <a:gd name="connsiteX7" fmla="*/ 217692 w 247650"/>
              <a:gd name="connsiteY7" fmla="*/ 19844 h 142875"/>
              <a:gd name="connsiteX8" fmla="*/ 225681 w 247650"/>
              <a:gd name="connsiteY8" fmla="*/ 19844 h 142875"/>
              <a:gd name="connsiteX9" fmla="*/ 229676 w 247650"/>
              <a:gd name="connsiteY9" fmla="*/ 23813 h 142875"/>
              <a:gd name="connsiteX10" fmla="*/ 227678 w 247650"/>
              <a:gd name="connsiteY10" fmla="*/ 27781 h 142875"/>
              <a:gd name="connsiteX11" fmla="*/ 221687 w 247650"/>
              <a:gd name="connsiteY11" fmla="*/ 33735 h 142875"/>
              <a:gd name="connsiteX12" fmla="*/ 223684 w 247650"/>
              <a:gd name="connsiteY12" fmla="*/ 35719 h 142875"/>
              <a:gd name="connsiteX13" fmla="*/ 227678 w 247650"/>
              <a:gd name="connsiteY13" fmla="*/ 35719 h 142875"/>
              <a:gd name="connsiteX14" fmla="*/ 233670 w 247650"/>
              <a:gd name="connsiteY14" fmla="*/ 35719 h 142875"/>
              <a:gd name="connsiteX15" fmla="*/ 235667 w 247650"/>
              <a:gd name="connsiteY15" fmla="*/ 39688 h 142875"/>
              <a:gd name="connsiteX16" fmla="*/ 241659 w 247650"/>
              <a:gd name="connsiteY16" fmla="*/ 39688 h 142875"/>
              <a:gd name="connsiteX17" fmla="*/ 243656 w 247650"/>
              <a:gd name="connsiteY17" fmla="*/ 43656 h 142875"/>
              <a:gd name="connsiteX18" fmla="*/ 245653 w 247650"/>
              <a:gd name="connsiteY18" fmla="*/ 47625 h 142875"/>
              <a:gd name="connsiteX19" fmla="*/ 247650 w 247650"/>
              <a:gd name="connsiteY19" fmla="*/ 49610 h 142875"/>
              <a:gd name="connsiteX20" fmla="*/ 245653 w 247650"/>
              <a:gd name="connsiteY20" fmla="*/ 53578 h 142875"/>
              <a:gd name="connsiteX21" fmla="*/ 245653 w 247650"/>
              <a:gd name="connsiteY21" fmla="*/ 61516 h 142875"/>
              <a:gd name="connsiteX22" fmla="*/ 243656 w 247650"/>
              <a:gd name="connsiteY22" fmla="*/ 67469 h 142875"/>
              <a:gd name="connsiteX23" fmla="*/ 243656 w 247650"/>
              <a:gd name="connsiteY23" fmla="*/ 71438 h 142875"/>
              <a:gd name="connsiteX24" fmla="*/ 239661 w 247650"/>
              <a:gd name="connsiteY24" fmla="*/ 75406 h 142875"/>
              <a:gd name="connsiteX25" fmla="*/ 239661 w 247650"/>
              <a:gd name="connsiteY25" fmla="*/ 81360 h 142875"/>
              <a:gd name="connsiteX26" fmla="*/ 235667 w 247650"/>
              <a:gd name="connsiteY26" fmla="*/ 83344 h 142875"/>
              <a:gd name="connsiteX27" fmla="*/ 231673 w 247650"/>
              <a:gd name="connsiteY27" fmla="*/ 85328 h 142875"/>
              <a:gd name="connsiteX28" fmla="*/ 229676 w 247650"/>
              <a:gd name="connsiteY28" fmla="*/ 91281 h 142875"/>
              <a:gd name="connsiteX29" fmla="*/ 225681 w 247650"/>
              <a:gd name="connsiteY29" fmla="*/ 95250 h 142875"/>
              <a:gd name="connsiteX30" fmla="*/ 219690 w 247650"/>
              <a:gd name="connsiteY30" fmla="*/ 99219 h 142875"/>
              <a:gd name="connsiteX31" fmla="*/ 211701 w 247650"/>
              <a:gd name="connsiteY31" fmla="*/ 101203 h 142875"/>
              <a:gd name="connsiteX32" fmla="*/ 209704 w 247650"/>
              <a:gd name="connsiteY32" fmla="*/ 101203 h 142875"/>
              <a:gd name="connsiteX33" fmla="*/ 209704 w 247650"/>
              <a:gd name="connsiteY33" fmla="*/ 95250 h 142875"/>
              <a:gd name="connsiteX34" fmla="*/ 207707 w 247650"/>
              <a:gd name="connsiteY34" fmla="*/ 93266 h 142875"/>
              <a:gd name="connsiteX35" fmla="*/ 205709 w 247650"/>
              <a:gd name="connsiteY35" fmla="*/ 97235 h 142875"/>
              <a:gd name="connsiteX36" fmla="*/ 201715 w 247650"/>
              <a:gd name="connsiteY36" fmla="*/ 101203 h 142875"/>
              <a:gd name="connsiteX37" fmla="*/ 197721 w 247650"/>
              <a:gd name="connsiteY37" fmla="*/ 103188 h 142875"/>
              <a:gd name="connsiteX38" fmla="*/ 193726 w 247650"/>
              <a:gd name="connsiteY38" fmla="*/ 107156 h 142875"/>
              <a:gd name="connsiteX39" fmla="*/ 189732 w 247650"/>
              <a:gd name="connsiteY39" fmla="*/ 113110 h 142875"/>
              <a:gd name="connsiteX40" fmla="*/ 181743 w 247650"/>
              <a:gd name="connsiteY40" fmla="*/ 117078 h 142875"/>
              <a:gd name="connsiteX41" fmla="*/ 173755 w 247650"/>
              <a:gd name="connsiteY41" fmla="*/ 119063 h 142875"/>
              <a:gd name="connsiteX42" fmla="*/ 167763 w 247650"/>
              <a:gd name="connsiteY42" fmla="*/ 121047 h 142875"/>
              <a:gd name="connsiteX43" fmla="*/ 163769 w 247650"/>
              <a:gd name="connsiteY43" fmla="*/ 123031 h 142875"/>
              <a:gd name="connsiteX44" fmla="*/ 159774 w 247650"/>
              <a:gd name="connsiteY44" fmla="*/ 123031 h 142875"/>
              <a:gd name="connsiteX45" fmla="*/ 155780 w 247650"/>
              <a:gd name="connsiteY45" fmla="*/ 123031 h 142875"/>
              <a:gd name="connsiteX46" fmla="*/ 153783 w 247650"/>
              <a:gd name="connsiteY46" fmla="*/ 125016 h 142875"/>
              <a:gd name="connsiteX47" fmla="*/ 153783 w 247650"/>
              <a:gd name="connsiteY47" fmla="*/ 128985 h 142875"/>
              <a:gd name="connsiteX48" fmla="*/ 151786 w 247650"/>
              <a:gd name="connsiteY48" fmla="*/ 130969 h 142875"/>
              <a:gd name="connsiteX49" fmla="*/ 147791 w 247650"/>
              <a:gd name="connsiteY49" fmla="*/ 130969 h 142875"/>
              <a:gd name="connsiteX50" fmla="*/ 145794 w 247650"/>
              <a:gd name="connsiteY50" fmla="*/ 132953 h 142875"/>
              <a:gd name="connsiteX51" fmla="*/ 141800 w 247650"/>
              <a:gd name="connsiteY51" fmla="*/ 140891 h 142875"/>
              <a:gd name="connsiteX52" fmla="*/ 135808 w 247650"/>
              <a:gd name="connsiteY52" fmla="*/ 142875 h 142875"/>
              <a:gd name="connsiteX53" fmla="*/ 129817 w 247650"/>
              <a:gd name="connsiteY53" fmla="*/ 140891 h 142875"/>
              <a:gd name="connsiteX54" fmla="*/ 123825 w 247650"/>
              <a:gd name="connsiteY54" fmla="*/ 138906 h 142875"/>
              <a:gd name="connsiteX55" fmla="*/ 115836 w 247650"/>
              <a:gd name="connsiteY55" fmla="*/ 140891 h 142875"/>
              <a:gd name="connsiteX56" fmla="*/ 111842 w 247650"/>
              <a:gd name="connsiteY56" fmla="*/ 138906 h 142875"/>
              <a:gd name="connsiteX57" fmla="*/ 107848 w 247650"/>
              <a:gd name="connsiteY57" fmla="*/ 134938 h 142875"/>
              <a:gd name="connsiteX58" fmla="*/ 103853 w 247650"/>
              <a:gd name="connsiteY58" fmla="*/ 132953 h 142875"/>
              <a:gd name="connsiteX59" fmla="*/ 99859 w 247650"/>
              <a:gd name="connsiteY59" fmla="*/ 134938 h 142875"/>
              <a:gd name="connsiteX60" fmla="*/ 93867 w 247650"/>
              <a:gd name="connsiteY60" fmla="*/ 132953 h 142875"/>
              <a:gd name="connsiteX61" fmla="*/ 91870 w 247650"/>
              <a:gd name="connsiteY61" fmla="*/ 130969 h 142875"/>
              <a:gd name="connsiteX62" fmla="*/ 87876 w 247650"/>
              <a:gd name="connsiteY62" fmla="*/ 128985 h 142875"/>
              <a:gd name="connsiteX63" fmla="*/ 89873 w 247650"/>
              <a:gd name="connsiteY63" fmla="*/ 125016 h 142875"/>
              <a:gd name="connsiteX64" fmla="*/ 89873 w 247650"/>
              <a:gd name="connsiteY64" fmla="*/ 121047 h 142875"/>
              <a:gd name="connsiteX65" fmla="*/ 87876 w 247650"/>
              <a:gd name="connsiteY65" fmla="*/ 121047 h 142875"/>
              <a:gd name="connsiteX66" fmla="*/ 85879 w 247650"/>
              <a:gd name="connsiteY66" fmla="*/ 123031 h 142875"/>
              <a:gd name="connsiteX67" fmla="*/ 81884 w 247650"/>
              <a:gd name="connsiteY67" fmla="*/ 127000 h 142875"/>
              <a:gd name="connsiteX68" fmla="*/ 77890 w 247650"/>
              <a:gd name="connsiteY68" fmla="*/ 125016 h 142875"/>
              <a:gd name="connsiteX69" fmla="*/ 73896 w 247650"/>
              <a:gd name="connsiteY69" fmla="*/ 121047 h 142875"/>
              <a:gd name="connsiteX70" fmla="*/ 71899 w 247650"/>
              <a:gd name="connsiteY70" fmla="*/ 119063 h 142875"/>
              <a:gd name="connsiteX71" fmla="*/ 71899 w 247650"/>
              <a:gd name="connsiteY71" fmla="*/ 115094 h 142875"/>
              <a:gd name="connsiteX72" fmla="*/ 67904 w 247650"/>
              <a:gd name="connsiteY72" fmla="*/ 115094 h 142875"/>
              <a:gd name="connsiteX73" fmla="*/ 55921 w 247650"/>
              <a:gd name="connsiteY73" fmla="*/ 117078 h 142875"/>
              <a:gd name="connsiteX74" fmla="*/ 41941 w 247650"/>
              <a:gd name="connsiteY74" fmla="*/ 119063 h 142875"/>
              <a:gd name="connsiteX75" fmla="*/ 37946 w 247650"/>
              <a:gd name="connsiteY75" fmla="*/ 115094 h 142875"/>
              <a:gd name="connsiteX76" fmla="*/ 37946 w 247650"/>
              <a:gd name="connsiteY76" fmla="*/ 111125 h 142875"/>
              <a:gd name="connsiteX77" fmla="*/ 45935 w 247650"/>
              <a:gd name="connsiteY77" fmla="*/ 111125 h 142875"/>
              <a:gd name="connsiteX78" fmla="*/ 53924 w 247650"/>
              <a:gd name="connsiteY78" fmla="*/ 109141 h 142875"/>
              <a:gd name="connsiteX79" fmla="*/ 55921 w 247650"/>
              <a:gd name="connsiteY79" fmla="*/ 103188 h 142875"/>
              <a:gd name="connsiteX80" fmla="*/ 55921 w 247650"/>
              <a:gd name="connsiteY80" fmla="*/ 95250 h 142875"/>
              <a:gd name="connsiteX81" fmla="*/ 57918 w 247650"/>
              <a:gd name="connsiteY81" fmla="*/ 91281 h 142875"/>
              <a:gd name="connsiteX82" fmla="*/ 57918 w 247650"/>
              <a:gd name="connsiteY82" fmla="*/ 87313 h 142875"/>
              <a:gd name="connsiteX83" fmla="*/ 53924 w 247650"/>
              <a:gd name="connsiteY83" fmla="*/ 89297 h 142875"/>
              <a:gd name="connsiteX84" fmla="*/ 49930 w 247650"/>
              <a:gd name="connsiteY84" fmla="*/ 91281 h 142875"/>
              <a:gd name="connsiteX85" fmla="*/ 47932 w 247650"/>
              <a:gd name="connsiteY85" fmla="*/ 85328 h 142875"/>
              <a:gd name="connsiteX86" fmla="*/ 49930 w 247650"/>
              <a:gd name="connsiteY86" fmla="*/ 81360 h 142875"/>
              <a:gd name="connsiteX87" fmla="*/ 47932 w 247650"/>
              <a:gd name="connsiteY87" fmla="*/ 77391 h 142875"/>
              <a:gd name="connsiteX88" fmla="*/ 41941 w 247650"/>
              <a:gd name="connsiteY88" fmla="*/ 77391 h 142875"/>
              <a:gd name="connsiteX89" fmla="*/ 31955 w 247650"/>
              <a:gd name="connsiteY89" fmla="*/ 77391 h 142875"/>
              <a:gd name="connsiteX90" fmla="*/ 27961 w 247650"/>
              <a:gd name="connsiteY90" fmla="*/ 77391 h 142875"/>
              <a:gd name="connsiteX91" fmla="*/ 23966 w 247650"/>
              <a:gd name="connsiteY91" fmla="*/ 77391 h 142875"/>
              <a:gd name="connsiteX92" fmla="*/ 17975 w 247650"/>
              <a:gd name="connsiteY92" fmla="*/ 77391 h 142875"/>
              <a:gd name="connsiteX93" fmla="*/ 13980 w 247650"/>
              <a:gd name="connsiteY93" fmla="*/ 79375 h 142875"/>
              <a:gd name="connsiteX94" fmla="*/ 9986 w 247650"/>
              <a:gd name="connsiteY94" fmla="*/ 79375 h 142875"/>
              <a:gd name="connsiteX95" fmla="*/ 11983 w 247650"/>
              <a:gd name="connsiteY95" fmla="*/ 73422 h 142875"/>
              <a:gd name="connsiteX96" fmla="*/ 13980 w 247650"/>
              <a:gd name="connsiteY96" fmla="*/ 71438 h 142875"/>
              <a:gd name="connsiteX97" fmla="*/ 19972 w 247650"/>
              <a:gd name="connsiteY97" fmla="*/ 69453 h 142875"/>
              <a:gd name="connsiteX98" fmla="*/ 25963 w 247650"/>
              <a:gd name="connsiteY98" fmla="*/ 69453 h 142875"/>
              <a:gd name="connsiteX99" fmla="*/ 29958 w 247650"/>
              <a:gd name="connsiteY99" fmla="*/ 65485 h 142875"/>
              <a:gd name="connsiteX100" fmla="*/ 33952 w 247650"/>
              <a:gd name="connsiteY100" fmla="*/ 65485 h 142875"/>
              <a:gd name="connsiteX101" fmla="*/ 39944 w 247650"/>
              <a:gd name="connsiteY101" fmla="*/ 69453 h 142875"/>
              <a:gd name="connsiteX102" fmla="*/ 43938 w 247650"/>
              <a:gd name="connsiteY102" fmla="*/ 69453 h 142875"/>
              <a:gd name="connsiteX103" fmla="*/ 47932 w 247650"/>
              <a:gd name="connsiteY103" fmla="*/ 67469 h 142875"/>
              <a:gd name="connsiteX104" fmla="*/ 51927 w 247650"/>
              <a:gd name="connsiteY104" fmla="*/ 67469 h 142875"/>
              <a:gd name="connsiteX105" fmla="*/ 57918 w 247650"/>
              <a:gd name="connsiteY105" fmla="*/ 67469 h 142875"/>
              <a:gd name="connsiteX106" fmla="*/ 61913 w 247650"/>
              <a:gd name="connsiteY106" fmla="*/ 67469 h 142875"/>
              <a:gd name="connsiteX107" fmla="*/ 61913 w 247650"/>
              <a:gd name="connsiteY107" fmla="*/ 63500 h 142875"/>
              <a:gd name="connsiteX108" fmla="*/ 59915 w 247650"/>
              <a:gd name="connsiteY108" fmla="*/ 61516 h 142875"/>
              <a:gd name="connsiteX109" fmla="*/ 53924 w 247650"/>
              <a:gd name="connsiteY109" fmla="*/ 61516 h 142875"/>
              <a:gd name="connsiteX110" fmla="*/ 47932 w 247650"/>
              <a:gd name="connsiteY110" fmla="*/ 63500 h 142875"/>
              <a:gd name="connsiteX111" fmla="*/ 45935 w 247650"/>
              <a:gd name="connsiteY111" fmla="*/ 59531 h 142875"/>
              <a:gd name="connsiteX112" fmla="*/ 47932 w 247650"/>
              <a:gd name="connsiteY112" fmla="*/ 55563 h 142875"/>
              <a:gd name="connsiteX113" fmla="*/ 53924 w 247650"/>
              <a:gd name="connsiteY113" fmla="*/ 53578 h 142875"/>
              <a:gd name="connsiteX114" fmla="*/ 57918 w 247650"/>
              <a:gd name="connsiteY114" fmla="*/ 53578 h 142875"/>
              <a:gd name="connsiteX115" fmla="*/ 55921 w 247650"/>
              <a:gd name="connsiteY115" fmla="*/ 49610 h 142875"/>
              <a:gd name="connsiteX116" fmla="*/ 47932 w 247650"/>
              <a:gd name="connsiteY116" fmla="*/ 47625 h 142875"/>
              <a:gd name="connsiteX117" fmla="*/ 37946 w 247650"/>
              <a:gd name="connsiteY117" fmla="*/ 47625 h 142875"/>
              <a:gd name="connsiteX118" fmla="*/ 31955 w 247650"/>
              <a:gd name="connsiteY118" fmla="*/ 51594 h 142875"/>
              <a:gd name="connsiteX119" fmla="*/ 25963 w 247650"/>
              <a:gd name="connsiteY119" fmla="*/ 53578 h 142875"/>
              <a:gd name="connsiteX120" fmla="*/ 19972 w 247650"/>
              <a:gd name="connsiteY120" fmla="*/ 53578 h 142875"/>
              <a:gd name="connsiteX121" fmla="*/ 15978 w 247650"/>
              <a:gd name="connsiteY121" fmla="*/ 55563 h 142875"/>
              <a:gd name="connsiteX122" fmla="*/ 11983 w 247650"/>
              <a:gd name="connsiteY122" fmla="*/ 53578 h 142875"/>
              <a:gd name="connsiteX123" fmla="*/ 9986 w 247650"/>
              <a:gd name="connsiteY123" fmla="*/ 49610 h 142875"/>
              <a:gd name="connsiteX124" fmla="*/ 5992 w 247650"/>
              <a:gd name="connsiteY124" fmla="*/ 49610 h 142875"/>
              <a:gd name="connsiteX125" fmla="*/ 0 w 247650"/>
              <a:gd name="connsiteY125" fmla="*/ 49610 h 142875"/>
              <a:gd name="connsiteX126" fmla="*/ 0 w 247650"/>
              <a:gd name="connsiteY126" fmla="*/ 45641 h 142875"/>
              <a:gd name="connsiteX127" fmla="*/ 5992 w 247650"/>
              <a:gd name="connsiteY127" fmla="*/ 43656 h 142875"/>
              <a:gd name="connsiteX128" fmla="*/ 11983 w 247650"/>
              <a:gd name="connsiteY128" fmla="*/ 45641 h 142875"/>
              <a:gd name="connsiteX129" fmla="*/ 17975 w 247650"/>
              <a:gd name="connsiteY129" fmla="*/ 43656 h 142875"/>
              <a:gd name="connsiteX130" fmla="*/ 21969 w 247650"/>
              <a:gd name="connsiteY130" fmla="*/ 39688 h 142875"/>
              <a:gd name="connsiteX131" fmla="*/ 25963 w 247650"/>
              <a:gd name="connsiteY131" fmla="*/ 37703 h 142875"/>
              <a:gd name="connsiteX132" fmla="*/ 23966 w 247650"/>
              <a:gd name="connsiteY132" fmla="*/ 35719 h 142875"/>
              <a:gd name="connsiteX133" fmla="*/ 19972 w 247650"/>
              <a:gd name="connsiteY133" fmla="*/ 33735 h 142875"/>
              <a:gd name="connsiteX134" fmla="*/ 15978 w 247650"/>
              <a:gd name="connsiteY134" fmla="*/ 29766 h 142875"/>
              <a:gd name="connsiteX135" fmla="*/ 19972 w 247650"/>
              <a:gd name="connsiteY135" fmla="*/ 27781 h 142875"/>
              <a:gd name="connsiteX136" fmla="*/ 23966 w 247650"/>
              <a:gd name="connsiteY136" fmla="*/ 25797 h 142875"/>
              <a:gd name="connsiteX137" fmla="*/ 19972 w 247650"/>
              <a:gd name="connsiteY137" fmla="*/ 21828 h 142875"/>
              <a:gd name="connsiteX138" fmla="*/ 19972 w 247650"/>
              <a:gd name="connsiteY138" fmla="*/ 17860 h 142875"/>
              <a:gd name="connsiteX139" fmla="*/ 23966 w 247650"/>
              <a:gd name="connsiteY139" fmla="*/ 15875 h 142875"/>
              <a:gd name="connsiteX140" fmla="*/ 23966 w 247650"/>
              <a:gd name="connsiteY140" fmla="*/ 11906 h 142875"/>
              <a:gd name="connsiteX141" fmla="*/ 25963 w 247650"/>
              <a:gd name="connsiteY141" fmla="*/ 9922 h 142875"/>
              <a:gd name="connsiteX142" fmla="*/ 29958 w 247650"/>
              <a:gd name="connsiteY142" fmla="*/ 13891 h 142875"/>
              <a:gd name="connsiteX143" fmla="*/ 33952 w 247650"/>
              <a:gd name="connsiteY143" fmla="*/ 17860 h 142875"/>
              <a:gd name="connsiteX144" fmla="*/ 35949 w 247650"/>
              <a:gd name="connsiteY144" fmla="*/ 19844 h 142875"/>
              <a:gd name="connsiteX145" fmla="*/ 33952 w 247650"/>
              <a:gd name="connsiteY145" fmla="*/ 23813 h 142875"/>
              <a:gd name="connsiteX146" fmla="*/ 37946 w 247650"/>
              <a:gd name="connsiteY146" fmla="*/ 25797 h 142875"/>
              <a:gd name="connsiteX147" fmla="*/ 39944 w 247650"/>
              <a:gd name="connsiteY147" fmla="*/ 21828 h 142875"/>
              <a:gd name="connsiteX148" fmla="*/ 45935 w 247650"/>
              <a:gd name="connsiteY148" fmla="*/ 21828 h 142875"/>
              <a:gd name="connsiteX149" fmla="*/ 49930 w 247650"/>
              <a:gd name="connsiteY149" fmla="*/ 23813 h 142875"/>
              <a:gd name="connsiteX150" fmla="*/ 55921 w 247650"/>
              <a:gd name="connsiteY150" fmla="*/ 25797 h 142875"/>
              <a:gd name="connsiteX151" fmla="*/ 53924 w 247650"/>
              <a:gd name="connsiteY151" fmla="*/ 19844 h 142875"/>
              <a:gd name="connsiteX152" fmla="*/ 49930 w 247650"/>
              <a:gd name="connsiteY152" fmla="*/ 17860 h 142875"/>
              <a:gd name="connsiteX153" fmla="*/ 43938 w 247650"/>
              <a:gd name="connsiteY153" fmla="*/ 15875 h 142875"/>
              <a:gd name="connsiteX154" fmla="*/ 41941 w 247650"/>
              <a:gd name="connsiteY154" fmla="*/ 11906 h 142875"/>
              <a:gd name="connsiteX155" fmla="*/ 45935 w 247650"/>
              <a:gd name="connsiteY155" fmla="*/ 9922 h 142875"/>
              <a:gd name="connsiteX156" fmla="*/ 49930 w 247650"/>
              <a:gd name="connsiteY156" fmla="*/ 9922 h 142875"/>
              <a:gd name="connsiteX157" fmla="*/ 53924 w 247650"/>
              <a:gd name="connsiteY157" fmla="*/ 7938 h 142875"/>
              <a:gd name="connsiteX158" fmla="*/ 57918 w 247650"/>
              <a:gd name="connsiteY158" fmla="*/ 11906 h 142875"/>
              <a:gd name="connsiteX159" fmla="*/ 61913 w 247650"/>
              <a:gd name="connsiteY159" fmla="*/ 17860 h 142875"/>
              <a:gd name="connsiteX160" fmla="*/ 63910 w 247650"/>
              <a:gd name="connsiteY160" fmla="*/ 19844 h 142875"/>
              <a:gd name="connsiteX161" fmla="*/ 71899 w 247650"/>
              <a:gd name="connsiteY161" fmla="*/ 19844 h 142875"/>
              <a:gd name="connsiteX162" fmla="*/ 73896 w 247650"/>
              <a:gd name="connsiteY162" fmla="*/ 23813 h 142875"/>
              <a:gd name="connsiteX163" fmla="*/ 73896 w 247650"/>
              <a:gd name="connsiteY163" fmla="*/ 27781 h 142875"/>
              <a:gd name="connsiteX164" fmla="*/ 75893 w 247650"/>
              <a:gd name="connsiteY164" fmla="*/ 31750 h 142875"/>
              <a:gd name="connsiteX165" fmla="*/ 73896 w 247650"/>
              <a:gd name="connsiteY165" fmla="*/ 37703 h 142875"/>
              <a:gd name="connsiteX166" fmla="*/ 71899 w 247650"/>
              <a:gd name="connsiteY166" fmla="*/ 49610 h 142875"/>
              <a:gd name="connsiteX167" fmla="*/ 73896 w 247650"/>
              <a:gd name="connsiteY167" fmla="*/ 59531 h 142875"/>
              <a:gd name="connsiteX168" fmla="*/ 77890 w 247650"/>
              <a:gd name="connsiteY168" fmla="*/ 59531 h 142875"/>
              <a:gd name="connsiteX169" fmla="*/ 81884 w 247650"/>
              <a:gd name="connsiteY169" fmla="*/ 55563 h 142875"/>
              <a:gd name="connsiteX170" fmla="*/ 81884 w 247650"/>
              <a:gd name="connsiteY170" fmla="*/ 51594 h 142875"/>
              <a:gd name="connsiteX171" fmla="*/ 83882 w 247650"/>
              <a:gd name="connsiteY171" fmla="*/ 47625 h 142875"/>
              <a:gd name="connsiteX172" fmla="*/ 83882 w 247650"/>
              <a:gd name="connsiteY172" fmla="*/ 41672 h 142875"/>
              <a:gd name="connsiteX173" fmla="*/ 85879 w 247650"/>
              <a:gd name="connsiteY173" fmla="*/ 39688 h 142875"/>
              <a:gd name="connsiteX174" fmla="*/ 87876 w 247650"/>
              <a:gd name="connsiteY174" fmla="*/ 45641 h 142875"/>
              <a:gd name="connsiteX175" fmla="*/ 91870 w 247650"/>
              <a:gd name="connsiteY175" fmla="*/ 47625 h 142875"/>
              <a:gd name="connsiteX176" fmla="*/ 93867 w 247650"/>
              <a:gd name="connsiteY176" fmla="*/ 41672 h 142875"/>
              <a:gd name="connsiteX177" fmla="*/ 91870 w 247650"/>
              <a:gd name="connsiteY177" fmla="*/ 27781 h 142875"/>
              <a:gd name="connsiteX178" fmla="*/ 91870 w 247650"/>
              <a:gd name="connsiteY178" fmla="*/ 19844 h 142875"/>
              <a:gd name="connsiteX179" fmla="*/ 97862 w 247650"/>
              <a:gd name="connsiteY179" fmla="*/ 17860 h 142875"/>
              <a:gd name="connsiteX180" fmla="*/ 105851 w 247650"/>
              <a:gd name="connsiteY180" fmla="*/ 23813 h 142875"/>
              <a:gd name="connsiteX181" fmla="*/ 109845 w 247650"/>
              <a:gd name="connsiteY181" fmla="*/ 37703 h 142875"/>
              <a:gd name="connsiteX182" fmla="*/ 113839 w 247650"/>
              <a:gd name="connsiteY182" fmla="*/ 41672 h 142875"/>
              <a:gd name="connsiteX183" fmla="*/ 117834 w 247650"/>
              <a:gd name="connsiteY183" fmla="*/ 35719 h 142875"/>
              <a:gd name="connsiteX184" fmla="*/ 117834 w 247650"/>
              <a:gd name="connsiteY184" fmla="*/ 25797 h 142875"/>
              <a:gd name="connsiteX185" fmla="*/ 123825 w 247650"/>
              <a:gd name="connsiteY185" fmla="*/ 13891 h 142875"/>
              <a:gd name="connsiteX186" fmla="*/ 131814 w 247650"/>
              <a:gd name="connsiteY186" fmla="*/ 11906 h 142875"/>
              <a:gd name="connsiteX187" fmla="*/ 139803 w 247650"/>
              <a:gd name="connsiteY187" fmla="*/ 19844 h 142875"/>
              <a:gd name="connsiteX188" fmla="*/ 143797 w 247650"/>
              <a:gd name="connsiteY188" fmla="*/ 27781 h 142875"/>
              <a:gd name="connsiteX189" fmla="*/ 143797 w 247650"/>
              <a:gd name="connsiteY189" fmla="*/ 33735 h 142875"/>
              <a:gd name="connsiteX190" fmla="*/ 145794 w 247650"/>
              <a:gd name="connsiteY190" fmla="*/ 37703 h 142875"/>
              <a:gd name="connsiteX191" fmla="*/ 149788 w 247650"/>
              <a:gd name="connsiteY191" fmla="*/ 37703 h 142875"/>
              <a:gd name="connsiteX192" fmla="*/ 147791 w 247650"/>
              <a:gd name="connsiteY192" fmla="*/ 31750 h 142875"/>
              <a:gd name="connsiteX193" fmla="*/ 147791 w 247650"/>
              <a:gd name="connsiteY193" fmla="*/ 23813 h 142875"/>
              <a:gd name="connsiteX194" fmla="*/ 145794 w 247650"/>
              <a:gd name="connsiteY194" fmla="*/ 15875 h 142875"/>
              <a:gd name="connsiteX195" fmla="*/ 147791 w 247650"/>
              <a:gd name="connsiteY195" fmla="*/ 11906 h 142875"/>
              <a:gd name="connsiteX196" fmla="*/ 153783 w 247650"/>
              <a:gd name="connsiteY196" fmla="*/ 13891 h 142875"/>
              <a:gd name="connsiteX197" fmla="*/ 155780 w 247650"/>
              <a:gd name="connsiteY197" fmla="*/ 19844 h 142875"/>
              <a:gd name="connsiteX198" fmla="*/ 159774 w 247650"/>
              <a:gd name="connsiteY198" fmla="*/ 25797 h 142875"/>
              <a:gd name="connsiteX199" fmla="*/ 163769 w 247650"/>
              <a:gd name="connsiteY199" fmla="*/ 23813 h 142875"/>
              <a:gd name="connsiteX200" fmla="*/ 167763 w 247650"/>
              <a:gd name="connsiteY200" fmla="*/ 17860 h 142875"/>
              <a:gd name="connsiteX201" fmla="*/ 171757 w 247650"/>
              <a:gd name="connsiteY201" fmla="*/ 17860 h 142875"/>
              <a:gd name="connsiteX202" fmla="*/ 177749 w 247650"/>
              <a:gd name="connsiteY202" fmla="*/ 19844 h 142875"/>
              <a:gd name="connsiteX203" fmla="*/ 181743 w 247650"/>
              <a:gd name="connsiteY203" fmla="*/ 19844 h 142875"/>
              <a:gd name="connsiteX204" fmla="*/ 183740 w 247650"/>
              <a:gd name="connsiteY204" fmla="*/ 15875 h 142875"/>
              <a:gd name="connsiteX205" fmla="*/ 185738 w 247650"/>
              <a:gd name="connsiteY205" fmla="*/ 11906 h 142875"/>
              <a:gd name="connsiteX206" fmla="*/ 187735 w 247650"/>
              <a:gd name="connsiteY206" fmla="*/ 3969 h 142875"/>
              <a:gd name="connsiteX207" fmla="*/ 193726 w 247650"/>
              <a:gd name="connsiteY207" fmla="*/ 0 h 142875"/>
              <a:gd name="connsiteX208" fmla="*/ 44053 w 247650"/>
              <a:gd name="connsiteY208" fmla="*/ 0 h 142875"/>
              <a:gd name="connsiteX209" fmla="*/ 46038 w 247650"/>
              <a:gd name="connsiteY209" fmla="*/ 1984 h 142875"/>
              <a:gd name="connsiteX210" fmla="*/ 50006 w 247650"/>
              <a:gd name="connsiteY210" fmla="*/ 0 h 142875"/>
              <a:gd name="connsiteX211" fmla="*/ 51991 w 247650"/>
              <a:gd name="connsiteY211" fmla="*/ 0 h 142875"/>
              <a:gd name="connsiteX212" fmla="*/ 51991 w 247650"/>
              <a:gd name="connsiteY212" fmla="*/ 3969 h 142875"/>
              <a:gd name="connsiteX213" fmla="*/ 51991 w 247650"/>
              <a:gd name="connsiteY213" fmla="*/ 7937 h 142875"/>
              <a:gd name="connsiteX214" fmla="*/ 48022 w 247650"/>
              <a:gd name="connsiteY214" fmla="*/ 5953 h 142875"/>
              <a:gd name="connsiteX215" fmla="*/ 46038 w 247650"/>
              <a:gd name="connsiteY215" fmla="*/ 5953 h 142875"/>
              <a:gd name="connsiteX216" fmla="*/ 42069 w 247650"/>
              <a:gd name="connsiteY216" fmla="*/ 5953 h 142875"/>
              <a:gd name="connsiteX217" fmla="*/ 40085 w 247650"/>
              <a:gd name="connsiteY217" fmla="*/ 5953 h 142875"/>
              <a:gd name="connsiteX218" fmla="*/ 38100 w 247650"/>
              <a:gd name="connsiteY218" fmla="*/ 3969 h 142875"/>
              <a:gd name="connsiteX219" fmla="*/ 40085 w 247650"/>
              <a:gd name="connsiteY219" fmla="*/ 1984 h 142875"/>
              <a:gd name="connsiteX220" fmla="*/ 44053 w 247650"/>
              <a:gd name="connsiteY220"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247650" h="142875">
                <a:moveTo>
                  <a:pt x="193726" y="0"/>
                </a:moveTo>
                <a:cubicBezTo>
                  <a:pt x="193726" y="0"/>
                  <a:pt x="197721" y="0"/>
                  <a:pt x="199718" y="1984"/>
                </a:cubicBezTo>
                <a:cubicBezTo>
                  <a:pt x="201715" y="1984"/>
                  <a:pt x="203712" y="3969"/>
                  <a:pt x="203712" y="3969"/>
                </a:cubicBezTo>
                <a:cubicBezTo>
                  <a:pt x="205709" y="5953"/>
                  <a:pt x="205709" y="9922"/>
                  <a:pt x="205709" y="11906"/>
                </a:cubicBezTo>
                <a:cubicBezTo>
                  <a:pt x="207707" y="11906"/>
                  <a:pt x="205709" y="15875"/>
                  <a:pt x="205709" y="15875"/>
                </a:cubicBezTo>
                <a:cubicBezTo>
                  <a:pt x="205709" y="17860"/>
                  <a:pt x="203712" y="19844"/>
                  <a:pt x="203712" y="19844"/>
                </a:cubicBezTo>
                <a:cubicBezTo>
                  <a:pt x="205709" y="21828"/>
                  <a:pt x="209704" y="19844"/>
                  <a:pt x="209704" y="19844"/>
                </a:cubicBezTo>
                <a:cubicBezTo>
                  <a:pt x="209704" y="19844"/>
                  <a:pt x="215695" y="19844"/>
                  <a:pt x="217692" y="19844"/>
                </a:cubicBezTo>
                <a:cubicBezTo>
                  <a:pt x="219690" y="19844"/>
                  <a:pt x="223684" y="19844"/>
                  <a:pt x="225681" y="19844"/>
                </a:cubicBezTo>
                <a:cubicBezTo>
                  <a:pt x="227678" y="19844"/>
                  <a:pt x="229676" y="21828"/>
                  <a:pt x="229676" y="23813"/>
                </a:cubicBezTo>
                <a:cubicBezTo>
                  <a:pt x="229676" y="23813"/>
                  <a:pt x="227678" y="27781"/>
                  <a:pt x="227678" y="27781"/>
                </a:cubicBezTo>
                <a:cubicBezTo>
                  <a:pt x="227678" y="29766"/>
                  <a:pt x="223684" y="31750"/>
                  <a:pt x="221687" y="33735"/>
                </a:cubicBezTo>
                <a:cubicBezTo>
                  <a:pt x="221687" y="35719"/>
                  <a:pt x="221687" y="35719"/>
                  <a:pt x="223684" y="35719"/>
                </a:cubicBezTo>
                <a:cubicBezTo>
                  <a:pt x="223684" y="37703"/>
                  <a:pt x="227678" y="35719"/>
                  <a:pt x="227678" y="35719"/>
                </a:cubicBezTo>
                <a:cubicBezTo>
                  <a:pt x="229676" y="35719"/>
                  <a:pt x="231673" y="35719"/>
                  <a:pt x="233670" y="35719"/>
                </a:cubicBezTo>
                <a:cubicBezTo>
                  <a:pt x="233670" y="35719"/>
                  <a:pt x="235667" y="37703"/>
                  <a:pt x="235667" y="39688"/>
                </a:cubicBezTo>
                <a:cubicBezTo>
                  <a:pt x="237664" y="39688"/>
                  <a:pt x="239661" y="39688"/>
                  <a:pt x="241659" y="39688"/>
                </a:cubicBezTo>
                <a:cubicBezTo>
                  <a:pt x="243656" y="39688"/>
                  <a:pt x="243656" y="43656"/>
                  <a:pt x="243656" y="43656"/>
                </a:cubicBezTo>
                <a:cubicBezTo>
                  <a:pt x="243656" y="45641"/>
                  <a:pt x="243656" y="45641"/>
                  <a:pt x="245653" y="47625"/>
                </a:cubicBezTo>
                <a:cubicBezTo>
                  <a:pt x="245653" y="49610"/>
                  <a:pt x="245653" y="49610"/>
                  <a:pt x="247650" y="49610"/>
                </a:cubicBezTo>
                <a:cubicBezTo>
                  <a:pt x="247650" y="51594"/>
                  <a:pt x="245653" y="53578"/>
                  <a:pt x="245653" y="53578"/>
                </a:cubicBezTo>
                <a:cubicBezTo>
                  <a:pt x="245653" y="55563"/>
                  <a:pt x="245653" y="61516"/>
                  <a:pt x="245653" y="61516"/>
                </a:cubicBezTo>
                <a:cubicBezTo>
                  <a:pt x="243656" y="63500"/>
                  <a:pt x="243656" y="65485"/>
                  <a:pt x="243656" y="67469"/>
                </a:cubicBezTo>
                <a:cubicBezTo>
                  <a:pt x="243656" y="69453"/>
                  <a:pt x="243656" y="69453"/>
                  <a:pt x="243656" y="71438"/>
                </a:cubicBezTo>
                <a:cubicBezTo>
                  <a:pt x="243656" y="73422"/>
                  <a:pt x="239661" y="75406"/>
                  <a:pt x="239661" y="75406"/>
                </a:cubicBezTo>
                <a:cubicBezTo>
                  <a:pt x="239661" y="77391"/>
                  <a:pt x="239661" y="79375"/>
                  <a:pt x="239661" y="81360"/>
                </a:cubicBezTo>
                <a:cubicBezTo>
                  <a:pt x="239661" y="83344"/>
                  <a:pt x="235667" y="83344"/>
                  <a:pt x="235667" y="83344"/>
                </a:cubicBezTo>
                <a:cubicBezTo>
                  <a:pt x="235667" y="83344"/>
                  <a:pt x="231673" y="83344"/>
                  <a:pt x="231673" y="85328"/>
                </a:cubicBezTo>
                <a:cubicBezTo>
                  <a:pt x="231673" y="85328"/>
                  <a:pt x="229676" y="91281"/>
                  <a:pt x="229676" y="91281"/>
                </a:cubicBezTo>
                <a:cubicBezTo>
                  <a:pt x="229676" y="93266"/>
                  <a:pt x="225681" y="95250"/>
                  <a:pt x="225681" y="95250"/>
                </a:cubicBezTo>
                <a:cubicBezTo>
                  <a:pt x="225681" y="97235"/>
                  <a:pt x="221687" y="99219"/>
                  <a:pt x="219690" y="99219"/>
                </a:cubicBezTo>
                <a:cubicBezTo>
                  <a:pt x="219690" y="101203"/>
                  <a:pt x="213698" y="101203"/>
                  <a:pt x="211701" y="101203"/>
                </a:cubicBezTo>
                <a:cubicBezTo>
                  <a:pt x="211701" y="101203"/>
                  <a:pt x="209704" y="101203"/>
                  <a:pt x="209704" y="101203"/>
                </a:cubicBezTo>
                <a:cubicBezTo>
                  <a:pt x="209704" y="99219"/>
                  <a:pt x="209704" y="97235"/>
                  <a:pt x="209704" y="95250"/>
                </a:cubicBezTo>
                <a:cubicBezTo>
                  <a:pt x="209704" y="95250"/>
                  <a:pt x="209704" y="93266"/>
                  <a:pt x="207707" y="93266"/>
                </a:cubicBezTo>
                <a:cubicBezTo>
                  <a:pt x="207707" y="95250"/>
                  <a:pt x="205709" y="95250"/>
                  <a:pt x="205709" y="97235"/>
                </a:cubicBezTo>
                <a:cubicBezTo>
                  <a:pt x="205709" y="99219"/>
                  <a:pt x="203712" y="101203"/>
                  <a:pt x="201715" y="101203"/>
                </a:cubicBezTo>
                <a:cubicBezTo>
                  <a:pt x="201715" y="103188"/>
                  <a:pt x="197721" y="103188"/>
                  <a:pt x="197721" y="103188"/>
                </a:cubicBezTo>
                <a:cubicBezTo>
                  <a:pt x="195724" y="103188"/>
                  <a:pt x="193726" y="107156"/>
                  <a:pt x="193726" y="107156"/>
                </a:cubicBezTo>
                <a:cubicBezTo>
                  <a:pt x="193726" y="109141"/>
                  <a:pt x="189732" y="111125"/>
                  <a:pt x="189732" y="113110"/>
                </a:cubicBezTo>
                <a:cubicBezTo>
                  <a:pt x="187735" y="113110"/>
                  <a:pt x="183740" y="115094"/>
                  <a:pt x="181743" y="117078"/>
                </a:cubicBezTo>
                <a:cubicBezTo>
                  <a:pt x="181743" y="117078"/>
                  <a:pt x="175752" y="117078"/>
                  <a:pt x="173755" y="119063"/>
                </a:cubicBezTo>
                <a:cubicBezTo>
                  <a:pt x="171757" y="119063"/>
                  <a:pt x="169760" y="119063"/>
                  <a:pt x="167763" y="121047"/>
                </a:cubicBezTo>
                <a:cubicBezTo>
                  <a:pt x="165766" y="121047"/>
                  <a:pt x="165766" y="121047"/>
                  <a:pt x="163769" y="123031"/>
                </a:cubicBezTo>
                <a:cubicBezTo>
                  <a:pt x="161772" y="123031"/>
                  <a:pt x="161772" y="123031"/>
                  <a:pt x="159774" y="123031"/>
                </a:cubicBezTo>
                <a:cubicBezTo>
                  <a:pt x="159774" y="123031"/>
                  <a:pt x="155780" y="123031"/>
                  <a:pt x="155780" y="123031"/>
                </a:cubicBezTo>
                <a:cubicBezTo>
                  <a:pt x="155780" y="123031"/>
                  <a:pt x="153783" y="123031"/>
                  <a:pt x="153783" y="125016"/>
                </a:cubicBezTo>
                <a:cubicBezTo>
                  <a:pt x="153783" y="125016"/>
                  <a:pt x="153783" y="127000"/>
                  <a:pt x="153783" y="128985"/>
                </a:cubicBezTo>
                <a:cubicBezTo>
                  <a:pt x="151786" y="128985"/>
                  <a:pt x="151786" y="130969"/>
                  <a:pt x="151786" y="130969"/>
                </a:cubicBezTo>
                <a:cubicBezTo>
                  <a:pt x="149788" y="130969"/>
                  <a:pt x="147791" y="128985"/>
                  <a:pt x="147791" y="130969"/>
                </a:cubicBezTo>
                <a:cubicBezTo>
                  <a:pt x="145794" y="130969"/>
                  <a:pt x="145794" y="132953"/>
                  <a:pt x="145794" y="132953"/>
                </a:cubicBezTo>
                <a:cubicBezTo>
                  <a:pt x="145794" y="134938"/>
                  <a:pt x="143797" y="138906"/>
                  <a:pt x="141800" y="140891"/>
                </a:cubicBezTo>
                <a:cubicBezTo>
                  <a:pt x="139803" y="140891"/>
                  <a:pt x="137805" y="142875"/>
                  <a:pt x="135808" y="142875"/>
                </a:cubicBezTo>
                <a:cubicBezTo>
                  <a:pt x="133811" y="142875"/>
                  <a:pt x="131814" y="140891"/>
                  <a:pt x="129817" y="140891"/>
                </a:cubicBezTo>
                <a:cubicBezTo>
                  <a:pt x="127819" y="140891"/>
                  <a:pt x="125822" y="138906"/>
                  <a:pt x="123825" y="138906"/>
                </a:cubicBezTo>
                <a:cubicBezTo>
                  <a:pt x="121828" y="138906"/>
                  <a:pt x="119831" y="140891"/>
                  <a:pt x="115836" y="140891"/>
                </a:cubicBezTo>
                <a:cubicBezTo>
                  <a:pt x="113839" y="140891"/>
                  <a:pt x="111842" y="140891"/>
                  <a:pt x="111842" y="138906"/>
                </a:cubicBezTo>
                <a:cubicBezTo>
                  <a:pt x="109845" y="138906"/>
                  <a:pt x="107848" y="134938"/>
                  <a:pt x="107848" y="134938"/>
                </a:cubicBezTo>
                <a:cubicBezTo>
                  <a:pt x="107848" y="134938"/>
                  <a:pt x="105851" y="132953"/>
                  <a:pt x="103853" y="132953"/>
                </a:cubicBezTo>
                <a:cubicBezTo>
                  <a:pt x="101856" y="134938"/>
                  <a:pt x="99859" y="134938"/>
                  <a:pt x="99859" y="134938"/>
                </a:cubicBezTo>
                <a:cubicBezTo>
                  <a:pt x="97862" y="134938"/>
                  <a:pt x="95865" y="132953"/>
                  <a:pt x="93867" y="132953"/>
                </a:cubicBezTo>
                <a:cubicBezTo>
                  <a:pt x="93867" y="132953"/>
                  <a:pt x="91870" y="130969"/>
                  <a:pt x="91870" y="130969"/>
                </a:cubicBezTo>
                <a:cubicBezTo>
                  <a:pt x="89873" y="130969"/>
                  <a:pt x="87876" y="130969"/>
                  <a:pt x="87876" y="128985"/>
                </a:cubicBezTo>
                <a:cubicBezTo>
                  <a:pt x="87876" y="128985"/>
                  <a:pt x="89873" y="125016"/>
                  <a:pt x="89873" y="125016"/>
                </a:cubicBezTo>
                <a:cubicBezTo>
                  <a:pt x="89873" y="125016"/>
                  <a:pt x="89873" y="123031"/>
                  <a:pt x="89873" y="121047"/>
                </a:cubicBezTo>
                <a:cubicBezTo>
                  <a:pt x="87876" y="121047"/>
                  <a:pt x="87876" y="119063"/>
                  <a:pt x="87876" y="121047"/>
                </a:cubicBezTo>
                <a:cubicBezTo>
                  <a:pt x="85879" y="121047"/>
                  <a:pt x="85879" y="123031"/>
                  <a:pt x="85879" y="123031"/>
                </a:cubicBezTo>
                <a:cubicBezTo>
                  <a:pt x="83882" y="125016"/>
                  <a:pt x="83882" y="128985"/>
                  <a:pt x="81884" y="127000"/>
                </a:cubicBezTo>
                <a:cubicBezTo>
                  <a:pt x="79887" y="127000"/>
                  <a:pt x="79887" y="125016"/>
                  <a:pt x="77890" y="125016"/>
                </a:cubicBezTo>
                <a:cubicBezTo>
                  <a:pt x="75893" y="123031"/>
                  <a:pt x="73896" y="121047"/>
                  <a:pt x="73896" y="121047"/>
                </a:cubicBezTo>
                <a:cubicBezTo>
                  <a:pt x="71899" y="121047"/>
                  <a:pt x="71899" y="121047"/>
                  <a:pt x="71899" y="119063"/>
                </a:cubicBezTo>
                <a:cubicBezTo>
                  <a:pt x="71899" y="117078"/>
                  <a:pt x="71899" y="115094"/>
                  <a:pt x="71899" y="115094"/>
                </a:cubicBezTo>
                <a:cubicBezTo>
                  <a:pt x="71899" y="113110"/>
                  <a:pt x="69901" y="113110"/>
                  <a:pt x="67904" y="115094"/>
                </a:cubicBezTo>
                <a:cubicBezTo>
                  <a:pt x="65907" y="115094"/>
                  <a:pt x="57918" y="117078"/>
                  <a:pt x="55921" y="117078"/>
                </a:cubicBezTo>
                <a:cubicBezTo>
                  <a:pt x="53924" y="117078"/>
                  <a:pt x="43938" y="119063"/>
                  <a:pt x="41941" y="119063"/>
                </a:cubicBezTo>
                <a:cubicBezTo>
                  <a:pt x="41941" y="119063"/>
                  <a:pt x="37946" y="115094"/>
                  <a:pt x="37946" y="115094"/>
                </a:cubicBezTo>
                <a:cubicBezTo>
                  <a:pt x="37946" y="113110"/>
                  <a:pt x="37946" y="111125"/>
                  <a:pt x="37946" y="111125"/>
                </a:cubicBezTo>
                <a:cubicBezTo>
                  <a:pt x="39944" y="109141"/>
                  <a:pt x="43938" y="111125"/>
                  <a:pt x="45935" y="111125"/>
                </a:cubicBezTo>
                <a:cubicBezTo>
                  <a:pt x="47932" y="109141"/>
                  <a:pt x="51927" y="111125"/>
                  <a:pt x="53924" y="109141"/>
                </a:cubicBezTo>
                <a:cubicBezTo>
                  <a:pt x="55921" y="109141"/>
                  <a:pt x="55921" y="103188"/>
                  <a:pt x="55921" y="103188"/>
                </a:cubicBezTo>
                <a:cubicBezTo>
                  <a:pt x="55921" y="101203"/>
                  <a:pt x="55921" y="97235"/>
                  <a:pt x="55921" y="95250"/>
                </a:cubicBezTo>
                <a:cubicBezTo>
                  <a:pt x="55921" y="95250"/>
                  <a:pt x="57918" y="91281"/>
                  <a:pt x="57918" y="91281"/>
                </a:cubicBezTo>
                <a:cubicBezTo>
                  <a:pt x="57918" y="89297"/>
                  <a:pt x="57918" y="87313"/>
                  <a:pt x="57918" y="87313"/>
                </a:cubicBezTo>
                <a:cubicBezTo>
                  <a:pt x="55921" y="87313"/>
                  <a:pt x="53924" y="89297"/>
                  <a:pt x="53924" y="89297"/>
                </a:cubicBezTo>
                <a:cubicBezTo>
                  <a:pt x="53924" y="91281"/>
                  <a:pt x="49930" y="91281"/>
                  <a:pt x="49930" y="91281"/>
                </a:cubicBezTo>
                <a:cubicBezTo>
                  <a:pt x="49930" y="89297"/>
                  <a:pt x="47932" y="87313"/>
                  <a:pt x="47932" y="85328"/>
                </a:cubicBezTo>
                <a:cubicBezTo>
                  <a:pt x="49930" y="85328"/>
                  <a:pt x="49930" y="81360"/>
                  <a:pt x="49930" y="81360"/>
                </a:cubicBezTo>
                <a:cubicBezTo>
                  <a:pt x="49930" y="79375"/>
                  <a:pt x="49930" y="77391"/>
                  <a:pt x="47932" y="77391"/>
                </a:cubicBezTo>
                <a:cubicBezTo>
                  <a:pt x="45935" y="77391"/>
                  <a:pt x="41941" y="77391"/>
                  <a:pt x="41941" y="77391"/>
                </a:cubicBezTo>
                <a:cubicBezTo>
                  <a:pt x="39944" y="77391"/>
                  <a:pt x="33952" y="77391"/>
                  <a:pt x="31955" y="77391"/>
                </a:cubicBezTo>
                <a:cubicBezTo>
                  <a:pt x="31955" y="77391"/>
                  <a:pt x="27961" y="77391"/>
                  <a:pt x="27961" y="77391"/>
                </a:cubicBezTo>
                <a:cubicBezTo>
                  <a:pt x="25963" y="77391"/>
                  <a:pt x="23966" y="77391"/>
                  <a:pt x="23966" y="77391"/>
                </a:cubicBezTo>
                <a:cubicBezTo>
                  <a:pt x="21969" y="77391"/>
                  <a:pt x="17975" y="77391"/>
                  <a:pt x="17975" y="77391"/>
                </a:cubicBezTo>
                <a:cubicBezTo>
                  <a:pt x="15978" y="77391"/>
                  <a:pt x="15978" y="79375"/>
                  <a:pt x="13980" y="79375"/>
                </a:cubicBezTo>
                <a:cubicBezTo>
                  <a:pt x="11983" y="81360"/>
                  <a:pt x="9986" y="79375"/>
                  <a:pt x="9986" y="79375"/>
                </a:cubicBezTo>
                <a:cubicBezTo>
                  <a:pt x="9986" y="77391"/>
                  <a:pt x="9986" y="73422"/>
                  <a:pt x="11983" y="73422"/>
                </a:cubicBezTo>
                <a:cubicBezTo>
                  <a:pt x="11983" y="71438"/>
                  <a:pt x="13980" y="71438"/>
                  <a:pt x="13980" y="71438"/>
                </a:cubicBezTo>
                <a:cubicBezTo>
                  <a:pt x="15978" y="71438"/>
                  <a:pt x="19972" y="69453"/>
                  <a:pt x="19972" y="69453"/>
                </a:cubicBezTo>
                <a:cubicBezTo>
                  <a:pt x="21969" y="69453"/>
                  <a:pt x="23966" y="69453"/>
                  <a:pt x="25963" y="69453"/>
                </a:cubicBezTo>
                <a:cubicBezTo>
                  <a:pt x="27961" y="67469"/>
                  <a:pt x="27961" y="67469"/>
                  <a:pt x="29958" y="65485"/>
                </a:cubicBezTo>
                <a:cubicBezTo>
                  <a:pt x="31955" y="65485"/>
                  <a:pt x="31955" y="65485"/>
                  <a:pt x="33952" y="65485"/>
                </a:cubicBezTo>
                <a:cubicBezTo>
                  <a:pt x="35949" y="65485"/>
                  <a:pt x="37946" y="67469"/>
                  <a:pt x="39944" y="69453"/>
                </a:cubicBezTo>
                <a:cubicBezTo>
                  <a:pt x="41941" y="69453"/>
                  <a:pt x="41941" y="69453"/>
                  <a:pt x="43938" y="69453"/>
                </a:cubicBezTo>
                <a:cubicBezTo>
                  <a:pt x="45935" y="69453"/>
                  <a:pt x="45935" y="69453"/>
                  <a:pt x="47932" y="67469"/>
                </a:cubicBezTo>
                <a:cubicBezTo>
                  <a:pt x="49930" y="67469"/>
                  <a:pt x="49930" y="67469"/>
                  <a:pt x="51927" y="67469"/>
                </a:cubicBezTo>
                <a:cubicBezTo>
                  <a:pt x="53924" y="67469"/>
                  <a:pt x="55921" y="67469"/>
                  <a:pt x="57918" y="67469"/>
                </a:cubicBezTo>
                <a:cubicBezTo>
                  <a:pt x="57918" y="67469"/>
                  <a:pt x="61913" y="67469"/>
                  <a:pt x="61913" y="67469"/>
                </a:cubicBezTo>
                <a:cubicBezTo>
                  <a:pt x="61913" y="67469"/>
                  <a:pt x="61913" y="63500"/>
                  <a:pt x="61913" y="63500"/>
                </a:cubicBezTo>
                <a:cubicBezTo>
                  <a:pt x="61913" y="61516"/>
                  <a:pt x="59915" y="61516"/>
                  <a:pt x="59915" y="61516"/>
                </a:cubicBezTo>
                <a:cubicBezTo>
                  <a:pt x="57918" y="61516"/>
                  <a:pt x="53924" y="61516"/>
                  <a:pt x="53924" y="61516"/>
                </a:cubicBezTo>
                <a:cubicBezTo>
                  <a:pt x="51927" y="63500"/>
                  <a:pt x="49930" y="63500"/>
                  <a:pt x="47932" y="63500"/>
                </a:cubicBezTo>
                <a:cubicBezTo>
                  <a:pt x="47932" y="61516"/>
                  <a:pt x="45935" y="61516"/>
                  <a:pt x="45935" y="59531"/>
                </a:cubicBezTo>
                <a:cubicBezTo>
                  <a:pt x="45935" y="57547"/>
                  <a:pt x="47932" y="55563"/>
                  <a:pt x="47932" y="55563"/>
                </a:cubicBezTo>
                <a:cubicBezTo>
                  <a:pt x="49930" y="53578"/>
                  <a:pt x="53924" y="53578"/>
                  <a:pt x="53924" y="53578"/>
                </a:cubicBezTo>
                <a:cubicBezTo>
                  <a:pt x="55921" y="53578"/>
                  <a:pt x="57918" y="53578"/>
                  <a:pt x="57918" y="53578"/>
                </a:cubicBezTo>
                <a:cubicBezTo>
                  <a:pt x="57918" y="53578"/>
                  <a:pt x="57918" y="49610"/>
                  <a:pt x="55921" y="49610"/>
                </a:cubicBezTo>
                <a:cubicBezTo>
                  <a:pt x="53924" y="49610"/>
                  <a:pt x="49930" y="47625"/>
                  <a:pt x="47932" y="47625"/>
                </a:cubicBezTo>
                <a:cubicBezTo>
                  <a:pt x="45935" y="47625"/>
                  <a:pt x="39944" y="47625"/>
                  <a:pt x="37946" y="47625"/>
                </a:cubicBezTo>
                <a:cubicBezTo>
                  <a:pt x="37946" y="47625"/>
                  <a:pt x="33952" y="49610"/>
                  <a:pt x="31955" y="51594"/>
                </a:cubicBezTo>
                <a:cubicBezTo>
                  <a:pt x="31955" y="51594"/>
                  <a:pt x="25963" y="51594"/>
                  <a:pt x="25963" y="53578"/>
                </a:cubicBezTo>
                <a:cubicBezTo>
                  <a:pt x="23966" y="53578"/>
                  <a:pt x="21969" y="53578"/>
                  <a:pt x="19972" y="53578"/>
                </a:cubicBezTo>
                <a:cubicBezTo>
                  <a:pt x="19972" y="55563"/>
                  <a:pt x="17975" y="55563"/>
                  <a:pt x="15978" y="55563"/>
                </a:cubicBezTo>
                <a:cubicBezTo>
                  <a:pt x="13980" y="55563"/>
                  <a:pt x="11983" y="55563"/>
                  <a:pt x="11983" y="53578"/>
                </a:cubicBezTo>
                <a:cubicBezTo>
                  <a:pt x="11983" y="53578"/>
                  <a:pt x="11983" y="49610"/>
                  <a:pt x="9986" y="49610"/>
                </a:cubicBezTo>
                <a:cubicBezTo>
                  <a:pt x="7989" y="49610"/>
                  <a:pt x="5992" y="49610"/>
                  <a:pt x="5992" y="49610"/>
                </a:cubicBezTo>
                <a:cubicBezTo>
                  <a:pt x="3994" y="49610"/>
                  <a:pt x="1997" y="49610"/>
                  <a:pt x="0" y="49610"/>
                </a:cubicBezTo>
                <a:cubicBezTo>
                  <a:pt x="0" y="49610"/>
                  <a:pt x="0" y="45641"/>
                  <a:pt x="0" y="45641"/>
                </a:cubicBezTo>
                <a:cubicBezTo>
                  <a:pt x="0" y="43656"/>
                  <a:pt x="3994" y="43656"/>
                  <a:pt x="5992" y="43656"/>
                </a:cubicBezTo>
                <a:cubicBezTo>
                  <a:pt x="7989" y="45641"/>
                  <a:pt x="9986" y="45641"/>
                  <a:pt x="11983" y="45641"/>
                </a:cubicBezTo>
                <a:cubicBezTo>
                  <a:pt x="13980" y="45641"/>
                  <a:pt x="15978" y="45641"/>
                  <a:pt x="17975" y="43656"/>
                </a:cubicBezTo>
                <a:cubicBezTo>
                  <a:pt x="19972" y="43656"/>
                  <a:pt x="21969" y="39688"/>
                  <a:pt x="21969" y="39688"/>
                </a:cubicBezTo>
                <a:cubicBezTo>
                  <a:pt x="23966" y="37703"/>
                  <a:pt x="23966" y="37703"/>
                  <a:pt x="25963" y="37703"/>
                </a:cubicBezTo>
                <a:cubicBezTo>
                  <a:pt x="25963" y="35719"/>
                  <a:pt x="25963" y="35719"/>
                  <a:pt x="23966" y="35719"/>
                </a:cubicBezTo>
                <a:cubicBezTo>
                  <a:pt x="23966" y="35719"/>
                  <a:pt x="19972" y="33735"/>
                  <a:pt x="19972" y="33735"/>
                </a:cubicBezTo>
                <a:cubicBezTo>
                  <a:pt x="17975" y="31750"/>
                  <a:pt x="15978" y="31750"/>
                  <a:pt x="15978" y="29766"/>
                </a:cubicBezTo>
                <a:cubicBezTo>
                  <a:pt x="17975" y="27781"/>
                  <a:pt x="17975" y="27781"/>
                  <a:pt x="19972" y="27781"/>
                </a:cubicBezTo>
                <a:cubicBezTo>
                  <a:pt x="21969" y="27781"/>
                  <a:pt x="23966" y="27781"/>
                  <a:pt x="23966" y="25797"/>
                </a:cubicBezTo>
                <a:cubicBezTo>
                  <a:pt x="23966" y="25797"/>
                  <a:pt x="19972" y="23813"/>
                  <a:pt x="19972" y="21828"/>
                </a:cubicBezTo>
                <a:cubicBezTo>
                  <a:pt x="17975" y="21828"/>
                  <a:pt x="19972" y="19844"/>
                  <a:pt x="19972" y="17860"/>
                </a:cubicBezTo>
                <a:cubicBezTo>
                  <a:pt x="21969" y="17860"/>
                  <a:pt x="21969" y="17860"/>
                  <a:pt x="23966" y="15875"/>
                </a:cubicBezTo>
                <a:cubicBezTo>
                  <a:pt x="23966" y="15875"/>
                  <a:pt x="23966" y="13891"/>
                  <a:pt x="23966" y="11906"/>
                </a:cubicBezTo>
                <a:cubicBezTo>
                  <a:pt x="23966" y="11906"/>
                  <a:pt x="23966" y="9922"/>
                  <a:pt x="25963" y="9922"/>
                </a:cubicBezTo>
                <a:cubicBezTo>
                  <a:pt x="25963" y="9922"/>
                  <a:pt x="29958" y="11906"/>
                  <a:pt x="29958" y="13891"/>
                </a:cubicBezTo>
                <a:cubicBezTo>
                  <a:pt x="31955" y="13891"/>
                  <a:pt x="31955" y="15875"/>
                  <a:pt x="33952" y="17860"/>
                </a:cubicBezTo>
                <a:cubicBezTo>
                  <a:pt x="33952" y="19844"/>
                  <a:pt x="35949" y="19844"/>
                  <a:pt x="35949" y="19844"/>
                </a:cubicBezTo>
                <a:cubicBezTo>
                  <a:pt x="35949" y="21828"/>
                  <a:pt x="33952" y="21828"/>
                  <a:pt x="33952" y="23813"/>
                </a:cubicBezTo>
                <a:cubicBezTo>
                  <a:pt x="35949" y="25797"/>
                  <a:pt x="35949" y="25797"/>
                  <a:pt x="37946" y="25797"/>
                </a:cubicBezTo>
                <a:cubicBezTo>
                  <a:pt x="37946" y="23813"/>
                  <a:pt x="37946" y="21828"/>
                  <a:pt x="39944" y="21828"/>
                </a:cubicBezTo>
                <a:cubicBezTo>
                  <a:pt x="41941" y="19844"/>
                  <a:pt x="43938" y="19844"/>
                  <a:pt x="45935" y="21828"/>
                </a:cubicBezTo>
                <a:cubicBezTo>
                  <a:pt x="47932" y="21828"/>
                  <a:pt x="49930" y="23813"/>
                  <a:pt x="49930" y="23813"/>
                </a:cubicBezTo>
                <a:cubicBezTo>
                  <a:pt x="53924" y="25797"/>
                  <a:pt x="53924" y="27781"/>
                  <a:pt x="55921" y="25797"/>
                </a:cubicBezTo>
                <a:cubicBezTo>
                  <a:pt x="55921" y="23813"/>
                  <a:pt x="55921" y="21828"/>
                  <a:pt x="53924" y="19844"/>
                </a:cubicBezTo>
                <a:cubicBezTo>
                  <a:pt x="53924" y="19844"/>
                  <a:pt x="49930" y="17860"/>
                  <a:pt x="49930" y="17860"/>
                </a:cubicBezTo>
                <a:cubicBezTo>
                  <a:pt x="47932" y="17860"/>
                  <a:pt x="43938" y="15875"/>
                  <a:pt x="43938" y="15875"/>
                </a:cubicBezTo>
                <a:cubicBezTo>
                  <a:pt x="41941" y="13891"/>
                  <a:pt x="41941" y="13891"/>
                  <a:pt x="41941" y="11906"/>
                </a:cubicBezTo>
                <a:cubicBezTo>
                  <a:pt x="41941" y="11906"/>
                  <a:pt x="43938" y="9922"/>
                  <a:pt x="45935" y="9922"/>
                </a:cubicBezTo>
                <a:cubicBezTo>
                  <a:pt x="47932" y="9922"/>
                  <a:pt x="47932" y="9922"/>
                  <a:pt x="49930" y="9922"/>
                </a:cubicBezTo>
                <a:cubicBezTo>
                  <a:pt x="49930" y="9922"/>
                  <a:pt x="53924" y="7938"/>
                  <a:pt x="53924" y="7938"/>
                </a:cubicBezTo>
                <a:cubicBezTo>
                  <a:pt x="55921" y="7938"/>
                  <a:pt x="57918" y="9922"/>
                  <a:pt x="57918" y="11906"/>
                </a:cubicBezTo>
                <a:cubicBezTo>
                  <a:pt x="59915" y="13891"/>
                  <a:pt x="59915" y="15875"/>
                  <a:pt x="61913" y="17860"/>
                </a:cubicBezTo>
                <a:cubicBezTo>
                  <a:pt x="61913" y="19844"/>
                  <a:pt x="63910" y="19844"/>
                  <a:pt x="63910" y="19844"/>
                </a:cubicBezTo>
                <a:cubicBezTo>
                  <a:pt x="63910" y="19844"/>
                  <a:pt x="69901" y="17860"/>
                  <a:pt x="71899" y="19844"/>
                </a:cubicBezTo>
                <a:cubicBezTo>
                  <a:pt x="73896" y="19844"/>
                  <a:pt x="75893" y="21828"/>
                  <a:pt x="73896" y="23813"/>
                </a:cubicBezTo>
                <a:cubicBezTo>
                  <a:pt x="73896" y="23813"/>
                  <a:pt x="71899" y="25797"/>
                  <a:pt x="73896" y="27781"/>
                </a:cubicBezTo>
                <a:cubicBezTo>
                  <a:pt x="73896" y="27781"/>
                  <a:pt x="75893" y="29766"/>
                  <a:pt x="75893" y="31750"/>
                </a:cubicBezTo>
                <a:cubicBezTo>
                  <a:pt x="75893" y="33735"/>
                  <a:pt x="73896" y="35719"/>
                  <a:pt x="73896" y="37703"/>
                </a:cubicBezTo>
                <a:cubicBezTo>
                  <a:pt x="73896" y="39688"/>
                  <a:pt x="71899" y="45641"/>
                  <a:pt x="71899" y="49610"/>
                </a:cubicBezTo>
                <a:cubicBezTo>
                  <a:pt x="71899" y="51594"/>
                  <a:pt x="73896" y="57547"/>
                  <a:pt x="73896" y="59531"/>
                </a:cubicBezTo>
                <a:cubicBezTo>
                  <a:pt x="75893" y="61516"/>
                  <a:pt x="75893" y="61516"/>
                  <a:pt x="77890" y="59531"/>
                </a:cubicBezTo>
                <a:cubicBezTo>
                  <a:pt x="79887" y="59531"/>
                  <a:pt x="79887" y="57547"/>
                  <a:pt x="81884" y="55563"/>
                </a:cubicBezTo>
                <a:cubicBezTo>
                  <a:pt x="81884" y="53578"/>
                  <a:pt x="81884" y="53578"/>
                  <a:pt x="81884" y="51594"/>
                </a:cubicBezTo>
                <a:cubicBezTo>
                  <a:pt x="83882" y="49610"/>
                  <a:pt x="83882" y="47625"/>
                  <a:pt x="83882" y="47625"/>
                </a:cubicBezTo>
                <a:cubicBezTo>
                  <a:pt x="83882" y="45641"/>
                  <a:pt x="81884" y="43656"/>
                  <a:pt x="83882" y="41672"/>
                </a:cubicBezTo>
                <a:cubicBezTo>
                  <a:pt x="83882" y="39688"/>
                  <a:pt x="85879" y="39688"/>
                  <a:pt x="85879" y="39688"/>
                </a:cubicBezTo>
                <a:cubicBezTo>
                  <a:pt x="87876" y="39688"/>
                  <a:pt x="87876" y="43656"/>
                  <a:pt x="87876" y="45641"/>
                </a:cubicBezTo>
                <a:cubicBezTo>
                  <a:pt x="87876" y="45641"/>
                  <a:pt x="87876" y="47625"/>
                  <a:pt x="91870" y="47625"/>
                </a:cubicBezTo>
                <a:cubicBezTo>
                  <a:pt x="93867" y="45641"/>
                  <a:pt x="93867" y="41672"/>
                  <a:pt x="93867" y="41672"/>
                </a:cubicBezTo>
                <a:cubicBezTo>
                  <a:pt x="93867" y="41672"/>
                  <a:pt x="91870" y="29766"/>
                  <a:pt x="91870" y="27781"/>
                </a:cubicBezTo>
                <a:cubicBezTo>
                  <a:pt x="91870" y="23813"/>
                  <a:pt x="89873" y="19844"/>
                  <a:pt x="91870" y="19844"/>
                </a:cubicBezTo>
                <a:cubicBezTo>
                  <a:pt x="93867" y="17860"/>
                  <a:pt x="95865" y="15875"/>
                  <a:pt x="97862" y="17860"/>
                </a:cubicBezTo>
                <a:cubicBezTo>
                  <a:pt x="99859" y="19844"/>
                  <a:pt x="103853" y="23813"/>
                  <a:pt x="105851" y="23813"/>
                </a:cubicBezTo>
                <a:cubicBezTo>
                  <a:pt x="105851" y="25797"/>
                  <a:pt x="107848" y="33735"/>
                  <a:pt x="109845" y="37703"/>
                </a:cubicBezTo>
                <a:cubicBezTo>
                  <a:pt x="111842" y="39688"/>
                  <a:pt x="111842" y="41672"/>
                  <a:pt x="113839" y="41672"/>
                </a:cubicBezTo>
                <a:cubicBezTo>
                  <a:pt x="115836" y="39688"/>
                  <a:pt x="117834" y="39688"/>
                  <a:pt x="117834" y="35719"/>
                </a:cubicBezTo>
                <a:cubicBezTo>
                  <a:pt x="115836" y="33735"/>
                  <a:pt x="117834" y="27781"/>
                  <a:pt x="117834" y="25797"/>
                </a:cubicBezTo>
                <a:cubicBezTo>
                  <a:pt x="119831" y="21828"/>
                  <a:pt x="121828" y="15875"/>
                  <a:pt x="123825" y="13891"/>
                </a:cubicBezTo>
                <a:cubicBezTo>
                  <a:pt x="127819" y="11906"/>
                  <a:pt x="127819" y="9922"/>
                  <a:pt x="131814" y="11906"/>
                </a:cubicBezTo>
                <a:cubicBezTo>
                  <a:pt x="135808" y="13891"/>
                  <a:pt x="139803" y="19844"/>
                  <a:pt x="139803" y="19844"/>
                </a:cubicBezTo>
                <a:cubicBezTo>
                  <a:pt x="139803" y="19844"/>
                  <a:pt x="143797" y="25797"/>
                  <a:pt x="143797" y="27781"/>
                </a:cubicBezTo>
                <a:cubicBezTo>
                  <a:pt x="143797" y="27781"/>
                  <a:pt x="143797" y="31750"/>
                  <a:pt x="143797" y="33735"/>
                </a:cubicBezTo>
                <a:cubicBezTo>
                  <a:pt x="143797" y="35719"/>
                  <a:pt x="145794" y="37703"/>
                  <a:pt x="145794" y="37703"/>
                </a:cubicBezTo>
                <a:cubicBezTo>
                  <a:pt x="147791" y="39688"/>
                  <a:pt x="149788" y="39688"/>
                  <a:pt x="149788" y="37703"/>
                </a:cubicBezTo>
                <a:cubicBezTo>
                  <a:pt x="149788" y="35719"/>
                  <a:pt x="147791" y="33735"/>
                  <a:pt x="147791" y="31750"/>
                </a:cubicBezTo>
                <a:cubicBezTo>
                  <a:pt x="147791" y="29766"/>
                  <a:pt x="147791" y="25797"/>
                  <a:pt x="147791" y="23813"/>
                </a:cubicBezTo>
                <a:cubicBezTo>
                  <a:pt x="147791" y="21828"/>
                  <a:pt x="145794" y="17860"/>
                  <a:pt x="145794" y="15875"/>
                </a:cubicBezTo>
                <a:cubicBezTo>
                  <a:pt x="145794" y="13891"/>
                  <a:pt x="147791" y="11906"/>
                  <a:pt x="147791" y="11906"/>
                </a:cubicBezTo>
                <a:cubicBezTo>
                  <a:pt x="149788" y="11906"/>
                  <a:pt x="151786" y="13891"/>
                  <a:pt x="153783" y="13891"/>
                </a:cubicBezTo>
                <a:cubicBezTo>
                  <a:pt x="153783" y="15875"/>
                  <a:pt x="155780" y="17860"/>
                  <a:pt x="155780" y="19844"/>
                </a:cubicBezTo>
                <a:cubicBezTo>
                  <a:pt x="155780" y="19844"/>
                  <a:pt x="159774" y="23813"/>
                  <a:pt x="159774" y="25797"/>
                </a:cubicBezTo>
                <a:cubicBezTo>
                  <a:pt x="161772" y="25797"/>
                  <a:pt x="163769" y="25797"/>
                  <a:pt x="163769" y="23813"/>
                </a:cubicBezTo>
                <a:cubicBezTo>
                  <a:pt x="163769" y="21828"/>
                  <a:pt x="165766" y="19844"/>
                  <a:pt x="167763" y="17860"/>
                </a:cubicBezTo>
                <a:cubicBezTo>
                  <a:pt x="167763" y="17860"/>
                  <a:pt x="169760" y="15875"/>
                  <a:pt x="171757" y="17860"/>
                </a:cubicBezTo>
                <a:cubicBezTo>
                  <a:pt x="173755" y="17860"/>
                  <a:pt x="177749" y="19844"/>
                  <a:pt x="177749" y="19844"/>
                </a:cubicBezTo>
                <a:cubicBezTo>
                  <a:pt x="179746" y="19844"/>
                  <a:pt x="179746" y="19844"/>
                  <a:pt x="181743" y="19844"/>
                </a:cubicBezTo>
                <a:cubicBezTo>
                  <a:pt x="181743" y="19844"/>
                  <a:pt x="183740" y="17860"/>
                  <a:pt x="183740" y="15875"/>
                </a:cubicBezTo>
                <a:cubicBezTo>
                  <a:pt x="183740" y="13891"/>
                  <a:pt x="183740" y="11906"/>
                  <a:pt x="185738" y="11906"/>
                </a:cubicBezTo>
                <a:cubicBezTo>
                  <a:pt x="185738" y="9922"/>
                  <a:pt x="187735" y="3969"/>
                  <a:pt x="187735" y="3969"/>
                </a:cubicBezTo>
                <a:cubicBezTo>
                  <a:pt x="189732" y="1984"/>
                  <a:pt x="191729" y="1984"/>
                  <a:pt x="193726" y="0"/>
                </a:cubicBezTo>
                <a:close/>
                <a:moveTo>
                  <a:pt x="44053" y="0"/>
                </a:moveTo>
                <a:cubicBezTo>
                  <a:pt x="44053" y="0"/>
                  <a:pt x="46038" y="1984"/>
                  <a:pt x="46038" y="1984"/>
                </a:cubicBezTo>
                <a:cubicBezTo>
                  <a:pt x="48022" y="0"/>
                  <a:pt x="50006" y="0"/>
                  <a:pt x="50006" y="0"/>
                </a:cubicBezTo>
                <a:cubicBezTo>
                  <a:pt x="50006" y="0"/>
                  <a:pt x="51991" y="0"/>
                  <a:pt x="51991" y="0"/>
                </a:cubicBezTo>
                <a:cubicBezTo>
                  <a:pt x="53975" y="1984"/>
                  <a:pt x="51991" y="3969"/>
                  <a:pt x="51991" y="3969"/>
                </a:cubicBezTo>
                <a:cubicBezTo>
                  <a:pt x="51991" y="5953"/>
                  <a:pt x="51991" y="5953"/>
                  <a:pt x="51991" y="7937"/>
                </a:cubicBezTo>
                <a:cubicBezTo>
                  <a:pt x="50006" y="7937"/>
                  <a:pt x="50006" y="7937"/>
                  <a:pt x="48022" y="5953"/>
                </a:cubicBezTo>
                <a:cubicBezTo>
                  <a:pt x="48022" y="5953"/>
                  <a:pt x="46038" y="5953"/>
                  <a:pt x="46038" y="5953"/>
                </a:cubicBezTo>
                <a:cubicBezTo>
                  <a:pt x="44053" y="5953"/>
                  <a:pt x="42069" y="5953"/>
                  <a:pt x="42069" y="5953"/>
                </a:cubicBezTo>
                <a:cubicBezTo>
                  <a:pt x="42069" y="5953"/>
                  <a:pt x="40085" y="5953"/>
                  <a:pt x="40085" y="5953"/>
                </a:cubicBezTo>
                <a:cubicBezTo>
                  <a:pt x="40085" y="5953"/>
                  <a:pt x="38100" y="3969"/>
                  <a:pt x="38100" y="3969"/>
                </a:cubicBezTo>
                <a:cubicBezTo>
                  <a:pt x="38100" y="1984"/>
                  <a:pt x="38100" y="1984"/>
                  <a:pt x="40085" y="1984"/>
                </a:cubicBezTo>
                <a:cubicBezTo>
                  <a:pt x="40085" y="0"/>
                  <a:pt x="42069" y="0"/>
                  <a:pt x="4405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 name="Brazil"/>
          <p:cNvSpPr>
            <a:spLocks/>
          </p:cNvSpPr>
          <p:nvPr/>
        </p:nvSpPr>
        <p:spPr bwMode="auto">
          <a:xfrm>
            <a:off x="4205327" y="3905587"/>
            <a:ext cx="1056675" cy="1273888"/>
          </a:xfrm>
          <a:custGeom>
            <a:avLst/>
            <a:gdLst>
              <a:gd name="T0" fmla="*/ 210 w 515"/>
              <a:gd name="T1" fmla="*/ 340 h 621"/>
              <a:gd name="T2" fmla="*/ 180 w 515"/>
              <a:gd name="T3" fmla="*/ 300 h 621"/>
              <a:gd name="T4" fmla="*/ 146 w 515"/>
              <a:gd name="T5" fmla="*/ 281 h 621"/>
              <a:gd name="T6" fmla="*/ 92 w 515"/>
              <a:gd name="T7" fmla="*/ 263 h 621"/>
              <a:gd name="T8" fmla="*/ 47 w 515"/>
              <a:gd name="T9" fmla="*/ 251 h 621"/>
              <a:gd name="T10" fmla="*/ 13 w 515"/>
              <a:gd name="T11" fmla="*/ 225 h 621"/>
              <a:gd name="T12" fmla="*/ 12 w 515"/>
              <a:gd name="T13" fmla="*/ 167 h 621"/>
              <a:gd name="T14" fmla="*/ 54 w 515"/>
              <a:gd name="T15" fmla="*/ 143 h 621"/>
              <a:gd name="T16" fmla="*/ 49 w 515"/>
              <a:gd name="T17" fmla="*/ 75 h 621"/>
              <a:gd name="T18" fmla="*/ 77 w 515"/>
              <a:gd name="T19" fmla="*/ 51 h 621"/>
              <a:gd name="T20" fmla="*/ 125 w 515"/>
              <a:gd name="T21" fmla="*/ 50 h 621"/>
              <a:gd name="T22" fmla="*/ 121 w 515"/>
              <a:gd name="T23" fmla="*/ 21 h 621"/>
              <a:gd name="T24" fmla="*/ 167 w 515"/>
              <a:gd name="T25" fmla="*/ 10 h 621"/>
              <a:gd name="T26" fmla="*/ 187 w 515"/>
              <a:gd name="T27" fmla="*/ 21 h 621"/>
              <a:gd name="T28" fmla="*/ 198 w 515"/>
              <a:gd name="T29" fmla="*/ 63 h 621"/>
              <a:gd name="T30" fmla="*/ 224 w 515"/>
              <a:gd name="T31" fmla="*/ 52 h 621"/>
              <a:gd name="T32" fmla="*/ 244 w 515"/>
              <a:gd name="T33" fmla="*/ 42 h 621"/>
              <a:gd name="T34" fmla="*/ 278 w 515"/>
              <a:gd name="T35" fmla="*/ 34 h 621"/>
              <a:gd name="T36" fmla="*/ 301 w 515"/>
              <a:gd name="T37" fmla="*/ 37 h 621"/>
              <a:gd name="T38" fmla="*/ 305 w 515"/>
              <a:gd name="T39" fmla="*/ 69 h 621"/>
              <a:gd name="T40" fmla="*/ 281 w 515"/>
              <a:gd name="T41" fmla="*/ 102 h 621"/>
              <a:gd name="T42" fmla="*/ 283 w 515"/>
              <a:gd name="T43" fmla="*/ 116 h 621"/>
              <a:gd name="T44" fmla="*/ 301 w 515"/>
              <a:gd name="T45" fmla="*/ 91 h 621"/>
              <a:gd name="T46" fmla="*/ 315 w 515"/>
              <a:gd name="T47" fmla="*/ 86 h 621"/>
              <a:gd name="T48" fmla="*/ 331 w 515"/>
              <a:gd name="T49" fmla="*/ 93 h 621"/>
              <a:gd name="T50" fmla="*/ 313 w 515"/>
              <a:gd name="T51" fmla="*/ 108 h 621"/>
              <a:gd name="T52" fmla="*/ 300 w 515"/>
              <a:gd name="T53" fmla="*/ 110 h 621"/>
              <a:gd name="T54" fmla="*/ 312 w 515"/>
              <a:gd name="T55" fmla="*/ 109 h 621"/>
              <a:gd name="T56" fmla="*/ 325 w 515"/>
              <a:gd name="T57" fmla="*/ 108 h 621"/>
              <a:gd name="T58" fmla="*/ 341 w 515"/>
              <a:gd name="T59" fmla="*/ 91 h 621"/>
              <a:gd name="T60" fmla="*/ 360 w 515"/>
              <a:gd name="T61" fmla="*/ 93 h 621"/>
              <a:gd name="T62" fmla="*/ 374 w 515"/>
              <a:gd name="T63" fmla="*/ 102 h 621"/>
              <a:gd name="T64" fmla="*/ 383 w 515"/>
              <a:gd name="T65" fmla="*/ 106 h 621"/>
              <a:gd name="T66" fmla="*/ 383 w 515"/>
              <a:gd name="T67" fmla="*/ 121 h 621"/>
              <a:gd name="T68" fmla="*/ 390 w 515"/>
              <a:gd name="T69" fmla="*/ 124 h 621"/>
              <a:gd name="T70" fmla="*/ 398 w 515"/>
              <a:gd name="T71" fmla="*/ 119 h 621"/>
              <a:gd name="T72" fmla="*/ 416 w 515"/>
              <a:gd name="T73" fmla="*/ 121 h 621"/>
              <a:gd name="T74" fmla="*/ 441 w 515"/>
              <a:gd name="T75" fmla="*/ 123 h 621"/>
              <a:gd name="T76" fmla="*/ 465 w 515"/>
              <a:gd name="T77" fmla="*/ 137 h 621"/>
              <a:gd name="T78" fmla="*/ 478 w 515"/>
              <a:gd name="T79" fmla="*/ 152 h 621"/>
              <a:gd name="T80" fmla="*/ 499 w 515"/>
              <a:gd name="T81" fmla="*/ 160 h 621"/>
              <a:gd name="T82" fmla="*/ 511 w 515"/>
              <a:gd name="T83" fmla="*/ 180 h 621"/>
              <a:gd name="T84" fmla="*/ 510 w 515"/>
              <a:gd name="T85" fmla="*/ 213 h 621"/>
              <a:gd name="T86" fmla="*/ 480 w 515"/>
              <a:gd name="T87" fmla="*/ 262 h 621"/>
              <a:gd name="T88" fmla="*/ 462 w 515"/>
              <a:gd name="T89" fmla="*/ 285 h 621"/>
              <a:gd name="T90" fmla="*/ 461 w 515"/>
              <a:gd name="T91" fmla="*/ 312 h 621"/>
              <a:gd name="T92" fmla="*/ 459 w 515"/>
              <a:gd name="T93" fmla="*/ 360 h 621"/>
              <a:gd name="T94" fmla="*/ 446 w 515"/>
              <a:gd name="T95" fmla="*/ 402 h 621"/>
              <a:gd name="T96" fmla="*/ 423 w 515"/>
              <a:gd name="T97" fmla="*/ 442 h 621"/>
              <a:gd name="T98" fmla="*/ 406 w 515"/>
              <a:gd name="T99" fmla="*/ 445 h 621"/>
              <a:gd name="T100" fmla="*/ 387 w 515"/>
              <a:gd name="T101" fmla="*/ 452 h 621"/>
              <a:gd name="T102" fmla="*/ 367 w 515"/>
              <a:gd name="T103" fmla="*/ 463 h 621"/>
              <a:gd name="T104" fmla="*/ 341 w 515"/>
              <a:gd name="T105" fmla="*/ 507 h 621"/>
              <a:gd name="T106" fmla="*/ 337 w 515"/>
              <a:gd name="T107" fmla="*/ 540 h 621"/>
              <a:gd name="T108" fmla="*/ 302 w 515"/>
              <a:gd name="T109" fmla="*/ 595 h 621"/>
              <a:gd name="T110" fmla="*/ 313 w 515"/>
              <a:gd name="T111" fmla="*/ 568 h 621"/>
              <a:gd name="T112" fmla="*/ 305 w 515"/>
              <a:gd name="T113" fmla="*/ 579 h 621"/>
              <a:gd name="T114" fmla="*/ 281 w 515"/>
              <a:gd name="T115" fmla="*/ 610 h 621"/>
              <a:gd name="T116" fmla="*/ 255 w 515"/>
              <a:gd name="T117" fmla="*/ 572 h 621"/>
              <a:gd name="T118" fmla="*/ 245 w 515"/>
              <a:gd name="T119" fmla="*/ 534 h 621"/>
              <a:gd name="T120" fmla="*/ 263 w 515"/>
              <a:gd name="T121" fmla="*/ 468 h 621"/>
              <a:gd name="T122" fmla="*/ 244 w 515"/>
              <a:gd name="T123" fmla="*/ 428 h 621"/>
              <a:gd name="T124" fmla="*/ 213 w 515"/>
              <a:gd name="T125" fmla="*/ 39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621">
                <a:moveTo>
                  <a:pt x="212" y="385"/>
                </a:moveTo>
                <a:cubicBezTo>
                  <a:pt x="215" y="379"/>
                  <a:pt x="215" y="379"/>
                  <a:pt x="215" y="379"/>
                </a:cubicBezTo>
                <a:cubicBezTo>
                  <a:pt x="215" y="379"/>
                  <a:pt x="219" y="372"/>
                  <a:pt x="219" y="370"/>
                </a:cubicBezTo>
                <a:cubicBezTo>
                  <a:pt x="220" y="369"/>
                  <a:pt x="221" y="366"/>
                  <a:pt x="221" y="365"/>
                </a:cubicBezTo>
                <a:cubicBezTo>
                  <a:pt x="221" y="364"/>
                  <a:pt x="220" y="362"/>
                  <a:pt x="220" y="360"/>
                </a:cubicBezTo>
                <a:cubicBezTo>
                  <a:pt x="219" y="359"/>
                  <a:pt x="219" y="357"/>
                  <a:pt x="219" y="356"/>
                </a:cubicBezTo>
                <a:cubicBezTo>
                  <a:pt x="218" y="355"/>
                  <a:pt x="217" y="354"/>
                  <a:pt x="217" y="354"/>
                </a:cubicBezTo>
                <a:cubicBezTo>
                  <a:pt x="217" y="354"/>
                  <a:pt x="215" y="353"/>
                  <a:pt x="213" y="353"/>
                </a:cubicBezTo>
                <a:cubicBezTo>
                  <a:pt x="211" y="352"/>
                  <a:pt x="208" y="349"/>
                  <a:pt x="208" y="349"/>
                </a:cubicBezTo>
                <a:cubicBezTo>
                  <a:pt x="208" y="349"/>
                  <a:pt x="207" y="347"/>
                  <a:pt x="207" y="346"/>
                </a:cubicBezTo>
                <a:cubicBezTo>
                  <a:pt x="207" y="345"/>
                  <a:pt x="209" y="341"/>
                  <a:pt x="210" y="340"/>
                </a:cubicBezTo>
                <a:cubicBezTo>
                  <a:pt x="210" y="339"/>
                  <a:pt x="211" y="336"/>
                  <a:pt x="209" y="336"/>
                </a:cubicBezTo>
                <a:cubicBezTo>
                  <a:pt x="207" y="335"/>
                  <a:pt x="203" y="335"/>
                  <a:pt x="202" y="336"/>
                </a:cubicBezTo>
                <a:cubicBezTo>
                  <a:pt x="200" y="336"/>
                  <a:pt x="193" y="336"/>
                  <a:pt x="193" y="336"/>
                </a:cubicBezTo>
                <a:cubicBezTo>
                  <a:pt x="193" y="336"/>
                  <a:pt x="185" y="337"/>
                  <a:pt x="184" y="337"/>
                </a:cubicBezTo>
                <a:cubicBezTo>
                  <a:pt x="183" y="337"/>
                  <a:pt x="182" y="335"/>
                  <a:pt x="182" y="333"/>
                </a:cubicBezTo>
                <a:cubicBezTo>
                  <a:pt x="181" y="332"/>
                  <a:pt x="180" y="326"/>
                  <a:pt x="180" y="326"/>
                </a:cubicBezTo>
                <a:cubicBezTo>
                  <a:pt x="180" y="326"/>
                  <a:pt x="180" y="321"/>
                  <a:pt x="180" y="320"/>
                </a:cubicBezTo>
                <a:cubicBezTo>
                  <a:pt x="181" y="318"/>
                  <a:pt x="182" y="315"/>
                  <a:pt x="182" y="315"/>
                </a:cubicBezTo>
                <a:cubicBezTo>
                  <a:pt x="182" y="315"/>
                  <a:pt x="183" y="310"/>
                  <a:pt x="182" y="308"/>
                </a:cubicBezTo>
                <a:cubicBezTo>
                  <a:pt x="182" y="307"/>
                  <a:pt x="181" y="306"/>
                  <a:pt x="180" y="305"/>
                </a:cubicBezTo>
                <a:cubicBezTo>
                  <a:pt x="180" y="304"/>
                  <a:pt x="180" y="301"/>
                  <a:pt x="180" y="300"/>
                </a:cubicBezTo>
                <a:cubicBezTo>
                  <a:pt x="180" y="299"/>
                  <a:pt x="178" y="297"/>
                  <a:pt x="177" y="296"/>
                </a:cubicBezTo>
                <a:cubicBezTo>
                  <a:pt x="177" y="295"/>
                  <a:pt x="173" y="295"/>
                  <a:pt x="173" y="295"/>
                </a:cubicBezTo>
                <a:cubicBezTo>
                  <a:pt x="173" y="295"/>
                  <a:pt x="171" y="293"/>
                  <a:pt x="169" y="293"/>
                </a:cubicBezTo>
                <a:cubicBezTo>
                  <a:pt x="169" y="293"/>
                  <a:pt x="167" y="293"/>
                  <a:pt x="165" y="293"/>
                </a:cubicBezTo>
                <a:cubicBezTo>
                  <a:pt x="163" y="293"/>
                  <a:pt x="161" y="291"/>
                  <a:pt x="159" y="290"/>
                </a:cubicBezTo>
                <a:cubicBezTo>
                  <a:pt x="158" y="290"/>
                  <a:pt x="157" y="288"/>
                  <a:pt x="156" y="287"/>
                </a:cubicBezTo>
                <a:cubicBezTo>
                  <a:pt x="156" y="286"/>
                  <a:pt x="156" y="287"/>
                  <a:pt x="155" y="287"/>
                </a:cubicBezTo>
                <a:cubicBezTo>
                  <a:pt x="154" y="287"/>
                  <a:pt x="154" y="286"/>
                  <a:pt x="153" y="286"/>
                </a:cubicBezTo>
                <a:cubicBezTo>
                  <a:pt x="152" y="286"/>
                  <a:pt x="152" y="286"/>
                  <a:pt x="151" y="286"/>
                </a:cubicBezTo>
                <a:cubicBezTo>
                  <a:pt x="150" y="286"/>
                  <a:pt x="150" y="284"/>
                  <a:pt x="150" y="284"/>
                </a:cubicBezTo>
                <a:cubicBezTo>
                  <a:pt x="150" y="283"/>
                  <a:pt x="148" y="282"/>
                  <a:pt x="146" y="281"/>
                </a:cubicBezTo>
                <a:cubicBezTo>
                  <a:pt x="144" y="279"/>
                  <a:pt x="144" y="281"/>
                  <a:pt x="142" y="281"/>
                </a:cubicBezTo>
                <a:cubicBezTo>
                  <a:pt x="140" y="280"/>
                  <a:pt x="139" y="279"/>
                  <a:pt x="138" y="278"/>
                </a:cubicBezTo>
                <a:cubicBezTo>
                  <a:pt x="137" y="278"/>
                  <a:pt x="134" y="278"/>
                  <a:pt x="133" y="278"/>
                </a:cubicBezTo>
                <a:cubicBezTo>
                  <a:pt x="131" y="278"/>
                  <a:pt x="127" y="275"/>
                  <a:pt x="127" y="275"/>
                </a:cubicBezTo>
                <a:cubicBezTo>
                  <a:pt x="127" y="275"/>
                  <a:pt x="124" y="271"/>
                  <a:pt x="123" y="269"/>
                </a:cubicBezTo>
                <a:cubicBezTo>
                  <a:pt x="123" y="268"/>
                  <a:pt x="120" y="266"/>
                  <a:pt x="118" y="266"/>
                </a:cubicBezTo>
                <a:cubicBezTo>
                  <a:pt x="117" y="265"/>
                  <a:pt x="117" y="264"/>
                  <a:pt x="116" y="262"/>
                </a:cubicBezTo>
                <a:cubicBezTo>
                  <a:pt x="114" y="261"/>
                  <a:pt x="113" y="258"/>
                  <a:pt x="114" y="255"/>
                </a:cubicBezTo>
                <a:cubicBezTo>
                  <a:pt x="114" y="253"/>
                  <a:pt x="112" y="247"/>
                  <a:pt x="112" y="247"/>
                </a:cubicBezTo>
                <a:cubicBezTo>
                  <a:pt x="103" y="255"/>
                  <a:pt x="103" y="255"/>
                  <a:pt x="103" y="255"/>
                </a:cubicBezTo>
                <a:cubicBezTo>
                  <a:pt x="103" y="255"/>
                  <a:pt x="93" y="262"/>
                  <a:pt x="92" y="263"/>
                </a:cubicBezTo>
                <a:cubicBezTo>
                  <a:pt x="91" y="264"/>
                  <a:pt x="87" y="263"/>
                  <a:pt x="87" y="263"/>
                </a:cubicBezTo>
                <a:cubicBezTo>
                  <a:pt x="84" y="267"/>
                  <a:pt x="84" y="267"/>
                  <a:pt x="84" y="267"/>
                </a:cubicBezTo>
                <a:cubicBezTo>
                  <a:pt x="81" y="269"/>
                  <a:pt x="81" y="269"/>
                  <a:pt x="81" y="269"/>
                </a:cubicBezTo>
                <a:cubicBezTo>
                  <a:pt x="81" y="269"/>
                  <a:pt x="78" y="269"/>
                  <a:pt x="78" y="269"/>
                </a:cubicBezTo>
                <a:cubicBezTo>
                  <a:pt x="77" y="269"/>
                  <a:pt x="74" y="269"/>
                  <a:pt x="73" y="269"/>
                </a:cubicBezTo>
                <a:cubicBezTo>
                  <a:pt x="71" y="269"/>
                  <a:pt x="69" y="267"/>
                  <a:pt x="69" y="266"/>
                </a:cubicBezTo>
                <a:cubicBezTo>
                  <a:pt x="68" y="265"/>
                  <a:pt x="66" y="263"/>
                  <a:pt x="65" y="262"/>
                </a:cubicBezTo>
                <a:cubicBezTo>
                  <a:pt x="64" y="261"/>
                  <a:pt x="62" y="256"/>
                  <a:pt x="61" y="256"/>
                </a:cubicBezTo>
                <a:cubicBezTo>
                  <a:pt x="60" y="254"/>
                  <a:pt x="59" y="252"/>
                  <a:pt x="59" y="251"/>
                </a:cubicBezTo>
                <a:cubicBezTo>
                  <a:pt x="59" y="251"/>
                  <a:pt x="55" y="250"/>
                  <a:pt x="54" y="250"/>
                </a:cubicBezTo>
                <a:cubicBezTo>
                  <a:pt x="53" y="251"/>
                  <a:pt x="48" y="251"/>
                  <a:pt x="47" y="251"/>
                </a:cubicBezTo>
                <a:cubicBezTo>
                  <a:pt x="46" y="250"/>
                  <a:pt x="45" y="246"/>
                  <a:pt x="45" y="245"/>
                </a:cubicBezTo>
                <a:cubicBezTo>
                  <a:pt x="45" y="243"/>
                  <a:pt x="44" y="239"/>
                  <a:pt x="44" y="237"/>
                </a:cubicBezTo>
                <a:cubicBezTo>
                  <a:pt x="44" y="236"/>
                  <a:pt x="45" y="234"/>
                  <a:pt x="44" y="233"/>
                </a:cubicBezTo>
                <a:cubicBezTo>
                  <a:pt x="43" y="231"/>
                  <a:pt x="40" y="230"/>
                  <a:pt x="39" y="230"/>
                </a:cubicBezTo>
                <a:cubicBezTo>
                  <a:pt x="38" y="230"/>
                  <a:pt x="37" y="233"/>
                  <a:pt x="36" y="234"/>
                </a:cubicBezTo>
                <a:cubicBezTo>
                  <a:pt x="35" y="235"/>
                  <a:pt x="33" y="237"/>
                  <a:pt x="32" y="238"/>
                </a:cubicBezTo>
                <a:cubicBezTo>
                  <a:pt x="31" y="238"/>
                  <a:pt x="29" y="238"/>
                  <a:pt x="28" y="237"/>
                </a:cubicBezTo>
                <a:cubicBezTo>
                  <a:pt x="27" y="237"/>
                  <a:pt x="25" y="234"/>
                  <a:pt x="24" y="233"/>
                </a:cubicBezTo>
                <a:cubicBezTo>
                  <a:pt x="23" y="232"/>
                  <a:pt x="22" y="230"/>
                  <a:pt x="20" y="229"/>
                </a:cubicBezTo>
                <a:cubicBezTo>
                  <a:pt x="19" y="227"/>
                  <a:pt x="16" y="227"/>
                  <a:pt x="15" y="227"/>
                </a:cubicBezTo>
                <a:cubicBezTo>
                  <a:pt x="14" y="227"/>
                  <a:pt x="14" y="227"/>
                  <a:pt x="13" y="225"/>
                </a:cubicBezTo>
                <a:cubicBezTo>
                  <a:pt x="13" y="224"/>
                  <a:pt x="14" y="224"/>
                  <a:pt x="14" y="222"/>
                </a:cubicBezTo>
                <a:cubicBezTo>
                  <a:pt x="14" y="220"/>
                  <a:pt x="14" y="220"/>
                  <a:pt x="12" y="219"/>
                </a:cubicBezTo>
                <a:cubicBezTo>
                  <a:pt x="11" y="217"/>
                  <a:pt x="6" y="218"/>
                  <a:pt x="6" y="218"/>
                </a:cubicBezTo>
                <a:cubicBezTo>
                  <a:pt x="6" y="218"/>
                  <a:pt x="4" y="216"/>
                  <a:pt x="3" y="215"/>
                </a:cubicBezTo>
                <a:cubicBezTo>
                  <a:pt x="1" y="213"/>
                  <a:pt x="1" y="212"/>
                  <a:pt x="1" y="208"/>
                </a:cubicBezTo>
                <a:cubicBezTo>
                  <a:pt x="0" y="205"/>
                  <a:pt x="2" y="199"/>
                  <a:pt x="2" y="197"/>
                </a:cubicBezTo>
                <a:cubicBezTo>
                  <a:pt x="2" y="195"/>
                  <a:pt x="3" y="190"/>
                  <a:pt x="4" y="189"/>
                </a:cubicBezTo>
                <a:cubicBezTo>
                  <a:pt x="5" y="188"/>
                  <a:pt x="4" y="184"/>
                  <a:pt x="4" y="184"/>
                </a:cubicBezTo>
                <a:cubicBezTo>
                  <a:pt x="4" y="184"/>
                  <a:pt x="8" y="183"/>
                  <a:pt x="11" y="182"/>
                </a:cubicBezTo>
                <a:cubicBezTo>
                  <a:pt x="14" y="181"/>
                  <a:pt x="12" y="176"/>
                  <a:pt x="12" y="175"/>
                </a:cubicBezTo>
                <a:cubicBezTo>
                  <a:pt x="13" y="173"/>
                  <a:pt x="12" y="168"/>
                  <a:pt x="12" y="167"/>
                </a:cubicBezTo>
                <a:cubicBezTo>
                  <a:pt x="12" y="165"/>
                  <a:pt x="15" y="164"/>
                  <a:pt x="15" y="162"/>
                </a:cubicBezTo>
                <a:cubicBezTo>
                  <a:pt x="15" y="161"/>
                  <a:pt x="15" y="160"/>
                  <a:pt x="15" y="159"/>
                </a:cubicBezTo>
                <a:cubicBezTo>
                  <a:pt x="15" y="157"/>
                  <a:pt x="18" y="156"/>
                  <a:pt x="19" y="156"/>
                </a:cubicBezTo>
                <a:cubicBezTo>
                  <a:pt x="20" y="155"/>
                  <a:pt x="23" y="151"/>
                  <a:pt x="23" y="151"/>
                </a:cubicBezTo>
                <a:cubicBezTo>
                  <a:pt x="23" y="151"/>
                  <a:pt x="27" y="151"/>
                  <a:pt x="28" y="151"/>
                </a:cubicBezTo>
                <a:cubicBezTo>
                  <a:pt x="30" y="151"/>
                  <a:pt x="30" y="150"/>
                  <a:pt x="32" y="150"/>
                </a:cubicBezTo>
                <a:cubicBezTo>
                  <a:pt x="35" y="149"/>
                  <a:pt x="38" y="149"/>
                  <a:pt x="40" y="148"/>
                </a:cubicBezTo>
                <a:cubicBezTo>
                  <a:pt x="40" y="148"/>
                  <a:pt x="45" y="146"/>
                  <a:pt x="46" y="146"/>
                </a:cubicBezTo>
                <a:cubicBezTo>
                  <a:pt x="46" y="146"/>
                  <a:pt x="48" y="146"/>
                  <a:pt x="49" y="146"/>
                </a:cubicBezTo>
                <a:cubicBezTo>
                  <a:pt x="50" y="146"/>
                  <a:pt x="51" y="146"/>
                  <a:pt x="53" y="146"/>
                </a:cubicBezTo>
                <a:cubicBezTo>
                  <a:pt x="54" y="146"/>
                  <a:pt x="53" y="144"/>
                  <a:pt x="54" y="143"/>
                </a:cubicBezTo>
                <a:cubicBezTo>
                  <a:pt x="54" y="142"/>
                  <a:pt x="54" y="139"/>
                  <a:pt x="54" y="137"/>
                </a:cubicBezTo>
                <a:cubicBezTo>
                  <a:pt x="54" y="136"/>
                  <a:pt x="54" y="133"/>
                  <a:pt x="54" y="132"/>
                </a:cubicBezTo>
                <a:cubicBezTo>
                  <a:pt x="55" y="131"/>
                  <a:pt x="56" y="127"/>
                  <a:pt x="56" y="126"/>
                </a:cubicBezTo>
                <a:cubicBezTo>
                  <a:pt x="56" y="125"/>
                  <a:pt x="57" y="122"/>
                  <a:pt x="57" y="121"/>
                </a:cubicBezTo>
                <a:cubicBezTo>
                  <a:pt x="58" y="121"/>
                  <a:pt x="59" y="119"/>
                  <a:pt x="59" y="118"/>
                </a:cubicBezTo>
                <a:cubicBezTo>
                  <a:pt x="58" y="117"/>
                  <a:pt x="58" y="112"/>
                  <a:pt x="58" y="112"/>
                </a:cubicBezTo>
                <a:cubicBezTo>
                  <a:pt x="58" y="112"/>
                  <a:pt x="58" y="100"/>
                  <a:pt x="58" y="98"/>
                </a:cubicBezTo>
                <a:cubicBezTo>
                  <a:pt x="57" y="97"/>
                  <a:pt x="55" y="95"/>
                  <a:pt x="55" y="94"/>
                </a:cubicBezTo>
                <a:cubicBezTo>
                  <a:pt x="55" y="93"/>
                  <a:pt x="51" y="87"/>
                  <a:pt x="51" y="87"/>
                </a:cubicBezTo>
                <a:cubicBezTo>
                  <a:pt x="50" y="86"/>
                  <a:pt x="49" y="83"/>
                  <a:pt x="49" y="82"/>
                </a:cubicBezTo>
                <a:cubicBezTo>
                  <a:pt x="49" y="80"/>
                  <a:pt x="49" y="76"/>
                  <a:pt x="49" y="75"/>
                </a:cubicBezTo>
                <a:cubicBezTo>
                  <a:pt x="49" y="74"/>
                  <a:pt x="50" y="72"/>
                  <a:pt x="50" y="72"/>
                </a:cubicBezTo>
                <a:cubicBezTo>
                  <a:pt x="51" y="71"/>
                  <a:pt x="53" y="70"/>
                  <a:pt x="54" y="70"/>
                </a:cubicBezTo>
                <a:cubicBezTo>
                  <a:pt x="55" y="69"/>
                  <a:pt x="56" y="69"/>
                  <a:pt x="56" y="68"/>
                </a:cubicBezTo>
                <a:cubicBezTo>
                  <a:pt x="57" y="68"/>
                  <a:pt x="56" y="66"/>
                  <a:pt x="55" y="66"/>
                </a:cubicBezTo>
                <a:cubicBezTo>
                  <a:pt x="55" y="65"/>
                  <a:pt x="52" y="61"/>
                  <a:pt x="52" y="61"/>
                </a:cubicBezTo>
                <a:cubicBezTo>
                  <a:pt x="52" y="59"/>
                  <a:pt x="52" y="58"/>
                  <a:pt x="53" y="57"/>
                </a:cubicBezTo>
                <a:cubicBezTo>
                  <a:pt x="53" y="56"/>
                  <a:pt x="54" y="54"/>
                  <a:pt x="55" y="54"/>
                </a:cubicBezTo>
                <a:cubicBezTo>
                  <a:pt x="56" y="53"/>
                  <a:pt x="60" y="54"/>
                  <a:pt x="60" y="54"/>
                </a:cubicBezTo>
                <a:cubicBezTo>
                  <a:pt x="61" y="54"/>
                  <a:pt x="67" y="55"/>
                  <a:pt x="68" y="55"/>
                </a:cubicBezTo>
                <a:cubicBezTo>
                  <a:pt x="69" y="55"/>
                  <a:pt x="73" y="53"/>
                  <a:pt x="73" y="53"/>
                </a:cubicBezTo>
                <a:cubicBezTo>
                  <a:pt x="73" y="53"/>
                  <a:pt x="75" y="51"/>
                  <a:pt x="77" y="51"/>
                </a:cubicBezTo>
                <a:cubicBezTo>
                  <a:pt x="79" y="51"/>
                  <a:pt x="80" y="53"/>
                  <a:pt x="81" y="54"/>
                </a:cubicBezTo>
                <a:cubicBezTo>
                  <a:pt x="81" y="55"/>
                  <a:pt x="84" y="58"/>
                  <a:pt x="84" y="59"/>
                </a:cubicBezTo>
                <a:cubicBezTo>
                  <a:pt x="85" y="59"/>
                  <a:pt x="92" y="65"/>
                  <a:pt x="92" y="65"/>
                </a:cubicBezTo>
                <a:cubicBezTo>
                  <a:pt x="97" y="68"/>
                  <a:pt x="97" y="68"/>
                  <a:pt x="97" y="68"/>
                </a:cubicBezTo>
                <a:cubicBezTo>
                  <a:pt x="97" y="68"/>
                  <a:pt x="102" y="69"/>
                  <a:pt x="103" y="69"/>
                </a:cubicBezTo>
                <a:cubicBezTo>
                  <a:pt x="105" y="69"/>
                  <a:pt x="109" y="69"/>
                  <a:pt x="109" y="68"/>
                </a:cubicBezTo>
                <a:cubicBezTo>
                  <a:pt x="110" y="68"/>
                  <a:pt x="111" y="66"/>
                  <a:pt x="112" y="66"/>
                </a:cubicBezTo>
                <a:cubicBezTo>
                  <a:pt x="112" y="65"/>
                  <a:pt x="114" y="63"/>
                  <a:pt x="114" y="63"/>
                </a:cubicBezTo>
                <a:cubicBezTo>
                  <a:pt x="114" y="63"/>
                  <a:pt x="119" y="60"/>
                  <a:pt x="120" y="59"/>
                </a:cubicBezTo>
                <a:cubicBezTo>
                  <a:pt x="121" y="59"/>
                  <a:pt x="123" y="56"/>
                  <a:pt x="123" y="54"/>
                </a:cubicBezTo>
                <a:cubicBezTo>
                  <a:pt x="123" y="53"/>
                  <a:pt x="124" y="51"/>
                  <a:pt x="125" y="50"/>
                </a:cubicBezTo>
                <a:cubicBezTo>
                  <a:pt x="126" y="49"/>
                  <a:pt x="128" y="50"/>
                  <a:pt x="129" y="50"/>
                </a:cubicBezTo>
                <a:cubicBezTo>
                  <a:pt x="130" y="49"/>
                  <a:pt x="132" y="47"/>
                  <a:pt x="132" y="46"/>
                </a:cubicBezTo>
                <a:cubicBezTo>
                  <a:pt x="133" y="46"/>
                  <a:pt x="134" y="44"/>
                  <a:pt x="134" y="43"/>
                </a:cubicBezTo>
                <a:cubicBezTo>
                  <a:pt x="135" y="42"/>
                  <a:pt x="134" y="42"/>
                  <a:pt x="133" y="41"/>
                </a:cubicBezTo>
                <a:cubicBezTo>
                  <a:pt x="131" y="40"/>
                  <a:pt x="128" y="41"/>
                  <a:pt x="127" y="41"/>
                </a:cubicBezTo>
                <a:cubicBezTo>
                  <a:pt x="125" y="41"/>
                  <a:pt x="125" y="41"/>
                  <a:pt x="124" y="40"/>
                </a:cubicBezTo>
                <a:cubicBezTo>
                  <a:pt x="123" y="40"/>
                  <a:pt x="122" y="38"/>
                  <a:pt x="122" y="37"/>
                </a:cubicBezTo>
                <a:cubicBezTo>
                  <a:pt x="122" y="35"/>
                  <a:pt x="122" y="32"/>
                  <a:pt x="122" y="31"/>
                </a:cubicBezTo>
                <a:cubicBezTo>
                  <a:pt x="122" y="30"/>
                  <a:pt x="123" y="29"/>
                  <a:pt x="123" y="28"/>
                </a:cubicBezTo>
                <a:cubicBezTo>
                  <a:pt x="123" y="27"/>
                  <a:pt x="123" y="25"/>
                  <a:pt x="123" y="24"/>
                </a:cubicBezTo>
                <a:cubicBezTo>
                  <a:pt x="123" y="23"/>
                  <a:pt x="121" y="21"/>
                  <a:pt x="121" y="21"/>
                </a:cubicBezTo>
                <a:cubicBezTo>
                  <a:pt x="121" y="21"/>
                  <a:pt x="120" y="18"/>
                  <a:pt x="120" y="17"/>
                </a:cubicBezTo>
                <a:cubicBezTo>
                  <a:pt x="120" y="16"/>
                  <a:pt x="121" y="15"/>
                  <a:pt x="122" y="15"/>
                </a:cubicBezTo>
                <a:cubicBezTo>
                  <a:pt x="122" y="15"/>
                  <a:pt x="128" y="19"/>
                  <a:pt x="128" y="19"/>
                </a:cubicBezTo>
                <a:cubicBezTo>
                  <a:pt x="128" y="19"/>
                  <a:pt x="135" y="23"/>
                  <a:pt x="136" y="23"/>
                </a:cubicBezTo>
                <a:cubicBezTo>
                  <a:pt x="137" y="23"/>
                  <a:pt x="139" y="23"/>
                  <a:pt x="140" y="23"/>
                </a:cubicBezTo>
                <a:cubicBezTo>
                  <a:pt x="141" y="23"/>
                  <a:pt x="145" y="19"/>
                  <a:pt x="145" y="19"/>
                </a:cubicBezTo>
                <a:cubicBezTo>
                  <a:pt x="145" y="19"/>
                  <a:pt x="147" y="18"/>
                  <a:pt x="148" y="17"/>
                </a:cubicBezTo>
                <a:cubicBezTo>
                  <a:pt x="149" y="17"/>
                  <a:pt x="152" y="17"/>
                  <a:pt x="153" y="16"/>
                </a:cubicBezTo>
                <a:cubicBezTo>
                  <a:pt x="154" y="16"/>
                  <a:pt x="159" y="15"/>
                  <a:pt x="159" y="15"/>
                </a:cubicBezTo>
                <a:cubicBezTo>
                  <a:pt x="162" y="11"/>
                  <a:pt x="162" y="11"/>
                  <a:pt x="162" y="11"/>
                </a:cubicBezTo>
                <a:cubicBezTo>
                  <a:pt x="162" y="11"/>
                  <a:pt x="166" y="10"/>
                  <a:pt x="167" y="10"/>
                </a:cubicBezTo>
                <a:cubicBezTo>
                  <a:pt x="167" y="9"/>
                  <a:pt x="169" y="6"/>
                  <a:pt x="169" y="6"/>
                </a:cubicBezTo>
                <a:cubicBezTo>
                  <a:pt x="170" y="5"/>
                  <a:pt x="170" y="1"/>
                  <a:pt x="170" y="1"/>
                </a:cubicBezTo>
                <a:cubicBezTo>
                  <a:pt x="172" y="1"/>
                  <a:pt x="172" y="1"/>
                  <a:pt x="172" y="1"/>
                </a:cubicBezTo>
                <a:cubicBezTo>
                  <a:pt x="172" y="1"/>
                  <a:pt x="174" y="0"/>
                  <a:pt x="175" y="0"/>
                </a:cubicBezTo>
                <a:cubicBezTo>
                  <a:pt x="175" y="0"/>
                  <a:pt x="177" y="0"/>
                  <a:pt x="178" y="0"/>
                </a:cubicBezTo>
                <a:cubicBezTo>
                  <a:pt x="179" y="0"/>
                  <a:pt x="179" y="1"/>
                  <a:pt x="180" y="2"/>
                </a:cubicBezTo>
                <a:cubicBezTo>
                  <a:pt x="181" y="3"/>
                  <a:pt x="180" y="5"/>
                  <a:pt x="180" y="5"/>
                </a:cubicBezTo>
                <a:cubicBezTo>
                  <a:pt x="180" y="5"/>
                  <a:pt x="180" y="9"/>
                  <a:pt x="180" y="10"/>
                </a:cubicBezTo>
                <a:cubicBezTo>
                  <a:pt x="180" y="11"/>
                  <a:pt x="182" y="12"/>
                  <a:pt x="183" y="12"/>
                </a:cubicBezTo>
                <a:cubicBezTo>
                  <a:pt x="183" y="12"/>
                  <a:pt x="187" y="15"/>
                  <a:pt x="187" y="17"/>
                </a:cubicBezTo>
                <a:cubicBezTo>
                  <a:pt x="188" y="18"/>
                  <a:pt x="187" y="20"/>
                  <a:pt x="187" y="21"/>
                </a:cubicBezTo>
                <a:cubicBezTo>
                  <a:pt x="187" y="22"/>
                  <a:pt x="185" y="25"/>
                  <a:pt x="185" y="25"/>
                </a:cubicBezTo>
                <a:cubicBezTo>
                  <a:pt x="184" y="26"/>
                  <a:pt x="182" y="30"/>
                  <a:pt x="181" y="31"/>
                </a:cubicBezTo>
                <a:cubicBezTo>
                  <a:pt x="181" y="32"/>
                  <a:pt x="181" y="35"/>
                  <a:pt x="181" y="36"/>
                </a:cubicBezTo>
                <a:cubicBezTo>
                  <a:pt x="181" y="36"/>
                  <a:pt x="181" y="41"/>
                  <a:pt x="182" y="42"/>
                </a:cubicBezTo>
                <a:cubicBezTo>
                  <a:pt x="182" y="42"/>
                  <a:pt x="183" y="43"/>
                  <a:pt x="183" y="44"/>
                </a:cubicBezTo>
                <a:cubicBezTo>
                  <a:pt x="184" y="45"/>
                  <a:pt x="183" y="47"/>
                  <a:pt x="183" y="48"/>
                </a:cubicBezTo>
                <a:cubicBezTo>
                  <a:pt x="184" y="50"/>
                  <a:pt x="184" y="50"/>
                  <a:pt x="184" y="52"/>
                </a:cubicBezTo>
                <a:cubicBezTo>
                  <a:pt x="185" y="53"/>
                  <a:pt x="186" y="54"/>
                  <a:pt x="187" y="55"/>
                </a:cubicBezTo>
                <a:cubicBezTo>
                  <a:pt x="188" y="55"/>
                  <a:pt x="190" y="57"/>
                  <a:pt x="190" y="57"/>
                </a:cubicBezTo>
                <a:cubicBezTo>
                  <a:pt x="193" y="59"/>
                  <a:pt x="193" y="59"/>
                  <a:pt x="193" y="59"/>
                </a:cubicBezTo>
                <a:cubicBezTo>
                  <a:pt x="193" y="59"/>
                  <a:pt x="197" y="63"/>
                  <a:pt x="198" y="63"/>
                </a:cubicBezTo>
                <a:cubicBezTo>
                  <a:pt x="199" y="64"/>
                  <a:pt x="200" y="63"/>
                  <a:pt x="201" y="62"/>
                </a:cubicBezTo>
                <a:cubicBezTo>
                  <a:pt x="201" y="61"/>
                  <a:pt x="201" y="59"/>
                  <a:pt x="201" y="59"/>
                </a:cubicBezTo>
                <a:cubicBezTo>
                  <a:pt x="201" y="59"/>
                  <a:pt x="203" y="58"/>
                  <a:pt x="203" y="57"/>
                </a:cubicBezTo>
                <a:cubicBezTo>
                  <a:pt x="204" y="57"/>
                  <a:pt x="203" y="56"/>
                  <a:pt x="203" y="56"/>
                </a:cubicBezTo>
                <a:cubicBezTo>
                  <a:pt x="205" y="56"/>
                  <a:pt x="205" y="56"/>
                  <a:pt x="205" y="56"/>
                </a:cubicBezTo>
                <a:cubicBezTo>
                  <a:pt x="207" y="54"/>
                  <a:pt x="207" y="54"/>
                  <a:pt x="207" y="54"/>
                </a:cubicBezTo>
                <a:cubicBezTo>
                  <a:pt x="207" y="54"/>
                  <a:pt x="213" y="53"/>
                  <a:pt x="213" y="53"/>
                </a:cubicBezTo>
                <a:cubicBezTo>
                  <a:pt x="214" y="53"/>
                  <a:pt x="216" y="51"/>
                  <a:pt x="216" y="51"/>
                </a:cubicBezTo>
                <a:cubicBezTo>
                  <a:pt x="216" y="51"/>
                  <a:pt x="217" y="50"/>
                  <a:pt x="217" y="50"/>
                </a:cubicBezTo>
                <a:cubicBezTo>
                  <a:pt x="219" y="52"/>
                  <a:pt x="219" y="52"/>
                  <a:pt x="219" y="52"/>
                </a:cubicBezTo>
                <a:cubicBezTo>
                  <a:pt x="219" y="52"/>
                  <a:pt x="223" y="52"/>
                  <a:pt x="224" y="52"/>
                </a:cubicBezTo>
                <a:cubicBezTo>
                  <a:pt x="224" y="52"/>
                  <a:pt x="225" y="50"/>
                  <a:pt x="225" y="50"/>
                </a:cubicBezTo>
                <a:cubicBezTo>
                  <a:pt x="230" y="51"/>
                  <a:pt x="230" y="51"/>
                  <a:pt x="230" y="51"/>
                </a:cubicBezTo>
                <a:cubicBezTo>
                  <a:pt x="230" y="51"/>
                  <a:pt x="232" y="51"/>
                  <a:pt x="232" y="51"/>
                </a:cubicBezTo>
                <a:cubicBezTo>
                  <a:pt x="233" y="52"/>
                  <a:pt x="235" y="51"/>
                  <a:pt x="235" y="51"/>
                </a:cubicBezTo>
                <a:cubicBezTo>
                  <a:pt x="235" y="51"/>
                  <a:pt x="235" y="49"/>
                  <a:pt x="234" y="48"/>
                </a:cubicBezTo>
                <a:cubicBezTo>
                  <a:pt x="233" y="46"/>
                  <a:pt x="231" y="45"/>
                  <a:pt x="231" y="45"/>
                </a:cubicBezTo>
                <a:cubicBezTo>
                  <a:pt x="231" y="45"/>
                  <a:pt x="231" y="42"/>
                  <a:pt x="232" y="41"/>
                </a:cubicBezTo>
                <a:cubicBezTo>
                  <a:pt x="232" y="41"/>
                  <a:pt x="233" y="41"/>
                  <a:pt x="235" y="41"/>
                </a:cubicBezTo>
                <a:cubicBezTo>
                  <a:pt x="236" y="41"/>
                  <a:pt x="237" y="42"/>
                  <a:pt x="238" y="42"/>
                </a:cubicBezTo>
                <a:cubicBezTo>
                  <a:pt x="239" y="42"/>
                  <a:pt x="240" y="43"/>
                  <a:pt x="241" y="43"/>
                </a:cubicBezTo>
                <a:cubicBezTo>
                  <a:pt x="241" y="43"/>
                  <a:pt x="244" y="42"/>
                  <a:pt x="244" y="42"/>
                </a:cubicBezTo>
                <a:cubicBezTo>
                  <a:pt x="247" y="41"/>
                  <a:pt x="247" y="41"/>
                  <a:pt x="247" y="41"/>
                </a:cubicBezTo>
                <a:cubicBezTo>
                  <a:pt x="247" y="41"/>
                  <a:pt x="247" y="43"/>
                  <a:pt x="248" y="43"/>
                </a:cubicBezTo>
                <a:cubicBezTo>
                  <a:pt x="248" y="44"/>
                  <a:pt x="252" y="46"/>
                  <a:pt x="252" y="47"/>
                </a:cubicBezTo>
                <a:cubicBezTo>
                  <a:pt x="253" y="48"/>
                  <a:pt x="255" y="48"/>
                  <a:pt x="256" y="48"/>
                </a:cubicBezTo>
                <a:cubicBezTo>
                  <a:pt x="257" y="48"/>
                  <a:pt x="260" y="47"/>
                  <a:pt x="261" y="47"/>
                </a:cubicBezTo>
                <a:cubicBezTo>
                  <a:pt x="262" y="47"/>
                  <a:pt x="264" y="46"/>
                  <a:pt x="264" y="45"/>
                </a:cubicBezTo>
                <a:cubicBezTo>
                  <a:pt x="265" y="45"/>
                  <a:pt x="266" y="46"/>
                  <a:pt x="268" y="46"/>
                </a:cubicBezTo>
                <a:cubicBezTo>
                  <a:pt x="269" y="46"/>
                  <a:pt x="273" y="45"/>
                  <a:pt x="274" y="45"/>
                </a:cubicBezTo>
                <a:cubicBezTo>
                  <a:pt x="276" y="45"/>
                  <a:pt x="275" y="44"/>
                  <a:pt x="275" y="43"/>
                </a:cubicBezTo>
                <a:cubicBezTo>
                  <a:pt x="276" y="42"/>
                  <a:pt x="276" y="41"/>
                  <a:pt x="276" y="40"/>
                </a:cubicBezTo>
                <a:cubicBezTo>
                  <a:pt x="276" y="38"/>
                  <a:pt x="277" y="35"/>
                  <a:pt x="278" y="34"/>
                </a:cubicBezTo>
                <a:cubicBezTo>
                  <a:pt x="278" y="34"/>
                  <a:pt x="281" y="28"/>
                  <a:pt x="281" y="27"/>
                </a:cubicBezTo>
                <a:cubicBezTo>
                  <a:pt x="282" y="26"/>
                  <a:pt x="284" y="24"/>
                  <a:pt x="284" y="23"/>
                </a:cubicBezTo>
                <a:cubicBezTo>
                  <a:pt x="285" y="23"/>
                  <a:pt x="287" y="21"/>
                  <a:pt x="287" y="21"/>
                </a:cubicBezTo>
                <a:cubicBezTo>
                  <a:pt x="288" y="20"/>
                  <a:pt x="288" y="20"/>
                  <a:pt x="288" y="19"/>
                </a:cubicBezTo>
                <a:cubicBezTo>
                  <a:pt x="288" y="19"/>
                  <a:pt x="290" y="18"/>
                  <a:pt x="290" y="18"/>
                </a:cubicBezTo>
                <a:cubicBezTo>
                  <a:pt x="290" y="18"/>
                  <a:pt x="292" y="16"/>
                  <a:pt x="292" y="17"/>
                </a:cubicBezTo>
                <a:cubicBezTo>
                  <a:pt x="292" y="17"/>
                  <a:pt x="293" y="17"/>
                  <a:pt x="293" y="16"/>
                </a:cubicBezTo>
                <a:cubicBezTo>
                  <a:pt x="294" y="16"/>
                  <a:pt x="296" y="16"/>
                  <a:pt x="296" y="17"/>
                </a:cubicBezTo>
                <a:cubicBezTo>
                  <a:pt x="296" y="17"/>
                  <a:pt x="296" y="22"/>
                  <a:pt x="297" y="23"/>
                </a:cubicBezTo>
                <a:cubicBezTo>
                  <a:pt x="297" y="23"/>
                  <a:pt x="298" y="30"/>
                  <a:pt x="299" y="31"/>
                </a:cubicBezTo>
                <a:cubicBezTo>
                  <a:pt x="299" y="32"/>
                  <a:pt x="300" y="36"/>
                  <a:pt x="301" y="37"/>
                </a:cubicBezTo>
                <a:cubicBezTo>
                  <a:pt x="302" y="38"/>
                  <a:pt x="304" y="41"/>
                  <a:pt x="303" y="43"/>
                </a:cubicBezTo>
                <a:cubicBezTo>
                  <a:pt x="303" y="45"/>
                  <a:pt x="302" y="46"/>
                  <a:pt x="304" y="47"/>
                </a:cubicBezTo>
                <a:cubicBezTo>
                  <a:pt x="305" y="47"/>
                  <a:pt x="307" y="45"/>
                  <a:pt x="308" y="45"/>
                </a:cubicBezTo>
                <a:cubicBezTo>
                  <a:pt x="308" y="46"/>
                  <a:pt x="309" y="48"/>
                  <a:pt x="309" y="49"/>
                </a:cubicBezTo>
                <a:cubicBezTo>
                  <a:pt x="308" y="50"/>
                  <a:pt x="308" y="51"/>
                  <a:pt x="308" y="52"/>
                </a:cubicBezTo>
                <a:cubicBezTo>
                  <a:pt x="308" y="53"/>
                  <a:pt x="310" y="52"/>
                  <a:pt x="311" y="53"/>
                </a:cubicBezTo>
                <a:cubicBezTo>
                  <a:pt x="312" y="54"/>
                  <a:pt x="312" y="55"/>
                  <a:pt x="312" y="56"/>
                </a:cubicBezTo>
                <a:cubicBezTo>
                  <a:pt x="312" y="57"/>
                  <a:pt x="312" y="59"/>
                  <a:pt x="313" y="60"/>
                </a:cubicBezTo>
                <a:cubicBezTo>
                  <a:pt x="313" y="61"/>
                  <a:pt x="313" y="62"/>
                  <a:pt x="313" y="62"/>
                </a:cubicBezTo>
                <a:cubicBezTo>
                  <a:pt x="312" y="63"/>
                  <a:pt x="309" y="66"/>
                  <a:pt x="309" y="66"/>
                </a:cubicBezTo>
                <a:cubicBezTo>
                  <a:pt x="309" y="66"/>
                  <a:pt x="305" y="68"/>
                  <a:pt x="305" y="69"/>
                </a:cubicBezTo>
                <a:cubicBezTo>
                  <a:pt x="304" y="70"/>
                  <a:pt x="304" y="73"/>
                  <a:pt x="303" y="74"/>
                </a:cubicBezTo>
                <a:cubicBezTo>
                  <a:pt x="303" y="74"/>
                  <a:pt x="300" y="78"/>
                  <a:pt x="299" y="78"/>
                </a:cubicBezTo>
                <a:cubicBezTo>
                  <a:pt x="298" y="79"/>
                  <a:pt x="296" y="80"/>
                  <a:pt x="295" y="80"/>
                </a:cubicBezTo>
                <a:cubicBezTo>
                  <a:pt x="294" y="81"/>
                  <a:pt x="293" y="83"/>
                  <a:pt x="293" y="83"/>
                </a:cubicBezTo>
                <a:cubicBezTo>
                  <a:pt x="293" y="84"/>
                  <a:pt x="295" y="86"/>
                  <a:pt x="295" y="87"/>
                </a:cubicBezTo>
                <a:cubicBezTo>
                  <a:pt x="295" y="88"/>
                  <a:pt x="294" y="89"/>
                  <a:pt x="293" y="89"/>
                </a:cubicBezTo>
                <a:cubicBezTo>
                  <a:pt x="293" y="89"/>
                  <a:pt x="290" y="89"/>
                  <a:pt x="290" y="90"/>
                </a:cubicBezTo>
                <a:cubicBezTo>
                  <a:pt x="290" y="91"/>
                  <a:pt x="291" y="96"/>
                  <a:pt x="290" y="97"/>
                </a:cubicBezTo>
                <a:cubicBezTo>
                  <a:pt x="290" y="97"/>
                  <a:pt x="291" y="99"/>
                  <a:pt x="289" y="99"/>
                </a:cubicBezTo>
                <a:cubicBezTo>
                  <a:pt x="287" y="100"/>
                  <a:pt x="283" y="102"/>
                  <a:pt x="283" y="102"/>
                </a:cubicBezTo>
                <a:cubicBezTo>
                  <a:pt x="283" y="102"/>
                  <a:pt x="282" y="102"/>
                  <a:pt x="281" y="102"/>
                </a:cubicBezTo>
                <a:cubicBezTo>
                  <a:pt x="280" y="103"/>
                  <a:pt x="276" y="105"/>
                  <a:pt x="275" y="105"/>
                </a:cubicBezTo>
                <a:cubicBezTo>
                  <a:pt x="275" y="105"/>
                  <a:pt x="271" y="106"/>
                  <a:pt x="271" y="106"/>
                </a:cubicBezTo>
                <a:cubicBezTo>
                  <a:pt x="270" y="107"/>
                  <a:pt x="266" y="107"/>
                  <a:pt x="266" y="107"/>
                </a:cubicBezTo>
                <a:cubicBezTo>
                  <a:pt x="265" y="108"/>
                  <a:pt x="264" y="108"/>
                  <a:pt x="265" y="108"/>
                </a:cubicBezTo>
                <a:cubicBezTo>
                  <a:pt x="266" y="109"/>
                  <a:pt x="270" y="109"/>
                  <a:pt x="271" y="109"/>
                </a:cubicBezTo>
                <a:cubicBezTo>
                  <a:pt x="272" y="109"/>
                  <a:pt x="275" y="108"/>
                  <a:pt x="276" y="108"/>
                </a:cubicBezTo>
                <a:cubicBezTo>
                  <a:pt x="277" y="108"/>
                  <a:pt x="280" y="106"/>
                  <a:pt x="281" y="105"/>
                </a:cubicBezTo>
                <a:cubicBezTo>
                  <a:pt x="283" y="104"/>
                  <a:pt x="283" y="105"/>
                  <a:pt x="283" y="105"/>
                </a:cubicBezTo>
                <a:cubicBezTo>
                  <a:pt x="283" y="105"/>
                  <a:pt x="282" y="109"/>
                  <a:pt x="282" y="110"/>
                </a:cubicBezTo>
                <a:cubicBezTo>
                  <a:pt x="283" y="111"/>
                  <a:pt x="283" y="112"/>
                  <a:pt x="283" y="113"/>
                </a:cubicBezTo>
                <a:cubicBezTo>
                  <a:pt x="283" y="114"/>
                  <a:pt x="283" y="115"/>
                  <a:pt x="283" y="116"/>
                </a:cubicBezTo>
                <a:cubicBezTo>
                  <a:pt x="283" y="117"/>
                  <a:pt x="283" y="120"/>
                  <a:pt x="284" y="121"/>
                </a:cubicBezTo>
                <a:cubicBezTo>
                  <a:pt x="285" y="123"/>
                  <a:pt x="286" y="125"/>
                  <a:pt x="286" y="126"/>
                </a:cubicBezTo>
                <a:cubicBezTo>
                  <a:pt x="287" y="127"/>
                  <a:pt x="288" y="127"/>
                  <a:pt x="288" y="127"/>
                </a:cubicBezTo>
                <a:cubicBezTo>
                  <a:pt x="288" y="126"/>
                  <a:pt x="289" y="123"/>
                  <a:pt x="288" y="122"/>
                </a:cubicBezTo>
                <a:cubicBezTo>
                  <a:pt x="288" y="121"/>
                  <a:pt x="284" y="117"/>
                  <a:pt x="284" y="116"/>
                </a:cubicBezTo>
                <a:cubicBezTo>
                  <a:pt x="284" y="115"/>
                  <a:pt x="285" y="112"/>
                  <a:pt x="285" y="111"/>
                </a:cubicBezTo>
                <a:cubicBezTo>
                  <a:pt x="286" y="110"/>
                  <a:pt x="286" y="108"/>
                  <a:pt x="286" y="107"/>
                </a:cubicBezTo>
                <a:cubicBezTo>
                  <a:pt x="285" y="104"/>
                  <a:pt x="288" y="103"/>
                  <a:pt x="290" y="103"/>
                </a:cubicBezTo>
                <a:cubicBezTo>
                  <a:pt x="292" y="102"/>
                  <a:pt x="293" y="102"/>
                  <a:pt x="295" y="101"/>
                </a:cubicBezTo>
                <a:cubicBezTo>
                  <a:pt x="296" y="99"/>
                  <a:pt x="298" y="95"/>
                  <a:pt x="298" y="94"/>
                </a:cubicBezTo>
                <a:cubicBezTo>
                  <a:pt x="299" y="93"/>
                  <a:pt x="300" y="91"/>
                  <a:pt x="301" y="91"/>
                </a:cubicBezTo>
                <a:cubicBezTo>
                  <a:pt x="302" y="90"/>
                  <a:pt x="301" y="92"/>
                  <a:pt x="302" y="91"/>
                </a:cubicBezTo>
                <a:cubicBezTo>
                  <a:pt x="304" y="91"/>
                  <a:pt x="304" y="90"/>
                  <a:pt x="304" y="89"/>
                </a:cubicBezTo>
                <a:cubicBezTo>
                  <a:pt x="304" y="87"/>
                  <a:pt x="302" y="86"/>
                  <a:pt x="303" y="85"/>
                </a:cubicBezTo>
                <a:cubicBezTo>
                  <a:pt x="304" y="85"/>
                  <a:pt x="304" y="85"/>
                  <a:pt x="305" y="84"/>
                </a:cubicBezTo>
                <a:cubicBezTo>
                  <a:pt x="305" y="84"/>
                  <a:pt x="306" y="83"/>
                  <a:pt x="306" y="83"/>
                </a:cubicBezTo>
                <a:cubicBezTo>
                  <a:pt x="307" y="82"/>
                  <a:pt x="307" y="82"/>
                  <a:pt x="307" y="82"/>
                </a:cubicBezTo>
                <a:cubicBezTo>
                  <a:pt x="307" y="82"/>
                  <a:pt x="307" y="82"/>
                  <a:pt x="308" y="82"/>
                </a:cubicBezTo>
                <a:cubicBezTo>
                  <a:pt x="309" y="82"/>
                  <a:pt x="310" y="82"/>
                  <a:pt x="310" y="83"/>
                </a:cubicBezTo>
                <a:cubicBezTo>
                  <a:pt x="311" y="84"/>
                  <a:pt x="313" y="84"/>
                  <a:pt x="313" y="84"/>
                </a:cubicBezTo>
                <a:cubicBezTo>
                  <a:pt x="313" y="84"/>
                  <a:pt x="314" y="84"/>
                  <a:pt x="314" y="85"/>
                </a:cubicBezTo>
                <a:cubicBezTo>
                  <a:pt x="315" y="85"/>
                  <a:pt x="314" y="86"/>
                  <a:pt x="315" y="86"/>
                </a:cubicBezTo>
                <a:cubicBezTo>
                  <a:pt x="316" y="86"/>
                  <a:pt x="317" y="85"/>
                  <a:pt x="317" y="85"/>
                </a:cubicBezTo>
                <a:cubicBezTo>
                  <a:pt x="317" y="85"/>
                  <a:pt x="319" y="84"/>
                  <a:pt x="320" y="85"/>
                </a:cubicBezTo>
                <a:cubicBezTo>
                  <a:pt x="321" y="85"/>
                  <a:pt x="321" y="85"/>
                  <a:pt x="321" y="85"/>
                </a:cubicBezTo>
                <a:cubicBezTo>
                  <a:pt x="321" y="85"/>
                  <a:pt x="322" y="84"/>
                  <a:pt x="323" y="84"/>
                </a:cubicBezTo>
                <a:cubicBezTo>
                  <a:pt x="323" y="83"/>
                  <a:pt x="324" y="84"/>
                  <a:pt x="324" y="83"/>
                </a:cubicBezTo>
                <a:cubicBezTo>
                  <a:pt x="325" y="82"/>
                  <a:pt x="324" y="84"/>
                  <a:pt x="326" y="84"/>
                </a:cubicBezTo>
                <a:cubicBezTo>
                  <a:pt x="326" y="84"/>
                  <a:pt x="328" y="84"/>
                  <a:pt x="328" y="84"/>
                </a:cubicBezTo>
                <a:cubicBezTo>
                  <a:pt x="331" y="84"/>
                  <a:pt x="331" y="84"/>
                  <a:pt x="331" y="84"/>
                </a:cubicBezTo>
                <a:cubicBezTo>
                  <a:pt x="331" y="84"/>
                  <a:pt x="332" y="85"/>
                  <a:pt x="332" y="86"/>
                </a:cubicBezTo>
                <a:cubicBezTo>
                  <a:pt x="332" y="87"/>
                  <a:pt x="332" y="89"/>
                  <a:pt x="332" y="89"/>
                </a:cubicBezTo>
                <a:cubicBezTo>
                  <a:pt x="332" y="90"/>
                  <a:pt x="331" y="92"/>
                  <a:pt x="331" y="93"/>
                </a:cubicBezTo>
                <a:cubicBezTo>
                  <a:pt x="330" y="93"/>
                  <a:pt x="329" y="95"/>
                  <a:pt x="329" y="95"/>
                </a:cubicBezTo>
                <a:cubicBezTo>
                  <a:pt x="329" y="96"/>
                  <a:pt x="328" y="97"/>
                  <a:pt x="328" y="98"/>
                </a:cubicBezTo>
                <a:cubicBezTo>
                  <a:pt x="328" y="99"/>
                  <a:pt x="328" y="102"/>
                  <a:pt x="328" y="102"/>
                </a:cubicBezTo>
                <a:cubicBezTo>
                  <a:pt x="328" y="103"/>
                  <a:pt x="327" y="103"/>
                  <a:pt x="327" y="103"/>
                </a:cubicBezTo>
                <a:cubicBezTo>
                  <a:pt x="326" y="103"/>
                  <a:pt x="325" y="103"/>
                  <a:pt x="325" y="104"/>
                </a:cubicBezTo>
                <a:cubicBezTo>
                  <a:pt x="325" y="104"/>
                  <a:pt x="324" y="105"/>
                  <a:pt x="324" y="105"/>
                </a:cubicBezTo>
                <a:cubicBezTo>
                  <a:pt x="323" y="106"/>
                  <a:pt x="322" y="106"/>
                  <a:pt x="321" y="106"/>
                </a:cubicBezTo>
                <a:cubicBezTo>
                  <a:pt x="321" y="106"/>
                  <a:pt x="319" y="106"/>
                  <a:pt x="318" y="106"/>
                </a:cubicBezTo>
                <a:cubicBezTo>
                  <a:pt x="318" y="106"/>
                  <a:pt x="317" y="106"/>
                  <a:pt x="316" y="106"/>
                </a:cubicBezTo>
                <a:cubicBezTo>
                  <a:pt x="316" y="107"/>
                  <a:pt x="315" y="107"/>
                  <a:pt x="315" y="108"/>
                </a:cubicBezTo>
                <a:cubicBezTo>
                  <a:pt x="314" y="108"/>
                  <a:pt x="313" y="108"/>
                  <a:pt x="313" y="108"/>
                </a:cubicBezTo>
                <a:cubicBezTo>
                  <a:pt x="312" y="108"/>
                  <a:pt x="311" y="107"/>
                  <a:pt x="311" y="107"/>
                </a:cubicBezTo>
                <a:cubicBezTo>
                  <a:pt x="311" y="107"/>
                  <a:pt x="311" y="106"/>
                  <a:pt x="310" y="107"/>
                </a:cubicBezTo>
                <a:cubicBezTo>
                  <a:pt x="309" y="107"/>
                  <a:pt x="309" y="108"/>
                  <a:pt x="309" y="108"/>
                </a:cubicBezTo>
                <a:cubicBezTo>
                  <a:pt x="308" y="108"/>
                  <a:pt x="306" y="108"/>
                  <a:pt x="306" y="108"/>
                </a:cubicBezTo>
                <a:cubicBezTo>
                  <a:pt x="306" y="108"/>
                  <a:pt x="305" y="107"/>
                  <a:pt x="304" y="107"/>
                </a:cubicBezTo>
                <a:cubicBezTo>
                  <a:pt x="304" y="107"/>
                  <a:pt x="303" y="107"/>
                  <a:pt x="303" y="107"/>
                </a:cubicBezTo>
                <a:cubicBezTo>
                  <a:pt x="302" y="108"/>
                  <a:pt x="302" y="108"/>
                  <a:pt x="302" y="108"/>
                </a:cubicBezTo>
                <a:cubicBezTo>
                  <a:pt x="302" y="108"/>
                  <a:pt x="302" y="108"/>
                  <a:pt x="302" y="108"/>
                </a:cubicBezTo>
                <a:cubicBezTo>
                  <a:pt x="302" y="108"/>
                  <a:pt x="301" y="108"/>
                  <a:pt x="301" y="109"/>
                </a:cubicBezTo>
                <a:cubicBezTo>
                  <a:pt x="301" y="109"/>
                  <a:pt x="300" y="109"/>
                  <a:pt x="300" y="109"/>
                </a:cubicBezTo>
                <a:cubicBezTo>
                  <a:pt x="300" y="109"/>
                  <a:pt x="299" y="110"/>
                  <a:pt x="300" y="110"/>
                </a:cubicBezTo>
                <a:cubicBezTo>
                  <a:pt x="300" y="111"/>
                  <a:pt x="300" y="111"/>
                  <a:pt x="300" y="111"/>
                </a:cubicBezTo>
                <a:cubicBezTo>
                  <a:pt x="300" y="112"/>
                  <a:pt x="301" y="112"/>
                  <a:pt x="301" y="112"/>
                </a:cubicBezTo>
                <a:cubicBezTo>
                  <a:pt x="302" y="112"/>
                  <a:pt x="303" y="112"/>
                  <a:pt x="304" y="112"/>
                </a:cubicBezTo>
                <a:cubicBezTo>
                  <a:pt x="305" y="111"/>
                  <a:pt x="305" y="112"/>
                  <a:pt x="305" y="111"/>
                </a:cubicBezTo>
                <a:cubicBezTo>
                  <a:pt x="306" y="111"/>
                  <a:pt x="306" y="111"/>
                  <a:pt x="306" y="111"/>
                </a:cubicBezTo>
                <a:cubicBezTo>
                  <a:pt x="307" y="111"/>
                  <a:pt x="307" y="110"/>
                  <a:pt x="307" y="110"/>
                </a:cubicBezTo>
                <a:cubicBezTo>
                  <a:pt x="309" y="110"/>
                  <a:pt x="309" y="110"/>
                  <a:pt x="309" y="110"/>
                </a:cubicBezTo>
                <a:cubicBezTo>
                  <a:pt x="309" y="110"/>
                  <a:pt x="309" y="110"/>
                  <a:pt x="309" y="110"/>
                </a:cubicBezTo>
                <a:cubicBezTo>
                  <a:pt x="309" y="109"/>
                  <a:pt x="309" y="109"/>
                  <a:pt x="310" y="109"/>
                </a:cubicBezTo>
                <a:cubicBezTo>
                  <a:pt x="310" y="109"/>
                  <a:pt x="311" y="109"/>
                  <a:pt x="311" y="109"/>
                </a:cubicBezTo>
                <a:cubicBezTo>
                  <a:pt x="312" y="109"/>
                  <a:pt x="312" y="109"/>
                  <a:pt x="312" y="109"/>
                </a:cubicBezTo>
                <a:cubicBezTo>
                  <a:pt x="312" y="109"/>
                  <a:pt x="316" y="109"/>
                  <a:pt x="317" y="109"/>
                </a:cubicBezTo>
                <a:cubicBezTo>
                  <a:pt x="317" y="109"/>
                  <a:pt x="317" y="108"/>
                  <a:pt x="317" y="108"/>
                </a:cubicBezTo>
                <a:cubicBezTo>
                  <a:pt x="318" y="108"/>
                  <a:pt x="318" y="109"/>
                  <a:pt x="318" y="109"/>
                </a:cubicBezTo>
                <a:cubicBezTo>
                  <a:pt x="319" y="109"/>
                  <a:pt x="320" y="109"/>
                  <a:pt x="320" y="109"/>
                </a:cubicBezTo>
                <a:cubicBezTo>
                  <a:pt x="320" y="109"/>
                  <a:pt x="320" y="108"/>
                  <a:pt x="321" y="108"/>
                </a:cubicBezTo>
                <a:cubicBezTo>
                  <a:pt x="321" y="108"/>
                  <a:pt x="322" y="109"/>
                  <a:pt x="322" y="109"/>
                </a:cubicBezTo>
                <a:cubicBezTo>
                  <a:pt x="322" y="109"/>
                  <a:pt x="322" y="109"/>
                  <a:pt x="322" y="109"/>
                </a:cubicBezTo>
                <a:cubicBezTo>
                  <a:pt x="322" y="109"/>
                  <a:pt x="322" y="108"/>
                  <a:pt x="322" y="108"/>
                </a:cubicBezTo>
                <a:cubicBezTo>
                  <a:pt x="323" y="108"/>
                  <a:pt x="323" y="108"/>
                  <a:pt x="324" y="108"/>
                </a:cubicBezTo>
                <a:cubicBezTo>
                  <a:pt x="324" y="108"/>
                  <a:pt x="323" y="108"/>
                  <a:pt x="324" y="108"/>
                </a:cubicBezTo>
                <a:cubicBezTo>
                  <a:pt x="325" y="108"/>
                  <a:pt x="325" y="108"/>
                  <a:pt x="325" y="108"/>
                </a:cubicBezTo>
                <a:cubicBezTo>
                  <a:pt x="325" y="108"/>
                  <a:pt x="327" y="106"/>
                  <a:pt x="327" y="105"/>
                </a:cubicBezTo>
                <a:cubicBezTo>
                  <a:pt x="327" y="105"/>
                  <a:pt x="328" y="104"/>
                  <a:pt x="329" y="104"/>
                </a:cubicBezTo>
                <a:cubicBezTo>
                  <a:pt x="330" y="104"/>
                  <a:pt x="331" y="104"/>
                  <a:pt x="331" y="104"/>
                </a:cubicBezTo>
                <a:cubicBezTo>
                  <a:pt x="332" y="104"/>
                  <a:pt x="332" y="104"/>
                  <a:pt x="332" y="104"/>
                </a:cubicBezTo>
                <a:cubicBezTo>
                  <a:pt x="332" y="104"/>
                  <a:pt x="332" y="104"/>
                  <a:pt x="332" y="103"/>
                </a:cubicBezTo>
                <a:cubicBezTo>
                  <a:pt x="332" y="103"/>
                  <a:pt x="332" y="102"/>
                  <a:pt x="333" y="102"/>
                </a:cubicBezTo>
                <a:cubicBezTo>
                  <a:pt x="334" y="101"/>
                  <a:pt x="334" y="99"/>
                  <a:pt x="335" y="99"/>
                </a:cubicBezTo>
                <a:cubicBezTo>
                  <a:pt x="335" y="98"/>
                  <a:pt x="335" y="96"/>
                  <a:pt x="335" y="95"/>
                </a:cubicBezTo>
                <a:cubicBezTo>
                  <a:pt x="335" y="94"/>
                  <a:pt x="336" y="93"/>
                  <a:pt x="336" y="93"/>
                </a:cubicBezTo>
                <a:cubicBezTo>
                  <a:pt x="336" y="92"/>
                  <a:pt x="337" y="91"/>
                  <a:pt x="338" y="91"/>
                </a:cubicBezTo>
                <a:cubicBezTo>
                  <a:pt x="339" y="91"/>
                  <a:pt x="340" y="91"/>
                  <a:pt x="341" y="91"/>
                </a:cubicBezTo>
                <a:cubicBezTo>
                  <a:pt x="342" y="91"/>
                  <a:pt x="343" y="91"/>
                  <a:pt x="343" y="91"/>
                </a:cubicBezTo>
                <a:cubicBezTo>
                  <a:pt x="344" y="91"/>
                  <a:pt x="345" y="91"/>
                  <a:pt x="346" y="91"/>
                </a:cubicBezTo>
                <a:cubicBezTo>
                  <a:pt x="346" y="92"/>
                  <a:pt x="347" y="92"/>
                  <a:pt x="348" y="92"/>
                </a:cubicBezTo>
                <a:cubicBezTo>
                  <a:pt x="348" y="93"/>
                  <a:pt x="349" y="93"/>
                  <a:pt x="349" y="93"/>
                </a:cubicBezTo>
                <a:cubicBezTo>
                  <a:pt x="350" y="94"/>
                  <a:pt x="351" y="93"/>
                  <a:pt x="351" y="93"/>
                </a:cubicBezTo>
                <a:cubicBezTo>
                  <a:pt x="351" y="93"/>
                  <a:pt x="352" y="93"/>
                  <a:pt x="352" y="93"/>
                </a:cubicBezTo>
                <a:cubicBezTo>
                  <a:pt x="353" y="93"/>
                  <a:pt x="353" y="93"/>
                  <a:pt x="353" y="93"/>
                </a:cubicBezTo>
                <a:cubicBezTo>
                  <a:pt x="354" y="93"/>
                  <a:pt x="355" y="93"/>
                  <a:pt x="355" y="93"/>
                </a:cubicBezTo>
                <a:cubicBezTo>
                  <a:pt x="355" y="93"/>
                  <a:pt x="355" y="93"/>
                  <a:pt x="356" y="94"/>
                </a:cubicBezTo>
                <a:cubicBezTo>
                  <a:pt x="356" y="94"/>
                  <a:pt x="358" y="94"/>
                  <a:pt x="358" y="94"/>
                </a:cubicBezTo>
                <a:cubicBezTo>
                  <a:pt x="358" y="94"/>
                  <a:pt x="359" y="94"/>
                  <a:pt x="360" y="93"/>
                </a:cubicBezTo>
                <a:cubicBezTo>
                  <a:pt x="360" y="93"/>
                  <a:pt x="361" y="93"/>
                  <a:pt x="361" y="93"/>
                </a:cubicBezTo>
                <a:cubicBezTo>
                  <a:pt x="362" y="93"/>
                  <a:pt x="362" y="93"/>
                  <a:pt x="362" y="94"/>
                </a:cubicBezTo>
                <a:cubicBezTo>
                  <a:pt x="362" y="95"/>
                  <a:pt x="362" y="97"/>
                  <a:pt x="362" y="97"/>
                </a:cubicBezTo>
                <a:cubicBezTo>
                  <a:pt x="362" y="97"/>
                  <a:pt x="362" y="99"/>
                  <a:pt x="362" y="99"/>
                </a:cubicBezTo>
                <a:cubicBezTo>
                  <a:pt x="362" y="99"/>
                  <a:pt x="364" y="99"/>
                  <a:pt x="364" y="99"/>
                </a:cubicBezTo>
                <a:cubicBezTo>
                  <a:pt x="365" y="99"/>
                  <a:pt x="366" y="98"/>
                  <a:pt x="367" y="98"/>
                </a:cubicBezTo>
                <a:cubicBezTo>
                  <a:pt x="367" y="98"/>
                  <a:pt x="368" y="98"/>
                  <a:pt x="369" y="98"/>
                </a:cubicBezTo>
                <a:cubicBezTo>
                  <a:pt x="370" y="98"/>
                  <a:pt x="370" y="98"/>
                  <a:pt x="370" y="98"/>
                </a:cubicBezTo>
                <a:cubicBezTo>
                  <a:pt x="370" y="99"/>
                  <a:pt x="371" y="100"/>
                  <a:pt x="371" y="101"/>
                </a:cubicBezTo>
                <a:cubicBezTo>
                  <a:pt x="372" y="101"/>
                  <a:pt x="372" y="101"/>
                  <a:pt x="373" y="101"/>
                </a:cubicBezTo>
                <a:cubicBezTo>
                  <a:pt x="373" y="101"/>
                  <a:pt x="374" y="102"/>
                  <a:pt x="374" y="102"/>
                </a:cubicBezTo>
                <a:cubicBezTo>
                  <a:pt x="374" y="103"/>
                  <a:pt x="373" y="104"/>
                  <a:pt x="373" y="104"/>
                </a:cubicBezTo>
                <a:cubicBezTo>
                  <a:pt x="373" y="105"/>
                  <a:pt x="373" y="106"/>
                  <a:pt x="374" y="106"/>
                </a:cubicBezTo>
                <a:cubicBezTo>
                  <a:pt x="374" y="106"/>
                  <a:pt x="376" y="106"/>
                  <a:pt x="376" y="106"/>
                </a:cubicBezTo>
                <a:cubicBezTo>
                  <a:pt x="376" y="105"/>
                  <a:pt x="377" y="104"/>
                  <a:pt x="377" y="103"/>
                </a:cubicBezTo>
                <a:cubicBezTo>
                  <a:pt x="377" y="103"/>
                  <a:pt x="377" y="102"/>
                  <a:pt x="378" y="102"/>
                </a:cubicBezTo>
                <a:cubicBezTo>
                  <a:pt x="378" y="102"/>
                  <a:pt x="380" y="102"/>
                  <a:pt x="380" y="102"/>
                </a:cubicBezTo>
                <a:cubicBezTo>
                  <a:pt x="381" y="102"/>
                  <a:pt x="381" y="102"/>
                  <a:pt x="381" y="102"/>
                </a:cubicBezTo>
                <a:cubicBezTo>
                  <a:pt x="381" y="102"/>
                  <a:pt x="381" y="105"/>
                  <a:pt x="381" y="105"/>
                </a:cubicBezTo>
                <a:cubicBezTo>
                  <a:pt x="382" y="105"/>
                  <a:pt x="382" y="104"/>
                  <a:pt x="383" y="104"/>
                </a:cubicBezTo>
                <a:cubicBezTo>
                  <a:pt x="383" y="104"/>
                  <a:pt x="384" y="105"/>
                  <a:pt x="384" y="105"/>
                </a:cubicBezTo>
                <a:cubicBezTo>
                  <a:pt x="384" y="105"/>
                  <a:pt x="383" y="106"/>
                  <a:pt x="383" y="106"/>
                </a:cubicBezTo>
                <a:cubicBezTo>
                  <a:pt x="383" y="107"/>
                  <a:pt x="383" y="107"/>
                  <a:pt x="383" y="108"/>
                </a:cubicBezTo>
                <a:cubicBezTo>
                  <a:pt x="383" y="108"/>
                  <a:pt x="383" y="108"/>
                  <a:pt x="383" y="109"/>
                </a:cubicBezTo>
                <a:cubicBezTo>
                  <a:pt x="384" y="109"/>
                  <a:pt x="384" y="110"/>
                  <a:pt x="384" y="111"/>
                </a:cubicBezTo>
                <a:cubicBezTo>
                  <a:pt x="384" y="111"/>
                  <a:pt x="385" y="112"/>
                  <a:pt x="384" y="113"/>
                </a:cubicBezTo>
                <a:cubicBezTo>
                  <a:pt x="384" y="113"/>
                  <a:pt x="383" y="114"/>
                  <a:pt x="383" y="114"/>
                </a:cubicBezTo>
                <a:cubicBezTo>
                  <a:pt x="383" y="114"/>
                  <a:pt x="382" y="115"/>
                  <a:pt x="383" y="116"/>
                </a:cubicBezTo>
                <a:cubicBezTo>
                  <a:pt x="383" y="117"/>
                  <a:pt x="383" y="117"/>
                  <a:pt x="384" y="117"/>
                </a:cubicBezTo>
                <a:cubicBezTo>
                  <a:pt x="384" y="116"/>
                  <a:pt x="384" y="116"/>
                  <a:pt x="385" y="116"/>
                </a:cubicBezTo>
                <a:cubicBezTo>
                  <a:pt x="385" y="116"/>
                  <a:pt x="385" y="118"/>
                  <a:pt x="385" y="118"/>
                </a:cubicBezTo>
                <a:cubicBezTo>
                  <a:pt x="385" y="118"/>
                  <a:pt x="385" y="120"/>
                  <a:pt x="384" y="121"/>
                </a:cubicBezTo>
                <a:cubicBezTo>
                  <a:pt x="383" y="121"/>
                  <a:pt x="383" y="121"/>
                  <a:pt x="383" y="121"/>
                </a:cubicBezTo>
                <a:cubicBezTo>
                  <a:pt x="382" y="122"/>
                  <a:pt x="382" y="123"/>
                  <a:pt x="383" y="123"/>
                </a:cubicBezTo>
                <a:cubicBezTo>
                  <a:pt x="383" y="123"/>
                  <a:pt x="383" y="123"/>
                  <a:pt x="384" y="123"/>
                </a:cubicBezTo>
                <a:cubicBezTo>
                  <a:pt x="384" y="123"/>
                  <a:pt x="384" y="123"/>
                  <a:pt x="385" y="123"/>
                </a:cubicBezTo>
                <a:cubicBezTo>
                  <a:pt x="385" y="123"/>
                  <a:pt x="386" y="124"/>
                  <a:pt x="386" y="123"/>
                </a:cubicBezTo>
                <a:cubicBezTo>
                  <a:pt x="386" y="123"/>
                  <a:pt x="386" y="121"/>
                  <a:pt x="386" y="120"/>
                </a:cubicBezTo>
                <a:cubicBezTo>
                  <a:pt x="387" y="119"/>
                  <a:pt x="387" y="119"/>
                  <a:pt x="388" y="118"/>
                </a:cubicBezTo>
                <a:cubicBezTo>
                  <a:pt x="389" y="118"/>
                  <a:pt x="389" y="118"/>
                  <a:pt x="389" y="118"/>
                </a:cubicBezTo>
                <a:cubicBezTo>
                  <a:pt x="389" y="118"/>
                  <a:pt x="389" y="119"/>
                  <a:pt x="389" y="119"/>
                </a:cubicBezTo>
                <a:cubicBezTo>
                  <a:pt x="389" y="120"/>
                  <a:pt x="389" y="121"/>
                  <a:pt x="389" y="121"/>
                </a:cubicBezTo>
                <a:cubicBezTo>
                  <a:pt x="389" y="122"/>
                  <a:pt x="389" y="123"/>
                  <a:pt x="389" y="123"/>
                </a:cubicBezTo>
                <a:cubicBezTo>
                  <a:pt x="389" y="123"/>
                  <a:pt x="390" y="124"/>
                  <a:pt x="390" y="124"/>
                </a:cubicBezTo>
                <a:cubicBezTo>
                  <a:pt x="391" y="124"/>
                  <a:pt x="391" y="124"/>
                  <a:pt x="391" y="123"/>
                </a:cubicBezTo>
                <a:cubicBezTo>
                  <a:pt x="391" y="123"/>
                  <a:pt x="392" y="122"/>
                  <a:pt x="393" y="122"/>
                </a:cubicBezTo>
                <a:cubicBezTo>
                  <a:pt x="393" y="122"/>
                  <a:pt x="394" y="120"/>
                  <a:pt x="395" y="120"/>
                </a:cubicBezTo>
                <a:cubicBezTo>
                  <a:pt x="395" y="119"/>
                  <a:pt x="396" y="117"/>
                  <a:pt x="396" y="116"/>
                </a:cubicBezTo>
                <a:cubicBezTo>
                  <a:pt x="396" y="115"/>
                  <a:pt x="396" y="114"/>
                  <a:pt x="397" y="114"/>
                </a:cubicBezTo>
                <a:cubicBezTo>
                  <a:pt x="397" y="113"/>
                  <a:pt x="397" y="113"/>
                  <a:pt x="398" y="113"/>
                </a:cubicBezTo>
                <a:cubicBezTo>
                  <a:pt x="398" y="113"/>
                  <a:pt x="399" y="114"/>
                  <a:pt x="399" y="114"/>
                </a:cubicBezTo>
                <a:cubicBezTo>
                  <a:pt x="399" y="114"/>
                  <a:pt x="399" y="115"/>
                  <a:pt x="399" y="116"/>
                </a:cubicBezTo>
                <a:cubicBezTo>
                  <a:pt x="399" y="116"/>
                  <a:pt x="398" y="116"/>
                  <a:pt x="398" y="117"/>
                </a:cubicBezTo>
                <a:cubicBezTo>
                  <a:pt x="398" y="117"/>
                  <a:pt x="398" y="118"/>
                  <a:pt x="398" y="118"/>
                </a:cubicBezTo>
                <a:cubicBezTo>
                  <a:pt x="398" y="119"/>
                  <a:pt x="398" y="119"/>
                  <a:pt x="398" y="119"/>
                </a:cubicBezTo>
                <a:cubicBezTo>
                  <a:pt x="399" y="119"/>
                  <a:pt x="400" y="119"/>
                  <a:pt x="400" y="119"/>
                </a:cubicBezTo>
                <a:cubicBezTo>
                  <a:pt x="400" y="119"/>
                  <a:pt x="400" y="118"/>
                  <a:pt x="400" y="118"/>
                </a:cubicBezTo>
                <a:cubicBezTo>
                  <a:pt x="400" y="118"/>
                  <a:pt x="402" y="118"/>
                  <a:pt x="402" y="118"/>
                </a:cubicBezTo>
                <a:cubicBezTo>
                  <a:pt x="402" y="118"/>
                  <a:pt x="403" y="118"/>
                  <a:pt x="403" y="118"/>
                </a:cubicBezTo>
                <a:cubicBezTo>
                  <a:pt x="403" y="118"/>
                  <a:pt x="404" y="119"/>
                  <a:pt x="404" y="119"/>
                </a:cubicBezTo>
                <a:cubicBezTo>
                  <a:pt x="405" y="120"/>
                  <a:pt x="405" y="120"/>
                  <a:pt x="406" y="120"/>
                </a:cubicBezTo>
                <a:cubicBezTo>
                  <a:pt x="406" y="120"/>
                  <a:pt x="408" y="120"/>
                  <a:pt x="408" y="120"/>
                </a:cubicBezTo>
                <a:cubicBezTo>
                  <a:pt x="409" y="120"/>
                  <a:pt x="410" y="120"/>
                  <a:pt x="410" y="120"/>
                </a:cubicBezTo>
                <a:cubicBezTo>
                  <a:pt x="411" y="120"/>
                  <a:pt x="412" y="120"/>
                  <a:pt x="413" y="121"/>
                </a:cubicBezTo>
                <a:cubicBezTo>
                  <a:pt x="413" y="121"/>
                  <a:pt x="414" y="121"/>
                  <a:pt x="415" y="121"/>
                </a:cubicBezTo>
                <a:cubicBezTo>
                  <a:pt x="415" y="121"/>
                  <a:pt x="415" y="121"/>
                  <a:pt x="416" y="121"/>
                </a:cubicBezTo>
                <a:cubicBezTo>
                  <a:pt x="416" y="121"/>
                  <a:pt x="417" y="121"/>
                  <a:pt x="418" y="121"/>
                </a:cubicBezTo>
                <a:cubicBezTo>
                  <a:pt x="418" y="121"/>
                  <a:pt x="419" y="122"/>
                  <a:pt x="420" y="122"/>
                </a:cubicBezTo>
                <a:cubicBezTo>
                  <a:pt x="420" y="123"/>
                  <a:pt x="421" y="123"/>
                  <a:pt x="422" y="123"/>
                </a:cubicBezTo>
                <a:cubicBezTo>
                  <a:pt x="422" y="123"/>
                  <a:pt x="423" y="123"/>
                  <a:pt x="424" y="124"/>
                </a:cubicBezTo>
                <a:cubicBezTo>
                  <a:pt x="424" y="124"/>
                  <a:pt x="425" y="124"/>
                  <a:pt x="426" y="124"/>
                </a:cubicBezTo>
                <a:cubicBezTo>
                  <a:pt x="426" y="124"/>
                  <a:pt x="427" y="124"/>
                  <a:pt x="428" y="124"/>
                </a:cubicBezTo>
                <a:cubicBezTo>
                  <a:pt x="428" y="124"/>
                  <a:pt x="429" y="124"/>
                  <a:pt x="430" y="124"/>
                </a:cubicBezTo>
                <a:cubicBezTo>
                  <a:pt x="431" y="124"/>
                  <a:pt x="432" y="124"/>
                  <a:pt x="432" y="124"/>
                </a:cubicBezTo>
                <a:cubicBezTo>
                  <a:pt x="433" y="124"/>
                  <a:pt x="435" y="124"/>
                  <a:pt x="436" y="124"/>
                </a:cubicBezTo>
                <a:cubicBezTo>
                  <a:pt x="436" y="124"/>
                  <a:pt x="437" y="124"/>
                  <a:pt x="438" y="124"/>
                </a:cubicBezTo>
                <a:cubicBezTo>
                  <a:pt x="438" y="124"/>
                  <a:pt x="440" y="123"/>
                  <a:pt x="441" y="123"/>
                </a:cubicBezTo>
                <a:cubicBezTo>
                  <a:pt x="441" y="123"/>
                  <a:pt x="442" y="124"/>
                  <a:pt x="443" y="124"/>
                </a:cubicBezTo>
                <a:cubicBezTo>
                  <a:pt x="443" y="124"/>
                  <a:pt x="445" y="125"/>
                  <a:pt x="445" y="125"/>
                </a:cubicBezTo>
                <a:cubicBezTo>
                  <a:pt x="446" y="125"/>
                  <a:pt x="447" y="126"/>
                  <a:pt x="448" y="126"/>
                </a:cubicBezTo>
                <a:cubicBezTo>
                  <a:pt x="449" y="126"/>
                  <a:pt x="449" y="127"/>
                  <a:pt x="449" y="127"/>
                </a:cubicBezTo>
                <a:cubicBezTo>
                  <a:pt x="450" y="128"/>
                  <a:pt x="450" y="129"/>
                  <a:pt x="451" y="129"/>
                </a:cubicBezTo>
                <a:cubicBezTo>
                  <a:pt x="451" y="129"/>
                  <a:pt x="453" y="130"/>
                  <a:pt x="453" y="131"/>
                </a:cubicBezTo>
                <a:cubicBezTo>
                  <a:pt x="454" y="131"/>
                  <a:pt x="455" y="132"/>
                  <a:pt x="456" y="132"/>
                </a:cubicBezTo>
                <a:cubicBezTo>
                  <a:pt x="457" y="132"/>
                  <a:pt x="459" y="133"/>
                  <a:pt x="459" y="134"/>
                </a:cubicBezTo>
                <a:cubicBezTo>
                  <a:pt x="460" y="134"/>
                  <a:pt x="460" y="135"/>
                  <a:pt x="462" y="135"/>
                </a:cubicBezTo>
                <a:cubicBezTo>
                  <a:pt x="463" y="135"/>
                  <a:pt x="463" y="135"/>
                  <a:pt x="463" y="135"/>
                </a:cubicBezTo>
                <a:cubicBezTo>
                  <a:pt x="464" y="136"/>
                  <a:pt x="464" y="137"/>
                  <a:pt x="465" y="137"/>
                </a:cubicBezTo>
                <a:cubicBezTo>
                  <a:pt x="465" y="138"/>
                  <a:pt x="466" y="138"/>
                  <a:pt x="466" y="139"/>
                </a:cubicBezTo>
                <a:cubicBezTo>
                  <a:pt x="466" y="139"/>
                  <a:pt x="467" y="140"/>
                  <a:pt x="467" y="140"/>
                </a:cubicBezTo>
                <a:cubicBezTo>
                  <a:pt x="467" y="140"/>
                  <a:pt x="466" y="141"/>
                  <a:pt x="467" y="142"/>
                </a:cubicBezTo>
                <a:cubicBezTo>
                  <a:pt x="467" y="142"/>
                  <a:pt x="467" y="143"/>
                  <a:pt x="467" y="144"/>
                </a:cubicBezTo>
                <a:cubicBezTo>
                  <a:pt x="468" y="144"/>
                  <a:pt x="468" y="144"/>
                  <a:pt x="468" y="145"/>
                </a:cubicBezTo>
                <a:cubicBezTo>
                  <a:pt x="469" y="146"/>
                  <a:pt x="469" y="146"/>
                  <a:pt x="470" y="146"/>
                </a:cubicBezTo>
                <a:cubicBezTo>
                  <a:pt x="471" y="147"/>
                  <a:pt x="471" y="147"/>
                  <a:pt x="472" y="147"/>
                </a:cubicBezTo>
                <a:cubicBezTo>
                  <a:pt x="473" y="147"/>
                  <a:pt x="474" y="148"/>
                  <a:pt x="474" y="148"/>
                </a:cubicBezTo>
                <a:cubicBezTo>
                  <a:pt x="475" y="148"/>
                  <a:pt x="476" y="149"/>
                  <a:pt x="476" y="149"/>
                </a:cubicBezTo>
                <a:cubicBezTo>
                  <a:pt x="477" y="149"/>
                  <a:pt x="478" y="150"/>
                  <a:pt x="478" y="150"/>
                </a:cubicBezTo>
                <a:cubicBezTo>
                  <a:pt x="478" y="150"/>
                  <a:pt x="478" y="152"/>
                  <a:pt x="478" y="152"/>
                </a:cubicBezTo>
                <a:cubicBezTo>
                  <a:pt x="479" y="153"/>
                  <a:pt x="479" y="154"/>
                  <a:pt x="479" y="155"/>
                </a:cubicBezTo>
                <a:cubicBezTo>
                  <a:pt x="480" y="156"/>
                  <a:pt x="480" y="156"/>
                  <a:pt x="480" y="156"/>
                </a:cubicBezTo>
                <a:cubicBezTo>
                  <a:pt x="481" y="157"/>
                  <a:pt x="482" y="157"/>
                  <a:pt x="482" y="157"/>
                </a:cubicBezTo>
                <a:cubicBezTo>
                  <a:pt x="483" y="157"/>
                  <a:pt x="485" y="157"/>
                  <a:pt x="485" y="157"/>
                </a:cubicBezTo>
                <a:cubicBezTo>
                  <a:pt x="486" y="158"/>
                  <a:pt x="486" y="158"/>
                  <a:pt x="486" y="159"/>
                </a:cubicBezTo>
                <a:cubicBezTo>
                  <a:pt x="487" y="159"/>
                  <a:pt x="487" y="159"/>
                  <a:pt x="488" y="159"/>
                </a:cubicBezTo>
                <a:cubicBezTo>
                  <a:pt x="489" y="159"/>
                  <a:pt x="490" y="159"/>
                  <a:pt x="490" y="159"/>
                </a:cubicBezTo>
                <a:cubicBezTo>
                  <a:pt x="491" y="159"/>
                  <a:pt x="491" y="159"/>
                  <a:pt x="491" y="159"/>
                </a:cubicBezTo>
                <a:cubicBezTo>
                  <a:pt x="492" y="159"/>
                  <a:pt x="493" y="160"/>
                  <a:pt x="493" y="160"/>
                </a:cubicBezTo>
                <a:cubicBezTo>
                  <a:pt x="494" y="160"/>
                  <a:pt x="496" y="160"/>
                  <a:pt x="496" y="160"/>
                </a:cubicBezTo>
                <a:cubicBezTo>
                  <a:pt x="496" y="160"/>
                  <a:pt x="498" y="160"/>
                  <a:pt x="499" y="160"/>
                </a:cubicBezTo>
                <a:cubicBezTo>
                  <a:pt x="499" y="160"/>
                  <a:pt x="500" y="160"/>
                  <a:pt x="501" y="160"/>
                </a:cubicBezTo>
                <a:cubicBezTo>
                  <a:pt x="502" y="159"/>
                  <a:pt x="503" y="159"/>
                  <a:pt x="503" y="160"/>
                </a:cubicBezTo>
                <a:cubicBezTo>
                  <a:pt x="503" y="160"/>
                  <a:pt x="504" y="161"/>
                  <a:pt x="504" y="162"/>
                </a:cubicBezTo>
                <a:cubicBezTo>
                  <a:pt x="505" y="163"/>
                  <a:pt x="505" y="163"/>
                  <a:pt x="505" y="163"/>
                </a:cubicBezTo>
                <a:cubicBezTo>
                  <a:pt x="506" y="164"/>
                  <a:pt x="506" y="164"/>
                  <a:pt x="506" y="165"/>
                </a:cubicBezTo>
                <a:cubicBezTo>
                  <a:pt x="506" y="166"/>
                  <a:pt x="506" y="166"/>
                  <a:pt x="506" y="167"/>
                </a:cubicBezTo>
                <a:cubicBezTo>
                  <a:pt x="507" y="167"/>
                  <a:pt x="507" y="169"/>
                  <a:pt x="507" y="169"/>
                </a:cubicBezTo>
                <a:cubicBezTo>
                  <a:pt x="507" y="169"/>
                  <a:pt x="507" y="172"/>
                  <a:pt x="507" y="173"/>
                </a:cubicBezTo>
                <a:cubicBezTo>
                  <a:pt x="507" y="173"/>
                  <a:pt x="507" y="174"/>
                  <a:pt x="507" y="175"/>
                </a:cubicBezTo>
                <a:cubicBezTo>
                  <a:pt x="508" y="175"/>
                  <a:pt x="509" y="177"/>
                  <a:pt x="509" y="178"/>
                </a:cubicBezTo>
                <a:cubicBezTo>
                  <a:pt x="510" y="178"/>
                  <a:pt x="511" y="180"/>
                  <a:pt x="511" y="180"/>
                </a:cubicBezTo>
                <a:cubicBezTo>
                  <a:pt x="511" y="180"/>
                  <a:pt x="511" y="183"/>
                  <a:pt x="511" y="183"/>
                </a:cubicBezTo>
                <a:cubicBezTo>
                  <a:pt x="511" y="184"/>
                  <a:pt x="511" y="186"/>
                  <a:pt x="512" y="186"/>
                </a:cubicBezTo>
                <a:cubicBezTo>
                  <a:pt x="512" y="187"/>
                  <a:pt x="513" y="188"/>
                  <a:pt x="513" y="189"/>
                </a:cubicBezTo>
                <a:cubicBezTo>
                  <a:pt x="513" y="189"/>
                  <a:pt x="514" y="190"/>
                  <a:pt x="514" y="191"/>
                </a:cubicBezTo>
                <a:cubicBezTo>
                  <a:pt x="514" y="191"/>
                  <a:pt x="515" y="193"/>
                  <a:pt x="515" y="193"/>
                </a:cubicBezTo>
                <a:cubicBezTo>
                  <a:pt x="515" y="194"/>
                  <a:pt x="514" y="196"/>
                  <a:pt x="514" y="197"/>
                </a:cubicBezTo>
                <a:cubicBezTo>
                  <a:pt x="513" y="197"/>
                  <a:pt x="512" y="199"/>
                  <a:pt x="512" y="200"/>
                </a:cubicBezTo>
                <a:cubicBezTo>
                  <a:pt x="511" y="201"/>
                  <a:pt x="512" y="202"/>
                  <a:pt x="512" y="202"/>
                </a:cubicBezTo>
                <a:cubicBezTo>
                  <a:pt x="512" y="202"/>
                  <a:pt x="513" y="204"/>
                  <a:pt x="513" y="204"/>
                </a:cubicBezTo>
                <a:cubicBezTo>
                  <a:pt x="513" y="204"/>
                  <a:pt x="513" y="206"/>
                  <a:pt x="513" y="206"/>
                </a:cubicBezTo>
                <a:cubicBezTo>
                  <a:pt x="512" y="207"/>
                  <a:pt x="510" y="213"/>
                  <a:pt x="510" y="213"/>
                </a:cubicBezTo>
                <a:cubicBezTo>
                  <a:pt x="510" y="214"/>
                  <a:pt x="507" y="219"/>
                  <a:pt x="507" y="220"/>
                </a:cubicBezTo>
                <a:cubicBezTo>
                  <a:pt x="506" y="220"/>
                  <a:pt x="505" y="224"/>
                  <a:pt x="505" y="224"/>
                </a:cubicBezTo>
                <a:cubicBezTo>
                  <a:pt x="505" y="224"/>
                  <a:pt x="500" y="232"/>
                  <a:pt x="500" y="232"/>
                </a:cubicBezTo>
                <a:cubicBezTo>
                  <a:pt x="500" y="232"/>
                  <a:pt x="497" y="237"/>
                  <a:pt x="497" y="237"/>
                </a:cubicBezTo>
                <a:cubicBezTo>
                  <a:pt x="497" y="238"/>
                  <a:pt x="496" y="239"/>
                  <a:pt x="495" y="240"/>
                </a:cubicBezTo>
                <a:cubicBezTo>
                  <a:pt x="495" y="241"/>
                  <a:pt x="492" y="243"/>
                  <a:pt x="492" y="243"/>
                </a:cubicBezTo>
                <a:cubicBezTo>
                  <a:pt x="492" y="243"/>
                  <a:pt x="486" y="247"/>
                  <a:pt x="486" y="248"/>
                </a:cubicBezTo>
                <a:cubicBezTo>
                  <a:pt x="485" y="248"/>
                  <a:pt x="484" y="249"/>
                  <a:pt x="484" y="250"/>
                </a:cubicBezTo>
                <a:cubicBezTo>
                  <a:pt x="483" y="251"/>
                  <a:pt x="483" y="254"/>
                  <a:pt x="483" y="254"/>
                </a:cubicBezTo>
                <a:cubicBezTo>
                  <a:pt x="483" y="254"/>
                  <a:pt x="483" y="259"/>
                  <a:pt x="482" y="260"/>
                </a:cubicBezTo>
                <a:cubicBezTo>
                  <a:pt x="482" y="260"/>
                  <a:pt x="480" y="261"/>
                  <a:pt x="480" y="262"/>
                </a:cubicBezTo>
                <a:cubicBezTo>
                  <a:pt x="480" y="262"/>
                  <a:pt x="478" y="264"/>
                  <a:pt x="478" y="265"/>
                </a:cubicBezTo>
                <a:cubicBezTo>
                  <a:pt x="477" y="265"/>
                  <a:pt x="475" y="269"/>
                  <a:pt x="475" y="269"/>
                </a:cubicBezTo>
                <a:cubicBezTo>
                  <a:pt x="474" y="273"/>
                  <a:pt x="474" y="273"/>
                  <a:pt x="474" y="273"/>
                </a:cubicBezTo>
                <a:cubicBezTo>
                  <a:pt x="474" y="273"/>
                  <a:pt x="472" y="275"/>
                  <a:pt x="472" y="275"/>
                </a:cubicBezTo>
                <a:cubicBezTo>
                  <a:pt x="472" y="276"/>
                  <a:pt x="470" y="277"/>
                  <a:pt x="470" y="277"/>
                </a:cubicBezTo>
                <a:cubicBezTo>
                  <a:pt x="470" y="278"/>
                  <a:pt x="468" y="279"/>
                  <a:pt x="468" y="280"/>
                </a:cubicBezTo>
                <a:cubicBezTo>
                  <a:pt x="468" y="281"/>
                  <a:pt x="467" y="282"/>
                  <a:pt x="467" y="282"/>
                </a:cubicBezTo>
                <a:cubicBezTo>
                  <a:pt x="466" y="282"/>
                  <a:pt x="465" y="282"/>
                  <a:pt x="465" y="281"/>
                </a:cubicBezTo>
                <a:cubicBezTo>
                  <a:pt x="464" y="281"/>
                  <a:pt x="464" y="279"/>
                  <a:pt x="463" y="279"/>
                </a:cubicBezTo>
                <a:cubicBezTo>
                  <a:pt x="463" y="279"/>
                  <a:pt x="462" y="279"/>
                  <a:pt x="462" y="279"/>
                </a:cubicBezTo>
                <a:cubicBezTo>
                  <a:pt x="462" y="280"/>
                  <a:pt x="462" y="284"/>
                  <a:pt x="462" y="285"/>
                </a:cubicBezTo>
                <a:cubicBezTo>
                  <a:pt x="462" y="285"/>
                  <a:pt x="462" y="287"/>
                  <a:pt x="462" y="287"/>
                </a:cubicBezTo>
                <a:cubicBezTo>
                  <a:pt x="462" y="288"/>
                  <a:pt x="461" y="289"/>
                  <a:pt x="461" y="290"/>
                </a:cubicBezTo>
                <a:cubicBezTo>
                  <a:pt x="461" y="291"/>
                  <a:pt x="461" y="292"/>
                  <a:pt x="461" y="292"/>
                </a:cubicBezTo>
                <a:cubicBezTo>
                  <a:pt x="461" y="293"/>
                  <a:pt x="462" y="295"/>
                  <a:pt x="461" y="295"/>
                </a:cubicBezTo>
                <a:cubicBezTo>
                  <a:pt x="461" y="296"/>
                  <a:pt x="460" y="296"/>
                  <a:pt x="459" y="296"/>
                </a:cubicBezTo>
                <a:cubicBezTo>
                  <a:pt x="459" y="297"/>
                  <a:pt x="458" y="296"/>
                  <a:pt x="458" y="297"/>
                </a:cubicBezTo>
                <a:cubicBezTo>
                  <a:pt x="458" y="298"/>
                  <a:pt x="458" y="299"/>
                  <a:pt x="459" y="299"/>
                </a:cubicBezTo>
                <a:cubicBezTo>
                  <a:pt x="459" y="300"/>
                  <a:pt x="460" y="301"/>
                  <a:pt x="461" y="301"/>
                </a:cubicBezTo>
                <a:cubicBezTo>
                  <a:pt x="461" y="302"/>
                  <a:pt x="461" y="303"/>
                  <a:pt x="461" y="303"/>
                </a:cubicBezTo>
                <a:cubicBezTo>
                  <a:pt x="461" y="305"/>
                  <a:pt x="460" y="307"/>
                  <a:pt x="460" y="308"/>
                </a:cubicBezTo>
                <a:cubicBezTo>
                  <a:pt x="460" y="309"/>
                  <a:pt x="460" y="311"/>
                  <a:pt x="461" y="312"/>
                </a:cubicBezTo>
                <a:cubicBezTo>
                  <a:pt x="461" y="313"/>
                  <a:pt x="461" y="316"/>
                  <a:pt x="461" y="317"/>
                </a:cubicBezTo>
                <a:cubicBezTo>
                  <a:pt x="461" y="317"/>
                  <a:pt x="460" y="321"/>
                  <a:pt x="460" y="322"/>
                </a:cubicBezTo>
                <a:cubicBezTo>
                  <a:pt x="461" y="324"/>
                  <a:pt x="461" y="325"/>
                  <a:pt x="461" y="326"/>
                </a:cubicBezTo>
                <a:cubicBezTo>
                  <a:pt x="462" y="327"/>
                  <a:pt x="463" y="328"/>
                  <a:pt x="463" y="328"/>
                </a:cubicBezTo>
                <a:cubicBezTo>
                  <a:pt x="463" y="329"/>
                  <a:pt x="463" y="332"/>
                  <a:pt x="463" y="332"/>
                </a:cubicBezTo>
                <a:cubicBezTo>
                  <a:pt x="463" y="333"/>
                  <a:pt x="463" y="337"/>
                  <a:pt x="463" y="337"/>
                </a:cubicBezTo>
                <a:cubicBezTo>
                  <a:pt x="462" y="338"/>
                  <a:pt x="461" y="338"/>
                  <a:pt x="461" y="339"/>
                </a:cubicBezTo>
                <a:cubicBezTo>
                  <a:pt x="461" y="340"/>
                  <a:pt x="460" y="345"/>
                  <a:pt x="459" y="346"/>
                </a:cubicBezTo>
                <a:cubicBezTo>
                  <a:pt x="459" y="347"/>
                  <a:pt x="458" y="351"/>
                  <a:pt x="458" y="352"/>
                </a:cubicBezTo>
                <a:cubicBezTo>
                  <a:pt x="458" y="353"/>
                  <a:pt x="459" y="356"/>
                  <a:pt x="459" y="357"/>
                </a:cubicBezTo>
                <a:cubicBezTo>
                  <a:pt x="459" y="358"/>
                  <a:pt x="459" y="359"/>
                  <a:pt x="459" y="360"/>
                </a:cubicBezTo>
                <a:cubicBezTo>
                  <a:pt x="459" y="361"/>
                  <a:pt x="455" y="362"/>
                  <a:pt x="455" y="362"/>
                </a:cubicBezTo>
                <a:cubicBezTo>
                  <a:pt x="455" y="363"/>
                  <a:pt x="454" y="366"/>
                  <a:pt x="454" y="366"/>
                </a:cubicBezTo>
                <a:cubicBezTo>
                  <a:pt x="454" y="367"/>
                  <a:pt x="454" y="372"/>
                  <a:pt x="453" y="373"/>
                </a:cubicBezTo>
                <a:cubicBezTo>
                  <a:pt x="453" y="373"/>
                  <a:pt x="452" y="375"/>
                  <a:pt x="453" y="376"/>
                </a:cubicBezTo>
                <a:cubicBezTo>
                  <a:pt x="453" y="377"/>
                  <a:pt x="453" y="383"/>
                  <a:pt x="453" y="383"/>
                </a:cubicBezTo>
                <a:cubicBezTo>
                  <a:pt x="453" y="385"/>
                  <a:pt x="453" y="386"/>
                  <a:pt x="452" y="387"/>
                </a:cubicBezTo>
                <a:cubicBezTo>
                  <a:pt x="452" y="388"/>
                  <a:pt x="450" y="390"/>
                  <a:pt x="450" y="390"/>
                </a:cubicBezTo>
                <a:cubicBezTo>
                  <a:pt x="450" y="391"/>
                  <a:pt x="449" y="392"/>
                  <a:pt x="449" y="393"/>
                </a:cubicBezTo>
                <a:cubicBezTo>
                  <a:pt x="449" y="394"/>
                  <a:pt x="450" y="396"/>
                  <a:pt x="449" y="396"/>
                </a:cubicBezTo>
                <a:cubicBezTo>
                  <a:pt x="449" y="397"/>
                  <a:pt x="448" y="398"/>
                  <a:pt x="447" y="398"/>
                </a:cubicBezTo>
                <a:cubicBezTo>
                  <a:pt x="447" y="399"/>
                  <a:pt x="447" y="402"/>
                  <a:pt x="446" y="402"/>
                </a:cubicBezTo>
                <a:cubicBezTo>
                  <a:pt x="446" y="402"/>
                  <a:pt x="445" y="405"/>
                  <a:pt x="444" y="405"/>
                </a:cubicBezTo>
                <a:cubicBezTo>
                  <a:pt x="444" y="406"/>
                  <a:pt x="441" y="408"/>
                  <a:pt x="441" y="408"/>
                </a:cubicBezTo>
                <a:cubicBezTo>
                  <a:pt x="441" y="408"/>
                  <a:pt x="439" y="409"/>
                  <a:pt x="438" y="411"/>
                </a:cubicBezTo>
                <a:cubicBezTo>
                  <a:pt x="438" y="412"/>
                  <a:pt x="438" y="415"/>
                  <a:pt x="438" y="415"/>
                </a:cubicBezTo>
                <a:cubicBezTo>
                  <a:pt x="438" y="417"/>
                  <a:pt x="438" y="417"/>
                  <a:pt x="438" y="418"/>
                </a:cubicBezTo>
                <a:cubicBezTo>
                  <a:pt x="437" y="419"/>
                  <a:pt x="436" y="420"/>
                  <a:pt x="436" y="421"/>
                </a:cubicBezTo>
                <a:cubicBezTo>
                  <a:pt x="436" y="422"/>
                  <a:pt x="436" y="425"/>
                  <a:pt x="436" y="426"/>
                </a:cubicBezTo>
                <a:cubicBezTo>
                  <a:pt x="436" y="428"/>
                  <a:pt x="437" y="429"/>
                  <a:pt x="436" y="430"/>
                </a:cubicBezTo>
                <a:cubicBezTo>
                  <a:pt x="436" y="431"/>
                  <a:pt x="434" y="433"/>
                  <a:pt x="434" y="433"/>
                </a:cubicBezTo>
                <a:cubicBezTo>
                  <a:pt x="430" y="436"/>
                  <a:pt x="430" y="436"/>
                  <a:pt x="430" y="436"/>
                </a:cubicBezTo>
                <a:cubicBezTo>
                  <a:pt x="430" y="436"/>
                  <a:pt x="424" y="441"/>
                  <a:pt x="423" y="442"/>
                </a:cubicBezTo>
                <a:cubicBezTo>
                  <a:pt x="422" y="444"/>
                  <a:pt x="422" y="444"/>
                  <a:pt x="421" y="444"/>
                </a:cubicBezTo>
                <a:cubicBezTo>
                  <a:pt x="419" y="444"/>
                  <a:pt x="417" y="444"/>
                  <a:pt x="416" y="444"/>
                </a:cubicBezTo>
                <a:cubicBezTo>
                  <a:pt x="415" y="444"/>
                  <a:pt x="413" y="444"/>
                  <a:pt x="413" y="443"/>
                </a:cubicBezTo>
                <a:cubicBezTo>
                  <a:pt x="412" y="443"/>
                  <a:pt x="412" y="442"/>
                  <a:pt x="410" y="441"/>
                </a:cubicBezTo>
                <a:cubicBezTo>
                  <a:pt x="408" y="441"/>
                  <a:pt x="409" y="441"/>
                  <a:pt x="408" y="442"/>
                </a:cubicBezTo>
                <a:cubicBezTo>
                  <a:pt x="408" y="442"/>
                  <a:pt x="407" y="442"/>
                  <a:pt x="406" y="443"/>
                </a:cubicBezTo>
                <a:cubicBezTo>
                  <a:pt x="405" y="444"/>
                  <a:pt x="402" y="443"/>
                  <a:pt x="401" y="443"/>
                </a:cubicBezTo>
                <a:cubicBezTo>
                  <a:pt x="401" y="444"/>
                  <a:pt x="400" y="444"/>
                  <a:pt x="399" y="445"/>
                </a:cubicBezTo>
                <a:cubicBezTo>
                  <a:pt x="398" y="446"/>
                  <a:pt x="398" y="446"/>
                  <a:pt x="398" y="446"/>
                </a:cubicBezTo>
                <a:cubicBezTo>
                  <a:pt x="399" y="446"/>
                  <a:pt x="402" y="446"/>
                  <a:pt x="403" y="445"/>
                </a:cubicBezTo>
                <a:cubicBezTo>
                  <a:pt x="404" y="445"/>
                  <a:pt x="405" y="445"/>
                  <a:pt x="406" y="445"/>
                </a:cubicBezTo>
                <a:cubicBezTo>
                  <a:pt x="406" y="445"/>
                  <a:pt x="407" y="444"/>
                  <a:pt x="407" y="445"/>
                </a:cubicBezTo>
                <a:cubicBezTo>
                  <a:pt x="407" y="446"/>
                  <a:pt x="406" y="447"/>
                  <a:pt x="405" y="447"/>
                </a:cubicBezTo>
                <a:cubicBezTo>
                  <a:pt x="404" y="448"/>
                  <a:pt x="400" y="448"/>
                  <a:pt x="400" y="448"/>
                </a:cubicBezTo>
                <a:cubicBezTo>
                  <a:pt x="400" y="448"/>
                  <a:pt x="395" y="449"/>
                  <a:pt x="394" y="449"/>
                </a:cubicBezTo>
                <a:cubicBezTo>
                  <a:pt x="394" y="449"/>
                  <a:pt x="396" y="447"/>
                  <a:pt x="396" y="446"/>
                </a:cubicBezTo>
                <a:cubicBezTo>
                  <a:pt x="396" y="446"/>
                  <a:pt x="396" y="444"/>
                  <a:pt x="395" y="444"/>
                </a:cubicBezTo>
                <a:cubicBezTo>
                  <a:pt x="394" y="444"/>
                  <a:pt x="393" y="444"/>
                  <a:pt x="392" y="445"/>
                </a:cubicBezTo>
                <a:cubicBezTo>
                  <a:pt x="392" y="446"/>
                  <a:pt x="391" y="446"/>
                  <a:pt x="391" y="447"/>
                </a:cubicBezTo>
                <a:cubicBezTo>
                  <a:pt x="391" y="449"/>
                  <a:pt x="391" y="451"/>
                  <a:pt x="391" y="452"/>
                </a:cubicBezTo>
                <a:cubicBezTo>
                  <a:pt x="391" y="453"/>
                  <a:pt x="390" y="452"/>
                  <a:pt x="389" y="452"/>
                </a:cubicBezTo>
                <a:cubicBezTo>
                  <a:pt x="388" y="452"/>
                  <a:pt x="388" y="452"/>
                  <a:pt x="387" y="452"/>
                </a:cubicBezTo>
                <a:cubicBezTo>
                  <a:pt x="387" y="452"/>
                  <a:pt x="387" y="451"/>
                  <a:pt x="386" y="451"/>
                </a:cubicBezTo>
                <a:cubicBezTo>
                  <a:pt x="385" y="451"/>
                  <a:pt x="386" y="451"/>
                  <a:pt x="385" y="452"/>
                </a:cubicBezTo>
                <a:cubicBezTo>
                  <a:pt x="385" y="453"/>
                  <a:pt x="384" y="453"/>
                  <a:pt x="384" y="453"/>
                </a:cubicBezTo>
                <a:cubicBezTo>
                  <a:pt x="384" y="454"/>
                  <a:pt x="384" y="455"/>
                  <a:pt x="383" y="455"/>
                </a:cubicBezTo>
                <a:cubicBezTo>
                  <a:pt x="383" y="456"/>
                  <a:pt x="382" y="457"/>
                  <a:pt x="381" y="457"/>
                </a:cubicBezTo>
                <a:cubicBezTo>
                  <a:pt x="381" y="457"/>
                  <a:pt x="380" y="459"/>
                  <a:pt x="379" y="459"/>
                </a:cubicBezTo>
                <a:cubicBezTo>
                  <a:pt x="379" y="459"/>
                  <a:pt x="377" y="458"/>
                  <a:pt x="376" y="458"/>
                </a:cubicBezTo>
                <a:cubicBezTo>
                  <a:pt x="375" y="458"/>
                  <a:pt x="374" y="458"/>
                  <a:pt x="374" y="458"/>
                </a:cubicBezTo>
                <a:cubicBezTo>
                  <a:pt x="373" y="458"/>
                  <a:pt x="371" y="460"/>
                  <a:pt x="370" y="461"/>
                </a:cubicBezTo>
                <a:cubicBezTo>
                  <a:pt x="369" y="462"/>
                  <a:pt x="370" y="462"/>
                  <a:pt x="369" y="463"/>
                </a:cubicBezTo>
                <a:cubicBezTo>
                  <a:pt x="368" y="463"/>
                  <a:pt x="367" y="463"/>
                  <a:pt x="367" y="463"/>
                </a:cubicBezTo>
                <a:cubicBezTo>
                  <a:pt x="367" y="463"/>
                  <a:pt x="362" y="467"/>
                  <a:pt x="361" y="468"/>
                </a:cubicBezTo>
                <a:cubicBezTo>
                  <a:pt x="361" y="468"/>
                  <a:pt x="355" y="472"/>
                  <a:pt x="354" y="472"/>
                </a:cubicBezTo>
                <a:cubicBezTo>
                  <a:pt x="353" y="473"/>
                  <a:pt x="352" y="474"/>
                  <a:pt x="351" y="475"/>
                </a:cubicBezTo>
                <a:cubicBezTo>
                  <a:pt x="350" y="476"/>
                  <a:pt x="348" y="478"/>
                  <a:pt x="348" y="480"/>
                </a:cubicBezTo>
                <a:cubicBezTo>
                  <a:pt x="348" y="481"/>
                  <a:pt x="348" y="483"/>
                  <a:pt x="348" y="483"/>
                </a:cubicBezTo>
                <a:cubicBezTo>
                  <a:pt x="348" y="483"/>
                  <a:pt x="346" y="485"/>
                  <a:pt x="346" y="485"/>
                </a:cubicBezTo>
                <a:cubicBezTo>
                  <a:pt x="346" y="485"/>
                  <a:pt x="343" y="488"/>
                  <a:pt x="343" y="488"/>
                </a:cubicBezTo>
                <a:cubicBezTo>
                  <a:pt x="342" y="489"/>
                  <a:pt x="341" y="489"/>
                  <a:pt x="341" y="490"/>
                </a:cubicBezTo>
                <a:cubicBezTo>
                  <a:pt x="341" y="491"/>
                  <a:pt x="340" y="496"/>
                  <a:pt x="340" y="497"/>
                </a:cubicBezTo>
                <a:cubicBezTo>
                  <a:pt x="340" y="498"/>
                  <a:pt x="339" y="501"/>
                  <a:pt x="339" y="503"/>
                </a:cubicBezTo>
                <a:cubicBezTo>
                  <a:pt x="340" y="505"/>
                  <a:pt x="341" y="506"/>
                  <a:pt x="341" y="507"/>
                </a:cubicBezTo>
                <a:cubicBezTo>
                  <a:pt x="341" y="508"/>
                  <a:pt x="341" y="510"/>
                  <a:pt x="341" y="511"/>
                </a:cubicBezTo>
                <a:cubicBezTo>
                  <a:pt x="342" y="512"/>
                  <a:pt x="343" y="512"/>
                  <a:pt x="343" y="514"/>
                </a:cubicBezTo>
                <a:cubicBezTo>
                  <a:pt x="343" y="514"/>
                  <a:pt x="342" y="517"/>
                  <a:pt x="342" y="517"/>
                </a:cubicBezTo>
                <a:cubicBezTo>
                  <a:pt x="342" y="517"/>
                  <a:pt x="341" y="521"/>
                  <a:pt x="340" y="522"/>
                </a:cubicBezTo>
                <a:cubicBezTo>
                  <a:pt x="340" y="523"/>
                  <a:pt x="340" y="525"/>
                  <a:pt x="340" y="526"/>
                </a:cubicBezTo>
                <a:cubicBezTo>
                  <a:pt x="341" y="527"/>
                  <a:pt x="342" y="532"/>
                  <a:pt x="342" y="532"/>
                </a:cubicBezTo>
                <a:cubicBezTo>
                  <a:pt x="341" y="533"/>
                  <a:pt x="341" y="533"/>
                  <a:pt x="341" y="533"/>
                </a:cubicBezTo>
                <a:cubicBezTo>
                  <a:pt x="340" y="533"/>
                  <a:pt x="339" y="533"/>
                  <a:pt x="339" y="534"/>
                </a:cubicBezTo>
                <a:cubicBezTo>
                  <a:pt x="338" y="534"/>
                  <a:pt x="338" y="535"/>
                  <a:pt x="338" y="535"/>
                </a:cubicBezTo>
                <a:cubicBezTo>
                  <a:pt x="339" y="536"/>
                  <a:pt x="340" y="537"/>
                  <a:pt x="340" y="538"/>
                </a:cubicBezTo>
                <a:cubicBezTo>
                  <a:pt x="340" y="539"/>
                  <a:pt x="337" y="540"/>
                  <a:pt x="337" y="540"/>
                </a:cubicBezTo>
                <a:cubicBezTo>
                  <a:pt x="337" y="540"/>
                  <a:pt x="333" y="543"/>
                  <a:pt x="333" y="544"/>
                </a:cubicBezTo>
                <a:cubicBezTo>
                  <a:pt x="332" y="544"/>
                  <a:pt x="330" y="547"/>
                  <a:pt x="330" y="548"/>
                </a:cubicBezTo>
                <a:cubicBezTo>
                  <a:pt x="329" y="550"/>
                  <a:pt x="325" y="559"/>
                  <a:pt x="325" y="559"/>
                </a:cubicBezTo>
                <a:cubicBezTo>
                  <a:pt x="325" y="559"/>
                  <a:pt x="322" y="563"/>
                  <a:pt x="322" y="564"/>
                </a:cubicBezTo>
                <a:cubicBezTo>
                  <a:pt x="321" y="565"/>
                  <a:pt x="321" y="568"/>
                  <a:pt x="321" y="570"/>
                </a:cubicBezTo>
                <a:cubicBezTo>
                  <a:pt x="320" y="571"/>
                  <a:pt x="318" y="576"/>
                  <a:pt x="318" y="576"/>
                </a:cubicBezTo>
                <a:cubicBezTo>
                  <a:pt x="318" y="577"/>
                  <a:pt x="315" y="581"/>
                  <a:pt x="315" y="582"/>
                </a:cubicBezTo>
                <a:cubicBezTo>
                  <a:pt x="315" y="583"/>
                  <a:pt x="313" y="584"/>
                  <a:pt x="312" y="585"/>
                </a:cubicBezTo>
                <a:cubicBezTo>
                  <a:pt x="311" y="587"/>
                  <a:pt x="309" y="589"/>
                  <a:pt x="308" y="591"/>
                </a:cubicBezTo>
                <a:cubicBezTo>
                  <a:pt x="307" y="592"/>
                  <a:pt x="305" y="594"/>
                  <a:pt x="304" y="594"/>
                </a:cubicBezTo>
                <a:cubicBezTo>
                  <a:pt x="303" y="594"/>
                  <a:pt x="302" y="595"/>
                  <a:pt x="302" y="595"/>
                </a:cubicBezTo>
                <a:cubicBezTo>
                  <a:pt x="302" y="595"/>
                  <a:pt x="303" y="592"/>
                  <a:pt x="304" y="591"/>
                </a:cubicBezTo>
                <a:cubicBezTo>
                  <a:pt x="305" y="590"/>
                  <a:pt x="309" y="585"/>
                  <a:pt x="309" y="584"/>
                </a:cubicBezTo>
                <a:cubicBezTo>
                  <a:pt x="310" y="583"/>
                  <a:pt x="312" y="583"/>
                  <a:pt x="312" y="582"/>
                </a:cubicBezTo>
                <a:cubicBezTo>
                  <a:pt x="312" y="580"/>
                  <a:pt x="311" y="581"/>
                  <a:pt x="312" y="580"/>
                </a:cubicBezTo>
                <a:cubicBezTo>
                  <a:pt x="313" y="579"/>
                  <a:pt x="313" y="579"/>
                  <a:pt x="314" y="579"/>
                </a:cubicBezTo>
                <a:cubicBezTo>
                  <a:pt x="314" y="578"/>
                  <a:pt x="315" y="576"/>
                  <a:pt x="316" y="576"/>
                </a:cubicBezTo>
                <a:cubicBezTo>
                  <a:pt x="316" y="574"/>
                  <a:pt x="316" y="572"/>
                  <a:pt x="316" y="571"/>
                </a:cubicBezTo>
                <a:cubicBezTo>
                  <a:pt x="316" y="570"/>
                  <a:pt x="317" y="570"/>
                  <a:pt x="318" y="569"/>
                </a:cubicBezTo>
                <a:cubicBezTo>
                  <a:pt x="319" y="568"/>
                  <a:pt x="319" y="567"/>
                  <a:pt x="317" y="566"/>
                </a:cubicBezTo>
                <a:cubicBezTo>
                  <a:pt x="316" y="565"/>
                  <a:pt x="316" y="565"/>
                  <a:pt x="315" y="566"/>
                </a:cubicBezTo>
                <a:cubicBezTo>
                  <a:pt x="315" y="567"/>
                  <a:pt x="314" y="568"/>
                  <a:pt x="313" y="568"/>
                </a:cubicBezTo>
                <a:cubicBezTo>
                  <a:pt x="313" y="568"/>
                  <a:pt x="313" y="568"/>
                  <a:pt x="312" y="567"/>
                </a:cubicBezTo>
                <a:cubicBezTo>
                  <a:pt x="312" y="566"/>
                  <a:pt x="312" y="566"/>
                  <a:pt x="312" y="566"/>
                </a:cubicBezTo>
                <a:cubicBezTo>
                  <a:pt x="309" y="566"/>
                  <a:pt x="309" y="566"/>
                  <a:pt x="309" y="566"/>
                </a:cubicBezTo>
                <a:cubicBezTo>
                  <a:pt x="309" y="566"/>
                  <a:pt x="309" y="565"/>
                  <a:pt x="308" y="564"/>
                </a:cubicBezTo>
                <a:cubicBezTo>
                  <a:pt x="308" y="563"/>
                  <a:pt x="308" y="562"/>
                  <a:pt x="307" y="563"/>
                </a:cubicBezTo>
                <a:cubicBezTo>
                  <a:pt x="306" y="564"/>
                  <a:pt x="305" y="565"/>
                  <a:pt x="306" y="566"/>
                </a:cubicBezTo>
                <a:cubicBezTo>
                  <a:pt x="307" y="567"/>
                  <a:pt x="308" y="567"/>
                  <a:pt x="309" y="567"/>
                </a:cubicBezTo>
                <a:cubicBezTo>
                  <a:pt x="311" y="568"/>
                  <a:pt x="311" y="569"/>
                  <a:pt x="311" y="570"/>
                </a:cubicBezTo>
                <a:cubicBezTo>
                  <a:pt x="310" y="570"/>
                  <a:pt x="309" y="570"/>
                  <a:pt x="309" y="570"/>
                </a:cubicBezTo>
                <a:cubicBezTo>
                  <a:pt x="309" y="570"/>
                  <a:pt x="308" y="574"/>
                  <a:pt x="307" y="574"/>
                </a:cubicBezTo>
                <a:cubicBezTo>
                  <a:pt x="307" y="575"/>
                  <a:pt x="306" y="578"/>
                  <a:pt x="305" y="579"/>
                </a:cubicBezTo>
                <a:cubicBezTo>
                  <a:pt x="305" y="579"/>
                  <a:pt x="302" y="584"/>
                  <a:pt x="301" y="585"/>
                </a:cubicBezTo>
                <a:cubicBezTo>
                  <a:pt x="301" y="586"/>
                  <a:pt x="296" y="592"/>
                  <a:pt x="297" y="592"/>
                </a:cubicBezTo>
                <a:cubicBezTo>
                  <a:pt x="298" y="593"/>
                  <a:pt x="300" y="593"/>
                  <a:pt x="300" y="595"/>
                </a:cubicBezTo>
                <a:cubicBezTo>
                  <a:pt x="300" y="595"/>
                  <a:pt x="295" y="619"/>
                  <a:pt x="293" y="620"/>
                </a:cubicBezTo>
                <a:cubicBezTo>
                  <a:pt x="293" y="620"/>
                  <a:pt x="292" y="621"/>
                  <a:pt x="292" y="621"/>
                </a:cubicBezTo>
                <a:cubicBezTo>
                  <a:pt x="292" y="621"/>
                  <a:pt x="292" y="619"/>
                  <a:pt x="291" y="619"/>
                </a:cubicBezTo>
                <a:cubicBezTo>
                  <a:pt x="291" y="618"/>
                  <a:pt x="290" y="618"/>
                  <a:pt x="290" y="619"/>
                </a:cubicBezTo>
                <a:cubicBezTo>
                  <a:pt x="289" y="619"/>
                  <a:pt x="287" y="620"/>
                  <a:pt x="286" y="620"/>
                </a:cubicBezTo>
                <a:cubicBezTo>
                  <a:pt x="286" y="620"/>
                  <a:pt x="284" y="621"/>
                  <a:pt x="283" y="620"/>
                </a:cubicBezTo>
                <a:cubicBezTo>
                  <a:pt x="283" y="620"/>
                  <a:pt x="281" y="618"/>
                  <a:pt x="281" y="616"/>
                </a:cubicBezTo>
                <a:cubicBezTo>
                  <a:pt x="281" y="615"/>
                  <a:pt x="281" y="612"/>
                  <a:pt x="281" y="610"/>
                </a:cubicBezTo>
                <a:cubicBezTo>
                  <a:pt x="281" y="608"/>
                  <a:pt x="284" y="605"/>
                  <a:pt x="285" y="604"/>
                </a:cubicBezTo>
                <a:cubicBezTo>
                  <a:pt x="285" y="603"/>
                  <a:pt x="286" y="600"/>
                  <a:pt x="286" y="599"/>
                </a:cubicBezTo>
                <a:cubicBezTo>
                  <a:pt x="285" y="599"/>
                  <a:pt x="283" y="598"/>
                  <a:pt x="282" y="598"/>
                </a:cubicBezTo>
                <a:cubicBezTo>
                  <a:pt x="282" y="597"/>
                  <a:pt x="279" y="594"/>
                  <a:pt x="278" y="594"/>
                </a:cubicBezTo>
                <a:cubicBezTo>
                  <a:pt x="278" y="593"/>
                  <a:pt x="276" y="590"/>
                  <a:pt x="275" y="589"/>
                </a:cubicBezTo>
                <a:cubicBezTo>
                  <a:pt x="275" y="588"/>
                  <a:pt x="272" y="584"/>
                  <a:pt x="272" y="583"/>
                </a:cubicBezTo>
                <a:cubicBezTo>
                  <a:pt x="271" y="583"/>
                  <a:pt x="269" y="581"/>
                  <a:pt x="268" y="580"/>
                </a:cubicBezTo>
                <a:cubicBezTo>
                  <a:pt x="267" y="580"/>
                  <a:pt x="265" y="578"/>
                  <a:pt x="264" y="578"/>
                </a:cubicBezTo>
                <a:cubicBezTo>
                  <a:pt x="264" y="578"/>
                  <a:pt x="262" y="577"/>
                  <a:pt x="262" y="577"/>
                </a:cubicBezTo>
                <a:cubicBezTo>
                  <a:pt x="261" y="577"/>
                  <a:pt x="259" y="574"/>
                  <a:pt x="259" y="574"/>
                </a:cubicBezTo>
                <a:cubicBezTo>
                  <a:pt x="258" y="573"/>
                  <a:pt x="256" y="572"/>
                  <a:pt x="255" y="572"/>
                </a:cubicBezTo>
                <a:cubicBezTo>
                  <a:pt x="254" y="572"/>
                  <a:pt x="253" y="572"/>
                  <a:pt x="252" y="572"/>
                </a:cubicBezTo>
                <a:cubicBezTo>
                  <a:pt x="252" y="573"/>
                  <a:pt x="249" y="572"/>
                  <a:pt x="248" y="572"/>
                </a:cubicBezTo>
                <a:cubicBezTo>
                  <a:pt x="248" y="571"/>
                  <a:pt x="246" y="567"/>
                  <a:pt x="246" y="567"/>
                </a:cubicBezTo>
                <a:cubicBezTo>
                  <a:pt x="246" y="567"/>
                  <a:pt x="243" y="563"/>
                  <a:pt x="243" y="562"/>
                </a:cubicBezTo>
                <a:cubicBezTo>
                  <a:pt x="243" y="561"/>
                  <a:pt x="242" y="560"/>
                  <a:pt x="241" y="560"/>
                </a:cubicBezTo>
                <a:cubicBezTo>
                  <a:pt x="240" y="559"/>
                  <a:pt x="236" y="559"/>
                  <a:pt x="235" y="559"/>
                </a:cubicBezTo>
                <a:cubicBezTo>
                  <a:pt x="234" y="559"/>
                  <a:pt x="231" y="558"/>
                  <a:pt x="231" y="558"/>
                </a:cubicBezTo>
                <a:cubicBezTo>
                  <a:pt x="230" y="557"/>
                  <a:pt x="231" y="556"/>
                  <a:pt x="233" y="555"/>
                </a:cubicBezTo>
                <a:cubicBezTo>
                  <a:pt x="234" y="554"/>
                  <a:pt x="238" y="548"/>
                  <a:pt x="239" y="546"/>
                </a:cubicBezTo>
                <a:cubicBezTo>
                  <a:pt x="239" y="544"/>
                  <a:pt x="241" y="539"/>
                  <a:pt x="242" y="537"/>
                </a:cubicBezTo>
                <a:cubicBezTo>
                  <a:pt x="242" y="536"/>
                  <a:pt x="244" y="534"/>
                  <a:pt x="245" y="534"/>
                </a:cubicBezTo>
                <a:cubicBezTo>
                  <a:pt x="247" y="533"/>
                  <a:pt x="250" y="530"/>
                  <a:pt x="252" y="529"/>
                </a:cubicBezTo>
                <a:cubicBezTo>
                  <a:pt x="253" y="529"/>
                  <a:pt x="257" y="523"/>
                  <a:pt x="258" y="521"/>
                </a:cubicBezTo>
                <a:cubicBezTo>
                  <a:pt x="258" y="519"/>
                  <a:pt x="262" y="516"/>
                  <a:pt x="264" y="515"/>
                </a:cubicBezTo>
                <a:cubicBezTo>
                  <a:pt x="266" y="515"/>
                  <a:pt x="272" y="512"/>
                  <a:pt x="274" y="511"/>
                </a:cubicBezTo>
                <a:cubicBezTo>
                  <a:pt x="275" y="511"/>
                  <a:pt x="276" y="510"/>
                  <a:pt x="276" y="510"/>
                </a:cubicBezTo>
                <a:cubicBezTo>
                  <a:pt x="276" y="509"/>
                  <a:pt x="277" y="507"/>
                  <a:pt x="277" y="505"/>
                </a:cubicBezTo>
                <a:cubicBezTo>
                  <a:pt x="276" y="504"/>
                  <a:pt x="275" y="499"/>
                  <a:pt x="274" y="498"/>
                </a:cubicBezTo>
                <a:cubicBezTo>
                  <a:pt x="273" y="497"/>
                  <a:pt x="271" y="495"/>
                  <a:pt x="271" y="494"/>
                </a:cubicBezTo>
                <a:cubicBezTo>
                  <a:pt x="270" y="493"/>
                  <a:pt x="266" y="489"/>
                  <a:pt x="266" y="489"/>
                </a:cubicBezTo>
                <a:cubicBezTo>
                  <a:pt x="266" y="489"/>
                  <a:pt x="262" y="482"/>
                  <a:pt x="262" y="481"/>
                </a:cubicBezTo>
                <a:cubicBezTo>
                  <a:pt x="262" y="479"/>
                  <a:pt x="262" y="470"/>
                  <a:pt x="263" y="468"/>
                </a:cubicBezTo>
                <a:cubicBezTo>
                  <a:pt x="263" y="466"/>
                  <a:pt x="264" y="462"/>
                  <a:pt x="264" y="460"/>
                </a:cubicBezTo>
                <a:cubicBezTo>
                  <a:pt x="265" y="459"/>
                  <a:pt x="265" y="457"/>
                  <a:pt x="264" y="456"/>
                </a:cubicBezTo>
                <a:cubicBezTo>
                  <a:pt x="263" y="455"/>
                  <a:pt x="262" y="453"/>
                  <a:pt x="261" y="453"/>
                </a:cubicBezTo>
                <a:cubicBezTo>
                  <a:pt x="260" y="453"/>
                  <a:pt x="258" y="453"/>
                  <a:pt x="258" y="453"/>
                </a:cubicBezTo>
                <a:cubicBezTo>
                  <a:pt x="258" y="454"/>
                  <a:pt x="259" y="455"/>
                  <a:pt x="258" y="455"/>
                </a:cubicBezTo>
                <a:cubicBezTo>
                  <a:pt x="257" y="455"/>
                  <a:pt x="252" y="456"/>
                  <a:pt x="251" y="455"/>
                </a:cubicBezTo>
                <a:cubicBezTo>
                  <a:pt x="250" y="455"/>
                  <a:pt x="248" y="451"/>
                  <a:pt x="247" y="449"/>
                </a:cubicBezTo>
                <a:cubicBezTo>
                  <a:pt x="247" y="448"/>
                  <a:pt x="247" y="440"/>
                  <a:pt x="247" y="440"/>
                </a:cubicBezTo>
                <a:cubicBezTo>
                  <a:pt x="247" y="439"/>
                  <a:pt x="248" y="435"/>
                  <a:pt x="248" y="435"/>
                </a:cubicBezTo>
                <a:cubicBezTo>
                  <a:pt x="248" y="435"/>
                  <a:pt x="248" y="432"/>
                  <a:pt x="247" y="431"/>
                </a:cubicBezTo>
                <a:cubicBezTo>
                  <a:pt x="245" y="430"/>
                  <a:pt x="244" y="429"/>
                  <a:pt x="244" y="428"/>
                </a:cubicBezTo>
                <a:cubicBezTo>
                  <a:pt x="244" y="427"/>
                  <a:pt x="244" y="426"/>
                  <a:pt x="243" y="427"/>
                </a:cubicBezTo>
                <a:cubicBezTo>
                  <a:pt x="242" y="427"/>
                  <a:pt x="240" y="428"/>
                  <a:pt x="240" y="428"/>
                </a:cubicBezTo>
                <a:cubicBezTo>
                  <a:pt x="239" y="428"/>
                  <a:pt x="237" y="428"/>
                  <a:pt x="236" y="428"/>
                </a:cubicBezTo>
                <a:cubicBezTo>
                  <a:pt x="236" y="427"/>
                  <a:pt x="234" y="427"/>
                  <a:pt x="234" y="427"/>
                </a:cubicBezTo>
                <a:cubicBezTo>
                  <a:pt x="233" y="428"/>
                  <a:pt x="232" y="428"/>
                  <a:pt x="231" y="428"/>
                </a:cubicBezTo>
                <a:cubicBezTo>
                  <a:pt x="230" y="428"/>
                  <a:pt x="228" y="426"/>
                  <a:pt x="227" y="426"/>
                </a:cubicBezTo>
                <a:cubicBezTo>
                  <a:pt x="226" y="426"/>
                  <a:pt x="224" y="426"/>
                  <a:pt x="223" y="426"/>
                </a:cubicBezTo>
                <a:cubicBezTo>
                  <a:pt x="222" y="426"/>
                  <a:pt x="221" y="425"/>
                  <a:pt x="221" y="424"/>
                </a:cubicBezTo>
                <a:cubicBezTo>
                  <a:pt x="220" y="423"/>
                  <a:pt x="217" y="409"/>
                  <a:pt x="217" y="408"/>
                </a:cubicBezTo>
                <a:cubicBezTo>
                  <a:pt x="217" y="407"/>
                  <a:pt x="215" y="402"/>
                  <a:pt x="214" y="401"/>
                </a:cubicBezTo>
                <a:cubicBezTo>
                  <a:pt x="213" y="400"/>
                  <a:pt x="213" y="400"/>
                  <a:pt x="213" y="397"/>
                </a:cubicBezTo>
                <a:cubicBezTo>
                  <a:pt x="213" y="395"/>
                  <a:pt x="213" y="394"/>
                  <a:pt x="213" y="394"/>
                </a:cubicBezTo>
                <a:cubicBezTo>
                  <a:pt x="213" y="394"/>
                  <a:pt x="217" y="392"/>
                  <a:pt x="216" y="390"/>
                </a:cubicBezTo>
                <a:cubicBezTo>
                  <a:pt x="215" y="388"/>
                  <a:pt x="213" y="387"/>
                  <a:pt x="212" y="385"/>
                </a:cubicBezTo>
                <a:close/>
              </a:path>
            </a:pathLst>
          </a:custGeom>
          <a:solidFill>
            <a:schemeClr val="accent1">
              <a:lumMod val="5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 name="Uruguay"/>
          <p:cNvSpPr>
            <a:spLocks/>
          </p:cNvSpPr>
          <p:nvPr/>
        </p:nvSpPr>
        <p:spPr bwMode="auto">
          <a:xfrm>
            <a:off x="4652821" y="5050452"/>
            <a:ext cx="153520" cy="176385"/>
          </a:xfrm>
          <a:custGeom>
            <a:avLst/>
            <a:gdLst>
              <a:gd name="T0" fmla="*/ 13 w 75"/>
              <a:gd name="T1" fmla="*/ 0 h 86"/>
              <a:gd name="T2" fmla="*/ 17 w 75"/>
              <a:gd name="T3" fmla="*/ 1 h 86"/>
              <a:gd name="T4" fmla="*/ 23 w 75"/>
              <a:gd name="T5" fmla="*/ 2 h 86"/>
              <a:gd name="T6" fmla="*/ 25 w 75"/>
              <a:gd name="T7" fmla="*/ 4 h 86"/>
              <a:gd name="T8" fmla="*/ 28 w 75"/>
              <a:gd name="T9" fmla="*/ 9 h 86"/>
              <a:gd name="T10" fmla="*/ 30 w 75"/>
              <a:gd name="T11" fmla="*/ 14 h 86"/>
              <a:gd name="T12" fmla="*/ 34 w 75"/>
              <a:gd name="T13" fmla="*/ 14 h 86"/>
              <a:gd name="T14" fmla="*/ 37 w 75"/>
              <a:gd name="T15" fmla="*/ 14 h 86"/>
              <a:gd name="T16" fmla="*/ 41 w 75"/>
              <a:gd name="T17" fmla="*/ 16 h 86"/>
              <a:gd name="T18" fmla="*/ 44 w 75"/>
              <a:gd name="T19" fmla="*/ 19 h 86"/>
              <a:gd name="T20" fmla="*/ 46 w 75"/>
              <a:gd name="T21" fmla="*/ 20 h 86"/>
              <a:gd name="T22" fmla="*/ 50 w 75"/>
              <a:gd name="T23" fmla="*/ 22 h 86"/>
              <a:gd name="T24" fmla="*/ 54 w 75"/>
              <a:gd name="T25" fmla="*/ 25 h 86"/>
              <a:gd name="T26" fmla="*/ 57 w 75"/>
              <a:gd name="T27" fmla="*/ 31 h 86"/>
              <a:gd name="T28" fmla="*/ 60 w 75"/>
              <a:gd name="T29" fmla="*/ 36 h 86"/>
              <a:gd name="T30" fmla="*/ 64 w 75"/>
              <a:gd name="T31" fmla="*/ 40 h 86"/>
              <a:gd name="T32" fmla="*/ 68 w 75"/>
              <a:gd name="T33" fmla="*/ 41 h 86"/>
              <a:gd name="T34" fmla="*/ 67 w 75"/>
              <a:gd name="T35" fmla="*/ 46 h 86"/>
              <a:gd name="T36" fmla="*/ 63 w 75"/>
              <a:gd name="T37" fmla="*/ 52 h 86"/>
              <a:gd name="T38" fmla="*/ 63 w 75"/>
              <a:gd name="T39" fmla="*/ 58 h 86"/>
              <a:gd name="T40" fmla="*/ 65 w 75"/>
              <a:gd name="T41" fmla="*/ 62 h 86"/>
              <a:gd name="T42" fmla="*/ 68 w 75"/>
              <a:gd name="T43" fmla="*/ 62 h 86"/>
              <a:gd name="T44" fmla="*/ 72 w 75"/>
              <a:gd name="T45" fmla="*/ 61 h 86"/>
              <a:gd name="T46" fmla="*/ 73 w 75"/>
              <a:gd name="T47" fmla="*/ 61 h 86"/>
              <a:gd name="T48" fmla="*/ 74 w 75"/>
              <a:gd name="T49" fmla="*/ 63 h 86"/>
              <a:gd name="T50" fmla="*/ 74 w 75"/>
              <a:gd name="T51" fmla="*/ 63 h 86"/>
              <a:gd name="T52" fmla="*/ 70 w 75"/>
              <a:gd name="T53" fmla="*/ 65 h 86"/>
              <a:gd name="T54" fmla="*/ 68 w 75"/>
              <a:gd name="T55" fmla="*/ 69 h 86"/>
              <a:gd name="T56" fmla="*/ 67 w 75"/>
              <a:gd name="T57" fmla="*/ 72 h 86"/>
              <a:gd name="T58" fmla="*/ 64 w 75"/>
              <a:gd name="T59" fmla="*/ 75 h 86"/>
              <a:gd name="T60" fmla="*/ 63 w 75"/>
              <a:gd name="T61" fmla="*/ 79 h 86"/>
              <a:gd name="T62" fmla="*/ 59 w 75"/>
              <a:gd name="T63" fmla="*/ 81 h 86"/>
              <a:gd name="T64" fmla="*/ 57 w 75"/>
              <a:gd name="T65" fmla="*/ 81 h 86"/>
              <a:gd name="T66" fmla="*/ 55 w 75"/>
              <a:gd name="T67" fmla="*/ 84 h 86"/>
              <a:gd name="T68" fmla="*/ 46 w 75"/>
              <a:gd name="T69" fmla="*/ 84 h 86"/>
              <a:gd name="T70" fmla="*/ 42 w 75"/>
              <a:gd name="T71" fmla="*/ 83 h 86"/>
              <a:gd name="T72" fmla="*/ 38 w 75"/>
              <a:gd name="T73" fmla="*/ 84 h 86"/>
              <a:gd name="T74" fmla="*/ 38 w 75"/>
              <a:gd name="T75" fmla="*/ 85 h 86"/>
              <a:gd name="T76" fmla="*/ 35 w 75"/>
              <a:gd name="T77" fmla="*/ 85 h 86"/>
              <a:gd name="T78" fmla="*/ 32 w 75"/>
              <a:gd name="T79" fmla="*/ 84 h 86"/>
              <a:gd name="T80" fmla="*/ 31 w 75"/>
              <a:gd name="T81" fmla="*/ 83 h 86"/>
              <a:gd name="T82" fmla="*/ 27 w 75"/>
              <a:gd name="T83" fmla="*/ 83 h 86"/>
              <a:gd name="T84" fmla="*/ 21 w 75"/>
              <a:gd name="T85" fmla="*/ 77 h 86"/>
              <a:gd name="T86" fmla="*/ 17 w 75"/>
              <a:gd name="T87" fmla="*/ 75 h 86"/>
              <a:gd name="T88" fmla="*/ 13 w 75"/>
              <a:gd name="T89" fmla="*/ 75 h 86"/>
              <a:gd name="T90" fmla="*/ 9 w 75"/>
              <a:gd name="T91" fmla="*/ 74 h 86"/>
              <a:gd name="T92" fmla="*/ 6 w 75"/>
              <a:gd name="T93" fmla="*/ 75 h 86"/>
              <a:gd name="T94" fmla="*/ 4 w 75"/>
              <a:gd name="T95" fmla="*/ 71 h 86"/>
              <a:gd name="T96" fmla="*/ 4 w 75"/>
              <a:gd name="T97" fmla="*/ 65 h 86"/>
              <a:gd name="T98" fmla="*/ 4 w 75"/>
              <a:gd name="T99" fmla="*/ 62 h 86"/>
              <a:gd name="T100" fmla="*/ 2 w 75"/>
              <a:gd name="T101" fmla="*/ 61 h 86"/>
              <a:gd name="T102" fmla="*/ 0 w 75"/>
              <a:gd name="T103" fmla="*/ 58 h 86"/>
              <a:gd name="T104" fmla="*/ 2 w 75"/>
              <a:gd name="T105" fmla="*/ 51 h 86"/>
              <a:gd name="T106" fmla="*/ 3 w 75"/>
              <a:gd name="T107" fmla="*/ 46 h 86"/>
              <a:gd name="T108" fmla="*/ 3 w 75"/>
              <a:gd name="T109" fmla="*/ 40 h 86"/>
              <a:gd name="T110" fmla="*/ 2 w 75"/>
              <a:gd name="T111" fmla="*/ 38 h 86"/>
              <a:gd name="T112" fmla="*/ 5 w 75"/>
              <a:gd name="T113" fmla="*/ 30 h 86"/>
              <a:gd name="T114" fmla="*/ 6 w 75"/>
              <a:gd name="T115" fmla="*/ 21 h 86"/>
              <a:gd name="T116" fmla="*/ 6 w 75"/>
              <a:gd name="T117" fmla="*/ 16 h 86"/>
              <a:gd name="T118" fmla="*/ 7 w 75"/>
              <a:gd name="T119" fmla="*/ 12 h 86"/>
              <a:gd name="T120" fmla="*/ 8 w 75"/>
              <a:gd name="T121" fmla="*/ 7 h 86"/>
              <a:gd name="T122" fmla="*/ 11 w 75"/>
              <a:gd name="T123" fmla="*/ 1 h 86"/>
              <a:gd name="T124" fmla="*/ 13 w 75"/>
              <a:gd name="T1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 h="86">
                <a:moveTo>
                  <a:pt x="13" y="0"/>
                </a:moveTo>
                <a:cubicBezTo>
                  <a:pt x="13" y="0"/>
                  <a:pt x="16" y="1"/>
                  <a:pt x="17" y="1"/>
                </a:cubicBezTo>
                <a:cubicBezTo>
                  <a:pt x="18" y="1"/>
                  <a:pt x="22" y="1"/>
                  <a:pt x="23" y="2"/>
                </a:cubicBezTo>
                <a:cubicBezTo>
                  <a:pt x="24" y="2"/>
                  <a:pt x="25" y="3"/>
                  <a:pt x="25" y="4"/>
                </a:cubicBezTo>
                <a:cubicBezTo>
                  <a:pt x="25" y="5"/>
                  <a:pt x="28" y="9"/>
                  <a:pt x="28" y="9"/>
                </a:cubicBezTo>
                <a:cubicBezTo>
                  <a:pt x="28" y="9"/>
                  <a:pt x="30" y="13"/>
                  <a:pt x="30" y="14"/>
                </a:cubicBezTo>
                <a:cubicBezTo>
                  <a:pt x="31" y="14"/>
                  <a:pt x="34" y="15"/>
                  <a:pt x="34" y="14"/>
                </a:cubicBezTo>
                <a:cubicBezTo>
                  <a:pt x="35" y="14"/>
                  <a:pt x="36" y="14"/>
                  <a:pt x="37" y="14"/>
                </a:cubicBezTo>
                <a:cubicBezTo>
                  <a:pt x="38" y="14"/>
                  <a:pt x="40" y="15"/>
                  <a:pt x="41" y="16"/>
                </a:cubicBezTo>
                <a:cubicBezTo>
                  <a:pt x="41" y="16"/>
                  <a:pt x="43" y="19"/>
                  <a:pt x="44" y="19"/>
                </a:cubicBezTo>
                <a:cubicBezTo>
                  <a:pt x="44" y="19"/>
                  <a:pt x="46" y="20"/>
                  <a:pt x="46" y="20"/>
                </a:cubicBezTo>
                <a:cubicBezTo>
                  <a:pt x="47" y="20"/>
                  <a:pt x="49" y="22"/>
                  <a:pt x="50" y="22"/>
                </a:cubicBezTo>
                <a:cubicBezTo>
                  <a:pt x="51" y="23"/>
                  <a:pt x="53" y="25"/>
                  <a:pt x="54" y="25"/>
                </a:cubicBezTo>
                <a:cubicBezTo>
                  <a:pt x="54" y="26"/>
                  <a:pt x="57" y="30"/>
                  <a:pt x="57" y="31"/>
                </a:cubicBezTo>
                <a:cubicBezTo>
                  <a:pt x="58" y="32"/>
                  <a:pt x="60" y="35"/>
                  <a:pt x="60" y="36"/>
                </a:cubicBezTo>
                <a:cubicBezTo>
                  <a:pt x="61" y="36"/>
                  <a:pt x="64" y="39"/>
                  <a:pt x="64" y="40"/>
                </a:cubicBezTo>
                <a:cubicBezTo>
                  <a:pt x="65" y="40"/>
                  <a:pt x="67" y="41"/>
                  <a:pt x="68" y="41"/>
                </a:cubicBezTo>
                <a:cubicBezTo>
                  <a:pt x="68" y="42"/>
                  <a:pt x="67" y="45"/>
                  <a:pt x="67" y="46"/>
                </a:cubicBezTo>
                <a:cubicBezTo>
                  <a:pt x="66" y="47"/>
                  <a:pt x="63" y="50"/>
                  <a:pt x="63" y="52"/>
                </a:cubicBezTo>
                <a:cubicBezTo>
                  <a:pt x="63" y="54"/>
                  <a:pt x="63" y="57"/>
                  <a:pt x="63" y="58"/>
                </a:cubicBezTo>
                <a:cubicBezTo>
                  <a:pt x="63" y="60"/>
                  <a:pt x="65" y="62"/>
                  <a:pt x="65" y="62"/>
                </a:cubicBezTo>
                <a:cubicBezTo>
                  <a:pt x="66" y="63"/>
                  <a:pt x="68" y="62"/>
                  <a:pt x="68" y="62"/>
                </a:cubicBezTo>
                <a:cubicBezTo>
                  <a:pt x="69" y="62"/>
                  <a:pt x="71" y="61"/>
                  <a:pt x="72" y="61"/>
                </a:cubicBezTo>
                <a:cubicBezTo>
                  <a:pt x="72" y="60"/>
                  <a:pt x="73" y="60"/>
                  <a:pt x="73" y="61"/>
                </a:cubicBezTo>
                <a:cubicBezTo>
                  <a:pt x="74" y="61"/>
                  <a:pt x="74" y="63"/>
                  <a:pt x="74" y="63"/>
                </a:cubicBezTo>
                <a:cubicBezTo>
                  <a:pt x="74" y="63"/>
                  <a:pt x="75" y="62"/>
                  <a:pt x="74" y="63"/>
                </a:cubicBezTo>
                <a:cubicBezTo>
                  <a:pt x="72" y="64"/>
                  <a:pt x="71" y="64"/>
                  <a:pt x="70" y="65"/>
                </a:cubicBezTo>
                <a:cubicBezTo>
                  <a:pt x="70" y="66"/>
                  <a:pt x="68" y="68"/>
                  <a:pt x="68" y="69"/>
                </a:cubicBezTo>
                <a:cubicBezTo>
                  <a:pt x="67" y="71"/>
                  <a:pt x="67" y="72"/>
                  <a:pt x="67" y="72"/>
                </a:cubicBezTo>
                <a:cubicBezTo>
                  <a:pt x="67" y="73"/>
                  <a:pt x="65" y="75"/>
                  <a:pt x="64" y="75"/>
                </a:cubicBezTo>
                <a:cubicBezTo>
                  <a:pt x="63" y="76"/>
                  <a:pt x="63" y="78"/>
                  <a:pt x="63" y="79"/>
                </a:cubicBezTo>
                <a:cubicBezTo>
                  <a:pt x="62" y="80"/>
                  <a:pt x="60" y="81"/>
                  <a:pt x="59" y="81"/>
                </a:cubicBezTo>
                <a:cubicBezTo>
                  <a:pt x="59" y="81"/>
                  <a:pt x="58" y="81"/>
                  <a:pt x="57" y="81"/>
                </a:cubicBezTo>
                <a:cubicBezTo>
                  <a:pt x="56" y="82"/>
                  <a:pt x="56" y="83"/>
                  <a:pt x="55" y="84"/>
                </a:cubicBezTo>
                <a:cubicBezTo>
                  <a:pt x="54" y="84"/>
                  <a:pt x="47" y="84"/>
                  <a:pt x="46" y="84"/>
                </a:cubicBezTo>
                <a:cubicBezTo>
                  <a:pt x="45" y="84"/>
                  <a:pt x="43" y="83"/>
                  <a:pt x="42" y="83"/>
                </a:cubicBezTo>
                <a:cubicBezTo>
                  <a:pt x="41" y="84"/>
                  <a:pt x="39" y="84"/>
                  <a:pt x="38" y="84"/>
                </a:cubicBezTo>
                <a:cubicBezTo>
                  <a:pt x="38" y="84"/>
                  <a:pt x="38" y="84"/>
                  <a:pt x="38" y="85"/>
                </a:cubicBezTo>
                <a:cubicBezTo>
                  <a:pt x="37" y="86"/>
                  <a:pt x="36" y="85"/>
                  <a:pt x="35" y="85"/>
                </a:cubicBezTo>
                <a:cubicBezTo>
                  <a:pt x="34" y="85"/>
                  <a:pt x="32" y="84"/>
                  <a:pt x="32" y="84"/>
                </a:cubicBezTo>
                <a:cubicBezTo>
                  <a:pt x="32" y="84"/>
                  <a:pt x="32" y="83"/>
                  <a:pt x="31" y="83"/>
                </a:cubicBezTo>
                <a:cubicBezTo>
                  <a:pt x="30" y="83"/>
                  <a:pt x="27" y="83"/>
                  <a:pt x="27" y="83"/>
                </a:cubicBezTo>
                <a:cubicBezTo>
                  <a:pt x="22" y="83"/>
                  <a:pt x="23" y="81"/>
                  <a:pt x="21" y="77"/>
                </a:cubicBezTo>
                <a:cubicBezTo>
                  <a:pt x="20" y="76"/>
                  <a:pt x="18" y="75"/>
                  <a:pt x="17" y="75"/>
                </a:cubicBezTo>
                <a:cubicBezTo>
                  <a:pt x="15" y="75"/>
                  <a:pt x="14" y="76"/>
                  <a:pt x="13" y="75"/>
                </a:cubicBezTo>
                <a:cubicBezTo>
                  <a:pt x="12" y="75"/>
                  <a:pt x="10" y="75"/>
                  <a:pt x="9" y="74"/>
                </a:cubicBezTo>
                <a:cubicBezTo>
                  <a:pt x="8" y="74"/>
                  <a:pt x="7" y="75"/>
                  <a:pt x="6" y="75"/>
                </a:cubicBezTo>
                <a:cubicBezTo>
                  <a:pt x="6" y="74"/>
                  <a:pt x="4" y="72"/>
                  <a:pt x="4" y="71"/>
                </a:cubicBezTo>
                <a:cubicBezTo>
                  <a:pt x="4" y="69"/>
                  <a:pt x="3" y="67"/>
                  <a:pt x="4" y="65"/>
                </a:cubicBezTo>
                <a:cubicBezTo>
                  <a:pt x="4" y="64"/>
                  <a:pt x="4" y="63"/>
                  <a:pt x="4" y="62"/>
                </a:cubicBezTo>
                <a:cubicBezTo>
                  <a:pt x="3" y="61"/>
                  <a:pt x="2" y="60"/>
                  <a:pt x="2" y="61"/>
                </a:cubicBezTo>
                <a:cubicBezTo>
                  <a:pt x="1" y="61"/>
                  <a:pt x="0" y="59"/>
                  <a:pt x="0" y="58"/>
                </a:cubicBezTo>
                <a:cubicBezTo>
                  <a:pt x="0" y="56"/>
                  <a:pt x="2" y="52"/>
                  <a:pt x="2" y="51"/>
                </a:cubicBezTo>
                <a:cubicBezTo>
                  <a:pt x="2" y="50"/>
                  <a:pt x="3" y="46"/>
                  <a:pt x="3" y="46"/>
                </a:cubicBezTo>
                <a:cubicBezTo>
                  <a:pt x="3" y="45"/>
                  <a:pt x="3" y="41"/>
                  <a:pt x="3" y="40"/>
                </a:cubicBezTo>
                <a:cubicBezTo>
                  <a:pt x="2" y="39"/>
                  <a:pt x="2" y="39"/>
                  <a:pt x="2" y="38"/>
                </a:cubicBezTo>
                <a:cubicBezTo>
                  <a:pt x="2" y="37"/>
                  <a:pt x="5" y="31"/>
                  <a:pt x="5" y="30"/>
                </a:cubicBezTo>
                <a:cubicBezTo>
                  <a:pt x="5" y="28"/>
                  <a:pt x="6" y="22"/>
                  <a:pt x="6" y="21"/>
                </a:cubicBezTo>
                <a:cubicBezTo>
                  <a:pt x="6" y="20"/>
                  <a:pt x="6" y="18"/>
                  <a:pt x="6" y="16"/>
                </a:cubicBezTo>
                <a:cubicBezTo>
                  <a:pt x="6" y="16"/>
                  <a:pt x="7" y="14"/>
                  <a:pt x="7" y="12"/>
                </a:cubicBezTo>
                <a:cubicBezTo>
                  <a:pt x="7" y="11"/>
                  <a:pt x="7" y="8"/>
                  <a:pt x="8" y="7"/>
                </a:cubicBezTo>
                <a:cubicBezTo>
                  <a:pt x="8" y="5"/>
                  <a:pt x="10" y="2"/>
                  <a:pt x="11" y="1"/>
                </a:cubicBezTo>
                <a:cubicBezTo>
                  <a:pt x="12" y="0"/>
                  <a:pt x="13" y="0"/>
                  <a:pt x="1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 name="Paraguay"/>
          <p:cNvSpPr>
            <a:spLocks/>
          </p:cNvSpPr>
          <p:nvPr/>
        </p:nvSpPr>
        <p:spPr bwMode="auto">
          <a:xfrm>
            <a:off x="4510734" y="4679719"/>
            <a:ext cx="240080" cy="284175"/>
          </a:xfrm>
          <a:custGeom>
            <a:avLst/>
            <a:gdLst>
              <a:gd name="T0" fmla="*/ 0 w 117"/>
              <a:gd name="T1" fmla="*/ 51 h 139"/>
              <a:gd name="T2" fmla="*/ 2 w 117"/>
              <a:gd name="T3" fmla="*/ 56 h 139"/>
              <a:gd name="T4" fmla="*/ 5 w 117"/>
              <a:gd name="T5" fmla="*/ 59 h 139"/>
              <a:gd name="T6" fmla="*/ 9 w 117"/>
              <a:gd name="T7" fmla="*/ 64 h 139"/>
              <a:gd name="T8" fmla="*/ 16 w 117"/>
              <a:gd name="T9" fmla="*/ 71 h 139"/>
              <a:gd name="T10" fmla="*/ 20 w 117"/>
              <a:gd name="T11" fmla="*/ 76 h 139"/>
              <a:gd name="T12" fmla="*/ 24 w 117"/>
              <a:gd name="T13" fmla="*/ 80 h 139"/>
              <a:gd name="T14" fmla="*/ 31 w 117"/>
              <a:gd name="T15" fmla="*/ 85 h 139"/>
              <a:gd name="T16" fmla="*/ 36 w 117"/>
              <a:gd name="T17" fmla="*/ 86 h 139"/>
              <a:gd name="T18" fmla="*/ 44 w 117"/>
              <a:gd name="T19" fmla="*/ 87 h 139"/>
              <a:gd name="T20" fmla="*/ 47 w 117"/>
              <a:gd name="T21" fmla="*/ 91 h 139"/>
              <a:gd name="T22" fmla="*/ 53 w 117"/>
              <a:gd name="T23" fmla="*/ 95 h 139"/>
              <a:gd name="T24" fmla="*/ 56 w 117"/>
              <a:gd name="T25" fmla="*/ 97 h 139"/>
              <a:gd name="T26" fmla="*/ 62 w 117"/>
              <a:gd name="T27" fmla="*/ 99 h 139"/>
              <a:gd name="T28" fmla="*/ 67 w 117"/>
              <a:gd name="T29" fmla="*/ 101 h 139"/>
              <a:gd name="T30" fmla="*/ 71 w 117"/>
              <a:gd name="T31" fmla="*/ 102 h 139"/>
              <a:gd name="T32" fmla="*/ 74 w 117"/>
              <a:gd name="T33" fmla="*/ 108 h 139"/>
              <a:gd name="T34" fmla="*/ 73 w 117"/>
              <a:gd name="T35" fmla="*/ 111 h 139"/>
              <a:gd name="T36" fmla="*/ 71 w 117"/>
              <a:gd name="T37" fmla="*/ 114 h 139"/>
              <a:gd name="T38" fmla="*/ 71 w 117"/>
              <a:gd name="T39" fmla="*/ 117 h 139"/>
              <a:gd name="T40" fmla="*/ 68 w 117"/>
              <a:gd name="T41" fmla="*/ 121 h 139"/>
              <a:gd name="T42" fmla="*/ 64 w 117"/>
              <a:gd name="T43" fmla="*/ 127 h 139"/>
              <a:gd name="T44" fmla="*/ 63 w 117"/>
              <a:gd name="T45" fmla="*/ 131 h 139"/>
              <a:gd name="T46" fmla="*/ 64 w 117"/>
              <a:gd name="T47" fmla="*/ 134 h 139"/>
              <a:gd name="T48" fmla="*/ 75 w 117"/>
              <a:gd name="T49" fmla="*/ 136 h 139"/>
              <a:gd name="T50" fmla="*/ 82 w 117"/>
              <a:gd name="T51" fmla="*/ 138 h 139"/>
              <a:gd name="T52" fmla="*/ 89 w 117"/>
              <a:gd name="T53" fmla="*/ 138 h 139"/>
              <a:gd name="T54" fmla="*/ 95 w 117"/>
              <a:gd name="T55" fmla="*/ 135 h 139"/>
              <a:gd name="T56" fmla="*/ 102 w 117"/>
              <a:gd name="T57" fmla="*/ 133 h 139"/>
              <a:gd name="T58" fmla="*/ 106 w 117"/>
              <a:gd name="T59" fmla="*/ 129 h 139"/>
              <a:gd name="T60" fmla="*/ 110 w 117"/>
              <a:gd name="T61" fmla="*/ 124 h 139"/>
              <a:gd name="T62" fmla="*/ 114 w 117"/>
              <a:gd name="T63" fmla="*/ 120 h 139"/>
              <a:gd name="T64" fmla="*/ 116 w 117"/>
              <a:gd name="T65" fmla="*/ 115 h 139"/>
              <a:gd name="T66" fmla="*/ 113 w 117"/>
              <a:gd name="T67" fmla="*/ 104 h 139"/>
              <a:gd name="T68" fmla="*/ 115 w 117"/>
              <a:gd name="T69" fmla="*/ 83 h 139"/>
              <a:gd name="T70" fmla="*/ 112 w 117"/>
              <a:gd name="T71" fmla="*/ 76 h 139"/>
              <a:gd name="T72" fmla="*/ 109 w 117"/>
              <a:gd name="T73" fmla="*/ 78 h 139"/>
              <a:gd name="T74" fmla="*/ 98 w 117"/>
              <a:gd name="T75" fmla="*/ 72 h 139"/>
              <a:gd name="T76" fmla="*/ 99 w 117"/>
              <a:gd name="T77" fmla="*/ 58 h 139"/>
              <a:gd name="T78" fmla="*/ 95 w 117"/>
              <a:gd name="T79" fmla="*/ 51 h 139"/>
              <a:gd name="T80" fmla="*/ 91 w 117"/>
              <a:gd name="T81" fmla="*/ 51 h 139"/>
              <a:gd name="T82" fmla="*/ 85 w 117"/>
              <a:gd name="T83" fmla="*/ 50 h 139"/>
              <a:gd name="T84" fmla="*/ 78 w 117"/>
              <a:gd name="T85" fmla="*/ 49 h 139"/>
              <a:gd name="T86" fmla="*/ 72 w 117"/>
              <a:gd name="T87" fmla="*/ 47 h 139"/>
              <a:gd name="T88" fmla="*/ 65 w 117"/>
              <a:gd name="T89" fmla="*/ 24 h 139"/>
              <a:gd name="T90" fmla="*/ 64 w 117"/>
              <a:gd name="T91" fmla="*/ 17 h 139"/>
              <a:gd name="T92" fmla="*/ 66 w 117"/>
              <a:gd name="T93" fmla="*/ 11 h 139"/>
              <a:gd name="T94" fmla="*/ 62 w 117"/>
              <a:gd name="T95" fmla="*/ 8 h 139"/>
              <a:gd name="T96" fmla="*/ 54 w 117"/>
              <a:gd name="T97" fmla="*/ 2 h 139"/>
              <a:gd name="T98" fmla="*/ 43 w 117"/>
              <a:gd name="T99" fmla="*/ 2 h 139"/>
              <a:gd name="T100" fmla="*/ 28 w 117"/>
              <a:gd name="T101" fmla="*/ 7 h 139"/>
              <a:gd name="T102" fmla="*/ 14 w 117"/>
              <a:gd name="T103" fmla="*/ 16 h 139"/>
              <a:gd name="T104" fmla="*/ 12 w 117"/>
              <a:gd name="T105" fmla="*/ 28 h 139"/>
              <a:gd name="T106" fmla="*/ 9 w 117"/>
              <a:gd name="T107" fmla="*/ 42 h 139"/>
              <a:gd name="T108" fmla="*/ 10 w 117"/>
              <a:gd name="T109" fmla="*/ 44 h 139"/>
              <a:gd name="T110" fmla="*/ 8 w 117"/>
              <a:gd name="T111" fmla="*/ 52 h 139"/>
              <a:gd name="T112" fmla="*/ 5 w 117"/>
              <a:gd name="T113" fmla="*/ 51 h 139"/>
              <a:gd name="T114" fmla="*/ 1 w 117"/>
              <a:gd name="T115" fmla="*/ 4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 h="139">
                <a:moveTo>
                  <a:pt x="0" y="49"/>
                </a:moveTo>
                <a:cubicBezTo>
                  <a:pt x="0" y="49"/>
                  <a:pt x="0" y="50"/>
                  <a:pt x="0" y="51"/>
                </a:cubicBezTo>
                <a:cubicBezTo>
                  <a:pt x="0" y="52"/>
                  <a:pt x="1" y="53"/>
                  <a:pt x="1" y="53"/>
                </a:cubicBezTo>
                <a:cubicBezTo>
                  <a:pt x="1" y="53"/>
                  <a:pt x="2" y="55"/>
                  <a:pt x="2" y="56"/>
                </a:cubicBezTo>
                <a:cubicBezTo>
                  <a:pt x="2" y="56"/>
                  <a:pt x="3" y="57"/>
                  <a:pt x="3" y="57"/>
                </a:cubicBezTo>
                <a:cubicBezTo>
                  <a:pt x="4" y="58"/>
                  <a:pt x="5" y="59"/>
                  <a:pt x="5" y="59"/>
                </a:cubicBezTo>
                <a:cubicBezTo>
                  <a:pt x="6" y="60"/>
                  <a:pt x="7" y="61"/>
                  <a:pt x="7" y="61"/>
                </a:cubicBezTo>
                <a:cubicBezTo>
                  <a:pt x="7" y="62"/>
                  <a:pt x="9" y="64"/>
                  <a:pt x="9" y="64"/>
                </a:cubicBezTo>
                <a:cubicBezTo>
                  <a:pt x="9" y="64"/>
                  <a:pt x="13" y="68"/>
                  <a:pt x="13" y="69"/>
                </a:cubicBezTo>
                <a:cubicBezTo>
                  <a:pt x="13" y="69"/>
                  <a:pt x="15" y="71"/>
                  <a:pt x="16" y="71"/>
                </a:cubicBezTo>
                <a:cubicBezTo>
                  <a:pt x="16" y="72"/>
                  <a:pt x="17" y="74"/>
                  <a:pt x="18" y="74"/>
                </a:cubicBezTo>
                <a:cubicBezTo>
                  <a:pt x="18" y="74"/>
                  <a:pt x="19" y="76"/>
                  <a:pt x="20" y="76"/>
                </a:cubicBezTo>
                <a:cubicBezTo>
                  <a:pt x="20" y="76"/>
                  <a:pt x="22" y="77"/>
                  <a:pt x="23" y="78"/>
                </a:cubicBezTo>
                <a:cubicBezTo>
                  <a:pt x="24" y="78"/>
                  <a:pt x="24" y="79"/>
                  <a:pt x="24" y="80"/>
                </a:cubicBezTo>
                <a:cubicBezTo>
                  <a:pt x="25" y="80"/>
                  <a:pt x="27" y="82"/>
                  <a:pt x="28" y="82"/>
                </a:cubicBezTo>
                <a:cubicBezTo>
                  <a:pt x="28" y="83"/>
                  <a:pt x="30" y="84"/>
                  <a:pt x="31" y="85"/>
                </a:cubicBezTo>
                <a:cubicBezTo>
                  <a:pt x="31" y="85"/>
                  <a:pt x="33" y="86"/>
                  <a:pt x="33" y="86"/>
                </a:cubicBezTo>
                <a:cubicBezTo>
                  <a:pt x="34" y="86"/>
                  <a:pt x="35" y="86"/>
                  <a:pt x="36" y="86"/>
                </a:cubicBezTo>
                <a:cubicBezTo>
                  <a:pt x="37" y="87"/>
                  <a:pt x="39" y="87"/>
                  <a:pt x="40" y="87"/>
                </a:cubicBezTo>
                <a:cubicBezTo>
                  <a:pt x="40" y="88"/>
                  <a:pt x="43" y="87"/>
                  <a:pt x="44" y="87"/>
                </a:cubicBezTo>
                <a:cubicBezTo>
                  <a:pt x="45" y="88"/>
                  <a:pt x="45" y="88"/>
                  <a:pt x="46" y="89"/>
                </a:cubicBezTo>
                <a:cubicBezTo>
                  <a:pt x="47" y="89"/>
                  <a:pt x="47" y="90"/>
                  <a:pt x="47" y="91"/>
                </a:cubicBezTo>
                <a:cubicBezTo>
                  <a:pt x="48" y="91"/>
                  <a:pt x="49" y="92"/>
                  <a:pt x="50" y="92"/>
                </a:cubicBezTo>
                <a:cubicBezTo>
                  <a:pt x="50" y="93"/>
                  <a:pt x="52" y="95"/>
                  <a:pt x="53" y="95"/>
                </a:cubicBezTo>
                <a:cubicBezTo>
                  <a:pt x="53" y="96"/>
                  <a:pt x="54" y="97"/>
                  <a:pt x="54" y="97"/>
                </a:cubicBezTo>
                <a:cubicBezTo>
                  <a:pt x="55" y="97"/>
                  <a:pt x="56" y="97"/>
                  <a:pt x="56" y="97"/>
                </a:cubicBezTo>
                <a:cubicBezTo>
                  <a:pt x="57" y="97"/>
                  <a:pt x="59" y="98"/>
                  <a:pt x="60" y="98"/>
                </a:cubicBezTo>
                <a:cubicBezTo>
                  <a:pt x="60" y="99"/>
                  <a:pt x="62" y="99"/>
                  <a:pt x="62" y="99"/>
                </a:cubicBezTo>
                <a:cubicBezTo>
                  <a:pt x="62" y="99"/>
                  <a:pt x="64" y="101"/>
                  <a:pt x="64" y="101"/>
                </a:cubicBezTo>
                <a:cubicBezTo>
                  <a:pt x="65" y="101"/>
                  <a:pt x="66" y="101"/>
                  <a:pt x="67" y="101"/>
                </a:cubicBezTo>
                <a:cubicBezTo>
                  <a:pt x="67" y="101"/>
                  <a:pt x="69" y="101"/>
                  <a:pt x="69" y="101"/>
                </a:cubicBezTo>
                <a:cubicBezTo>
                  <a:pt x="70" y="101"/>
                  <a:pt x="71" y="101"/>
                  <a:pt x="71" y="102"/>
                </a:cubicBezTo>
                <a:cubicBezTo>
                  <a:pt x="72" y="102"/>
                  <a:pt x="73" y="104"/>
                  <a:pt x="73" y="105"/>
                </a:cubicBezTo>
                <a:cubicBezTo>
                  <a:pt x="73" y="105"/>
                  <a:pt x="73" y="107"/>
                  <a:pt x="74" y="108"/>
                </a:cubicBezTo>
                <a:cubicBezTo>
                  <a:pt x="74" y="108"/>
                  <a:pt x="74" y="109"/>
                  <a:pt x="74" y="110"/>
                </a:cubicBezTo>
                <a:cubicBezTo>
                  <a:pt x="74" y="111"/>
                  <a:pt x="74" y="111"/>
                  <a:pt x="73" y="111"/>
                </a:cubicBezTo>
                <a:cubicBezTo>
                  <a:pt x="73" y="112"/>
                  <a:pt x="73" y="112"/>
                  <a:pt x="72" y="112"/>
                </a:cubicBezTo>
                <a:cubicBezTo>
                  <a:pt x="71" y="113"/>
                  <a:pt x="71" y="113"/>
                  <a:pt x="71" y="114"/>
                </a:cubicBezTo>
                <a:cubicBezTo>
                  <a:pt x="71" y="114"/>
                  <a:pt x="71" y="115"/>
                  <a:pt x="71" y="116"/>
                </a:cubicBezTo>
                <a:cubicBezTo>
                  <a:pt x="71" y="116"/>
                  <a:pt x="71" y="117"/>
                  <a:pt x="71" y="117"/>
                </a:cubicBezTo>
                <a:cubicBezTo>
                  <a:pt x="71" y="118"/>
                  <a:pt x="71" y="120"/>
                  <a:pt x="71" y="121"/>
                </a:cubicBezTo>
                <a:cubicBezTo>
                  <a:pt x="71" y="121"/>
                  <a:pt x="69" y="121"/>
                  <a:pt x="68" y="121"/>
                </a:cubicBezTo>
                <a:cubicBezTo>
                  <a:pt x="67" y="122"/>
                  <a:pt x="67" y="123"/>
                  <a:pt x="67" y="123"/>
                </a:cubicBezTo>
                <a:cubicBezTo>
                  <a:pt x="66" y="124"/>
                  <a:pt x="64" y="126"/>
                  <a:pt x="64" y="127"/>
                </a:cubicBezTo>
                <a:cubicBezTo>
                  <a:pt x="64" y="128"/>
                  <a:pt x="65" y="131"/>
                  <a:pt x="65" y="131"/>
                </a:cubicBezTo>
                <a:cubicBezTo>
                  <a:pt x="65" y="132"/>
                  <a:pt x="63" y="131"/>
                  <a:pt x="63" y="131"/>
                </a:cubicBezTo>
                <a:cubicBezTo>
                  <a:pt x="62" y="133"/>
                  <a:pt x="62" y="133"/>
                  <a:pt x="62" y="133"/>
                </a:cubicBezTo>
                <a:cubicBezTo>
                  <a:pt x="62" y="133"/>
                  <a:pt x="63" y="134"/>
                  <a:pt x="64" y="134"/>
                </a:cubicBezTo>
                <a:cubicBezTo>
                  <a:pt x="65" y="135"/>
                  <a:pt x="69" y="135"/>
                  <a:pt x="69" y="135"/>
                </a:cubicBezTo>
                <a:cubicBezTo>
                  <a:pt x="70" y="135"/>
                  <a:pt x="75" y="136"/>
                  <a:pt x="75" y="136"/>
                </a:cubicBezTo>
                <a:cubicBezTo>
                  <a:pt x="76" y="136"/>
                  <a:pt x="78" y="138"/>
                  <a:pt x="78" y="138"/>
                </a:cubicBezTo>
                <a:cubicBezTo>
                  <a:pt x="79" y="139"/>
                  <a:pt x="81" y="138"/>
                  <a:pt x="82" y="138"/>
                </a:cubicBezTo>
                <a:cubicBezTo>
                  <a:pt x="83" y="138"/>
                  <a:pt x="85" y="139"/>
                  <a:pt x="86" y="139"/>
                </a:cubicBezTo>
                <a:cubicBezTo>
                  <a:pt x="87" y="139"/>
                  <a:pt x="88" y="138"/>
                  <a:pt x="89" y="138"/>
                </a:cubicBezTo>
                <a:cubicBezTo>
                  <a:pt x="90" y="137"/>
                  <a:pt x="92" y="137"/>
                  <a:pt x="92" y="137"/>
                </a:cubicBezTo>
                <a:cubicBezTo>
                  <a:pt x="93" y="137"/>
                  <a:pt x="94" y="136"/>
                  <a:pt x="95" y="135"/>
                </a:cubicBezTo>
                <a:cubicBezTo>
                  <a:pt x="96" y="135"/>
                  <a:pt x="97" y="134"/>
                  <a:pt x="98" y="134"/>
                </a:cubicBezTo>
                <a:cubicBezTo>
                  <a:pt x="98" y="134"/>
                  <a:pt x="101" y="133"/>
                  <a:pt x="102" y="133"/>
                </a:cubicBezTo>
                <a:cubicBezTo>
                  <a:pt x="102" y="133"/>
                  <a:pt x="103" y="132"/>
                  <a:pt x="104" y="131"/>
                </a:cubicBezTo>
                <a:cubicBezTo>
                  <a:pt x="104" y="130"/>
                  <a:pt x="105" y="129"/>
                  <a:pt x="106" y="129"/>
                </a:cubicBezTo>
                <a:cubicBezTo>
                  <a:pt x="107" y="129"/>
                  <a:pt x="108" y="128"/>
                  <a:pt x="109" y="128"/>
                </a:cubicBezTo>
                <a:cubicBezTo>
                  <a:pt x="109" y="127"/>
                  <a:pt x="110" y="125"/>
                  <a:pt x="110" y="124"/>
                </a:cubicBezTo>
                <a:cubicBezTo>
                  <a:pt x="110" y="124"/>
                  <a:pt x="111" y="123"/>
                  <a:pt x="112" y="123"/>
                </a:cubicBezTo>
                <a:cubicBezTo>
                  <a:pt x="113" y="122"/>
                  <a:pt x="114" y="121"/>
                  <a:pt x="114" y="120"/>
                </a:cubicBezTo>
                <a:cubicBezTo>
                  <a:pt x="114" y="119"/>
                  <a:pt x="115" y="118"/>
                  <a:pt x="115" y="117"/>
                </a:cubicBezTo>
                <a:cubicBezTo>
                  <a:pt x="115" y="116"/>
                  <a:pt x="115" y="115"/>
                  <a:pt x="116" y="115"/>
                </a:cubicBezTo>
                <a:cubicBezTo>
                  <a:pt x="116" y="114"/>
                  <a:pt x="117" y="112"/>
                  <a:pt x="117" y="112"/>
                </a:cubicBezTo>
                <a:cubicBezTo>
                  <a:pt x="117" y="112"/>
                  <a:pt x="113" y="105"/>
                  <a:pt x="113" y="104"/>
                </a:cubicBezTo>
                <a:cubicBezTo>
                  <a:pt x="113" y="102"/>
                  <a:pt x="113" y="93"/>
                  <a:pt x="114" y="91"/>
                </a:cubicBezTo>
                <a:cubicBezTo>
                  <a:pt x="114" y="89"/>
                  <a:pt x="115" y="85"/>
                  <a:pt x="115" y="83"/>
                </a:cubicBezTo>
                <a:cubicBezTo>
                  <a:pt x="116" y="82"/>
                  <a:pt x="116" y="80"/>
                  <a:pt x="115" y="79"/>
                </a:cubicBezTo>
                <a:cubicBezTo>
                  <a:pt x="114" y="78"/>
                  <a:pt x="113" y="76"/>
                  <a:pt x="112" y="76"/>
                </a:cubicBezTo>
                <a:cubicBezTo>
                  <a:pt x="111" y="76"/>
                  <a:pt x="109" y="76"/>
                  <a:pt x="109" y="76"/>
                </a:cubicBezTo>
                <a:cubicBezTo>
                  <a:pt x="109" y="77"/>
                  <a:pt x="110" y="78"/>
                  <a:pt x="109" y="78"/>
                </a:cubicBezTo>
                <a:cubicBezTo>
                  <a:pt x="108" y="78"/>
                  <a:pt x="103" y="79"/>
                  <a:pt x="102" y="78"/>
                </a:cubicBezTo>
                <a:cubicBezTo>
                  <a:pt x="101" y="78"/>
                  <a:pt x="99" y="74"/>
                  <a:pt x="98" y="72"/>
                </a:cubicBezTo>
                <a:cubicBezTo>
                  <a:pt x="98" y="71"/>
                  <a:pt x="98" y="63"/>
                  <a:pt x="98" y="63"/>
                </a:cubicBezTo>
                <a:cubicBezTo>
                  <a:pt x="98" y="62"/>
                  <a:pt x="99" y="58"/>
                  <a:pt x="99" y="58"/>
                </a:cubicBezTo>
                <a:cubicBezTo>
                  <a:pt x="99" y="58"/>
                  <a:pt x="99" y="55"/>
                  <a:pt x="98" y="54"/>
                </a:cubicBezTo>
                <a:cubicBezTo>
                  <a:pt x="96" y="53"/>
                  <a:pt x="95" y="52"/>
                  <a:pt x="95" y="51"/>
                </a:cubicBezTo>
                <a:cubicBezTo>
                  <a:pt x="95" y="50"/>
                  <a:pt x="95" y="49"/>
                  <a:pt x="94" y="50"/>
                </a:cubicBezTo>
                <a:cubicBezTo>
                  <a:pt x="93" y="50"/>
                  <a:pt x="91" y="51"/>
                  <a:pt x="91" y="51"/>
                </a:cubicBezTo>
                <a:cubicBezTo>
                  <a:pt x="90" y="51"/>
                  <a:pt x="88" y="51"/>
                  <a:pt x="87" y="51"/>
                </a:cubicBezTo>
                <a:cubicBezTo>
                  <a:pt x="87" y="50"/>
                  <a:pt x="85" y="50"/>
                  <a:pt x="85" y="50"/>
                </a:cubicBezTo>
                <a:cubicBezTo>
                  <a:pt x="84" y="51"/>
                  <a:pt x="83" y="51"/>
                  <a:pt x="82" y="51"/>
                </a:cubicBezTo>
                <a:cubicBezTo>
                  <a:pt x="81" y="51"/>
                  <a:pt x="79" y="49"/>
                  <a:pt x="78" y="49"/>
                </a:cubicBezTo>
                <a:cubicBezTo>
                  <a:pt x="77" y="49"/>
                  <a:pt x="75" y="49"/>
                  <a:pt x="74" y="49"/>
                </a:cubicBezTo>
                <a:cubicBezTo>
                  <a:pt x="73" y="49"/>
                  <a:pt x="72" y="48"/>
                  <a:pt x="72" y="47"/>
                </a:cubicBezTo>
                <a:cubicBezTo>
                  <a:pt x="71" y="46"/>
                  <a:pt x="68" y="32"/>
                  <a:pt x="68" y="31"/>
                </a:cubicBezTo>
                <a:cubicBezTo>
                  <a:pt x="68" y="30"/>
                  <a:pt x="66" y="25"/>
                  <a:pt x="65" y="24"/>
                </a:cubicBezTo>
                <a:cubicBezTo>
                  <a:pt x="64" y="23"/>
                  <a:pt x="64" y="23"/>
                  <a:pt x="64" y="20"/>
                </a:cubicBezTo>
                <a:cubicBezTo>
                  <a:pt x="64" y="18"/>
                  <a:pt x="64" y="17"/>
                  <a:pt x="64" y="17"/>
                </a:cubicBezTo>
                <a:cubicBezTo>
                  <a:pt x="64" y="17"/>
                  <a:pt x="68" y="15"/>
                  <a:pt x="67" y="13"/>
                </a:cubicBezTo>
                <a:cubicBezTo>
                  <a:pt x="66" y="11"/>
                  <a:pt x="66" y="11"/>
                  <a:pt x="66" y="11"/>
                </a:cubicBezTo>
                <a:cubicBezTo>
                  <a:pt x="65" y="10"/>
                  <a:pt x="65" y="10"/>
                  <a:pt x="65" y="10"/>
                </a:cubicBezTo>
                <a:cubicBezTo>
                  <a:pt x="65" y="10"/>
                  <a:pt x="64" y="10"/>
                  <a:pt x="62" y="8"/>
                </a:cubicBezTo>
                <a:cubicBezTo>
                  <a:pt x="61" y="7"/>
                  <a:pt x="60" y="6"/>
                  <a:pt x="60" y="6"/>
                </a:cubicBezTo>
                <a:cubicBezTo>
                  <a:pt x="60" y="6"/>
                  <a:pt x="55" y="3"/>
                  <a:pt x="54" y="2"/>
                </a:cubicBezTo>
                <a:cubicBezTo>
                  <a:pt x="53" y="1"/>
                  <a:pt x="50" y="0"/>
                  <a:pt x="48" y="0"/>
                </a:cubicBezTo>
                <a:cubicBezTo>
                  <a:pt x="47" y="1"/>
                  <a:pt x="43" y="2"/>
                  <a:pt x="43" y="2"/>
                </a:cubicBezTo>
                <a:cubicBezTo>
                  <a:pt x="43" y="2"/>
                  <a:pt x="40" y="3"/>
                  <a:pt x="38" y="4"/>
                </a:cubicBezTo>
                <a:cubicBezTo>
                  <a:pt x="37" y="4"/>
                  <a:pt x="29" y="7"/>
                  <a:pt x="28" y="7"/>
                </a:cubicBezTo>
                <a:cubicBezTo>
                  <a:pt x="27" y="8"/>
                  <a:pt x="20" y="9"/>
                  <a:pt x="19" y="10"/>
                </a:cubicBezTo>
                <a:cubicBezTo>
                  <a:pt x="18" y="11"/>
                  <a:pt x="16" y="14"/>
                  <a:pt x="14" y="16"/>
                </a:cubicBezTo>
                <a:cubicBezTo>
                  <a:pt x="13" y="18"/>
                  <a:pt x="12" y="22"/>
                  <a:pt x="12" y="24"/>
                </a:cubicBezTo>
                <a:cubicBezTo>
                  <a:pt x="12" y="26"/>
                  <a:pt x="12" y="27"/>
                  <a:pt x="12" y="28"/>
                </a:cubicBezTo>
                <a:cubicBezTo>
                  <a:pt x="12" y="29"/>
                  <a:pt x="11" y="34"/>
                  <a:pt x="11" y="35"/>
                </a:cubicBezTo>
                <a:cubicBezTo>
                  <a:pt x="11" y="37"/>
                  <a:pt x="9" y="41"/>
                  <a:pt x="9" y="42"/>
                </a:cubicBezTo>
                <a:cubicBezTo>
                  <a:pt x="9" y="43"/>
                  <a:pt x="10" y="43"/>
                  <a:pt x="10" y="44"/>
                </a:cubicBezTo>
                <a:cubicBezTo>
                  <a:pt x="10" y="44"/>
                  <a:pt x="10" y="44"/>
                  <a:pt x="10" y="44"/>
                </a:cubicBezTo>
                <a:cubicBezTo>
                  <a:pt x="10" y="45"/>
                  <a:pt x="10" y="45"/>
                  <a:pt x="10" y="46"/>
                </a:cubicBezTo>
                <a:cubicBezTo>
                  <a:pt x="9" y="47"/>
                  <a:pt x="8" y="51"/>
                  <a:pt x="8" y="52"/>
                </a:cubicBezTo>
                <a:cubicBezTo>
                  <a:pt x="7" y="53"/>
                  <a:pt x="6" y="54"/>
                  <a:pt x="6" y="54"/>
                </a:cubicBezTo>
                <a:cubicBezTo>
                  <a:pt x="5" y="54"/>
                  <a:pt x="5" y="52"/>
                  <a:pt x="5" y="51"/>
                </a:cubicBezTo>
                <a:cubicBezTo>
                  <a:pt x="4" y="51"/>
                  <a:pt x="1" y="49"/>
                  <a:pt x="1" y="49"/>
                </a:cubicBezTo>
                <a:cubicBezTo>
                  <a:pt x="1" y="49"/>
                  <a:pt x="1" y="49"/>
                  <a:pt x="1" y="49"/>
                </a:cubicBezTo>
                <a:cubicBezTo>
                  <a:pt x="0" y="49"/>
                  <a:pt x="0" y="49"/>
                  <a:pt x="0" y="49"/>
                </a:cubicBezTo>
                <a:close/>
              </a:path>
            </a:pathLst>
          </a:custGeom>
          <a:solidFill>
            <a:schemeClr val="accent1">
              <a:lumMod val="5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 name="Bolivia"/>
          <p:cNvSpPr>
            <a:spLocks/>
          </p:cNvSpPr>
          <p:nvPr/>
        </p:nvSpPr>
        <p:spPr bwMode="auto">
          <a:xfrm>
            <a:off x="4326184" y="4411875"/>
            <a:ext cx="331538" cy="398499"/>
          </a:xfrm>
          <a:custGeom>
            <a:avLst/>
            <a:gdLst>
              <a:gd name="T0" fmla="*/ 150 w 162"/>
              <a:gd name="T1" fmla="*/ 136 h 194"/>
              <a:gd name="T2" fmla="*/ 138 w 162"/>
              <a:gd name="T3" fmla="*/ 130 h 194"/>
              <a:gd name="T4" fmla="*/ 128 w 162"/>
              <a:gd name="T5" fmla="*/ 134 h 194"/>
              <a:gd name="T6" fmla="*/ 109 w 162"/>
              <a:gd name="T7" fmla="*/ 140 h 194"/>
              <a:gd name="T8" fmla="*/ 102 w 162"/>
              <a:gd name="T9" fmla="*/ 154 h 194"/>
              <a:gd name="T10" fmla="*/ 101 w 162"/>
              <a:gd name="T11" fmla="*/ 165 h 194"/>
              <a:gd name="T12" fmla="*/ 100 w 162"/>
              <a:gd name="T13" fmla="*/ 174 h 194"/>
              <a:gd name="T14" fmla="*/ 100 w 162"/>
              <a:gd name="T15" fmla="*/ 176 h 194"/>
              <a:gd name="T16" fmla="*/ 96 w 162"/>
              <a:gd name="T17" fmla="*/ 184 h 194"/>
              <a:gd name="T18" fmla="*/ 91 w 162"/>
              <a:gd name="T19" fmla="*/ 179 h 194"/>
              <a:gd name="T20" fmla="*/ 90 w 162"/>
              <a:gd name="T21" fmla="*/ 179 h 194"/>
              <a:gd name="T22" fmla="*/ 83 w 162"/>
              <a:gd name="T23" fmla="*/ 180 h 194"/>
              <a:gd name="T24" fmla="*/ 78 w 162"/>
              <a:gd name="T25" fmla="*/ 183 h 194"/>
              <a:gd name="T26" fmla="*/ 76 w 162"/>
              <a:gd name="T27" fmla="*/ 181 h 194"/>
              <a:gd name="T28" fmla="*/ 67 w 162"/>
              <a:gd name="T29" fmla="*/ 183 h 194"/>
              <a:gd name="T30" fmla="*/ 57 w 162"/>
              <a:gd name="T31" fmla="*/ 182 h 194"/>
              <a:gd name="T32" fmla="*/ 51 w 162"/>
              <a:gd name="T33" fmla="*/ 178 h 194"/>
              <a:gd name="T34" fmla="*/ 46 w 162"/>
              <a:gd name="T35" fmla="*/ 184 h 194"/>
              <a:gd name="T36" fmla="*/ 39 w 162"/>
              <a:gd name="T37" fmla="*/ 194 h 194"/>
              <a:gd name="T38" fmla="*/ 33 w 162"/>
              <a:gd name="T39" fmla="*/ 194 h 194"/>
              <a:gd name="T40" fmla="*/ 31 w 162"/>
              <a:gd name="T41" fmla="*/ 185 h 194"/>
              <a:gd name="T42" fmla="*/ 28 w 162"/>
              <a:gd name="T43" fmla="*/ 174 h 194"/>
              <a:gd name="T44" fmla="*/ 25 w 162"/>
              <a:gd name="T45" fmla="*/ 167 h 194"/>
              <a:gd name="T46" fmla="*/ 21 w 162"/>
              <a:gd name="T47" fmla="*/ 160 h 194"/>
              <a:gd name="T48" fmla="*/ 18 w 162"/>
              <a:gd name="T49" fmla="*/ 151 h 194"/>
              <a:gd name="T50" fmla="*/ 19 w 162"/>
              <a:gd name="T51" fmla="*/ 142 h 194"/>
              <a:gd name="T52" fmla="*/ 17 w 162"/>
              <a:gd name="T53" fmla="*/ 133 h 194"/>
              <a:gd name="T54" fmla="*/ 11 w 162"/>
              <a:gd name="T55" fmla="*/ 122 h 194"/>
              <a:gd name="T56" fmla="*/ 6 w 162"/>
              <a:gd name="T57" fmla="*/ 115 h 194"/>
              <a:gd name="T58" fmla="*/ 1 w 162"/>
              <a:gd name="T59" fmla="*/ 103 h 194"/>
              <a:gd name="T60" fmla="*/ 13 w 162"/>
              <a:gd name="T61" fmla="*/ 89 h 194"/>
              <a:gd name="T62" fmla="*/ 13 w 162"/>
              <a:gd name="T63" fmla="*/ 81 h 194"/>
              <a:gd name="T64" fmla="*/ 4 w 162"/>
              <a:gd name="T65" fmla="*/ 74 h 194"/>
              <a:gd name="T66" fmla="*/ 6 w 162"/>
              <a:gd name="T67" fmla="*/ 63 h 194"/>
              <a:gd name="T68" fmla="*/ 9 w 162"/>
              <a:gd name="T69" fmla="*/ 55 h 194"/>
              <a:gd name="T70" fmla="*/ 10 w 162"/>
              <a:gd name="T71" fmla="*/ 45 h 194"/>
              <a:gd name="T72" fmla="*/ 13 w 162"/>
              <a:gd name="T73" fmla="*/ 36 h 194"/>
              <a:gd name="T74" fmla="*/ 19 w 162"/>
              <a:gd name="T75" fmla="*/ 26 h 194"/>
              <a:gd name="T76" fmla="*/ 22 w 162"/>
              <a:gd name="T77" fmla="*/ 22 h 194"/>
              <a:gd name="T78" fmla="*/ 28 w 162"/>
              <a:gd name="T79" fmla="*/ 16 h 194"/>
              <a:gd name="T80" fmla="*/ 44 w 162"/>
              <a:gd name="T81" fmla="*/ 8 h 194"/>
              <a:gd name="T82" fmla="*/ 55 w 162"/>
              <a:gd name="T83" fmla="*/ 8 h 194"/>
              <a:gd name="T84" fmla="*/ 59 w 162"/>
              <a:gd name="T85" fmla="*/ 19 h 194"/>
              <a:gd name="T86" fmla="*/ 68 w 162"/>
              <a:gd name="T87" fmla="*/ 28 h 194"/>
              <a:gd name="T88" fmla="*/ 79 w 162"/>
              <a:gd name="T89" fmla="*/ 31 h 194"/>
              <a:gd name="T90" fmla="*/ 87 w 162"/>
              <a:gd name="T91" fmla="*/ 34 h 194"/>
              <a:gd name="T92" fmla="*/ 92 w 162"/>
              <a:gd name="T93" fmla="*/ 39 h 194"/>
              <a:gd name="T94" fmla="*/ 96 w 162"/>
              <a:gd name="T95" fmla="*/ 40 h 194"/>
              <a:gd name="T96" fmla="*/ 100 w 162"/>
              <a:gd name="T97" fmla="*/ 43 h 194"/>
              <a:gd name="T98" fmla="*/ 110 w 162"/>
              <a:gd name="T99" fmla="*/ 46 h 194"/>
              <a:gd name="T100" fmla="*/ 118 w 162"/>
              <a:gd name="T101" fmla="*/ 49 h 194"/>
              <a:gd name="T102" fmla="*/ 121 w 162"/>
              <a:gd name="T103" fmla="*/ 58 h 194"/>
              <a:gd name="T104" fmla="*/ 123 w 162"/>
              <a:gd name="T105" fmla="*/ 68 h 194"/>
              <a:gd name="T106" fmla="*/ 121 w 162"/>
              <a:gd name="T107" fmla="*/ 79 h 194"/>
              <a:gd name="T108" fmla="*/ 125 w 162"/>
              <a:gd name="T109" fmla="*/ 90 h 194"/>
              <a:gd name="T110" fmla="*/ 143 w 162"/>
              <a:gd name="T111" fmla="*/ 89 h 194"/>
              <a:gd name="T112" fmla="*/ 151 w 162"/>
              <a:gd name="T113" fmla="*/ 93 h 194"/>
              <a:gd name="T114" fmla="*/ 149 w 162"/>
              <a:gd name="T115" fmla="*/ 102 h 194"/>
              <a:gd name="T116" fmla="*/ 158 w 162"/>
              <a:gd name="T117" fmla="*/ 107 h 194"/>
              <a:gd name="T118" fmla="*/ 161 w 162"/>
              <a:gd name="T119" fmla="*/ 113 h 194"/>
              <a:gd name="T120" fmla="*/ 160 w 162"/>
              <a:gd name="T121" fmla="*/ 123 h 194"/>
              <a:gd name="T122" fmla="*/ 153 w 162"/>
              <a:gd name="T123" fmla="*/ 13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94">
                <a:moveTo>
                  <a:pt x="153" y="138"/>
                </a:moveTo>
                <a:cubicBezTo>
                  <a:pt x="151" y="137"/>
                  <a:pt x="150" y="136"/>
                  <a:pt x="150" y="136"/>
                </a:cubicBezTo>
                <a:cubicBezTo>
                  <a:pt x="150" y="136"/>
                  <a:pt x="145" y="133"/>
                  <a:pt x="144" y="132"/>
                </a:cubicBezTo>
                <a:cubicBezTo>
                  <a:pt x="143" y="131"/>
                  <a:pt x="140" y="130"/>
                  <a:pt x="138" y="130"/>
                </a:cubicBezTo>
                <a:cubicBezTo>
                  <a:pt x="137" y="131"/>
                  <a:pt x="133" y="132"/>
                  <a:pt x="133" y="132"/>
                </a:cubicBezTo>
                <a:cubicBezTo>
                  <a:pt x="133" y="132"/>
                  <a:pt x="130" y="133"/>
                  <a:pt x="128" y="134"/>
                </a:cubicBezTo>
                <a:cubicBezTo>
                  <a:pt x="127" y="134"/>
                  <a:pt x="119" y="137"/>
                  <a:pt x="118" y="137"/>
                </a:cubicBezTo>
                <a:cubicBezTo>
                  <a:pt x="117" y="138"/>
                  <a:pt x="110" y="139"/>
                  <a:pt x="109" y="140"/>
                </a:cubicBezTo>
                <a:cubicBezTo>
                  <a:pt x="108" y="141"/>
                  <a:pt x="106" y="144"/>
                  <a:pt x="104" y="146"/>
                </a:cubicBezTo>
                <a:cubicBezTo>
                  <a:pt x="103" y="148"/>
                  <a:pt x="102" y="152"/>
                  <a:pt x="102" y="154"/>
                </a:cubicBezTo>
                <a:cubicBezTo>
                  <a:pt x="102" y="156"/>
                  <a:pt x="102" y="157"/>
                  <a:pt x="102" y="158"/>
                </a:cubicBezTo>
                <a:cubicBezTo>
                  <a:pt x="102" y="159"/>
                  <a:pt x="101" y="164"/>
                  <a:pt x="101" y="165"/>
                </a:cubicBezTo>
                <a:cubicBezTo>
                  <a:pt x="101" y="167"/>
                  <a:pt x="99" y="171"/>
                  <a:pt x="99" y="172"/>
                </a:cubicBezTo>
                <a:cubicBezTo>
                  <a:pt x="99" y="173"/>
                  <a:pt x="100" y="173"/>
                  <a:pt x="100" y="174"/>
                </a:cubicBezTo>
                <a:cubicBezTo>
                  <a:pt x="100" y="174"/>
                  <a:pt x="100" y="174"/>
                  <a:pt x="100" y="174"/>
                </a:cubicBezTo>
                <a:cubicBezTo>
                  <a:pt x="100" y="175"/>
                  <a:pt x="100" y="175"/>
                  <a:pt x="100" y="176"/>
                </a:cubicBezTo>
                <a:cubicBezTo>
                  <a:pt x="99" y="177"/>
                  <a:pt x="98" y="181"/>
                  <a:pt x="98" y="182"/>
                </a:cubicBezTo>
                <a:cubicBezTo>
                  <a:pt x="97" y="183"/>
                  <a:pt x="96" y="184"/>
                  <a:pt x="96" y="184"/>
                </a:cubicBezTo>
                <a:cubicBezTo>
                  <a:pt x="95" y="184"/>
                  <a:pt x="95" y="182"/>
                  <a:pt x="95" y="181"/>
                </a:cubicBezTo>
                <a:cubicBezTo>
                  <a:pt x="94" y="181"/>
                  <a:pt x="91" y="179"/>
                  <a:pt x="91" y="179"/>
                </a:cubicBezTo>
                <a:cubicBezTo>
                  <a:pt x="91" y="179"/>
                  <a:pt x="91" y="179"/>
                  <a:pt x="91" y="179"/>
                </a:cubicBezTo>
                <a:cubicBezTo>
                  <a:pt x="90" y="179"/>
                  <a:pt x="90" y="179"/>
                  <a:pt x="90" y="179"/>
                </a:cubicBezTo>
                <a:cubicBezTo>
                  <a:pt x="89" y="179"/>
                  <a:pt x="89" y="179"/>
                  <a:pt x="89" y="179"/>
                </a:cubicBezTo>
                <a:cubicBezTo>
                  <a:pt x="88" y="179"/>
                  <a:pt x="85" y="180"/>
                  <a:pt x="83" y="180"/>
                </a:cubicBezTo>
                <a:cubicBezTo>
                  <a:pt x="82" y="180"/>
                  <a:pt x="82" y="180"/>
                  <a:pt x="80" y="181"/>
                </a:cubicBezTo>
                <a:cubicBezTo>
                  <a:pt x="79" y="182"/>
                  <a:pt x="79" y="183"/>
                  <a:pt x="78" y="183"/>
                </a:cubicBezTo>
                <a:cubicBezTo>
                  <a:pt x="76" y="183"/>
                  <a:pt x="76" y="183"/>
                  <a:pt x="76" y="183"/>
                </a:cubicBezTo>
                <a:cubicBezTo>
                  <a:pt x="76" y="181"/>
                  <a:pt x="76" y="181"/>
                  <a:pt x="76" y="181"/>
                </a:cubicBezTo>
                <a:cubicBezTo>
                  <a:pt x="69" y="182"/>
                  <a:pt x="69" y="182"/>
                  <a:pt x="69" y="182"/>
                </a:cubicBezTo>
                <a:cubicBezTo>
                  <a:pt x="69" y="182"/>
                  <a:pt x="68" y="183"/>
                  <a:pt x="67" y="183"/>
                </a:cubicBezTo>
                <a:cubicBezTo>
                  <a:pt x="66" y="183"/>
                  <a:pt x="62" y="183"/>
                  <a:pt x="60" y="183"/>
                </a:cubicBezTo>
                <a:cubicBezTo>
                  <a:pt x="59" y="183"/>
                  <a:pt x="58" y="182"/>
                  <a:pt x="57" y="182"/>
                </a:cubicBezTo>
                <a:cubicBezTo>
                  <a:pt x="57" y="181"/>
                  <a:pt x="55" y="179"/>
                  <a:pt x="54" y="179"/>
                </a:cubicBezTo>
                <a:cubicBezTo>
                  <a:pt x="54" y="178"/>
                  <a:pt x="52" y="177"/>
                  <a:pt x="51" y="178"/>
                </a:cubicBezTo>
                <a:cubicBezTo>
                  <a:pt x="50" y="179"/>
                  <a:pt x="50" y="180"/>
                  <a:pt x="49" y="181"/>
                </a:cubicBezTo>
                <a:cubicBezTo>
                  <a:pt x="48" y="181"/>
                  <a:pt x="46" y="183"/>
                  <a:pt x="46" y="184"/>
                </a:cubicBezTo>
                <a:cubicBezTo>
                  <a:pt x="45" y="185"/>
                  <a:pt x="43" y="187"/>
                  <a:pt x="42" y="188"/>
                </a:cubicBezTo>
                <a:cubicBezTo>
                  <a:pt x="42" y="189"/>
                  <a:pt x="39" y="194"/>
                  <a:pt x="39" y="194"/>
                </a:cubicBezTo>
                <a:cubicBezTo>
                  <a:pt x="38" y="194"/>
                  <a:pt x="37" y="194"/>
                  <a:pt x="37" y="194"/>
                </a:cubicBezTo>
                <a:cubicBezTo>
                  <a:pt x="37" y="194"/>
                  <a:pt x="33" y="194"/>
                  <a:pt x="33" y="194"/>
                </a:cubicBezTo>
                <a:cubicBezTo>
                  <a:pt x="33" y="194"/>
                  <a:pt x="31" y="192"/>
                  <a:pt x="31" y="191"/>
                </a:cubicBezTo>
                <a:cubicBezTo>
                  <a:pt x="31" y="189"/>
                  <a:pt x="31" y="186"/>
                  <a:pt x="31" y="185"/>
                </a:cubicBezTo>
                <a:cubicBezTo>
                  <a:pt x="30" y="184"/>
                  <a:pt x="29" y="181"/>
                  <a:pt x="29" y="179"/>
                </a:cubicBezTo>
                <a:cubicBezTo>
                  <a:pt x="28" y="177"/>
                  <a:pt x="28" y="176"/>
                  <a:pt x="28" y="174"/>
                </a:cubicBezTo>
                <a:cubicBezTo>
                  <a:pt x="27" y="172"/>
                  <a:pt x="26" y="169"/>
                  <a:pt x="26" y="169"/>
                </a:cubicBezTo>
                <a:cubicBezTo>
                  <a:pt x="26" y="169"/>
                  <a:pt x="25" y="167"/>
                  <a:pt x="25" y="167"/>
                </a:cubicBezTo>
                <a:cubicBezTo>
                  <a:pt x="24" y="166"/>
                  <a:pt x="23" y="166"/>
                  <a:pt x="22" y="165"/>
                </a:cubicBezTo>
                <a:cubicBezTo>
                  <a:pt x="21" y="164"/>
                  <a:pt x="21" y="161"/>
                  <a:pt x="21" y="160"/>
                </a:cubicBezTo>
                <a:cubicBezTo>
                  <a:pt x="21" y="160"/>
                  <a:pt x="20" y="157"/>
                  <a:pt x="19" y="156"/>
                </a:cubicBezTo>
                <a:cubicBezTo>
                  <a:pt x="18" y="156"/>
                  <a:pt x="18" y="152"/>
                  <a:pt x="18" y="151"/>
                </a:cubicBezTo>
                <a:cubicBezTo>
                  <a:pt x="18" y="151"/>
                  <a:pt x="19" y="149"/>
                  <a:pt x="20" y="148"/>
                </a:cubicBezTo>
                <a:cubicBezTo>
                  <a:pt x="21" y="147"/>
                  <a:pt x="19" y="142"/>
                  <a:pt x="19" y="142"/>
                </a:cubicBezTo>
                <a:cubicBezTo>
                  <a:pt x="19" y="141"/>
                  <a:pt x="19" y="136"/>
                  <a:pt x="19" y="136"/>
                </a:cubicBezTo>
                <a:cubicBezTo>
                  <a:pt x="19" y="134"/>
                  <a:pt x="18" y="133"/>
                  <a:pt x="17" y="133"/>
                </a:cubicBezTo>
                <a:cubicBezTo>
                  <a:pt x="16" y="132"/>
                  <a:pt x="14" y="130"/>
                  <a:pt x="13" y="129"/>
                </a:cubicBezTo>
                <a:cubicBezTo>
                  <a:pt x="13" y="128"/>
                  <a:pt x="11" y="123"/>
                  <a:pt x="11" y="122"/>
                </a:cubicBezTo>
                <a:cubicBezTo>
                  <a:pt x="11" y="121"/>
                  <a:pt x="10" y="120"/>
                  <a:pt x="10" y="119"/>
                </a:cubicBezTo>
                <a:cubicBezTo>
                  <a:pt x="9" y="118"/>
                  <a:pt x="7" y="115"/>
                  <a:pt x="6" y="115"/>
                </a:cubicBezTo>
                <a:cubicBezTo>
                  <a:pt x="6" y="114"/>
                  <a:pt x="3" y="112"/>
                  <a:pt x="3" y="110"/>
                </a:cubicBezTo>
                <a:cubicBezTo>
                  <a:pt x="3" y="109"/>
                  <a:pt x="2" y="104"/>
                  <a:pt x="1" y="103"/>
                </a:cubicBezTo>
                <a:cubicBezTo>
                  <a:pt x="1" y="102"/>
                  <a:pt x="0" y="102"/>
                  <a:pt x="0" y="102"/>
                </a:cubicBezTo>
                <a:cubicBezTo>
                  <a:pt x="0" y="102"/>
                  <a:pt x="13" y="90"/>
                  <a:pt x="13" y="89"/>
                </a:cubicBezTo>
                <a:cubicBezTo>
                  <a:pt x="14" y="87"/>
                  <a:pt x="14" y="85"/>
                  <a:pt x="14" y="84"/>
                </a:cubicBezTo>
                <a:cubicBezTo>
                  <a:pt x="14" y="84"/>
                  <a:pt x="14" y="82"/>
                  <a:pt x="13" y="81"/>
                </a:cubicBezTo>
                <a:cubicBezTo>
                  <a:pt x="12" y="80"/>
                  <a:pt x="6" y="76"/>
                  <a:pt x="6" y="76"/>
                </a:cubicBezTo>
                <a:cubicBezTo>
                  <a:pt x="6" y="76"/>
                  <a:pt x="4" y="75"/>
                  <a:pt x="4" y="74"/>
                </a:cubicBezTo>
                <a:cubicBezTo>
                  <a:pt x="4" y="73"/>
                  <a:pt x="3" y="69"/>
                  <a:pt x="2" y="68"/>
                </a:cubicBezTo>
                <a:cubicBezTo>
                  <a:pt x="2" y="66"/>
                  <a:pt x="5" y="64"/>
                  <a:pt x="6" y="63"/>
                </a:cubicBezTo>
                <a:cubicBezTo>
                  <a:pt x="7" y="62"/>
                  <a:pt x="8" y="60"/>
                  <a:pt x="9" y="59"/>
                </a:cubicBezTo>
                <a:cubicBezTo>
                  <a:pt x="9" y="58"/>
                  <a:pt x="9" y="56"/>
                  <a:pt x="9" y="55"/>
                </a:cubicBezTo>
                <a:cubicBezTo>
                  <a:pt x="9" y="54"/>
                  <a:pt x="8" y="49"/>
                  <a:pt x="8" y="48"/>
                </a:cubicBezTo>
                <a:cubicBezTo>
                  <a:pt x="8" y="47"/>
                  <a:pt x="10" y="46"/>
                  <a:pt x="10" y="45"/>
                </a:cubicBezTo>
                <a:cubicBezTo>
                  <a:pt x="10" y="44"/>
                  <a:pt x="10" y="39"/>
                  <a:pt x="11" y="39"/>
                </a:cubicBezTo>
                <a:cubicBezTo>
                  <a:pt x="11" y="38"/>
                  <a:pt x="12" y="37"/>
                  <a:pt x="13" y="36"/>
                </a:cubicBezTo>
                <a:cubicBezTo>
                  <a:pt x="13" y="35"/>
                  <a:pt x="16" y="32"/>
                  <a:pt x="16" y="30"/>
                </a:cubicBezTo>
                <a:cubicBezTo>
                  <a:pt x="17" y="28"/>
                  <a:pt x="18" y="27"/>
                  <a:pt x="19" y="26"/>
                </a:cubicBezTo>
                <a:cubicBezTo>
                  <a:pt x="20" y="25"/>
                  <a:pt x="22" y="23"/>
                  <a:pt x="22" y="23"/>
                </a:cubicBezTo>
                <a:cubicBezTo>
                  <a:pt x="22" y="22"/>
                  <a:pt x="22" y="22"/>
                  <a:pt x="22" y="22"/>
                </a:cubicBezTo>
                <a:cubicBezTo>
                  <a:pt x="25" y="20"/>
                  <a:pt x="25" y="20"/>
                  <a:pt x="25" y="20"/>
                </a:cubicBezTo>
                <a:cubicBezTo>
                  <a:pt x="28" y="16"/>
                  <a:pt x="28" y="16"/>
                  <a:pt x="28" y="16"/>
                </a:cubicBezTo>
                <a:cubicBezTo>
                  <a:pt x="28" y="16"/>
                  <a:pt x="32" y="17"/>
                  <a:pt x="33" y="16"/>
                </a:cubicBezTo>
                <a:cubicBezTo>
                  <a:pt x="34" y="15"/>
                  <a:pt x="44" y="8"/>
                  <a:pt x="44" y="8"/>
                </a:cubicBezTo>
                <a:cubicBezTo>
                  <a:pt x="53" y="0"/>
                  <a:pt x="53" y="0"/>
                  <a:pt x="53" y="0"/>
                </a:cubicBezTo>
                <a:cubicBezTo>
                  <a:pt x="53" y="0"/>
                  <a:pt x="55" y="6"/>
                  <a:pt x="55" y="8"/>
                </a:cubicBezTo>
                <a:cubicBezTo>
                  <a:pt x="54" y="11"/>
                  <a:pt x="55" y="14"/>
                  <a:pt x="57" y="15"/>
                </a:cubicBezTo>
                <a:cubicBezTo>
                  <a:pt x="58" y="17"/>
                  <a:pt x="58" y="18"/>
                  <a:pt x="59" y="19"/>
                </a:cubicBezTo>
                <a:cubicBezTo>
                  <a:pt x="61" y="19"/>
                  <a:pt x="64" y="21"/>
                  <a:pt x="64" y="22"/>
                </a:cubicBezTo>
                <a:cubicBezTo>
                  <a:pt x="65" y="24"/>
                  <a:pt x="68" y="28"/>
                  <a:pt x="68" y="28"/>
                </a:cubicBezTo>
                <a:cubicBezTo>
                  <a:pt x="68" y="28"/>
                  <a:pt x="72" y="31"/>
                  <a:pt x="74" y="31"/>
                </a:cubicBezTo>
                <a:cubicBezTo>
                  <a:pt x="75" y="31"/>
                  <a:pt x="78" y="31"/>
                  <a:pt x="79" y="31"/>
                </a:cubicBezTo>
                <a:cubicBezTo>
                  <a:pt x="80" y="32"/>
                  <a:pt x="81" y="33"/>
                  <a:pt x="83" y="34"/>
                </a:cubicBezTo>
                <a:cubicBezTo>
                  <a:pt x="85" y="34"/>
                  <a:pt x="85" y="32"/>
                  <a:pt x="87" y="34"/>
                </a:cubicBezTo>
                <a:cubicBezTo>
                  <a:pt x="89" y="35"/>
                  <a:pt x="91" y="36"/>
                  <a:pt x="91" y="37"/>
                </a:cubicBezTo>
                <a:cubicBezTo>
                  <a:pt x="91" y="37"/>
                  <a:pt x="91" y="39"/>
                  <a:pt x="92" y="39"/>
                </a:cubicBezTo>
                <a:cubicBezTo>
                  <a:pt x="93" y="39"/>
                  <a:pt x="93" y="39"/>
                  <a:pt x="94" y="39"/>
                </a:cubicBezTo>
                <a:cubicBezTo>
                  <a:pt x="95" y="39"/>
                  <a:pt x="95" y="40"/>
                  <a:pt x="96" y="40"/>
                </a:cubicBezTo>
                <a:cubicBezTo>
                  <a:pt x="97" y="40"/>
                  <a:pt x="97" y="39"/>
                  <a:pt x="97" y="40"/>
                </a:cubicBezTo>
                <a:cubicBezTo>
                  <a:pt x="98" y="41"/>
                  <a:pt x="99" y="43"/>
                  <a:pt x="100" y="43"/>
                </a:cubicBezTo>
                <a:cubicBezTo>
                  <a:pt x="102" y="44"/>
                  <a:pt x="104" y="46"/>
                  <a:pt x="106" y="46"/>
                </a:cubicBezTo>
                <a:cubicBezTo>
                  <a:pt x="108" y="46"/>
                  <a:pt x="110" y="46"/>
                  <a:pt x="110" y="46"/>
                </a:cubicBezTo>
                <a:cubicBezTo>
                  <a:pt x="112" y="46"/>
                  <a:pt x="114" y="48"/>
                  <a:pt x="114" y="48"/>
                </a:cubicBezTo>
                <a:cubicBezTo>
                  <a:pt x="114" y="48"/>
                  <a:pt x="118" y="48"/>
                  <a:pt x="118" y="49"/>
                </a:cubicBezTo>
                <a:cubicBezTo>
                  <a:pt x="119" y="50"/>
                  <a:pt x="121" y="52"/>
                  <a:pt x="121" y="53"/>
                </a:cubicBezTo>
                <a:cubicBezTo>
                  <a:pt x="121" y="54"/>
                  <a:pt x="121" y="57"/>
                  <a:pt x="121" y="58"/>
                </a:cubicBezTo>
                <a:cubicBezTo>
                  <a:pt x="122" y="59"/>
                  <a:pt x="123" y="60"/>
                  <a:pt x="123" y="61"/>
                </a:cubicBezTo>
                <a:cubicBezTo>
                  <a:pt x="124" y="63"/>
                  <a:pt x="123" y="68"/>
                  <a:pt x="123" y="68"/>
                </a:cubicBezTo>
                <a:cubicBezTo>
                  <a:pt x="123" y="68"/>
                  <a:pt x="122" y="71"/>
                  <a:pt x="121" y="73"/>
                </a:cubicBezTo>
                <a:cubicBezTo>
                  <a:pt x="121" y="74"/>
                  <a:pt x="121" y="79"/>
                  <a:pt x="121" y="79"/>
                </a:cubicBezTo>
                <a:cubicBezTo>
                  <a:pt x="121" y="79"/>
                  <a:pt x="122" y="85"/>
                  <a:pt x="123" y="86"/>
                </a:cubicBezTo>
                <a:cubicBezTo>
                  <a:pt x="123" y="88"/>
                  <a:pt x="124" y="90"/>
                  <a:pt x="125" y="90"/>
                </a:cubicBezTo>
                <a:cubicBezTo>
                  <a:pt x="126" y="90"/>
                  <a:pt x="134" y="89"/>
                  <a:pt x="134" y="89"/>
                </a:cubicBezTo>
                <a:cubicBezTo>
                  <a:pt x="134" y="89"/>
                  <a:pt x="141" y="89"/>
                  <a:pt x="143" y="89"/>
                </a:cubicBezTo>
                <a:cubicBezTo>
                  <a:pt x="144" y="88"/>
                  <a:pt x="148" y="88"/>
                  <a:pt x="150" y="89"/>
                </a:cubicBezTo>
                <a:cubicBezTo>
                  <a:pt x="152" y="89"/>
                  <a:pt x="151" y="92"/>
                  <a:pt x="151" y="93"/>
                </a:cubicBezTo>
                <a:cubicBezTo>
                  <a:pt x="150" y="94"/>
                  <a:pt x="148" y="98"/>
                  <a:pt x="148" y="99"/>
                </a:cubicBezTo>
                <a:cubicBezTo>
                  <a:pt x="148" y="100"/>
                  <a:pt x="149" y="102"/>
                  <a:pt x="149" y="102"/>
                </a:cubicBezTo>
                <a:cubicBezTo>
                  <a:pt x="149" y="102"/>
                  <a:pt x="152" y="105"/>
                  <a:pt x="154" y="106"/>
                </a:cubicBezTo>
                <a:cubicBezTo>
                  <a:pt x="156" y="106"/>
                  <a:pt x="158" y="107"/>
                  <a:pt x="158" y="107"/>
                </a:cubicBezTo>
                <a:cubicBezTo>
                  <a:pt x="158" y="107"/>
                  <a:pt x="159" y="108"/>
                  <a:pt x="160" y="109"/>
                </a:cubicBezTo>
                <a:cubicBezTo>
                  <a:pt x="160" y="110"/>
                  <a:pt x="160" y="112"/>
                  <a:pt x="161" y="113"/>
                </a:cubicBezTo>
                <a:cubicBezTo>
                  <a:pt x="161" y="115"/>
                  <a:pt x="162" y="117"/>
                  <a:pt x="162" y="118"/>
                </a:cubicBezTo>
                <a:cubicBezTo>
                  <a:pt x="162" y="119"/>
                  <a:pt x="161" y="122"/>
                  <a:pt x="160" y="123"/>
                </a:cubicBezTo>
                <a:cubicBezTo>
                  <a:pt x="160" y="125"/>
                  <a:pt x="156" y="132"/>
                  <a:pt x="156" y="132"/>
                </a:cubicBezTo>
                <a:cubicBezTo>
                  <a:pt x="153" y="138"/>
                  <a:pt x="153" y="138"/>
                  <a:pt x="153" y="13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 name="Peru"/>
          <p:cNvSpPr>
            <a:spLocks/>
          </p:cNvSpPr>
          <p:nvPr/>
        </p:nvSpPr>
        <p:spPr bwMode="auto">
          <a:xfrm>
            <a:off x="3996279" y="4080337"/>
            <a:ext cx="374001" cy="571616"/>
          </a:xfrm>
          <a:custGeom>
            <a:avLst/>
            <a:gdLst>
              <a:gd name="T0" fmla="*/ 150 w 183"/>
              <a:gd name="T1" fmla="*/ 41 h 279"/>
              <a:gd name="T2" fmla="*/ 139 w 183"/>
              <a:gd name="T3" fmla="*/ 29 h 279"/>
              <a:gd name="T4" fmla="*/ 121 w 183"/>
              <a:gd name="T5" fmla="*/ 29 h 279"/>
              <a:gd name="T6" fmla="*/ 111 w 183"/>
              <a:gd name="T7" fmla="*/ 22 h 279"/>
              <a:gd name="T8" fmla="*/ 94 w 183"/>
              <a:gd name="T9" fmla="*/ 9 h 279"/>
              <a:gd name="T10" fmla="*/ 82 w 183"/>
              <a:gd name="T11" fmla="*/ 8 h 279"/>
              <a:gd name="T12" fmla="*/ 62 w 183"/>
              <a:gd name="T13" fmla="*/ 37 h 279"/>
              <a:gd name="T14" fmla="*/ 44 w 183"/>
              <a:gd name="T15" fmla="*/ 48 h 279"/>
              <a:gd name="T16" fmla="*/ 38 w 183"/>
              <a:gd name="T17" fmla="*/ 67 h 279"/>
              <a:gd name="T18" fmla="*/ 34 w 183"/>
              <a:gd name="T19" fmla="*/ 72 h 279"/>
              <a:gd name="T20" fmla="*/ 25 w 183"/>
              <a:gd name="T21" fmla="*/ 63 h 279"/>
              <a:gd name="T22" fmla="*/ 18 w 183"/>
              <a:gd name="T23" fmla="*/ 61 h 279"/>
              <a:gd name="T24" fmla="*/ 23 w 183"/>
              <a:gd name="T25" fmla="*/ 52 h 279"/>
              <a:gd name="T26" fmla="*/ 10 w 183"/>
              <a:gd name="T27" fmla="*/ 50 h 279"/>
              <a:gd name="T28" fmla="*/ 2 w 183"/>
              <a:gd name="T29" fmla="*/ 63 h 279"/>
              <a:gd name="T30" fmla="*/ 3 w 183"/>
              <a:gd name="T31" fmla="*/ 76 h 279"/>
              <a:gd name="T32" fmla="*/ 5 w 183"/>
              <a:gd name="T33" fmla="*/ 86 h 279"/>
              <a:gd name="T34" fmla="*/ 11 w 183"/>
              <a:gd name="T35" fmla="*/ 95 h 279"/>
              <a:gd name="T36" fmla="*/ 25 w 183"/>
              <a:gd name="T37" fmla="*/ 103 h 279"/>
              <a:gd name="T38" fmla="*/ 29 w 183"/>
              <a:gd name="T39" fmla="*/ 115 h 279"/>
              <a:gd name="T40" fmla="*/ 34 w 183"/>
              <a:gd name="T41" fmla="*/ 123 h 279"/>
              <a:gd name="T42" fmla="*/ 36 w 183"/>
              <a:gd name="T43" fmla="*/ 133 h 279"/>
              <a:gd name="T44" fmla="*/ 42 w 183"/>
              <a:gd name="T45" fmla="*/ 148 h 279"/>
              <a:gd name="T46" fmla="*/ 49 w 183"/>
              <a:gd name="T47" fmla="*/ 164 h 279"/>
              <a:gd name="T48" fmla="*/ 57 w 183"/>
              <a:gd name="T49" fmla="*/ 181 h 279"/>
              <a:gd name="T50" fmla="*/ 66 w 183"/>
              <a:gd name="T51" fmla="*/ 194 h 279"/>
              <a:gd name="T52" fmla="*/ 71 w 183"/>
              <a:gd name="T53" fmla="*/ 207 h 279"/>
              <a:gd name="T54" fmla="*/ 71 w 183"/>
              <a:gd name="T55" fmla="*/ 218 h 279"/>
              <a:gd name="T56" fmla="*/ 80 w 183"/>
              <a:gd name="T57" fmla="*/ 228 h 279"/>
              <a:gd name="T58" fmla="*/ 96 w 183"/>
              <a:gd name="T59" fmla="*/ 240 h 279"/>
              <a:gd name="T60" fmla="*/ 104 w 183"/>
              <a:gd name="T61" fmla="*/ 249 h 279"/>
              <a:gd name="T62" fmla="*/ 114 w 183"/>
              <a:gd name="T63" fmla="*/ 256 h 279"/>
              <a:gd name="T64" fmla="*/ 131 w 183"/>
              <a:gd name="T65" fmla="*/ 265 h 279"/>
              <a:gd name="T66" fmla="*/ 145 w 183"/>
              <a:gd name="T67" fmla="*/ 278 h 279"/>
              <a:gd name="T68" fmla="*/ 175 w 183"/>
              <a:gd name="T69" fmla="*/ 246 h 279"/>
              <a:gd name="T70" fmla="*/ 163 w 183"/>
              <a:gd name="T71" fmla="*/ 230 h 279"/>
              <a:gd name="T72" fmla="*/ 169 w 183"/>
              <a:gd name="T73" fmla="*/ 210 h 279"/>
              <a:gd name="T74" fmla="*/ 177 w 183"/>
              <a:gd name="T75" fmla="*/ 192 h 279"/>
              <a:gd name="T76" fmla="*/ 180 w 183"/>
              <a:gd name="T77" fmla="*/ 184 h 279"/>
              <a:gd name="T78" fmla="*/ 163 w 183"/>
              <a:gd name="T79" fmla="*/ 171 h 279"/>
              <a:gd name="T80" fmla="*/ 147 w 183"/>
              <a:gd name="T81" fmla="*/ 160 h 279"/>
              <a:gd name="T82" fmla="*/ 138 w 183"/>
              <a:gd name="T83" fmla="*/ 149 h 279"/>
              <a:gd name="T84" fmla="*/ 122 w 183"/>
              <a:gd name="T85" fmla="*/ 144 h 279"/>
              <a:gd name="T86" fmla="*/ 114 w 183"/>
              <a:gd name="T87" fmla="*/ 134 h 279"/>
              <a:gd name="T88" fmla="*/ 104 w 183"/>
              <a:gd name="T89" fmla="*/ 112 h 279"/>
              <a:gd name="T90" fmla="*/ 114 w 183"/>
              <a:gd name="T91" fmla="*/ 90 h 279"/>
              <a:gd name="T92" fmla="*/ 121 w 183"/>
              <a:gd name="T93" fmla="*/ 71 h 279"/>
              <a:gd name="T94" fmla="*/ 142 w 183"/>
              <a:gd name="T95" fmla="*/ 6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3" h="279">
                <a:moveTo>
                  <a:pt x="151" y="61"/>
                </a:moveTo>
                <a:cubicBezTo>
                  <a:pt x="151" y="61"/>
                  <a:pt x="147" y="53"/>
                  <a:pt x="147" y="51"/>
                </a:cubicBezTo>
                <a:cubicBezTo>
                  <a:pt x="147" y="50"/>
                  <a:pt x="148" y="47"/>
                  <a:pt x="148" y="46"/>
                </a:cubicBezTo>
                <a:cubicBezTo>
                  <a:pt x="148" y="45"/>
                  <a:pt x="150" y="42"/>
                  <a:pt x="150" y="41"/>
                </a:cubicBezTo>
                <a:cubicBezTo>
                  <a:pt x="150" y="40"/>
                  <a:pt x="149" y="37"/>
                  <a:pt x="149" y="36"/>
                </a:cubicBezTo>
                <a:cubicBezTo>
                  <a:pt x="148" y="35"/>
                  <a:pt x="148" y="32"/>
                  <a:pt x="147" y="31"/>
                </a:cubicBezTo>
                <a:cubicBezTo>
                  <a:pt x="146" y="31"/>
                  <a:pt x="144" y="31"/>
                  <a:pt x="143" y="31"/>
                </a:cubicBezTo>
                <a:cubicBezTo>
                  <a:pt x="143" y="30"/>
                  <a:pt x="140" y="29"/>
                  <a:pt x="139" y="29"/>
                </a:cubicBezTo>
                <a:cubicBezTo>
                  <a:pt x="138" y="29"/>
                  <a:pt x="136" y="30"/>
                  <a:pt x="135" y="31"/>
                </a:cubicBezTo>
                <a:cubicBezTo>
                  <a:pt x="133" y="31"/>
                  <a:pt x="133" y="31"/>
                  <a:pt x="131" y="30"/>
                </a:cubicBezTo>
                <a:cubicBezTo>
                  <a:pt x="130" y="30"/>
                  <a:pt x="126" y="29"/>
                  <a:pt x="125" y="28"/>
                </a:cubicBezTo>
                <a:cubicBezTo>
                  <a:pt x="124" y="28"/>
                  <a:pt x="122" y="29"/>
                  <a:pt x="121" y="29"/>
                </a:cubicBezTo>
                <a:cubicBezTo>
                  <a:pt x="120" y="29"/>
                  <a:pt x="117" y="31"/>
                  <a:pt x="116" y="32"/>
                </a:cubicBezTo>
                <a:cubicBezTo>
                  <a:pt x="115" y="32"/>
                  <a:pt x="112" y="30"/>
                  <a:pt x="111" y="29"/>
                </a:cubicBezTo>
                <a:cubicBezTo>
                  <a:pt x="110" y="27"/>
                  <a:pt x="111" y="26"/>
                  <a:pt x="112" y="25"/>
                </a:cubicBezTo>
                <a:cubicBezTo>
                  <a:pt x="112" y="24"/>
                  <a:pt x="111" y="23"/>
                  <a:pt x="111" y="22"/>
                </a:cubicBezTo>
                <a:cubicBezTo>
                  <a:pt x="111" y="21"/>
                  <a:pt x="109" y="20"/>
                  <a:pt x="108" y="19"/>
                </a:cubicBezTo>
                <a:cubicBezTo>
                  <a:pt x="107" y="18"/>
                  <a:pt x="104" y="16"/>
                  <a:pt x="103" y="15"/>
                </a:cubicBezTo>
                <a:cubicBezTo>
                  <a:pt x="102" y="14"/>
                  <a:pt x="99" y="12"/>
                  <a:pt x="97" y="12"/>
                </a:cubicBezTo>
                <a:cubicBezTo>
                  <a:pt x="96" y="11"/>
                  <a:pt x="95" y="10"/>
                  <a:pt x="94" y="9"/>
                </a:cubicBezTo>
                <a:cubicBezTo>
                  <a:pt x="93" y="8"/>
                  <a:pt x="93" y="6"/>
                  <a:pt x="92" y="5"/>
                </a:cubicBezTo>
                <a:cubicBezTo>
                  <a:pt x="91" y="4"/>
                  <a:pt x="89" y="3"/>
                  <a:pt x="88" y="2"/>
                </a:cubicBezTo>
                <a:cubicBezTo>
                  <a:pt x="87" y="1"/>
                  <a:pt x="84" y="0"/>
                  <a:pt x="84" y="0"/>
                </a:cubicBezTo>
                <a:cubicBezTo>
                  <a:pt x="84" y="0"/>
                  <a:pt x="82" y="6"/>
                  <a:pt x="82" y="8"/>
                </a:cubicBezTo>
                <a:cubicBezTo>
                  <a:pt x="82" y="9"/>
                  <a:pt x="80" y="16"/>
                  <a:pt x="80" y="17"/>
                </a:cubicBezTo>
                <a:cubicBezTo>
                  <a:pt x="80" y="19"/>
                  <a:pt x="77" y="26"/>
                  <a:pt x="76" y="27"/>
                </a:cubicBezTo>
                <a:cubicBezTo>
                  <a:pt x="75" y="27"/>
                  <a:pt x="69" y="35"/>
                  <a:pt x="68" y="36"/>
                </a:cubicBezTo>
                <a:cubicBezTo>
                  <a:pt x="67" y="36"/>
                  <a:pt x="63" y="37"/>
                  <a:pt x="62" y="37"/>
                </a:cubicBezTo>
                <a:cubicBezTo>
                  <a:pt x="61" y="37"/>
                  <a:pt x="59" y="37"/>
                  <a:pt x="58" y="38"/>
                </a:cubicBezTo>
                <a:cubicBezTo>
                  <a:pt x="57" y="38"/>
                  <a:pt x="54" y="40"/>
                  <a:pt x="53" y="41"/>
                </a:cubicBezTo>
                <a:cubicBezTo>
                  <a:pt x="52" y="41"/>
                  <a:pt x="50" y="43"/>
                  <a:pt x="50" y="43"/>
                </a:cubicBezTo>
                <a:cubicBezTo>
                  <a:pt x="50" y="43"/>
                  <a:pt x="45" y="46"/>
                  <a:pt x="44" y="48"/>
                </a:cubicBezTo>
                <a:cubicBezTo>
                  <a:pt x="43" y="49"/>
                  <a:pt x="42" y="55"/>
                  <a:pt x="42" y="55"/>
                </a:cubicBezTo>
                <a:cubicBezTo>
                  <a:pt x="42" y="55"/>
                  <a:pt x="42" y="61"/>
                  <a:pt x="42" y="62"/>
                </a:cubicBezTo>
                <a:cubicBezTo>
                  <a:pt x="42" y="63"/>
                  <a:pt x="42" y="66"/>
                  <a:pt x="41" y="66"/>
                </a:cubicBezTo>
                <a:cubicBezTo>
                  <a:pt x="40" y="66"/>
                  <a:pt x="39" y="67"/>
                  <a:pt x="38" y="67"/>
                </a:cubicBezTo>
                <a:cubicBezTo>
                  <a:pt x="38" y="68"/>
                  <a:pt x="38" y="69"/>
                  <a:pt x="38" y="69"/>
                </a:cubicBezTo>
                <a:cubicBezTo>
                  <a:pt x="38" y="69"/>
                  <a:pt x="37" y="70"/>
                  <a:pt x="37" y="71"/>
                </a:cubicBezTo>
                <a:cubicBezTo>
                  <a:pt x="37" y="72"/>
                  <a:pt x="36" y="72"/>
                  <a:pt x="36" y="73"/>
                </a:cubicBezTo>
                <a:cubicBezTo>
                  <a:pt x="36" y="73"/>
                  <a:pt x="35" y="74"/>
                  <a:pt x="34" y="72"/>
                </a:cubicBezTo>
                <a:cubicBezTo>
                  <a:pt x="34" y="72"/>
                  <a:pt x="33" y="69"/>
                  <a:pt x="33" y="67"/>
                </a:cubicBezTo>
                <a:cubicBezTo>
                  <a:pt x="32" y="66"/>
                  <a:pt x="32" y="65"/>
                  <a:pt x="31" y="64"/>
                </a:cubicBezTo>
                <a:cubicBezTo>
                  <a:pt x="30" y="63"/>
                  <a:pt x="30" y="63"/>
                  <a:pt x="29" y="63"/>
                </a:cubicBezTo>
                <a:cubicBezTo>
                  <a:pt x="27" y="63"/>
                  <a:pt x="26" y="63"/>
                  <a:pt x="25" y="63"/>
                </a:cubicBezTo>
                <a:cubicBezTo>
                  <a:pt x="24" y="63"/>
                  <a:pt x="24" y="63"/>
                  <a:pt x="23" y="63"/>
                </a:cubicBezTo>
                <a:cubicBezTo>
                  <a:pt x="21" y="63"/>
                  <a:pt x="21" y="64"/>
                  <a:pt x="21" y="65"/>
                </a:cubicBezTo>
                <a:cubicBezTo>
                  <a:pt x="21" y="66"/>
                  <a:pt x="20" y="65"/>
                  <a:pt x="19" y="64"/>
                </a:cubicBezTo>
                <a:cubicBezTo>
                  <a:pt x="19" y="63"/>
                  <a:pt x="18" y="62"/>
                  <a:pt x="18" y="61"/>
                </a:cubicBezTo>
                <a:cubicBezTo>
                  <a:pt x="18" y="61"/>
                  <a:pt x="20" y="58"/>
                  <a:pt x="20" y="58"/>
                </a:cubicBezTo>
                <a:cubicBezTo>
                  <a:pt x="21" y="57"/>
                  <a:pt x="23" y="57"/>
                  <a:pt x="24" y="56"/>
                </a:cubicBezTo>
                <a:cubicBezTo>
                  <a:pt x="24" y="56"/>
                  <a:pt x="24" y="55"/>
                  <a:pt x="24" y="54"/>
                </a:cubicBezTo>
                <a:cubicBezTo>
                  <a:pt x="24" y="54"/>
                  <a:pt x="23" y="53"/>
                  <a:pt x="23" y="52"/>
                </a:cubicBezTo>
                <a:cubicBezTo>
                  <a:pt x="22" y="52"/>
                  <a:pt x="20" y="48"/>
                  <a:pt x="20" y="48"/>
                </a:cubicBezTo>
                <a:cubicBezTo>
                  <a:pt x="20" y="48"/>
                  <a:pt x="18" y="44"/>
                  <a:pt x="17" y="45"/>
                </a:cubicBezTo>
                <a:cubicBezTo>
                  <a:pt x="17" y="46"/>
                  <a:pt x="16" y="46"/>
                  <a:pt x="16" y="46"/>
                </a:cubicBezTo>
                <a:cubicBezTo>
                  <a:pt x="15" y="47"/>
                  <a:pt x="11" y="48"/>
                  <a:pt x="10" y="50"/>
                </a:cubicBezTo>
                <a:cubicBezTo>
                  <a:pt x="9" y="50"/>
                  <a:pt x="7" y="53"/>
                  <a:pt x="6" y="54"/>
                </a:cubicBezTo>
                <a:cubicBezTo>
                  <a:pt x="5" y="55"/>
                  <a:pt x="4" y="58"/>
                  <a:pt x="4" y="59"/>
                </a:cubicBezTo>
                <a:cubicBezTo>
                  <a:pt x="3" y="59"/>
                  <a:pt x="2" y="58"/>
                  <a:pt x="2" y="59"/>
                </a:cubicBezTo>
                <a:cubicBezTo>
                  <a:pt x="1" y="60"/>
                  <a:pt x="2" y="61"/>
                  <a:pt x="2" y="63"/>
                </a:cubicBezTo>
                <a:cubicBezTo>
                  <a:pt x="1" y="65"/>
                  <a:pt x="0" y="65"/>
                  <a:pt x="0" y="66"/>
                </a:cubicBezTo>
                <a:cubicBezTo>
                  <a:pt x="0" y="67"/>
                  <a:pt x="0" y="68"/>
                  <a:pt x="0" y="68"/>
                </a:cubicBezTo>
                <a:cubicBezTo>
                  <a:pt x="1" y="69"/>
                  <a:pt x="3" y="72"/>
                  <a:pt x="4" y="73"/>
                </a:cubicBezTo>
                <a:cubicBezTo>
                  <a:pt x="4" y="74"/>
                  <a:pt x="3" y="75"/>
                  <a:pt x="3" y="76"/>
                </a:cubicBezTo>
                <a:cubicBezTo>
                  <a:pt x="3" y="77"/>
                  <a:pt x="4" y="78"/>
                  <a:pt x="4" y="78"/>
                </a:cubicBezTo>
                <a:cubicBezTo>
                  <a:pt x="5" y="79"/>
                  <a:pt x="6" y="80"/>
                  <a:pt x="6" y="80"/>
                </a:cubicBezTo>
                <a:cubicBezTo>
                  <a:pt x="6" y="81"/>
                  <a:pt x="6" y="83"/>
                  <a:pt x="6" y="84"/>
                </a:cubicBezTo>
                <a:cubicBezTo>
                  <a:pt x="7" y="85"/>
                  <a:pt x="6" y="86"/>
                  <a:pt x="5" y="86"/>
                </a:cubicBezTo>
                <a:cubicBezTo>
                  <a:pt x="4" y="87"/>
                  <a:pt x="3" y="88"/>
                  <a:pt x="3" y="89"/>
                </a:cubicBezTo>
                <a:cubicBezTo>
                  <a:pt x="2" y="90"/>
                  <a:pt x="4" y="91"/>
                  <a:pt x="4" y="92"/>
                </a:cubicBezTo>
                <a:cubicBezTo>
                  <a:pt x="5" y="93"/>
                  <a:pt x="8" y="93"/>
                  <a:pt x="9" y="93"/>
                </a:cubicBezTo>
                <a:cubicBezTo>
                  <a:pt x="9" y="93"/>
                  <a:pt x="11" y="94"/>
                  <a:pt x="11" y="95"/>
                </a:cubicBezTo>
                <a:cubicBezTo>
                  <a:pt x="11" y="96"/>
                  <a:pt x="13" y="97"/>
                  <a:pt x="13" y="97"/>
                </a:cubicBezTo>
                <a:cubicBezTo>
                  <a:pt x="17" y="99"/>
                  <a:pt x="17" y="99"/>
                  <a:pt x="17" y="99"/>
                </a:cubicBezTo>
                <a:cubicBezTo>
                  <a:pt x="17" y="99"/>
                  <a:pt x="20" y="101"/>
                  <a:pt x="21" y="101"/>
                </a:cubicBezTo>
                <a:cubicBezTo>
                  <a:pt x="21" y="101"/>
                  <a:pt x="24" y="102"/>
                  <a:pt x="25" y="103"/>
                </a:cubicBezTo>
                <a:cubicBezTo>
                  <a:pt x="26" y="103"/>
                  <a:pt x="26" y="105"/>
                  <a:pt x="26" y="106"/>
                </a:cubicBezTo>
                <a:cubicBezTo>
                  <a:pt x="26" y="107"/>
                  <a:pt x="27" y="108"/>
                  <a:pt x="28" y="109"/>
                </a:cubicBezTo>
                <a:cubicBezTo>
                  <a:pt x="28" y="110"/>
                  <a:pt x="30" y="112"/>
                  <a:pt x="30" y="112"/>
                </a:cubicBezTo>
                <a:cubicBezTo>
                  <a:pt x="30" y="113"/>
                  <a:pt x="29" y="114"/>
                  <a:pt x="29" y="115"/>
                </a:cubicBezTo>
                <a:cubicBezTo>
                  <a:pt x="29" y="116"/>
                  <a:pt x="30" y="116"/>
                  <a:pt x="31" y="117"/>
                </a:cubicBezTo>
                <a:cubicBezTo>
                  <a:pt x="31" y="118"/>
                  <a:pt x="31" y="118"/>
                  <a:pt x="31" y="119"/>
                </a:cubicBezTo>
                <a:cubicBezTo>
                  <a:pt x="31" y="120"/>
                  <a:pt x="31" y="120"/>
                  <a:pt x="32" y="121"/>
                </a:cubicBezTo>
                <a:cubicBezTo>
                  <a:pt x="32" y="121"/>
                  <a:pt x="34" y="123"/>
                  <a:pt x="34" y="123"/>
                </a:cubicBezTo>
                <a:cubicBezTo>
                  <a:pt x="35" y="124"/>
                  <a:pt x="36" y="126"/>
                  <a:pt x="35" y="127"/>
                </a:cubicBezTo>
                <a:cubicBezTo>
                  <a:pt x="35" y="127"/>
                  <a:pt x="36" y="129"/>
                  <a:pt x="36" y="130"/>
                </a:cubicBezTo>
                <a:cubicBezTo>
                  <a:pt x="36" y="130"/>
                  <a:pt x="37" y="130"/>
                  <a:pt x="37" y="131"/>
                </a:cubicBezTo>
                <a:cubicBezTo>
                  <a:pt x="37" y="131"/>
                  <a:pt x="37" y="133"/>
                  <a:pt x="36" y="133"/>
                </a:cubicBezTo>
                <a:cubicBezTo>
                  <a:pt x="36" y="133"/>
                  <a:pt x="36" y="134"/>
                  <a:pt x="36" y="135"/>
                </a:cubicBezTo>
                <a:cubicBezTo>
                  <a:pt x="36" y="135"/>
                  <a:pt x="37" y="136"/>
                  <a:pt x="37" y="137"/>
                </a:cubicBezTo>
                <a:cubicBezTo>
                  <a:pt x="37" y="137"/>
                  <a:pt x="37" y="140"/>
                  <a:pt x="38" y="141"/>
                </a:cubicBezTo>
                <a:cubicBezTo>
                  <a:pt x="39" y="142"/>
                  <a:pt x="42" y="147"/>
                  <a:pt x="42" y="148"/>
                </a:cubicBezTo>
                <a:cubicBezTo>
                  <a:pt x="42" y="149"/>
                  <a:pt x="43" y="153"/>
                  <a:pt x="43" y="154"/>
                </a:cubicBezTo>
                <a:cubicBezTo>
                  <a:pt x="43" y="155"/>
                  <a:pt x="44" y="156"/>
                  <a:pt x="45" y="156"/>
                </a:cubicBezTo>
                <a:cubicBezTo>
                  <a:pt x="45" y="156"/>
                  <a:pt x="47" y="159"/>
                  <a:pt x="47" y="159"/>
                </a:cubicBezTo>
                <a:cubicBezTo>
                  <a:pt x="49" y="164"/>
                  <a:pt x="49" y="164"/>
                  <a:pt x="49" y="164"/>
                </a:cubicBezTo>
                <a:cubicBezTo>
                  <a:pt x="49" y="164"/>
                  <a:pt x="53" y="169"/>
                  <a:pt x="53" y="171"/>
                </a:cubicBezTo>
                <a:cubicBezTo>
                  <a:pt x="53" y="172"/>
                  <a:pt x="53" y="174"/>
                  <a:pt x="53" y="175"/>
                </a:cubicBezTo>
                <a:cubicBezTo>
                  <a:pt x="53" y="177"/>
                  <a:pt x="55" y="177"/>
                  <a:pt x="56" y="178"/>
                </a:cubicBezTo>
                <a:cubicBezTo>
                  <a:pt x="56" y="179"/>
                  <a:pt x="57" y="181"/>
                  <a:pt x="57" y="181"/>
                </a:cubicBezTo>
                <a:cubicBezTo>
                  <a:pt x="58" y="181"/>
                  <a:pt x="59" y="183"/>
                  <a:pt x="60" y="183"/>
                </a:cubicBezTo>
                <a:cubicBezTo>
                  <a:pt x="60" y="184"/>
                  <a:pt x="61" y="187"/>
                  <a:pt x="61" y="187"/>
                </a:cubicBezTo>
                <a:cubicBezTo>
                  <a:pt x="61" y="187"/>
                  <a:pt x="63" y="190"/>
                  <a:pt x="63" y="191"/>
                </a:cubicBezTo>
                <a:cubicBezTo>
                  <a:pt x="64" y="192"/>
                  <a:pt x="65" y="193"/>
                  <a:pt x="66" y="194"/>
                </a:cubicBezTo>
                <a:cubicBezTo>
                  <a:pt x="66" y="194"/>
                  <a:pt x="66" y="195"/>
                  <a:pt x="66" y="196"/>
                </a:cubicBezTo>
                <a:cubicBezTo>
                  <a:pt x="66" y="197"/>
                  <a:pt x="67" y="200"/>
                  <a:pt x="67" y="201"/>
                </a:cubicBezTo>
                <a:cubicBezTo>
                  <a:pt x="67" y="201"/>
                  <a:pt x="69" y="204"/>
                  <a:pt x="69" y="204"/>
                </a:cubicBezTo>
                <a:cubicBezTo>
                  <a:pt x="71" y="207"/>
                  <a:pt x="71" y="207"/>
                  <a:pt x="71" y="207"/>
                </a:cubicBezTo>
                <a:cubicBezTo>
                  <a:pt x="71" y="207"/>
                  <a:pt x="73" y="209"/>
                  <a:pt x="74" y="210"/>
                </a:cubicBezTo>
                <a:cubicBezTo>
                  <a:pt x="74" y="211"/>
                  <a:pt x="73" y="213"/>
                  <a:pt x="72" y="213"/>
                </a:cubicBezTo>
                <a:cubicBezTo>
                  <a:pt x="72" y="214"/>
                  <a:pt x="71" y="213"/>
                  <a:pt x="70" y="214"/>
                </a:cubicBezTo>
                <a:cubicBezTo>
                  <a:pt x="69" y="214"/>
                  <a:pt x="70" y="217"/>
                  <a:pt x="71" y="218"/>
                </a:cubicBezTo>
                <a:cubicBezTo>
                  <a:pt x="71" y="218"/>
                  <a:pt x="73" y="221"/>
                  <a:pt x="73" y="221"/>
                </a:cubicBezTo>
                <a:cubicBezTo>
                  <a:pt x="74" y="222"/>
                  <a:pt x="76" y="223"/>
                  <a:pt x="76" y="223"/>
                </a:cubicBezTo>
                <a:cubicBezTo>
                  <a:pt x="76" y="223"/>
                  <a:pt x="78" y="225"/>
                  <a:pt x="78" y="226"/>
                </a:cubicBezTo>
                <a:cubicBezTo>
                  <a:pt x="78" y="226"/>
                  <a:pt x="79" y="228"/>
                  <a:pt x="80" y="228"/>
                </a:cubicBezTo>
                <a:cubicBezTo>
                  <a:pt x="80" y="229"/>
                  <a:pt x="83" y="232"/>
                  <a:pt x="83" y="232"/>
                </a:cubicBezTo>
                <a:cubicBezTo>
                  <a:pt x="84" y="233"/>
                  <a:pt x="87" y="236"/>
                  <a:pt x="87" y="237"/>
                </a:cubicBezTo>
                <a:cubicBezTo>
                  <a:pt x="88" y="237"/>
                  <a:pt x="91" y="239"/>
                  <a:pt x="91" y="239"/>
                </a:cubicBezTo>
                <a:cubicBezTo>
                  <a:pt x="92" y="239"/>
                  <a:pt x="96" y="240"/>
                  <a:pt x="96" y="240"/>
                </a:cubicBezTo>
                <a:cubicBezTo>
                  <a:pt x="96" y="240"/>
                  <a:pt x="97" y="243"/>
                  <a:pt x="97" y="243"/>
                </a:cubicBezTo>
                <a:cubicBezTo>
                  <a:pt x="97" y="244"/>
                  <a:pt x="97" y="245"/>
                  <a:pt x="98" y="246"/>
                </a:cubicBezTo>
                <a:cubicBezTo>
                  <a:pt x="99" y="247"/>
                  <a:pt x="101" y="247"/>
                  <a:pt x="102" y="247"/>
                </a:cubicBezTo>
                <a:cubicBezTo>
                  <a:pt x="103" y="247"/>
                  <a:pt x="104" y="249"/>
                  <a:pt x="104" y="249"/>
                </a:cubicBezTo>
                <a:cubicBezTo>
                  <a:pt x="104" y="249"/>
                  <a:pt x="107" y="249"/>
                  <a:pt x="107" y="250"/>
                </a:cubicBezTo>
                <a:cubicBezTo>
                  <a:pt x="108" y="250"/>
                  <a:pt x="108" y="251"/>
                  <a:pt x="109" y="252"/>
                </a:cubicBezTo>
                <a:cubicBezTo>
                  <a:pt x="109" y="253"/>
                  <a:pt x="112" y="254"/>
                  <a:pt x="112" y="254"/>
                </a:cubicBezTo>
                <a:cubicBezTo>
                  <a:pt x="112" y="254"/>
                  <a:pt x="114" y="256"/>
                  <a:pt x="114" y="256"/>
                </a:cubicBezTo>
                <a:cubicBezTo>
                  <a:pt x="115" y="256"/>
                  <a:pt x="118" y="257"/>
                  <a:pt x="119" y="257"/>
                </a:cubicBezTo>
                <a:cubicBezTo>
                  <a:pt x="119" y="257"/>
                  <a:pt x="122" y="258"/>
                  <a:pt x="123" y="259"/>
                </a:cubicBezTo>
                <a:cubicBezTo>
                  <a:pt x="124" y="259"/>
                  <a:pt x="126" y="261"/>
                  <a:pt x="126" y="262"/>
                </a:cubicBezTo>
                <a:cubicBezTo>
                  <a:pt x="127" y="262"/>
                  <a:pt x="130" y="264"/>
                  <a:pt x="131" y="265"/>
                </a:cubicBezTo>
                <a:cubicBezTo>
                  <a:pt x="131" y="266"/>
                  <a:pt x="135" y="268"/>
                  <a:pt x="135" y="269"/>
                </a:cubicBezTo>
                <a:cubicBezTo>
                  <a:pt x="136" y="269"/>
                  <a:pt x="138" y="271"/>
                  <a:pt x="138" y="272"/>
                </a:cubicBezTo>
                <a:cubicBezTo>
                  <a:pt x="139" y="273"/>
                  <a:pt x="141" y="275"/>
                  <a:pt x="141" y="276"/>
                </a:cubicBezTo>
                <a:cubicBezTo>
                  <a:pt x="142" y="277"/>
                  <a:pt x="144" y="278"/>
                  <a:pt x="145" y="278"/>
                </a:cubicBezTo>
                <a:cubicBezTo>
                  <a:pt x="145" y="278"/>
                  <a:pt x="145" y="279"/>
                  <a:pt x="145" y="279"/>
                </a:cubicBezTo>
                <a:cubicBezTo>
                  <a:pt x="161" y="264"/>
                  <a:pt x="161" y="264"/>
                  <a:pt x="161" y="264"/>
                </a:cubicBezTo>
                <a:cubicBezTo>
                  <a:pt x="161" y="264"/>
                  <a:pt x="174" y="252"/>
                  <a:pt x="174" y="251"/>
                </a:cubicBezTo>
                <a:cubicBezTo>
                  <a:pt x="175" y="249"/>
                  <a:pt x="175" y="247"/>
                  <a:pt x="175" y="246"/>
                </a:cubicBezTo>
                <a:cubicBezTo>
                  <a:pt x="175" y="246"/>
                  <a:pt x="175" y="244"/>
                  <a:pt x="174" y="243"/>
                </a:cubicBezTo>
                <a:cubicBezTo>
                  <a:pt x="173" y="242"/>
                  <a:pt x="167" y="238"/>
                  <a:pt x="167" y="238"/>
                </a:cubicBezTo>
                <a:cubicBezTo>
                  <a:pt x="167" y="238"/>
                  <a:pt x="165" y="237"/>
                  <a:pt x="165" y="236"/>
                </a:cubicBezTo>
                <a:cubicBezTo>
                  <a:pt x="165" y="235"/>
                  <a:pt x="164" y="231"/>
                  <a:pt x="163" y="230"/>
                </a:cubicBezTo>
                <a:cubicBezTo>
                  <a:pt x="163" y="228"/>
                  <a:pt x="166" y="226"/>
                  <a:pt x="167" y="225"/>
                </a:cubicBezTo>
                <a:cubicBezTo>
                  <a:pt x="168" y="224"/>
                  <a:pt x="169" y="222"/>
                  <a:pt x="170" y="221"/>
                </a:cubicBezTo>
                <a:cubicBezTo>
                  <a:pt x="170" y="220"/>
                  <a:pt x="170" y="218"/>
                  <a:pt x="170" y="217"/>
                </a:cubicBezTo>
                <a:cubicBezTo>
                  <a:pt x="170" y="216"/>
                  <a:pt x="169" y="211"/>
                  <a:pt x="169" y="210"/>
                </a:cubicBezTo>
                <a:cubicBezTo>
                  <a:pt x="169" y="209"/>
                  <a:pt x="171" y="208"/>
                  <a:pt x="171" y="207"/>
                </a:cubicBezTo>
                <a:cubicBezTo>
                  <a:pt x="171" y="206"/>
                  <a:pt x="171" y="201"/>
                  <a:pt x="172" y="201"/>
                </a:cubicBezTo>
                <a:cubicBezTo>
                  <a:pt x="172" y="200"/>
                  <a:pt x="173" y="199"/>
                  <a:pt x="174" y="198"/>
                </a:cubicBezTo>
                <a:cubicBezTo>
                  <a:pt x="174" y="197"/>
                  <a:pt x="177" y="194"/>
                  <a:pt x="177" y="192"/>
                </a:cubicBezTo>
                <a:cubicBezTo>
                  <a:pt x="178" y="190"/>
                  <a:pt x="179" y="189"/>
                  <a:pt x="180" y="188"/>
                </a:cubicBezTo>
                <a:cubicBezTo>
                  <a:pt x="181" y="187"/>
                  <a:pt x="183" y="185"/>
                  <a:pt x="183" y="185"/>
                </a:cubicBezTo>
                <a:cubicBezTo>
                  <a:pt x="183" y="184"/>
                  <a:pt x="183" y="184"/>
                  <a:pt x="183" y="184"/>
                </a:cubicBezTo>
                <a:cubicBezTo>
                  <a:pt x="183" y="184"/>
                  <a:pt x="180" y="184"/>
                  <a:pt x="180" y="184"/>
                </a:cubicBezTo>
                <a:cubicBezTo>
                  <a:pt x="179" y="184"/>
                  <a:pt x="176" y="184"/>
                  <a:pt x="175" y="184"/>
                </a:cubicBezTo>
                <a:cubicBezTo>
                  <a:pt x="173" y="184"/>
                  <a:pt x="171" y="182"/>
                  <a:pt x="171" y="181"/>
                </a:cubicBezTo>
                <a:cubicBezTo>
                  <a:pt x="170" y="180"/>
                  <a:pt x="168" y="178"/>
                  <a:pt x="167" y="177"/>
                </a:cubicBezTo>
                <a:cubicBezTo>
                  <a:pt x="166" y="176"/>
                  <a:pt x="164" y="171"/>
                  <a:pt x="163" y="171"/>
                </a:cubicBezTo>
                <a:cubicBezTo>
                  <a:pt x="162" y="169"/>
                  <a:pt x="161" y="167"/>
                  <a:pt x="161" y="166"/>
                </a:cubicBezTo>
                <a:cubicBezTo>
                  <a:pt x="161" y="166"/>
                  <a:pt x="157" y="165"/>
                  <a:pt x="156" y="165"/>
                </a:cubicBezTo>
                <a:cubicBezTo>
                  <a:pt x="155" y="166"/>
                  <a:pt x="150" y="166"/>
                  <a:pt x="149" y="166"/>
                </a:cubicBezTo>
                <a:cubicBezTo>
                  <a:pt x="148" y="165"/>
                  <a:pt x="147" y="161"/>
                  <a:pt x="147" y="160"/>
                </a:cubicBezTo>
                <a:cubicBezTo>
                  <a:pt x="147" y="158"/>
                  <a:pt x="146" y="154"/>
                  <a:pt x="146" y="152"/>
                </a:cubicBezTo>
                <a:cubicBezTo>
                  <a:pt x="146" y="151"/>
                  <a:pt x="147" y="149"/>
                  <a:pt x="146" y="148"/>
                </a:cubicBezTo>
                <a:cubicBezTo>
                  <a:pt x="145" y="146"/>
                  <a:pt x="142" y="145"/>
                  <a:pt x="141" y="145"/>
                </a:cubicBezTo>
                <a:cubicBezTo>
                  <a:pt x="140" y="145"/>
                  <a:pt x="139" y="148"/>
                  <a:pt x="138" y="149"/>
                </a:cubicBezTo>
                <a:cubicBezTo>
                  <a:pt x="137" y="150"/>
                  <a:pt x="135" y="152"/>
                  <a:pt x="134" y="153"/>
                </a:cubicBezTo>
                <a:cubicBezTo>
                  <a:pt x="133" y="153"/>
                  <a:pt x="131" y="153"/>
                  <a:pt x="130" y="152"/>
                </a:cubicBezTo>
                <a:cubicBezTo>
                  <a:pt x="129" y="152"/>
                  <a:pt x="127" y="149"/>
                  <a:pt x="126" y="148"/>
                </a:cubicBezTo>
                <a:cubicBezTo>
                  <a:pt x="125" y="147"/>
                  <a:pt x="124" y="145"/>
                  <a:pt x="122" y="144"/>
                </a:cubicBezTo>
                <a:cubicBezTo>
                  <a:pt x="121" y="142"/>
                  <a:pt x="118" y="142"/>
                  <a:pt x="117" y="142"/>
                </a:cubicBezTo>
                <a:cubicBezTo>
                  <a:pt x="116" y="142"/>
                  <a:pt x="116" y="142"/>
                  <a:pt x="115" y="140"/>
                </a:cubicBezTo>
                <a:cubicBezTo>
                  <a:pt x="115" y="139"/>
                  <a:pt x="116" y="139"/>
                  <a:pt x="116" y="137"/>
                </a:cubicBezTo>
                <a:cubicBezTo>
                  <a:pt x="116" y="135"/>
                  <a:pt x="116" y="135"/>
                  <a:pt x="114" y="134"/>
                </a:cubicBezTo>
                <a:cubicBezTo>
                  <a:pt x="113" y="132"/>
                  <a:pt x="108" y="133"/>
                  <a:pt x="108" y="133"/>
                </a:cubicBezTo>
                <a:cubicBezTo>
                  <a:pt x="108" y="133"/>
                  <a:pt x="106" y="131"/>
                  <a:pt x="105" y="130"/>
                </a:cubicBezTo>
                <a:cubicBezTo>
                  <a:pt x="103" y="128"/>
                  <a:pt x="103" y="127"/>
                  <a:pt x="103" y="123"/>
                </a:cubicBezTo>
                <a:cubicBezTo>
                  <a:pt x="102" y="120"/>
                  <a:pt x="104" y="114"/>
                  <a:pt x="104" y="112"/>
                </a:cubicBezTo>
                <a:cubicBezTo>
                  <a:pt x="104" y="110"/>
                  <a:pt x="105" y="105"/>
                  <a:pt x="106" y="104"/>
                </a:cubicBezTo>
                <a:cubicBezTo>
                  <a:pt x="107" y="103"/>
                  <a:pt x="106" y="99"/>
                  <a:pt x="106" y="99"/>
                </a:cubicBezTo>
                <a:cubicBezTo>
                  <a:pt x="106" y="99"/>
                  <a:pt x="110" y="98"/>
                  <a:pt x="113" y="97"/>
                </a:cubicBezTo>
                <a:cubicBezTo>
                  <a:pt x="116" y="96"/>
                  <a:pt x="114" y="91"/>
                  <a:pt x="114" y="90"/>
                </a:cubicBezTo>
                <a:cubicBezTo>
                  <a:pt x="115" y="88"/>
                  <a:pt x="114" y="83"/>
                  <a:pt x="114" y="82"/>
                </a:cubicBezTo>
                <a:cubicBezTo>
                  <a:pt x="114" y="80"/>
                  <a:pt x="117" y="79"/>
                  <a:pt x="117" y="77"/>
                </a:cubicBezTo>
                <a:cubicBezTo>
                  <a:pt x="117" y="76"/>
                  <a:pt x="117" y="75"/>
                  <a:pt x="117" y="74"/>
                </a:cubicBezTo>
                <a:cubicBezTo>
                  <a:pt x="117" y="72"/>
                  <a:pt x="120" y="71"/>
                  <a:pt x="121" y="71"/>
                </a:cubicBezTo>
                <a:cubicBezTo>
                  <a:pt x="122" y="70"/>
                  <a:pt x="125" y="66"/>
                  <a:pt x="125" y="66"/>
                </a:cubicBezTo>
                <a:cubicBezTo>
                  <a:pt x="125" y="66"/>
                  <a:pt x="129" y="66"/>
                  <a:pt x="130" y="66"/>
                </a:cubicBezTo>
                <a:cubicBezTo>
                  <a:pt x="132" y="66"/>
                  <a:pt x="132" y="65"/>
                  <a:pt x="134" y="65"/>
                </a:cubicBezTo>
                <a:cubicBezTo>
                  <a:pt x="137" y="64"/>
                  <a:pt x="140" y="64"/>
                  <a:pt x="142" y="63"/>
                </a:cubicBezTo>
                <a:cubicBezTo>
                  <a:pt x="142" y="63"/>
                  <a:pt x="147" y="61"/>
                  <a:pt x="148" y="61"/>
                </a:cubicBezTo>
                <a:cubicBezTo>
                  <a:pt x="148" y="61"/>
                  <a:pt x="150" y="61"/>
                  <a:pt x="151" y="61"/>
                </a:cubicBezTo>
                <a:close/>
              </a:path>
            </a:pathLst>
          </a:custGeom>
          <a:solidFill>
            <a:schemeClr val="accent1">
              <a:lumMod val="5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 name="Colombia"/>
          <p:cNvSpPr>
            <a:spLocks/>
          </p:cNvSpPr>
          <p:nvPr/>
        </p:nvSpPr>
        <p:spPr bwMode="auto">
          <a:xfrm>
            <a:off x="4061606" y="3668773"/>
            <a:ext cx="326638" cy="535686"/>
          </a:xfrm>
          <a:custGeom>
            <a:avLst/>
            <a:gdLst>
              <a:gd name="T0" fmla="*/ 16 w 159"/>
              <a:gd name="T1" fmla="*/ 83 h 261"/>
              <a:gd name="T2" fmla="*/ 17 w 159"/>
              <a:gd name="T3" fmla="*/ 86 h 261"/>
              <a:gd name="T4" fmla="*/ 20 w 159"/>
              <a:gd name="T5" fmla="*/ 91 h 261"/>
              <a:gd name="T6" fmla="*/ 22 w 159"/>
              <a:gd name="T7" fmla="*/ 94 h 261"/>
              <a:gd name="T8" fmla="*/ 24 w 159"/>
              <a:gd name="T9" fmla="*/ 106 h 261"/>
              <a:gd name="T10" fmla="*/ 21 w 159"/>
              <a:gd name="T11" fmla="*/ 117 h 261"/>
              <a:gd name="T12" fmla="*/ 22 w 159"/>
              <a:gd name="T13" fmla="*/ 128 h 261"/>
              <a:gd name="T14" fmla="*/ 24 w 159"/>
              <a:gd name="T15" fmla="*/ 139 h 261"/>
              <a:gd name="T16" fmla="*/ 17 w 159"/>
              <a:gd name="T17" fmla="*/ 151 h 261"/>
              <a:gd name="T18" fmla="*/ 3 w 159"/>
              <a:gd name="T19" fmla="*/ 160 h 261"/>
              <a:gd name="T20" fmla="*/ 1 w 159"/>
              <a:gd name="T21" fmla="*/ 169 h 261"/>
              <a:gd name="T22" fmla="*/ 1 w 159"/>
              <a:gd name="T23" fmla="*/ 174 h 261"/>
              <a:gd name="T24" fmla="*/ 10 w 159"/>
              <a:gd name="T25" fmla="*/ 177 h 261"/>
              <a:gd name="T26" fmla="*/ 26 w 159"/>
              <a:gd name="T27" fmla="*/ 189 h 261"/>
              <a:gd name="T28" fmla="*/ 44 w 159"/>
              <a:gd name="T29" fmla="*/ 192 h 261"/>
              <a:gd name="T30" fmla="*/ 56 w 159"/>
              <a:gd name="T31" fmla="*/ 202 h 261"/>
              <a:gd name="T32" fmla="*/ 71 w 159"/>
              <a:gd name="T33" fmla="*/ 215 h 261"/>
              <a:gd name="T34" fmla="*/ 79 w 159"/>
              <a:gd name="T35" fmla="*/ 229 h 261"/>
              <a:gd name="T36" fmla="*/ 99 w 159"/>
              <a:gd name="T37" fmla="*/ 230 h 261"/>
              <a:gd name="T38" fmla="*/ 107 w 159"/>
              <a:gd name="T39" fmla="*/ 229 h 261"/>
              <a:gd name="T40" fmla="*/ 118 w 159"/>
              <a:gd name="T41" fmla="*/ 241 h 261"/>
              <a:gd name="T42" fmla="*/ 117 w 159"/>
              <a:gd name="T43" fmla="*/ 257 h 261"/>
              <a:gd name="T44" fmla="*/ 124 w 159"/>
              <a:gd name="T45" fmla="*/ 252 h 261"/>
              <a:gd name="T46" fmla="*/ 129 w 159"/>
              <a:gd name="T47" fmla="*/ 233 h 261"/>
              <a:gd name="T48" fmla="*/ 121 w 159"/>
              <a:gd name="T49" fmla="*/ 202 h 261"/>
              <a:gd name="T50" fmla="*/ 124 w 159"/>
              <a:gd name="T51" fmla="*/ 185 h 261"/>
              <a:gd name="T52" fmla="*/ 123 w 159"/>
              <a:gd name="T53" fmla="*/ 172 h 261"/>
              <a:gd name="T54" fmla="*/ 143 w 159"/>
              <a:gd name="T55" fmla="*/ 168 h 261"/>
              <a:gd name="T56" fmla="*/ 159 w 159"/>
              <a:gd name="T57" fmla="*/ 178 h 261"/>
              <a:gd name="T58" fmla="*/ 148 w 159"/>
              <a:gd name="T59" fmla="*/ 153 h 261"/>
              <a:gd name="T60" fmla="*/ 147 w 159"/>
              <a:gd name="T61" fmla="*/ 123 h 261"/>
              <a:gd name="T62" fmla="*/ 150 w 159"/>
              <a:gd name="T63" fmla="*/ 100 h 261"/>
              <a:gd name="T64" fmla="*/ 129 w 159"/>
              <a:gd name="T65" fmla="*/ 98 h 261"/>
              <a:gd name="T66" fmla="*/ 107 w 159"/>
              <a:gd name="T67" fmla="*/ 85 h 261"/>
              <a:gd name="T68" fmla="*/ 92 w 159"/>
              <a:gd name="T69" fmla="*/ 70 h 261"/>
              <a:gd name="T70" fmla="*/ 81 w 159"/>
              <a:gd name="T71" fmla="*/ 46 h 261"/>
              <a:gd name="T72" fmla="*/ 91 w 159"/>
              <a:gd name="T73" fmla="*/ 25 h 261"/>
              <a:gd name="T74" fmla="*/ 100 w 159"/>
              <a:gd name="T75" fmla="*/ 10 h 261"/>
              <a:gd name="T76" fmla="*/ 106 w 159"/>
              <a:gd name="T77" fmla="*/ 8 h 261"/>
              <a:gd name="T78" fmla="*/ 99 w 159"/>
              <a:gd name="T79" fmla="*/ 3 h 261"/>
              <a:gd name="T80" fmla="*/ 94 w 159"/>
              <a:gd name="T81" fmla="*/ 3 h 261"/>
              <a:gd name="T82" fmla="*/ 87 w 159"/>
              <a:gd name="T83" fmla="*/ 15 h 261"/>
              <a:gd name="T84" fmla="*/ 67 w 159"/>
              <a:gd name="T85" fmla="*/ 22 h 261"/>
              <a:gd name="T86" fmla="*/ 52 w 159"/>
              <a:gd name="T87" fmla="*/ 27 h 261"/>
              <a:gd name="T88" fmla="*/ 47 w 159"/>
              <a:gd name="T89" fmla="*/ 45 h 261"/>
              <a:gd name="T90" fmla="*/ 40 w 159"/>
              <a:gd name="T91" fmla="*/ 53 h 261"/>
              <a:gd name="T92" fmla="*/ 32 w 159"/>
              <a:gd name="T93" fmla="*/ 67 h 261"/>
              <a:gd name="T94" fmla="*/ 27 w 159"/>
              <a:gd name="T95" fmla="*/ 65 h 261"/>
              <a:gd name="T96" fmla="*/ 19 w 159"/>
              <a:gd name="T97" fmla="*/ 57 h 261"/>
              <a:gd name="T98" fmla="*/ 19 w 159"/>
              <a:gd name="T99" fmla="*/ 76 h 261"/>
              <a:gd name="T100" fmla="*/ 14 w 159"/>
              <a:gd name="T101" fmla="*/ 78 h 261"/>
              <a:gd name="T102" fmla="*/ 14 w 159"/>
              <a:gd name="T103" fmla="*/ 78 h 261"/>
              <a:gd name="T104" fmla="*/ 13 w 159"/>
              <a:gd name="T105" fmla="*/ 7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9" h="261">
                <a:moveTo>
                  <a:pt x="13" y="79"/>
                </a:moveTo>
                <a:cubicBezTo>
                  <a:pt x="13" y="79"/>
                  <a:pt x="14" y="81"/>
                  <a:pt x="14" y="82"/>
                </a:cubicBezTo>
                <a:cubicBezTo>
                  <a:pt x="15" y="82"/>
                  <a:pt x="15" y="82"/>
                  <a:pt x="15" y="83"/>
                </a:cubicBezTo>
                <a:cubicBezTo>
                  <a:pt x="16" y="83"/>
                  <a:pt x="16" y="83"/>
                  <a:pt x="16" y="83"/>
                </a:cubicBezTo>
                <a:cubicBezTo>
                  <a:pt x="17" y="83"/>
                  <a:pt x="17" y="83"/>
                  <a:pt x="17" y="83"/>
                </a:cubicBezTo>
                <a:cubicBezTo>
                  <a:pt x="17" y="84"/>
                  <a:pt x="18" y="85"/>
                  <a:pt x="18" y="85"/>
                </a:cubicBezTo>
                <a:cubicBezTo>
                  <a:pt x="18" y="85"/>
                  <a:pt x="18" y="85"/>
                  <a:pt x="18" y="85"/>
                </a:cubicBezTo>
                <a:cubicBezTo>
                  <a:pt x="18" y="85"/>
                  <a:pt x="17" y="85"/>
                  <a:pt x="17" y="86"/>
                </a:cubicBezTo>
                <a:cubicBezTo>
                  <a:pt x="17" y="86"/>
                  <a:pt x="17" y="86"/>
                  <a:pt x="17" y="86"/>
                </a:cubicBezTo>
                <a:cubicBezTo>
                  <a:pt x="16" y="86"/>
                  <a:pt x="16" y="89"/>
                  <a:pt x="17" y="89"/>
                </a:cubicBezTo>
                <a:cubicBezTo>
                  <a:pt x="17" y="89"/>
                  <a:pt x="19" y="90"/>
                  <a:pt x="20" y="91"/>
                </a:cubicBezTo>
                <a:cubicBezTo>
                  <a:pt x="20" y="91"/>
                  <a:pt x="20" y="91"/>
                  <a:pt x="20" y="91"/>
                </a:cubicBezTo>
                <a:cubicBezTo>
                  <a:pt x="21" y="91"/>
                  <a:pt x="21" y="91"/>
                  <a:pt x="21" y="91"/>
                </a:cubicBezTo>
                <a:cubicBezTo>
                  <a:pt x="21" y="91"/>
                  <a:pt x="22" y="92"/>
                  <a:pt x="22" y="92"/>
                </a:cubicBezTo>
                <a:cubicBezTo>
                  <a:pt x="22" y="92"/>
                  <a:pt x="22" y="92"/>
                  <a:pt x="22" y="93"/>
                </a:cubicBezTo>
                <a:cubicBezTo>
                  <a:pt x="22" y="93"/>
                  <a:pt x="22" y="93"/>
                  <a:pt x="22" y="94"/>
                </a:cubicBezTo>
                <a:cubicBezTo>
                  <a:pt x="22" y="94"/>
                  <a:pt x="22" y="94"/>
                  <a:pt x="21" y="94"/>
                </a:cubicBezTo>
                <a:cubicBezTo>
                  <a:pt x="21" y="95"/>
                  <a:pt x="21" y="96"/>
                  <a:pt x="22" y="98"/>
                </a:cubicBezTo>
                <a:cubicBezTo>
                  <a:pt x="22" y="99"/>
                  <a:pt x="23" y="102"/>
                  <a:pt x="24" y="103"/>
                </a:cubicBezTo>
                <a:cubicBezTo>
                  <a:pt x="24" y="103"/>
                  <a:pt x="24" y="105"/>
                  <a:pt x="24" y="106"/>
                </a:cubicBezTo>
                <a:cubicBezTo>
                  <a:pt x="24" y="107"/>
                  <a:pt x="24" y="108"/>
                  <a:pt x="23" y="109"/>
                </a:cubicBezTo>
                <a:cubicBezTo>
                  <a:pt x="23" y="109"/>
                  <a:pt x="21" y="109"/>
                  <a:pt x="20" y="110"/>
                </a:cubicBezTo>
                <a:cubicBezTo>
                  <a:pt x="20" y="111"/>
                  <a:pt x="20" y="113"/>
                  <a:pt x="21" y="114"/>
                </a:cubicBezTo>
                <a:cubicBezTo>
                  <a:pt x="21" y="115"/>
                  <a:pt x="21" y="116"/>
                  <a:pt x="21" y="117"/>
                </a:cubicBezTo>
                <a:cubicBezTo>
                  <a:pt x="21" y="118"/>
                  <a:pt x="21" y="120"/>
                  <a:pt x="21" y="121"/>
                </a:cubicBezTo>
                <a:cubicBezTo>
                  <a:pt x="21" y="122"/>
                  <a:pt x="21" y="123"/>
                  <a:pt x="21" y="123"/>
                </a:cubicBezTo>
                <a:cubicBezTo>
                  <a:pt x="21" y="123"/>
                  <a:pt x="22" y="125"/>
                  <a:pt x="22" y="126"/>
                </a:cubicBezTo>
                <a:cubicBezTo>
                  <a:pt x="22" y="127"/>
                  <a:pt x="22" y="127"/>
                  <a:pt x="22" y="128"/>
                </a:cubicBezTo>
                <a:cubicBezTo>
                  <a:pt x="21" y="129"/>
                  <a:pt x="22" y="132"/>
                  <a:pt x="21" y="134"/>
                </a:cubicBezTo>
                <a:cubicBezTo>
                  <a:pt x="21" y="136"/>
                  <a:pt x="22" y="134"/>
                  <a:pt x="23" y="134"/>
                </a:cubicBezTo>
                <a:cubicBezTo>
                  <a:pt x="24" y="134"/>
                  <a:pt x="25" y="134"/>
                  <a:pt x="25" y="135"/>
                </a:cubicBezTo>
                <a:cubicBezTo>
                  <a:pt x="25" y="136"/>
                  <a:pt x="25" y="139"/>
                  <a:pt x="24" y="139"/>
                </a:cubicBezTo>
                <a:cubicBezTo>
                  <a:pt x="24" y="139"/>
                  <a:pt x="23" y="140"/>
                  <a:pt x="22" y="140"/>
                </a:cubicBezTo>
                <a:cubicBezTo>
                  <a:pt x="21" y="140"/>
                  <a:pt x="21" y="141"/>
                  <a:pt x="21" y="142"/>
                </a:cubicBezTo>
                <a:cubicBezTo>
                  <a:pt x="21" y="143"/>
                  <a:pt x="19" y="146"/>
                  <a:pt x="19" y="147"/>
                </a:cubicBezTo>
                <a:cubicBezTo>
                  <a:pt x="19" y="148"/>
                  <a:pt x="18" y="151"/>
                  <a:pt x="17" y="151"/>
                </a:cubicBezTo>
                <a:cubicBezTo>
                  <a:pt x="17" y="152"/>
                  <a:pt x="16" y="154"/>
                  <a:pt x="15" y="155"/>
                </a:cubicBezTo>
                <a:cubicBezTo>
                  <a:pt x="14" y="156"/>
                  <a:pt x="12" y="156"/>
                  <a:pt x="10" y="156"/>
                </a:cubicBezTo>
                <a:cubicBezTo>
                  <a:pt x="9" y="156"/>
                  <a:pt x="5" y="156"/>
                  <a:pt x="4" y="157"/>
                </a:cubicBezTo>
                <a:cubicBezTo>
                  <a:pt x="4" y="157"/>
                  <a:pt x="3" y="159"/>
                  <a:pt x="3" y="160"/>
                </a:cubicBezTo>
                <a:cubicBezTo>
                  <a:pt x="3" y="161"/>
                  <a:pt x="4" y="165"/>
                  <a:pt x="4" y="165"/>
                </a:cubicBezTo>
                <a:cubicBezTo>
                  <a:pt x="4" y="165"/>
                  <a:pt x="5" y="168"/>
                  <a:pt x="5" y="168"/>
                </a:cubicBezTo>
                <a:cubicBezTo>
                  <a:pt x="5" y="169"/>
                  <a:pt x="4" y="170"/>
                  <a:pt x="3" y="170"/>
                </a:cubicBezTo>
                <a:cubicBezTo>
                  <a:pt x="3" y="170"/>
                  <a:pt x="2" y="169"/>
                  <a:pt x="1" y="169"/>
                </a:cubicBezTo>
                <a:cubicBezTo>
                  <a:pt x="0" y="169"/>
                  <a:pt x="0" y="170"/>
                  <a:pt x="0" y="170"/>
                </a:cubicBezTo>
                <a:cubicBezTo>
                  <a:pt x="0" y="170"/>
                  <a:pt x="0" y="172"/>
                  <a:pt x="0" y="172"/>
                </a:cubicBezTo>
                <a:cubicBezTo>
                  <a:pt x="0" y="172"/>
                  <a:pt x="1" y="173"/>
                  <a:pt x="1" y="173"/>
                </a:cubicBezTo>
                <a:cubicBezTo>
                  <a:pt x="1" y="173"/>
                  <a:pt x="1" y="174"/>
                  <a:pt x="1" y="174"/>
                </a:cubicBezTo>
                <a:cubicBezTo>
                  <a:pt x="1" y="175"/>
                  <a:pt x="1" y="175"/>
                  <a:pt x="1" y="175"/>
                </a:cubicBezTo>
                <a:cubicBezTo>
                  <a:pt x="2" y="174"/>
                  <a:pt x="4" y="174"/>
                  <a:pt x="5" y="175"/>
                </a:cubicBezTo>
                <a:cubicBezTo>
                  <a:pt x="6" y="175"/>
                  <a:pt x="6" y="176"/>
                  <a:pt x="7" y="176"/>
                </a:cubicBezTo>
                <a:cubicBezTo>
                  <a:pt x="8" y="177"/>
                  <a:pt x="9" y="177"/>
                  <a:pt x="10" y="177"/>
                </a:cubicBezTo>
                <a:cubicBezTo>
                  <a:pt x="11" y="177"/>
                  <a:pt x="13" y="179"/>
                  <a:pt x="13" y="179"/>
                </a:cubicBezTo>
                <a:cubicBezTo>
                  <a:pt x="13" y="179"/>
                  <a:pt x="18" y="181"/>
                  <a:pt x="18" y="182"/>
                </a:cubicBezTo>
                <a:cubicBezTo>
                  <a:pt x="18" y="183"/>
                  <a:pt x="21" y="185"/>
                  <a:pt x="22" y="185"/>
                </a:cubicBezTo>
                <a:cubicBezTo>
                  <a:pt x="22" y="186"/>
                  <a:pt x="25" y="188"/>
                  <a:pt x="26" y="189"/>
                </a:cubicBezTo>
                <a:cubicBezTo>
                  <a:pt x="26" y="189"/>
                  <a:pt x="29" y="190"/>
                  <a:pt x="30" y="191"/>
                </a:cubicBezTo>
                <a:cubicBezTo>
                  <a:pt x="31" y="191"/>
                  <a:pt x="34" y="191"/>
                  <a:pt x="35" y="191"/>
                </a:cubicBezTo>
                <a:cubicBezTo>
                  <a:pt x="35" y="190"/>
                  <a:pt x="37" y="190"/>
                  <a:pt x="38" y="190"/>
                </a:cubicBezTo>
                <a:cubicBezTo>
                  <a:pt x="40" y="190"/>
                  <a:pt x="44" y="192"/>
                  <a:pt x="44" y="192"/>
                </a:cubicBezTo>
                <a:cubicBezTo>
                  <a:pt x="44" y="192"/>
                  <a:pt x="46" y="193"/>
                  <a:pt x="46" y="194"/>
                </a:cubicBezTo>
                <a:cubicBezTo>
                  <a:pt x="47" y="195"/>
                  <a:pt x="48" y="196"/>
                  <a:pt x="49" y="196"/>
                </a:cubicBezTo>
                <a:cubicBezTo>
                  <a:pt x="49" y="197"/>
                  <a:pt x="52" y="200"/>
                  <a:pt x="52" y="200"/>
                </a:cubicBezTo>
                <a:cubicBezTo>
                  <a:pt x="52" y="200"/>
                  <a:pt x="55" y="201"/>
                  <a:pt x="56" y="202"/>
                </a:cubicBezTo>
                <a:cubicBezTo>
                  <a:pt x="57" y="203"/>
                  <a:pt x="59" y="204"/>
                  <a:pt x="60" y="205"/>
                </a:cubicBezTo>
                <a:cubicBezTo>
                  <a:pt x="61" y="206"/>
                  <a:pt x="61" y="208"/>
                  <a:pt x="62" y="209"/>
                </a:cubicBezTo>
                <a:cubicBezTo>
                  <a:pt x="63" y="210"/>
                  <a:pt x="64" y="211"/>
                  <a:pt x="65" y="212"/>
                </a:cubicBezTo>
                <a:cubicBezTo>
                  <a:pt x="67" y="212"/>
                  <a:pt x="70" y="214"/>
                  <a:pt x="71" y="215"/>
                </a:cubicBezTo>
                <a:cubicBezTo>
                  <a:pt x="72" y="216"/>
                  <a:pt x="75" y="218"/>
                  <a:pt x="76" y="219"/>
                </a:cubicBezTo>
                <a:cubicBezTo>
                  <a:pt x="77" y="220"/>
                  <a:pt x="79" y="221"/>
                  <a:pt x="79" y="222"/>
                </a:cubicBezTo>
                <a:cubicBezTo>
                  <a:pt x="79" y="223"/>
                  <a:pt x="80" y="224"/>
                  <a:pt x="80" y="225"/>
                </a:cubicBezTo>
                <a:cubicBezTo>
                  <a:pt x="79" y="226"/>
                  <a:pt x="78" y="227"/>
                  <a:pt x="79" y="229"/>
                </a:cubicBezTo>
                <a:cubicBezTo>
                  <a:pt x="80" y="230"/>
                  <a:pt x="83" y="232"/>
                  <a:pt x="84" y="232"/>
                </a:cubicBezTo>
                <a:cubicBezTo>
                  <a:pt x="85" y="231"/>
                  <a:pt x="88" y="229"/>
                  <a:pt x="89" y="229"/>
                </a:cubicBezTo>
                <a:cubicBezTo>
                  <a:pt x="90" y="229"/>
                  <a:pt x="92" y="228"/>
                  <a:pt x="93" y="228"/>
                </a:cubicBezTo>
                <a:cubicBezTo>
                  <a:pt x="94" y="229"/>
                  <a:pt x="98" y="230"/>
                  <a:pt x="99" y="230"/>
                </a:cubicBezTo>
                <a:cubicBezTo>
                  <a:pt x="100" y="231"/>
                  <a:pt x="101" y="231"/>
                  <a:pt x="102" y="231"/>
                </a:cubicBezTo>
                <a:cubicBezTo>
                  <a:pt x="102" y="231"/>
                  <a:pt x="102" y="231"/>
                  <a:pt x="102" y="231"/>
                </a:cubicBezTo>
                <a:cubicBezTo>
                  <a:pt x="103" y="231"/>
                  <a:pt x="103" y="231"/>
                  <a:pt x="103" y="231"/>
                </a:cubicBezTo>
                <a:cubicBezTo>
                  <a:pt x="104" y="230"/>
                  <a:pt x="106" y="229"/>
                  <a:pt x="107" y="229"/>
                </a:cubicBezTo>
                <a:cubicBezTo>
                  <a:pt x="108" y="229"/>
                  <a:pt x="111" y="230"/>
                  <a:pt x="111" y="231"/>
                </a:cubicBezTo>
                <a:cubicBezTo>
                  <a:pt x="112" y="231"/>
                  <a:pt x="114" y="231"/>
                  <a:pt x="115" y="231"/>
                </a:cubicBezTo>
                <a:cubicBezTo>
                  <a:pt x="116" y="232"/>
                  <a:pt x="116" y="235"/>
                  <a:pt x="117" y="236"/>
                </a:cubicBezTo>
                <a:cubicBezTo>
                  <a:pt x="117" y="237"/>
                  <a:pt x="118" y="240"/>
                  <a:pt x="118" y="241"/>
                </a:cubicBezTo>
                <a:cubicBezTo>
                  <a:pt x="118" y="242"/>
                  <a:pt x="116" y="245"/>
                  <a:pt x="116" y="246"/>
                </a:cubicBezTo>
                <a:cubicBezTo>
                  <a:pt x="116" y="247"/>
                  <a:pt x="115" y="250"/>
                  <a:pt x="115" y="251"/>
                </a:cubicBezTo>
                <a:cubicBezTo>
                  <a:pt x="115" y="252"/>
                  <a:pt x="116" y="254"/>
                  <a:pt x="117" y="256"/>
                </a:cubicBezTo>
                <a:cubicBezTo>
                  <a:pt x="117" y="257"/>
                  <a:pt x="117" y="257"/>
                  <a:pt x="117" y="257"/>
                </a:cubicBezTo>
                <a:cubicBezTo>
                  <a:pt x="118" y="259"/>
                  <a:pt x="119" y="261"/>
                  <a:pt x="119" y="261"/>
                </a:cubicBezTo>
                <a:cubicBezTo>
                  <a:pt x="120" y="261"/>
                  <a:pt x="121" y="261"/>
                  <a:pt x="123" y="261"/>
                </a:cubicBezTo>
                <a:cubicBezTo>
                  <a:pt x="124" y="261"/>
                  <a:pt x="123" y="259"/>
                  <a:pt x="124" y="258"/>
                </a:cubicBezTo>
                <a:cubicBezTo>
                  <a:pt x="124" y="257"/>
                  <a:pt x="124" y="254"/>
                  <a:pt x="124" y="252"/>
                </a:cubicBezTo>
                <a:cubicBezTo>
                  <a:pt x="124" y="251"/>
                  <a:pt x="124" y="248"/>
                  <a:pt x="124" y="247"/>
                </a:cubicBezTo>
                <a:cubicBezTo>
                  <a:pt x="125" y="246"/>
                  <a:pt x="126" y="242"/>
                  <a:pt x="126" y="241"/>
                </a:cubicBezTo>
                <a:cubicBezTo>
                  <a:pt x="126" y="240"/>
                  <a:pt x="127" y="237"/>
                  <a:pt x="127" y="236"/>
                </a:cubicBezTo>
                <a:cubicBezTo>
                  <a:pt x="128" y="236"/>
                  <a:pt x="129" y="234"/>
                  <a:pt x="129" y="233"/>
                </a:cubicBezTo>
                <a:cubicBezTo>
                  <a:pt x="128" y="232"/>
                  <a:pt x="128" y="227"/>
                  <a:pt x="128" y="227"/>
                </a:cubicBezTo>
                <a:cubicBezTo>
                  <a:pt x="128" y="227"/>
                  <a:pt x="128" y="215"/>
                  <a:pt x="128" y="213"/>
                </a:cubicBezTo>
                <a:cubicBezTo>
                  <a:pt x="127" y="212"/>
                  <a:pt x="125" y="210"/>
                  <a:pt x="125" y="209"/>
                </a:cubicBezTo>
                <a:cubicBezTo>
                  <a:pt x="125" y="208"/>
                  <a:pt x="121" y="202"/>
                  <a:pt x="121" y="202"/>
                </a:cubicBezTo>
                <a:cubicBezTo>
                  <a:pt x="120" y="201"/>
                  <a:pt x="119" y="198"/>
                  <a:pt x="119" y="197"/>
                </a:cubicBezTo>
                <a:cubicBezTo>
                  <a:pt x="119" y="195"/>
                  <a:pt x="119" y="191"/>
                  <a:pt x="119" y="190"/>
                </a:cubicBezTo>
                <a:cubicBezTo>
                  <a:pt x="119" y="189"/>
                  <a:pt x="120" y="187"/>
                  <a:pt x="120" y="187"/>
                </a:cubicBezTo>
                <a:cubicBezTo>
                  <a:pt x="121" y="186"/>
                  <a:pt x="123" y="185"/>
                  <a:pt x="124" y="185"/>
                </a:cubicBezTo>
                <a:cubicBezTo>
                  <a:pt x="125" y="184"/>
                  <a:pt x="126" y="184"/>
                  <a:pt x="126" y="183"/>
                </a:cubicBezTo>
                <a:cubicBezTo>
                  <a:pt x="127" y="183"/>
                  <a:pt x="126" y="181"/>
                  <a:pt x="125" y="181"/>
                </a:cubicBezTo>
                <a:cubicBezTo>
                  <a:pt x="125" y="180"/>
                  <a:pt x="122" y="176"/>
                  <a:pt x="122" y="176"/>
                </a:cubicBezTo>
                <a:cubicBezTo>
                  <a:pt x="122" y="174"/>
                  <a:pt x="122" y="173"/>
                  <a:pt x="123" y="172"/>
                </a:cubicBezTo>
                <a:cubicBezTo>
                  <a:pt x="123" y="171"/>
                  <a:pt x="124" y="169"/>
                  <a:pt x="125" y="169"/>
                </a:cubicBezTo>
                <a:cubicBezTo>
                  <a:pt x="126" y="168"/>
                  <a:pt x="130" y="169"/>
                  <a:pt x="130" y="169"/>
                </a:cubicBezTo>
                <a:cubicBezTo>
                  <a:pt x="131" y="169"/>
                  <a:pt x="137" y="170"/>
                  <a:pt x="138" y="170"/>
                </a:cubicBezTo>
                <a:cubicBezTo>
                  <a:pt x="139" y="170"/>
                  <a:pt x="143" y="168"/>
                  <a:pt x="143" y="168"/>
                </a:cubicBezTo>
                <a:cubicBezTo>
                  <a:pt x="143" y="168"/>
                  <a:pt x="145" y="166"/>
                  <a:pt x="147" y="166"/>
                </a:cubicBezTo>
                <a:cubicBezTo>
                  <a:pt x="149" y="166"/>
                  <a:pt x="150" y="168"/>
                  <a:pt x="151" y="169"/>
                </a:cubicBezTo>
                <a:cubicBezTo>
                  <a:pt x="151" y="170"/>
                  <a:pt x="154" y="173"/>
                  <a:pt x="154" y="174"/>
                </a:cubicBezTo>
                <a:cubicBezTo>
                  <a:pt x="155" y="174"/>
                  <a:pt x="157" y="176"/>
                  <a:pt x="159" y="178"/>
                </a:cubicBezTo>
                <a:cubicBezTo>
                  <a:pt x="159" y="178"/>
                  <a:pt x="159" y="178"/>
                  <a:pt x="159" y="177"/>
                </a:cubicBezTo>
                <a:cubicBezTo>
                  <a:pt x="159" y="176"/>
                  <a:pt x="154" y="169"/>
                  <a:pt x="154" y="168"/>
                </a:cubicBezTo>
                <a:cubicBezTo>
                  <a:pt x="154" y="167"/>
                  <a:pt x="151" y="160"/>
                  <a:pt x="151" y="160"/>
                </a:cubicBezTo>
                <a:cubicBezTo>
                  <a:pt x="151" y="160"/>
                  <a:pt x="148" y="155"/>
                  <a:pt x="148" y="153"/>
                </a:cubicBezTo>
                <a:cubicBezTo>
                  <a:pt x="148" y="151"/>
                  <a:pt x="149" y="144"/>
                  <a:pt x="149" y="143"/>
                </a:cubicBezTo>
                <a:cubicBezTo>
                  <a:pt x="149" y="142"/>
                  <a:pt x="150" y="135"/>
                  <a:pt x="150" y="134"/>
                </a:cubicBezTo>
                <a:cubicBezTo>
                  <a:pt x="150" y="132"/>
                  <a:pt x="149" y="132"/>
                  <a:pt x="148" y="130"/>
                </a:cubicBezTo>
                <a:cubicBezTo>
                  <a:pt x="147" y="128"/>
                  <a:pt x="147" y="123"/>
                  <a:pt x="147" y="123"/>
                </a:cubicBezTo>
                <a:cubicBezTo>
                  <a:pt x="147" y="123"/>
                  <a:pt x="146" y="117"/>
                  <a:pt x="146" y="115"/>
                </a:cubicBezTo>
                <a:cubicBezTo>
                  <a:pt x="146" y="114"/>
                  <a:pt x="148" y="113"/>
                  <a:pt x="148" y="111"/>
                </a:cubicBezTo>
                <a:cubicBezTo>
                  <a:pt x="149" y="110"/>
                  <a:pt x="151" y="105"/>
                  <a:pt x="151" y="103"/>
                </a:cubicBezTo>
                <a:cubicBezTo>
                  <a:pt x="151" y="102"/>
                  <a:pt x="151" y="101"/>
                  <a:pt x="150" y="100"/>
                </a:cubicBezTo>
                <a:cubicBezTo>
                  <a:pt x="149" y="98"/>
                  <a:pt x="146" y="98"/>
                  <a:pt x="146" y="98"/>
                </a:cubicBezTo>
                <a:cubicBezTo>
                  <a:pt x="142" y="98"/>
                  <a:pt x="142" y="98"/>
                  <a:pt x="142" y="98"/>
                </a:cubicBezTo>
                <a:cubicBezTo>
                  <a:pt x="142" y="98"/>
                  <a:pt x="136" y="97"/>
                  <a:pt x="135" y="98"/>
                </a:cubicBezTo>
                <a:cubicBezTo>
                  <a:pt x="134" y="98"/>
                  <a:pt x="130" y="98"/>
                  <a:pt x="129" y="98"/>
                </a:cubicBezTo>
                <a:cubicBezTo>
                  <a:pt x="128" y="98"/>
                  <a:pt x="125" y="94"/>
                  <a:pt x="125" y="94"/>
                </a:cubicBezTo>
                <a:cubicBezTo>
                  <a:pt x="122" y="90"/>
                  <a:pt x="122" y="90"/>
                  <a:pt x="122" y="90"/>
                </a:cubicBezTo>
                <a:cubicBezTo>
                  <a:pt x="122" y="90"/>
                  <a:pt x="116" y="86"/>
                  <a:pt x="115" y="85"/>
                </a:cubicBezTo>
                <a:cubicBezTo>
                  <a:pt x="114" y="85"/>
                  <a:pt x="107" y="85"/>
                  <a:pt x="107" y="85"/>
                </a:cubicBezTo>
                <a:cubicBezTo>
                  <a:pt x="107" y="85"/>
                  <a:pt x="99" y="85"/>
                  <a:pt x="99" y="85"/>
                </a:cubicBezTo>
                <a:cubicBezTo>
                  <a:pt x="97" y="85"/>
                  <a:pt x="94" y="85"/>
                  <a:pt x="93" y="85"/>
                </a:cubicBezTo>
                <a:cubicBezTo>
                  <a:pt x="92" y="84"/>
                  <a:pt x="92" y="82"/>
                  <a:pt x="91" y="81"/>
                </a:cubicBezTo>
                <a:cubicBezTo>
                  <a:pt x="91" y="79"/>
                  <a:pt x="92" y="71"/>
                  <a:pt x="92" y="70"/>
                </a:cubicBezTo>
                <a:cubicBezTo>
                  <a:pt x="91" y="68"/>
                  <a:pt x="89" y="61"/>
                  <a:pt x="89" y="60"/>
                </a:cubicBezTo>
                <a:cubicBezTo>
                  <a:pt x="89" y="60"/>
                  <a:pt x="86" y="56"/>
                  <a:pt x="85" y="56"/>
                </a:cubicBezTo>
                <a:cubicBezTo>
                  <a:pt x="84" y="55"/>
                  <a:pt x="78" y="54"/>
                  <a:pt x="77" y="54"/>
                </a:cubicBezTo>
                <a:cubicBezTo>
                  <a:pt x="76" y="54"/>
                  <a:pt x="81" y="48"/>
                  <a:pt x="81" y="46"/>
                </a:cubicBezTo>
                <a:cubicBezTo>
                  <a:pt x="82" y="45"/>
                  <a:pt x="84" y="39"/>
                  <a:pt x="84" y="39"/>
                </a:cubicBezTo>
                <a:cubicBezTo>
                  <a:pt x="84" y="39"/>
                  <a:pt x="86" y="33"/>
                  <a:pt x="86" y="32"/>
                </a:cubicBezTo>
                <a:cubicBezTo>
                  <a:pt x="86" y="31"/>
                  <a:pt x="87" y="29"/>
                  <a:pt x="87" y="28"/>
                </a:cubicBezTo>
                <a:cubicBezTo>
                  <a:pt x="88" y="28"/>
                  <a:pt x="91" y="26"/>
                  <a:pt x="91" y="25"/>
                </a:cubicBezTo>
                <a:cubicBezTo>
                  <a:pt x="91" y="25"/>
                  <a:pt x="91" y="23"/>
                  <a:pt x="91" y="22"/>
                </a:cubicBezTo>
                <a:cubicBezTo>
                  <a:pt x="91" y="21"/>
                  <a:pt x="93" y="16"/>
                  <a:pt x="93" y="15"/>
                </a:cubicBezTo>
                <a:cubicBezTo>
                  <a:pt x="94" y="14"/>
                  <a:pt x="95" y="13"/>
                  <a:pt x="96" y="12"/>
                </a:cubicBezTo>
                <a:cubicBezTo>
                  <a:pt x="97" y="11"/>
                  <a:pt x="100" y="10"/>
                  <a:pt x="100" y="10"/>
                </a:cubicBezTo>
                <a:cubicBezTo>
                  <a:pt x="100" y="10"/>
                  <a:pt x="101" y="11"/>
                  <a:pt x="102" y="11"/>
                </a:cubicBezTo>
                <a:cubicBezTo>
                  <a:pt x="102" y="11"/>
                  <a:pt x="102" y="11"/>
                  <a:pt x="102" y="11"/>
                </a:cubicBezTo>
                <a:cubicBezTo>
                  <a:pt x="103" y="11"/>
                  <a:pt x="104" y="11"/>
                  <a:pt x="104" y="11"/>
                </a:cubicBezTo>
                <a:cubicBezTo>
                  <a:pt x="104" y="11"/>
                  <a:pt x="106" y="9"/>
                  <a:pt x="106" y="8"/>
                </a:cubicBezTo>
                <a:cubicBezTo>
                  <a:pt x="107" y="7"/>
                  <a:pt x="107" y="5"/>
                  <a:pt x="107" y="4"/>
                </a:cubicBezTo>
                <a:cubicBezTo>
                  <a:pt x="107" y="3"/>
                  <a:pt x="107" y="2"/>
                  <a:pt x="105" y="1"/>
                </a:cubicBezTo>
                <a:cubicBezTo>
                  <a:pt x="104" y="0"/>
                  <a:pt x="103" y="1"/>
                  <a:pt x="101" y="1"/>
                </a:cubicBezTo>
                <a:cubicBezTo>
                  <a:pt x="100" y="1"/>
                  <a:pt x="99" y="3"/>
                  <a:pt x="99" y="3"/>
                </a:cubicBezTo>
                <a:cubicBezTo>
                  <a:pt x="99" y="3"/>
                  <a:pt x="98" y="5"/>
                  <a:pt x="98" y="6"/>
                </a:cubicBezTo>
                <a:cubicBezTo>
                  <a:pt x="98" y="7"/>
                  <a:pt x="97" y="7"/>
                  <a:pt x="96" y="7"/>
                </a:cubicBezTo>
                <a:cubicBezTo>
                  <a:pt x="96" y="6"/>
                  <a:pt x="96" y="4"/>
                  <a:pt x="96" y="3"/>
                </a:cubicBezTo>
                <a:cubicBezTo>
                  <a:pt x="96" y="3"/>
                  <a:pt x="94" y="3"/>
                  <a:pt x="94" y="3"/>
                </a:cubicBezTo>
                <a:cubicBezTo>
                  <a:pt x="94" y="3"/>
                  <a:pt x="95" y="5"/>
                  <a:pt x="95" y="7"/>
                </a:cubicBezTo>
                <a:cubicBezTo>
                  <a:pt x="95" y="8"/>
                  <a:pt x="94" y="10"/>
                  <a:pt x="94" y="11"/>
                </a:cubicBezTo>
                <a:cubicBezTo>
                  <a:pt x="93" y="12"/>
                  <a:pt x="91" y="12"/>
                  <a:pt x="91" y="12"/>
                </a:cubicBezTo>
                <a:cubicBezTo>
                  <a:pt x="89" y="12"/>
                  <a:pt x="87" y="15"/>
                  <a:pt x="87" y="15"/>
                </a:cubicBezTo>
                <a:cubicBezTo>
                  <a:pt x="87" y="15"/>
                  <a:pt x="82" y="18"/>
                  <a:pt x="81" y="19"/>
                </a:cubicBezTo>
                <a:cubicBezTo>
                  <a:pt x="79" y="20"/>
                  <a:pt x="74" y="19"/>
                  <a:pt x="73" y="19"/>
                </a:cubicBezTo>
                <a:cubicBezTo>
                  <a:pt x="72" y="19"/>
                  <a:pt x="68" y="17"/>
                  <a:pt x="67" y="18"/>
                </a:cubicBezTo>
                <a:cubicBezTo>
                  <a:pt x="67" y="18"/>
                  <a:pt x="67" y="22"/>
                  <a:pt x="67" y="22"/>
                </a:cubicBezTo>
                <a:cubicBezTo>
                  <a:pt x="64" y="24"/>
                  <a:pt x="64" y="24"/>
                  <a:pt x="64" y="24"/>
                </a:cubicBezTo>
                <a:cubicBezTo>
                  <a:pt x="64" y="24"/>
                  <a:pt x="63" y="23"/>
                  <a:pt x="62" y="23"/>
                </a:cubicBezTo>
                <a:cubicBezTo>
                  <a:pt x="61" y="23"/>
                  <a:pt x="59" y="24"/>
                  <a:pt x="58" y="24"/>
                </a:cubicBezTo>
                <a:cubicBezTo>
                  <a:pt x="57" y="24"/>
                  <a:pt x="53" y="27"/>
                  <a:pt x="52" y="27"/>
                </a:cubicBezTo>
                <a:cubicBezTo>
                  <a:pt x="51" y="28"/>
                  <a:pt x="48" y="30"/>
                  <a:pt x="48" y="30"/>
                </a:cubicBezTo>
                <a:cubicBezTo>
                  <a:pt x="48" y="34"/>
                  <a:pt x="48" y="34"/>
                  <a:pt x="48" y="34"/>
                </a:cubicBezTo>
                <a:cubicBezTo>
                  <a:pt x="48" y="34"/>
                  <a:pt x="48" y="35"/>
                  <a:pt x="48" y="36"/>
                </a:cubicBezTo>
                <a:cubicBezTo>
                  <a:pt x="47" y="37"/>
                  <a:pt x="47" y="44"/>
                  <a:pt x="47" y="45"/>
                </a:cubicBezTo>
                <a:cubicBezTo>
                  <a:pt x="47" y="45"/>
                  <a:pt x="47" y="49"/>
                  <a:pt x="47" y="50"/>
                </a:cubicBezTo>
                <a:cubicBezTo>
                  <a:pt x="47" y="51"/>
                  <a:pt x="45" y="50"/>
                  <a:pt x="45" y="49"/>
                </a:cubicBezTo>
                <a:cubicBezTo>
                  <a:pt x="44" y="49"/>
                  <a:pt x="43" y="49"/>
                  <a:pt x="42" y="49"/>
                </a:cubicBezTo>
                <a:cubicBezTo>
                  <a:pt x="42" y="50"/>
                  <a:pt x="41" y="52"/>
                  <a:pt x="40" y="53"/>
                </a:cubicBezTo>
                <a:cubicBezTo>
                  <a:pt x="40" y="54"/>
                  <a:pt x="38" y="55"/>
                  <a:pt x="37" y="56"/>
                </a:cubicBezTo>
                <a:cubicBezTo>
                  <a:pt x="36" y="56"/>
                  <a:pt x="33" y="62"/>
                  <a:pt x="32" y="62"/>
                </a:cubicBezTo>
                <a:cubicBezTo>
                  <a:pt x="32" y="62"/>
                  <a:pt x="31" y="62"/>
                  <a:pt x="31" y="62"/>
                </a:cubicBezTo>
                <a:cubicBezTo>
                  <a:pt x="30" y="63"/>
                  <a:pt x="32" y="66"/>
                  <a:pt x="32" y="67"/>
                </a:cubicBezTo>
                <a:cubicBezTo>
                  <a:pt x="32" y="68"/>
                  <a:pt x="30" y="71"/>
                  <a:pt x="30" y="72"/>
                </a:cubicBezTo>
                <a:cubicBezTo>
                  <a:pt x="29" y="73"/>
                  <a:pt x="29" y="73"/>
                  <a:pt x="29" y="71"/>
                </a:cubicBezTo>
                <a:cubicBezTo>
                  <a:pt x="29" y="70"/>
                  <a:pt x="29" y="70"/>
                  <a:pt x="29" y="69"/>
                </a:cubicBezTo>
                <a:cubicBezTo>
                  <a:pt x="29" y="68"/>
                  <a:pt x="27" y="66"/>
                  <a:pt x="27" y="65"/>
                </a:cubicBezTo>
                <a:cubicBezTo>
                  <a:pt x="27" y="64"/>
                  <a:pt x="25" y="62"/>
                  <a:pt x="24" y="62"/>
                </a:cubicBezTo>
                <a:cubicBezTo>
                  <a:pt x="23" y="61"/>
                  <a:pt x="21" y="60"/>
                  <a:pt x="21" y="58"/>
                </a:cubicBezTo>
                <a:cubicBezTo>
                  <a:pt x="20" y="57"/>
                  <a:pt x="20" y="57"/>
                  <a:pt x="20" y="57"/>
                </a:cubicBezTo>
                <a:cubicBezTo>
                  <a:pt x="19" y="57"/>
                  <a:pt x="19" y="57"/>
                  <a:pt x="19" y="57"/>
                </a:cubicBezTo>
                <a:cubicBezTo>
                  <a:pt x="19" y="57"/>
                  <a:pt x="19" y="57"/>
                  <a:pt x="19" y="57"/>
                </a:cubicBezTo>
                <a:cubicBezTo>
                  <a:pt x="19" y="57"/>
                  <a:pt x="19" y="64"/>
                  <a:pt x="18" y="65"/>
                </a:cubicBezTo>
                <a:cubicBezTo>
                  <a:pt x="18" y="65"/>
                  <a:pt x="19" y="72"/>
                  <a:pt x="19" y="73"/>
                </a:cubicBezTo>
                <a:cubicBezTo>
                  <a:pt x="19" y="73"/>
                  <a:pt x="19" y="75"/>
                  <a:pt x="19" y="76"/>
                </a:cubicBezTo>
                <a:cubicBezTo>
                  <a:pt x="18" y="76"/>
                  <a:pt x="15" y="77"/>
                  <a:pt x="15" y="77"/>
                </a:cubicBezTo>
                <a:cubicBezTo>
                  <a:pt x="15" y="77"/>
                  <a:pt x="15" y="78"/>
                  <a:pt x="15" y="78"/>
                </a:cubicBezTo>
                <a:cubicBezTo>
                  <a:pt x="14" y="79"/>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3" y="78"/>
                  <a:pt x="13" y="78"/>
                  <a:pt x="13" y="78"/>
                </a:cubicBezTo>
                <a:lnTo>
                  <a:pt x="13" y="79"/>
                </a:lnTo>
                <a:close/>
              </a:path>
            </a:pathLst>
          </a:custGeom>
          <a:solidFill>
            <a:schemeClr val="accent1">
              <a:lumMod val="5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 name="Venezuela"/>
          <p:cNvSpPr>
            <a:spLocks/>
          </p:cNvSpPr>
          <p:nvPr/>
        </p:nvSpPr>
        <p:spPr bwMode="auto">
          <a:xfrm>
            <a:off x="4216760" y="3690005"/>
            <a:ext cx="360936" cy="356035"/>
          </a:xfrm>
          <a:custGeom>
            <a:avLst/>
            <a:gdLst>
              <a:gd name="T0" fmla="*/ 83 w 176"/>
              <a:gd name="T1" fmla="*/ 168 h 174"/>
              <a:gd name="T2" fmla="*/ 75 w 176"/>
              <a:gd name="T3" fmla="*/ 150 h 174"/>
              <a:gd name="T4" fmla="*/ 74 w 176"/>
              <a:gd name="T5" fmla="*/ 124 h 174"/>
              <a:gd name="T6" fmla="*/ 70 w 176"/>
              <a:gd name="T7" fmla="*/ 105 h 174"/>
              <a:gd name="T8" fmla="*/ 74 w 176"/>
              <a:gd name="T9" fmla="*/ 90 h 174"/>
              <a:gd name="T10" fmla="*/ 59 w 176"/>
              <a:gd name="T11" fmla="*/ 88 h 174"/>
              <a:gd name="T12" fmla="*/ 46 w 176"/>
              <a:gd name="T13" fmla="*/ 80 h 174"/>
              <a:gd name="T14" fmla="*/ 23 w 176"/>
              <a:gd name="T15" fmla="*/ 75 h 174"/>
              <a:gd name="T16" fmla="*/ 16 w 176"/>
              <a:gd name="T17" fmla="*/ 60 h 174"/>
              <a:gd name="T18" fmla="*/ 1 w 176"/>
              <a:gd name="T19" fmla="*/ 44 h 174"/>
              <a:gd name="T20" fmla="*/ 10 w 176"/>
              <a:gd name="T21" fmla="*/ 22 h 174"/>
              <a:gd name="T22" fmla="*/ 15 w 176"/>
              <a:gd name="T23" fmla="*/ 12 h 174"/>
              <a:gd name="T24" fmla="*/ 24 w 176"/>
              <a:gd name="T25" fmla="*/ 0 h 174"/>
              <a:gd name="T26" fmla="*/ 24 w 176"/>
              <a:gd name="T27" fmla="*/ 5 h 174"/>
              <a:gd name="T28" fmla="*/ 26 w 176"/>
              <a:gd name="T29" fmla="*/ 13 h 174"/>
              <a:gd name="T30" fmla="*/ 19 w 176"/>
              <a:gd name="T31" fmla="*/ 29 h 174"/>
              <a:gd name="T32" fmla="*/ 23 w 176"/>
              <a:gd name="T33" fmla="*/ 43 h 174"/>
              <a:gd name="T34" fmla="*/ 29 w 176"/>
              <a:gd name="T35" fmla="*/ 38 h 174"/>
              <a:gd name="T36" fmla="*/ 27 w 176"/>
              <a:gd name="T37" fmla="*/ 29 h 174"/>
              <a:gd name="T38" fmla="*/ 33 w 176"/>
              <a:gd name="T39" fmla="*/ 12 h 174"/>
              <a:gd name="T40" fmla="*/ 49 w 176"/>
              <a:gd name="T41" fmla="*/ 6 h 174"/>
              <a:gd name="T42" fmla="*/ 63 w 176"/>
              <a:gd name="T43" fmla="*/ 10 h 174"/>
              <a:gd name="T44" fmla="*/ 68 w 176"/>
              <a:gd name="T45" fmla="*/ 18 h 174"/>
              <a:gd name="T46" fmla="*/ 80 w 176"/>
              <a:gd name="T47" fmla="*/ 22 h 174"/>
              <a:gd name="T48" fmla="*/ 93 w 176"/>
              <a:gd name="T49" fmla="*/ 20 h 174"/>
              <a:gd name="T50" fmla="*/ 101 w 176"/>
              <a:gd name="T51" fmla="*/ 29 h 174"/>
              <a:gd name="T52" fmla="*/ 117 w 176"/>
              <a:gd name="T53" fmla="*/ 27 h 174"/>
              <a:gd name="T54" fmla="*/ 123 w 176"/>
              <a:gd name="T55" fmla="*/ 22 h 174"/>
              <a:gd name="T56" fmla="*/ 124 w 176"/>
              <a:gd name="T57" fmla="*/ 20 h 174"/>
              <a:gd name="T58" fmla="*/ 131 w 176"/>
              <a:gd name="T59" fmla="*/ 20 h 174"/>
              <a:gd name="T60" fmla="*/ 143 w 176"/>
              <a:gd name="T61" fmla="*/ 19 h 174"/>
              <a:gd name="T62" fmla="*/ 151 w 176"/>
              <a:gd name="T63" fmla="*/ 20 h 174"/>
              <a:gd name="T64" fmla="*/ 140 w 176"/>
              <a:gd name="T65" fmla="*/ 22 h 174"/>
              <a:gd name="T66" fmla="*/ 142 w 176"/>
              <a:gd name="T67" fmla="*/ 28 h 174"/>
              <a:gd name="T68" fmla="*/ 150 w 176"/>
              <a:gd name="T69" fmla="*/ 29 h 174"/>
              <a:gd name="T70" fmla="*/ 157 w 176"/>
              <a:gd name="T71" fmla="*/ 33 h 174"/>
              <a:gd name="T72" fmla="*/ 164 w 176"/>
              <a:gd name="T73" fmla="*/ 43 h 174"/>
              <a:gd name="T74" fmla="*/ 162 w 176"/>
              <a:gd name="T75" fmla="*/ 51 h 174"/>
              <a:gd name="T76" fmla="*/ 170 w 176"/>
              <a:gd name="T77" fmla="*/ 52 h 174"/>
              <a:gd name="T78" fmla="*/ 172 w 176"/>
              <a:gd name="T79" fmla="*/ 58 h 174"/>
              <a:gd name="T80" fmla="*/ 164 w 176"/>
              <a:gd name="T81" fmla="*/ 67 h 174"/>
              <a:gd name="T82" fmla="*/ 169 w 176"/>
              <a:gd name="T83" fmla="*/ 78 h 174"/>
              <a:gd name="T84" fmla="*/ 159 w 176"/>
              <a:gd name="T85" fmla="*/ 80 h 174"/>
              <a:gd name="T86" fmla="*/ 152 w 176"/>
              <a:gd name="T87" fmla="*/ 91 h 174"/>
              <a:gd name="T88" fmla="*/ 158 w 176"/>
              <a:gd name="T89" fmla="*/ 98 h 174"/>
              <a:gd name="T90" fmla="*/ 164 w 176"/>
              <a:gd name="T91" fmla="*/ 106 h 174"/>
              <a:gd name="T92" fmla="*/ 156 w 176"/>
              <a:gd name="T93" fmla="*/ 116 h 174"/>
              <a:gd name="T94" fmla="*/ 142 w 176"/>
              <a:gd name="T95" fmla="*/ 122 h 174"/>
              <a:gd name="T96" fmla="*/ 130 w 176"/>
              <a:gd name="T97" fmla="*/ 128 h 174"/>
              <a:gd name="T98" fmla="*/ 114 w 176"/>
              <a:gd name="T99" fmla="*/ 122 h 174"/>
              <a:gd name="T100" fmla="*/ 117 w 176"/>
              <a:gd name="T101" fmla="*/ 133 h 174"/>
              <a:gd name="T102" fmla="*/ 118 w 176"/>
              <a:gd name="T103" fmla="*/ 145 h 174"/>
              <a:gd name="T104" fmla="*/ 128 w 176"/>
              <a:gd name="T105" fmla="*/ 148 h 174"/>
              <a:gd name="T106" fmla="*/ 119 w 176"/>
              <a:gd name="T107" fmla="*/ 155 h 174"/>
              <a:gd name="T108" fmla="*/ 108 w 176"/>
              <a:gd name="T109" fmla="*/ 168 h 174"/>
              <a:gd name="T110" fmla="*/ 97 w 176"/>
              <a:gd name="T111" fmla="*/ 174 h 174"/>
              <a:gd name="T112" fmla="*/ 83 w 176"/>
              <a:gd name="T113" fmla="*/ 1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74">
                <a:moveTo>
                  <a:pt x="83" y="168"/>
                </a:moveTo>
                <a:cubicBezTo>
                  <a:pt x="83" y="168"/>
                  <a:pt x="83" y="168"/>
                  <a:pt x="83" y="168"/>
                </a:cubicBezTo>
                <a:cubicBezTo>
                  <a:pt x="83" y="168"/>
                  <a:pt x="83" y="168"/>
                  <a:pt x="83" y="168"/>
                </a:cubicBezTo>
                <a:cubicBezTo>
                  <a:pt x="83" y="168"/>
                  <a:pt x="83" y="168"/>
                  <a:pt x="83" y="167"/>
                </a:cubicBezTo>
                <a:cubicBezTo>
                  <a:pt x="83" y="166"/>
                  <a:pt x="78" y="159"/>
                  <a:pt x="78" y="158"/>
                </a:cubicBezTo>
                <a:cubicBezTo>
                  <a:pt x="78" y="157"/>
                  <a:pt x="75" y="150"/>
                  <a:pt x="75" y="150"/>
                </a:cubicBezTo>
                <a:cubicBezTo>
                  <a:pt x="75" y="150"/>
                  <a:pt x="72" y="145"/>
                  <a:pt x="72" y="143"/>
                </a:cubicBezTo>
                <a:cubicBezTo>
                  <a:pt x="72" y="141"/>
                  <a:pt x="73" y="134"/>
                  <a:pt x="73" y="133"/>
                </a:cubicBezTo>
                <a:cubicBezTo>
                  <a:pt x="73" y="132"/>
                  <a:pt x="74" y="125"/>
                  <a:pt x="74" y="124"/>
                </a:cubicBezTo>
                <a:cubicBezTo>
                  <a:pt x="74" y="122"/>
                  <a:pt x="73" y="122"/>
                  <a:pt x="72" y="120"/>
                </a:cubicBezTo>
                <a:cubicBezTo>
                  <a:pt x="71" y="118"/>
                  <a:pt x="71" y="113"/>
                  <a:pt x="71" y="113"/>
                </a:cubicBezTo>
                <a:cubicBezTo>
                  <a:pt x="71" y="113"/>
                  <a:pt x="70" y="107"/>
                  <a:pt x="70" y="105"/>
                </a:cubicBezTo>
                <a:cubicBezTo>
                  <a:pt x="70" y="104"/>
                  <a:pt x="72" y="103"/>
                  <a:pt x="72" y="101"/>
                </a:cubicBezTo>
                <a:cubicBezTo>
                  <a:pt x="73" y="100"/>
                  <a:pt x="75" y="95"/>
                  <a:pt x="75" y="93"/>
                </a:cubicBezTo>
                <a:cubicBezTo>
                  <a:pt x="75" y="92"/>
                  <a:pt x="75" y="91"/>
                  <a:pt x="74" y="90"/>
                </a:cubicBezTo>
                <a:cubicBezTo>
                  <a:pt x="73" y="88"/>
                  <a:pt x="70" y="88"/>
                  <a:pt x="70" y="88"/>
                </a:cubicBezTo>
                <a:cubicBezTo>
                  <a:pt x="66" y="88"/>
                  <a:pt x="66" y="88"/>
                  <a:pt x="66" y="88"/>
                </a:cubicBezTo>
                <a:cubicBezTo>
                  <a:pt x="66" y="88"/>
                  <a:pt x="60" y="87"/>
                  <a:pt x="59" y="88"/>
                </a:cubicBezTo>
                <a:cubicBezTo>
                  <a:pt x="58" y="88"/>
                  <a:pt x="54" y="88"/>
                  <a:pt x="53" y="88"/>
                </a:cubicBezTo>
                <a:cubicBezTo>
                  <a:pt x="52" y="88"/>
                  <a:pt x="49" y="84"/>
                  <a:pt x="49" y="84"/>
                </a:cubicBezTo>
                <a:cubicBezTo>
                  <a:pt x="46" y="80"/>
                  <a:pt x="46" y="80"/>
                  <a:pt x="46" y="80"/>
                </a:cubicBezTo>
                <a:cubicBezTo>
                  <a:pt x="46" y="80"/>
                  <a:pt x="40" y="76"/>
                  <a:pt x="39" y="75"/>
                </a:cubicBezTo>
                <a:cubicBezTo>
                  <a:pt x="38" y="75"/>
                  <a:pt x="31" y="75"/>
                  <a:pt x="31" y="75"/>
                </a:cubicBezTo>
                <a:cubicBezTo>
                  <a:pt x="31" y="75"/>
                  <a:pt x="23" y="75"/>
                  <a:pt x="23" y="75"/>
                </a:cubicBezTo>
                <a:cubicBezTo>
                  <a:pt x="21" y="75"/>
                  <a:pt x="18" y="75"/>
                  <a:pt x="17" y="75"/>
                </a:cubicBezTo>
                <a:cubicBezTo>
                  <a:pt x="16" y="74"/>
                  <a:pt x="16" y="72"/>
                  <a:pt x="15" y="71"/>
                </a:cubicBezTo>
                <a:cubicBezTo>
                  <a:pt x="15" y="69"/>
                  <a:pt x="16" y="61"/>
                  <a:pt x="16" y="60"/>
                </a:cubicBezTo>
                <a:cubicBezTo>
                  <a:pt x="15" y="58"/>
                  <a:pt x="13" y="51"/>
                  <a:pt x="13" y="50"/>
                </a:cubicBezTo>
                <a:cubicBezTo>
                  <a:pt x="13" y="50"/>
                  <a:pt x="10" y="46"/>
                  <a:pt x="9" y="46"/>
                </a:cubicBezTo>
                <a:cubicBezTo>
                  <a:pt x="8" y="45"/>
                  <a:pt x="2" y="44"/>
                  <a:pt x="1" y="44"/>
                </a:cubicBezTo>
                <a:cubicBezTo>
                  <a:pt x="0" y="44"/>
                  <a:pt x="5" y="38"/>
                  <a:pt x="5" y="36"/>
                </a:cubicBezTo>
                <a:cubicBezTo>
                  <a:pt x="6" y="35"/>
                  <a:pt x="8" y="29"/>
                  <a:pt x="8" y="29"/>
                </a:cubicBezTo>
                <a:cubicBezTo>
                  <a:pt x="8" y="29"/>
                  <a:pt x="10" y="23"/>
                  <a:pt x="10" y="22"/>
                </a:cubicBezTo>
                <a:cubicBezTo>
                  <a:pt x="10" y="21"/>
                  <a:pt x="11" y="19"/>
                  <a:pt x="11" y="18"/>
                </a:cubicBezTo>
                <a:cubicBezTo>
                  <a:pt x="12" y="18"/>
                  <a:pt x="15" y="16"/>
                  <a:pt x="15" y="15"/>
                </a:cubicBezTo>
                <a:cubicBezTo>
                  <a:pt x="15" y="15"/>
                  <a:pt x="15" y="13"/>
                  <a:pt x="15" y="12"/>
                </a:cubicBezTo>
                <a:cubicBezTo>
                  <a:pt x="15" y="11"/>
                  <a:pt x="17" y="6"/>
                  <a:pt x="17" y="5"/>
                </a:cubicBezTo>
                <a:cubicBezTo>
                  <a:pt x="18" y="4"/>
                  <a:pt x="19" y="3"/>
                  <a:pt x="20" y="2"/>
                </a:cubicBezTo>
                <a:cubicBezTo>
                  <a:pt x="21" y="1"/>
                  <a:pt x="24" y="0"/>
                  <a:pt x="24" y="0"/>
                </a:cubicBezTo>
                <a:cubicBezTo>
                  <a:pt x="25" y="1"/>
                  <a:pt x="25" y="1"/>
                  <a:pt x="25" y="1"/>
                </a:cubicBezTo>
                <a:cubicBezTo>
                  <a:pt x="25" y="1"/>
                  <a:pt x="25" y="1"/>
                  <a:pt x="25" y="1"/>
                </a:cubicBezTo>
                <a:cubicBezTo>
                  <a:pt x="25" y="2"/>
                  <a:pt x="25" y="4"/>
                  <a:pt x="24" y="5"/>
                </a:cubicBezTo>
                <a:cubicBezTo>
                  <a:pt x="23" y="6"/>
                  <a:pt x="21" y="4"/>
                  <a:pt x="20" y="5"/>
                </a:cubicBezTo>
                <a:cubicBezTo>
                  <a:pt x="20" y="7"/>
                  <a:pt x="20" y="8"/>
                  <a:pt x="20" y="9"/>
                </a:cubicBezTo>
                <a:cubicBezTo>
                  <a:pt x="21" y="10"/>
                  <a:pt x="25" y="12"/>
                  <a:pt x="26" y="13"/>
                </a:cubicBezTo>
                <a:cubicBezTo>
                  <a:pt x="26" y="14"/>
                  <a:pt x="25" y="16"/>
                  <a:pt x="24" y="18"/>
                </a:cubicBezTo>
                <a:cubicBezTo>
                  <a:pt x="23" y="19"/>
                  <a:pt x="22" y="24"/>
                  <a:pt x="22" y="25"/>
                </a:cubicBezTo>
                <a:cubicBezTo>
                  <a:pt x="21" y="26"/>
                  <a:pt x="20" y="28"/>
                  <a:pt x="19" y="29"/>
                </a:cubicBezTo>
                <a:cubicBezTo>
                  <a:pt x="19" y="31"/>
                  <a:pt x="18" y="33"/>
                  <a:pt x="19" y="34"/>
                </a:cubicBezTo>
                <a:cubicBezTo>
                  <a:pt x="20" y="35"/>
                  <a:pt x="21" y="37"/>
                  <a:pt x="21" y="38"/>
                </a:cubicBezTo>
                <a:cubicBezTo>
                  <a:pt x="21" y="39"/>
                  <a:pt x="21" y="41"/>
                  <a:pt x="23" y="43"/>
                </a:cubicBezTo>
                <a:cubicBezTo>
                  <a:pt x="24" y="43"/>
                  <a:pt x="26" y="43"/>
                  <a:pt x="26" y="42"/>
                </a:cubicBezTo>
                <a:cubicBezTo>
                  <a:pt x="27" y="41"/>
                  <a:pt x="30" y="40"/>
                  <a:pt x="30" y="40"/>
                </a:cubicBezTo>
                <a:cubicBezTo>
                  <a:pt x="29" y="38"/>
                  <a:pt x="29" y="38"/>
                  <a:pt x="29" y="38"/>
                </a:cubicBezTo>
                <a:cubicBezTo>
                  <a:pt x="29" y="38"/>
                  <a:pt x="28" y="37"/>
                  <a:pt x="29" y="36"/>
                </a:cubicBezTo>
                <a:cubicBezTo>
                  <a:pt x="29" y="35"/>
                  <a:pt x="30" y="33"/>
                  <a:pt x="30" y="32"/>
                </a:cubicBezTo>
                <a:cubicBezTo>
                  <a:pt x="30" y="31"/>
                  <a:pt x="27" y="30"/>
                  <a:pt x="27" y="29"/>
                </a:cubicBezTo>
                <a:cubicBezTo>
                  <a:pt x="27" y="28"/>
                  <a:pt x="26" y="24"/>
                  <a:pt x="27" y="22"/>
                </a:cubicBezTo>
                <a:cubicBezTo>
                  <a:pt x="27" y="21"/>
                  <a:pt x="29" y="15"/>
                  <a:pt x="30" y="14"/>
                </a:cubicBezTo>
                <a:cubicBezTo>
                  <a:pt x="30" y="13"/>
                  <a:pt x="32" y="12"/>
                  <a:pt x="33" y="12"/>
                </a:cubicBezTo>
                <a:cubicBezTo>
                  <a:pt x="34" y="11"/>
                  <a:pt x="36" y="11"/>
                  <a:pt x="37" y="10"/>
                </a:cubicBezTo>
                <a:cubicBezTo>
                  <a:pt x="39" y="10"/>
                  <a:pt x="41" y="10"/>
                  <a:pt x="42" y="10"/>
                </a:cubicBezTo>
                <a:cubicBezTo>
                  <a:pt x="43" y="9"/>
                  <a:pt x="47" y="6"/>
                  <a:pt x="49" y="6"/>
                </a:cubicBezTo>
                <a:cubicBezTo>
                  <a:pt x="50" y="6"/>
                  <a:pt x="53" y="6"/>
                  <a:pt x="54" y="6"/>
                </a:cubicBezTo>
                <a:cubicBezTo>
                  <a:pt x="55" y="6"/>
                  <a:pt x="55" y="6"/>
                  <a:pt x="58" y="6"/>
                </a:cubicBezTo>
                <a:cubicBezTo>
                  <a:pt x="60" y="6"/>
                  <a:pt x="63" y="10"/>
                  <a:pt x="63" y="10"/>
                </a:cubicBezTo>
                <a:cubicBezTo>
                  <a:pt x="63" y="10"/>
                  <a:pt x="68" y="13"/>
                  <a:pt x="69" y="14"/>
                </a:cubicBezTo>
                <a:cubicBezTo>
                  <a:pt x="70" y="14"/>
                  <a:pt x="70" y="15"/>
                  <a:pt x="70" y="16"/>
                </a:cubicBezTo>
                <a:cubicBezTo>
                  <a:pt x="70" y="17"/>
                  <a:pt x="68" y="17"/>
                  <a:pt x="68" y="18"/>
                </a:cubicBezTo>
                <a:cubicBezTo>
                  <a:pt x="68" y="20"/>
                  <a:pt x="67" y="21"/>
                  <a:pt x="68" y="22"/>
                </a:cubicBezTo>
                <a:cubicBezTo>
                  <a:pt x="70" y="22"/>
                  <a:pt x="73" y="22"/>
                  <a:pt x="74" y="22"/>
                </a:cubicBezTo>
                <a:cubicBezTo>
                  <a:pt x="74" y="22"/>
                  <a:pt x="79" y="22"/>
                  <a:pt x="80" y="22"/>
                </a:cubicBezTo>
                <a:cubicBezTo>
                  <a:pt x="81" y="21"/>
                  <a:pt x="83" y="20"/>
                  <a:pt x="84" y="20"/>
                </a:cubicBezTo>
                <a:cubicBezTo>
                  <a:pt x="85" y="20"/>
                  <a:pt x="86" y="19"/>
                  <a:pt x="88" y="20"/>
                </a:cubicBezTo>
                <a:cubicBezTo>
                  <a:pt x="90" y="20"/>
                  <a:pt x="92" y="20"/>
                  <a:pt x="93" y="20"/>
                </a:cubicBezTo>
                <a:cubicBezTo>
                  <a:pt x="94" y="20"/>
                  <a:pt x="95" y="20"/>
                  <a:pt x="97" y="21"/>
                </a:cubicBezTo>
                <a:cubicBezTo>
                  <a:pt x="98" y="22"/>
                  <a:pt x="99" y="24"/>
                  <a:pt x="98" y="25"/>
                </a:cubicBezTo>
                <a:cubicBezTo>
                  <a:pt x="98" y="26"/>
                  <a:pt x="100" y="28"/>
                  <a:pt x="101" y="29"/>
                </a:cubicBezTo>
                <a:cubicBezTo>
                  <a:pt x="102" y="29"/>
                  <a:pt x="108" y="29"/>
                  <a:pt x="109" y="29"/>
                </a:cubicBezTo>
                <a:cubicBezTo>
                  <a:pt x="109" y="29"/>
                  <a:pt x="110" y="27"/>
                  <a:pt x="111" y="27"/>
                </a:cubicBezTo>
                <a:cubicBezTo>
                  <a:pt x="113" y="26"/>
                  <a:pt x="115" y="27"/>
                  <a:pt x="117" y="27"/>
                </a:cubicBezTo>
                <a:cubicBezTo>
                  <a:pt x="118" y="27"/>
                  <a:pt x="119" y="27"/>
                  <a:pt x="119" y="26"/>
                </a:cubicBezTo>
                <a:cubicBezTo>
                  <a:pt x="119" y="24"/>
                  <a:pt x="119" y="22"/>
                  <a:pt x="120" y="22"/>
                </a:cubicBezTo>
                <a:cubicBezTo>
                  <a:pt x="120" y="22"/>
                  <a:pt x="122" y="22"/>
                  <a:pt x="123" y="22"/>
                </a:cubicBezTo>
                <a:cubicBezTo>
                  <a:pt x="124" y="22"/>
                  <a:pt x="125" y="23"/>
                  <a:pt x="126" y="22"/>
                </a:cubicBezTo>
                <a:cubicBezTo>
                  <a:pt x="127" y="22"/>
                  <a:pt x="127" y="21"/>
                  <a:pt x="127" y="21"/>
                </a:cubicBezTo>
                <a:cubicBezTo>
                  <a:pt x="127" y="21"/>
                  <a:pt x="124" y="20"/>
                  <a:pt x="124" y="20"/>
                </a:cubicBezTo>
                <a:cubicBezTo>
                  <a:pt x="123" y="19"/>
                  <a:pt x="124" y="18"/>
                  <a:pt x="125" y="18"/>
                </a:cubicBezTo>
                <a:cubicBezTo>
                  <a:pt x="125" y="18"/>
                  <a:pt x="129" y="19"/>
                  <a:pt x="129" y="19"/>
                </a:cubicBezTo>
                <a:cubicBezTo>
                  <a:pt x="130" y="19"/>
                  <a:pt x="131" y="20"/>
                  <a:pt x="131" y="20"/>
                </a:cubicBezTo>
                <a:cubicBezTo>
                  <a:pt x="132" y="19"/>
                  <a:pt x="134" y="18"/>
                  <a:pt x="135" y="18"/>
                </a:cubicBezTo>
                <a:cubicBezTo>
                  <a:pt x="137" y="18"/>
                  <a:pt x="138" y="20"/>
                  <a:pt x="139" y="20"/>
                </a:cubicBezTo>
                <a:cubicBezTo>
                  <a:pt x="140" y="20"/>
                  <a:pt x="142" y="19"/>
                  <a:pt x="143" y="19"/>
                </a:cubicBezTo>
                <a:cubicBezTo>
                  <a:pt x="144" y="19"/>
                  <a:pt x="146" y="19"/>
                  <a:pt x="146" y="19"/>
                </a:cubicBezTo>
                <a:cubicBezTo>
                  <a:pt x="146" y="19"/>
                  <a:pt x="149" y="19"/>
                  <a:pt x="150" y="19"/>
                </a:cubicBezTo>
                <a:cubicBezTo>
                  <a:pt x="150" y="19"/>
                  <a:pt x="151" y="20"/>
                  <a:pt x="151" y="20"/>
                </a:cubicBezTo>
                <a:cubicBezTo>
                  <a:pt x="151" y="20"/>
                  <a:pt x="150" y="21"/>
                  <a:pt x="149" y="21"/>
                </a:cubicBezTo>
                <a:cubicBezTo>
                  <a:pt x="148" y="22"/>
                  <a:pt x="146" y="22"/>
                  <a:pt x="145" y="21"/>
                </a:cubicBezTo>
                <a:cubicBezTo>
                  <a:pt x="143" y="21"/>
                  <a:pt x="141" y="20"/>
                  <a:pt x="140" y="22"/>
                </a:cubicBezTo>
                <a:cubicBezTo>
                  <a:pt x="140" y="23"/>
                  <a:pt x="140" y="24"/>
                  <a:pt x="140" y="24"/>
                </a:cubicBezTo>
                <a:cubicBezTo>
                  <a:pt x="141" y="24"/>
                  <a:pt x="142" y="23"/>
                  <a:pt x="142" y="24"/>
                </a:cubicBezTo>
                <a:cubicBezTo>
                  <a:pt x="143" y="26"/>
                  <a:pt x="142" y="27"/>
                  <a:pt x="142" y="28"/>
                </a:cubicBezTo>
                <a:cubicBezTo>
                  <a:pt x="142" y="29"/>
                  <a:pt x="144" y="29"/>
                  <a:pt x="144" y="28"/>
                </a:cubicBezTo>
                <a:cubicBezTo>
                  <a:pt x="145" y="28"/>
                  <a:pt x="146" y="28"/>
                  <a:pt x="147" y="29"/>
                </a:cubicBezTo>
                <a:cubicBezTo>
                  <a:pt x="148" y="29"/>
                  <a:pt x="149" y="28"/>
                  <a:pt x="150" y="29"/>
                </a:cubicBezTo>
                <a:cubicBezTo>
                  <a:pt x="150" y="30"/>
                  <a:pt x="151" y="31"/>
                  <a:pt x="152" y="31"/>
                </a:cubicBezTo>
                <a:cubicBezTo>
                  <a:pt x="152" y="32"/>
                  <a:pt x="153" y="32"/>
                  <a:pt x="154" y="32"/>
                </a:cubicBezTo>
                <a:cubicBezTo>
                  <a:pt x="156" y="31"/>
                  <a:pt x="157" y="32"/>
                  <a:pt x="157" y="33"/>
                </a:cubicBezTo>
                <a:cubicBezTo>
                  <a:pt x="157" y="34"/>
                  <a:pt x="158" y="36"/>
                  <a:pt x="159" y="36"/>
                </a:cubicBezTo>
                <a:cubicBezTo>
                  <a:pt x="161" y="37"/>
                  <a:pt x="163" y="37"/>
                  <a:pt x="164" y="39"/>
                </a:cubicBezTo>
                <a:cubicBezTo>
                  <a:pt x="165" y="41"/>
                  <a:pt x="165" y="42"/>
                  <a:pt x="164" y="43"/>
                </a:cubicBezTo>
                <a:cubicBezTo>
                  <a:pt x="164" y="44"/>
                  <a:pt x="164" y="46"/>
                  <a:pt x="165" y="47"/>
                </a:cubicBezTo>
                <a:cubicBezTo>
                  <a:pt x="165" y="47"/>
                  <a:pt x="166" y="48"/>
                  <a:pt x="165" y="49"/>
                </a:cubicBezTo>
                <a:cubicBezTo>
                  <a:pt x="165" y="50"/>
                  <a:pt x="163" y="51"/>
                  <a:pt x="162" y="51"/>
                </a:cubicBezTo>
                <a:cubicBezTo>
                  <a:pt x="161" y="51"/>
                  <a:pt x="161" y="50"/>
                  <a:pt x="161" y="52"/>
                </a:cubicBezTo>
                <a:cubicBezTo>
                  <a:pt x="160" y="53"/>
                  <a:pt x="162" y="54"/>
                  <a:pt x="163" y="53"/>
                </a:cubicBezTo>
                <a:cubicBezTo>
                  <a:pt x="164" y="53"/>
                  <a:pt x="167" y="52"/>
                  <a:pt x="170" y="52"/>
                </a:cubicBezTo>
                <a:cubicBezTo>
                  <a:pt x="172" y="52"/>
                  <a:pt x="173" y="51"/>
                  <a:pt x="173" y="53"/>
                </a:cubicBezTo>
                <a:cubicBezTo>
                  <a:pt x="173" y="55"/>
                  <a:pt x="174" y="56"/>
                  <a:pt x="175" y="56"/>
                </a:cubicBezTo>
                <a:cubicBezTo>
                  <a:pt x="176" y="56"/>
                  <a:pt x="173" y="57"/>
                  <a:pt x="172" y="58"/>
                </a:cubicBezTo>
                <a:cubicBezTo>
                  <a:pt x="172" y="59"/>
                  <a:pt x="171" y="60"/>
                  <a:pt x="170" y="61"/>
                </a:cubicBezTo>
                <a:cubicBezTo>
                  <a:pt x="169" y="62"/>
                  <a:pt x="165" y="63"/>
                  <a:pt x="165" y="64"/>
                </a:cubicBezTo>
                <a:cubicBezTo>
                  <a:pt x="164" y="65"/>
                  <a:pt x="164" y="66"/>
                  <a:pt x="164" y="67"/>
                </a:cubicBezTo>
                <a:cubicBezTo>
                  <a:pt x="163" y="69"/>
                  <a:pt x="164" y="71"/>
                  <a:pt x="164" y="71"/>
                </a:cubicBezTo>
                <a:cubicBezTo>
                  <a:pt x="165" y="72"/>
                  <a:pt x="167" y="73"/>
                  <a:pt x="168" y="75"/>
                </a:cubicBezTo>
                <a:cubicBezTo>
                  <a:pt x="169" y="76"/>
                  <a:pt x="169" y="77"/>
                  <a:pt x="169" y="78"/>
                </a:cubicBezTo>
                <a:cubicBezTo>
                  <a:pt x="168" y="79"/>
                  <a:pt x="167" y="80"/>
                  <a:pt x="166" y="80"/>
                </a:cubicBezTo>
                <a:cubicBezTo>
                  <a:pt x="164" y="80"/>
                  <a:pt x="163" y="79"/>
                  <a:pt x="161" y="79"/>
                </a:cubicBezTo>
                <a:cubicBezTo>
                  <a:pt x="160" y="79"/>
                  <a:pt x="160" y="79"/>
                  <a:pt x="159" y="80"/>
                </a:cubicBezTo>
                <a:cubicBezTo>
                  <a:pt x="159" y="81"/>
                  <a:pt x="158" y="84"/>
                  <a:pt x="157" y="84"/>
                </a:cubicBezTo>
                <a:cubicBezTo>
                  <a:pt x="157" y="85"/>
                  <a:pt x="156" y="88"/>
                  <a:pt x="155" y="89"/>
                </a:cubicBezTo>
                <a:cubicBezTo>
                  <a:pt x="155" y="90"/>
                  <a:pt x="152" y="90"/>
                  <a:pt x="152" y="91"/>
                </a:cubicBezTo>
                <a:cubicBezTo>
                  <a:pt x="152" y="92"/>
                  <a:pt x="152" y="94"/>
                  <a:pt x="152" y="94"/>
                </a:cubicBezTo>
                <a:cubicBezTo>
                  <a:pt x="153" y="94"/>
                  <a:pt x="154" y="96"/>
                  <a:pt x="155" y="96"/>
                </a:cubicBezTo>
                <a:cubicBezTo>
                  <a:pt x="156" y="96"/>
                  <a:pt x="157" y="97"/>
                  <a:pt x="158" y="98"/>
                </a:cubicBezTo>
                <a:cubicBezTo>
                  <a:pt x="159" y="98"/>
                  <a:pt x="161" y="101"/>
                  <a:pt x="161" y="101"/>
                </a:cubicBezTo>
                <a:cubicBezTo>
                  <a:pt x="161" y="101"/>
                  <a:pt x="164" y="103"/>
                  <a:pt x="164" y="105"/>
                </a:cubicBezTo>
                <a:cubicBezTo>
                  <a:pt x="164" y="105"/>
                  <a:pt x="164" y="106"/>
                  <a:pt x="164" y="106"/>
                </a:cubicBezTo>
                <a:cubicBezTo>
                  <a:pt x="164" y="106"/>
                  <a:pt x="164" y="110"/>
                  <a:pt x="163" y="111"/>
                </a:cubicBezTo>
                <a:cubicBezTo>
                  <a:pt x="163" y="111"/>
                  <a:pt x="161" y="114"/>
                  <a:pt x="161" y="115"/>
                </a:cubicBezTo>
                <a:cubicBezTo>
                  <a:pt x="160" y="115"/>
                  <a:pt x="156" y="116"/>
                  <a:pt x="156" y="116"/>
                </a:cubicBezTo>
                <a:cubicBezTo>
                  <a:pt x="153" y="120"/>
                  <a:pt x="153" y="120"/>
                  <a:pt x="153" y="120"/>
                </a:cubicBezTo>
                <a:cubicBezTo>
                  <a:pt x="153" y="120"/>
                  <a:pt x="148" y="121"/>
                  <a:pt x="147" y="121"/>
                </a:cubicBezTo>
                <a:cubicBezTo>
                  <a:pt x="146" y="122"/>
                  <a:pt x="143" y="122"/>
                  <a:pt x="142" y="122"/>
                </a:cubicBezTo>
                <a:cubicBezTo>
                  <a:pt x="141" y="123"/>
                  <a:pt x="139" y="124"/>
                  <a:pt x="139" y="124"/>
                </a:cubicBezTo>
                <a:cubicBezTo>
                  <a:pt x="139" y="124"/>
                  <a:pt x="135" y="128"/>
                  <a:pt x="134" y="128"/>
                </a:cubicBezTo>
                <a:cubicBezTo>
                  <a:pt x="133" y="128"/>
                  <a:pt x="131" y="128"/>
                  <a:pt x="130" y="128"/>
                </a:cubicBezTo>
                <a:cubicBezTo>
                  <a:pt x="129" y="128"/>
                  <a:pt x="122" y="124"/>
                  <a:pt x="122" y="124"/>
                </a:cubicBezTo>
                <a:cubicBezTo>
                  <a:pt x="122" y="124"/>
                  <a:pt x="116" y="120"/>
                  <a:pt x="116" y="120"/>
                </a:cubicBezTo>
                <a:cubicBezTo>
                  <a:pt x="115" y="120"/>
                  <a:pt x="114" y="121"/>
                  <a:pt x="114" y="122"/>
                </a:cubicBezTo>
                <a:cubicBezTo>
                  <a:pt x="114" y="123"/>
                  <a:pt x="115" y="126"/>
                  <a:pt x="115" y="126"/>
                </a:cubicBezTo>
                <a:cubicBezTo>
                  <a:pt x="115" y="126"/>
                  <a:pt x="117" y="128"/>
                  <a:pt x="117" y="129"/>
                </a:cubicBezTo>
                <a:cubicBezTo>
                  <a:pt x="117" y="130"/>
                  <a:pt x="117" y="132"/>
                  <a:pt x="117" y="133"/>
                </a:cubicBezTo>
                <a:cubicBezTo>
                  <a:pt x="117" y="134"/>
                  <a:pt x="116" y="135"/>
                  <a:pt x="116" y="136"/>
                </a:cubicBezTo>
                <a:cubicBezTo>
                  <a:pt x="116" y="137"/>
                  <a:pt x="116" y="140"/>
                  <a:pt x="116" y="142"/>
                </a:cubicBezTo>
                <a:cubicBezTo>
                  <a:pt x="116" y="143"/>
                  <a:pt x="117" y="145"/>
                  <a:pt x="118" y="145"/>
                </a:cubicBezTo>
                <a:cubicBezTo>
                  <a:pt x="119" y="146"/>
                  <a:pt x="119" y="146"/>
                  <a:pt x="121" y="146"/>
                </a:cubicBezTo>
                <a:cubicBezTo>
                  <a:pt x="122" y="146"/>
                  <a:pt x="125" y="145"/>
                  <a:pt x="127" y="146"/>
                </a:cubicBezTo>
                <a:cubicBezTo>
                  <a:pt x="128" y="147"/>
                  <a:pt x="129" y="147"/>
                  <a:pt x="128" y="148"/>
                </a:cubicBezTo>
                <a:cubicBezTo>
                  <a:pt x="128" y="149"/>
                  <a:pt x="127" y="151"/>
                  <a:pt x="126" y="151"/>
                </a:cubicBezTo>
                <a:cubicBezTo>
                  <a:pt x="126" y="152"/>
                  <a:pt x="124" y="154"/>
                  <a:pt x="123" y="155"/>
                </a:cubicBezTo>
                <a:cubicBezTo>
                  <a:pt x="122" y="155"/>
                  <a:pt x="120" y="154"/>
                  <a:pt x="119" y="155"/>
                </a:cubicBezTo>
                <a:cubicBezTo>
                  <a:pt x="118" y="156"/>
                  <a:pt x="117" y="158"/>
                  <a:pt x="117" y="159"/>
                </a:cubicBezTo>
                <a:cubicBezTo>
                  <a:pt x="117" y="161"/>
                  <a:pt x="115" y="164"/>
                  <a:pt x="114" y="164"/>
                </a:cubicBezTo>
                <a:cubicBezTo>
                  <a:pt x="113" y="165"/>
                  <a:pt x="108" y="168"/>
                  <a:pt x="108" y="168"/>
                </a:cubicBezTo>
                <a:cubicBezTo>
                  <a:pt x="108" y="168"/>
                  <a:pt x="106" y="170"/>
                  <a:pt x="106" y="171"/>
                </a:cubicBezTo>
                <a:cubicBezTo>
                  <a:pt x="105" y="171"/>
                  <a:pt x="104" y="173"/>
                  <a:pt x="103" y="173"/>
                </a:cubicBezTo>
                <a:cubicBezTo>
                  <a:pt x="103" y="174"/>
                  <a:pt x="99" y="174"/>
                  <a:pt x="97" y="174"/>
                </a:cubicBezTo>
                <a:cubicBezTo>
                  <a:pt x="96" y="174"/>
                  <a:pt x="91" y="173"/>
                  <a:pt x="91" y="173"/>
                </a:cubicBezTo>
                <a:cubicBezTo>
                  <a:pt x="86" y="170"/>
                  <a:pt x="86" y="170"/>
                  <a:pt x="86" y="170"/>
                </a:cubicBezTo>
                <a:lnTo>
                  <a:pt x="83" y="168"/>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 name="Guyana"/>
          <p:cNvSpPr>
            <a:spLocks/>
          </p:cNvSpPr>
          <p:nvPr/>
        </p:nvSpPr>
        <p:spPr bwMode="auto">
          <a:xfrm>
            <a:off x="4528698" y="3804328"/>
            <a:ext cx="137188" cy="231913"/>
          </a:xfrm>
          <a:custGeom>
            <a:avLst/>
            <a:gdLst>
              <a:gd name="T0" fmla="*/ 20 w 67"/>
              <a:gd name="T1" fmla="*/ 2 h 113"/>
              <a:gd name="T2" fmla="*/ 13 w 67"/>
              <a:gd name="T3" fmla="*/ 8 h 113"/>
              <a:gd name="T4" fmla="*/ 12 w 67"/>
              <a:gd name="T5" fmla="*/ 15 h 113"/>
              <a:gd name="T6" fmla="*/ 17 w 67"/>
              <a:gd name="T7" fmla="*/ 22 h 113"/>
              <a:gd name="T8" fmla="*/ 9 w 67"/>
              <a:gd name="T9" fmla="*/ 23 h 113"/>
              <a:gd name="T10" fmla="*/ 5 w 67"/>
              <a:gd name="T11" fmla="*/ 28 h 113"/>
              <a:gd name="T12" fmla="*/ 0 w 67"/>
              <a:gd name="T13" fmla="*/ 35 h 113"/>
              <a:gd name="T14" fmla="*/ 3 w 67"/>
              <a:gd name="T15" fmla="*/ 40 h 113"/>
              <a:gd name="T16" fmla="*/ 9 w 67"/>
              <a:gd name="T17" fmla="*/ 45 h 113"/>
              <a:gd name="T18" fmla="*/ 12 w 67"/>
              <a:gd name="T19" fmla="*/ 50 h 113"/>
              <a:gd name="T20" fmla="*/ 17 w 67"/>
              <a:gd name="T21" fmla="*/ 49 h 113"/>
              <a:gd name="T22" fmla="*/ 22 w 67"/>
              <a:gd name="T23" fmla="*/ 51 h 113"/>
              <a:gd name="T24" fmla="*/ 22 w 67"/>
              <a:gd name="T25" fmla="*/ 59 h 113"/>
              <a:gd name="T26" fmla="*/ 29 w 67"/>
              <a:gd name="T27" fmla="*/ 66 h 113"/>
              <a:gd name="T28" fmla="*/ 27 w 67"/>
              <a:gd name="T29" fmla="*/ 74 h 113"/>
              <a:gd name="T30" fmla="*/ 23 w 67"/>
              <a:gd name="T31" fmla="*/ 85 h 113"/>
              <a:gd name="T32" fmla="*/ 25 w 67"/>
              <a:gd name="T33" fmla="*/ 93 h 113"/>
              <a:gd name="T34" fmla="*/ 26 w 67"/>
              <a:gd name="T35" fmla="*/ 101 h 113"/>
              <a:gd name="T36" fmla="*/ 32 w 67"/>
              <a:gd name="T37" fmla="*/ 106 h 113"/>
              <a:gd name="T38" fmla="*/ 40 w 67"/>
              <a:gd name="T39" fmla="*/ 112 h 113"/>
              <a:gd name="T40" fmla="*/ 43 w 67"/>
              <a:gd name="T41" fmla="*/ 108 h 113"/>
              <a:gd name="T42" fmla="*/ 45 w 67"/>
              <a:gd name="T43" fmla="*/ 105 h 113"/>
              <a:gd name="T44" fmla="*/ 49 w 67"/>
              <a:gd name="T45" fmla="*/ 103 h 113"/>
              <a:gd name="T46" fmla="*/ 58 w 67"/>
              <a:gd name="T47" fmla="*/ 100 h 113"/>
              <a:gd name="T48" fmla="*/ 61 w 67"/>
              <a:gd name="T49" fmla="*/ 101 h 113"/>
              <a:gd name="T50" fmla="*/ 67 w 67"/>
              <a:gd name="T51" fmla="*/ 99 h 113"/>
              <a:gd name="T52" fmla="*/ 61 w 67"/>
              <a:gd name="T53" fmla="*/ 92 h 113"/>
              <a:gd name="T54" fmla="*/ 59 w 67"/>
              <a:gd name="T55" fmla="*/ 85 h 113"/>
              <a:gd name="T56" fmla="*/ 57 w 67"/>
              <a:gd name="T57" fmla="*/ 77 h 113"/>
              <a:gd name="T58" fmla="*/ 50 w 67"/>
              <a:gd name="T59" fmla="*/ 69 h 113"/>
              <a:gd name="T60" fmla="*/ 52 w 67"/>
              <a:gd name="T61" fmla="*/ 59 h 113"/>
              <a:gd name="T62" fmla="*/ 60 w 67"/>
              <a:gd name="T63" fmla="*/ 48 h 113"/>
              <a:gd name="T64" fmla="*/ 62 w 67"/>
              <a:gd name="T65" fmla="*/ 38 h 113"/>
              <a:gd name="T66" fmla="*/ 59 w 67"/>
              <a:gd name="T67" fmla="*/ 31 h 113"/>
              <a:gd name="T68" fmla="*/ 53 w 67"/>
              <a:gd name="T69" fmla="*/ 24 h 113"/>
              <a:gd name="T70" fmla="*/ 46 w 67"/>
              <a:gd name="T71" fmla="*/ 22 h 113"/>
              <a:gd name="T72" fmla="*/ 41 w 67"/>
              <a:gd name="T73" fmla="*/ 14 h 113"/>
              <a:gd name="T74" fmla="*/ 36 w 67"/>
              <a:gd name="T75" fmla="*/ 5 h 113"/>
              <a:gd name="T76" fmla="*/ 31 w 67"/>
              <a:gd name="T77" fmla="*/ 3 h 113"/>
              <a:gd name="T78" fmla="*/ 23 w 67"/>
              <a:gd name="T7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13">
                <a:moveTo>
                  <a:pt x="23" y="0"/>
                </a:moveTo>
                <a:cubicBezTo>
                  <a:pt x="22" y="1"/>
                  <a:pt x="21" y="1"/>
                  <a:pt x="20" y="2"/>
                </a:cubicBezTo>
                <a:cubicBezTo>
                  <a:pt x="20" y="3"/>
                  <a:pt x="19" y="4"/>
                  <a:pt x="18" y="5"/>
                </a:cubicBezTo>
                <a:cubicBezTo>
                  <a:pt x="17" y="6"/>
                  <a:pt x="13" y="7"/>
                  <a:pt x="13" y="8"/>
                </a:cubicBezTo>
                <a:cubicBezTo>
                  <a:pt x="12" y="9"/>
                  <a:pt x="12" y="10"/>
                  <a:pt x="12" y="11"/>
                </a:cubicBezTo>
                <a:cubicBezTo>
                  <a:pt x="11" y="13"/>
                  <a:pt x="12" y="15"/>
                  <a:pt x="12" y="15"/>
                </a:cubicBezTo>
                <a:cubicBezTo>
                  <a:pt x="13" y="16"/>
                  <a:pt x="15" y="17"/>
                  <a:pt x="16" y="19"/>
                </a:cubicBezTo>
                <a:cubicBezTo>
                  <a:pt x="17" y="20"/>
                  <a:pt x="17" y="21"/>
                  <a:pt x="17" y="22"/>
                </a:cubicBezTo>
                <a:cubicBezTo>
                  <a:pt x="16" y="23"/>
                  <a:pt x="15" y="24"/>
                  <a:pt x="14" y="24"/>
                </a:cubicBezTo>
                <a:cubicBezTo>
                  <a:pt x="12" y="24"/>
                  <a:pt x="11" y="23"/>
                  <a:pt x="9" y="23"/>
                </a:cubicBezTo>
                <a:cubicBezTo>
                  <a:pt x="8" y="23"/>
                  <a:pt x="8" y="23"/>
                  <a:pt x="7" y="24"/>
                </a:cubicBezTo>
                <a:cubicBezTo>
                  <a:pt x="7" y="25"/>
                  <a:pt x="6" y="28"/>
                  <a:pt x="5" y="28"/>
                </a:cubicBezTo>
                <a:cubicBezTo>
                  <a:pt x="5" y="29"/>
                  <a:pt x="4" y="32"/>
                  <a:pt x="3" y="33"/>
                </a:cubicBezTo>
                <a:cubicBezTo>
                  <a:pt x="3" y="34"/>
                  <a:pt x="0" y="34"/>
                  <a:pt x="0" y="35"/>
                </a:cubicBezTo>
                <a:cubicBezTo>
                  <a:pt x="0" y="36"/>
                  <a:pt x="0" y="38"/>
                  <a:pt x="0" y="38"/>
                </a:cubicBezTo>
                <a:cubicBezTo>
                  <a:pt x="1" y="38"/>
                  <a:pt x="2" y="40"/>
                  <a:pt x="3" y="40"/>
                </a:cubicBezTo>
                <a:cubicBezTo>
                  <a:pt x="4" y="40"/>
                  <a:pt x="5" y="41"/>
                  <a:pt x="6" y="42"/>
                </a:cubicBezTo>
                <a:cubicBezTo>
                  <a:pt x="7" y="42"/>
                  <a:pt x="9" y="45"/>
                  <a:pt x="9" y="45"/>
                </a:cubicBezTo>
                <a:cubicBezTo>
                  <a:pt x="9" y="45"/>
                  <a:pt x="12" y="47"/>
                  <a:pt x="12" y="49"/>
                </a:cubicBezTo>
                <a:cubicBezTo>
                  <a:pt x="12" y="49"/>
                  <a:pt x="12" y="50"/>
                  <a:pt x="12" y="50"/>
                </a:cubicBezTo>
                <a:cubicBezTo>
                  <a:pt x="14" y="50"/>
                  <a:pt x="14" y="50"/>
                  <a:pt x="14" y="50"/>
                </a:cubicBezTo>
                <a:cubicBezTo>
                  <a:pt x="14" y="50"/>
                  <a:pt x="16" y="49"/>
                  <a:pt x="17" y="49"/>
                </a:cubicBezTo>
                <a:cubicBezTo>
                  <a:pt x="17" y="49"/>
                  <a:pt x="19" y="49"/>
                  <a:pt x="20" y="49"/>
                </a:cubicBezTo>
                <a:cubicBezTo>
                  <a:pt x="21" y="49"/>
                  <a:pt x="21" y="50"/>
                  <a:pt x="22" y="51"/>
                </a:cubicBezTo>
                <a:cubicBezTo>
                  <a:pt x="23" y="52"/>
                  <a:pt x="22" y="54"/>
                  <a:pt x="22" y="54"/>
                </a:cubicBezTo>
                <a:cubicBezTo>
                  <a:pt x="22" y="54"/>
                  <a:pt x="22" y="58"/>
                  <a:pt x="22" y="59"/>
                </a:cubicBezTo>
                <a:cubicBezTo>
                  <a:pt x="22" y="60"/>
                  <a:pt x="24" y="61"/>
                  <a:pt x="25" y="61"/>
                </a:cubicBezTo>
                <a:cubicBezTo>
                  <a:pt x="25" y="61"/>
                  <a:pt x="29" y="64"/>
                  <a:pt x="29" y="66"/>
                </a:cubicBezTo>
                <a:cubicBezTo>
                  <a:pt x="30" y="67"/>
                  <a:pt x="29" y="69"/>
                  <a:pt x="29" y="70"/>
                </a:cubicBezTo>
                <a:cubicBezTo>
                  <a:pt x="29" y="71"/>
                  <a:pt x="27" y="74"/>
                  <a:pt x="27" y="74"/>
                </a:cubicBezTo>
                <a:cubicBezTo>
                  <a:pt x="26" y="75"/>
                  <a:pt x="24" y="79"/>
                  <a:pt x="23" y="80"/>
                </a:cubicBezTo>
                <a:cubicBezTo>
                  <a:pt x="23" y="81"/>
                  <a:pt x="23" y="84"/>
                  <a:pt x="23" y="85"/>
                </a:cubicBezTo>
                <a:cubicBezTo>
                  <a:pt x="23" y="85"/>
                  <a:pt x="23" y="90"/>
                  <a:pt x="24" y="91"/>
                </a:cubicBezTo>
                <a:cubicBezTo>
                  <a:pt x="24" y="91"/>
                  <a:pt x="25" y="92"/>
                  <a:pt x="25" y="93"/>
                </a:cubicBezTo>
                <a:cubicBezTo>
                  <a:pt x="26" y="94"/>
                  <a:pt x="25" y="96"/>
                  <a:pt x="25" y="97"/>
                </a:cubicBezTo>
                <a:cubicBezTo>
                  <a:pt x="26" y="99"/>
                  <a:pt x="26" y="99"/>
                  <a:pt x="26" y="101"/>
                </a:cubicBezTo>
                <a:cubicBezTo>
                  <a:pt x="27" y="102"/>
                  <a:pt x="28" y="103"/>
                  <a:pt x="29" y="104"/>
                </a:cubicBezTo>
                <a:cubicBezTo>
                  <a:pt x="30" y="104"/>
                  <a:pt x="32" y="106"/>
                  <a:pt x="32" y="106"/>
                </a:cubicBezTo>
                <a:cubicBezTo>
                  <a:pt x="35" y="108"/>
                  <a:pt x="35" y="108"/>
                  <a:pt x="35" y="108"/>
                </a:cubicBezTo>
                <a:cubicBezTo>
                  <a:pt x="35" y="108"/>
                  <a:pt x="39" y="112"/>
                  <a:pt x="40" y="112"/>
                </a:cubicBezTo>
                <a:cubicBezTo>
                  <a:pt x="41" y="113"/>
                  <a:pt x="42" y="112"/>
                  <a:pt x="43" y="111"/>
                </a:cubicBezTo>
                <a:cubicBezTo>
                  <a:pt x="43" y="110"/>
                  <a:pt x="43" y="108"/>
                  <a:pt x="43" y="108"/>
                </a:cubicBezTo>
                <a:cubicBezTo>
                  <a:pt x="43" y="108"/>
                  <a:pt x="45" y="107"/>
                  <a:pt x="45" y="106"/>
                </a:cubicBezTo>
                <a:cubicBezTo>
                  <a:pt x="46" y="106"/>
                  <a:pt x="45" y="105"/>
                  <a:pt x="45" y="105"/>
                </a:cubicBezTo>
                <a:cubicBezTo>
                  <a:pt x="47" y="105"/>
                  <a:pt x="47" y="105"/>
                  <a:pt x="47" y="105"/>
                </a:cubicBezTo>
                <a:cubicBezTo>
                  <a:pt x="49" y="103"/>
                  <a:pt x="49" y="103"/>
                  <a:pt x="49" y="103"/>
                </a:cubicBezTo>
                <a:cubicBezTo>
                  <a:pt x="49" y="103"/>
                  <a:pt x="55" y="102"/>
                  <a:pt x="55" y="102"/>
                </a:cubicBezTo>
                <a:cubicBezTo>
                  <a:pt x="56" y="102"/>
                  <a:pt x="58" y="100"/>
                  <a:pt x="58" y="100"/>
                </a:cubicBezTo>
                <a:cubicBezTo>
                  <a:pt x="58" y="100"/>
                  <a:pt x="59" y="99"/>
                  <a:pt x="59" y="99"/>
                </a:cubicBezTo>
                <a:cubicBezTo>
                  <a:pt x="61" y="101"/>
                  <a:pt x="61" y="101"/>
                  <a:pt x="61" y="101"/>
                </a:cubicBezTo>
                <a:cubicBezTo>
                  <a:pt x="61" y="101"/>
                  <a:pt x="65" y="101"/>
                  <a:pt x="66" y="101"/>
                </a:cubicBezTo>
                <a:cubicBezTo>
                  <a:pt x="66" y="101"/>
                  <a:pt x="67" y="99"/>
                  <a:pt x="67" y="99"/>
                </a:cubicBezTo>
                <a:cubicBezTo>
                  <a:pt x="64" y="95"/>
                  <a:pt x="64" y="95"/>
                  <a:pt x="64" y="95"/>
                </a:cubicBezTo>
                <a:cubicBezTo>
                  <a:pt x="61" y="92"/>
                  <a:pt x="61" y="92"/>
                  <a:pt x="61" y="92"/>
                </a:cubicBezTo>
                <a:cubicBezTo>
                  <a:pt x="61" y="92"/>
                  <a:pt x="61" y="90"/>
                  <a:pt x="61" y="89"/>
                </a:cubicBezTo>
                <a:cubicBezTo>
                  <a:pt x="61" y="89"/>
                  <a:pt x="59" y="85"/>
                  <a:pt x="59" y="85"/>
                </a:cubicBezTo>
                <a:cubicBezTo>
                  <a:pt x="59" y="85"/>
                  <a:pt x="58" y="82"/>
                  <a:pt x="57" y="81"/>
                </a:cubicBezTo>
                <a:cubicBezTo>
                  <a:pt x="57" y="80"/>
                  <a:pt x="57" y="77"/>
                  <a:pt x="57" y="77"/>
                </a:cubicBezTo>
                <a:cubicBezTo>
                  <a:pt x="57" y="77"/>
                  <a:pt x="53" y="75"/>
                  <a:pt x="52" y="74"/>
                </a:cubicBezTo>
                <a:cubicBezTo>
                  <a:pt x="51" y="73"/>
                  <a:pt x="50" y="71"/>
                  <a:pt x="50" y="69"/>
                </a:cubicBezTo>
                <a:cubicBezTo>
                  <a:pt x="49" y="67"/>
                  <a:pt x="48" y="65"/>
                  <a:pt x="49" y="64"/>
                </a:cubicBezTo>
                <a:cubicBezTo>
                  <a:pt x="49" y="62"/>
                  <a:pt x="52" y="61"/>
                  <a:pt x="52" y="59"/>
                </a:cubicBezTo>
                <a:cubicBezTo>
                  <a:pt x="53" y="57"/>
                  <a:pt x="53" y="56"/>
                  <a:pt x="54" y="55"/>
                </a:cubicBezTo>
                <a:cubicBezTo>
                  <a:pt x="55" y="53"/>
                  <a:pt x="60" y="49"/>
                  <a:pt x="60" y="48"/>
                </a:cubicBezTo>
                <a:cubicBezTo>
                  <a:pt x="61" y="47"/>
                  <a:pt x="59" y="43"/>
                  <a:pt x="60" y="41"/>
                </a:cubicBezTo>
                <a:cubicBezTo>
                  <a:pt x="61" y="40"/>
                  <a:pt x="62" y="38"/>
                  <a:pt x="62" y="38"/>
                </a:cubicBezTo>
                <a:cubicBezTo>
                  <a:pt x="61" y="38"/>
                  <a:pt x="61" y="34"/>
                  <a:pt x="61" y="32"/>
                </a:cubicBezTo>
                <a:cubicBezTo>
                  <a:pt x="61" y="31"/>
                  <a:pt x="60" y="31"/>
                  <a:pt x="59" y="31"/>
                </a:cubicBezTo>
                <a:cubicBezTo>
                  <a:pt x="58" y="30"/>
                  <a:pt x="56" y="29"/>
                  <a:pt x="55" y="28"/>
                </a:cubicBezTo>
                <a:cubicBezTo>
                  <a:pt x="55" y="27"/>
                  <a:pt x="54" y="26"/>
                  <a:pt x="53" y="24"/>
                </a:cubicBezTo>
                <a:cubicBezTo>
                  <a:pt x="52" y="23"/>
                  <a:pt x="51" y="24"/>
                  <a:pt x="50" y="24"/>
                </a:cubicBezTo>
                <a:cubicBezTo>
                  <a:pt x="49" y="24"/>
                  <a:pt x="46" y="23"/>
                  <a:pt x="46" y="22"/>
                </a:cubicBezTo>
                <a:cubicBezTo>
                  <a:pt x="45" y="21"/>
                  <a:pt x="43" y="19"/>
                  <a:pt x="43" y="18"/>
                </a:cubicBezTo>
                <a:cubicBezTo>
                  <a:pt x="43" y="17"/>
                  <a:pt x="41" y="15"/>
                  <a:pt x="41" y="14"/>
                </a:cubicBezTo>
                <a:cubicBezTo>
                  <a:pt x="39" y="13"/>
                  <a:pt x="39" y="11"/>
                  <a:pt x="39" y="9"/>
                </a:cubicBezTo>
                <a:cubicBezTo>
                  <a:pt x="38" y="8"/>
                  <a:pt x="36" y="5"/>
                  <a:pt x="36" y="5"/>
                </a:cubicBezTo>
                <a:cubicBezTo>
                  <a:pt x="36" y="4"/>
                  <a:pt x="34" y="2"/>
                  <a:pt x="33" y="2"/>
                </a:cubicBezTo>
                <a:cubicBezTo>
                  <a:pt x="32" y="1"/>
                  <a:pt x="31" y="2"/>
                  <a:pt x="31" y="3"/>
                </a:cubicBezTo>
                <a:cubicBezTo>
                  <a:pt x="31" y="4"/>
                  <a:pt x="30" y="2"/>
                  <a:pt x="28" y="2"/>
                </a:cubicBezTo>
                <a:cubicBezTo>
                  <a:pt x="27" y="1"/>
                  <a:pt x="24" y="0"/>
                  <a:pt x="2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 name="Surinam"/>
          <p:cNvSpPr>
            <a:spLocks/>
          </p:cNvSpPr>
          <p:nvPr/>
        </p:nvSpPr>
        <p:spPr bwMode="auto">
          <a:xfrm>
            <a:off x="4628324" y="3874555"/>
            <a:ext cx="109424" cy="137188"/>
          </a:xfrm>
          <a:custGeom>
            <a:avLst/>
            <a:gdLst>
              <a:gd name="T0" fmla="*/ 14 w 54"/>
              <a:gd name="T1" fmla="*/ 4 h 67"/>
              <a:gd name="T2" fmla="*/ 12 w 54"/>
              <a:gd name="T3" fmla="*/ 7 h 67"/>
              <a:gd name="T4" fmla="*/ 12 w 54"/>
              <a:gd name="T5" fmla="*/ 14 h 67"/>
              <a:gd name="T6" fmla="*/ 6 w 54"/>
              <a:gd name="T7" fmla="*/ 21 h 67"/>
              <a:gd name="T8" fmla="*/ 4 w 54"/>
              <a:gd name="T9" fmla="*/ 25 h 67"/>
              <a:gd name="T10" fmla="*/ 1 w 54"/>
              <a:gd name="T11" fmla="*/ 30 h 67"/>
              <a:gd name="T12" fmla="*/ 2 w 54"/>
              <a:gd name="T13" fmla="*/ 35 h 67"/>
              <a:gd name="T14" fmla="*/ 4 w 54"/>
              <a:gd name="T15" fmla="*/ 40 h 67"/>
              <a:gd name="T16" fmla="*/ 9 w 54"/>
              <a:gd name="T17" fmla="*/ 43 h 67"/>
              <a:gd name="T18" fmla="*/ 9 w 54"/>
              <a:gd name="T19" fmla="*/ 47 h 67"/>
              <a:gd name="T20" fmla="*/ 11 w 54"/>
              <a:gd name="T21" fmla="*/ 51 h 67"/>
              <a:gd name="T22" fmla="*/ 13 w 54"/>
              <a:gd name="T23" fmla="*/ 55 h 67"/>
              <a:gd name="T24" fmla="*/ 13 w 54"/>
              <a:gd name="T25" fmla="*/ 58 h 67"/>
              <a:gd name="T26" fmla="*/ 16 w 54"/>
              <a:gd name="T27" fmla="*/ 61 h 67"/>
              <a:gd name="T28" fmla="*/ 19 w 54"/>
              <a:gd name="T29" fmla="*/ 65 h 67"/>
              <a:gd name="T30" fmla="*/ 24 w 54"/>
              <a:gd name="T31" fmla="*/ 66 h 67"/>
              <a:gd name="T32" fmla="*/ 26 w 54"/>
              <a:gd name="T33" fmla="*/ 66 h 67"/>
              <a:gd name="T34" fmla="*/ 29 w 54"/>
              <a:gd name="T35" fmla="*/ 66 h 67"/>
              <a:gd name="T36" fmla="*/ 28 w 54"/>
              <a:gd name="T37" fmla="*/ 63 h 67"/>
              <a:gd name="T38" fmla="*/ 25 w 54"/>
              <a:gd name="T39" fmla="*/ 60 h 67"/>
              <a:gd name="T40" fmla="*/ 26 w 54"/>
              <a:gd name="T41" fmla="*/ 56 h 67"/>
              <a:gd name="T42" fmla="*/ 29 w 54"/>
              <a:gd name="T43" fmla="*/ 56 h 67"/>
              <a:gd name="T44" fmla="*/ 32 w 54"/>
              <a:gd name="T45" fmla="*/ 57 h 67"/>
              <a:gd name="T46" fmla="*/ 35 w 54"/>
              <a:gd name="T47" fmla="*/ 58 h 67"/>
              <a:gd name="T48" fmla="*/ 38 w 54"/>
              <a:gd name="T49" fmla="*/ 57 h 67"/>
              <a:gd name="T50" fmla="*/ 41 w 54"/>
              <a:gd name="T51" fmla="*/ 56 h 67"/>
              <a:gd name="T52" fmla="*/ 42 w 54"/>
              <a:gd name="T53" fmla="*/ 58 h 67"/>
              <a:gd name="T54" fmla="*/ 44 w 54"/>
              <a:gd name="T55" fmla="*/ 58 h 67"/>
              <a:gd name="T56" fmla="*/ 47 w 54"/>
              <a:gd name="T57" fmla="*/ 57 h 67"/>
              <a:gd name="T58" fmla="*/ 48 w 54"/>
              <a:gd name="T59" fmla="*/ 51 h 67"/>
              <a:gd name="T60" fmla="*/ 48 w 54"/>
              <a:gd name="T61" fmla="*/ 48 h 67"/>
              <a:gd name="T62" fmla="*/ 51 w 54"/>
              <a:gd name="T63" fmla="*/ 42 h 67"/>
              <a:gd name="T64" fmla="*/ 51 w 54"/>
              <a:gd name="T65" fmla="*/ 34 h 67"/>
              <a:gd name="T66" fmla="*/ 47 w 54"/>
              <a:gd name="T67" fmla="*/ 29 h 67"/>
              <a:gd name="T68" fmla="*/ 47 w 54"/>
              <a:gd name="T69" fmla="*/ 22 h 67"/>
              <a:gd name="T70" fmla="*/ 48 w 54"/>
              <a:gd name="T71" fmla="*/ 17 h 67"/>
              <a:gd name="T72" fmla="*/ 51 w 54"/>
              <a:gd name="T73" fmla="*/ 14 h 67"/>
              <a:gd name="T74" fmla="*/ 52 w 54"/>
              <a:gd name="T75" fmla="*/ 11 h 67"/>
              <a:gd name="T76" fmla="*/ 54 w 54"/>
              <a:gd name="T77" fmla="*/ 8 h 67"/>
              <a:gd name="T78" fmla="*/ 53 w 54"/>
              <a:gd name="T79" fmla="*/ 7 h 67"/>
              <a:gd name="T80" fmla="*/ 51 w 54"/>
              <a:gd name="T81" fmla="*/ 4 h 67"/>
              <a:gd name="T82" fmla="*/ 48 w 54"/>
              <a:gd name="T83" fmla="*/ 3 h 67"/>
              <a:gd name="T84" fmla="*/ 47 w 54"/>
              <a:gd name="T85" fmla="*/ 1 h 67"/>
              <a:gd name="T86" fmla="*/ 41 w 54"/>
              <a:gd name="T87" fmla="*/ 1 h 67"/>
              <a:gd name="T88" fmla="*/ 39 w 54"/>
              <a:gd name="T89" fmla="*/ 2 h 67"/>
              <a:gd name="T90" fmla="*/ 38 w 54"/>
              <a:gd name="T91" fmla="*/ 4 h 67"/>
              <a:gd name="T92" fmla="*/ 34 w 54"/>
              <a:gd name="T93" fmla="*/ 4 h 67"/>
              <a:gd name="T94" fmla="*/ 30 w 54"/>
              <a:gd name="T95" fmla="*/ 4 h 67"/>
              <a:gd name="T96" fmla="*/ 25 w 54"/>
              <a:gd name="T97" fmla="*/ 4 h 67"/>
              <a:gd name="T98" fmla="*/ 20 w 54"/>
              <a:gd name="T99" fmla="*/ 4 h 67"/>
              <a:gd name="T100" fmla="*/ 18 w 54"/>
              <a:gd name="T101" fmla="*/ 2 h 67"/>
              <a:gd name="T102" fmla="*/ 15 w 54"/>
              <a:gd name="T103" fmla="*/ 4 h 67"/>
              <a:gd name="T104" fmla="*/ 14 w 54"/>
              <a:gd name="T105" fmla="*/ 4 h 67"/>
              <a:gd name="T106" fmla="*/ 14 w 54"/>
              <a:gd name="T107"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67">
                <a:moveTo>
                  <a:pt x="14" y="4"/>
                </a:moveTo>
                <a:cubicBezTo>
                  <a:pt x="14" y="4"/>
                  <a:pt x="13" y="6"/>
                  <a:pt x="12" y="7"/>
                </a:cubicBezTo>
                <a:cubicBezTo>
                  <a:pt x="11" y="9"/>
                  <a:pt x="13" y="13"/>
                  <a:pt x="12" y="14"/>
                </a:cubicBezTo>
                <a:cubicBezTo>
                  <a:pt x="12" y="15"/>
                  <a:pt x="7" y="19"/>
                  <a:pt x="6" y="21"/>
                </a:cubicBezTo>
                <a:cubicBezTo>
                  <a:pt x="5" y="22"/>
                  <a:pt x="5" y="23"/>
                  <a:pt x="4" y="25"/>
                </a:cubicBezTo>
                <a:cubicBezTo>
                  <a:pt x="4" y="27"/>
                  <a:pt x="1" y="28"/>
                  <a:pt x="1" y="30"/>
                </a:cubicBezTo>
                <a:cubicBezTo>
                  <a:pt x="0" y="31"/>
                  <a:pt x="1" y="33"/>
                  <a:pt x="2" y="35"/>
                </a:cubicBezTo>
                <a:cubicBezTo>
                  <a:pt x="2" y="37"/>
                  <a:pt x="3" y="39"/>
                  <a:pt x="4" y="40"/>
                </a:cubicBezTo>
                <a:cubicBezTo>
                  <a:pt x="5" y="41"/>
                  <a:pt x="9" y="43"/>
                  <a:pt x="9" y="43"/>
                </a:cubicBezTo>
                <a:cubicBezTo>
                  <a:pt x="9" y="43"/>
                  <a:pt x="9" y="46"/>
                  <a:pt x="9" y="47"/>
                </a:cubicBezTo>
                <a:cubicBezTo>
                  <a:pt x="10" y="48"/>
                  <a:pt x="11" y="51"/>
                  <a:pt x="11" y="51"/>
                </a:cubicBezTo>
                <a:cubicBezTo>
                  <a:pt x="11" y="51"/>
                  <a:pt x="13" y="55"/>
                  <a:pt x="13" y="55"/>
                </a:cubicBezTo>
                <a:cubicBezTo>
                  <a:pt x="13" y="56"/>
                  <a:pt x="13" y="58"/>
                  <a:pt x="13" y="58"/>
                </a:cubicBezTo>
                <a:cubicBezTo>
                  <a:pt x="16" y="61"/>
                  <a:pt x="16" y="61"/>
                  <a:pt x="16" y="61"/>
                </a:cubicBezTo>
                <a:cubicBezTo>
                  <a:pt x="19" y="65"/>
                  <a:pt x="19" y="65"/>
                  <a:pt x="19" y="65"/>
                </a:cubicBezTo>
                <a:cubicBezTo>
                  <a:pt x="24" y="66"/>
                  <a:pt x="24" y="66"/>
                  <a:pt x="24" y="66"/>
                </a:cubicBezTo>
                <a:cubicBezTo>
                  <a:pt x="24" y="66"/>
                  <a:pt x="26" y="66"/>
                  <a:pt x="26" y="66"/>
                </a:cubicBezTo>
                <a:cubicBezTo>
                  <a:pt x="27" y="67"/>
                  <a:pt x="29" y="66"/>
                  <a:pt x="29" y="66"/>
                </a:cubicBezTo>
                <a:cubicBezTo>
                  <a:pt x="29" y="66"/>
                  <a:pt x="29" y="64"/>
                  <a:pt x="28" y="63"/>
                </a:cubicBezTo>
                <a:cubicBezTo>
                  <a:pt x="27" y="61"/>
                  <a:pt x="25" y="60"/>
                  <a:pt x="25" y="60"/>
                </a:cubicBezTo>
                <a:cubicBezTo>
                  <a:pt x="25" y="60"/>
                  <a:pt x="25" y="57"/>
                  <a:pt x="26" y="56"/>
                </a:cubicBezTo>
                <a:cubicBezTo>
                  <a:pt x="26" y="56"/>
                  <a:pt x="27" y="56"/>
                  <a:pt x="29" y="56"/>
                </a:cubicBezTo>
                <a:cubicBezTo>
                  <a:pt x="30" y="56"/>
                  <a:pt x="31" y="57"/>
                  <a:pt x="32" y="57"/>
                </a:cubicBezTo>
                <a:cubicBezTo>
                  <a:pt x="33" y="57"/>
                  <a:pt x="34" y="58"/>
                  <a:pt x="35" y="58"/>
                </a:cubicBezTo>
                <a:cubicBezTo>
                  <a:pt x="35" y="58"/>
                  <a:pt x="38" y="57"/>
                  <a:pt x="38" y="57"/>
                </a:cubicBezTo>
                <a:cubicBezTo>
                  <a:pt x="41" y="56"/>
                  <a:pt x="41" y="56"/>
                  <a:pt x="41" y="56"/>
                </a:cubicBezTo>
                <a:cubicBezTo>
                  <a:pt x="41" y="56"/>
                  <a:pt x="41" y="58"/>
                  <a:pt x="42" y="58"/>
                </a:cubicBezTo>
                <a:cubicBezTo>
                  <a:pt x="42" y="59"/>
                  <a:pt x="43" y="58"/>
                  <a:pt x="44" y="58"/>
                </a:cubicBezTo>
                <a:cubicBezTo>
                  <a:pt x="45" y="57"/>
                  <a:pt x="47" y="57"/>
                  <a:pt x="47" y="57"/>
                </a:cubicBezTo>
                <a:cubicBezTo>
                  <a:pt x="48" y="56"/>
                  <a:pt x="48" y="53"/>
                  <a:pt x="48" y="51"/>
                </a:cubicBezTo>
                <a:cubicBezTo>
                  <a:pt x="48" y="50"/>
                  <a:pt x="48" y="49"/>
                  <a:pt x="48" y="48"/>
                </a:cubicBezTo>
                <a:cubicBezTo>
                  <a:pt x="49" y="47"/>
                  <a:pt x="50" y="44"/>
                  <a:pt x="51" y="42"/>
                </a:cubicBezTo>
                <a:cubicBezTo>
                  <a:pt x="52" y="41"/>
                  <a:pt x="52" y="35"/>
                  <a:pt x="51" y="34"/>
                </a:cubicBezTo>
                <a:cubicBezTo>
                  <a:pt x="50" y="33"/>
                  <a:pt x="47" y="30"/>
                  <a:pt x="47" y="29"/>
                </a:cubicBezTo>
                <a:cubicBezTo>
                  <a:pt x="47" y="27"/>
                  <a:pt x="47" y="24"/>
                  <a:pt x="47" y="22"/>
                </a:cubicBezTo>
                <a:cubicBezTo>
                  <a:pt x="47" y="21"/>
                  <a:pt x="47" y="18"/>
                  <a:pt x="48" y="17"/>
                </a:cubicBezTo>
                <a:cubicBezTo>
                  <a:pt x="48" y="16"/>
                  <a:pt x="50" y="15"/>
                  <a:pt x="51" y="14"/>
                </a:cubicBezTo>
                <a:cubicBezTo>
                  <a:pt x="52" y="13"/>
                  <a:pt x="52" y="11"/>
                  <a:pt x="52" y="11"/>
                </a:cubicBezTo>
                <a:cubicBezTo>
                  <a:pt x="52" y="10"/>
                  <a:pt x="54" y="8"/>
                  <a:pt x="54" y="8"/>
                </a:cubicBezTo>
                <a:cubicBezTo>
                  <a:pt x="53" y="8"/>
                  <a:pt x="53" y="7"/>
                  <a:pt x="53" y="7"/>
                </a:cubicBezTo>
                <a:cubicBezTo>
                  <a:pt x="52" y="6"/>
                  <a:pt x="51" y="4"/>
                  <a:pt x="51" y="4"/>
                </a:cubicBezTo>
                <a:cubicBezTo>
                  <a:pt x="50" y="4"/>
                  <a:pt x="48" y="4"/>
                  <a:pt x="48" y="3"/>
                </a:cubicBezTo>
                <a:cubicBezTo>
                  <a:pt x="48" y="2"/>
                  <a:pt x="48" y="1"/>
                  <a:pt x="47" y="1"/>
                </a:cubicBezTo>
                <a:cubicBezTo>
                  <a:pt x="46" y="0"/>
                  <a:pt x="43" y="1"/>
                  <a:pt x="41" y="1"/>
                </a:cubicBezTo>
                <a:cubicBezTo>
                  <a:pt x="39" y="1"/>
                  <a:pt x="39" y="1"/>
                  <a:pt x="39" y="2"/>
                </a:cubicBezTo>
                <a:cubicBezTo>
                  <a:pt x="39" y="3"/>
                  <a:pt x="39" y="4"/>
                  <a:pt x="38" y="4"/>
                </a:cubicBezTo>
                <a:cubicBezTo>
                  <a:pt x="37" y="4"/>
                  <a:pt x="35" y="4"/>
                  <a:pt x="34" y="4"/>
                </a:cubicBezTo>
                <a:cubicBezTo>
                  <a:pt x="33" y="4"/>
                  <a:pt x="30" y="4"/>
                  <a:pt x="30" y="4"/>
                </a:cubicBezTo>
                <a:cubicBezTo>
                  <a:pt x="29" y="4"/>
                  <a:pt x="26" y="4"/>
                  <a:pt x="25" y="4"/>
                </a:cubicBezTo>
                <a:cubicBezTo>
                  <a:pt x="24" y="4"/>
                  <a:pt x="21" y="4"/>
                  <a:pt x="20" y="4"/>
                </a:cubicBezTo>
                <a:cubicBezTo>
                  <a:pt x="19" y="4"/>
                  <a:pt x="19" y="3"/>
                  <a:pt x="18" y="2"/>
                </a:cubicBezTo>
                <a:cubicBezTo>
                  <a:pt x="17" y="2"/>
                  <a:pt x="15" y="3"/>
                  <a:pt x="15" y="4"/>
                </a:cubicBezTo>
                <a:cubicBezTo>
                  <a:pt x="14" y="4"/>
                  <a:pt x="14" y="4"/>
                  <a:pt x="14" y="4"/>
                </a:cubicBezTo>
                <a:cubicBezTo>
                  <a:pt x="14" y="4"/>
                  <a:pt x="14" y="4"/>
                  <a:pt x="14" y="4"/>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 name="French Guiana"/>
          <p:cNvSpPr>
            <a:spLocks/>
          </p:cNvSpPr>
          <p:nvPr/>
        </p:nvSpPr>
        <p:spPr bwMode="auto">
          <a:xfrm>
            <a:off x="4713250" y="3885988"/>
            <a:ext cx="91458" cy="117589"/>
          </a:xfrm>
          <a:custGeom>
            <a:avLst/>
            <a:gdLst>
              <a:gd name="T0" fmla="*/ 0 w 44"/>
              <a:gd name="T1" fmla="*/ 53 h 57"/>
              <a:gd name="T2" fmla="*/ 0 w 44"/>
              <a:gd name="T3" fmla="*/ 53 h 57"/>
              <a:gd name="T4" fmla="*/ 2 w 44"/>
              <a:gd name="T5" fmla="*/ 52 h 57"/>
              <a:gd name="T6" fmla="*/ 5 w 44"/>
              <a:gd name="T7" fmla="*/ 51 h 57"/>
              <a:gd name="T8" fmla="*/ 6 w 44"/>
              <a:gd name="T9" fmla="*/ 45 h 57"/>
              <a:gd name="T10" fmla="*/ 6 w 44"/>
              <a:gd name="T11" fmla="*/ 42 h 57"/>
              <a:gd name="T12" fmla="*/ 9 w 44"/>
              <a:gd name="T13" fmla="*/ 36 h 57"/>
              <a:gd name="T14" fmla="*/ 9 w 44"/>
              <a:gd name="T15" fmla="*/ 28 h 57"/>
              <a:gd name="T16" fmla="*/ 5 w 44"/>
              <a:gd name="T17" fmla="*/ 23 h 57"/>
              <a:gd name="T18" fmla="*/ 5 w 44"/>
              <a:gd name="T19" fmla="*/ 16 h 57"/>
              <a:gd name="T20" fmla="*/ 6 w 44"/>
              <a:gd name="T21" fmla="*/ 11 h 57"/>
              <a:gd name="T22" fmla="*/ 9 w 44"/>
              <a:gd name="T23" fmla="*/ 8 h 57"/>
              <a:gd name="T24" fmla="*/ 10 w 44"/>
              <a:gd name="T25" fmla="*/ 5 h 57"/>
              <a:gd name="T26" fmla="*/ 12 w 44"/>
              <a:gd name="T27" fmla="*/ 2 h 57"/>
              <a:gd name="T28" fmla="*/ 12 w 44"/>
              <a:gd name="T29" fmla="*/ 3 h 57"/>
              <a:gd name="T30" fmla="*/ 15 w 44"/>
              <a:gd name="T31" fmla="*/ 1 h 57"/>
              <a:gd name="T32" fmla="*/ 18 w 44"/>
              <a:gd name="T33" fmla="*/ 2 h 57"/>
              <a:gd name="T34" fmla="*/ 21 w 44"/>
              <a:gd name="T35" fmla="*/ 5 h 57"/>
              <a:gd name="T36" fmla="*/ 27 w 44"/>
              <a:gd name="T37" fmla="*/ 7 h 57"/>
              <a:gd name="T38" fmla="*/ 31 w 44"/>
              <a:gd name="T39" fmla="*/ 9 h 57"/>
              <a:gd name="T40" fmla="*/ 33 w 44"/>
              <a:gd name="T41" fmla="*/ 13 h 57"/>
              <a:gd name="T42" fmla="*/ 38 w 44"/>
              <a:gd name="T43" fmla="*/ 18 h 57"/>
              <a:gd name="T44" fmla="*/ 43 w 44"/>
              <a:gd name="T45" fmla="*/ 22 h 57"/>
              <a:gd name="T46" fmla="*/ 44 w 44"/>
              <a:gd name="T47" fmla="*/ 25 h 57"/>
              <a:gd name="T48" fmla="*/ 44 w 44"/>
              <a:gd name="T49" fmla="*/ 26 h 57"/>
              <a:gd name="T50" fmla="*/ 42 w 44"/>
              <a:gd name="T51" fmla="*/ 27 h 57"/>
              <a:gd name="T52" fmla="*/ 40 w 44"/>
              <a:gd name="T53" fmla="*/ 28 h 57"/>
              <a:gd name="T54" fmla="*/ 39 w 44"/>
              <a:gd name="T55" fmla="*/ 30 h 57"/>
              <a:gd name="T56" fmla="*/ 36 w 44"/>
              <a:gd name="T57" fmla="*/ 32 h 57"/>
              <a:gd name="T58" fmla="*/ 33 w 44"/>
              <a:gd name="T59" fmla="*/ 36 h 57"/>
              <a:gd name="T60" fmla="*/ 30 w 44"/>
              <a:gd name="T61" fmla="*/ 43 h 57"/>
              <a:gd name="T62" fmla="*/ 28 w 44"/>
              <a:gd name="T63" fmla="*/ 49 h 57"/>
              <a:gd name="T64" fmla="*/ 27 w 44"/>
              <a:gd name="T65" fmla="*/ 52 h 57"/>
              <a:gd name="T66" fmla="*/ 26 w 44"/>
              <a:gd name="T67" fmla="*/ 54 h 57"/>
              <a:gd name="T68" fmla="*/ 20 w 44"/>
              <a:gd name="T69" fmla="*/ 55 h 57"/>
              <a:gd name="T70" fmla="*/ 16 w 44"/>
              <a:gd name="T71" fmla="*/ 54 h 57"/>
              <a:gd name="T72" fmla="*/ 13 w 44"/>
              <a:gd name="T73" fmla="*/ 56 h 57"/>
              <a:gd name="T74" fmla="*/ 8 w 44"/>
              <a:gd name="T75" fmla="*/ 57 h 57"/>
              <a:gd name="T76" fmla="*/ 4 w 44"/>
              <a:gd name="T77" fmla="*/ 56 h 57"/>
              <a:gd name="T78" fmla="*/ 0 w 44"/>
              <a:gd name="T79" fmla="*/ 53 h 57"/>
              <a:gd name="T80" fmla="*/ 0 w 44"/>
              <a:gd name="T81" fmla="*/ 53 h 57"/>
              <a:gd name="T82" fmla="*/ 0 w 44"/>
              <a:gd name="T83"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 h="57">
                <a:moveTo>
                  <a:pt x="0" y="53"/>
                </a:moveTo>
                <a:cubicBezTo>
                  <a:pt x="0" y="53"/>
                  <a:pt x="0" y="53"/>
                  <a:pt x="0" y="53"/>
                </a:cubicBezTo>
                <a:cubicBezTo>
                  <a:pt x="1" y="52"/>
                  <a:pt x="2" y="52"/>
                  <a:pt x="2" y="52"/>
                </a:cubicBezTo>
                <a:cubicBezTo>
                  <a:pt x="3" y="51"/>
                  <a:pt x="5" y="51"/>
                  <a:pt x="5" y="51"/>
                </a:cubicBezTo>
                <a:cubicBezTo>
                  <a:pt x="6" y="50"/>
                  <a:pt x="6" y="47"/>
                  <a:pt x="6" y="45"/>
                </a:cubicBezTo>
                <a:cubicBezTo>
                  <a:pt x="6" y="44"/>
                  <a:pt x="6" y="43"/>
                  <a:pt x="6" y="42"/>
                </a:cubicBezTo>
                <a:cubicBezTo>
                  <a:pt x="7" y="41"/>
                  <a:pt x="8" y="38"/>
                  <a:pt x="9" y="36"/>
                </a:cubicBezTo>
                <a:cubicBezTo>
                  <a:pt x="10" y="35"/>
                  <a:pt x="10" y="29"/>
                  <a:pt x="9" y="28"/>
                </a:cubicBezTo>
                <a:cubicBezTo>
                  <a:pt x="8" y="27"/>
                  <a:pt x="5" y="24"/>
                  <a:pt x="5" y="23"/>
                </a:cubicBezTo>
                <a:cubicBezTo>
                  <a:pt x="5" y="21"/>
                  <a:pt x="5" y="18"/>
                  <a:pt x="5" y="16"/>
                </a:cubicBezTo>
                <a:cubicBezTo>
                  <a:pt x="5" y="15"/>
                  <a:pt x="5" y="12"/>
                  <a:pt x="6" y="11"/>
                </a:cubicBezTo>
                <a:cubicBezTo>
                  <a:pt x="6" y="10"/>
                  <a:pt x="8" y="9"/>
                  <a:pt x="9" y="8"/>
                </a:cubicBezTo>
                <a:cubicBezTo>
                  <a:pt x="10" y="7"/>
                  <a:pt x="10" y="5"/>
                  <a:pt x="10" y="5"/>
                </a:cubicBezTo>
                <a:cubicBezTo>
                  <a:pt x="10" y="4"/>
                  <a:pt x="12" y="2"/>
                  <a:pt x="12" y="2"/>
                </a:cubicBezTo>
                <a:cubicBezTo>
                  <a:pt x="12" y="2"/>
                  <a:pt x="12" y="3"/>
                  <a:pt x="12" y="3"/>
                </a:cubicBezTo>
                <a:cubicBezTo>
                  <a:pt x="13" y="2"/>
                  <a:pt x="15" y="2"/>
                  <a:pt x="15" y="1"/>
                </a:cubicBezTo>
                <a:cubicBezTo>
                  <a:pt x="16" y="0"/>
                  <a:pt x="18" y="1"/>
                  <a:pt x="18" y="2"/>
                </a:cubicBezTo>
                <a:cubicBezTo>
                  <a:pt x="19" y="3"/>
                  <a:pt x="20" y="4"/>
                  <a:pt x="21" y="5"/>
                </a:cubicBezTo>
                <a:cubicBezTo>
                  <a:pt x="23" y="5"/>
                  <a:pt x="26" y="6"/>
                  <a:pt x="27" y="7"/>
                </a:cubicBezTo>
                <a:cubicBezTo>
                  <a:pt x="28" y="7"/>
                  <a:pt x="30" y="8"/>
                  <a:pt x="31" y="9"/>
                </a:cubicBezTo>
                <a:cubicBezTo>
                  <a:pt x="32" y="10"/>
                  <a:pt x="33" y="12"/>
                  <a:pt x="33" y="13"/>
                </a:cubicBezTo>
                <a:cubicBezTo>
                  <a:pt x="34" y="14"/>
                  <a:pt x="37" y="17"/>
                  <a:pt x="38" y="18"/>
                </a:cubicBezTo>
                <a:cubicBezTo>
                  <a:pt x="39" y="19"/>
                  <a:pt x="42" y="21"/>
                  <a:pt x="43" y="22"/>
                </a:cubicBezTo>
                <a:cubicBezTo>
                  <a:pt x="43" y="23"/>
                  <a:pt x="43" y="25"/>
                  <a:pt x="44" y="25"/>
                </a:cubicBezTo>
                <a:cubicBezTo>
                  <a:pt x="44" y="26"/>
                  <a:pt x="44" y="26"/>
                  <a:pt x="44" y="26"/>
                </a:cubicBezTo>
                <a:cubicBezTo>
                  <a:pt x="44" y="25"/>
                  <a:pt x="42" y="27"/>
                  <a:pt x="42" y="27"/>
                </a:cubicBezTo>
                <a:cubicBezTo>
                  <a:pt x="42" y="27"/>
                  <a:pt x="40" y="28"/>
                  <a:pt x="40" y="28"/>
                </a:cubicBezTo>
                <a:cubicBezTo>
                  <a:pt x="40" y="29"/>
                  <a:pt x="40" y="29"/>
                  <a:pt x="39" y="30"/>
                </a:cubicBezTo>
                <a:cubicBezTo>
                  <a:pt x="39" y="30"/>
                  <a:pt x="37" y="32"/>
                  <a:pt x="36" y="32"/>
                </a:cubicBezTo>
                <a:cubicBezTo>
                  <a:pt x="36" y="33"/>
                  <a:pt x="34" y="35"/>
                  <a:pt x="33" y="36"/>
                </a:cubicBezTo>
                <a:cubicBezTo>
                  <a:pt x="33" y="37"/>
                  <a:pt x="30" y="43"/>
                  <a:pt x="30" y="43"/>
                </a:cubicBezTo>
                <a:cubicBezTo>
                  <a:pt x="29" y="44"/>
                  <a:pt x="28" y="47"/>
                  <a:pt x="28" y="49"/>
                </a:cubicBezTo>
                <a:cubicBezTo>
                  <a:pt x="28" y="50"/>
                  <a:pt x="28" y="51"/>
                  <a:pt x="27" y="52"/>
                </a:cubicBezTo>
                <a:cubicBezTo>
                  <a:pt x="27" y="53"/>
                  <a:pt x="28" y="54"/>
                  <a:pt x="26" y="54"/>
                </a:cubicBezTo>
                <a:cubicBezTo>
                  <a:pt x="25" y="54"/>
                  <a:pt x="21" y="55"/>
                  <a:pt x="20" y="55"/>
                </a:cubicBezTo>
                <a:cubicBezTo>
                  <a:pt x="18" y="55"/>
                  <a:pt x="17" y="54"/>
                  <a:pt x="16" y="54"/>
                </a:cubicBezTo>
                <a:cubicBezTo>
                  <a:pt x="16" y="55"/>
                  <a:pt x="14" y="56"/>
                  <a:pt x="13" y="56"/>
                </a:cubicBezTo>
                <a:cubicBezTo>
                  <a:pt x="12" y="56"/>
                  <a:pt x="9" y="57"/>
                  <a:pt x="8" y="57"/>
                </a:cubicBezTo>
                <a:cubicBezTo>
                  <a:pt x="7" y="57"/>
                  <a:pt x="5" y="57"/>
                  <a:pt x="4" y="56"/>
                </a:cubicBezTo>
                <a:cubicBezTo>
                  <a:pt x="4" y="56"/>
                  <a:pt x="1" y="54"/>
                  <a:pt x="0" y="53"/>
                </a:cubicBezTo>
                <a:cubicBezTo>
                  <a:pt x="0" y="53"/>
                  <a:pt x="0" y="53"/>
                  <a:pt x="0" y="53"/>
                </a:cubicBezTo>
                <a:cubicBezTo>
                  <a:pt x="0" y="53"/>
                  <a:pt x="0" y="53"/>
                  <a:pt x="0" y="5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 name="Costa Rica"/>
          <p:cNvSpPr>
            <a:spLocks/>
          </p:cNvSpPr>
          <p:nvPr/>
        </p:nvSpPr>
        <p:spPr bwMode="auto">
          <a:xfrm>
            <a:off x="3873790" y="3712870"/>
            <a:ext cx="91458" cy="93092"/>
          </a:xfrm>
          <a:custGeom>
            <a:avLst/>
            <a:gdLst>
              <a:gd name="T0" fmla="*/ 43 w 44"/>
              <a:gd name="T1" fmla="*/ 23 h 46"/>
              <a:gd name="T2" fmla="*/ 41 w 44"/>
              <a:gd name="T3" fmla="*/ 26 h 46"/>
              <a:gd name="T4" fmla="*/ 41 w 44"/>
              <a:gd name="T5" fmla="*/ 30 h 46"/>
              <a:gd name="T6" fmla="*/ 42 w 44"/>
              <a:gd name="T7" fmla="*/ 32 h 46"/>
              <a:gd name="T8" fmla="*/ 44 w 44"/>
              <a:gd name="T9" fmla="*/ 34 h 46"/>
              <a:gd name="T10" fmla="*/ 44 w 44"/>
              <a:gd name="T11" fmla="*/ 36 h 46"/>
              <a:gd name="T12" fmla="*/ 42 w 44"/>
              <a:gd name="T13" fmla="*/ 38 h 46"/>
              <a:gd name="T14" fmla="*/ 41 w 44"/>
              <a:gd name="T15" fmla="*/ 40 h 46"/>
              <a:gd name="T16" fmla="*/ 41 w 44"/>
              <a:gd name="T17" fmla="*/ 44 h 46"/>
              <a:gd name="T18" fmla="*/ 40 w 44"/>
              <a:gd name="T19" fmla="*/ 46 h 46"/>
              <a:gd name="T20" fmla="*/ 38 w 44"/>
              <a:gd name="T21" fmla="*/ 46 h 46"/>
              <a:gd name="T22" fmla="*/ 37 w 44"/>
              <a:gd name="T23" fmla="*/ 43 h 46"/>
              <a:gd name="T24" fmla="*/ 36 w 44"/>
              <a:gd name="T25" fmla="*/ 40 h 46"/>
              <a:gd name="T26" fmla="*/ 34 w 44"/>
              <a:gd name="T27" fmla="*/ 40 h 46"/>
              <a:gd name="T28" fmla="*/ 36 w 44"/>
              <a:gd name="T29" fmla="*/ 42 h 46"/>
              <a:gd name="T30" fmla="*/ 36 w 44"/>
              <a:gd name="T31" fmla="*/ 45 h 46"/>
              <a:gd name="T32" fmla="*/ 34 w 44"/>
              <a:gd name="T33" fmla="*/ 45 h 46"/>
              <a:gd name="T34" fmla="*/ 32 w 44"/>
              <a:gd name="T35" fmla="*/ 43 h 46"/>
              <a:gd name="T36" fmla="*/ 31 w 44"/>
              <a:gd name="T37" fmla="*/ 40 h 46"/>
              <a:gd name="T38" fmla="*/ 32 w 44"/>
              <a:gd name="T39" fmla="*/ 36 h 46"/>
              <a:gd name="T40" fmla="*/ 32 w 44"/>
              <a:gd name="T41" fmla="*/ 33 h 46"/>
              <a:gd name="T42" fmla="*/ 30 w 44"/>
              <a:gd name="T43" fmla="*/ 32 h 46"/>
              <a:gd name="T44" fmla="*/ 27 w 44"/>
              <a:gd name="T45" fmla="*/ 30 h 46"/>
              <a:gd name="T46" fmla="*/ 26 w 44"/>
              <a:gd name="T47" fmla="*/ 28 h 46"/>
              <a:gd name="T48" fmla="*/ 23 w 44"/>
              <a:gd name="T49" fmla="*/ 28 h 46"/>
              <a:gd name="T50" fmla="*/ 20 w 44"/>
              <a:gd name="T51" fmla="*/ 27 h 46"/>
              <a:gd name="T52" fmla="*/ 18 w 44"/>
              <a:gd name="T53" fmla="*/ 25 h 46"/>
              <a:gd name="T54" fmla="*/ 18 w 44"/>
              <a:gd name="T55" fmla="*/ 23 h 46"/>
              <a:gd name="T56" fmla="*/ 16 w 44"/>
              <a:gd name="T57" fmla="*/ 21 h 46"/>
              <a:gd name="T58" fmla="*/ 15 w 44"/>
              <a:gd name="T59" fmla="*/ 18 h 46"/>
              <a:gd name="T60" fmla="*/ 14 w 44"/>
              <a:gd name="T61" fmla="*/ 16 h 46"/>
              <a:gd name="T62" fmla="*/ 11 w 44"/>
              <a:gd name="T63" fmla="*/ 16 h 46"/>
              <a:gd name="T64" fmla="*/ 12 w 44"/>
              <a:gd name="T65" fmla="*/ 20 h 46"/>
              <a:gd name="T66" fmla="*/ 12 w 44"/>
              <a:gd name="T67" fmla="*/ 23 h 46"/>
              <a:gd name="T68" fmla="*/ 8 w 44"/>
              <a:gd name="T69" fmla="*/ 23 h 46"/>
              <a:gd name="T70" fmla="*/ 4 w 44"/>
              <a:gd name="T71" fmla="*/ 20 h 46"/>
              <a:gd name="T72" fmla="*/ 1 w 44"/>
              <a:gd name="T73" fmla="*/ 16 h 46"/>
              <a:gd name="T74" fmla="*/ 1 w 44"/>
              <a:gd name="T75" fmla="*/ 14 h 46"/>
              <a:gd name="T76" fmla="*/ 3 w 44"/>
              <a:gd name="T77" fmla="*/ 13 h 46"/>
              <a:gd name="T78" fmla="*/ 3 w 44"/>
              <a:gd name="T79" fmla="*/ 11 h 46"/>
              <a:gd name="T80" fmla="*/ 4 w 44"/>
              <a:gd name="T81" fmla="*/ 9 h 46"/>
              <a:gd name="T82" fmla="*/ 3 w 44"/>
              <a:gd name="T83" fmla="*/ 7 h 46"/>
              <a:gd name="T84" fmla="*/ 2 w 44"/>
              <a:gd name="T85" fmla="*/ 4 h 46"/>
              <a:gd name="T86" fmla="*/ 3 w 44"/>
              <a:gd name="T87" fmla="*/ 1 h 46"/>
              <a:gd name="T88" fmla="*/ 3 w 44"/>
              <a:gd name="T89" fmla="*/ 1 h 46"/>
              <a:gd name="T90" fmla="*/ 5 w 44"/>
              <a:gd name="T91" fmla="*/ 0 h 46"/>
              <a:gd name="T92" fmla="*/ 8 w 44"/>
              <a:gd name="T93" fmla="*/ 1 h 46"/>
              <a:gd name="T94" fmla="*/ 13 w 44"/>
              <a:gd name="T95" fmla="*/ 2 h 46"/>
              <a:gd name="T96" fmla="*/ 15 w 44"/>
              <a:gd name="T97" fmla="*/ 3 h 46"/>
              <a:gd name="T98" fmla="*/ 18 w 44"/>
              <a:gd name="T99" fmla="*/ 4 h 46"/>
              <a:gd name="T100" fmla="*/ 24 w 44"/>
              <a:gd name="T101" fmla="*/ 7 h 46"/>
              <a:gd name="T102" fmla="*/ 29 w 44"/>
              <a:gd name="T103" fmla="*/ 7 h 46"/>
              <a:gd name="T104" fmla="*/ 32 w 44"/>
              <a:gd name="T105" fmla="*/ 5 h 46"/>
              <a:gd name="T106" fmla="*/ 33 w 44"/>
              <a:gd name="T107" fmla="*/ 7 h 46"/>
              <a:gd name="T108" fmla="*/ 36 w 44"/>
              <a:gd name="T109" fmla="*/ 14 h 46"/>
              <a:gd name="T110" fmla="*/ 40 w 44"/>
              <a:gd name="T111" fmla="*/ 19 h 46"/>
              <a:gd name="T112" fmla="*/ 42 w 44"/>
              <a:gd name="T113" fmla="*/ 21 h 46"/>
              <a:gd name="T114" fmla="*/ 43 w 44"/>
              <a:gd name="T11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 h="46">
                <a:moveTo>
                  <a:pt x="43" y="23"/>
                </a:moveTo>
                <a:cubicBezTo>
                  <a:pt x="43" y="22"/>
                  <a:pt x="41" y="25"/>
                  <a:pt x="41" y="26"/>
                </a:cubicBezTo>
                <a:cubicBezTo>
                  <a:pt x="41" y="26"/>
                  <a:pt x="41" y="29"/>
                  <a:pt x="41" y="30"/>
                </a:cubicBezTo>
                <a:cubicBezTo>
                  <a:pt x="41" y="30"/>
                  <a:pt x="41" y="32"/>
                  <a:pt x="42" y="32"/>
                </a:cubicBezTo>
                <a:cubicBezTo>
                  <a:pt x="43" y="33"/>
                  <a:pt x="44" y="34"/>
                  <a:pt x="44" y="34"/>
                </a:cubicBezTo>
                <a:cubicBezTo>
                  <a:pt x="44" y="34"/>
                  <a:pt x="44" y="36"/>
                  <a:pt x="44" y="36"/>
                </a:cubicBezTo>
                <a:cubicBezTo>
                  <a:pt x="44" y="37"/>
                  <a:pt x="43" y="38"/>
                  <a:pt x="42" y="38"/>
                </a:cubicBezTo>
                <a:cubicBezTo>
                  <a:pt x="42" y="39"/>
                  <a:pt x="41" y="39"/>
                  <a:pt x="41" y="40"/>
                </a:cubicBezTo>
                <a:cubicBezTo>
                  <a:pt x="40" y="42"/>
                  <a:pt x="41" y="43"/>
                  <a:pt x="41" y="44"/>
                </a:cubicBezTo>
                <a:cubicBezTo>
                  <a:pt x="40" y="45"/>
                  <a:pt x="40" y="46"/>
                  <a:pt x="40" y="46"/>
                </a:cubicBezTo>
                <a:cubicBezTo>
                  <a:pt x="39" y="46"/>
                  <a:pt x="38" y="46"/>
                  <a:pt x="38" y="46"/>
                </a:cubicBezTo>
                <a:cubicBezTo>
                  <a:pt x="38" y="46"/>
                  <a:pt x="37" y="44"/>
                  <a:pt x="37" y="43"/>
                </a:cubicBezTo>
                <a:cubicBezTo>
                  <a:pt x="37" y="43"/>
                  <a:pt x="37" y="41"/>
                  <a:pt x="36" y="40"/>
                </a:cubicBezTo>
                <a:cubicBezTo>
                  <a:pt x="35" y="39"/>
                  <a:pt x="34" y="39"/>
                  <a:pt x="34" y="40"/>
                </a:cubicBezTo>
                <a:cubicBezTo>
                  <a:pt x="34" y="40"/>
                  <a:pt x="36" y="41"/>
                  <a:pt x="36" y="42"/>
                </a:cubicBezTo>
                <a:cubicBezTo>
                  <a:pt x="36" y="43"/>
                  <a:pt x="36" y="45"/>
                  <a:pt x="36" y="45"/>
                </a:cubicBezTo>
                <a:cubicBezTo>
                  <a:pt x="35" y="45"/>
                  <a:pt x="35" y="45"/>
                  <a:pt x="34" y="45"/>
                </a:cubicBezTo>
                <a:cubicBezTo>
                  <a:pt x="34" y="44"/>
                  <a:pt x="32" y="44"/>
                  <a:pt x="32" y="43"/>
                </a:cubicBezTo>
                <a:cubicBezTo>
                  <a:pt x="31" y="43"/>
                  <a:pt x="31" y="41"/>
                  <a:pt x="31" y="40"/>
                </a:cubicBezTo>
                <a:cubicBezTo>
                  <a:pt x="31" y="39"/>
                  <a:pt x="31" y="37"/>
                  <a:pt x="32" y="36"/>
                </a:cubicBezTo>
                <a:cubicBezTo>
                  <a:pt x="33" y="35"/>
                  <a:pt x="32" y="34"/>
                  <a:pt x="32" y="33"/>
                </a:cubicBezTo>
                <a:cubicBezTo>
                  <a:pt x="32" y="33"/>
                  <a:pt x="31" y="32"/>
                  <a:pt x="30" y="32"/>
                </a:cubicBezTo>
                <a:cubicBezTo>
                  <a:pt x="29" y="31"/>
                  <a:pt x="27" y="31"/>
                  <a:pt x="27" y="30"/>
                </a:cubicBezTo>
                <a:cubicBezTo>
                  <a:pt x="27" y="30"/>
                  <a:pt x="27" y="28"/>
                  <a:pt x="26" y="28"/>
                </a:cubicBezTo>
                <a:cubicBezTo>
                  <a:pt x="25" y="28"/>
                  <a:pt x="23" y="28"/>
                  <a:pt x="23" y="28"/>
                </a:cubicBezTo>
                <a:cubicBezTo>
                  <a:pt x="22" y="28"/>
                  <a:pt x="20" y="27"/>
                  <a:pt x="20" y="27"/>
                </a:cubicBezTo>
                <a:cubicBezTo>
                  <a:pt x="19" y="26"/>
                  <a:pt x="18" y="26"/>
                  <a:pt x="18" y="25"/>
                </a:cubicBezTo>
                <a:cubicBezTo>
                  <a:pt x="18" y="24"/>
                  <a:pt x="18" y="23"/>
                  <a:pt x="18" y="23"/>
                </a:cubicBezTo>
                <a:cubicBezTo>
                  <a:pt x="18" y="22"/>
                  <a:pt x="16" y="21"/>
                  <a:pt x="16" y="21"/>
                </a:cubicBezTo>
                <a:cubicBezTo>
                  <a:pt x="15" y="20"/>
                  <a:pt x="15" y="20"/>
                  <a:pt x="15" y="18"/>
                </a:cubicBezTo>
                <a:cubicBezTo>
                  <a:pt x="15" y="17"/>
                  <a:pt x="15" y="16"/>
                  <a:pt x="14" y="16"/>
                </a:cubicBezTo>
                <a:cubicBezTo>
                  <a:pt x="14" y="16"/>
                  <a:pt x="12" y="15"/>
                  <a:pt x="11" y="16"/>
                </a:cubicBezTo>
                <a:cubicBezTo>
                  <a:pt x="10" y="16"/>
                  <a:pt x="12" y="20"/>
                  <a:pt x="12" y="20"/>
                </a:cubicBezTo>
                <a:cubicBezTo>
                  <a:pt x="12" y="21"/>
                  <a:pt x="12" y="23"/>
                  <a:pt x="12" y="23"/>
                </a:cubicBezTo>
                <a:cubicBezTo>
                  <a:pt x="11" y="24"/>
                  <a:pt x="9" y="23"/>
                  <a:pt x="8" y="23"/>
                </a:cubicBezTo>
                <a:cubicBezTo>
                  <a:pt x="8" y="23"/>
                  <a:pt x="5" y="21"/>
                  <a:pt x="4" y="20"/>
                </a:cubicBezTo>
                <a:cubicBezTo>
                  <a:pt x="3" y="20"/>
                  <a:pt x="2" y="18"/>
                  <a:pt x="1" y="16"/>
                </a:cubicBezTo>
                <a:cubicBezTo>
                  <a:pt x="1" y="16"/>
                  <a:pt x="0" y="15"/>
                  <a:pt x="1" y="14"/>
                </a:cubicBezTo>
                <a:cubicBezTo>
                  <a:pt x="2" y="14"/>
                  <a:pt x="3" y="14"/>
                  <a:pt x="3" y="13"/>
                </a:cubicBezTo>
                <a:cubicBezTo>
                  <a:pt x="3" y="12"/>
                  <a:pt x="2" y="11"/>
                  <a:pt x="3" y="11"/>
                </a:cubicBezTo>
                <a:cubicBezTo>
                  <a:pt x="3" y="11"/>
                  <a:pt x="4" y="11"/>
                  <a:pt x="4" y="9"/>
                </a:cubicBezTo>
                <a:cubicBezTo>
                  <a:pt x="4" y="9"/>
                  <a:pt x="4" y="7"/>
                  <a:pt x="3" y="7"/>
                </a:cubicBezTo>
                <a:cubicBezTo>
                  <a:pt x="3" y="6"/>
                  <a:pt x="2" y="6"/>
                  <a:pt x="2" y="4"/>
                </a:cubicBezTo>
                <a:cubicBezTo>
                  <a:pt x="2" y="3"/>
                  <a:pt x="2" y="2"/>
                  <a:pt x="3" y="1"/>
                </a:cubicBezTo>
                <a:cubicBezTo>
                  <a:pt x="3" y="1"/>
                  <a:pt x="3" y="1"/>
                  <a:pt x="3" y="1"/>
                </a:cubicBezTo>
                <a:cubicBezTo>
                  <a:pt x="3" y="1"/>
                  <a:pt x="5" y="0"/>
                  <a:pt x="5" y="0"/>
                </a:cubicBezTo>
                <a:cubicBezTo>
                  <a:pt x="5" y="0"/>
                  <a:pt x="8" y="0"/>
                  <a:pt x="8" y="1"/>
                </a:cubicBezTo>
                <a:cubicBezTo>
                  <a:pt x="9" y="1"/>
                  <a:pt x="12" y="1"/>
                  <a:pt x="13" y="2"/>
                </a:cubicBezTo>
                <a:cubicBezTo>
                  <a:pt x="14" y="2"/>
                  <a:pt x="15" y="3"/>
                  <a:pt x="15" y="3"/>
                </a:cubicBezTo>
                <a:cubicBezTo>
                  <a:pt x="15" y="3"/>
                  <a:pt x="18" y="3"/>
                  <a:pt x="18" y="4"/>
                </a:cubicBezTo>
                <a:cubicBezTo>
                  <a:pt x="19" y="4"/>
                  <a:pt x="23" y="6"/>
                  <a:pt x="24" y="7"/>
                </a:cubicBezTo>
                <a:cubicBezTo>
                  <a:pt x="26" y="7"/>
                  <a:pt x="29" y="7"/>
                  <a:pt x="29" y="7"/>
                </a:cubicBezTo>
                <a:cubicBezTo>
                  <a:pt x="30" y="7"/>
                  <a:pt x="32" y="5"/>
                  <a:pt x="32" y="5"/>
                </a:cubicBezTo>
                <a:cubicBezTo>
                  <a:pt x="33" y="5"/>
                  <a:pt x="33" y="6"/>
                  <a:pt x="33" y="7"/>
                </a:cubicBezTo>
                <a:cubicBezTo>
                  <a:pt x="34" y="8"/>
                  <a:pt x="36" y="14"/>
                  <a:pt x="36" y="14"/>
                </a:cubicBezTo>
                <a:cubicBezTo>
                  <a:pt x="36" y="15"/>
                  <a:pt x="39" y="19"/>
                  <a:pt x="40" y="19"/>
                </a:cubicBezTo>
                <a:cubicBezTo>
                  <a:pt x="40" y="20"/>
                  <a:pt x="42" y="20"/>
                  <a:pt x="42" y="21"/>
                </a:cubicBezTo>
                <a:cubicBezTo>
                  <a:pt x="42" y="22"/>
                  <a:pt x="42" y="22"/>
                  <a:pt x="43" y="2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 name="Nicargua"/>
          <p:cNvSpPr>
            <a:spLocks/>
          </p:cNvSpPr>
          <p:nvPr/>
        </p:nvSpPr>
        <p:spPr bwMode="auto">
          <a:xfrm>
            <a:off x="3832959" y="3596913"/>
            <a:ext cx="124123" cy="129022"/>
          </a:xfrm>
          <a:custGeom>
            <a:avLst/>
            <a:gdLst>
              <a:gd name="T0" fmla="*/ 52 w 60"/>
              <a:gd name="T1" fmla="*/ 61 h 63"/>
              <a:gd name="T2" fmla="*/ 51 w 60"/>
              <a:gd name="T3" fmla="*/ 56 h 63"/>
              <a:gd name="T4" fmla="*/ 50 w 60"/>
              <a:gd name="T5" fmla="*/ 52 h 63"/>
              <a:gd name="T6" fmla="*/ 51 w 60"/>
              <a:gd name="T7" fmla="*/ 50 h 63"/>
              <a:gd name="T8" fmla="*/ 51 w 60"/>
              <a:gd name="T9" fmla="*/ 48 h 63"/>
              <a:gd name="T10" fmla="*/ 50 w 60"/>
              <a:gd name="T11" fmla="*/ 46 h 63"/>
              <a:gd name="T12" fmla="*/ 51 w 60"/>
              <a:gd name="T13" fmla="*/ 43 h 63"/>
              <a:gd name="T14" fmla="*/ 52 w 60"/>
              <a:gd name="T15" fmla="*/ 41 h 63"/>
              <a:gd name="T16" fmla="*/ 50 w 60"/>
              <a:gd name="T17" fmla="*/ 38 h 63"/>
              <a:gd name="T18" fmla="*/ 53 w 60"/>
              <a:gd name="T19" fmla="*/ 37 h 63"/>
              <a:gd name="T20" fmla="*/ 54 w 60"/>
              <a:gd name="T21" fmla="*/ 32 h 63"/>
              <a:gd name="T22" fmla="*/ 53 w 60"/>
              <a:gd name="T23" fmla="*/ 29 h 63"/>
              <a:gd name="T24" fmla="*/ 55 w 60"/>
              <a:gd name="T25" fmla="*/ 24 h 63"/>
              <a:gd name="T26" fmla="*/ 55 w 60"/>
              <a:gd name="T27" fmla="*/ 20 h 63"/>
              <a:gd name="T28" fmla="*/ 53 w 60"/>
              <a:gd name="T29" fmla="*/ 18 h 63"/>
              <a:gd name="T30" fmla="*/ 55 w 60"/>
              <a:gd name="T31" fmla="*/ 17 h 63"/>
              <a:gd name="T32" fmla="*/ 56 w 60"/>
              <a:gd name="T33" fmla="*/ 16 h 63"/>
              <a:gd name="T34" fmla="*/ 58 w 60"/>
              <a:gd name="T35" fmla="*/ 12 h 63"/>
              <a:gd name="T36" fmla="*/ 58 w 60"/>
              <a:gd name="T37" fmla="*/ 12 h 63"/>
              <a:gd name="T38" fmla="*/ 60 w 60"/>
              <a:gd name="T39" fmla="*/ 8 h 63"/>
              <a:gd name="T40" fmla="*/ 60 w 60"/>
              <a:gd name="T41" fmla="*/ 5 h 63"/>
              <a:gd name="T42" fmla="*/ 58 w 60"/>
              <a:gd name="T43" fmla="*/ 2 h 63"/>
              <a:gd name="T44" fmla="*/ 58 w 60"/>
              <a:gd name="T45" fmla="*/ 2 h 63"/>
              <a:gd name="T46" fmla="*/ 59 w 60"/>
              <a:gd name="T47" fmla="*/ 0 h 63"/>
              <a:gd name="T48" fmla="*/ 56 w 60"/>
              <a:gd name="T49" fmla="*/ 0 h 63"/>
              <a:gd name="T50" fmla="*/ 53 w 60"/>
              <a:gd name="T51" fmla="*/ 2 h 63"/>
              <a:gd name="T52" fmla="*/ 50 w 60"/>
              <a:gd name="T53" fmla="*/ 3 h 63"/>
              <a:gd name="T54" fmla="*/ 46 w 60"/>
              <a:gd name="T55" fmla="*/ 1 h 63"/>
              <a:gd name="T56" fmla="*/ 42 w 60"/>
              <a:gd name="T57" fmla="*/ 0 h 63"/>
              <a:gd name="T58" fmla="*/ 38 w 60"/>
              <a:gd name="T59" fmla="*/ 0 h 63"/>
              <a:gd name="T60" fmla="*/ 35 w 60"/>
              <a:gd name="T61" fmla="*/ 2 h 63"/>
              <a:gd name="T62" fmla="*/ 32 w 60"/>
              <a:gd name="T63" fmla="*/ 6 h 63"/>
              <a:gd name="T64" fmla="*/ 29 w 60"/>
              <a:gd name="T65" fmla="*/ 8 h 63"/>
              <a:gd name="T66" fmla="*/ 26 w 60"/>
              <a:gd name="T67" fmla="*/ 14 h 63"/>
              <a:gd name="T68" fmla="*/ 24 w 60"/>
              <a:gd name="T69" fmla="*/ 19 h 63"/>
              <a:gd name="T70" fmla="*/ 20 w 60"/>
              <a:gd name="T71" fmla="*/ 19 h 63"/>
              <a:gd name="T72" fmla="*/ 15 w 60"/>
              <a:gd name="T73" fmla="*/ 19 h 63"/>
              <a:gd name="T74" fmla="*/ 11 w 60"/>
              <a:gd name="T75" fmla="*/ 21 h 63"/>
              <a:gd name="T76" fmla="*/ 8 w 60"/>
              <a:gd name="T77" fmla="*/ 24 h 63"/>
              <a:gd name="T78" fmla="*/ 7 w 60"/>
              <a:gd name="T79" fmla="*/ 26 h 63"/>
              <a:gd name="T80" fmla="*/ 6 w 60"/>
              <a:gd name="T81" fmla="*/ 28 h 63"/>
              <a:gd name="T82" fmla="*/ 4 w 60"/>
              <a:gd name="T83" fmla="*/ 28 h 63"/>
              <a:gd name="T84" fmla="*/ 1 w 60"/>
              <a:gd name="T85" fmla="*/ 28 h 63"/>
              <a:gd name="T86" fmla="*/ 1 w 60"/>
              <a:gd name="T87" fmla="*/ 30 h 63"/>
              <a:gd name="T88" fmla="*/ 4 w 60"/>
              <a:gd name="T89" fmla="*/ 32 h 63"/>
              <a:gd name="T90" fmla="*/ 5 w 60"/>
              <a:gd name="T91" fmla="*/ 35 h 63"/>
              <a:gd name="T92" fmla="*/ 6 w 60"/>
              <a:gd name="T93" fmla="*/ 38 h 63"/>
              <a:gd name="T94" fmla="*/ 10 w 60"/>
              <a:gd name="T95" fmla="*/ 39 h 63"/>
              <a:gd name="T96" fmla="*/ 11 w 60"/>
              <a:gd name="T97" fmla="*/ 41 h 63"/>
              <a:gd name="T98" fmla="*/ 14 w 60"/>
              <a:gd name="T99" fmla="*/ 47 h 63"/>
              <a:gd name="T100" fmla="*/ 18 w 60"/>
              <a:gd name="T101" fmla="*/ 52 h 63"/>
              <a:gd name="T102" fmla="*/ 22 w 60"/>
              <a:gd name="T103" fmla="*/ 55 h 63"/>
              <a:gd name="T104" fmla="*/ 23 w 60"/>
              <a:gd name="T105" fmla="*/ 57 h 63"/>
              <a:gd name="T106" fmla="*/ 25 w 60"/>
              <a:gd name="T107" fmla="*/ 56 h 63"/>
              <a:gd name="T108" fmla="*/ 28 w 60"/>
              <a:gd name="T109" fmla="*/ 57 h 63"/>
              <a:gd name="T110" fmla="*/ 33 w 60"/>
              <a:gd name="T111" fmla="*/ 58 h 63"/>
              <a:gd name="T112" fmla="*/ 35 w 60"/>
              <a:gd name="T113" fmla="*/ 59 h 63"/>
              <a:gd name="T114" fmla="*/ 38 w 60"/>
              <a:gd name="T115" fmla="*/ 60 h 63"/>
              <a:gd name="T116" fmla="*/ 44 w 60"/>
              <a:gd name="T117" fmla="*/ 63 h 63"/>
              <a:gd name="T118" fmla="*/ 49 w 60"/>
              <a:gd name="T119" fmla="*/ 63 h 63"/>
              <a:gd name="T120" fmla="*/ 52 w 60"/>
              <a:gd name="T121" fmla="*/ 6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 h="63">
                <a:moveTo>
                  <a:pt x="52" y="61"/>
                </a:moveTo>
                <a:cubicBezTo>
                  <a:pt x="52" y="59"/>
                  <a:pt x="51" y="56"/>
                  <a:pt x="51" y="56"/>
                </a:cubicBezTo>
                <a:cubicBezTo>
                  <a:pt x="51" y="56"/>
                  <a:pt x="50" y="53"/>
                  <a:pt x="50" y="52"/>
                </a:cubicBezTo>
                <a:cubicBezTo>
                  <a:pt x="50" y="51"/>
                  <a:pt x="50" y="51"/>
                  <a:pt x="51" y="50"/>
                </a:cubicBezTo>
                <a:cubicBezTo>
                  <a:pt x="51" y="50"/>
                  <a:pt x="51" y="50"/>
                  <a:pt x="51" y="48"/>
                </a:cubicBezTo>
                <a:cubicBezTo>
                  <a:pt x="51" y="48"/>
                  <a:pt x="50" y="46"/>
                  <a:pt x="50" y="46"/>
                </a:cubicBezTo>
                <a:cubicBezTo>
                  <a:pt x="50" y="44"/>
                  <a:pt x="51" y="44"/>
                  <a:pt x="51" y="43"/>
                </a:cubicBezTo>
                <a:cubicBezTo>
                  <a:pt x="51" y="42"/>
                  <a:pt x="52" y="42"/>
                  <a:pt x="52" y="41"/>
                </a:cubicBezTo>
                <a:cubicBezTo>
                  <a:pt x="51" y="40"/>
                  <a:pt x="50" y="38"/>
                  <a:pt x="50" y="38"/>
                </a:cubicBezTo>
                <a:cubicBezTo>
                  <a:pt x="51" y="37"/>
                  <a:pt x="53" y="38"/>
                  <a:pt x="53" y="37"/>
                </a:cubicBezTo>
                <a:cubicBezTo>
                  <a:pt x="54" y="37"/>
                  <a:pt x="54" y="34"/>
                  <a:pt x="54" y="32"/>
                </a:cubicBezTo>
                <a:cubicBezTo>
                  <a:pt x="54" y="31"/>
                  <a:pt x="53" y="30"/>
                  <a:pt x="53" y="29"/>
                </a:cubicBezTo>
                <a:cubicBezTo>
                  <a:pt x="53" y="28"/>
                  <a:pt x="55" y="25"/>
                  <a:pt x="55" y="24"/>
                </a:cubicBezTo>
                <a:cubicBezTo>
                  <a:pt x="55" y="23"/>
                  <a:pt x="55" y="21"/>
                  <a:pt x="55" y="20"/>
                </a:cubicBezTo>
                <a:cubicBezTo>
                  <a:pt x="54" y="20"/>
                  <a:pt x="53" y="18"/>
                  <a:pt x="53" y="18"/>
                </a:cubicBezTo>
                <a:cubicBezTo>
                  <a:pt x="53" y="17"/>
                  <a:pt x="55" y="17"/>
                  <a:pt x="55" y="17"/>
                </a:cubicBezTo>
                <a:cubicBezTo>
                  <a:pt x="56" y="17"/>
                  <a:pt x="56" y="16"/>
                  <a:pt x="56" y="16"/>
                </a:cubicBezTo>
                <a:cubicBezTo>
                  <a:pt x="56" y="15"/>
                  <a:pt x="58" y="13"/>
                  <a:pt x="58" y="12"/>
                </a:cubicBezTo>
                <a:cubicBezTo>
                  <a:pt x="58" y="12"/>
                  <a:pt x="58" y="12"/>
                  <a:pt x="58" y="12"/>
                </a:cubicBezTo>
                <a:cubicBezTo>
                  <a:pt x="59" y="11"/>
                  <a:pt x="60" y="8"/>
                  <a:pt x="60" y="8"/>
                </a:cubicBezTo>
                <a:cubicBezTo>
                  <a:pt x="60" y="7"/>
                  <a:pt x="60" y="5"/>
                  <a:pt x="60" y="5"/>
                </a:cubicBezTo>
                <a:cubicBezTo>
                  <a:pt x="60" y="4"/>
                  <a:pt x="59" y="3"/>
                  <a:pt x="58" y="2"/>
                </a:cubicBezTo>
                <a:cubicBezTo>
                  <a:pt x="58" y="2"/>
                  <a:pt x="58" y="2"/>
                  <a:pt x="58" y="2"/>
                </a:cubicBezTo>
                <a:cubicBezTo>
                  <a:pt x="58" y="2"/>
                  <a:pt x="58" y="1"/>
                  <a:pt x="59" y="0"/>
                </a:cubicBezTo>
                <a:cubicBezTo>
                  <a:pt x="56" y="0"/>
                  <a:pt x="56" y="0"/>
                  <a:pt x="56" y="0"/>
                </a:cubicBezTo>
                <a:cubicBezTo>
                  <a:pt x="56" y="0"/>
                  <a:pt x="54" y="2"/>
                  <a:pt x="53" y="2"/>
                </a:cubicBezTo>
                <a:cubicBezTo>
                  <a:pt x="53" y="2"/>
                  <a:pt x="51" y="3"/>
                  <a:pt x="50" y="3"/>
                </a:cubicBezTo>
                <a:cubicBezTo>
                  <a:pt x="49" y="3"/>
                  <a:pt x="47" y="1"/>
                  <a:pt x="46" y="1"/>
                </a:cubicBezTo>
                <a:cubicBezTo>
                  <a:pt x="45" y="0"/>
                  <a:pt x="43" y="0"/>
                  <a:pt x="42" y="0"/>
                </a:cubicBezTo>
                <a:cubicBezTo>
                  <a:pt x="41" y="0"/>
                  <a:pt x="39" y="0"/>
                  <a:pt x="38" y="0"/>
                </a:cubicBezTo>
                <a:cubicBezTo>
                  <a:pt x="37" y="0"/>
                  <a:pt x="36" y="1"/>
                  <a:pt x="35" y="2"/>
                </a:cubicBezTo>
                <a:cubicBezTo>
                  <a:pt x="34" y="3"/>
                  <a:pt x="32" y="5"/>
                  <a:pt x="32" y="6"/>
                </a:cubicBezTo>
                <a:cubicBezTo>
                  <a:pt x="32" y="6"/>
                  <a:pt x="30" y="8"/>
                  <a:pt x="29" y="8"/>
                </a:cubicBezTo>
                <a:cubicBezTo>
                  <a:pt x="28" y="10"/>
                  <a:pt x="26" y="13"/>
                  <a:pt x="26" y="14"/>
                </a:cubicBezTo>
                <a:cubicBezTo>
                  <a:pt x="26" y="14"/>
                  <a:pt x="24" y="19"/>
                  <a:pt x="24" y="19"/>
                </a:cubicBezTo>
                <a:cubicBezTo>
                  <a:pt x="24" y="19"/>
                  <a:pt x="21" y="19"/>
                  <a:pt x="20" y="19"/>
                </a:cubicBezTo>
                <a:cubicBezTo>
                  <a:pt x="19" y="19"/>
                  <a:pt x="16" y="19"/>
                  <a:pt x="15" y="19"/>
                </a:cubicBezTo>
                <a:cubicBezTo>
                  <a:pt x="14" y="20"/>
                  <a:pt x="12" y="20"/>
                  <a:pt x="11" y="21"/>
                </a:cubicBezTo>
                <a:cubicBezTo>
                  <a:pt x="10" y="21"/>
                  <a:pt x="9" y="23"/>
                  <a:pt x="8" y="24"/>
                </a:cubicBezTo>
                <a:cubicBezTo>
                  <a:pt x="8" y="24"/>
                  <a:pt x="7" y="26"/>
                  <a:pt x="7" y="26"/>
                </a:cubicBezTo>
                <a:cubicBezTo>
                  <a:pt x="7" y="27"/>
                  <a:pt x="7" y="28"/>
                  <a:pt x="6" y="28"/>
                </a:cubicBezTo>
                <a:cubicBezTo>
                  <a:pt x="5" y="28"/>
                  <a:pt x="4" y="28"/>
                  <a:pt x="4" y="28"/>
                </a:cubicBezTo>
                <a:cubicBezTo>
                  <a:pt x="3" y="28"/>
                  <a:pt x="2" y="28"/>
                  <a:pt x="1" y="28"/>
                </a:cubicBezTo>
                <a:cubicBezTo>
                  <a:pt x="0" y="29"/>
                  <a:pt x="1" y="29"/>
                  <a:pt x="1" y="30"/>
                </a:cubicBezTo>
                <a:cubicBezTo>
                  <a:pt x="2" y="31"/>
                  <a:pt x="3" y="32"/>
                  <a:pt x="4" y="32"/>
                </a:cubicBezTo>
                <a:cubicBezTo>
                  <a:pt x="4" y="33"/>
                  <a:pt x="5" y="35"/>
                  <a:pt x="5" y="35"/>
                </a:cubicBezTo>
                <a:cubicBezTo>
                  <a:pt x="5" y="36"/>
                  <a:pt x="5" y="38"/>
                  <a:pt x="6" y="38"/>
                </a:cubicBezTo>
                <a:cubicBezTo>
                  <a:pt x="7" y="38"/>
                  <a:pt x="9" y="39"/>
                  <a:pt x="10" y="39"/>
                </a:cubicBezTo>
                <a:cubicBezTo>
                  <a:pt x="11" y="39"/>
                  <a:pt x="11" y="40"/>
                  <a:pt x="11" y="41"/>
                </a:cubicBezTo>
                <a:cubicBezTo>
                  <a:pt x="11" y="41"/>
                  <a:pt x="14" y="46"/>
                  <a:pt x="14" y="47"/>
                </a:cubicBezTo>
                <a:cubicBezTo>
                  <a:pt x="15" y="48"/>
                  <a:pt x="18" y="52"/>
                  <a:pt x="18" y="52"/>
                </a:cubicBezTo>
                <a:cubicBezTo>
                  <a:pt x="19" y="52"/>
                  <a:pt x="21" y="55"/>
                  <a:pt x="22" y="55"/>
                </a:cubicBezTo>
                <a:cubicBezTo>
                  <a:pt x="22" y="56"/>
                  <a:pt x="23" y="56"/>
                  <a:pt x="23" y="57"/>
                </a:cubicBezTo>
                <a:cubicBezTo>
                  <a:pt x="23" y="57"/>
                  <a:pt x="25" y="56"/>
                  <a:pt x="25" y="56"/>
                </a:cubicBezTo>
                <a:cubicBezTo>
                  <a:pt x="25" y="56"/>
                  <a:pt x="28" y="56"/>
                  <a:pt x="28" y="57"/>
                </a:cubicBezTo>
                <a:cubicBezTo>
                  <a:pt x="29" y="57"/>
                  <a:pt x="32" y="57"/>
                  <a:pt x="33" y="58"/>
                </a:cubicBezTo>
                <a:cubicBezTo>
                  <a:pt x="34" y="58"/>
                  <a:pt x="35" y="59"/>
                  <a:pt x="35" y="59"/>
                </a:cubicBezTo>
                <a:cubicBezTo>
                  <a:pt x="35" y="59"/>
                  <a:pt x="38" y="59"/>
                  <a:pt x="38" y="60"/>
                </a:cubicBezTo>
                <a:cubicBezTo>
                  <a:pt x="39" y="60"/>
                  <a:pt x="43" y="62"/>
                  <a:pt x="44" y="63"/>
                </a:cubicBezTo>
                <a:cubicBezTo>
                  <a:pt x="46" y="63"/>
                  <a:pt x="49" y="63"/>
                  <a:pt x="49" y="63"/>
                </a:cubicBezTo>
                <a:cubicBezTo>
                  <a:pt x="50" y="63"/>
                  <a:pt x="52" y="61"/>
                  <a:pt x="52" y="61"/>
                </a:cubicBezTo>
                <a:close/>
              </a:path>
            </a:pathLst>
          </a:custGeom>
          <a:solidFill>
            <a:schemeClr val="accent1">
              <a:lumMod val="5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9" name="GUATEMALA"/>
          <p:cNvSpPr>
            <a:spLocks/>
          </p:cNvSpPr>
          <p:nvPr/>
        </p:nvSpPr>
        <p:spPr bwMode="auto">
          <a:xfrm>
            <a:off x="3703938" y="3485855"/>
            <a:ext cx="122490" cy="143721"/>
          </a:xfrm>
          <a:custGeom>
            <a:avLst/>
            <a:gdLst>
              <a:gd name="T0" fmla="*/ 54 w 60"/>
              <a:gd name="T1" fmla="*/ 31 h 70"/>
              <a:gd name="T2" fmla="*/ 54 w 60"/>
              <a:gd name="T3" fmla="*/ 31 h 70"/>
              <a:gd name="T4" fmla="*/ 53 w 60"/>
              <a:gd name="T5" fmla="*/ 33 h 70"/>
              <a:gd name="T6" fmla="*/ 53 w 60"/>
              <a:gd name="T7" fmla="*/ 36 h 70"/>
              <a:gd name="T8" fmla="*/ 57 w 60"/>
              <a:gd name="T9" fmla="*/ 38 h 70"/>
              <a:gd name="T10" fmla="*/ 60 w 60"/>
              <a:gd name="T11" fmla="*/ 38 h 70"/>
              <a:gd name="T12" fmla="*/ 60 w 60"/>
              <a:gd name="T13" fmla="*/ 39 h 70"/>
              <a:gd name="T14" fmla="*/ 59 w 60"/>
              <a:gd name="T15" fmla="*/ 40 h 70"/>
              <a:gd name="T16" fmla="*/ 57 w 60"/>
              <a:gd name="T17" fmla="*/ 42 h 70"/>
              <a:gd name="T18" fmla="*/ 53 w 60"/>
              <a:gd name="T19" fmla="*/ 46 h 70"/>
              <a:gd name="T20" fmla="*/ 49 w 60"/>
              <a:gd name="T21" fmla="*/ 49 h 70"/>
              <a:gd name="T22" fmla="*/ 47 w 60"/>
              <a:gd name="T23" fmla="*/ 53 h 70"/>
              <a:gd name="T24" fmla="*/ 45 w 60"/>
              <a:gd name="T25" fmla="*/ 58 h 70"/>
              <a:gd name="T26" fmla="*/ 43 w 60"/>
              <a:gd name="T27" fmla="*/ 60 h 70"/>
              <a:gd name="T28" fmla="*/ 40 w 60"/>
              <a:gd name="T29" fmla="*/ 64 h 70"/>
              <a:gd name="T30" fmla="*/ 35 w 60"/>
              <a:gd name="T31" fmla="*/ 68 h 70"/>
              <a:gd name="T32" fmla="*/ 33 w 60"/>
              <a:gd name="T33" fmla="*/ 69 h 70"/>
              <a:gd name="T34" fmla="*/ 33 w 60"/>
              <a:gd name="T35" fmla="*/ 70 h 70"/>
              <a:gd name="T36" fmla="*/ 26 w 60"/>
              <a:gd name="T37" fmla="*/ 69 h 70"/>
              <a:gd name="T38" fmla="*/ 18 w 60"/>
              <a:gd name="T39" fmla="*/ 66 h 70"/>
              <a:gd name="T40" fmla="*/ 13 w 60"/>
              <a:gd name="T41" fmla="*/ 62 h 70"/>
              <a:gd name="T42" fmla="*/ 9 w 60"/>
              <a:gd name="T43" fmla="*/ 60 h 70"/>
              <a:gd name="T44" fmla="*/ 4 w 60"/>
              <a:gd name="T45" fmla="*/ 56 h 70"/>
              <a:gd name="T46" fmla="*/ 0 w 60"/>
              <a:gd name="T47" fmla="*/ 53 h 70"/>
              <a:gd name="T48" fmla="*/ 0 w 60"/>
              <a:gd name="T49" fmla="*/ 53 h 70"/>
              <a:gd name="T50" fmla="*/ 1 w 60"/>
              <a:gd name="T51" fmla="*/ 52 h 70"/>
              <a:gd name="T52" fmla="*/ 1 w 60"/>
              <a:gd name="T53" fmla="*/ 49 h 70"/>
              <a:gd name="T54" fmla="*/ 2 w 60"/>
              <a:gd name="T55" fmla="*/ 46 h 70"/>
              <a:gd name="T56" fmla="*/ 5 w 60"/>
              <a:gd name="T57" fmla="*/ 45 h 70"/>
              <a:gd name="T58" fmla="*/ 9 w 60"/>
              <a:gd name="T59" fmla="*/ 41 h 70"/>
              <a:gd name="T60" fmla="*/ 11 w 60"/>
              <a:gd name="T61" fmla="*/ 36 h 70"/>
              <a:gd name="T62" fmla="*/ 15 w 60"/>
              <a:gd name="T63" fmla="*/ 29 h 70"/>
              <a:gd name="T64" fmla="*/ 21 w 60"/>
              <a:gd name="T65" fmla="*/ 28 h 70"/>
              <a:gd name="T66" fmla="*/ 27 w 60"/>
              <a:gd name="T67" fmla="*/ 28 h 70"/>
              <a:gd name="T68" fmla="*/ 32 w 60"/>
              <a:gd name="T69" fmla="*/ 26 h 70"/>
              <a:gd name="T70" fmla="*/ 32 w 60"/>
              <a:gd name="T71" fmla="*/ 23 h 70"/>
              <a:gd name="T72" fmla="*/ 30 w 60"/>
              <a:gd name="T73" fmla="*/ 20 h 70"/>
              <a:gd name="T74" fmla="*/ 26 w 60"/>
              <a:gd name="T75" fmla="*/ 17 h 70"/>
              <a:gd name="T76" fmla="*/ 24 w 60"/>
              <a:gd name="T77" fmla="*/ 14 h 70"/>
              <a:gd name="T78" fmla="*/ 26 w 60"/>
              <a:gd name="T79" fmla="*/ 11 h 70"/>
              <a:gd name="T80" fmla="*/ 26 w 60"/>
              <a:gd name="T81" fmla="*/ 8 h 70"/>
              <a:gd name="T82" fmla="*/ 26 w 60"/>
              <a:gd name="T83" fmla="*/ 3 h 70"/>
              <a:gd name="T84" fmla="*/ 29 w 60"/>
              <a:gd name="T85" fmla="*/ 1 h 70"/>
              <a:gd name="T86" fmla="*/ 37 w 60"/>
              <a:gd name="T87" fmla="*/ 1 h 70"/>
              <a:gd name="T88" fmla="*/ 43 w 60"/>
              <a:gd name="T89" fmla="*/ 2 h 70"/>
              <a:gd name="T90" fmla="*/ 47 w 60"/>
              <a:gd name="T91" fmla="*/ 1 h 70"/>
              <a:gd name="T92" fmla="*/ 53 w 60"/>
              <a:gd name="T93" fmla="*/ 0 h 70"/>
              <a:gd name="T94" fmla="*/ 53 w 60"/>
              <a:gd name="T95" fmla="*/ 5 h 70"/>
              <a:gd name="T96" fmla="*/ 52 w 60"/>
              <a:gd name="T97" fmla="*/ 8 h 70"/>
              <a:gd name="T98" fmla="*/ 51 w 60"/>
              <a:gd name="T99" fmla="*/ 13 h 70"/>
              <a:gd name="T100" fmla="*/ 51 w 60"/>
              <a:gd name="T101" fmla="*/ 19 h 70"/>
              <a:gd name="T102" fmla="*/ 50 w 60"/>
              <a:gd name="T103" fmla="*/ 26 h 70"/>
              <a:gd name="T104" fmla="*/ 51 w 60"/>
              <a:gd name="T105" fmla="*/ 29 h 70"/>
              <a:gd name="T106" fmla="*/ 54 w 60"/>
              <a:gd name="T107"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70">
                <a:moveTo>
                  <a:pt x="54" y="31"/>
                </a:moveTo>
                <a:cubicBezTo>
                  <a:pt x="54" y="31"/>
                  <a:pt x="54" y="31"/>
                  <a:pt x="54" y="31"/>
                </a:cubicBezTo>
                <a:cubicBezTo>
                  <a:pt x="53" y="32"/>
                  <a:pt x="53" y="33"/>
                  <a:pt x="53" y="33"/>
                </a:cubicBezTo>
                <a:cubicBezTo>
                  <a:pt x="53" y="33"/>
                  <a:pt x="53" y="35"/>
                  <a:pt x="53" y="36"/>
                </a:cubicBezTo>
                <a:cubicBezTo>
                  <a:pt x="54" y="36"/>
                  <a:pt x="55" y="38"/>
                  <a:pt x="57" y="38"/>
                </a:cubicBezTo>
                <a:cubicBezTo>
                  <a:pt x="57" y="38"/>
                  <a:pt x="59" y="38"/>
                  <a:pt x="60" y="38"/>
                </a:cubicBezTo>
                <a:cubicBezTo>
                  <a:pt x="60" y="38"/>
                  <a:pt x="60" y="38"/>
                  <a:pt x="60" y="39"/>
                </a:cubicBezTo>
                <a:cubicBezTo>
                  <a:pt x="60" y="39"/>
                  <a:pt x="60" y="39"/>
                  <a:pt x="59" y="40"/>
                </a:cubicBezTo>
                <a:cubicBezTo>
                  <a:pt x="59" y="41"/>
                  <a:pt x="58" y="42"/>
                  <a:pt x="57" y="42"/>
                </a:cubicBezTo>
                <a:cubicBezTo>
                  <a:pt x="56" y="43"/>
                  <a:pt x="54" y="45"/>
                  <a:pt x="53" y="46"/>
                </a:cubicBezTo>
                <a:cubicBezTo>
                  <a:pt x="51" y="46"/>
                  <a:pt x="50" y="48"/>
                  <a:pt x="49" y="49"/>
                </a:cubicBezTo>
                <a:cubicBezTo>
                  <a:pt x="49" y="50"/>
                  <a:pt x="48" y="52"/>
                  <a:pt x="47" y="53"/>
                </a:cubicBezTo>
                <a:cubicBezTo>
                  <a:pt x="47" y="54"/>
                  <a:pt x="45" y="57"/>
                  <a:pt x="45" y="58"/>
                </a:cubicBezTo>
                <a:cubicBezTo>
                  <a:pt x="45" y="58"/>
                  <a:pt x="44" y="59"/>
                  <a:pt x="43" y="60"/>
                </a:cubicBezTo>
                <a:cubicBezTo>
                  <a:pt x="43" y="60"/>
                  <a:pt x="40" y="63"/>
                  <a:pt x="40" y="64"/>
                </a:cubicBezTo>
                <a:cubicBezTo>
                  <a:pt x="40" y="64"/>
                  <a:pt x="36" y="68"/>
                  <a:pt x="35" y="68"/>
                </a:cubicBezTo>
                <a:cubicBezTo>
                  <a:pt x="34" y="68"/>
                  <a:pt x="33" y="69"/>
                  <a:pt x="33" y="69"/>
                </a:cubicBezTo>
                <a:cubicBezTo>
                  <a:pt x="33" y="70"/>
                  <a:pt x="33" y="70"/>
                  <a:pt x="33" y="70"/>
                </a:cubicBezTo>
                <a:cubicBezTo>
                  <a:pt x="32" y="69"/>
                  <a:pt x="28" y="69"/>
                  <a:pt x="26" y="69"/>
                </a:cubicBezTo>
                <a:cubicBezTo>
                  <a:pt x="25" y="68"/>
                  <a:pt x="18" y="66"/>
                  <a:pt x="18" y="66"/>
                </a:cubicBezTo>
                <a:cubicBezTo>
                  <a:pt x="18" y="66"/>
                  <a:pt x="14" y="63"/>
                  <a:pt x="13" y="62"/>
                </a:cubicBezTo>
                <a:cubicBezTo>
                  <a:pt x="13" y="62"/>
                  <a:pt x="11" y="60"/>
                  <a:pt x="9" y="60"/>
                </a:cubicBezTo>
                <a:cubicBezTo>
                  <a:pt x="8" y="59"/>
                  <a:pt x="4" y="57"/>
                  <a:pt x="4" y="56"/>
                </a:cubicBezTo>
                <a:cubicBezTo>
                  <a:pt x="3" y="56"/>
                  <a:pt x="0" y="54"/>
                  <a:pt x="0" y="53"/>
                </a:cubicBezTo>
                <a:cubicBezTo>
                  <a:pt x="0" y="53"/>
                  <a:pt x="0" y="53"/>
                  <a:pt x="0" y="53"/>
                </a:cubicBezTo>
                <a:cubicBezTo>
                  <a:pt x="0" y="53"/>
                  <a:pt x="1" y="53"/>
                  <a:pt x="1" y="52"/>
                </a:cubicBezTo>
                <a:cubicBezTo>
                  <a:pt x="1" y="51"/>
                  <a:pt x="1" y="49"/>
                  <a:pt x="1" y="49"/>
                </a:cubicBezTo>
                <a:cubicBezTo>
                  <a:pt x="2" y="48"/>
                  <a:pt x="2" y="47"/>
                  <a:pt x="2" y="46"/>
                </a:cubicBezTo>
                <a:cubicBezTo>
                  <a:pt x="3" y="46"/>
                  <a:pt x="5" y="45"/>
                  <a:pt x="5" y="45"/>
                </a:cubicBezTo>
                <a:cubicBezTo>
                  <a:pt x="5" y="45"/>
                  <a:pt x="8" y="43"/>
                  <a:pt x="9" y="41"/>
                </a:cubicBezTo>
                <a:cubicBezTo>
                  <a:pt x="10" y="40"/>
                  <a:pt x="11" y="37"/>
                  <a:pt x="11" y="36"/>
                </a:cubicBezTo>
                <a:cubicBezTo>
                  <a:pt x="12" y="34"/>
                  <a:pt x="14" y="31"/>
                  <a:pt x="15" y="29"/>
                </a:cubicBezTo>
                <a:cubicBezTo>
                  <a:pt x="17" y="28"/>
                  <a:pt x="19" y="28"/>
                  <a:pt x="21" y="28"/>
                </a:cubicBezTo>
                <a:cubicBezTo>
                  <a:pt x="22" y="28"/>
                  <a:pt x="25" y="28"/>
                  <a:pt x="27" y="28"/>
                </a:cubicBezTo>
                <a:cubicBezTo>
                  <a:pt x="29" y="28"/>
                  <a:pt x="32" y="26"/>
                  <a:pt x="32" y="26"/>
                </a:cubicBezTo>
                <a:cubicBezTo>
                  <a:pt x="33" y="25"/>
                  <a:pt x="32" y="24"/>
                  <a:pt x="32" y="23"/>
                </a:cubicBezTo>
                <a:cubicBezTo>
                  <a:pt x="32" y="23"/>
                  <a:pt x="30" y="21"/>
                  <a:pt x="30" y="20"/>
                </a:cubicBezTo>
                <a:cubicBezTo>
                  <a:pt x="30" y="20"/>
                  <a:pt x="27" y="18"/>
                  <a:pt x="26" y="17"/>
                </a:cubicBezTo>
                <a:cubicBezTo>
                  <a:pt x="26" y="16"/>
                  <a:pt x="24" y="15"/>
                  <a:pt x="24" y="14"/>
                </a:cubicBezTo>
                <a:cubicBezTo>
                  <a:pt x="24" y="13"/>
                  <a:pt x="26" y="12"/>
                  <a:pt x="26" y="11"/>
                </a:cubicBezTo>
                <a:cubicBezTo>
                  <a:pt x="26" y="10"/>
                  <a:pt x="26" y="9"/>
                  <a:pt x="26" y="8"/>
                </a:cubicBezTo>
                <a:cubicBezTo>
                  <a:pt x="26" y="7"/>
                  <a:pt x="26" y="5"/>
                  <a:pt x="26" y="3"/>
                </a:cubicBezTo>
                <a:cubicBezTo>
                  <a:pt x="27" y="2"/>
                  <a:pt x="28" y="1"/>
                  <a:pt x="29" y="1"/>
                </a:cubicBezTo>
                <a:cubicBezTo>
                  <a:pt x="30" y="1"/>
                  <a:pt x="35" y="1"/>
                  <a:pt x="37" y="1"/>
                </a:cubicBezTo>
                <a:cubicBezTo>
                  <a:pt x="40" y="2"/>
                  <a:pt x="41" y="2"/>
                  <a:pt x="43" y="2"/>
                </a:cubicBezTo>
                <a:cubicBezTo>
                  <a:pt x="45" y="2"/>
                  <a:pt x="46" y="1"/>
                  <a:pt x="47" y="1"/>
                </a:cubicBezTo>
                <a:cubicBezTo>
                  <a:pt x="49" y="1"/>
                  <a:pt x="53" y="0"/>
                  <a:pt x="53" y="0"/>
                </a:cubicBezTo>
                <a:cubicBezTo>
                  <a:pt x="53" y="0"/>
                  <a:pt x="53" y="4"/>
                  <a:pt x="53" y="5"/>
                </a:cubicBezTo>
                <a:cubicBezTo>
                  <a:pt x="53" y="5"/>
                  <a:pt x="52" y="8"/>
                  <a:pt x="52" y="8"/>
                </a:cubicBezTo>
                <a:cubicBezTo>
                  <a:pt x="52" y="9"/>
                  <a:pt x="51" y="12"/>
                  <a:pt x="51" y="13"/>
                </a:cubicBezTo>
                <a:cubicBezTo>
                  <a:pt x="51" y="13"/>
                  <a:pt x="51" y="18"/>
                  <a:pt x="51" y="19"/>
                </a:cubicBezTo>
                <a:cubicBezTo>
                  <a:pt x="51" y="20"/>
                  <a:pt x="50" y="24"/>
                  <a:pt x="50" y="26"/>
                </a:cubicBezTo>
                <a:cubicBezTo>
                  <a:pt x="50" y="26"/>
                  <a:pt x="50" y="29"/>
                  <a:pt x="51" y="29"/>
                </a:cubicBezTo>
                <a:cubicBezTo>
                  <a:pt x="51" y="30"/>
                  <a:pt x="54" y="31"/>
                  <a:pt x="54" y="31"/>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0" name="El Salvador"/>
          <p:cNvSpPr>
            <a:spLocks/>
          </p:cNvSpPr>
          <p:nvPr/>
        </p:nvSpPr>
        <p:spPr bwMode="auto">
          <a:xfrm>
            <a:off x="3772532" y="3605078"/>
            <a:ext cx="65327" cy="44096"/>
          </a:xfrm>
          <a:custGeom>
            <a:avLst/>
            <a:gdLst>
              <a:gd name="T0" fmla="*/ 32 w 32"/>
              <a:gd name="T1" fmla="*/ 19 h 21"/>
              <a:gd name="T2" fmla="*/ 31 w 32"/>
              <a:gd name="T3" fmla="*/ 18 h 21"/>
              <a:gd name="T4" fmla="*/ 27 w 32"/>
              <a:gd name="T5" fmla="*/ 21 h 21"/>
              <a:gd name="T6" fmla="*/ 23 w 32"/>
              <a:gd name="T7" fmla="*/ 21 h 21"/>
              <a:gd name="T8" fmla="*/ 19 w 32"/>
              <a:gd name="T9" fmla="*/ 18 h 21"/>
              <a:gd name="T10" fmla="*/ 18 w 32"/>
              <a:gd name="T11" fmla="*/ 18 h 21"/>
              <a:gd name="T12" fmla="*/ 16 w 32"/>
              <a:gd name="T13" fmla="*/ 19 h 21"/>
              <a:gd name="T14" fmla="*/ 13 w 32"/>
              <a:gd name="T15" fmla="*/ 18 h 21"/>
              <a:gd name="T16" fmla="*/ 9 w 32"/>
              <a:gd name="T17" fmla="*/ 17 h 21"/>
              <a:gd name="T18" fmla="*/ 7 w 32"/>
              <a:gd name="T19" fmla="*/ 15 h 21"/>
              <a:gd name="T20" fmla="*/ 3 w 32"/>
              <a:gd name="T21" fmla="*/ 13 h 21"/>
              <a:gd name="T22" fmla="*/ 0 w 32"/>
              <a:gd name="T23" fmla="*/ 12 h 21"/>
              <a:gd name="T24" fmla="*/ 0 w 32"/>
              <a:gd name="T25" fmla="*/ 11 h 21"/>
              <a:gd name="T26" fmla="*/ 2 w 32"/>
              <a:gd name="T27" fmla="*/ 10 h 21"/>
              <a:gd name="T28" fmla="*/ 7 w 32"/>
              <a:gd name="T29" fmla="*/ 6 h 21"/>
              <a:gd name="T30" fmla="*/ 10 w 32"/>
              <a:gd name="T31" fmla="*/ 2 h 21"/>
              <a:gd name="T32" fmla="*/ 12 w 32"/>
              <a:gd name="T33" fmla="*/ 0 h 21"/>
              <a:gd name="T34" fmla="*/ 13 w 32"/>
              <a:gd name="T35" fmla="*/ 0 h 21"/>
              <a:gd name="T36" fmla="*/ 14 w 32"/>
              <a:gd name="T37" fmla="*/ 1 h 21"/>
              <a:gd name="T38" fmla="*/ 18 w 32"/>
              <a:gd name="T39" fmla="*/ 3 h 21"/>
              <a:gd name="T40" fmla="*/ 20 w 32"/>
              <a:gd name="T41" fmla="*/ 5 h 21"/>
              <a:gd name="T42" fmla="*/ 23 w 32"/>
              <a:gd name="T43" fmla="*/ 7 h 21"/>
              <a:gd name="T44" fmla="*/ 26 w 32"/>
              <a:gd name="T45" fmla="*/ 9 h 21"/>
              <a:gd name="T46" fmla="*/ 30 w 32"/>
              <a:gd name="T47" fmla="*/ 9 h 21"/>
              <a:gd name="T48" fmla="*/ 32 w 32"/>
              <a:gd name="T49" fmla="*/ 11 h 21"/>
              <a:gd name="T50" fmla="*/ 32 w 32"/>
              <a:gd name="T51" fmla="*/ 13 h 21"/>
              <a:gd name="T52" fmla="*/ 32 w 32"/>
              <a:gd name="T53"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 h="21">
                <a:moveTo>
                  <a:pt x="32" y="19"/>
                </a:moveTo>
                <a:cubicBezTo>
                  <a:pt x="31" y="18"/>
                  <a:pt x="31" y="18"/>
                  <a:pt x="31" y="18"/>
                </a:cubicBezTo>
                <a:cubicBezTo>
                  <a:pt x="30" y="19"/>
                  <a:pt x="28" y="20"/>
                  <a:pt x="27" y="21"/>
                </a:cubicBezTo>
                <a:cubicBezTo>
                  <a:pt x="26" y="21"/>
                  <a:pt x="24" y="21"/>
                  <a:pt x="23" y="21"/>
                </a:cubicBezTo>
                <a:cubicBezTo>
                  <a:pt x="23" y="20"/>
                  <a:pt x="20" y="19"/>
                  <a:pt x="19" y="18"/>
                </a:cubicBezTo>
                <a:cubicBezTo>
                  <a:pt x="19" y="18"/>
                  <a:pt x="18" y="18"/>
                  <a:pt x="18" y="18"/>
                </a:cubicBezTo>
                <a:cubicBezTo>
                  <a:pt x="17" y="19"/>
                  <a:pt x="17" y="19"/>
                  <a:pt x="16" y="19"/>
                </a:cubicBezTo>
                <a:cubicBezTo>
                  <a:pt x="14" y="18"/>
                  <a:pt x="14" y="19"/>
                  <a:pt x="13" y="18"/>
                </a:cubicBezTo>
                <a:cubicBezTo>
                  <a:pt x="12" y="18"/>
                  <a:pt x="10" y="17"/>
                  <a:pt x="9" y="17"/>
                </a:cubicBezTo>
                <a:cubicBezTo>
                  <a:pt x="9" y="16"/>
                  <a:pt x="7" y="15"/>
                  <a:pt x="7" y="15"/>
                </a:cubicBezTo>
                <a:cubicBezTo>
                  <a:pt x="6" y="14"/>
                  <a:pt x="5" y="13"/>
                  <a:pt x="3" y="13"/>
                </a:cubicBezTo>
                <a:cubicBezTo>
                  <a:pt x="3" y="12"/>
                  <a:pt x="0" y="12"/>
                  <a:pt x="0" y="12"/>
                </a:cubicBezTo>
                <a:cubicBezTo>
                  <a:pt x="0" y="11"/>
                  <a:pt x="0" y="11"/>
                  <a:pt x="0" y="11"/>
                </a:cubicBezTo>
                <a:cubicBezTo>
                  <a:pt x="0" y="11"/>
                  <a:pt x="1" y="10"/>
                  <a:pt x="2" y="10"/>
                </a:cubicBezTo>
                <a:cubicBezTo>
                  <a:pt x="3" y="10"/>
                  <a:pt x="7" y="6"/>
                  <a:pt x="7" y="6"/>
                </a:cubicBezTo>
                <a:cubicBezTo>
                  <a:pt x="7" y="5"/>
                  <a:pt x="10" y="2"/>
                  <a:pt x="10" y="2"/>
                </a:cubicBezTo>
                <a:cubicBezTo>
                  <a:pt x="11" y="1"/>
                  <a:pt x="12" y="0"/>
                  <a:pt x="12" y="0"/>
                </a:cubicBezTo>
                <a:cubicBezTo>
                  <a:pt x="13" y="0"/>
                  <a:pt x="13" y="0"/>
                  <a:pt x="13" y="0"/>
                </a:cubicBezTo>
                <a:cubicBezTo>
                  <a:pt x="13" y="0"/>
                  <a:pt x="14" y="0"/>
                  <a:pt x="14" y="1"/>
                </a:cubicBezTo>
                <a:cubicBezTo>
                  <a:pt x="15" y="1"/>
                  <a:pt x="18" y="3"/>
                  <a:pt x="18" y="3"/>
                </a:cubicBezTo>
                <a:cubicBezTo>
                  <a:pt x="18" y="3"/>
                  <a:pt x="20" y="5"/>
                  <a:pt x="20" y="5"/>
                </a:cubicBezTo>
                <a:cubicBezTo>
                  <a:pt x="21" y="6"/>
                  <a:pt x="22" y="7"/>
                  <a:pt x="23" y="7"/>
                </a:cubicBezTo>
                <a:cubicBezTo>
                  <a:pt x="24" y="8"/>
                  <a:pt x="26" y="9"/>
                  <a:pt x="26" y="9"/>
                </a:cubicBezTo>
                <a:cubicBezTo>
                  <a:pt x="26" y="9"/>
                  <a:pt x="29" y="9"/>
                  <a:pt x="30" y="9"/>
                </a:cubicBezTo>
                <a:cubicBezTo>
                  <a:pt x="30" y="10"/>
                  <a:pt x="32" y="10"/>
                  <a:pt x="32" y="11"/>
                </a:cubicBezTo>
                <a:cubicBezTo>
                  <a:pt x="32" y="11"/>
                  <a:pt x="32" y="13"/>
                  <a:pt x="32" y="13"/>
                </a:cubicBezTo>
                <a:cubicBezTo>
                  <a:pt x="32" y="13"/>
                  <a:pt x="32" y="17"/>
                  <a:pt x="32" y="1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1" name="Cuba"/>
          <p:cNvSpPr>
            <a:spLocks/>
          </p:cNvSpPr>
          <p:nvPr/>
        </p:nvSpPr>
        <p:spPr bwMode="auto">
          <a:xfrm>
            <a:off x="3924135" y="3317146"/>
            <a:ext cx="359494" cy="162666"/>
          </a:xfrm>
          <a:custGeom>
            <a:avLst/>
            <a:gdLst>
              <a:gd name="connsiteX0" fmla="*/ 302959 w 349437"/>
              <a:gd name="connsiteY0" fmla="*/ 129065 h 158116"/>
              <a:gd name="connsiteX1" fmla="*/ 308780 w 349437"/>
              <a:gd name="connsiteY1" fmla="*/ 133034 h 158116"/>
              <a:gd name="connsiteX2" fmla="*/ 312661 w 349437"/>
              <a:gd name="connsiteY2" fmla="*/ 140971 h 158116"/>
              <a:gd name="connsiteX3" fmla="*/ 306840 w 349437"/>
              <a:gd name="connsiteY3" fmla="*/ 142956 h 158116"/>
              <a:gd name="connsiteX4" fmla="*/ 299078 w 349437"/>
              <a:gd name="connsiteY4" fmla="*/ 133034 h 158116"/>
              <a:gd name="connsiteX5" fmla="*/ 302959 w 349437"/>
              <a:gd name="connsiteY5" fmla="*/ 129065 h 158116"/>
              <a:gd name="connsiteX6" fmla="*/ 309247 w 349437"/>
              <a:gd name="connsiteY6" fmla="*/ 107251 h 158116"/>
              <a:gd name="connsiteX7" fmla="*/ 319215 w 349437"/>
              <a:gd name="connsiteY7" fmla="*/ 111249 h 158116"/>
              <a:gd name="connsiteX8" fmla="*/ 327190 w 349437"/>
              <a:gd name="connsiteY8" fmla="*/ 111249 h 158116"/>
              <a:gd name="connsiteX9" fmla="*/ 335164 w 349437"/>
              <a:gd name="connsiteY9" fmla="*/ 115247 h 158116"/>
              <a:gd name="connsiteX10" fmla="*/ 341145 w 349437"/>
              <a:gd name="connsiteY10" fmla="*/ 111249 h 158116"/>
              <a:gd name="connsiteX11" fmla="*/ 349120 w 349437"/>
              <a:gd name="connsiteY11" fmla="*/ 111249 h 158116"/>
              <a:gd name="connsiteX12" fmla="*/ 341145 w 349437"/>
              <a:gd name="connsiteY12" fmla="*/ 131240 h 158116"/>
              <a:gd name="connsiteX13" fmla="*/ 339152 w 349437"/>
              <a:gd name="connsiteY13" fmla="*/ 157228 h 158116"/>
              <a:gd name="connsiteX14" fmla="*/ 337158 w 349437"/>
              <a:gd name="connsiteY14" fmla="*/ 157228 h 158116"/>
              <a:gd name="connsiteX15" fmla="*/ 323203 w 349437"/>
              <a:gd name="connsiteY15" fmla="*/ 155229 h 158116"/>
              <a:gd name="connsiteX16" fmla="*/ 313235 w 349437"/>
              <a:gd name="connsiteY16" fmla="*/ 157228 h 158116"/>
              <a:gd name="connsiteX17" fmla="*/ 307254 w 349437"/>
              <a:gd name="connsiteY17" fmla="*/ 157228 h 158116"/>
              <a:gd name="connsiteX18" fmla="*/ 289311 w 349437"/>
              <a:gd name="connsiteY18" fmla="*/ 155229 h 158116"/>
              <a:gd name="connsiteX19" fmla="*/ 285324 w 349437"/>
              <a:gd name="connsiteY19" fmla="*/ 157228 h 158116"/>
              <a:gd name="connsiteX20" fmla="*/ 279343 w 349437"/>
              <a:gd name="connsiteY20" fmla="*/ 157228 h 158116"/>
              <a:gd name="connsiteX21" fmla="*/ 273363 w 349437"/>
              <a:gd name="connsiteY21" fmla="*/ 155229 h 158116"/>
              <a:gd name="connsiteX22" fmla="*/ 267382 w 349437"/>
              <a:gd name="connsiteY22" fmla="*/ 149232 h 158116"/>
              <a:gd name="connsiteX23" fmla="*/ 271369 w 349437"/>
              <a:gd name="connsiteY23" fmla="*/ 145234 h 158116"/>
              <a:gd name="connsiteX24" fmla="*/ 279343 w 349437"/>
              <a:gd name="connsiteY24" fmla="*/ 145234 h 158116"/>
              <a:gd name="connsiteX25" fmla="*/ 287318 w 349437"/>
              <a:gd name="connsiteY25" fmla="*/ 143235 h 158116"/>
              <a:gd name="connsiteX26" fmla="*/ 291305 w 349437"/>
              <a:gd name="connsiteY26" fmla="*/ 145234 h 158116"/>
              <a:gd name="connsiteX27" fmla="*/ 297286 w 349437"/>
              <a:gd name="connsiteY27" fmla="*/ 147233 h 158116"/>
              <a:gd name="connsiteX28" fmla="*/ 303267 w 349437"/>
              <a:gd name="connsiteY28" fmla="*/ 149232 h 158116"/>
              <a:gd name="connsiteX29" fmla="*/ 319215 w 349437"/>
              <a:gd name="connsiteY29" fmla="*/ 147233 h 158116"/>
              <a:gd name="connsiteX30" fmla="*/ 313235 w 349437"/>
              <a:gd name="connsiteY30" fmla="*/ 137237 h 158116"/>
              <a:gd name="connsiteX31" fmla="*/ 311241 w 349437"/>
              <a:gd name="connsiteY31" fmla="*/ 127242 h 158116"/>
              <a:gd name="connsiteX32" fmla="*/ 307254 w 349437"/>
              <a:gd name="connsiteY32" fmla="*/ 119246 h 158116"/>
              <a:gd name="connsiteX33" fmla="*/ 297286 w 349437"/>
              <a:gd name="connsiteY33" fmla="*/ 117247 h 158116"/>
              <a:gd name="connsiteX34" fmla="*/ 301273 w 349437"/>
              <a:gd name="connsiteY34" fmla="*/ 113248 h 158116"/>
              <a:gd name="connsiteX35" fmla="*/ 309247 w 349437"/>
              <a:gd name="connsiteY35" fmla="*/ 107251 h 158116"/>
              <a:gd name="connsiteX36" fmla="*/ 148847 w 349437"/>
              <a:gd name="connsiteY36" fmla="*/ 71007 h 158116"/>
              <a:gd name="connsiteX37" fmla="*/ 155010 w 349437"/>
              <a:gd name="connsiteY37" fmla="*/ 78718 h 158116"/>
              <a:gd name="connsiteX38" fmla="*/ 157065 w 349437"/>
              <a:gd name="connsiteY38" fmla="*/ 80646 h 158116"/>
              <a:gd name="connsiteX39" fmla="*/ 163228 w 349437"/>
              <a:gd name="connsiteY39" fmla="*/ 78718 h 158116"/>
              <a:gd name="connsiteX40" fmla="*/ 163228 w 349437"/>
              <a:gd name="connsiteY40" fmla="*/ 80646 h 158116"/>
              <a:gd name="connsiteX41" fmla="*/ 163228 w 349437"/>
              <a:gd name="connsiteY41" fmla="*/ 84501 h 158116"/>
              <a:gd name="connsiteX42" fmla="*/ 167337 w 349437"/>
              <a:gd name="connsiteY42" fmla="*/ 84501 h 158116"/>
              <a:gd name="connsiteX43" fmla="*/ 173500 w 349437"/>
              <a:gd name="connsiteY43" fmla="*/ 86429 h 158116"/>
              <a:gd name="connsiteX44" fmla="*/ 177609 w 349437"/>
              <a:gd name="connsiteY44" fmla="*/ 88356 h 158116"/>
              <a:gd name="connsiteX45" fmla="*/ 175554 w 349437"/>
              <a:gd name="connsiteY45" fmla="*/ 92211 h 158116"/>
              <a:gd name="connsiteX46" fmla="*/ 173500 w 349437"/>
              <a:gd name="connsiteY46" fmla="*/ 90284 h 158116"/>
              <a:gd name="connsiteX47" fmla="*/ 169391 w 349437"/>
              <a:gd name="connsiteY47" fmla="*/ 88356 h 158116"/>
              <a:gd name="connsiteX48" fmla="*/ 163228 w 349437"/>
              <a:gd name="connsiteY48" fmla="*/ 88356 h 158116"/>
              <a:gd name="connsiteX49" fmla="*/ 152956 w 349437"/>
              <a:gd name="connsiteY49" fmla="*/ 80646 h 158116"/>
              <a:gd name="connsiteX50" fmla="*/ 144738 w 349437"/>
              <a:gd name="connsiteY50" fmla="*/ 74863 h 158116"/>
              <a:gd name="connsiteX51" fmla="*/ 148847 w 349437"/>
              <a:gd name="connsiteY51" fmla="*/ 71007 h 158116"/>
              <a:gd name="connsiteX52" fmla="*/ 83355 w 349437"/>
              <a:gd name="connsiteY52" fmla="*/ 49590 h 158116"/>
              <a:gd name="connsiteX53" fmla="*/ 85471 w 349437"/>
              <a:gd name="connsiteY53" fmla="*/ 50086 h 158116"/>
              <a:gd name="connsiteX54" fmla="*/ 93938 w 349437"/>
              <a:gd name="connsiteY54" fmla="*/ 54055 h 158116"/>
              <a:gd name="connsiteX55" fmla="*/ 81238 w 349437"/>
              <a:gd name="connsiteY55" fmla="*/ 52071 h 158116"/>
              <a:gd name="connsiteX56" fmla="*/ 83355 w 349437"/>
              <a:gd name="connsiteY56" fmla="*/ 49590 h 158116"/>
              <a:gd name="connsiteX57" fmla="*/ 45520 w 349437"/>
              <a:gd name="connsiteY57" fmla="*/ 44927 h 158116"/>
              <a:gd name="connsiteX58" fmla="*/ 55442 w 349437"/>
              <a:gd name="connsiteY58" fmla="*/ 50880 h 158116"/>
              <a:gd name="connsiteX59" fmla="*/ 49489 w 349437"/>
              <a:gd name="connsiteY59" fmla="*/ 58818 h 158116"/>
              <a:gd name="connsiteX60" fmla="*/ 41551 w 349437"/>
              <a:gd name="connsiteY60" fmla="*/ 56833 h 158116"/>
              <a:gd name="connsiteX61" fmla="*/ 45520 w 349437"/>
              <a:gd name="connsiteY61" fmla="*/ 54849 h 158116"/>
              <a:gd name="connsiteX62" fmla="*/ 47504 w 349437"/>
              <a:gd name="connsiteY62" fmla="*/ 50880 h 158116"/>
              <a:gd name="connsiteX63" fmla="*/ 43536 w 349437"/>
              <a:gd name="connsiteY63" fmla="*/ 48896 h 158116"/>
              <a:gd name="connsiteX64" fmla="*/ 45520 w 349437"/>
              <a:gd name="connsiteY64" fmla="*/ 44927 h 158116"/>
              <a:gd name="connsiteX65" fmla="*/ 102721 w 349437"/>
              <a:gd name="connsiteY65" fmla="*/ 888 h 158116"/>
              <a:gd name="connsiteX66" fmla="*/ 110692 w 349437"/>
              <a:gd name="connsiteY66" fmla="*/ 888 h 158116"/>
              <a:gd name="connsiteX67" fmla="*/ 114678 w 349437"/>
              <a:gd name="connsiteY67" fmla="*/ 4884 h 158116"/>
              <a:gd name="connsiteX68" fmla="*/ 118663 w 349437"/>
              <a:gd name="connsiteY68" fmla="*/ 8880 h 158116"/>
              <a:gd name="connsiteX69" fmla="*/ 132613 w 349437"/>
              <a:gd name="connsiteY69" fmla="*/ 12876 h 158116"/>
              <a:gd name="connsiteX70" fmla="*/ 136599 w 349437"/>
              <a:gd name="connsiteY70" fmla="*/ 22867 h 158116"/>
              <a:gd name="connsiteX71" fmla="*/ 144570 w 349437"/>
              <a:gd name="connsiteY71" fmla="*/ 28861 h 158116"/>
              <a:gd name="connsiteX72" fmla="*/ 168484 w 349437"/>
              <a:gd name="connsiteY72" fmla="*/ 34855 h 158116"/>
              <a:gd name="connsiteX73" fmla="*/ 174462 w 349437"/>
              <a:gd name="connsiteY73" fmla="*/ 42847 h 158116"/>
              <a:gd name="connsiteX74" fmla="*/ 180441 w 349437"/>
              <a:gd name="connsiteY74" fmla="*/ 42847 h 158116"/>
              <a:gd name="connsiteX75" fmla="*/ 182434 w 349437"/>
              <a:gd name="connsiteY75" fmla="*/ 38851 h 158116"/>
              <a:gd name="connsiteX76" fmla="*/ 170477 w 349437"/>
              <a:gd name="connsiteY76" fmla="*/ 26863 h 158116"/>
              <a:gd name="connsiteX77" fmla="*/ 182434 w 349437"/>
              <a:gd name="connsiteY77" fmla="*/ 32857 h 158116"/>
              <a:gd name="connsiteX78" fmla="*/ 186419 w 349437"/>
              <a:gd name="connsiteY78" fmla="*/ 32857 h 158116"/>
              <a:gd name="connsiteX79" fmla="*/ 190405 w 349437"/>
              <a:gd name="connsiteY79" fmla="*/ 34855 h 158116"/>
              <a:gd name="connsiteX80" fmla="*/ 190405 w 349437"/>
              <a:gd name="connsiteY80" fmla="*/ 38851 h 158116"/>
              <a:gd name="connsiteX81" fmla="*/ 190405 w 349437"/>
              <a:gd name="connsiteY81" fmla="*/ 42847 h 158116"/>
              <a:gd name="connsiteX82" fmla="*/ 190405 w 349437"/>
              <a:gd name="connsiteY82" fmla="*/ 44845 h 158116"/>
              <a:gd name="connsiteX83" fmla="*/ 202362 w 349437"/>
              <a:gd name="connsiteY83" fmla="*/ 46843 h 158116"/>
              <a:gd name="connsiteX84" fmla="*/ 206348 w 349437"/>
              <a:gd name="connsiteY84" fmla="*/ 54836 h 158116"/>
              <a:gd name="connsiteX85" fmla="*/ 212326 w 349437"/>
              <a:gd name="connsiteY85" fmla="*/ 58832 h 158116"/>
              <a:gd name="connsiteX86" fmla="*/ 226276 w 349437"/>
              <a:gd name="connsiteY86" fmla="*/ 64826 h 158116"/>
              <a:gd name="connsiteX87" fmla="*/ 238233 w 349437"/>
              <a:gd name="connsiteY87" fmla="*/ 66824 h 158116"/>
              <a:gd name="connsiteX88" fmla="*/ 240226 w 349437"/>
              <a:gd name="connsiteY88" fmla="*/ 70820 h 158116"/>
              <a:gd name="connsiteX89" fmla="*/ 238233 w 349437"/>
              <a:gd name="connsiteY89" fmla="*/ 76814 h 158116"/>
              <a:gd name="connsiteX90" fmla="*/ 236240 w 349437"/>
              <a:gd name="connsiteY90" fmla="*/ 80810 h 158116"/>
              <a:gd name="connsiteX91" fmla="*/ 236240 w 349437"/>
              <a:gd name="connsiteY91" fmla="*/ 82808 h 158116"/>
              <a:gd name="connsiteX92" fmla="*/ 244211 w 349437"/>
              <a:gd name="connsiteY92" fmla="*/ 82808 h 158116"/>
              <a:gd name="connsiteX93" fmla="*/ 250190 w 349437"/>
              <a:gd name="connsiteY93" fmla="*/ 80810 h 158116"/>
              <a:gd name="connsiteX94" fmla="*/ 256168 w 349437"/>
              <a:gd name="connsiteY94" fmla="*/ 82808 h 158116"/>
              <a:gd name="connsiteX95" fmla="*/ 264139 w 349437"/>
              <a:gd name="connsiteY95" fmla="*/ 82808 h 158116"/>
              <a:gd name="connsiteX96" fmla="*/ 268125 w 349437"/>
              <a:gd name="connsiteY96" fmla="*/ 88802 h 158116"/>
              <a:gd name="connsiteX97" fmla="*/ 272111 w 349437"/>
              <a:gd name="connsiteY97" fmla="*/ 90801 h 158116"/>
              <a:gd name="connsiteX98" fmla="*/ 272111 w 349437"/>
              <a:gd name="connsiteY98" fmla="*/ 98793 h 158116"/>
              <a:gd name="connsiteX99" fmla="*/ 264139 w 349437"/>
              <a:gd name="connsiteY99" fmla="*/ 102789 h 158116"/>
              <a:gd name="connsiteX100" fmla="*/ 258161 w 349437"/>
              <a:gd name="connsiteY100" fmla="*/ 106785 h 158116"/>
              <a:gd name="connsiteX101" fmla="*/ 250190 w 349437"/>
              <a:gd name="connsiteY101" fmla="*/ 110781 h 158116"/>
              <a:gd name="connsiteX102" fmla="*/ 242218 w 349437"/>
              <a:gd name="connsiteY102" fmla="*/ 110781 h 158116"/>
              <a:gd name="connsiteX103" fmla="*/ 232254 w 349437"/>
              <a:gd name="connsiteY103" fmla="*/ 110781 h 158116"/>
              <a:gd name="connsiteX104" fmla="*/ 224283 w 349437"/>
              <a:gd name="connsiteY104" fmla="*/ 106785 h 158116"/>
              <a:gd name="connsiteX105" fmla="*/ 216312 w 349437"/>
              <a:gd name="connsiteY105" fmla="*/ 106785 h 158116"/>
              <a:gd name="connsiteX106" fmla="*/ 208340 w 349437"/>
              <a:gd name="connsiteY106" fmla="*/ 110781 h 158116"/>
              <a:gd name="connsiteX107" fmla="*/ 196383 w 349437"/>
              <a:gd name="connsiteY107" fmla="*/ 110781 h 158116"/>
              <a:gd name="connsiteX108" fmla="*/ 188412 w 349437"/>
              <a:gd name="connsiteY108" fmla="*/ 110781 h 158116"/>
              <a:gd name="connsiteX109" fmla="*/ 184426 w 349437"/>
              <a:gd name="connsiteY109" fmla="*/ 108783 h 158116"/>
              <a:gd name="connsiteX110" fmla="*/ 182434 w 349437"/>
              <a:gd name="connsiteY110" fmla="*/ 104787 h 158116"/>
              <a:gd name="connsiteX111" fmla="*/ 190405 w 349437"/>
              <a:gd name="connsiteY111" fmla="*/ 98793 h 158116"/>
              <a:gd name="connsiteX112" fmla="*/ 194391 w 349437"/>
              <a:gd name="connsiteY112" fmla="*/ 94797 h 158116"/>
              <a:gd name="connsiteX113" fmla="*/ 198376 w 349437"/>
              <a:gd name="connsiteY113" fmla="*/ 86804 h 158116"/>
              <a:gd name="connsiteX114" fmla="*/ 190405 w 349437"/>
              <a:gd name="connsiteY114" fmla="*/ 84806 h 158116"/>
              <a:gd name="connsiteX115" fmla="*/ 178448 w 349437"/>
              <a:gd name="connsiteY115" fmla="*/ 84806 h 158116"/>
              <a:gd name="connsiteX116" fmla="*/ 168484 w 349437"/>
              <a:gd name="connsiteY116" fmla="*/ 74816 h 158116"/>
              <a:gd name="connsiteX117" fmla="*/ 164498 w 349437"/>
              <a:gd name="connsiteY117" fmla="*/ 68822 h 158116"/>
              <a:gd name="connsiteX118" fmla="*/ 160513 w 349437"/>
              <a:gd name="connsiteY118" fmla="*/ 52838 h 158116"/>
              <a:gd name="connsiteX119" fmla="*/ 154534 w 349437"/>
              <a:gd name="connsiteY119" fmla="*/ 50839 h 158116"/>
              <a:gd name="connsiteX120" fmla="*/ 146563 w 349437"/>
              <a:gd name="connsiteY120" fmla="*/ 52838 h 158116"/>
              <a:gd name="connsiteX121" fmla="*/ 138592 w 349437"/>
              <a:gd name="connsiteY121" fmla="*/ 52838 h 158116"/>
              <a:gd name="connsiteX122" fmla="*/ 126635 w 349437"/>
              <a:gd name="connsiteY122" fmla="*/ 50839 h 158116"/>
              <a:gd name="connsiteX123" fmla="*/ 118663 w 349437"/>
              <a:gd name="connsiteY123" fmla="*/ 42847 h 158116"/>
              <a:gd name="connsiteX124" fmla="*/ 114678 w 349437"/>
              <a:gd name="connsiteY124" fmla="*/ 36853 h 158116"/>
              <a:gd name="connsiteX125" fmla="*/ 110692 w 349437"/>
              <a:gd name="connsiteY125" fmla="*/ 34855 h 158116"/>
              <a:gd name="connsiteX126" fmla="*/ 106706 w 349437"/>
              <a:gd name="connsiteY126" fmla="*/ 36853 h 158116"/>
              <a:gd name="connsiteX127" fmla="*/ 100728 w 349437"/>
              <a:gd name="connsiteY127" fmla="*/ 36853 h 158116"/>
              <a:gd name="connsiteX128" fmla="*/ 96742 w 349437"/>
              <a:gd name="connsiteY128" fmla="*/ 34855 h 158116"/>
              <a:gd name="connsiteX129" fmla="*/ 82793 w 349437"/>
              <a:gd name="connsiteY129" fmla="*/ 30859 h 158116"/>
              <a:gd name="connsiteX130" fmla="*/ 70836 w 349437"/>
              <a:gd name="connsiteY130" fmla="*/ 34855 h 158116"/>
              <a:gd name="connsiteX131" fmla="*/ 72828 w 349437"/>
              <a:gd name="connsiteY131" fmla="*/ 26863 h 158116"/>
              <a:gd name="connsiteX132" fmla="*/ 80800 w 349437"/>
              <a:gd name="connsiteY132" fmla="*/ 22867 h 158116"/>
              <a:gd name="connsiteX133" fmla="*/ 66850 w 349437"/>
              <a:gd name="connsiteY133" fmla="*/ 18871 h 158116"/>
              <a:gd name="connsiteX134" fmla="*/ 46922 w 349437"/>
              <a:gd name="connsiteY134" fmla="*/ 24865 h 158116"/>
              <a:gd name="connsiteX135" fmla="*/ 36958 w 349437"/>
              <a:gd name="connsiteY135" fmla="*/ 28861 h 158116"/>
              <a:gd name="connsiteX136" fmla="*/ 28986 w 349437"/>
              <a:gd name="connsiteY136" fmla="*/ 32857 h 158116"/>
              <a:gd name="connsiteX137" fmla="*/ 19022 w 349437"/>
              <a:gd name="connsiteY137" fmla="*/ 38851 h 158116"/>
              <a:gd name="connsiteX138" fmla="*/ 9058 w 349437"/>
              <a:gd name="connsiteY138" fmla="*/ 46843 h 158116"/>
              <a:gd name="connsiteX139" fmla="*/ 1087 w 349437"/>
              <a:gd name="connsiteY139" fmla="*/ 44845 h 158116"/>
              <a:gd name="connsiteX140" fmla="*/ 5072 w 349437"/>
              <a:gd name="connsiteY140" fmla="*/ 40849 h 158116"/>
              <a:gd name="connsiteX141" fmla="*/ 11051 w 349437"/>
              <a:gd name="connsiteY141" fmla="*/ 36853 h 158116"/>
              <a:gd name="connsiteX142" fmla="*/ 13044 w 349437"/>
              <a:gd name="connsiteY142" fmla="*/ 26863 h 158116"/>
              <a:gd name="connsiteX143" fmla="*/ 21015 w 349437"/>
              <a:gd name="connsiteY143" fmla="*/ 16873 h 158116"/>
              <a:gd name="connsiteX144" fmla="*/ 36958 w 349437"/>
              <a:gd name="connsiteY144" fmla="*/ 8880 h 158116"/>
              <a:gd name="connsiteX145" fmla="*/ 58879 w 349437"/>
              <a:gd name="connsiteY145" fmla="*/ 2886 h 158116"/>
              <a:gd name="connsiteX146" fmla="*/ 76814 w 349437"/>
              <a:gd name="connsiteY146" fmla="*/ 2886 h 158116"/>
              <a:gd name="connsiteX147" fmla="*/ 88771 w 349437"/>
              <a:gd name="connsiteY147" fmla="*/ 2886 h 158116"/>
              <a:gd name="connsiteX148" fmla="*/ 92757 w 349437"/>
              <a:gd name="connsiteY148" fmla="*/ 2886 h 158116"/>
              <a:gd name="connsiteX149" fmla="*/ 102721 w 349437"/>
              <a:gd name="connsiteY149" fmla="*/ 888 h 15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349437" h="158116">
                <a:moveTo>
                  <a:pt x="302959" y="129065"/>
                </a:moveTo>
                <a:cubicBezTo>
                  <a:pt x="306840" y="129065"/>
                  <a:pt x="308780" y="133034"/>
                  <a:pt x="308780" y="133034"/>
                </a:cubicBezTo>
                <a:cubicBezTo>
                  <a:pt x="308780" y="133034"/>
                  <a:pt x="310720" y="137003"/>
                  <a:pt x="312661" y="140971"/>
                </a:cubicBezTo>
                <a:cubicBezTo>
                  <a:pt x="314601" y="142956"/>
                  <a:pt x="308780" y="144940"/>
                  <a:pt x="306840" y="142956"/>
                </a:cubicBezTo>
                <a:cubicBezTo>
                  <a:pt x="306840" y="140971"/>
                  <a:pt x="301019" y="138987"/>
                  <a:pt x="299078" y="133034"/>
                </a:cubicBezTo>
                <a:cubicBezTo>
                  <a:pt x="297138" y="129065"/>
                  <a:pt x="302959" y="129065"/>
                  <a:pt x="302959" y="129065"/>
                </a:cubicBezTo>
                <a:close/>
                <a:moveTo>
                  <a:pt x="309247" y="107251"/>
                </a:moveTo>
                <a:cubicBezTo>
                  <a:pt x="313235" y="105252"/>
                  <a:pt x="315228" y="107251"/>
                  <a:pt x="319215" y="111249"/>
                </a:cubicBezTo>
                <a:cubicBezTo>
                  <a:pt x="323203" y="111249"/>
                  <a:pt x="323203" y="113248"/>
                  <a:pt x="327190" y="111249"/>
                </a:cubicBezTo>
                <a:cubicBezTo>
                  <a:pt x="331177" y="109250"/>
                  <a:pt x="331177" y="113248"/>
                  <a:pt x="335164" y="115247"/>
                </a:cubicBezTo>
                <a:cubicBezTo>
                  <a:pt x="337158" y="117247"/>
                  <a:pt x="341145" y="113248"/>
                  <a:pt x="341145" y="111249"/>
                </a:cubicBezTo>
                <a:cubicBezTo>
                  <a:pt x="343139" y="107251"/>
                  <a:pt x="351113" y="109250"/>
                  <a:pt x="349120" y="111249"/>
                </a:cubicBezTo>
                <a:cubicBezTo>
                  <a:pt x="347126" y="113248"/>
                  <a:pt x="345132" y="119246"/>
                  <a:pt x="341145" y="131240"/>
                </a:cubicBezTo>
                <a:cubicBezTo>
                  <a:pt x="339152" y="141235"/>
                  <a:pt x="339152" y="157228"/>
                  <a:pt x="339152" y="157228"/>
                </a:cubicBezTo>
                <a:cubicBezTo>
                  <a:pt x="339152" y="157228"/>
                  <a:pt x="339152" y="159227"/>
                  <a:pt x="337158" y="157228"/>
                </a:cubicBezTo>
                <a:cubicBezTo>
                  <a:pt x="335164" y="157228"/>
                  <a:pt x="325196" y="153230"/>
                  <a:pt x="323203" y="155229"/>
                </a:cubicBezTo>
                <a:cubicBezTo>
                  <a:pt x="323203" y="157228"/>
                  <a:pt x="313235" y="157228"/>
                  <a:pt x="313235" y="157228"/>
                </a:cubicBezTo>
                <a:cubicBezTo>
                  <a:pt x="313235" y="157228"/>
                  <a:pt x="313235" y="157228"/>
                  <a:pt x="307254" y="157228"/>
                </a:cubicBezTo>
                <a:cubicBezTo>
                  <a:pt x="307254" y="157228"/>
                  <a:pt x="307254" y="157228"/>
                  <a:pt x="289311" y="155229"/>
                </a:cubicBezTo>
                <a:cubicBezTo>
                  <a:pt x="289311" y="155229"/>
                  <a:pt x="285324" y="155229"/>
                  <a:pt x="285324" y="157228"/>
                </a:cubicBezTo>
                <a:cubicBezTo>
                  <a:pt x="285324" y="159227"/>
                  <a:pt x="281337" y="157228"/>
                  <a:pt x="279343" y="157228"/>
                </a:cubicBezTo>
                <a:cubicBezTo>
                  <a:pt x="277350" y="155229"/>
                  <a:pt x="273363" y="155229"/>
                  <a:pt x="273363" y="155229"/>
                </a:cubicBezTo>
                <a:cubicBezTo>
                  <a:pt x="271369" y="155229"/>
                  <a:pt x="269375" y="155229"/>
                  <a:pt x="267382" y="149232"/>
                </a:cubicBezTo>
                <a:cubicBezTo>
                  <a:pt x="265388" y="141235"/>
                  <a:pt x="271369" y="145234"/>
                  <a:pt x="271369" y="145234"/>
                </a:cubicBezTo>
                <a:lnTo>
                  <a:pt x="279343" y="145234"/>
                </a:lnTo>
                <a:cubicBezTo>
                  <a:pt x="279343" y="145234"/>
                  <a:pt x="283331" y="145234"/>
                  <a:pt x="287318" y="143235"/>
                </a:cubicBezTo>
                <a:cubicBezTo>
                  <a:pt x="289311" y="143235"/>
                  <a:pt x="291305" y="145234"/>
                  <a:pt x="291305" y="145234"/>
                </a:cubicBezTo>
                <a:cubicBezTo>
                  <a:pt x="291305" y="145234"/>
                  <a:pt x="293299" y="147233"/>
                  <a:pt x="297286" y="147233"/>
                </a:cubicBezTo>
                <a:cubicBezTo>
                  <a:pt x="299279" y="149232"/>
                  <a:pt x="303267" y="149232"/>
                  <a:pt x="303267" y="149232"/>
                </a:cubicBezTo>
                <a:cubicBezTo>
                  <a:pt x="303267" y="149232"/>
                  <a:pt x="317222" y="149232"/>
                  <a:pt x="319215" y="147233"/>
                </a:cubicBezTo>
                <a:cubicBezTo>
                  <a:pt x="323203" y="143235"/>
                  <a:pt x="315228" y="141235"/>
                  <a:pt x="313235" y="137237"/>
                </a:cubicBezTo>
                <a:cubicBezTo>
                  <a:pt x="311241" y="135238"/>
                  <a:pt x="313235" y="133239"/>
                  <a:pt x="311241" y="127242"/>
                </a:cubicBezTo>
                <a:cubicBezTo>
                  <a:pt x="311241" y="119246"/>
                  <a:pt x="309247" y="121245"/>
                  <a:pt x="307254" y="119246"/>
                </a:cubicBezTo>
                <a:cubicBezTo>
                  <a:pt x="307254" y="119246"/>
                  <a:pt x="297286" y="119246"/>
                  <a:pt x="297286" y="117247"/>
                </a:cubicBezTo>
                <a:cubicBezTo>
                  <a:pt x="295292" y="115247"/>
                  <a:pt x="299279" y="113248"/>
                  <a:pt x="301273" y="113248"/>
                </a:cubicBezTo>
                <a:cubicBezTo>
                  <a:pt x="303267" y="113248"/>
                  <a:pt x="305260" y="111249"/>
                  <a:pt x="309247" y="107251"/>
                </a:cubicBezTo>
                <a:close/>
                <a:moveTo>
                  <a:pt x="148847" y="71007"/>
                </a:moveTo>
                <a:cubicBezTo>
                  <a:pt x="155010" y="67152"/>
                  <a:pt x="155010" y="78718"/>
                  <a:pt x="155010" y="78718"/>
                </a:cubicBezTo>
                <a:cubicBezTo>
                  <a:pt x="155010" y="78718"/>
                  <a:pt x="155010" y="80646"/>
                  <a:pt x="157065" y="80646"/>
                </a:cubicBezTo>
                <a:cubicBezTo>
                  <a:pt x="161173" y="80646"/>
                  <a:pt x="161173" y="78718"/>
                  <a:pt x="163228" y="78718"/>
                </a:cubicBezTo>
                <a:cubicBezTo>
                  <a:pt x="165282" y="76790"/>
                  <a:pt x="165282" y="78718"/>
                  <a:pt x="163228" y="80646"/>
                </a:cubicBezTo>
                <a:cubicBezTo>
                  <a:pt x="161173" y="80646"/>
                  <a:pt x="163228" y="84501"/>
                  <a:pt x="163228" y="84501"/>
                </a:cubicBezTo>
                <a:cubicBezTo>
                  <a:pt x="163228" y="84501"/>
                  <a:pt x="167337" y="86429"/>
                  <a:pt x="167337" y="84501"/>
                </a:cubicBezTo>
                <a:cubicBezTo>
                  <a:pt x="169391" y="84501"/>
                  <a:pt x="173500" y="86429"/>
                  <a:pt x="173500" y="86429"/>
                </a:cubicBezTo>
                <a:cubicBezTo>
                  <a:pt x="173500" y="86429"/>
                  <a:pt x="175554" y="88356"/>
                  <a:pt x="177609" y="88356"/>
                </a:cubicBezTo>
                <a:cubicBezTo>
                  <a:pt x="179663" y="88356"/>
                  <a:pt x="177609" y="90284"/>
                  <a:pt x="175554" y="92211"/>
                </a:cubicBezTo>
                <a:cubicBezTo>
                  <a:pt x="175554" y="94139"/>
                  <a:pt x="173500" y="90284"/>
                  <a:pt x="173500" y="90284"/>
                </a:cubicBezTo>
                <a:cubicBezTo>
                  <a:pt x="173500" y="90284"/>
                  <a:pt x="171445" y="88356"/>
                  <a:pt x="169391" y="88356"/>
                </a:cubicBezTo>
                <a:cubicBezTo>
                  <a:pt x="167337" y="90284"/>
                  <a:pt x="163228" y="88356"/>
                  <a:pt x="163228" y="88356"/>
                </a:cubicBezTo>
                <a:cubicBezTo>
                  <a:pt x="163228" y="88356"/>
                  <a:pt x="157065" y="86429"/>
                  <a:pt x="152956" y="80646"/>
                </a:cubicBezTo>
                <a:cubicBezTo>
                  <a:pt x="150901" y="76790"/>
                  <a:pt x="144738" y="78718"/>
                  <a:pt x="144738" y="74863"/>
                </a:cubicBezTo>
                <a:cubicBezTo>
                  <a:pt x="144738" y="71007"/>
                  <a:pt x="148847" y="71007"/>
                  <a:pt x="148847" y="71007"/>
                </a:cubicBezTo>
                <a:close/>
                <a:moveTo>
                  <a:pt x="83355" y="49590"/>
                </a:moveTo>
                <a:cubicBezTo>
                  <a:pt x="84413" y="49590"/>
                  <a:pt x="85471" y="50086"/>
                  <a:pt x="85471" y="50086"/>
                </a:cubicBezTo>
                <a:cubicBezTo>
                  <a:pt x="85471" y="50086"/>
                  <a:pt x="93938" y="50086"/>
                  <a:pt x="93938" y="54055"/>
                </a:cubicBezTo>
                <a:cubicBezTo>
                  <a:pt x="91821" y="56039"/>
                  <a:pt x="81238" y="56039"/>
                  <a:pt x="81238" y="52071"/>
                </a:cubicBezTo>
                <a:cubicBezTo>
                  <a:pt x="81238" y="50086"/>
                  <a:pt x="82296" y="49590"/>
                  <a:pt x="83355" y="49590"/>
                </a:cubicBezTo>
                <a:close/>
                <a:moveTo>
                  <a:pt x="45520" y="44927"/>
                </a:moveTo>
                <a:cubicBezTo>
                  <a:pt x="49489" y="44927"/>
                  <a:pt x="53457" y="44927"/>
                  <a:pt x="55442" y="50880"/>
                </a:cubicBezTo>
                <a:cubicBezTo>
                  <a:pt x="57426" y="54849"/>
                  <a:pt x="53457" y="56833"/>
                  <a:pt x="49489" y="58818"/>
                </a:cubicBezTo>
                <a:cubicBezTo>
                  <a:pt x="45520" y="60802"/>
                  <a:pt x="41551" y="58818"/>
                  <a:pt x="41551" y="56833"/>
                </a:cubicBezTo>
                <a:cubicBezTo>
                  <a:pt x="43536" y="54849"/>
                  <a:pt x="45520" y="54849"/>
                  <a:pt x="45520" y="54849"/>
                </a:cubicBezTo>
                <a:cubicBezTo>
                  <a:pt x="45520" y="54849"/>
                  <a:pt x="47504" y="52865"/>
                  <a:pt x="47504" y="50880"/>
                </a:cubicBezTo>
                <a:cubicBezTo>
                  <a:pt x="45520" y="48896"/>
                  <a:pt x="43536" y="48896"/>
                  <a:pt x="43536" y="48896"/>
                </a:cubicBezTo>
                <a:cubicBezTo>
                  <a:pt x="43536" y="48896"/>
                  <a:pt x="41551" y="46912"/>
                  <a:pt x="45520" y="44927"/>
                </a:cubicBezTo>
                <a:close/>
                <a:moveTo>
                  <a:pt x="102721" y="888"/>
                </a:moveTo>
                <a:cubicBezTo>
                  <a:pt x="102721" y="-1110"/>
                  <a:pt x="110692" y="888"/>
                  <a:pt x="110692" y="888"/>
                </a:cubicBezTo>
                <a:cubicBezTo>
                  <a:pt x="110692" y="888"/>
                  <a:pt x="114678" y="2886"/>
                  <a:pt x="114678" y="4884"/>
                </a:cubicBezTo>
                <a:cubicBezTo>
                  <a:pt x="114678" y="8880"/>
                  <a:pt x="116670" y="8880"/>
                  <a:pt x="118663" y="8880"/>
                </a:cubicBezTo>
                <a:cubicBezTo>
                  <a:pt x="122649" y="8880"/>
                  <a:pt x="126635" y="6882"/>
                  <a:pt x="132613" y="12876"/>
                </a:cubicBezTo>
                <a:cubicBezTo>
                  <a:pt x="136599" y="16873"/>
                  <a:pt x="136599" y="16873"/>
                  <a:pt x="136599" y="22867"/>
                </a:cubicBezTo>
                <a:cubicBezTo>
                  <a:pt x="136599" y="28861"/>
                  <a:pt x="138592" y="28861"/>
                  <a:pt x="144570" y="28861"/>
                </a:cubicBezTo>
                <a:cubicBezTo>
                  <a:pt x="148556" y="28861"/>
                  <a:pt x="162505" y="28861"/>
                  <a:pt x="168484" y="34855"/>
                </a:cubicBezTo>
                <a:cubicBezTo>
                  <a:pt x="174462" y="38851"/>
                  <a:pt x="174462" y="42847"/>
                  <a:pt x="174462" y="42847"/>
                </a:cubicBezTo>
                <a:cubicBezTo>
                  <a:pt x="180441" y="42847"/>
                  <a:pt x="180441" y="42847"/>
                  <a:pt x="180441" y="42847"/>
                </a:cubicBezTo>
                <a:cubicBezTo>
                  <a:pt x="180441" y="42847"/>
                  <a:pt x="184426" y="40849"/>
                  <a:pt x="182434" y="38851"/>
                </a:cubicBezTo>
                <a:cubicBezTo>
                  <a:pt x="178448" y="36853"/>
                  <a:pt x="166491" y="26863"/>
                  <a:pt x="170477" y="26863"/>
                </a:cubicBezTo>
                <a:cubicBezTo>
                  <a:pt x="174462" y="28861"/>
                  <a:pt x="182434" y="32857"/>
                  <a:pt x="182434" y="32857"/>
                </a:cubicBezTo>
                <a:cubicBezTo>
                  <a:pt x="182434" y="32857"/>
                  <a:pt x="184426" y="36853"/>
                  <a:pt x="186419" y="32857"/>
                </a:cubicBezTo>
                <a:cubicBezTo>
                  <a:pt x="188412" y="30859"/>
                  <a:pt x="190405" y="30859"/>
                  <a:pt x="190405" y="34855"/>
                </a:cubicBezTo>
                <a:cubicBezTo>
                  <a:pt x="188412" y="36853"/>
                  <a:pt x="188412" y="36853"/>
                  <a:pt x="190405" y="38851"/>
                </a:cubicBezTo>
                <a:cubicBezTo>
                  <a:pt x="190405" y="40849"/>
                  <a:pt x="190405" y="42847"/>
                  <a:pt x="190405" y="42847"/>
                </a:cubicBezTo>
                <a:cubicBezTo>
                  <a:pt x="190405" y="42847"/>
                  <a:pt x="188412" y="46843"/>
                  <a:pt x="190405" y="44845"/>
                </a:cubicBezTo>
                <a:cubicBezTo>
                  <a:pt x="194391" y="44845"/>
                  <a:pt x="200369" y="42847"/>
                  <a:pt x="202362" y="46843"/>
                </a:cubicBezTo>
                <a:cubicBezTo>
                  <a:pt x="204355" y="50839"/>
                  <a:pt x="208340" y="50839"/>
                  <a:pt x="206348" y="54836"/>
                </a:cubicBezTo>
                <a:cubicBezTo>
                  <a:pt x="206348" y="58832"/>
                  <a:pt x="212326" y="58832"/>
                  <a:pt x="212326" y="58832"/>
                </a:cubicBezTo>
                <a:cubicBezTo>
                  <a:pt x="212326" y="58832"/>
                  <a:pt x="222290" y="60830"/>
                  <a:pt x="226276" y="64826"/>
                </a:cubicBezTo>
                <a:cubicBezTo>
                  <a:pt x="232254" y="68822"/>
                  <a:pt x="238233" y="66824"/>
                  <a:pt x="238233" y="66824"/>
                </a:cubicBezTo>
                <a:cubicBezTo>
                  <a:pt x="238233" y="66824"/>
                  <a:pt x="242218" y="66824"/>
                  <a:pt x="240226" y="70820"/>
                </a:cubicBezTo>
                <a:cubicBezTo>
                  <a:pt x="238233" y="74816"/>
                  <a:pt x="236240" y="72818"/>
                  <a:pt x="238233" y="76814"/>
                </a:cubicBezTo>
                <a:cubicBezTo>
                  <a:pt x="242218" y="80810"/>
                  <a:pt x="240226" y="80810"/>
                  <a:pt x="236240" y="80810"/>
                </a:cubicBezTo>
                <a:cubicBezTo>
                  <a:pt x="234247" y="78812"/>
                  <a:pt x="232254" y="80810"/>
                  <a:pt x="236240" y="82808"/>
                </a:cubicBezTo>
                <a:cubicBezTo>
                  <a:pt x="238233" y="84806"/>
                  <a:pt x="244211" y="82808"/>
                  <a:pt x="244211" y="82808"/>
                </a:cubicBezTo>
                <a:cubicBezTo>
                  <a:pt x="244211" y="82808"/>
                  <a:pt x="248197" y="78812"/>
                  <a:pt x="250190" y="80810"/>
                </a:cubicBezTo>
                <a:cubicBezTo>
                  <a:pt x="254175" y="80810"/>
                  <a:pt x="256168" y="82808"/>
                  <a:pt x="256168" y="82808"/>
                </a:cubicBezTo>
                <a:cubicBezTo>
                  <a:pt x="256168" y="82808"/>
                  <a:pt x="262147" y="82808"/>
                  <a:pt x="264139" y="82808"/>
                </a:cubicBezTo>
                <a:cubicBezTo>
                  <a:pt x="266132" y="80810"/>
                  <a:pt x="268125" y="88802"/>
                  <a:pt x="268125" y="88802"/>
                </a:cubicBezTo>
                <a:cubicBezTo>
                  <a:pt x="268125" y="88802"/>
                  <a:pt x="268125" y="90801"/>
                  <a:pt x="272111" y="90801"/>
                </a:cubicBezTo>
                <a:cubicBezTo>
                  <a:pt x="276096" y="90801"/>
                  <a:pt x="278089" y="94797"/>
                  <a:pt x="272111" y="98793"/>
                </a:cubicBezTo>
                <a:cubicBezTo>
                  <a:pt x="268125" y="102789"/>
                  <a:pt x="264139" y="102789"/>
                  <a:pt x="264139" y="102789"/>
                </a:cubicBezTo>
                <a:cubicBezTo>
                  <a:pt x="264139" y="102789"/>
                  <a:pt x="258161" y="102789"/>
                  <a:pt x="258161" y="106785"/>
                </a:cubicBezTo>
                <a:cubicBezTo>
                  <a:pt x="256168" y="110781"/>
                  <a:pt x="250190" y="110781"/>
                  <a:pt x="250190" y="110781"/>
                </a:cubicBezTo>
                <a:cubicBezTo>
                  <a:pt x="250190" y="110781"/>
                  <a:pt x="246204" y="114777"/>
                  <a:pt x="242218" y="110781"/>
                </a:cubicBezTo>
                <a:cubicBezTo>
                  <a:pt x="238233" y="108783"/>
                  <a:pt x="234247" y="108783"/>
                  <a:pt x="232254" y="110781"/>
                </a:cubicBezTo>
                <a:cubicBezTo>
                  <a:pt x="230261" y="110781"/>
                  <a:pt x="228269" y="110781"/>
                  <a:pt x="224283" y="106785"/>
                </a:cubicBezTo>
                <a:cubicBezTo>
                  <a:pt x="222290" y="106785"/>
                  <a:pt x="216312" y="106785"/>
                  <a:pt x="216312" y="106785"/>
                </a:cubicBezTo>
                <a:cubicBezTo>
                  <a:pt x="216312" y="106785"/>
                  <a:pt x="212326" y="110781"/>
                  <a:pt x="208340" y="110781"/>
                </a:cubicBezTo>
                <a:cubicBezTo>
                  <a:pt x="204355" y="108783"/>
                  <a:pt x="200369" y="108783"/>
                  <a:pt x="196383" y="110781"/>
                </a:cubicBezTo>
                <a:cubicBezTo>
                  <a:pt x="192398" y="112779"/>
                  <a:pt x="188412" y="110781"/>
                  <a:pt x="188412" y="110781"/>
                </a:cubicBezTo>
                <a:cubicBezTo>
                  <a:pt x="184426" y="108783"/>
                  <a:pt x="184426" y="108783"/>
                  <a:pt x="184426" y="108783"/>
                </a:cubicBezTo>
                <a:cubicBezTo>
                  <a:pt x="184426" y="108783"/>
                  <a:pt x="178448" y="106785"/>
                  <a:pt x="182434" y="104787"/>
                </a:cubicBezTo>
                <a:cubicBezTo>
                  <a:pt x="186419" y="102789"/>
                  <a:pt x="190405" y="98793"/>
                  <a:pt x="190405" y="98793"/>
                </a:cubicBezTo>
                <a:cubicBezTo>
                  <a:pt x="190405" y="98793"/>
                  <a:pt x="194391" y="98793"/>
                  <a:pt x="194391" y="94797"/>
                </a:cubicBezTo>
                <a:cubicBezTo>
                  <a:pt x="194391" y="88802"/>
                  <a:pt x="198376" y="86804"/>
                  <a:pt x="198376" y="86804"/>
                </a:cubicBezTo>
                <a:cubicBezTo>
                  <a:pt x="198376" y="86804"/>
                  <a:pt x="194391" y="84806"/>
                  <a:pt x="190405" y="84806"/>
                </a:cubicBezTo>
                <a:cubicBezTo>
                  <a:pt x="186419" y="84806"/>
                  <a:pt x="184426" y="86804"/>
                  <a:pt x="178448" y="84806"/>
                </a:cubicBezTo>
                <a:cubicBezTo>
                  <a:pt x="174462" y="82808"/>
                  <a:pt x="170477" y="76814"/>
                  <a:pt x="168484" y="74816"/>
                </a:cubicBezTo>
                <a:cubicBezTo>
                  <a:pt x="164498" y="72818"/>
                  <a:pt x="164498" y="72818"/>
                  <a:pt x="164498" y="68822"/>
                </a:cubicBezTo>
                <a:cubicBezTo>
                  <a:pt x="162505" y="62828"/>
                  <a:pt x="160513" y="52838"/>
                  <a:pt x="160513" y="52838"/>
                </a:cubicBezTo>
                <a:cubicBezTo>
                  <a:pt x="160513" y="52838"/>
                  <a:pt x="156527" y="50839"/>
                  <a:pt x="154534" y="50839"/>
                </a:cubicBezTo>
                <a:cubicBezTo>
                  <a:pt x="152541" y="50839"/>
                  <a:pt x="150548" y="54836"/>
                  <a:pt x="146563" y="52838"/>
                </a:cubicBezTo>
                <a:cubicBezTo>
                  <a:pt x="144570" y="50839"/>
                  <a:pt x="142577" y="50839"/>
                  <a:pt x="138592" y="52838"/>
                </a:cubicBezTo>
                <a:cubicBezTo>
                  <a:pt x="134606" y="54836"/>
                  <a:pt x="130620" y="52838"/>
                  <a:pt x="126635" y="50839"/>
                </a:cubicBezTo>
                <a:cubicBezTo>
                  <a:pt x="120656" y="48841"/>
                  <a:pt x="122649" y="44845"/>
                  <a:pt x="118663" y="42847"/>
                </a:cubicBezTo>
                <a:cubicBezTo>
                  <a:pt x="116670" y="40849"/>
                  <a:pt x="114678" y="36853"/>
                  <a:pt x="114678" y="36853"/>
                </a:cubicBezTo>
                <a:cubicBezTo>
                  <a:pt x="114678" y="36853"/>
                  <a:pt x="114678" y="32857"/>
                  <a:pt x="110692" y="34855"/>
                </a:cubicBezTo>
                <a:cubicBezTo>
                  <a:pt x="108699" y="36853"/>
                  <a:pt x="110692" y="38851"/>
                  <a:pt x="106706" y="36853"/>
                </a:cubicBezTo>
                <a:cubicBezTo>
                  <a:pt x="102721" y="36853"/>
                  <a:pt x="100728" y="36853"/>
                  <a:pt x="100728" y="36853"/>
                </a:cubicBezTo>
                <a:cubicBezTo>
                  <a:pt x="100728" y="36853"/>
                  <a:pt x="98735" y="38851"/>
                  <a:pt x="96742" y="34855"/>
                </a:cubicBezTo>
                <a:cubicBezTo>
                  <a:pt x="94749" y="30859"/>
                  <a:pt x="84785" y="30859"/>
                  <a:pt x="82793" y="30859"/>
                </a:cubicBezTo>
                <a:cubicBezTo>
                  <a:pt x="80800" y="32857"/>
                  <a:pt x="76814" y="34855"/>
                  <a:pt x="70836" y="34855"/>
                </a:cubicBezTo>
                <a:cubicBezTo>
                  <a:pt x="66850" y="32857"/>
                  <a:pt x="68843" y="26863"/>
                  <a:pt x="72828" y="26863"/>
                </a:cubicBezTo>
                <a:cubicBezTo>
                  <a:pt x="76814" y="26863"/>
                  <a:pt x="82793" y="26863"/>
                  <a:pt x="80800" y="22867"/>
                </a:cubicBezTo>
                <a:cubicBezTo>
                  <a:pt x="76814" y="20869"/>
                  <a:pt x="76814" y="16873"/>
                  <a:pt x="66850" y="18871"/>
                </a:cubicBezTo>
                <a:cubicBezTo>
                  <a:pt x="56886" y="18871"/>
                  <a:pt x="50907" y="24865"/>
                  <a:pt x="46922" y="24865"/>
                </a:cubicBezTo>
                <a:cubicBezTo>
                  <a:pt x="42936" y="24865"/>
                  <a:pt x="36958" y="26863"/>
                  <a:pt x="36958" y="28861"/>
                </a:cubicBezTo>
                <a:cubicBezTo>
                  <a:pt x="36958" y="30859"/>
                  <a:pt x="32972" y="32857"/>
                  <a:pt x="28986" y="32857"/>
                </a:cubicBezTo>
                <a:cubicBezTo>
                  <a:pt x="25001" y="30859"/>
                  <a:pt x="19022" y="34855"/>
                  <a:pt x="19022" y="38851"/>
                </a:cubicBezTo>
                <a:cubicBezTo>
                  <a:pt x="17029" y="42847"/>
                  <a:pt x="13044" y="46843"/>
                  <a:pt x="9058" y="46843"/>
                </a:cubicBezTo>
                <a:cubicBezTo>
                  <a:pt x="5072" y="46843"/>
                  <a:pt x="-2899" y="46843"/>
                  <a:pt x="1087" y="44845"/>
                </a:cubicBezTo>
                <a:cubicBezTo>
                  <a:pt x="1087" y="44845"/>
                  <a:pt x="-906" y="42847"/>
                  <a:pt x="5072" y="40849"/>
                </a:cubicBezTo>
                <a:cubicBezTo>
                  <a:pt x="11051" y="38851"/>
                  <a:pt x="13044" y="38851"/>
                  <a:pt x="11051" y="36853"/>
                </a:cubicBezTo>
                <a:cubicBezTo>
                  <a:pt x="9058" y="34855"/>
                  <a:pt x="11051" y="28861"/>
                  <a:pt x="13044" y="26863"/>
                </a:cubicBezTo>
                <a:cubicBezTo>
                  <a:pt x="13044" y="24865"/>
                  <a:pt x="19022" y="14875"/>
                  <a:pt x="21015" y="16873"/>
                </a:cubicBezTo>
                <a:cubicBezTo>
                  <a:pt x="23008" y="16873"/>
                  <a:pt x="36958" y="8880"/>
                  <a:pt x="36958" y="8880"/>
                </a:cubicBezTo>
                <a:cubicBezTo>
                  <a:pt x="36958" y="8880"/>
                  <a:pt x="48915" y="2886"/>
                  <a:pt x="58879" y="2886"/>
                </a:cubicBezTo>
                <a:cubicBezTo>
                  <a:pt x="66850" y="2886"/>
                  <a:pt x="76814" y="2886"/>
                  <a:pt x="76814" y="2886"/>
                </a:cubicBezTo>
                <a:cubicBezTo>
                  <a:pt x="76814" y="2886"/>
                  <a:pt x="86778" y="4884"/>
                  <a:pt x="88771" y="2886"/>
                </a:cubicBezTo>
                <a:cubicBezTo>
                  <a:pt x="90764" y="888"/>
                  <a:pt x="90764" y="888"/>
                  <a:pt x="92757" y="2886"/>
                </a:cubicBezTo>
                <a:cubicBezTo>
                  <a:pt x="94749" y="2886"/>
                  <a:pt x="100728" y="2886"/>
                  <a:pt x="102721" y="88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2" name="Dominican Republic"/>
          <p:cNvSpPr>
            <a:spLocks/>
          </p:cNvSpPr>
          <p:nvPr/>
        </p:nvSpPr>
        <p:spPr bwMode="auto">
          <a:xfrm>
            <a:off x="4272289" y="3428694"/>
            <a:ext cx="96359" cy="68594"/>
          </a:xfrm>
          <a:custGeom>
            <a:avLst/>
            <a:gdLst>
              <a:gd name="T0" fmla="*/ 0 w 47"/>
              <a:gd name="T1" fmla="*/ 24 h 33"/>
              <a:gd name="T2" fmla="*/ 0 w 47"/>
              <a:gd name="T3" fmla="*/ 27 h 33"/>
              <a:gd name="T4" fmla="*/ 2 w 47"/>
              <a:gd name="T5" fmla="*/ 30 h 33"/>
              <a:gd name="T6" fmla="*/ 5 w 47"/>
              <a:gd name="T7" fmla="*/ 32 h 33"/>
              <a:gd name="T8" fmla="*/ 7 w 47"/>
              <a:gd name="T9" fmla="*/ 30 h 33"/>
              <a:gd name="T10" fmla="*/ 8 w 47"/>
              <a:gd name="T11" fmla="*/ 27 h 33"/>
              <a:gd name="T12" fmla="*/ 8 w 47"/>
              <a:gd name="T13" fmla="*/ 23 h 33"/>
              <a:gd name="T14" fmla="*/ 11 w 47"/>
              <a:gd name="T15" fmla="*/ 23 h 33"/>
              <a:gd name="T16" fmla="*/ 14 w 47"/>
              <a:gd name="T17" fmla="*/ 21 h 33"/>
              <a:gd name="T18" fmla="*/ 15 w 47"/>
              <a:gd name="T19" fmla="*/ 22 h 33"/>
              <a:gd name="T20" fmla="*/ 17 w 47"/>
              <a:gd name="T21" fmla="*/ 24 h 33"/>
              <a:gd name="T22" fmla="*/ 21 w 47"/>
              <a:gd name="T23" fmla="*/ 22 h 33"/>
              <a:gd name="T24" fmla="*/ 24 w 47"/>
              <a:gd name="T25" fmla="*/ 21 h 33"/>
              <a:gd name="T26" fmla="*/ 28 w 47"/>
              <a:gd name="T27" fmla="*/ 21 h 33"/>
              <a:gd name="T28" fmla="*/ 33 w 47"/>
              <a:gd name="T29" fmla="*/ 21 h 33"/>
              <a:gd name="T30" fmla="*/ 35 w 47"/>
              <a:gd name="T31" fmla="*/ 21 h 33"/>
              <a:gd name="T32" fmla="*/ 39 w 47"/>
              <a:gd name="T33" fmla="*/ 22 h 33"/>
              <a:gd name="T34" fmla="*/ 43 w 47"/>
              <a:gd name="T35" fmla="*/ 20 h 33"/>
              <a:gd name="T36" fmla="*/ 45 w 47"/>
              <a:gd name="T37" fmla="*/ 18 h 33"/>
              <a:gd name="T38" fmla="*/ 42 w 47"/>
              <a:gd name="T39" fmla="*/ 15 h 33"/>
              <a:gd name="T40" fmla="*/ 39 w 47"/>
              <a:gd name="T41" fmla="*/ 11 h 33"/>
              <a:gd name="T42" fmla="*/ 34 w 47"/>
              <a:gd name="T43" fmla="*/ 10 h 33"/>
              <a:gd name="T44" fmla="*/ 27 w 47"/>
              <a:gd name="T45" fmla="*/ 10 h 33"/>
              <a:gd name="T46" fmla="*/ 29 w 47"/>
              <a:gd name="T47" fmla="*/ 9 h 33"/>
              <a:gd name="T48" fmla="*/ 32 w 47"/>
              <a:gd name="T49" fmla="*/ 7 h 33"/>
              <a:gd name="T50" fmla="*/ 29 w 47"/>
              <a:gd name="T51" fmla="*/ 5 h 33"/>
              <a:gd name="T52" fmla="*/ 26 w 47"/>
              <a:gd name="T53" fmla="*/ 3 h 33"/>
              <a:gd name="T54" fmla="*/ 24 w 47"/>
              <a:gd name="T55" fmla="*/ 2 h 33"/>
              <a:gd name="T56" fmla="*/ 21 w 47"/>
              <a:gd name="T57" fmla="*/ 3 h 33"/>
              <a:gd name="T58" fmla="*/ 19 w 47"/>
              <a:gd name="T59" fmla="*/ 2 h 33"/>
              <a:gd name="T60" fmla="*/ 15 w 47"/>
              <a:gd name="T61" fmla="*/ 1 h 33"/>
              <a:gd name="T62" fmla="*/ 11 w 47"/>
              <a:gd name="T63" fmla="*/ 0 h 33"/>
              <a:gd name="T64" fmla="*/ 5 w 47"/>
              <a:gd name="T65" fmla="*/ 1 h 33"/>
              <a:gd name="T66" fmla="*/ 1 w 47"/>
              <a:gd name="T67" fmla="*/ 11 h 33"/>
              <a:gd name="T68" fmla="*/ 0 w 47"/>
              <a:gd name="T6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33">
                <a:moveTo>
                  <a:pt x="0" y="24"/>
                </a:moveTo>
                <a:cubicBezTo>
                  <a:pt x="0" y="24"/>
                  <a:pt x="0" y="26"/>
                  <a:pt x="0" y="27"/>
                </a:cubicBezTo>
                <a:cubicBezTo>
                  <a:pt x="0" y="29"/>
                  <a:pt x="0" y="30"/>
                  <a:pt x="2" y="30"/>
                </a:cubicBezTo>
                <a:cubicBezTo>
                  <a:pt x="3" y="30"/>
                  <a:pt x="3" y="31"/>
                  <a:pt x="5" y="32"/>
                </a:cubicBezTo>
                <a:cubicBezTo>
                  <a:pt x="7" y="33"/>
                  <a:pt x="7" y="31"/>
                  <a:pt x="7" y="30"/>
                </a:cubicBezTo>
                <a:cubicBezTo>
                  <a:pt x="7" y="29"/>
                  <a:pt x="8" y="29"/>
                  <a:pt x="8" y="27"/>
                </a:cubicBezTo>
                <a:cubicBezTo>
                  <a:pt x="9" y="26"/>
                  <a:pt x="9" y="24"/>
                  <a:pt x="8" y="23"/>
                </a:cubicBezTo>
                <a:cubicBezTo>
                  <a:pt x="8" y="22"/>
                  <a:pt x="9" y="23"/>
                  <a:pt x="11" y="23"/>
                </a:cubicBezTo>
                <a:cubicBezTo>
                  <a:pt x="12" y="23"/>
                  <a:pt x="11" y="22"/>
                  <a:pt x="14" y="21"/>
                </a:cubicBezTo>
                <a:cubicBezTo>
                  <a:pt x="16" y="20"/>
                  <a:pt x="15" y="22"/>
                  <a:pt x="15" y="22"/>
                </a:cubicBezTo>
                <a:cubicBezTo>
                  <a:pt x="15" y="22"/>
                  <a:pt x="15" y="24"/>
                  <a:pt x="17" y="24"/>
                </a:cubicBezTo>
                <a:cubicBezTo>
                  <a:pt x="18" y="24"/>
                  <a:pt x="20" y="24"/>
                  <a:pt x="21" y="22"/>
                </a:cubicBezTo>
                <a:cubicBezTo>
                  <a:pt x="22" y="20"/>
                  <a:pt x="24" y="21"/>
                  <a:pt x="24" y="21"/>
                </a:cubicBezTo>
                <a:cubicBezTo>
                  <a:pt x="24" y="21"/>
                  <a:pt x="25" y="21"/>
                  <a:pt x="28" y="21"/>
                </a:cubicBezTo>
                <a:cubicBezTo>
                  <a:pt x="31" y="20"/>
                  <a:pt x="32" y="21"/>
                  <a:pt x="33" y="21"/>
                </a:cubicBezTo>
                <a:cubicBezTo>
                  <a:pt x="34" y="22"/>
                  <a:pt x="34" y="22"/>
                  <a:pt x="35" y="21"/>
                </a:cubicBezTo>
                <a:cubicBezTo>
                  <a:pt x="36" y="21"/>
                  <a:pt x="37" y="22"/>
                  <a:pt x="39" y="22"/>
                </a:cubicBezTo>
                <a:cubicBezTo>
                  <a:pt x="41" y="22"/>
                  <a:pt x="43" y="20"/>
                  <a:pt x="43" y="20"/>
                </a:cubicBezTo>
                <a:cubicBezTo>
                  <a:pt x="43" y="20"/>
                  <a:pt x="44" y="19"/>
                  <a:pt x="45" y="18"/>
                </a:cubicBezTo>
                <a:cubicBezTo>
                  <a:pt x="47" y="17"/>
                  <a:pt x="45" y="16"/>
                  <a:pt x="42" y="15"/>
                </a:cubicBezTo>
                <a:cubicBezTo>
                  <a:pt x="39" y="13"/>
                  <a:pt x="40" y="12"/>
                  <a:pt x="39" y="11"/>
                </a:cubicBezTo>
                <a:cubicBezTo>
                  <a:pt x="39" y="9"/>
                  <a:pt x="35" y="10"/>
                  <a:pt x="34" y="10"/>
                </a:cubicBezTo>
                <a:cubicBezTo>
                  <a:pt x="34" y="10"/>
                  <a:pt x="28" y="12"/>
                  <a:pt x="27" y="10"/>
                </a:cubicBezTo>
                <a:cubicBezTo>
                  <a:pt x="27" y="9"/>
                  <a:pt x="29" y="9"/>
                  <a:pt x="29" y="9"/>
                </a:cubicBezTo>
                <a:cubicBezTo>
                  <a:pt x="29" y="9"/>
                  <a:pt x="32" y="7"/>
                  <a:pt x="32" y="7"/>
                </a:cubicBezTo>
                <a:cubicBezTo>
                  <a:pt x="33" y="6"/>
                  <a:pt x="29" y="5"/>
                  <a:pt x="29" y="5"/>
                </a:cubicBezTo>
                <a:cubicBezTo>
                  <a:pt x="29" y="5"/>
                  <a:pt x="27" y="5"/>
                  <a:pt x="26" y="3"/>
                </a:cubicBezTo>
                <a:cubicBezTo>
                  <a:pt x="26" y="2"/>
                  <a:pt x="24" y="2"/>
                  <a:pt x="24" y="2"/>
                </a:cubicBezTo>
                <a:cubicBezTo>
                  <a:pt x="24" y="2"/>
                  <a:pt x="21" y="3"/>
                  <a:pt x="21" y="3"/>
                </a:cubicBezTo>
                <a:cubicBezTo>
                  <a:pt x="20" y="2"/>
                  <a:pt x="19" y="2"/>
                  <a:pt x="19" y="2"/>
                </a:cubicBezTo>
                <a:cubicBezTo>
                  <a:pt x="19" y="2"/>
                  <a:pt x="15" y="2"/>
                  <a:pt x="15" y="1"/>
                </a:cubicBezTo>
                <a:cubicBezTo>
                  <a:pt x="14" y="0"/>
                  <a:pt x="12" y="0"/>
                  <a:pt x="11" y="0"/>
                </a:cubicBezTo>
                <a:cubicBezTo>
                  <a:pt x="10" y="0"/>
                  <a:pt x="5" y="1"/>
                  <a:pt x="5" y="1"/>
                </a:cubicBezTo>
                <a:cubicBezTo>
                  <a:pt x="4" y="2"/>
                  <a:pt x="3" y="5"/>
                  <a:pt x="1" y="11"/>
                </a:cubicBezTo>
                <a:cubicBezTo>
                  <a:pt x="0" y="16"/>
                  <a:pt x="0" y="24"/>
                  <a:pt x="0" y="24"/>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3" name="The Bahamas"/>
          <p:cNvSpPr>
            <a:spLocks/>
          </p:cNvSpPr>
          <p:nvPr/>
        </p:nvSpPr>
        <p:spPr bwMode="auto">
          <a:xfrm>
            <a:off x="4091247" y="3186982"/>
            <a:ext cx="192622" cy="208348"/>
          </a:xfrm>
          <a:custGeom>
            <a:avLst/>
            <a:gdLst>
              <a:gd name="connsiteX0" fmla="*/ 146608 w 187233"/>
              <a:gd name="connsiteY0" fmla="*/ 189310 h 202519"/>
              <a:gd name="connsiteX1" fmla="*/ 150577 w 187233"/>
              <a:gd name="connsiteY1" fmla="*/ 193278 h 202519"/>
              <a:gd name="connsiteX2" fmla="*/ 146608 w 187233"/>
              <a:gd name="connsiteY2" fmla="*/ 197247 h 202519"/>
              <a:gd name="connsiteX3" fmla="*/ 144624 w 187233"/>
              <a:gd name="connsiteY3" fmla="*/ 201216 h 202519"/>
              <a:gd name="connsiteX4" fmla="*/ 134702 w 187233"/>
              <a:gd name="connsiteY4" fmla="*/ 201216 h 202519"/>
              <a:gd name="connsiteX5" fmla="*/ 128749 w 187233"/>
              <a:gd name="connsiteY5" fmla="*/ 199231 h 202519"/>
              <a:gd name="connsiteX6" fmla="*/ 134702 w 187233"/>
              <a:gd name="connsiteY6" fmla="*/ 195263 h 202519"/>
              <a:gd name="connsiteX7" fmla="*/ 134702 w 187233"/>
              <a:gd name="connsiteY7" fmla="*/ 193278 h 202519"/>
              <a:gd name="connsiteX8" fmla="*/ 136686 w 187233"/>
              <a:gd name="connsiteY8" fmla="*/ 191294 h 202519"/>
              <a:gd name="connsiteX9" fmla="*/ 142639 w 187233"/>
              <a:gd name="connsiteY9" fmla="*/ 193278 h 202519"/>
              <a:gd name="connsiteX10" fmla="*/ 146608 w 187233"/>
              <a:gd name="connsiteY10" fmla="*/ 189310 h 202519"/>
              <a:gd name="connsiteX11" fmla="*/ 146459 w 187233"/>
              <a:gd name="connsiteY11" fmla="*/ 176570 h 202519"/>
              <a:gd name="connsiteX12" fmla="*/ 148195 w 187233"/>
              <a:gd name="connsiteY12" fmla="*/ 176848 h 202519"/>
              <a:gd name="connsiteX13" fmla="*/ 152164 w 187233"/>
              <a:gd name="connsiteY13" fmla="*/ 181292 h 202519"/>
              <a:gd name="connsiteX14" fmla="*/ 146211 w 187233"/>
              <a:gd name="connsiteY14" fmla="*/ 181292 h 202519"/>
              <a:gd name="connsiteX15" fmla="*/ 146459 w 187233"/>
              <a:gd name="connsiteY15" fmla="*/ 176570 h 202519"/>
              <a:gd name="connsiteX16" fmla="*/ 182724 w 187233"/>
              <a:gd name="connsiteY16" fmla="*/ 171450 h 202519"/>
              <a:gd name="connsiteX17" fmla="*/ 184708 w 187233"/>
              <a:gd name="connsiteY17" fmla="*/ 171450 h 202519"/>
              <a:gd name="connsiteX18" fmla="*/ 186693 w 187233"/>
              <a:gd name="connsiteY18" fmla="*/ 173567 h 202519"/>
              <a:gd name="connsiteX19" fmla="*/ 182724 w 187233"/>
              <a:gd name="connsiteY19" fmla="*/ 173567 h 202519"/>
              <a:gd name="connsiteX20" fmla="*/ 182724 w 187233"/>
              <a:gd name="connsiteY20" fmla="*/ 171450 h 202519"/>
              <a:gd name="connsiteX21" fmla="*/ 168568 w 187233"/>
              <a:gd name="connsiteY21" fmla="*/ 169863 h 202519"/>
              <a:gd name="connsiteX22" fmla="*/ 172801 w 187233"/>
              <a:gd name="connsiteY22" fmla="*/ 171450 h 202519"/>
              <a:gd name="connsiteX23" fmla="*/ 168568 w 187233"/>
              <a:gd name="connsiteY23" fmla="*/ 173038 h 202519"/>
              <a:gd name="connsiteX24" fmla="*/ 168568 w 187233"/>
              <a:gd name="connsiteY24" fmla="*/ 169863 h 202519"/>
              <a:gd name="connsiteX25" fmla="*/ 171611 w 187233"/>
              <a:gd name="connsiteY25" fmla="*/ 163513 h 202519"/>
              <a:gd name="connsiteX26" fmla="*/ 175580 w 187233"/>
              <a:gd name="connsiteY26" fmla="*/ 167482 h 202519"/>
              <a:gd name="connsiteX27" fmla="*/ 175580 w 187233"/>
              <a:gd name="connsiteY27" fmla="*/ 169466 h 202519"/>
              <a:gd name="connsiteX28" fmla="*/ 171611 w 187233"/>
              <a:gd name="connsiteY28" fmla="*/ 167482 h 202519"/>
              <a:gd name="connsiteX29" fmla="*/ 171611 w 187233"/>
              <a:gd name="connsiteY29" fmla="*/ 163513 h 202519"/>
              <a:gd name="connsiteX30" fmla="*/ 145575 w 187233"/>
              <a:gd name="connsiteY30" fmla="*/ 144095 h 202519"/>
              <a:gd name="connsiteX31" fmla="*/ 146766 w 187233"/>
              <a:gd name="connsiteY31" fmla="*/ 147411 h 202519"/>
              <a:gd name="connsiteX32" fmla="*/ 152481 w 187233"/>
              <a:gd name="connsiteY32" fmla="*/ 149452 h 202519"/>
              <a:gd name="connsiteX33" fmla="*/ 158196 w 187233"/>
              <a:gd name="connsiteY33" fmla="*/ 153534 h 202519"/>
              <a:gd name="connsiteX34" fmla="*/ 152481 w 187233"/>
              <a:gd name="connsiteY34" fmla="*/ 153534 h 202519"/>
              <a:gd name="connsiteX35" fmla="*/ 144861 w 187233"/>
              <a:gd name="connsiteY35" fmla="*/ 153534 h 202519"/>
              <a:gd name="connsiteX36" fmla="*/ 142956 w 187233"/>
              <a:gd name="connsiteY36" fmla="*/ 145370 h 202519"/>
              <a:gd name="connsiteX37" fmla="*/ 145575 w 187233"/>
              <a:gd name="connsiteY37" fmla="*/ 144095 h 202519"/>
              <a:gd name="connsiteX38" fmla="*/ 116357 w 187233"/>
              <a:gd name="connsiteY38" fmla="*/ 134938 h 202519"/>
              <a:gd name="connsiteX39" fmla="*/ 122178 w 187233"/>
              <a:gd name="connsiteY39" fmla="*/ 137014 h 202519"/>
              <a:gd name="connsiteX40" fmla="*/ 126058 w 187233"/>
              <a:gd name="connsiteY40" fmla="*/ 139090 h 202519"/>
              <a:gd name="connsiteX41" fmla="*/ 129939 w 187233"/>
              <a:gd name="connsiteY41" fmla="*/ 143242 h 202519"/>
              <a:gd name="connsiteX42" fmla="*/ 126058 w 187233"/>
              <a:gd name="connsiteY42" fmla="*/ 149470 h 202519"/>
              <a:gd name="connsiteX43" fmla="*/ 120237 w 187233"/>
              <a:gd name="connsiteY43" fmla="*/ 159849 h 202519"/>
              <a:gd name="connsiteX44" fmla="*/ 114416 w 187233"/>
              <a:gd name="connsiteY44" fmla="*/ 159849 h 202519"/>
              <a:gd name="connsiteX45" fmla="*/ 124118 w 187233"/>
              <a:gd name="connsiteY45" fmla="*/ 145318 h 202519"/>
              <a:gd name="connsiteX46" fmla="*/ 118297 w 187233"/>
              <a:gd name="connsiteY46" fmla="*/ 141166 h 202519"/>
              <a:gd name="connsiteX47" fmla="*/ 116357 w 187233"/>
              <a:gd name="connsiteY47" fmla="*/ 141166 h 202519"/>
              <a:gd name="connsiteX48" fmla="*/ 112476 w 187233"/>
              <a:gd name="connsiteY48" fmla="*/ 139090 h 202519"/>
              <a:gd name="connsiteX49" fmla="*/ 116357 w 187233"/>
              <a:gd name="connsiteY49" fmla="*/ 134938 h 202519"/>
              <a:gd name="connsiteX50" fmla="*/ 92368 w 187233"/>
              <a:gd name="connsiteY50" fmla="*/ 115888 h 202519"/>
              <a:gd name="connsiteX51" fmla="*/ 97925 w 187233"/>
              <a:gd name="connsiteY51" fmla="*/ 125413 h 202519"/>
              <a:gd name="connsiteX52" fmla="*/ 96073 w 187233"/>
              <a:gd name="connsiteY52" fmla="*/ 131128 h 202519"/>
              <a:gd name="connsiteX53" fmla="*/ 88664 w 187233"/>
              <a:gd name="connsiteY53" fmla="*/ 131128 h 202519"/>
              <a:gd name="connsiteX54" fmla="*/ 92368 w 187233"/>
              <a:gd name="connsiteY54" fmla="*/ 123508 h 202519"/>
              <a:gd name="connsiteX55" fmla="*/ 90516 w 187233"/>
              <a:gd name="connsiteY55" fmla="*/ 119698 h 202519"/>
              <a:gd name="connsiteX56" fmla="*/ 90516 w 187233"/>
              <a:gd name="connsiteY56" fmla="*/ 117793 h 202519"/>
              <a:gd name="connsiteX57" fmla="*/ 92368 w 187233"/>
              <a:gd name="connsiteY57" fmla="*/ 115888 h 202519"/>
              <a:gd name="connsiteX58" fmla="*/ 72789 w 187233"/>
              <a:gd name="connsiteY58" fmla="*/ 111655 h 202519"/>
              <a:gd name="connsiteX59" fmla="*/ 76758 w 187233"/>
              <a:gd name="connsiteY59" fmla="*/ 113771 h 202519"/>
              <a:gd name="connsiteX60" fmla="*/ 80727 w 187233"/>
              <a:gd name="connsiteY60" fmla="*/ 118005 h 202519"/>
              <a:gd name="connsiteX61" fmla="*/ 76758 w 187233"/>
              <a:gd name="connsiteY61" fmla="*/ 120121 h 202519"/>
              <a:gd name="connsiteX62" fmla="*/ 72789 w 187233"/>
              <a:gd name="connsiteY62" fmla="*/ 115888 h 202519"/>
              <a:gd name="connsiteX63" fmla="*/ 72789 w 187233"/>
              <a:gd name="connsiteY63" fmla="*/ 111655 h 202519"/>
              <a:gd name="connsiteX64" fmla="*/ 65169 w 187233"/>
              <a:gd name="connsiteY64" fmla="*/ 97234 h 202519"/>
              <a:gd name="connsiteX65" fmla="*/ 70884 w 187233"/>
              <a:gd name="connsiteY65" fmla="*/ 101203 h 202519"/>
              <a:gd name="connsiteX66" fmla="*/ 65169 w 187233"/>
              <a:gd name="connsiteY66" fmla="*/ 101203 h 202519"/>
              <a:gd name="connsiteX67" fmla="*/ 65169 w 187233"/>
              <a:gd name="connsiteY67" fmla="*/ 97234 h 202519"/>
              <a:gd name="connsiteX68" fmla="*/ 25957 w 187233"/>
              <a:gd name="connsiteY68" fmla="*/ 96759 h 202519"/>
              <a:gd name="connsiteX69" fmla="*/ 28868 w 187233"/>
              <a:gd name="connsiteY69" fmla="*/ 97473 h 202519"/>
              <a:gd name="connsiteX70" fmla="*/ 33101 w 187233"/>
              <a:gd name="connsiteY70" fmla="*/ 101283 h 202519"/>
              <a:gd name="connsiteX71" fmla="*/ 33101 w 187233"/>
              <a:gd name="connsiteY71" fmla="*/ 108903 h 202519"/>
              <a:gd name="connsiteX72" fmla="*/ 28868 w 187233"/>
              <a:gd name="connsiteY72" fmla="*/ 112713 h 202519"/>
              <a:gd name="connsiteX73" fmla="*/ 26751 w 187233"/>
              <a:gd name="connsiteY73" fmla="*/ 103188 h 202519"/>
              <a:gd name="connsiteX74" fmla="*/ 22518 w 187233"/>
              <a:gd name="connsiteY74" fmla="*/ 99378 h 202519"/>
              <a:gd name="connsiteX75" fmla="*/ 24634 w 187233"/>
              <a:gd name="connsiteY75" fmla="*/ 97473 h 202519"/>
              <a:gd name="connsiteX76" fmla="*/ 25957 w 187233"/>
              <a:gd name="connsiteY76" fmla="*/ 96759 h 202519"/>
              <a:gd name="connsiteX77" fmla="*/ 111683 w 187233"/>
              <a:gd name="connsiteY77" fmla="*/ 91395 h 202519"/>
              <a:gd name="connsiteX78" fmla="*/ 115652 w 187233"/>
              <a:gd name="connsiteY78" fmla="*/ 97518 h 202519"/>
              <a:gd name="connsiteX79" fmla="*/ 109699 w 187233"/>
              <a:gd name="connsiteY79" fmla="*/ 97518 h 202519"/>
              <a:gd name="connsiteX80" fmla="*/ 109699 w 187233"/>
              <a:gd name="connsiteY80" fmla="*/ 93436 h 202519"/>
              <a:gd name="connsiteX81" fmla="*/ 111683 w 187233"/>
              <a:gd name="connsiteY81" fmla="*/ 91395 h 202519"/>
              <a:gd name="connsiteX82" fmla="*/ 85935 w 187233"/>
              <a:gd name="connsiteY82" fmla="*/ 79483 h 202519"/>
              <a:gd name="connsiteX83" fmla="*/ 86679 w 187233"/>
              <a:gd name="connsiteY83" fmla="*/ 81828 h 202519"/>
              <a:gd name="connsiteX84" fmla="*/ 88664 w 187233"/>
              <a:gd name="connsiteY84" fmla="*/ 85581 h 202519"/>
              <a:gd name="connsiteX85" fmla="*/ 90648 w 187233"/>
              <a:gd name="connsiteY85" fmla="*/ 89333 h 202519"/>
              <a:gd name="connsiteX86" fmla="*/ 94617 w 187233"/>
              <a:gd name="connsiteY86" fmla="*/ 93085 h 202519"/>
              <a:gd name="connsiteX87" fmla="*/ 88664 w 187233"/>
              <a:gd name="connsiteY87" fmla="*/ 93085 h 202519"/>
              <a:gd name="connsiteX88" fmla="*/ 86679 w 187233"/>
              <a:gd name="connsiteY88" fmla="*/ 89333 h 202519"/>
              <a:gd name="connsiteX89" fmla="*/ 82711 w 187233"/>
              <a:gd name="connsiteY89" fmla="*/ 85581 h 202519"/>
              <a:gd name="connsiteX90" fmla="*/ 80726 w 187233"/>
              <a:gd name="connsiteY90" fmla="*/ 79952 h 202519"/>
              <a:gd name="connsiteX91" fmla="*/ 85935 w 187233"/>
              <a:gd name="connsiteY91" fmla="*/ 79483 h 202519"/>
              <a:gd name="connsiteX92" fmla="*/ 74376 w 187233"/>
              <a:gd name="connsiteY92" fmla="*/ 77788 h 202519"/>
              <a:gd name="connsiteX93" fmla="*/ 74376 w 187233"/>
              <a:gd name="connsiteY93" fmla="*/ 84138 h 202519"/>
              <a:gd name="connsiteX94" fmla="*/ 72789 w 187233"/>
              <a:gd name="connsiteY94" fmla="*/ 79905 h 202519"/>
              <a:gd name="connsiteX95" fmla="*/ 74376 w 187233"/>
              <a:gd name="connsiteY95" fmla="*/ 77788 h 202519"/>
              <a:gd name="connsiteX96" fmla="*/ 54533 w 187233"/>
              <a:gd name="connsiteY96" fmla="*/ 74216 h 202519"/>
              <a:gd name="connsiteX97" fmla="*/ 54533 w 187233"/>
              <a:gd name="connsiteY97" fmla="*/ 80169 h 202519"/>
              <a:gd name="connsiteX98" fmla="*/ 52549 w 187233"/>
              <a:gd name="connsiteY98" fmla="*/ 84138 h 202519"/>
              <a:gd name="connsiteX99" fmla="*/ 50564 w 187233"/>
              <a:gd name="connsiteY99" fmla="*/ 80169 h 202519"/>
              <a:gd name="connsiteX100" fmla="*/ 54533 w 187233"/>
              <a:gd name="connsiteY100" fmla="*/ 74216 h 202519"/>
              <a:gd name="connsiteX101" fmla="*/ 22216 w 187233"/>
              <a:gd name="connsiteY101" fmla="*/ 63500 h 202519"/>
              <a:gd name="connsiteX102" fmla="*/ 26298 w 187233"/>
              <a:gd name="connsiteY102" fmla="*/ 71664 h 202519"/>
              <a:gd name="connsiteX103" fmla="*/ 26298 w 187233"/>
              <a:gd name="connsiteY103" fmla="*/ 77788 h 202519"/>
              <a:gd name="connsiteX104" fmla="*/ 28339 w 187233"/>
              <a:gd name="connsiteY104" fmla="*/ 81870 h 202519"/>
              <a:gd name="connsiteX105" fmla="*/ 26298 w 187233"/>
              <a:gd name="connsiteY105" fmla="*/ 87993 h 202519"/>
              <a:gd name="connsiteX106" fmla="*/ 22216 w 187233"/>
              <a:gd name="connsiteY106" fmla="*/ 90034 h 202519"/>
              <a:gd name="connsiteX107" fmla="*/ 20175 w 187233"/>
              <a:gd name="connsiteY107" fmla="*/ 90034 h 202519"/>
              <a:gd name="connsiteX108" fmla="*/ 14051 w 187233"/>
              <a:gd name="connsiteY108" fmla="*/ 87993 h 202519"/>
              <a:gd name="connsiteX109" fmla="*/ 16092 w 187233"/>
              <a:gd name="connsiteY109" fmla="*/ 77788 h 202519"/>
              <a:gd name="connsiteX110" fmla="*/ 20175 w 187233"/>
              <a:gd name="connsiteY110" fmla="*/ 71664 h 202519"/>
              <a:gd name="connsiteX111" fmla="*/ 20175 w 187233"/>
              <a:gd name="connsiteY111" fmla="*/ 67582 h 202519"/>
              <a:gd name="connsiteX112" fmla="*/ 22216 w 187233"/>
              <a:gd name="connsiteY112" fmla="*/ 63500 h 202519"/>
              <a:gd name="connsiteX113" fmla="*/ 52797 w 187233"/>
              <a:gd name="connsiteY113" fmla="*/ 53817 h 202519"/>
              <a:gd name="connsiteX114" fmla="*/ 54533 w 187233"/>
              <a:gd name="connsiteY114" fmla="*/ 54293 h 202519"/>
              <a:gd name="connsiteX115" fmla="*/ 60486 w 187233"/>
              <a:gd name="connsiteY115" fmla="*/ 56198 h 202519"/>
              <a:gd name="connsiteX116" fmla="*/ 64455 w 187233"/>
              <a:gd name="connsiteY116" fmla="*/ 56198 h 202519"/>
              <a:gd name="connsiteX117" fmla="*/ 64455 w 187233"/>
              <a:gd name="connsiteY117" fmla="*/ 58103 h 202519"/>
              <a:gd name="connsiteX118" fmla="*/ 72393 w 187233"/>
              <a:gd name="connsiteY118" fmla="*/ 65723 h 202519"/>
              <a:gd name="connsiteX119" fmla="*/ 72393 w 187233"/>
              <a:gd name="connsiteY119" fmla="*/ 73343 h 202519"/>
              <a:gd name="connsiteX120" fmla="*/ 70408 w 187233"/>
              <a:gd name="connsiteY120" fmla="*/ 79058 h 202519"/>
              <a:gd name="connsiteX121" fmla="*/ 66439 w 187233"/>
              <a:gd name="connsiteY121" fmla="*/ 79058 h 202519"/>
              <a:gd name="connsiteX122" fmla="*/ 66439 w 187233"/>
              <a:gd name="connsiteY122" fmla="*/ 75248 h 202519"/>
              <a:gd name="connsiteX123" fmla="*/ 68424 w 187233"/>
              <a:gd name="connsiteY123" fmla="*/ 71438 h 202519"/>
              <a:gd name="connsiteX124" fmla="*/ 66439 w 187233"/>
              <a:gd name="connsiteY124" fmla="*/ 69533 h 202519"/>
              <a:gd name="connsiteX125" fmla="*/ 66439 w 187233"/>
              <a:gd name="connsiteY125" fmla="*/ 65723 h 202519"/>
              <a:gd name="connsiteX126" fmla="*/ 62471 w 187233"/>
              <a:gd name="connsiteY126" fmla="*/ 63818 h 202519"/>
              <a:gd name="connsiteX127" fmla="*/ 56517 w 187233"/>
              <a:gd name="connsiteY127" fmla="*/ 61913 h 202519"/>
              <a:gd name="connsiteX128" fmla="*/ 52549 w 187233"/>
              <a:gd name="connsiteY128" fmla="*/ 56198 h 202519"/>
              <a:gd name="connsiteX129" fmla="*/ 52797 w 187233"/>
              <a:gd name="connsiteY129" fmla="*/ 53817 h 202519"/>
              <a:gd name="connsiteX130" fmla="*/ 10208 w 187233"/>
              <a:gd name="connsiteY130" fmla="*/ 9790 h 202519"/>
              <a:gd name="connsiteX131" fmla="*/ 14218 w 187233"/>
              <a:gd name="connsiteY131" fmla="*/ 11642 h 202519"/>
              <a:gd name="connsiteX132" fmla="*/ 20234 w 187233"/>
              <a:gd name="connsiteY132" fmla="*/ 11642 h 202519"/>
              <a:gd name="connsiteX133" fmla="*/ 24245 w 187233"/>
              <a:gd name="connsiteY133" fmla="*/ 11642 h 202519"/>
              <a:gd name="connsiteX134" fmla="*/ 32266 w 187233"/>
              <a:gd name="connsiteY134" fmla="*/ 11642 h 202519"/>
              <a:gd name="connsiteX135" fmla="*/ 32266 w 187233"/>
              <a:gd name="connsiteY135" fmla="*/ 15346 h 202519"/>
              <a:gd name="connsiteX136" fmla="*/ 24245 w 187233"/>
              <a:gd name="connsiteY136" fmla="*/ 15346 h 202519"/>
              <a:gd name="connsiteX137" fmla="*/ 12213 w 187233"/>
              <a:gd name="connsiteY137" fmla="*/ 17198 h 202519"/>
              <a:gd name="connsiteX138" fmla="*/ 2187 w 187233"/>
              <a:gd name="connsiteY138" fmla="*/ 17198 h 202519"/>
              <a:gd name="connsiteX139" fmla="*/ 4192 w 187233"/>
              <a:gd name="connsiteY139" fmla="*/ 13494 h 202519"/>
              <a:gd name="connsiteX140" fmla="*/ 10208 w 187233"/>
              <a:gd name="connsiteY140" fmla="*/ 9790 h 202519"/>
              <a:gd name="connsiteX141" fmla="*/ 37864 w 187233"/>
              <a:gd name="connsiteY141" fmla="*/ 9525 h 202519"/>
              <a:gd name="connsiteX142" fmla="*/ 44413 w 187233"/>
              <a:gd name="connsiteY142" fmla="*/ 11530 h 202519"/>
              <a:gd name="connsiteX143" fmla="*/ 50961 w 187233"/>
              <a:gd name="connsiteY143" fmla="*/ 13536 h 202519"/>
              <a:gd name="connsiteX144" fmla="*/ 53144 w 187233"/>
              <a:gd name="connsiteY144" fmla="*/ 19551 h 202519"/>
              <a:gd name="connsiteX145" fmla="*/ 50961 w 187233"/>
              <a:gd name="connsiteY145" fmla="*/ 25567 h 202519"/>
              <a:gd name="connsiteX146" fmla="*/ 50961 w 187233"/>
              <a:gd name="connsiteY146" fmla="*/ 29578 h 202519"/>
              <a:gd name="connsiteX147" fmla="*/ 46596 w 187233"/>
              <a:gd name="connsiteY147" fmla="*/ 43615 h 202519"/>
              <a:gd name="connsiteX148" fmla="*/ 44413 w 187233"/>
              <a:gd name="connsiteY148" fmla="*/ 45620 h 202519"/>
              <a:gd name="connsiteX149" fmla="*/ 40047 w 187233"/>
              <a:gd name="connsiteY149" fmla="*/ 39604 h 202519"/>
              <a:gd name="connsiteX150" fmla="*/ 42230 w 187233"/>
              <a:gd name="connsiteY150" fmla="*/ 33588 h 202519"/>
              <a:gd name="connsiteX151" fmla="*/ 46596 w 187233"/>
              <a:gd name="connsiteY151" fmla="*/ 27572 h 202519"/>
              <a:gd name="connsiteX152" fmla="*/ 48779 w 187233"/>
              <a:gd name="connsiteY152" fmla="*/ 23562 h 202519"/>
              <a:gd name="connsiteX153" fmla="*/ 46596 w 187233"/>
              <a:gd name="connsiteY153" fmla="*/ 17546 h 202519"/>
              <a:gd name="connsiteX154" fmla="*/ 40047 w 187233"/>
              <a:gd name="connsiteY154" fmla="*/ 13536 h 202519"/>
              <a:gd name="connsiteX155" fmla="*/ 37864 w 187233"/>
              <a:gd name="connsiteY155" fmla="*/ 9525 h 202519"/>
              <a:gd name="connsiteX156" fmla="*/ 24634 w 187233"/>
              <a:gd name="connsiteY156" fmla="*/ 1588 h 202519"/>
              <a:gd name="connsiteX157" fmla="*/ 26751 w 187233"/>
              <a:gd name="connsiteY157" fmla="*/ 6350 h 202519"/>
              <a:gd name="connsiteX158" fmla="*/ 22518 w 187233"/>
              <a:gd name="connsiteY158" fmla="*/ 6350 h 202519"/>
              <a:gd name="connsiteX159" fmla="*/ 24634 w 187233"/>
              <a:gd name="connsiteY159" fmla="*/ 1588 h 202519"/>
              <a:gd name="connsiteX160" fmla="*/ 30984 w 187233"/>
              <a:gd name="connsiteY160" fmla="*/ 0 h 202519"/>
              <a:gd name="connsiteX161" fmla="*/ 30984 w 187233"/>
              <a:gd name="connsiteY161" fmla="*/ 1587 h 202519"/>
              <a:gd name="connsiteX162" fmla="*/ 28868 w 187233"/>
              <a:gd name="connsiteY162" fmla="*/ 3175 h 202519"/>
              <a:gd name="connsiteX163" fmla="*/ 30984 w 187233"/>
              <a:gd name="connsiteY163" fmla="*/ 0 h 20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87233" h="202519">
                <a:moveTo>
                  <a:pt x="146608" y="189310"/>
                </a:moveTo>
                <a:cubicBezTo>
                  <a:pt x="148593" y="187325"/>
                  <a:pt x="150577" y="191294"/>
                  <a:pt x="150577" y="193278"/>
                </a:cubicBezTo>
                <a:cubicBezTo>
                  <a:pt x="150577" y="195263"/>
                  <a:pt x="148593" y="195263"/>
                  <a:pt x="146608" y="197247"/>
                </a:cubicBezTo>
                <a:cubicBezTo>
                  <a:pt x="144624" y="199231"/>
                  <a:pt x="144624" y="201216"/>
                  <a:pt x="144624" y="201216"/>
                </a:cubicBezTo>
                <a:cubicBezTo>
                  <a:pt x="144624" y="201216"/>
                  <a:pt x="140655" y="201216"/>
                  <a:pt x="134702" y="201216"/>
                </a:cubicBezTo>
                <a:cubicBezTo>
                  <a:pt x="130733" y="203200"/>
                  <a:pt x="130733" y="203200"/>
                  <a:pt x="128749" y="199231"/>
                </a:cubicBezTo>
                <a:cubicBezTo>
                  <a:pt x="126764" y="195263"/>
                  <a:pt x="134702" y="195263"/>
                  <a:pt x="134702" y="195263"/>
                </a:cubicBezTo>
                <a:cubicBezTo>
                  <a:pt x="134702" y="195263"/>
                  <a:pt x="134702" y="195263"/>
                  <a:pt x="134702" y="193278"/>
                </a:cubicBezTo>
                <a:cubicBezTo>
                  <a:pt x="132717" y="191294"/>
                  <a:pt x="134702" y="191294"/>
                  <a:pt x="136686" y="191294"/>
                </a:cubicBezTo>
                <a:cubicBezTo>
                  <a:pt x="140655" y="189310"/>
                  <a:pt x="140655" y="193278"/>
                  <a:pt x="142639" y="193278"/>
                </a:cubicBezTo>
                <a:cubicBezTo>
                  <a:pt x="144624" y="193278"/>
                  <a:pt x="144624" y="193278"/>
                  <a:pt x="146608" y="189310"/>
                </a:cubicBezTo>
                <a:close/>
                <a:moveTo>
                  <a:pt x="146459" y="176570"/>
                </a:moveTo>
                <a:cubicBezTo>
                  <a:pt x="147203" y="176292"/>
                  <a:pt x="148195" y="176848"/>
                  <a:pt x="148195" y="176848"/>
                </a:cubicBezTo>
                <a:cubicBezTo>
                  <a:pt x="150180" y="176848"/>
                  <a:pt x="152164" y="176848"/>
                  <a:pt x="152164" y="181292"/>
                </a:cubicBezTo>
                <a:cubicBezTo>
                  <a:pt x="152164" y="183515"/>
                  <a:pt x="146211" y="185737"/>
                  <a:pt x="146211" y="181292"/>
                </a:cubicBezTo>
                <a:cubicBezTo>
                  <a:pt x="145218" y="177959"/>
                  <a:pt x="145714" y="176848"/>
                  <a:pt x="146459" y="176570"/>
                </a:cubicBezTo>
                <a:close/>
                <a:moveTo>
                  <a:pt x="182724" y="171450"/>
                </a:moveTo>
                <a:cubicBezTo>
                  <a:pt x="182724" y="171450"/>
                  <a:pt x="184708" y="171450"/>
                  <a:pt x="184708" y="171450"/>
                </a:cubicBezTo>
                <a:cubicBezTo>
                  <a:pt x="184708" y="171450"/>
                  <a:pt x="186693" y="171450"/>
                  <a:pt x="186693" y="173567"/>
                </a:cubicBezTo>
                <a:cubicBezTo>
                  <a:pt x="188677" y="177800"/>
                  <a:pt x="184708" y="177800"/>
                  <a:pt x="182724" y="173567"/>
                </a:cubicBezTo>
                <a:cubicBezTo>
                  <a:pt x="180739" y="171450"/>
                  <a:pt x="182724" y="171450"/>
                  <a:pt x="182724" y="171450"/>
                </a:cubicBezTo>
                <a:close/>
                <a:moveTo>
                  <a:pt x="168568" y="169863"/>
                </a:moveTo>
                <a:cubicBezTo>
                  <a:pt x="168568" y="169863"/>
                  <a:pt x="172801" y="169863"/>
                  <a:pt x="172801" y="171450"/>
                </a:cubicBezTo>
                <a:cubicBezTo>
                  <a:pt x="172801" y="173038"/>
                  <a:pt x="172801" y="174625"/>
                  <a:pt x="168568" y="173038"/>
                </a:cubicBezTo>
                <a:cubicBezTo>
                  <a:pt x="166451" y="171450"/>
                  <a:pt x="168568" y="169863"/>
                  <a:pt x="168568" y="169863"/>
                </a:cubicBezTo>
                <a:close/>
                <a:moveTo>
                  <a:pt x="171611" y="163513"/>
                </a:moveTo>
                <a:cubicBezTo>
                  <a:pt x="175580" y="165497"/>
                  <a:pt x="175580" y="165497"/>
                  <a:pt x="175580" y="167482"/>
                </a:cubicBezTo>
                <a:cubicBezTo>
                  <a:pt x="177564" y="169466"/>
                  <a:pt x="177564" y="171450"/>
                  <a:pt x="175580" y="169466"/>
                </a:cubicBezTo>
                <a:cubicBezTo>
                  <a:pt x="173595" y="169466"/>
                  <a:pt x="171611" y="167482"/>
                  <a:pt x="171611" y="167482"/>
                </a:cubicBezTo>
                <a:cubicBezTo>
                  <a:pt x="171611" y="167482"/>
                  <a:pt x="169626" y="163513"/>
                  <a:pt x="171611" y="163513"/>
                </a:cubicBezTo>
                <a:close/>
                <a:moveTo>
                  <a:pt x="145575" y="144095"/>
                </a:moveTo>
                <a:cubicBezTo>
                  <a:pt x="146290" y="144860"/>
                  <a:pt x="146766" y="146391"/>
                  <a:pt x="146766" y="147411"/>
                </a:cubicBezTo>
                <a:cubicBezTo>
                  <a:pt x="148671" y="149452"/>
                  <a:pt x="148671" y="149452"/>
                  <a:pt x="152481" y="149452"/>
                </a:cubicBezTo>
                <a:cubicBezTo>
                  <a:pt x="156291" y="149452"/>
                  <a:pt x="156291" y="151493"/>
                  <a:pt x="158196" y="153534"/>
                </a:cubicBezTo>
                <a:cubicBezTo>
                  <a:pt x="160101" y="153534"/>
                  <a:pt x="154386" y="155575"/>
                  <a:pt x="152481" y="153534"/>
                </a:cubicBezTo>
                <a:cubicBezTo>
                  <a:pt x="148671" y="151493"/>
                  <a:pt x="146766" y="155575"/>
                  <a:pt x="144861" y="153534"/>
                </a:cubicBezTo>
                <a:cubicBezTo>
                  <a:pt x="141051" y="149452"/>
                  <a:pt x="142956" y="145370"/>
                  <a:pt x="142956" y="145370"/>
                </a:cubicBezTo>
                <a:cubicBezTo>
                  <a:pt x="143909" y="143329"/>
                  <a:pt x="144861" y="143329"/>
                  <a:pt x="145575" y="144095"/>
                </a:cubicBezTo>
                <a:close/>
                <a:moveTo>
                  <a:pt x="116357" y="134938"/>
                </a:moveTo>
                <a:cubicBezTo>
                  <a:pt x="118297" y="137014"/>
                  <a:pt x="120237" y="134938"/>
                  <a:pt x="122178" y="137014"/>
                </a:cubicBezTo>
                <a:cubicBezTo>
                  <a:pt x="122178" y="139090"/>
                  <a:pt x="124118" y="139090"/>
                  <a:pt x="126058" y="139090"/>
                </a:cubicBezTo>
                <a:cubicBezTo>
                  <a:pt x="126058" y="139090"/>
                  <a:pt x="129939" y="141166"/>
                  <a:pt x="129939" y="143242"/>
                </a:cubicBezTo>
                <a:cubicBezTo>
                  <a:pt x="127999" y="147394"/>
                  <a:pt x="127999" y="147394"/>
                  <a:pt x="126058" y="149470"/>
                </a:cubicBezTo>
                <a:cubicBezTo>
                  <a:pt x="126058" y="153621"/>
                  <a:pt x="122178" y="157773"/>
                  <a:pt x="120237" y="159849"/>
                </a:cubicBezTo>
                <a:cubicBezTo>
                  <a:pt x="118297" y="161925"/>
                  <a:pt x="114416" y="161925"/>
                  <a:pt x="114416" y="159849"/>
                </a:cubicBezTo>
                <a:cubicBezTo>
                  <a:pt x="116357" y="155697"/>
                  <a:pt x="122178" y="149470"/>
                  <a:pt x="124118" y="145318"/>
                </a:cubicBezTo>
                <a:cubicBezTo>
                  <a:pt x="124118" y="141166"/>
                  <a:pt x="122178" y="139090"/>
                  <a:pt x="118297" y="141166"/>
                </a:cubicBezTo>
                <a:cubicBezTo>
                  <a:pt x="116357" y="141166"/>
                  <a:pt x="116357" y="141166"/>
                  <a:pt x="116357" y="141166"/>
                </a:cubicBezTo>
                <a:cubicBezTo>
                  <a:pt x="116357" y="141166"/>
                  <a:pt x="112476" y="141166"/>
                  <a:pt x="112476" y="139090"/>
                </a:cubicBezTo>
                <a:cubicBezTo>
                  <a:pt x="112476" y="134938"/>
                  <a:pt x="114416" y="134938"/>
                  <a:pt x="116357" y="134938"/>
                </a:cubicBezTo>
                <a:close/>
                <a:moveTo>
                  <a:pt x="92368" y="115888"/>
                </a:moveTo>
                <a:cubicBezTo>
                  <a:pt x="94221" y="115888"/>
                  <a:pt x="96073" y="121603"/>
                  <a:pt x="97925" y="125413"/>
                </a:cubicBezTo>
                <a:cubicBezTo>
                  <a:pt x="99777" y="129223"/>
                  <a:pt x="96073" y="129223"/>
                  <a:pt x="96073" y="131128"/>
                </a:cubicBezTo>
                <a:cubicBezTo>
                  <a:pt x="96073" y="133033"/>
                  <a:pt x="88664" y="134938"/>
                  <a:pt x="88664" y="131128"/>
                </a:cubicBezTo>
                <a:cubicBezTo>
                  <a:pt x="90516" y="129223"/>
                  <a:pt x="92368" y="127318"/>
                  <a:pt x="92368" y="123508"/>
                </a:cubicBezTo>
                <a:cubicBezTo>
                  <a:pt x="92368" y="119698"/>
                  <a:pt x="90516" y="119698"/>
                  <a:pt x="90516" y="119698"/>
                </a:cubicBezTo>
                <a:cubicBezTo>
                  <a:pt x="90516" y="119698"/>
                  <a:pt x="90516" y="117793"/>
                  <a:pt x="90516" y="117793"/>
                </a:cubicBezTo>
                <a:cubicBezTo>
                  <a:pt x="90516" y="115888"/>
                  <a:pt x="90516" y="115888"/>
                  <a:pt x="92368" y="115888"/>
                </a:cubicBezTo>
                <a:close/>
                <a:moveTo>
                  <a:pt x="72789" y="111655"/>
                </a:moveTo>
                <a:cubicBezTo>
                  <a:pt x="76758" y="109538"/>
                  <a:pt x="76758" y="113771"/>
                  <a:pt x="76758" y="113771"/>
                </a:cubicBezTo>
                <a:cubicBezTo>
                  <a:pt x="76758" y="113771"/>
                  <a:pt x="78743" y="115888"/>
                  <a:pt x="80727" y="118005"/>
                </a:cubicBezTo>
                <a:cubicBezTo>
                  <a:pt x="80727" y="120121"/>
                  <a:pt x="78743" y="122238"/>
                  <a:pt x="76758" y="120121"/>
                </a:cubicBezTo>
                <a:cubicBezTo>
                  <a:pt x="74774" y="120121"/>
                  <a:pt x="74774" y="118005"/>
                  <a:pt x="72789" y="115888"/>
                </a:cubicBezTo>
                <a:cubicBezTo>
                  <a:pt x="72789" y="113771"/>
                  <a:pt x="72789" y="111655"/>
                  <a:pt x="72789" y="111655"/>
                </a:cubicBezTo>
                <a:close/>
                <a:moveTo>
                  <a:pt x="65169" y="97234"/>
                </a:moveTo>
                <a:cubicBezTo>
                  <a:pt x="67074" y="95250"/>
                  <a:pt x="72789" y="101203"/>
                  <a:pt x="70884" y="101203"/>
                </a:cubicBezTo>
                <a:cubicBezTo>
                  <a:pt x="68979" y="101203"/>
                  <a:pt x="67074" y="103187"/>
                  <a:pt x="65169" y="101203"/>
                </a:cubicBezTo>
                <a:cubicBezTo>
                  <a:pt x="63264" y="99219"/>
                  <a:pt x="65169" y="97234"/>
                  <a:pt x="65169" y="97234"/>
                </a:cubicBezTo>
                <a:close/>
                <a:moveTo>
                  <a:pt x="25957" y="96759"/>
                </a:moveTo>
                <a:cubicBezTo>
                  <a:pt x="26222" y="97473"/>
                  <a:pt x="26751" y="98426"/>
                  <a:pt x="28868" y="97473"/>
                </a:cubicBezTo>
                <a:cubicBezTo>
                  <a:pt x="33101" y="97473"/>
                  <a:pt x="33101" y="101283"/>
                  <a:pt x="33101" y="101283"/>
                </a:cubicBezTo>
                <a:cubicBezTo>
                  <a:pt x="33101" y="101283"/>
                  <a:pt x="30984" y="105093"/>
                  <a:pt x="33101" y="108903"/>
                </a:cubicBezTo>
                <a:cubicBezTo>
                  <a:pt x="33101" y="110808"/>
                  <a:pt x="30984" y="112713"/>
                  <a:pt x="28868" y="112713"/>
                </a:cubicBezTo>
                <a:cubicBezTo>
                  <a:pt x="26751" y="110808"/>
                  <a:pt x="26751" y="105093"/>
                  <a:pt x="26751" y="103188"/>
                </a:cubicBezTo>
                <a:cubicBezTo>
                  <a:pt x="26751" y="99378"/>
                  <a:pt x="24634" y="101283"/>
                  <a:pt x="22518" y="99378"/>
                </a:cubicBezTo>
                <a:cubicBezTo>
                  <a:pt x="20401" y="97473"/>
                  <a:pt x="24634" y="97473"/>
                  <a:pt x="24634" y="97473"/>
                </a:cubicBezTo>
                <a:cubicBezTo>
                  <a:pt x="25693" y="95568"/>
                  <a:pt x="25693" y="96044"/>
                  <a:pt x="25957" y="96759"/>
                </a:cubicBezTo>
                <a:close/>
                <a:moveTo>
                  <a:pt x="111683" y="91395"/>
                </a:moveTo>
                <a:cubicBezTo>
                  <a:pt x="113668" y="87313"/>
                  <a:pt x="115652" y="93436"/>
                  <a:pt x="115652" y="97518"/>
                </a:cubicBezTo>
                <a:cubicBezTo>
                  <a:pt x="115652" y="99559"/>
                  <a:pt x="109699" y="101600"/>
                  <a:pt x="109699" y="97518"/>
                </a:cubicBezTo>
                <a:cubicBezTo>
                  <a:pt x="107714" y="95477"/>
                  <a:pt x="107714" y="93436"/>
                  <a:pt x="109699" y="93436"/>
                </a:cubicBezTo>
                <a:cubicBezTo>
                  <a:pt x="109699" y="95477"/>
                  <a:pt x="111683" y="91395"/>
                  <a:pt x="111683" y="91395"/>
                </a:cubicBezTo>
                <a:close/>
                <a:moveTo>
                  <a:pt x="85935" y="79483"/>
                </a:moveTo>
                <a:cubicBezTo>
                  <a:pt x="86679" y="80421"/>
                  <a:pt x="86679" y="81828"/>
                  <a:pt x="86679" y="81828"/>
                </a:cubicBezTo>
                <a:cubicBezTo>
                  <a:pt x="86679" y="83704"/>
                  <a:pt x="88664" y="85581"/>
                  <a:pt x="88664" y="85581"/>
                </a:cubicBezTo>
                <a:cubicBezTo>
                  <a:pt x="88664" y="85581"/>
                  <a:pt x="88664" y="85581"/>
                  <a:pt x="90648" y="89333"/>
                </a:cubicBezTo>
                <a:cubicBezTo>
                  <a:pt x="90648" y="89333"/>
                  <a:pt x="94617" y="91209"/>
                  <a:pt x="94617" y="93085"/>
                </a:cubicBezTo>
                <a:cubicBezTo>
                  <a:pt x="96601" y="94961"/>
                  <a:pt x="92632" y="96837"/>
                  <a:pt x="88664" y="93085"/>
                </a:cubicBezTo>
                <a:cubicBezTo>
                  <a:pt x="84695" y="91209"/>
                  <a:pt x="86679" y="89333"/>
                  <a:pt x="86679" y="89333"/>
                </a:cubicBezTo>
                <a:cubicBezTo>
                  <a:pt x="86679" y="89333"/>
                  <a:pt x="84695" y="87457"/>
                  <a:pt x="82711" y="85581"/>
                </a:cubicBezTo>
                <a:cubicBezTo>
                  <a:pt x="80726" y="81828"/>
                  <a:pt x="80726" y="79952"/>
                  <a:pt x="80726" y="79952"/>
                </a:cubicBezTo>
                <a:cubicBezTo>
                  <a:pt x="83703" y="78076"/>
                  <a:pt x="85191" y="78545"/>
                  <a:pt x="85935" y="79483"/>
                </a:cubicBezTo>
                <a:close/>
                <a:moveTo>
                  <a:pt x="74376" y="77788"/>
                </a:moveTo>
                <a:cubicBezTo>
                  <a:pt x="75964" y="79905"/>
                  <a:pt x="75964" y="84138"/>
                  <a:pt x="74376" y="84138"/>
                </a:cubicBezTo>
                <a:cubicBezTo>
                  <a:pt x="72789" y="84138"/>
                  <a:pt x="71201" y="82021"/>
                  <a:pt x="72789" y="79905"/>
                </a:cubicBezTo>
                <a:cubicBezTo>
                  <a:pt x="72789" y="79905"/>
                  <a:pt x="72789" y="77788"/>
                  <a:pt x="74376" y="77788"/>
                </a:cubicBezTo>
                <a:close/>
                <a:moveTo>
                  <a:pt x="54533" y="74216"/>
                </a:moveTo>
                <a:cubicBezTo>
                  <a:pt x="58502" y="68263"/>
                  <a:pt x="54533" y="80169"/>
                  <a:pt x="54533" y="80169"/>
                </a:cubicBezTo>
                <a:cubicBezTo>
                  <a:pt x="54533" y="80169"/>
                  <a:pt x="54533" y="84138"/>
                  <a:pt x="52549" y="84138"/>
                </a:cubicBezTo>
                <a:cubicBezTo>
                  <a:pt x="50564" y="84138"/>
                  <a:pt x="50564" y="82154"/>
                  <a:pt x="50564" y="80169"/>
                </a:cubicBezTo>
                <a:cubicBezTo>
                  <a:pt x="50564" y="78185"/>
                  <a:pt x="54533" y="74216"/>
                  <a:pt x="54533" y="74216"/>
                </a:cubicBezTo>
                <a:close/>
                <a:moveTo>
                  <a:pt x="22216" y="63500"/>
                </a:moveTo>
                <a:cubicBezTo>
                  <a:pt x="24257" y="63500"/>
                  <a:pt x="28339" y="69623"/>
                  <a:pt x="26298" y="71664"/>
                </a:cubicBezTo>
                <a:cubicBezTo>
                  <a:pt x="26298" y="71664"/>
                  <a:pt x="26298" y="77788"/>
                  <a:pt x="26298" y="77788"/>
                </a:cubicBezTo>
                <a:cubicBezTo>
                  <a:pt x="28339" y="81870"/>
                  <a:pt x="28339" y="81870"/>
                  <a:pt x="28339" y="81870"/>
                </a:cubicBezTo>
                <a:cubicBezTo>
                  <a:pt x="28339" y="81870"/>
                  <a:pt x="26298" y="85952"/>
                  <a:pt x="26298" y="87993"/>
                </a:cubicBezTo>
                <a:cubicBezTo>
                  <a:pt x="26298" y="90034"/>
                  <a:pt x="26298" y="90034"/>
                  <a:pt x="22216" y="90034"/>
                </a:cubicBezTo>
                <a:cubicBezTo>
                  <a:pt x="20175" y="90034"/>
                  <a:pt x="20175" y="90034"/>
                  <a:pt x="20175" y="90034"/>
                </a:cubicBezTo>
                <a:cubicBezTo>
                  <a:pt x="18133" y="90034"/>
                  <a:pt x="14051" y="92075"/>
                  <a:pt x="14051" y="87993"/>
                </a:cubicBezTo>
                <a:cubicBezTo>
                  <a:pt x="14051" y="83911"/>
                  <a:pt x="14051" y="79829"/>
                  <a:pt x="16092" y="77788"/>
                </a:cubicBezTo>
                <a:cubicBezTo>
                  <a:pt x="16092" y="73705"/>
                  <a:pt x="20175" y="71664"/>
                  <a:pt x="20175" y="71664"/>
                </a:cubicBezTo>
                <a:cubicBezTo>
                  <a:pt x="20175" y="69623"/>
                  <a:pt x="20175" y="67582"/>
                  <a:pt x="20175" y="67582"/>
                </a:cubicBezTo>
                <a:cubicBezTo>
                  <a:pt x="20175" y="67582"/>
                  <a:pt x="18133" y="63500"/>
                  <a:pt x="22216" y="63500"/>
                </a:cubicBezTo>
                <a:close/>
                <a:moveTo>
                  <a:pt x="52797" y="53817"/>
                </a:moveTo>
                <a:cubicBezTo>
                  <a:pt x="53541" y="53817"/>
                  <a:pt x="54533" y="54293"/>
                  <a:pt x="54533" y="54293"/>
                </a:cubicBezTo>
                <a:cubicBezTo>
                  <a:pt x="54533" y="54293"/>
                  <a:pt x="60486" y="58103"/>
                  <a:pt x="60486" y="56198"/>
                </a:cubicBezTo>
                <a:cubicBezTo>
                  <a:pt x="62471" y="54293"/>
                  <a:pt x="64455" y="56198"/>
                  <a:pt x="64455" y="56198"/>
                </a:cubicBezTo>
                <a:cubicBezTo>
                  <a:pt x="64455" y="56198"/>
                  <a:pt x="62471" y="58103"/>
                  <a:pt x="64455" y="58103"/>
                </a:cubicBezTo>
                <a:cubicBezTo>
                  <a:pt x="66439" y="58103"/>
                  <a:pt x="72393" y="65723"/>
                  <a:pt x="72393" y="65723"/>
                </a:cubicBezTo>
                <a:cubicBezTo>
                  <a:pt x="72393" y="65723"/>
                  <a:pt x="72393" y="71438"/>
                  <a:pt x="72393" y="73343"/>
                </a:cubicBezTo>
                <a:cubicBezTo>
                  <a:pt x="74377" y="77153"/>
                  <a:pt x="70408" y="79058"/>
                  <a:pt x="70408" y="79058"/>
                </a:cubicBezTo>
                <a:cubicBezTo>
                  <a:pt x="70408" y="79058"/>
                  <a:pt x="66439" y="80963"/>
                  <a:pt x="66439" y="79058"/>
                </a:cubicBezTo>
                <a:cubicBezTo>
                  <a:pt x="64455" y="77153"/>
                  <a:pt x="66439" y="75248"/>
                  <a:pt x="66439" y="75248"/>
                </a:cubicBezTo>
                <a:cubicBezTo>
                  <a:pt x="68424" y="75248"/>
                  <a:pt x="68424" y="73343"/>
                  <a:pt x="68424" y="71438"/>
                </a:cubicBezTo>
                <a:cubicBezTo>
                  <a:pt x="66439" y="71438"/>
                  <a:pt x="68424" y="69533"/>
                  <a:pt x="66439" y="69533"/>
                </a:cubicBezTo>
                <a:cubicBezTo>
                  <a:pt x="66439" y="67628"/>
                  <a:pt x="66439" y="67628"/>
                  <a:pt x="66439" y="65723"/>
                </a:cubicBezTo>
                <a:cubicBezTo>
                  <a:pt x="66439" y="63818"/>
                  <a:pt x="62471" y="63818"/>
                  <a:pt x="62471" y="63818"/>
                </a:cubicBezTo>
                <a:cubicBezTo>
                  <a:pt x="62471" y="63818"/>
                  <a:pt x="58502" y="63818"/>
                  <a:pt x="56517" y="61913"/>
                </a:cubicBezTo>
                <a:cubicBezTo>
                  <a:pt x="54533" y="60008"/>
                  <a:pt x="52549" y="58103"/>
                  <a:pt x="52549" y="56198"/>
                </a:cubicBezTo>
                <a:cubicBezTo>
                  <a:pt x="51556" y="54293"/>
                  <a:pt x="52052" y="53817"/>
                  <a:pt x="52797" y="53817"/>
                </a:cubicBezTo>
                <a:close/>
                <a:moveTo>
                  <a:pt x="10208" y="9790"/>
                </a:moveTo>
                <a:cubicBezTo>
                  <a:pt x="12213" y="7938"/>
                  <a:pt x="14218" y="9790"/>
                  <a:pt x="14218" y="11642"/>
                </a:cubicBezTo>
                <a:cubicBezTo>
                  <a:pt x="16223" y="11642"/>
                  <a:pt x="20234" y="13494"/>
                  <a:pt x="20234" y="11642"/>
                </a:cubicBezTo>
                <a:cubicBezTo>
                  <a:pt x="20234" y="11642"/>
                  <a:pt x="22239" y="11642"/>
                  <a:pt x="24245" y="11642"/>
                </a:cubicBezTo>
                <a:cubicBezTo>
                  <a:pt x="26250" y="13494"/>
                  <a:pt x="26250" y="11642"/>
                  <a:pt x="32266" y="11642"/>
                </a:cubicBezTo>
                <a:cubicBezTo>
                  <a:pt x="36276" y="9790"/>
                  <a:pt x="32266" y="13494"/>
                  <a:pt x="32266" y="15346"/>
                </a:cubicBezTo>
                <a:cubicBezTo>
                  <a:pt x="30260" y="17198"/>
                  <a:pt x="26250" y="15346"/>
                  <a:pt x="24245" y="15346"/>
                </a:cubicBezTo>
                <a:cubicBezTo>
                  <a:pt x="24245" y="13494"/>
                  <a:pt x="16223" y="15346"/>
                  <a:pt x="12213" y="17198"/>
                </a:cubicBezTo>
                <a:cubicBezTo>
                  <a:pt x="8202" y="17198"/>
                  <a:pt x="6197" y="19050"/>
                  <a:pt x="2187" y="17198"/>
                </a:cubicBezTo>
                <a:cubicBezTo>
                  <a:pt x="-1824" y="15346"/>
                  <a:pt x="181" y="13494"/>
                  <a:pt x="4192" y="13494"/>
                </a:cubicBezTo>
                <a:cubicBezTo>
                  <a:pt x="8202" y="11642"/>
                  <a:pt x="10208" y="9790"/>
                  <a:pt x="10208" y="9790"/>
                </a:cubicBezTo>
                <a:close/>
                <a:moveTo>
                  <a:pt x="37864" y="9525"/>
                </a:moveTo>
                <a:cubicBezTo>
                  <a:pt x="37864" y="9525"/>
                  <a:pt x="44413" y="11530"/>
                  <a:pt x="44413" y="11530"/>
                </a:cubicBezTo>
                <a:cubicBezTo>
                  <a:pt x="44413" y="11530"/>
                  <a:pt x="48779" y="11530"/>
                  <a:pt x="50961" y="13536"/>
                </a:cubicBezTo>
                <a:cubicBezTo>
                  <a:pt x="55327" y="13536"/>
                  <a:pt x="53144" y="17546"/>
                  <a:pt x="53144" y="19551"/>
                </a:cubicBezTo>
                <a:cubicBezTo>
                  <a:pt x="50961" y="21557"/>
                  <a:pt x="50961" y="23562"/>
                  <a:pt x="50961" y="25567"/>
                </a:cubicBezTo>
                <a:cubicBezTo>
                  <a:pt x="53144" y="25567"/>
                  <a:pt x="50961" y="27572"/>
                  <a:pt x="50961" y="29578"/>
                </a:cubicBezTo>
                <a:cubicBezTo>
                  <a:pt x="50961" y="31583"/>
                  <a:pt x="46596" y="37599"/>
                  <a:pt x="46596" y="43615"/>
                </a:cubicBezTo>
                <a:cubicBezTo>
                  <a:pt x="46596" y="47625"/>
                  <a:pt x="44413" y="45620"/>
                  <a:pt x="44413" y="45620"/>
                </a:cubicBezTo>
                <a:cubicBezTo>
                  <a:pt x="44413" y="45620"/>
                  <a:pt x="40047" y="41609"/>
                  <a:pt x="40047" y="39604"/>
                </a:cubicBezTo>
                <a:cubicBezTo>
                  <a:pt x="37864" y="35594"/>
                  <a:pt x="40047" y="35594"/>
                  <a:pt x="42230" y="33588"/>
                </a:cubicBezTo>
                <a:cubicBezTo>
                  <a:pt x="44413" y="31583"/>
                  <a:pt x="44413" y="31583"/>
                  <a:pt x="46596" y="27572"/>
                </a:cubicBezTo>
                <a:cubicBezTo>
                  <a:pt x="46596" y="25567"/>
                  <a:pt x="48779" y="25567"/>
                  <a:pt x="48779" y="23562"/>
                </a:cubicBezTo>
                <a:cubicBezTo>
                  <a:pt x="48779" y="21557"/>
                  <a:pt x="48779" y="19551"/>
                  <a:pt x="46596" y="17546"/>
                </a:cubicBezTo>
                <a:cubicBezTo>
                  <a:pt x="46596" y="15541"/>
                  <a:pt x="42230" y="15541"/>
                  <a:pt x="40047" y="13536"/>
                </a:cubicBezTo>
                <a:cubicBezTo>
                  <a:pt x="37864" y="13536"/>
                  <a:pt x="37864" y="11530"/>
                  <a:pt x="37864" y="9525"/>
                </a:cubicBezTo>
                <a:close/>
                <a:moveTo>
                  <a:pt x="24634" y="1588"/>
                </a:moveTo>
                <a:cubicBezTo>
                  <a:pt x="24634" y="1588"/>
                  <a:pt x="26751" y="1588"/>
                  <a:pt x="26751" y="6350"/>
                </a:cubicBezTo>
                <a:cubicBezTo>
                  <a:pt x="24634" y="6350"/>
                  <a:pt x="24634" y="6350"/>
                  <a:pt x="22518" y="6350"/>
                </a:cubicBezTo>
                <a:cubicBezTo>
                  <a:pt x="20401" y="3969"/>
                  <a:pt x="24634" y="1588"/>
                  <a:pt x="24634" y="1588"/>
                </a:cubicBezTo>
                <a:close/>
                <a:moveTo>
                  <a:pt x="30984" y="0"/>
                </a:moveTo>
                <a:cubicBezTo>
                  <a:pt x="30984" y="0"/>
                  <a:pt x="30984" y="1587"/>
                  <a:pt x="30984" y="1587"/>
                </a:cubicBezTo>
                <a:cubicBezTo>
                  <a:pt x="33101" y="3175"/>
                  <a:pt x="28868" y="3175"/>
                  <a:pt x="28868" y="3175"/>
                </a:cubicBezTo>
                <a:cubicBezTo>
                  <a:pt x="26751" y="1587"/>
                  <a:pt x="30984" y="0"/>
                  <a:pt x="30984"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4" name="Puerto Rico"/>
          <p:cNvSpPr>
            <a:spLocks/>
          </p:cNvSpPr>
          <p:nvPr/>
        </p:nvSpPr>
        <p:spPr bwMode="auto">
          <a:xfrm>
            <a:off x="4391512" y="3464624"/>
            <a:ext cx="57162" cy="21230"/>
          </a:xfrm>
          <a:custGeom>
            <a:avLst/>
            <a:gdLst>
              <a:gd name="T0" fmla="*/ 2 w 28"/>
              <a:gd name="T1" fmla="*/ 3 h 11"/>
              <a:gd name="T2" fmla="*/ 3 w 28"/>
              <a:gd name="T3" fmla="*/ 1 h 11"/>
              <a:gd name="T4" fmla="*/ 8 w 28"/>
              <a:gd name="T5" fmla="*/ 1 h 11"/>
              <a:gd name="T6" fmla="*/ 14 w 28"/>
              <a:gd name="T7" fmla="*/ 1 h 11"/>
              <a:gd name="T8" fmla="*/ 19 w 28"/>
              <a:gd name="T9" fmla="*/ 3 h 11"/>
              <a:gd name="T10" fmla="*/ 23 w 28"/>
              <a:gd name="T11" fmla="*/ 3 h 11"/>
              <a:gd name="T12" fmla="*/ 25 w 28"/>
              <a:gd name="T13" fmla="*/ 6 h 11"/>
              <a:gd name="T14" fmla="*/ 27 w 28"/>
              <a:gd name="T15" fmla="*/ 8 h 11"/>
              <a:gd name="T16" fmla="*/ 25 w 28"/>
              <a:gd name="T17" fmla="*/ 9 h 11"/>
              <a:gd name="T18" fmla="*/ 22 w 28"/>
              <a:gd name="T19" fmla="*/ 9 h 11"/>
              <a:gd name="T20" fmla="*/ 17 w 28"/>
              <a:gd name="T21" fmla="*/ 9 h 11"/>
              <a:gd name="T22" fmla="*/ 13 w 28"/>
              <a:gd name="T23" fmla="*/ 9 h 11"/>
              <a:gd name="T24" fmla="*/ 11 w 28"/>
              <a:gd name="T25" fmla="*/ 10 h 11"/>
              <a:gd name="T26" fmla="*/ 9 w 28"/>
              <a:gd name="T27" fmla="*/ 10 h 11"/>
              <a:gd name="T28" fmla="*/ 7 w 28"/>
              <a:gd name="T29" fmla="*/ 9 h 11"/>
              <a:gd name="T30" fmla="*/ 4 w 28"/>
              <a:gd name="T31" fmla="*/ 9 h 11"/>
              <a:gd name="T32" fmla="*/ 2 w 28"/>
              <a:gd name="T33" fmla="*/ 9 h 11"/>
              <a:gd name="T34" fmla="*/ 1 w 28"/>
              <a:gd name="T35" fmla="*/ 5 h 11"/>
              <a:gd name="T36" fmla="*/ 2 w 28"/>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1">
                <a:moveTo>
                  <a:pt x="2" y="3"/>
                </a:moveTo>
                <a:cubicBezTo>
                  <a:pt x="2" y="3"/>
                  <a:pt x="1" y="1"/>
                  <a:pt x="3" y="1"/>
                </a:cubicBezTo>
                <a:cubicBezTo>
                  <a:pt x="4" y="1"/>
                  <a:pt x="7" y="1"/>
                  <a:pt x="8" y="1"/>
                </a:cubicBezTo>
                <a:cubicBezTo>
                  <a:pt x="10" y="1"/>
                  <a:pt x="12" y="0"/>
                  <a:pt x="14" y="1"/>
                </a:cubicBezTo>
                <a:cubicBezTo>
                  <a:pt x="15" y="2"/>
                  <a:pt x="18" y="3"/>
                  <a:pt x="19" y="3"/>
                </a:cubicBezTo>
                <a:cubicBezTo>
                  <a:pt x="20" y="2"/>
                  <a:pt x="23" y="1"/>
                  <a:pt x="23" y="3"/>
                </a:cubicBezTo>
                <a:cubicBezTo>
                  <a:pt x="24" y="6"/>
                  <a:pt x="24" y="5"/>
                  <a:pt x="25" y="6"/>
                </a:cubicBezTo>
                <a:cubicBezTo>
                  <a:pt x="26" y="7"/>
                  <a:pt x="28" y="7"/>
                  <a:pt x="27" y="8"/>
                </a:cubicBezTo>
                <a:cubicBezTo>
                  <a:pt x="26" y="10"/>
                  <a:pt x="25" y="9"/>
                  <a:pt x="25" y="9"/>
                </a:cubicBezTo>
                <a:cubicBezTo>
                  <a:pt x="25" y="9"/>
                  <a:pt x="23" y="7"/>
                  <a:pt x="22" y="9"/>
                </a:cubicBezTo>
                <a:cubicBezTo>
                  <a:pt x="21" y="10"/>
                  <a:pt x="17" y="9"/>
                  <a:pt x="17" y="9"/>
                </a:cubicBezTo>
                <a:cubicBezTo>
                  <a:pt x="13" y="9"/>
                  <a:pt x="13" y="9"/>
                  <a:pt x="13" y="9"/>
                </a:cubicBezTo>
                <a:cubicBezTo>
                  <a:pt x="13" y="9"/>
                  <a:pt x="11" y="9"/>
                  <a:pt x="11" y="10"/>
                </a:cubicBezTo>
                <a:cubicBezTo>
                  <a:pt x="10" y="11"/>
                  <a:pt x="9" y="11"/>
                  <a:pt x="9" y="10"/>
                </a:cubicBezTo>
                <a:cubicBezTo>
                  <a:pt x="9" y="9"/>
                  <a:pt x="7" y="9"/>
                  <a:pt x="7" y="9"/>
                </a:cubicBezTo>
                <a:cubicBezTo>
                  <a:pt x="7" y="9"/>
                  <a:pt x="4" y="8"/>
                  <a:pt x="4" y="9"/>
                </a:cubicBezTo>
                <a:cubicBezTo>
                  <a:pt x="3" y="11"/>
                  <a:pt x="2" y="10"/>
                  <a:pt x="2" y="9"/>
                </a:cubicBezTo>
                <a:cubicBezTo>
                  <a:pt x="1" y="7"/>
                  <a:pt x="0" y="5"/>
                  <a:pt x="1" y="5"/>
                </a:cubicBezTo>
                <a:cubicBezTo>
                  <a:pt x="2" y="4"/>
                  <a:pt x="2" y="3"/>
                  <a:pt x="2" y="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5" name="TRINIDAD AND TOBAGO"/>
          <p:cNvSpPr>
            <a:spLocks/>
          </p:cNvSpPr>
          <p:nvPr/>
        </p:nvSpPr>
        <p:spPr bwMode="auto">
          <a:xfrm>
            <a:off x="4544578" y="3700970"/>
            <a:ext cx="24278" cy="41296"/>
          </a:xfrm>
          <a:custGeom>
            <a:avLst/>
            <a:gdLst>
              <a:gd name="connsiteX0" fmla="*/ 11236 w 23599"/>
              <a:gd name="connsiteY0" fmla="*/ 21091 h 40141"/>
              <a:gd name="connsiteX1" fmla="*/ 15364 w 23599"/>
              <a:gd name="connsiteY1" fmla="*/ 21091 h 40141"/>
              <a:gd name="connsiteX2" fmla="*/ 19491 w 23599"/>
              <a:gd name="connsiteY2" fmla="*/ 24901 h 40141"/>
              <a:gd name="connsiteX3" fmla="*/ 17427 w 23599"/>
              <a:gd name="connsiteY3" fmla="*/ 28711 h 40141"/>
              <a:gd name="connsiteX4" fmla="*/ 17427 w 23599"/>
              <a:gd name="connsiteY4" fmla="*/ 32521 h 40141"/>
              <a:gd name="connsiteX5" fmla="*/ 15364 w 23599"/>
              <a:gd name="connsiteY5" fmla="*/ 36331 h 40141"/>
              <a:gd name="connsiteX6" fmla="*/ 11236 w 23599"/>
              <a:gd name="connsiteY6" fmla="*/ 38236 h 40141"/>
              <a:gd name="connsiteX7" fmla="*/ 5044 w 23599"/>
              <a:gd name="connsiteY7" fmla="*/ 40141 h 40141"/>
              <a:gd name="connsiteX8" fmla="*/ 917 w 23599"/>
              <a:gd name="connsiteY8" fmla="*/ 40141 h 40141"/>
              <a:gd name="connsiteX9" fmla="*/ 917 w 23599"/>
              <a:gd name="connsiteY9" fmla="*/ 28711 h 40141"/>
              <a:gd name="connsiteX10" fmla="*/ 11236 w 23599"/>
              <a:gd name="connsiteY10" fmla="*/ 21091 h 40141"/>
              <a:gd name="connsiteX11" fmla="*/ 16395 w 23599"/>
              <a:gd name="connsiteY11" fmla="*/ 142 h 40141"/>
              <a:gd name="connsiteX12" fmla="*/ 20443 w 23599"/>
              <a:gd name="connsiteY12" fmla="*/ 907 h 40141"/>
              <a:gd name="connsiteX13" fmla="*/ 22348 w 23599"/>
              <a:gd name="connsiteY13" fmla="*/ 7030 h 40141"/>
              <a:gd name="connsiteX14" fmla="*/ 20443 w 23599"/>
              <a:gd name="connsiteY14" fmla="*/ 11112 h 40141"/>
              <a:gd name="connsiteX15" fmla="*/ 20443 w 23599"/>
              <a:gd name="connsiteY15" fmla="*/ 13153 h 40141"/>
              <a:gd name="connsiteX16" fmla="*/ 18538 w 23599"/>
              <a:gd name="connsiteY16" fmla="*/ 13153 h 40141"/>
              <a:gd name="connsiteX17" fmla="*/ 16633 w 23599"/>
              <a:gd name="connsiteY17" fmla="*/ 7030 h 40141"/>
              <a:gd name="connsiteX18" fmla="*/ 16633 w 23599"/>
              <a:gd name="connsiteY18" fmla="*/ 907 h 40141"/>
              <a:gd name="connsiteX19" fmla="*/ 16395 w 23599"/>
              <a:gd name="connsiteY19" fmla="*/ 142 h 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599" h="40141">
                <a:moveTo>
                  <a:pt x="11236" y="21091"/>
                </a:moveTo>
                <a:cubicBezTo>
                  <a:pt x="11236" y="21091"/>
                  <a:pt x="13299" y="21091"/>
                  <a:pt x="15364" y="21091"/>
                </a:cubicBezTo>
                <a:cubicBezTo>
                  <a:pt x="19491" y="21091"/>
                  <a:pt x="19491" y="21091"/>
                  <a:pt x="19491" y="24901"/>
                </a:cubicBezTo>
                <a:cubicBezTo>
                  <a:pt x="19491" y="26806"/>
                  <a:pt x="19491" y="28711"/>
                  <a:pt x="17427" y="28711"/>
                </a:cubicBezTo>
                <a:cubicBezTo>
                  <a:pt x="15364" y="28711"/>
                  <a:pt x="17427" y="30616"/>
                  <a:pt x="17427" y="32521"/>
                </a:cubicBezTo>
                <a:cubicBezTo>
                  <a:pt x="19491" y="34426"/>
                  <a:pt x="15364" y="36331"/>
                  <a:pt x="15364" y="36331"/>
                </a:cubicBezTo>
                <a:cubicBezTo>
                  <a:pt x="13299" y="36331"/>
                  <a:pt x="11236" y="38236"/>
                  <a:pt x="11236" y="38236"/>
                </a:cubicBezTo>
                <a:cubicBezTo>
                  <a:pt x="11236" y="38236"/>
                  <a:pt x="7108" y="40141"/>
                  <a:pt x="5044" y="40141"/>
                </a:cubicBezTo>
                <a:cubicBezTo>
                  <a:pt x="2980" y="38236"/>
                  <a:pt x="2980" y="40141"/>
                  <a:pt x="917" y="40141"/>
                </a:cubicBezTo>
                <a:cubicBezTo>
                  <a:pt x="-1147" y="38236"/>
                  <a:pt x="917" y="34426"/>
                  <a:pt x="917" y="28711"/>
                </a:cubicBezTo>
                <a:cubicBezTo>
                  <a:pt x="917" y="22996"/>
                  <a:pt x="11236" y="21091"/>
                  <a:pt x="11236" y="21091"/>
                </a:cubicBezTo>
                <a:close/>
                <a:moveTo>
                  <a:pt x="16395" y="142"/>
                </a:moveTo>
                <a:cubicBezTo>
                  <a:pt x="16633" y="-113"/>
                  <a:pt x="17586" y="-113"/>
                  <a:pt x="20443" y="907"/>
                </a:cubicBezTo>
                <a:cubicBezTo>
                  <a:pt x="24253" y="2948"/>
                  <a:pt x="24253" y="7030"/>
                  <a:pt x="22348" y="7030"/>
                </a:cubicBezTo>
                <a:cubicBezTo>
                  <a:pt x="22348" y="9071"/>
                  <a:pt x="20443" y="9071"/>
                  <a:pt x="20443" y="11112"/>
                </a:cubicBezTo>
                <a:cubicBezTo>
                  <a:pt x="20443" y="13153"/>
                  <a:pt x="20443" y="13153"/>
                  <a:pt x="20443" y="13153"/>
                </a:cubicBezTo>
                <a:cubicBezTo>
                  <a:pt x="18538" y="13153"/>
                  <a:pt x="18538" y="13153"/>
                  <a:pt x="18538" y="13153"/>
                </a:cubicBezTo>
                <a:cubicBezTo>
                  <a:pt x="18538" y="13153"/>
                  <a:pt x="18538" y="9071"/>
                  <a:pt x="16633" y="7030"/>
                </a:cubicBezTo>
                <a:cubicBezTo>
                  <a:pt x="14728" y="4989"/>
                  <a:pt x="16633" y="907"/>
                  <a:pt x="16633" y="907"/>
                </a:cubicBezTo>
                <a:cubicBezTo>
                  <a:pt x="16633" y="907"/>
                  <a:pt x="16157" y="397"/>
                  <a:pt x="16395" y="142"/>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6" name="Barbados St Lucia Dominica"/>
          <p:cNvSpPr>
            <a:spLocks/>
          </p:cNvSpPr>
          <p:nvPr/>
        </p:nvSpPr>
        <p:spPr bwMode="auto">
          <a:xfrm>
            <a:off x="4448673" y="3453192"/>
            <a:ext cx="144945" cy="240080"/>
          </a:xfrm>
          <a:custGeom>
            <a:avLst/>
            <a:gdLst>
              <a:gd name="connsiteX0" fmla="*/ 10319 w 140891"/>
              <a:gd name="connsiteY0" fmla="*/ 230187 h 233363"/>
              <a:gd name="connsiteX1" fmla="*/ 14288 w 140891"/>
              <a:gd name="connsiteY1" fmla="*/ 231775 h 233363"/>
              <a:gd name="connsiteX2" fmla="*/ 10319 w 140891"/>
              <a:gd name="connsiteY2" fmla="*/ 233363 h 233363"/>
              <a:gd name="connsiteX3" fmla="*/ 6350 w 140891"/>
              <a:gd name="connsiteY3" fmla="*/ 231775 h 233363"/>
              <a:gd name="connsiteX4" fmla="*/ 10319 w 140891"/>
              <a:gd name="connsiteY4" fmla="*/ 230187 h 233363"/>
              <a:gd name="connsiteX5" fmla="*/ 86956 w 140891"/>
              <a:gd name="connsiteY5" fmla="*/ 219154 h 233363"/>
              <a:gd name="connsiteX6" fmla="*/ 84456 w 140891"/>
              <a:gd name="connsiteY6" fmla="*/ 221932 h 233363"/>
              <a:gd name="connsiteX7" fmla="*/ 80011 w 140891"/>
              <a:gd name="connsiteY7" fmla="*/ 224154 h 233363"/>
              <a:gd name="connsiteX8" fmla="*/ 84456 w 140891"/>
              <a:gd name="connsiteY8" fmla="*/ 219710 h 233363"/>
              <a:gd name="connsiteX9" fmla="*/ 86956 w 140891"/>
              <a:gd name="connsiteY9" fmla="*/ 219154 h 233363"/>
              <a:gd name="connsiteX10" fmla="*/ 86783 w 140891"/>
              <a:gd name="connsiteY10" fmla="*/ 207962 h 233363"/>
              <a:gd name="connsiteX11" fmla="*/ 84667 w 140891"/>
              <a:gd name="connsiteY11" fmla="*/ 212195 h 233363"/>
              <a:gd name="connsiteX12" fmla="*/ 86783 w 140891"/>
              <a:gd name="connsiteY12" fmla="*/ 207962 h 233363"/>
              <a:gd name="connsiteX13" fmla="*/ 88900 w 140891"/>
              <a:gd name="connsiteY13" fmla="*/ 202142 h 233363"/>
              <a:gd name="connsiteX14" fmla="*/ 90488 w 140891"/>
              <a:gd name="connsiteY14" fmla="*/ 202142 h 233363"/>
              <a:gd name="connsiteX15" fmla="*/ 88900 w 140891"/>
              <a:gd name="connsiteY15" fmla="*/ 202142 h 233363"/>
              <a:gd name="connsiteX16" fmla="*/ 92605 w 140891"/>
              <a:gd name="connsiteY16" fmla="*/ 197379 h 233363"/>
              <a:gd name="connsiteX17" fmla="*/ 92605 w 140891"/>
              <a:gd name="connsiteY17" fmla="*/ 199495 h 233363"/>
              <a:gd name="connsiteX18" fmla="*/ 92605 w 140891"/>
              <a:gd name="connsiteY18" fmla="*/ 197379 h 233363"/>
              <a:gd name="connsiteX19" fmla="*/ 92075 w 140891"/>
              <a:gd name="connsiteY19" fmla="*/ 190500 h 233363"/>
              <a:gd name="connsiteX20" fmla="*/ 93663 w 140891"/>
              <a:gd name="connsiteY20" fmla="*/ 193675 h 233363"/>
              <a:gd name="connsiteX21" fmla="*/ 88900 w 140891"/>
              <a:gd name="connsiteY21" fmla="*/ 193675 h 233363"/>
              <a:gd name="connsiteX22" fmla="*/ 92075 w 140891"/>
              <a:gd name="connsiteY22" fmla="*/ 190500 h 233363"/>
              <a:gd name="connsiteX23" fmla="*/ 139700 w 140891"/>
              <a:gd name="connsiteY23" fmla="*/ 186002 h 233363"/>
              <a:gd name="connsiteX24" fmla="*/ 139700 w 140891"/>
              <a:gd name="connsiteY24" fmla="*/ 193410 h 233363"/>
              <a:gd name="connsiteX25" fmla="*/ 136525 w 140891"/>
              <a:gd name="connsiteY25" fmla="*/ 187854 h 233363"/>
              <a:gd name="connsiteX26" fmla="*/ 139700 w 140891"/>
              <a:gd name="connsiteY26" fmla="*/ 186002 h 233363"/>
              <a:gd name="connsiteX27" fmla="*/ 98277 w 140891"/>
              <a:gd name="connsiteY27" fmla="*/ 184050 h 233363"/>
              <a:gd name="connsiteX28" fmla="*/ 98029 w 140891"/>
              <a:gd name="connsiteY28" fmla="*/ 186531 h 233363"/>
              <a:gd name="connsiteX29" fmla="*/ 94060 w 140891"/>
              <a:gd name="connsiteY29" fmla="*/ 188515 h 233363"/>
              <a:gd name="connsiteX30" fmla="*/ 94060 w 140891"/>
              <a:gd name="connsiteY30" fmla="*/ 184546 h 233363"/>
              <a:gd name="connsiteX31" fmla="*/ 98277 w 140891"/>
              <a:gd name="connsiteY31" fmla="*/ 184050 h 233363"/>
              <a:gd name="connsiteX32" fmla="*/ 104458 w 140891"/>
              <a:gd name="connsiteY32" fmla="*/ 157560 h 233363"/>
              <a:gd name="connsiteX33" fmla="*/ 104458 w 140891"/>
              <a:gd name="connsiteY33" fmla="*/ 163513 h 233363"/>
              <a:gd name="connsiteX34" fmla="*/ 102553 w 140891"/>
              <a:gd name="connsiteY34" fmla="*/ 171450 h 233363"/>
              <a:gd name="connsiteX35" fmla="*/ 98743 w 140891"/>
              <a:gd name="connsiteY35" fmla="*/ 163513 h 233363"/>
              <a:gd name="connsiteX36" fmla="*/ 102553 w 140891"/>
              <a:gd name="connsiteY36" fmla="*/ 159544 h 233363"/>
              <a:gd name="connsiteX37" fmla="*/ 104458 w 140891"/>
              <a:gd name="connsiteY37" fmla="*/ 157560 h 233363"/>
              <a:gd name="connsiteX38" fmla="*/ 107865 w 140891"/>
              <a:gd name="connsiteY38" fmla="*/ 135632 h 233363"/>
              <a:gd name="connsiteX39" fmla="*/ 106590 w 140891"/>
              <a:gd name="connsiteY39" fmla="*/ 140017 h 233363"/>
              <a:gd name="connsiteX40" fmla="*/ 108631 w 140891"/>
              <a:gd name="connsiteY40" fmla="*/ 144144 h 233363"/>
              <a:gd name="connsiteX41" fmla="*/ 110672 w 140891"/>
              <a:gd name="connsiteY41" fmla="*/ 150335 h 233363"/>
              <a:gd name="connsiteX42" fmla="*/ 102507 w 140891"/>
              <a:gd name="connsiteY42" fmla="*/ 146208 h 233363"/>
              <a:gd name="connsiteX43" fmla="*/ 104549 w 140891"/>
              <a:gd name="connsiteY43" fmla="*/ 135890 h 233363"/>
              <a:gd name="connsiteX44" fmla="*/ 107865 w 140891"/>
              <a:gd name="connsiteY44" fmla="*/ 135632 h 233363"/>
              <a:gd name="connsiteX45" fmla="*/ 87948 w 140891"/>
              <a:gd name="connsiteY45" fmla="*/ 112712 h 233363"/>
              <a:gd name="connsiteX46" fmla="*/ 92393 w 140891"/>
              <a:gd name="connsiteY46" fmla="*/ 114564 h 233363"/>
              <a:gd name="connsiteX47" fmla="*/ 94616 w 140891"/>
              <a:gd name="connsiteY47" fmla="*/ 118268 h 233363"/>
              <a:gd name="connsiteX48" fmla="*/ 92393 w 140891"/>
              <a:gd name="connsiteY48" fmla="*/ 121972 h 233363"/>
              <a:gd name="connsiteX49" fmla="*/ 90170 w 140891"/>
              <a:gd name="connsiteY49" fmla="*/ 123824 h 233363"/>
              <a:gd name="connsiteX50" fmla="*/ 87948 w 140891"/>
              <a:gd name="connsiteY50" fmla="*/ 120120 h 233363"/>
              <a:gd name="connsiteX51" fmla="*/ 85725 w 140891"/>
              <a:gd name="connsiteY51" fmla="*/ 116416 h 233363"/>
              <a:gd name="connsiteX52" fmla="*/ 87948 w 140891"/>
              <a:gd name="connsiteY52" fmla="*/ 112712 h 233363"/>
              <a:gd name="connsiteX53" fmla="*/ 93663 w 140891"/>
              <a:gd name="connsiteY53" fmla="*/ 104775 h 233363"/>
              <a:gd name="connsiteX54" fmla="*/ 98426 w 140891"/>
              <a:gd name="connsiteY54" fmla="*/ 104775 h 233363"/>
              <a:gd name="connsiteX55" fmla="*/ 93663 w 140891"/>
              <a:gd name="connsiteY55" fmla="*/ 106362 h 233363"/>
              <a:gd name="connsiteX56" fmla="*/ 93663 w 140891"/>
              <a:gd name="connsiteY56" fmla="*/ 104775 h 233363"/>
              <a:gd name="connsiteX57" fmla="*/ 90170 w 140891"/>
              <a:gd name="connsiteY57" fmla="*/ 82550 h 233363"/>
              <a:gd name="connsiteX58" fmla="*/ 93980 w 140891"/>
              <a:gd name="connsiteY58" fmla="*/ 84490 h 233363"/>
              <a:gd name="connsiteX59" fmla="*/ 97790 w 140891"/>
              <a:gd name="connsiteY59" fmla="*/ 86431 h 233363"/>
              <a:gd name="connsiteX60" fmla="*/ 101600 w 140891"/>
              <a:gd name="connsiteY60" fmla="*/ 88371 h 233363"/>
              <a:gd name="connsiteX61" fmla="*/ 97790 w 140891"/>
              <a:gd name="connsiteY61" fmla="*/ 90311 h 233363"/>
              <a:gd name="connsiteX62" fmla="*/ 95885 w 140891"/>
              <a:gd name="connsiteY62" fmla="*/ 92251 h 233363"/>
              <a:gd name="connsiteX63" fmla="*/ 92075 w 140891"/>
              <a:gd name="connsiteY63" fmla="*/ 90311 h 233363"/>
              <a:gd name="connsiteX64" fmla="*/ 90170 w 140891"/>
              <a:gd name="connsiteY64" fmla="*/ 90311 h 233363"/>
              <a:gd name="connsiteX65" fmla="*/ 88265 w 140891"/>
              <a:gd name="connsiteY65" fmla="*/ 98072 h 233363"/>
              <a:gd name="connsiteX66" fmla="*/ 86360 w 140891"/>
              <a:gd name="connsiteY66" fmla="*/ 100012 h 233363"/>
              <a:gd name="connsiteX67" fmla="*/ 84455 w 140891"/>
              <a:gd name="connsiteY67" fmla="*/ 98072 h 233363"/>
              <a:gd name="connsiteX68" fmla="*/ 82550 w 140891"/>
              <a:gd name="connsiteY68" fmla="*/ 90311 h 233363"/>
              <a:gd name="connsiteX69" fmla="*/ 84455 w 140891"/>
              <a:gd name="connsiteY69" fmla="*/ 88371 h 233363"/>
              <a:gd name="connsiteX70" fmla="*/ 86360 w 140891"/>
              <a:gd name="connsiteY70" fmla="*/ 88371 h 233363"/>
              <a:gd name="connsiteX71" fmla="*/ 88265 w 140891"/>
              <a:gd name="connsiteY71" fmla="*/ 84490 h 233363"/>
              <a:gd name="connsiteX72" fmla="*/ 90170 w 140891"/>
              <a:gd name="connsiteY72" fmla="*/ 82550 h 233363"/>
              <a:gd name="connsiteX73" fmla="*/ 72232 w 140891"/>
              <a:gd name="connsiteY73" fmla="*/ 74612 h 233363"/>
              <a:gd name="connsiteX74" fmla="*/ 76201 w 140891"/>
              <a:gd name="connsiteY74" fmla="*/ 78845 h 233363"/>
              <a:gd name="connsiteX75" fmla="*/ 70248 w 140891"/>
              <a:gd name="connsiteY75" fmla="*/ 78845 h 233363"/>
              <a:gd name="connsiteX76" fmla="*/ 72232 w 140891"/>
              <a:gd name="connsiteY76" fmla="*/ 74612 h 233363"/>
              <a:gd name="connsiteX77" fmla="*/ 81756 w 140891"/>
              <a:gd name="connsiteY77" fmla="*/ 63400 h 233363"/>
              <a:gd name="connsiteX78" fmla="*/ 84138 w 140891"/>
              <a:gd name="connsiteY78" fmla="*/ 63896 h 233363"/>
              <a:gd name="connsiteX79" fmla="*/ 84138 w 140891"/>
              <a:gd name="connsiteY79" fmla="*/ 69849 h 233363"/>
              <a:gd name="connsiteX80" fmla="*/ 79375 w 140891"/>
              <a:gd name="connsiteY80" fmla="*/ 65881 h 233363"/>
              <a:gd name="connsiteX81" fmla="*/ 81756 w 140891"/>
              <a:gd name="connsiteY81" fmla="*/ 63400 h 233363"/>
              <a:gd name="connsiteX82" fmla="*/ 59532 w 140891"/>
              <a:gd name="connsiteY82" fmla="*/ 60325 h 233363"/>
              <a:gd name="connsiteX83" fmla="*/ 63501 w 140891"/>
              <a:gd name="connsiteY83" fmla="*/ 64558 h 233363"/>
              <a:gd name="connsiteX84" fmla="*/ 57548 w 140891"/>
              <a:gd name="connsiteY84" fmla="*/ 62442 h 233363"/>
              <a:gd name="connsiteX85" fmla="*/ 59532 w 140891"/>
              <a:gd name="connsiteY85" fmla="*/ 60325 h 233363"/>
              <a:gd name="connsiteX86" fmla="*/ 55960 w 140891"/>
              <a:gd name="connsiteY86" fmla="*/ 53975 h 233363"/>
              <a:gd name="connsiteX87" fmla="*/ 57944 w 140891"/>
              <a:gd name="connsiteY87" fmla="*/ 56092 h 233363"/>
              <a:gd name="connsiteX88" fmla="*/ 61913 w 140891"/>
              <a:gd name="connsiteY88" fmla="*/ 58208 h 233363"/>
              <a:gd name="connsiteX89" fmla="*/ 55960 w 140891"/>
              <a:gd name="connsiteY89" fmla="*/ 58208 h 233363"/>
              <a:gd name="connsiteX90" fmla="*/ 55960 w 140891"/>
              <a:gd name="connsiteY90" fmla="*/ 53975 h 233363"/>
              <a:gd name="connsiteX91" fmla="*/ 53975 w 140891"/>
              <a:gd name="connsiteY91" fmla="*/ 50800 h 233363"/>
              <a:gd name="connsiteX92" fmla="*/ 53975 w 140891"/>
              <a:gd name="connsiteY92" fmla="*/ 52388 h 233363"/>
              <a:gd name="connsiteX93" fmla="*/ 52388 w 140891"/>
              <a:gd name="connsiteY93" fmla="*/ 52388 h 233363"/>
              <a:gd name="connsiteX94" fmla="*/ 53975 w 140891"/>
              <a:gd name="connsiteY94" fmla="*/ 50800 h 233363"/>
              <a:gd name="connsiteX95" fmla="*/ 81492 w 140891"/>
              <a:gd name="connsiteY95" fmla="*/ 46567 h 233363"/>
              <a:gd name="connsiteX96" fmla="*/ 83608 w 140891"/>
              <a:gd name="connsiteY96" fmla="*/ 46567 h 233363"/>
              <a:gd name="connsiteX97" fmla="*/ 83608 w 140891"/>
              <a:gd name="connsiteY97" fmla="*/ 48683 h 233363"/>
              <a:gd name="connsiteX98" fmla="*/ 85725 w 140891"/>
              <a:gd name="connsiteY98" fmla="*/ 50800 h 233363"/>
              <a:gd name="connsiteX99" fmla="*/ 81492 w 140891"/>
              <a:gd name="connsiteY99" fmla="*/ 46567 h 233363"/>
              <a:gd name="connsiteX100" fmla="*/ 58208 w 140891"/>
              <a:gd name="connsiteY100" fmla="*/ 38100 h 233363"/>
              <a:gd name="connsiteX101" fmla="*/ 60325 w 140891"/>
              <a:gd name="connsiteY101" fmla="*/ 40481 h 233363"/>
              <a:gd name="connsiteX102" fmla="*/ 56092 w 140891"/>
              <a:gd name="connsiteY102" fmla="*/ 42862 h 233363"/>
              <a:gd name="connsiteX103" fmla="*/ 58208 w 140891"/>
              <a:gd name="connsiteY103" fmla="*/ 38100 h 233363"/>
              <a:gd name="connsiteX104" fmla="*/ 3175 w 140891"/>
              <a:gd name="connsiteY104" fmla="*/ 38000 h 233363"/>
              <a:gd name="connsiteX105" fmla="*/ 6350 w 140891"/>
              <a:gd name="connsiteY105" fmla="*/ 38496 h 233363"/>
              <a:gd name="connsiteX106" fmla="*/ 6350 w 140891"/>
              <a:gd name="connsiteY106" fmla="*/ 42465 h 233363"/>
              <a:gd name="connsiteX107" fmla="*/ 0 w 140891"/>
              <a:gd name="connsiteY107" fmla="*/ 40481 h 233363"/>
              <a:gd name="connsiteX108" fmla="*/ 3175 w 140891"/>
              <a:gd name="connsiteY108" fmla="*/ 38000 h 233363"/>
              <a:gd name="connsiteX109" fmla="*/ 47943 w 140891"/>
              <a:gd name="connsiteY109" fmla="*/ 31750 h 233363"/>
              <a:gd name="connsiteX110" fmla="*/ 49848 w 140891"/>
              <a:gd name="connsiteY110" fmla="*/ 32279 h 233363"/>
              <a:gd name="connsiteX111" fmla="*/ 49848 w 140891"/>
              <a:gd name="connsiteY111" fmla="*/ 36512 h 233363"/>
              <a:gd name="connsiteX112" fmla="*/ 46038 w 140891"/>
              <a:gd name="connsiteY112" fmla="*/ 34395 h 233363"/>
              <a:gd name="connsiteX113" fmla="*/ 47943 w 140891"/>
              <a:gd name="connsiteY113" fmla="*/ 31750 h 233363"/>
              <a:gd name="connsiteX114" fmla="*/ 52785 w 140891"/>
              <a:gd name="connsiteY114" fmla="*/ 22523 h 233363"/>
              <a:gd name="connsiteX115" fmla="*/ 53975 w 140891"/>
              <a:gd name="connsiteY115" fmla="*/ 26458 h 233363"/>
              <a:gd name="connsiteX116" fmla="*/ 46355 w 140891"/>
              <a:gd name="connsiteY116" fmla="*/ 26458 h 233363"/>
              <a:gd name="connsiteX117" fmla="*/ 50165 w 140891"/>
              <a:gd name="connsiteY117" fmla="*/ 22754 h 233363"/>
              <a:gd name="connsiteX118" fmla="*/ 52785 w 140891"/>
              <a:gd name="connsiteY118" fmla="*/ 22523 h 233363"/>
              <a:gd name="connsiteX119" fmla="*/ 12503 w 140891"/>
              <a:gd name="connsiteY119" fmla="*/ 13017 h 233363"/>
              <a:gd name="connsiteX120" fmla="*/ 16868 w 140891"/>
              <a:gd name="connsiteY120" fmla="*/ 16827 h 233363"/>
              <a:gd name="connsiteX121" fmla="*/ 10320 w 140891"/>
              <a:gd name="connsiteY121" fmla="*/ 20637 h 233363"/>
              <a:gd name="connsiteX122" fmla="*/ 1588 w 140891"/>
              <a:gd name="connsiteY122" fmla="*/ 20637 h 233363"/>
              <a:gd name="connsiteX123" fmla="*/ 10320 w 140891"/>
              <a:gd name="connsiteY123" fmla="*/ 16827 h 233363"/>
              <a:gd name="connsiteX124" fmla="*/ 12503 w 140891"/>
              <a:gd name="connsiteY124" fmla="*/ 14922 h 233363"/>
              <a:gd name="connsiteX125" fmla="*/ 12503 w 140891"/>
              <a:gd name="connsiteY125" fmla="*/ 13017 h 233363"/>
              <a:gd name="connsiteX126" fmla="*/ 20638 w 140891"/>
              <a:gd name="connsiteY126" fmla="*/ 0 h 233363"/>
              <a:gd name="connsiteX127" fmla="*/ 23813 w 140891"/>
              <a:gd name="connsiteY127" fmla="*/ 0 h 233363"/>
              <a:gd name="connsiteX128" fmla="*/ 20638 w 140891"/>
              <a:gd name="connsiteY128" fmla="*/ 4762 h 233363"/>
              <a:gd name="connsiteX129" fmla="*/ 20638 w 140891"/>
              <a:gd name="connsiteY129" fmla="*/ 0 h 23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40891" h="233363">
                <a:moveTo>
                  <a:pt x="10319" y="230187"/>
                </a:moveTo>
                <a:cubicBezTo>
                  <a:pt x="12511" y="230187"/>
                  <a:pt x="14288" y="230898"/>
                  <a:pt x="14288" y="231775"/>
                </a:cubicBezTo>
                <a:cubicBezTo>
                  <a:pt x="14288" y="232653"/>
                  <a:pt x="12511" y="233363"/>
                  <a:pt x="10319" y="233363"/>
                </a:cubicBezTo>
                <a:cubicBezTo>
                  <a:pt x="8127" y="233363"/>
                  <a:pt x="6350" y="232653"/>
                  <a:pt x="6350" y="231775"/>
                </a:cubicBezTo>
                <a:cubicBezTo>
                  <a:pt x="6350" y="230898"/>
                  <a:pt x="8127" y="230187"/>
                  <a:pt x="10319" y="230187"/>
                </a:cubicBezTo>
                <a:close/>
                <a:moveTo>
                  <a:pt x="86956" y="219154"/>
                </a:moveTo>
                <a:cubicBezTo>
                  <a:pt x="86679" y="219710"/>
                  <a:pt x="85567" y="220821"/>
                  <a:pt x="84456" y="221932"/>
                </a:cubicBezTo>
                <a:cubicBezTo>
                  <a:pt x="84456" y="226377"/>
                  <a:pt x="80011" y="228599"/>
                  <a:pt x="80011" y="224154"/>
                </a:cubicBezTo>
                <a:cubicBezTo>
                  <a:pt x="77788" y="219710"/>
                  <a:pt x="84456" y="219710"/>
                  <a:pt x="84456" y="219710"/>
                </a:cubicBezTo>
                <a:cubicBezTo>
                  <a:pt x="86678" y="218598"/>
                  <a:pt x="87234" y="218598"/>
                  <a:pt x="86956" y="219154"/>
                </a:cubicBezTo>
                <a:close/>
                <a:moveTo>
                  <a:pt x="86783" y="207962"/>
                </a:moveTo>
                <a:cubicBezTo>
                  <a:pt x="88900" y="210079"/>
                  <a:pt x="84667" y="214312"/>
                  <a:pt x="84667" y="212195"/>
                </a:cubicBezTo>
                <a:cubicBezTo>
                  <a:pt x="82550" y="207962"/>
                  <a:pt x="86783" y="207962"/>
                  <a:pt x="86783" y="207962"/>
                </a:cubicBezTo>
                <a:close/>
                <a:moveTo>
                  <a:pt x="88900" y="202142"/>
                </a:moveTo>
                <a:cubicBezTo>
                  <a:pt x="88900" y="200025"/>
                  <a:pt x="90488" y="202142"/>
                  <a:pt x="90488" y="202142"/>
                </a:cubicBezTo>
                <a:cubicBezTo>
                  <a:pt x="92075" y="202142"/>
                  <a:pt x="90488" y="206375"/>
                  <a:pt x="88900" y="202142"/>
                </a:cubicBezTo>
                <a:close/>
                <a:moveTo>
                  <a:pt x="92605" y="197379"/>
                </a:moveTo>
                <a:cubicBezTo>
                  <a:pt x="96838" y="199495"/>
                  <a:pt x="92605" y="201612"/>
                  <a:pt x="92605" y="199495"/>
                </a:cubicBezTo>
                <a:cubicBezTo>
                  <a:pt x="90488" y="195262"/>
                  <a:pt x="92605" y="197379"/>
                  <a:pt x="92605" y="197379"/>
                </a:cubicBezTo>
                <a:close/>
                <a:moveTo>
                  <a:pt x="92075" y="190500"/>
                </a:moveTo>
                <a:cubicBezTo>
                  <a:pt x="93663" y="190500"/>
                  <a:pt x="93663" y="192087"/>
                  <a:pt x="93663" y="193675"/>
                </a:cubicBezTo>
                <a:cubicBezTo>
                  <a:pt x="93663" y="193675"/>
                  <a:pt x="90488" y="195262"/>
                  <a:pt x="88900" y="193675"/>
                </a:cubicBezTo>
                <a:cubicBezTo>
                  <a:pt x="88900" y="192087"/>
                  <a:pt x="92075" y="190500"/>
                  <a:pt x="92075" y="190500"/>
                </a:cubicBezTo>
                <a:close/>
                <a:moveTo>
                  <a:pt x="139700" y="186002"/>
                </a:moveTo>
                <a:cubicBezTo>
                  <a:pt x="141288" y="189706"/>
                  <a:pt x="141288" y="193410"/>
                  <a:pt x="139700" y="193410"/>
                </a:cubicBezTo>
                <a:cubicBezTo>
                  <a:pt x="138113" y="195262"/>
                  <a:pt x="136525" y="193410"/>
                  <a:pt x="136525" y="187854"/>
                </a:cubicBezTo>
                <a:cubicBezTo>
                  <a:pt x="136525" y="184150"/>
                  <a:pt x="139700" y="186002"/>
                  <a:pt x="139700" y="186002"/>
                </a:cubicBezTo>
                <a:close/>
                <a:moveTo>
                  <a:pt x="98277" y="184050"/>
                </a:moveTo>
                <a:cubicBezTo>
                  <a:pt x="98525" y="184546"/>
                  <a:pt x="98029" y="185539"/>
                  <a:pt x="98029" y="186531"/>
                </a:cubicBezTo>
                <a:cubicBezTo>
                  <a:pt x="98029" y="186531"/>
                  <a:pt x="96044" y="190499"/>
                  <a:pt x="94060" y="188515"/>
                </a:cubicBezTo>
                <a:cubicBezTo>
                  <a:pt x="92075" y="186531"/>
                  <a:pt x="94060" y="184546"/>
                  <a:pt x="94060" y="184546"/>
                </a:cubicBezTo>
                <a:cubicBezTo>
                  <a:pt x="97036" y="183554"/>
                  <a:pt x="98029" y="183554"/>
                  <a:pt x="98277" y="184050"/>
                </a:cubicBezTo>
                <a:close/>
                <a:moveTo>
                  <a:pt x="104458" y="157560"/>
                </a:moveTo>
                <a:cubicBezTo>
                  <a:pt x="106363" y="157560"/>
                  <a:pt x="104458" y="161528"/>
                  <a:pt x="104458" y="163513"/>
                </a:cubicBezTo>
                <a:cubicBezTo>
                  <a:pt x="106363" y="167481"/>
                  <a:pt x="106363" y="171450"/>
                  <a:pt x="102553" y="171450"/>
                </a:cubicBezTo>
                <a:cubicBezTo>
                  <a:pt x="100648" y="171450"/>
                  <a:pt x="96838" y="167481"/>
                  <a:pt x="98743" y="163513"/>
                </a:cubicBezTo>
                <a:cubicBezTo>
                  <a:pt x="100648" y="159544"/>
                  <a:pt x="102553" y="159544"/>
                  <a:pt x="102553" y="159544"/>
                </a:cubicBezTo>
                <a:cubicBezTo>
                  <a:pt x="102553" y="159544"/>
                  <a:pt x="102553" y="155575"/>
                  <a:pt x="104458" y="157560"/>
                </a:cubicBezTo>
                <a:close/>
                <a:moveTo>
                  <a:pt x="107865" y="135632"/>
                </a:moveTo>
                <a:cubicBezTo>
                  <a:pt x="108121" y="136921"/>
                  <a:pt x="107610" y="138985"/>
                  <a:pt x="106590" y="140017"/>
                </a:cubicBezTo>
                <a:cubicBezTo>
                  <a:pt x="106590" y="140017"/>
                  <a:pt x="106590" y="144144"/>
                  <a:pt x="108631" y="144144"/>
                </a:cubicBezTo>
                <a:cubicBezTo>
                  <a:pt x="110672" y="144144"/>
                  <a:pt x="112713" y="148272"/>
                  <a:pt x="110672" y="150335"/>
                </a:cubicBezTo>
                <a:cubicBezTo>
                  <a:pt x="108631" y="152399"/>
                  <a:pt x="106590" y="152399"/>
                  <a:pt x="102507" y="146208"/>
                </a:cubicBezTo>
                <a:cubicBezTo>
                  <a:pt x="98425" y="140017"/>
                  <a:pt x="104549" y="135890"/>
                  <a:pt x="104549" y="135890"/>
                </a:cubicBezTo>
                <a:cubicBezTo>
                  <a:pt x="106590" y="133826"/>
                  <a:pt x="107610" y="134342"/>
                  <a:pt x="107865" y="135632"/>
                </a:cubicBezTo>
                <a:close/>
                <a:moveTo>
                  <a:pt x="87948" y="112712"/>
                </a:moveTo>
                <a:cubicBezTo>
                  <a:pt x="87948" y="112712"/>
                  <a:pt x="92393" y="114564"/>
                  <a:pt x="92393" y="114564"/>
                </a:cubicBezTo>
                <a:cubicBezTo>
                  <a:pt x="96838" y="114564"/>
                  <a:pt x="94616" y="118268"/>
                  <a:pt x="94616" y="118268"/>
                </a:cubicBezTo>
                <a:cubicBezTo>
                  <a:pt x="92393" y="118268"/>
                  <a:pt x="92393" y="121972"/>
                  <a:pt x="92393" y="121972"/>
                </a:cubicBezTo>
                <a:cubicBezTo>
                  <a:pt x="92393" y="121972"/>
                  <a:pt x="92393" y="123824"/>
                  <a:pt x="90170" y="123824"/>
                </a:cubicBezTo>
                <a:cubicBezTo>
                  <a:pt x="87948" y="123824"/>
                  <a:pt x="87948" y="121972"/>
                  <a:pt x="87948" y="120120"/>
                </a:cubicBezTo>
                <a:cubicBezTo>
                  <a:pt x="87948" y="118268"/>
                  <a:pt x="85725" y="118268"/>
                  <a:pt x="85725" y="116416"/>
                </a:cubicBezTo>
                <a:cubicBezTo>
                  <a:pt x="85725" y="114564"/>
                  <a:pt x="87948" y="112712"/>
                  <a:pt x="87948" y="112712"/>
                </a:cubicBezTo>
                <a:close/>
                <a:moveTo>
                  <a:pt x="93663" y="104775"/>
                </a:moveTo>
                <a:cubicBezTo>
                  <a:pt x="93663" y="104775"/>
                  <a:pt x="96045" y="104775"/>
                  <a:pt x="98426" y="104775"/>
                </a:cubicBezTo>
                <a:cubicBezTo>
                  <a:pt x="98426" y="104775"/>
                  <a:pt x="96045" y="106362"/>
                  <a:pt x="93663" y="106362"/>
                </a:cubicBezTo>
                <a:cubicBezTo>
                  <a:pt x="93663" y="104775"/>
                  <a:pt x="93663" y="104775"/>
                  <a:pt x="93663" y="104775"/>
                </a:cubicBezTo>
                <a:close/>
                <a:moveTo>
                  <a:pt x="90170" y="82550"/>
                </a:moveTo>
                <a:cubicBezTo>
                  <a:pt x="92075" y="82550"/>
                  <a:pt x="93980" y="84490"/>
                  <a:pt x="93980" y="84490"/>
                </a:cubicBezTo>
                <a:cubicBezTo>
                  <a:pt x="93980" y="84490"/>
                  <a:pt x="95885" y="86431"/>
                  <a:pt x="97790" y="86431"/>
                </a:cubicBezTo>
                <a:cubicBezTo>
                  <a:pt x="99695" y="84490"/>
                  <a:pt x="101600" y="88371"/>
                  <a:pt x="101600" y="88371"/>
                </a:cubicBezTo>
                <a:cubicBezTo>
                  <a:pt x="99695" y="90311"/>
                  <a:pt x="97790" y="90311"/>
                  <a:pt x="97790" y="90311"/>
                </a:cubicBezTo>
                <a:cubicBezTo>
                  <a:pt x="97790" y="92251"/>
                  <a:pt x="95885" y="92251"/>
                  <a:pt x="95885" y="92251"/>
                </a:cubicBezTo>
                <a:cubicBezTo>
                  <a:pt x="95885" y="92251"/>
                  <a:pt x="93980" y="90311"/>
                  <a:pt x="92075" y="90311"/>
                </a:cubicBezTo>
                <a:cubicBezTo>
                  <a:pt x="92075" y="92251"/>
                  <a:pt x="92075" y="90311"/>
                  <a:pt x="90170" y="90311"/>
                </a:cubicBezTo>
                <a:cubicBezTo>
                  <a:pt x="88265" y="90311"/>
                  <a:pt x="88265" y="98072"/>
                  <a:pt x="88265" y="98072"/>
                </a:cubicBezTo>
                <a:cubicBezTo>
                  <a:pt x="88265" y="98072"/>
                  <a:pt x="88265" y="100012"/>
                  <a:pt x="86360" y="100012"/>
                </a:cubicBezTo>
                <a:cubicBezTo>
                  <a:pt x="84455" y="100012"/>
                  <a:pt x="84455" y="98072"/>
                  <a:pt x="84455" y="98072"/>
                </a:cubicBezTo>
                <a:cubicBezTo>
                  <a:pt x="84455" y="98072"/>
                  <a:pt x="82550" y="92251"/>
                  <a:pt x="82550" y="90311"/>
                </a:cubicBezTo>
                <a:cubicBezTo>
                  <a:pt x="82550" y="86431"/>
                  <a:pt x="84455" y="88371"/>
                  <a:pt x="84455" y="88371"/>
                </a:cubicBezTo>
                <a:cubicBezTo>
                  <a:pt x="84455" y="88371"/>
                  <a:pt x="84455" y="88371"/>
                  <a:pt x="86360" y="88371"/>
                </a:cubicBezTo>
                <a:cubicBezTo>
                  <a:pt x="88265" y="88371"/>
                  <a:pt x="88265" y="84490"/>
                  <a:pt x="88265" y="84490"/>
                </a:cubicBezTo>
                <a:cubicBezTo>
                  <a:pt x="88265" y="84490"/>
                  <a:pt x="86360" y="82550"/>
                  <a:pt x="90170" y="82550"/>
                </a:cubicBezTo>
                <a:close/>
                <a:moveTo>
                  <a:pt x="72232" y="74612"/>
                </a:moveTo>
                <a:cubicBezTo>
                  <a:pt x="72232" y="74612"/>
                  <a:pt x="76201" y="76729"/>
                  <a:pt x="76201" y="78845"/>
                </a:cubicBezTo>
                <a:cubicBezTo>
                  <a:pt x="76201" y="78845"/>
                  <a:pt x="72232" y="80962"/>
                  <a:pt x="70248" y="78845"/>
                </a:cubicBezTo>
                <a:cubicBezTo>
                  <a:pt x="68263" y="76729"/>
                  <a:pt x="72232" y="74612"/>
                  <a:pt x="72232" y="74612"/>
                </a:cubicBezTo>
                <a:close/>
                <a:moveTo>
                  <a:pt x="81756" y="63400"/>
                </a:moveTo>
                <a:cubicBezTo>
                  <a:pt x="82947" y="63400"/>
                  <a:pt x="84138" y="63896"/>
                  <a:pt x="84138" y="63896"/>
                </a:cubicBezTo>
                <a:cubicBezTo>
                  <a:pt x="88900" y="63896"/>
                  <a:pt x="88900" y="67865"/>
                  <a:pt x="84138" y="69849"/>
                </a:cubicBezTo>
                <a:cubicBezTo>
                  <a:pt x="81756" y="69849"/>
                  <a:pt x="79375" y="67865"/>
                  <a:pt x="79375" y="65881"/>
                </a:cubicBezTo>
                <a:cubicBezTo>
                  <a:pt x="79375" y="63896"/>
                  <a:pt x="80566" y="63400"/>
                  <a:pt x="81756" y="63400"/>
                </a:cubicBezTo>
                <a:close/>
                <a:moveTo>
                  <a:pt x="59532" y="60325"/>
                </a:moveTo>
                <a:cubicBezTo>
                  <a:pt x="59532" y="60325"/>
                  <a:pt x="63501" y="62442"/>
                  <a:pt x="63501" y="64558"/>
                </a:cubicBezTo>
                <a:cubicBezTo>
                  <a:pt x="61517" y="66675"/>
                  <a:pt x="59532" y="66675"/>
                  <a:pt x="57548" y="62442"/>
                </a:cubicBezTo>
                <a:cubicBezTo>
                  <a:pt x="55563" y="62442"/>
                  <a:pt x="59532" y="60325"/>
                  <a:pt x="59532" y="60325"/>
                </a:cubicBezTo>
                <a:close/>
                <a:moveTo>
                  <a:pt x="55960" y="53975"/>
                </a:moveTo>
                <a:lnTo>
                  <a:pt x="57944" y="56092"/>
                </a:lnTo>
                <a:cubicBezTo>
                  <a:pt x="57944" y="56092"/>
                  <a:pt x="61913" y="56092"/>
                  <a:pt x="61913" y="58208"/>
                </a:cubicBezTo>
                <a:cubicBezTo>
                  <a:pt x="61913" y="60325"/>
                  <a:pt x="57944" y="60325"/>
                  <a:pt x="55960" y="58208"/>
                </a:cubicBezTo>
                <a:cubicBezTo>
                  <a:pt x="53975" y="56092"/>
                  <a:pt x="55960" y="53975"/>
                  <a:pt x="55960" y="53975"/>
                </a:cubicBezTo>
                <a:close/>
                <a:moveTo>
                  <a:pt x="53975" y="50800"/>
                </a:moveTo>
                <a:cubicBezTo>
                  <a:pt x="53975" y="50800"/>
                  <a:pt x="53975" y="50800"/>
                  <a:pt x="53975" y="52388"/>
                </a:cubicBezTo>
                <a:cubicBezTo>
                  <a:pt x="53975" y="53975"/>
                  <a:pt x="52388" y="53975"/>
                  <a:pt x="52388" y="52388"/>
                </a:cubicBezTo>
                <a:cubicBezTo>
                  <a:pt x="50800" y="50800"/>
                  <a:pt x="53975" y="50800"/>
                  <a:pt x="53975" y="50800"/>
                </a:cubicBezTo>
                <a:close/>
                <a:moveTo>
                  <a:pt x="81492" y="46567"/>
                </a:moveTo>
                <a:cubicBezTo>
                  <a:pt x="81492" y="44450"/>
                  <a:pt x="83608" y="46567"/>
                  <a:pt x="83608" y="46567"/>
                </a:cubicBezTo>
                <a:cubicBezTo>
                  <a:pt x="83608" y="46567"/>
                  <a:pt x="83608" y="48683"/>
                  <a:pt x="83608" y="48683"/>
                </a:cubicBezTo>
                <a:cubicBezTo>
                  <a:pt x="85725" y="48683"/>
                  <a:pt x="85725" y="50800"/>
                  <a:pt x="85725" y="50800"/>
                </a:cubicBezTo>
                <a:cubicBezTo>
                  <a:pt x="83608" y="50800"/>
                  <a:pt x="79375" y="50800"/>
                  <a:pt x="81492" y="46567"/>
                </a:cubicBezTo>
                <a:close/>
                <a:moveTo>
                  <a:pt x="58208" y="38100"/>
                </a:moveTo>
                <a:cubicBezTo>
                  <a:pt x="58208" y="38100"/>
                  <a:pt x="60325" y="38100"/>
                  <a:pt x="60325" y="40481"/>
                </a:cubicBezTo>
                <a:cubicBezTo>
                  <a:pt x="60325" y="42862"/>
                  <a:pt x="58208" y="42862"/>
                  <a:pt x="56092" y="42862"/>
                </a:cubicBezTo>
                <a:cubicBezTo>
                  <a:pt x="53975" y="38100"/>
                  <a:pt x="58208" y="38100"/>
                  <a:pt x="58208" y="38100"/>
                </a:cubicBezTo>
                <a:close/>
                <a:moveTo>
                  <a:pt x="3175" y="38000"/>
                </a:moveTo>
                <a:cubicBezTo>
                  <a:pt x="4763" y="38000"/>
                  <a:pt x="6350" y="38496"/>
                  <a:pt x="6350" y="38496"/>
                </a:cubicBezTo>
                <a:cubicBezTo>
                  <a:pt x="12700" y="36512"/>
                  <a:pt x="10583" y="40481"/>
                  <a:pt x="6350" y="42465"/>
                </a:cubicBezTo>
                <a:cubicBezTo>
                  <a:pt x="2117" y="44449"/>
                  <a:pt x="0" y="42465"/>
                  <a:pt x="0" y="40481"/>
                </a:cubicBezTo>
                <a:cubicBezTo>
                  <a:pt x="0" y="38496"/>
                  <a:pt x="1587" y="38000"/>
                  <a:pt x="3175" y="38000"/>
                </a:cubicBezTo>
                <a:close/>
                <a:moveTo>
                  <a:pt x="47943" y="31750"/>
                </a:moveTo>
                <a:cubicBezTo>
                  <a:pt x="48896" y="31750"/>
                  <a:pt x="49848" y="32279"/>
                  <a:pt x="49848" y="32279"/>
                </a:cubicBezTo>
                <a:cubicBezTo>
                  <a:pt x="55563" y="32279"/>
                  <a:pt x="49848" y="34395"/>
                  <a:pt x="49848" y="36512"/>
                </a:cubicBezTo>
                <a:cubicBezTo>
                  <a:pt x="49848" y="36512"/>
                  <a:pt x="46038" y="36512"/>
                  <a:pt x="46038" y="34395"/>
                </a:cubicBezTo>
                <a:cubicBezTo>
                  <a:pt x="46038" y="32279"/>
                  <a:pt x="46991" y="31750"/>
                  <a:pt x="47943" y="31750"/>
                </a:cubicBezTo>
                <a:close/>
                <a:moveTo>
                  <a:pt x="52785" y="22523"/>
                </a:moveTo>
                <a:cubicBezTo>
                  <a:pt x="53499" y="23680"/>
                  <a:pt x="53975" y="25532"/>
                  <a:pt x="53975" y="26458"/>
                </a:cubicBezTo>
                <a:cubicBezTo>
                  <a:pt x="52070" y="28310"/>
                  <a:pt x="46355" y="30162"/>
                  <a:pt x="46355" y="26458"/>
                </a:cubicBezTo>
                <a:cubicBezTo>
                  <a:pt x="44450" y="24606"/>
                  <a:pt x="50165" y="22754"/>
                  <a:pt x="50165" y="22754"/>
                </a:cubicBezTo>
                <a:cubicBezTo>
                  <a:pt x="51118" y="20902"/>
                  <a:pt x="52070" y="21365"/>
                  <a:pt x="52785" y="22523"/>
                </a:cubicBezTo>
                <a:close/>
                <a:moveTo>
                  <a:pt x="12503" y="13017"/>
                </a:moveTo>
                <a:cubicBezTo>
                  <a:pt x="12503" y="11112"/>
                  <a:pt x="16868" y="13017"/>
                  <a:pt x="16868" y="16827"/>
                </a:cubicBezTo>
                <a:cubicBezTo>
                  <a:pt x="19051" y="20637"/>
                  <a:pt x="14685" y="20637"/>
                  <a:pt x="10320" y="20637"/>
                </a:cubicBezTo>
                <a:cubicBezTo>
                  <a:pt x="8137" y="18732"/>
                  <a:pt x="3771" y="20637"/>
                  <a:pt x="1588" y="20637"/>
                </a:cubicBezTo>
                <a:cubicBezTo>
                  <a:pt x="1588" y="18732"/>
                  <a:pt x="10320" y="16827"/>
                  <a:pt x="10320" y="16827"/>
                </a:cubicBezTo>
                <a:cubicBezTo>
                  <a:pt x="12503" y="16827"/>
                  <a:pt x="12503" y="14922"/>
                  <a:pt x="12503" y="14922"/>
                </a:cubicBezTo>
                <a:cubicBezTo>
                  <a:pt x="12503" y="14922"/>
                  <a:pt x="12503" y="14922"/>
                  <a:pt x="12503" y="13017"/>
                </a:cubicBezTo>
                <a:close/>
                <a:moveTo>
                  <a:pt x="20638" y="0"/>
                </a:moveTo>
                <a:cubicBezTo>
                  <a:pt x="20638" y="0"/>
                  <a:pt x="22225" y="0"/>
                  <a:pt x="23813" y="0"/>
                </a:cubicBezTo>
                <a:cubicBezTo>
                  <a:pt x="23813" y="2381"/>
                  <a:pt x="23813" y="4762"/>
                  <a:pt x="20638" y="4762"/>
                </a:cubicBezTo>
                <a:cubicBezTo>
                  <a:pt x="19050" y="4762"/>
                  <a:pt x="20638" y="0"/>
                  <a:pt x="20638"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7" name="JAMAICA"/>
          <p:cNvSpPr>
            <a:spLocks/>
          </p:cNvSpPr>
          <p:nvPr/>
        </p:nvSpPr>
        <p:spPr bwMode="auto">
          <a:xfrm>
            <a:off x="4087739" y="3467890"/>
            <a:ext cx="65327" cy="26131"/>
          </a:xfrm>
          <a:custGeom>
            <a:avLst/>
            <a:gdLst>
              <a:gd name="T0" fmla="*/ 2 w 32"/>
              <a:gd name="T1" fmla="*/ 1 h 13"/>
              <a:gd name="T2" fmla="*/ 2 w 32"/>
              <a:gd name="T3" fmla="*/ 0 h 13"/>
              <a:gd name="T4" fmla="*/ 4 w 32"/>
              <a:gd name="T5" fmla="*/ 2 h 13"/>
              <a:gd name="T6" fmla="*/ 6 w 32"/>
              <a:gd name="T7" fmla="*/ 2 h 13"/>
              <a:gd name="T8" fmla="*/ 9 w 32"/>
              <a:gd name="T9" fmla="*/ 0 h 13"/>
              <a:gd name="T10" fmla="*/ 12 w 32"/>
              <a:gd name="T11" fmla="*/ 2 h 13"/>
              <a:gd name="T12" fmla="*/ 17 w 32"/>
              <a:gd name="T13" fmla="*/ 1 h 13"/>
              <a:gd name="T14" fmla="*/ 20 w 32"/>
              <a:gd name="T15" fmla="*/ 2 h 13"/>
              <a:gd name="T16" fmla="*/ 22 w 32"/>
              <a:gd name="T17" fmla="*/ 3 h 13"/>
              <a:gd name="T18" fmla="*/ 24 w 32"/>
              <a:gd name="T19" fmla="*/ 5 h 13"/>
              <a:gd name="T20" fmla="*/ 28 w 32"/>
              <a:gd name="T21" fmla="*/ 5 h 13"/>
              <a:gd name="T22" fmla="*/ 31 w 32"/>
              <a:gd name="T23" fmla="*/ 6 h 13"/>
              <a:gd name="T24" fmla="*/ 32 w 32"/>
              <a:gd name="T25" fmla="*/ 8 h 13"/>
              <a:gd name="T26" fmla="*/ 31 w 32"/>
              <a:gd name="T27" fmla="*/ 11 h 13"/>
              <a:gd name="T28" fmla="*/ 29 w 32"/>
              <a:gd name="T29" fmla="*/ 11 h 13"/>
              <a:gd name="T30" fmla="*/ 27 w 32"/>
              <a:gd name="T31" fmla="*/ 11 h 13"/>
              <a:gd name="T32" fmla="*/ 24 w 32"/>
              <a:gd name="T33" fmla="*/ 11 h 13"/>
              <a:gd name="T34" fmla="*/ 20 w 32"/>
              <a:gd name="T35" fmla="*/ 12 h 13"/>
              <a:gd name="T36" fmla="*/ 18 w 32"/>
              <a:gd name="T37" fmla="*/ 12 h 13"/>
              <a:gd name="T38" fmla="*/ 16 w 32"/>
              <a:gd name="T39" fmla="*/ 13 h 13"/>
              <a:gd name="T40" fmla="*/ 13 w 32"/>
              <a:gd name="T41" fmla="*/ 11 h 13"/>
              <a:gd name="T42" fmla="*/ 12 w 32"/>
              <a:gd name="T43" fmla="*/ 12 h 13"/>
              <a:gd name="T44" fmla="*/ 11 w 32"/>
              <a:gd name="T45" fmla="*/ 12 h 13"/>
              <a:gd name="T46" fmla="*/ 8 w 32"/>
              <a:gd name="T47" fmla="*/ 12 h 13"/>
              <a:gd name="T48" fmla="*/ 8 w 32"/>
              <a:gd name="T49" fmla="*/ 9 h 13"/>
              <a:gd name="T50" fmla="*/ 7 w 32"/>
              <a:gd name="T51" fmla="*/ 8 h 13"/>
              <a:gd name="T52" fmla="*/ 4 w 32"/>
              <a:gd name="T53" fmla="*/ 7 h 13"/>
              <a:gd name="T54" fmla="*/ 1 w 32"/>
              <a:gd name="T55" fmla="*/ 6 h 13"/>
              <a:gd name="T56" fmla="*/ 1 w 32"/>
              <a:gd name="T57" fmla="*/ 4 h 13"/>
              <a:gd name="T58" fmla="*/ 2 w 32"/>
              <a:gd name="T59" fmla="*/ 3 h 13"/>
              <a:gd name="T60" fmla="*/ 2 w 32"/>
              <a:gd name="T6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3">
                <a:moveTo>
                  <a:pt x="2" y="1"/>
                </a:moveTo>
                <a:cubicBezTo>
                  <a:pt x="2" y="1"/>
                  <a:pt x="2" y="0"/>
                  <a:pt x="2" y="0"/>
                </a:cubicBezTo>
                <a:cubicBezTo>
                  <a:pt x="3" y="1"/>
                  <a:pt x="3" y="2"/>
                  <a:pt x="4" y="2"/>
                </a:cubicBezTo>
                <a:cubicBezTo>
                  <a:pt x="5" y="2"/>
                  <a:pt x="6" y="2"/>
                  <a:pt x="6" y="2"/>
                </a:cubicBezTo>
                <a:cubicBezTo>
                  <a:pt x="6" y="2"/>
                  <a:pt x="8" y="0"/>
                  <a:pt x="9" y="0"/>
                </a:cubicBezTo>
                <a:cubicBezTo>
                  <a:pt x="10" y="1"/>
                  <a:pt x="8" y="2"/>
                  <a:pt x="12" y="2"/>
                </a:cubicBezTo>
                <a:cubicBezTo>
                  <a:pt x="15" y="2"/>
                  <a:pt x="16" y="1"/>
                  <a:pt x="17" y="1"/>
                </a:cubicBezTo>
                <a:cubicBezTo>
                  <a:pt x="18" y="1"/>
                  <a:pt x="19" y="2"/>
                  <a:pt x="20" y="2"/>
                </a:cubicBezTo>
                <a:cubicBezTo>
                  <a:pt x="21" y="2"/>
                  <a:pt x="21" y="3"/>
                  <a:pt x="22" y="3"/>
                </a:cubicBezTo>
                <a:cubicBezTo>
                  <a:pt x="22" y="4"/>
                  <a:pt x="24" y="5"/>
                  <a:pt x="24" y="5"/>
                </a:cubicBezTo>
                <a:cubicBezTo>
                  <a:pt x="24" y="5"/>
                  <a:pt x="26" y="5"/>
                  <a:pt x="28" y="5"/>
                </a:cubicBezTo>
                <a:cubicBezTo>
                  <a:pt x="30" y="5"/>
                  <a:pt x="31" y="5"/>
                  <a:pt x="31" y="6"/>
                </a:cubicBezTo>
                <a:cubicBezTo>
                  <a:pt x="31" y="7"/>
                  <a:pt x="31" y="7"/>
                  <a:pt x="32" y="8"/>
                </a:cubicBezTo>
                <a:cubicBezTo>
                  <a:pt x="32" y="9"/>
                  <a:pt x="31" y="11"/>
                  <a:pt x="31" y="11"/>
                </a:cubicBezTo>
                <a:cubicBezTo>
                  <a:pt x="31" y="11"/>
                  <a:pt x="31" y="11"/>
                  <a:pt x="29" y="11"/>
                </a:cubicBezTo>
                <a:cubicBezTo>
                  <a:pt x="28" y="11"/>
                  <a:pt x="27" y="11"/>
                  <a:pt x="27" y="11"/>
                </a:cubicBezTo>
                <a:cubicBezTo>
                  <a:pt x="27" y="11"/>
                  <a:pt x="25" y="10"/>
                  <a:pt x="24" y="11"/>
                </a:cubicBezTo>
                <a:cubicBezTo>
                  <a:pt x="23" y="12"/>
                  <a:pt x="21" y="12"/>
                  <a:pt x="20" y="12"/>
                </a:cubicBezTo>
                <a:cubicBezTo>
                  <a:pt x="19" y="11"/>
                  <a:pt x="18" y="11"/>
                  <a:pt x="18" y="12"/>
                </a:cubicBezTo>
                <a:cubicBezTo>
                  <a:pt x="18" y="12"/>
                  <a:pt x="17" y="13"/>
                  <a:pt x="16" y="13"/>
                </a:cubicBezTo>
                <a:cubicBezTo>
                  <a:pt x="14" y="12"/>
                  <a:pt x="13" y="11"/>
                  <a:pt x="13" y="11"/>
                </a:cubicBezTo>
                <a:cubicBezTo>
                  <a:pt x="13" y="11"/>
                  <a:pt x="13" y="11"/>
                  <a:pt x="12" y="12"/>
                </a:cubicBezTo>
                <a:cubicBezTo>
                  <a:pt x="11" y="12"/>
                  <a:pt x="11" y="12"/>
                  <a:pt x="11" y="12"/>
                </a:cubicBezTo>
                <a:cubicBezTo>
                  <a:pt x="11" y="12"/>
                  <a:pt x="8" y="13"/>
                  <a:pt x="8" y="12"/>
                </a:cubicBezTo>
                <a:cubicBezTo>
                  <a:pt x="7" y="11"/>
                  <a:pt x="8" y="9"/>
                  <a:pt x="8" y="9"/>
                </a:cubicBezTo>
                <a:cubicBezTo>
                  <a:pt x="8" y="9"/>
                  <a:pt x="8" y="8"/>
                  <a:pt x="7" y="8"/>
                </a:cubicBezTo>
                <a:cubicBezTo>
                  <a:pt x="5" y="9"/>
                  <a:pt x="4" y="7"/>
                  <a:pt x="4" y="7"/>
                </a:cubicBezTo>
                <a:cubicBezTo>
                  <a:pt x="1" y="6"/>
                  <a:pt x="1" y="6"/>
                  <a:pt x="1" y="6"/>
                </a:cubicBezTo>
                <a:cubicBezTo>
                  <a:pt x="1" y="6"/>
                  <a:pt x="0" y="5"/>
                  <a:pt x="1" y="4"/>
                </a:cubicBezTo>
                <a:cubicBezTo>
                  <a:pt x="2" y="3"/>
                  <a:pt x="2" y="3"/>
                  <a:pt x="2" y="3"/>
                </a:cubicBezTo>
                <a:cubicBezTo>
                  <a:pt x="2" y="2"/>
                  <a:pt x="2" y="1"/>
                  <a:pt x="2" y="1"/>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8" name="Honduras"/>
          <p:cNvSpPr>
            <a:spLocks/>
          </p:cNvSpPr>
          <p:nvPr/>
        </p:nvSpPr>
        <p:spPr bwMode="auto">
          <a:xfrm>
            <a:off x="3797029" y="3534384"/>
            <a:ext cx="160053" cy="119691"/>
          </a:xfrm>
          <a:custGeom>
            <a:avLst/>
            <a:gdLst>
              <a:gd name="connsiteX0" fmla="*/ 87760 w 155575"/>
              <a:gd name="connsiteY0" fmla="*/ 17917 h 116342"/>
              <a:gd name="connsiteX1" fmla="*/ 95739 w 155575"/>
              <a:gd name="connsiteY1" fmla="*/ 21854 h 116342"/>
              <a:gd name="connsiteX2" fmla="*/ 97733 w 155575"/>
              <a:gd name="connsiteY2" fmla="*/ 25791 h 116342"/>
              <a:gd name="connsiteX3" fmla="*/ 107706 w 155575"/>
              <a:gd name="connsiteY3" fmla="*/ 25791 h 116342"/>
              <a:gd name="connsiteX4" fmla="*/ 113690 w 155575"/>
              <a:gd name="connsiteY4" fmla="*/ 23823 h 116342"/>
              <a:gd name="connsiteX5" fmla="*/ 119673 w 155575"/>
              <a:gd name="connsiteY5" fmla="*/ 23823 h 116342"/>
              <a:gd name="connsiteX6" fmla="*/ 121668 w 155575"/>
              <a:gd name="connsiteY6" fmla="*/ 29728 h 116342"/>
              <a:gd name="connsiteX7" fmla="*/ 125657 w 155575"/>
              <a:gd name="connsiteY7" fmla="*/ 27760 h 116342"/>
              <a:gd name="connsiteX8" fmla="*/ 131641 w 155575"/>
              <a:gd name="connsiteY8" fmla="*/ 25791 h 116342"/>
              <a:gd name="connsiteX9" fmla="*/ 137624 w 155575"/>
              <a:gd name="connsiteY9" fmla="*/ 29728 h 116342"/>
              <a:gd name="connsiteX10" fmla="*/ 139619 w 155575"/>
              <a:gd name="connsiteY10" fmla="*/ 31697 h 116342"/>
              <a:gd name="connsiteX11" fmla="*/ 141613 w 155575"/>
              <a:gd name="connsiteY11" fmla="*/ 35634 h 116342"/>
              <a:gd name="connsiteX12" fmla="*/ 137624 w 155575"/>
              <a:gd name="connsiteY12" fmla="*/ 35634 h 116342"/>
              <a:gd name="connsiteX13" fmla="*/ 133635 w 155575"/>
              <a:gd name="connsiteY13" fmla="*/ 35634 h 116342"/>
              <a:gd name="connsiteX14" fmla="*/ 133635 w 155575"/>
              <a:gd name="connsiteY14" fmla="*/ 39571 h 116342"/>
              <a:gd name="connsiteX15" fmla="*/ 131641 w 155575"/>
              <a:gd name="connsiteY15" fmla="*/ 45476 h 116342"/>
              <a:gd name="connsiteX16" fmla="*/ 139619 w 155575"/>
              <a:gd name="connsiteY16" fmla="*/ 43508 h 116342"/>
              <a:gd name="connsiteX17" fmla="*/ 143608 w 155575"/>
              <a:gd name="connsiteY17" fmla="*/ 43508 h 116342"/>
              <a:gd name="connsiteX18" fmla="*/ 145602 w 155575"/>
              <a:gd name="connsiteY18" fmla="*/ 39571 h 116342"/>
              <a:gd name="connsiteX19" fmla="*/ 149591 w 155575"/>
              <a:gd name="connsiteY19" fmla="*/ 39571 h 116342"/>
              <a:gd name="connsiteX20" fmla="*/ 149591 w 155575"/>
              <a:gd name="connsiteY20" fmla="*/ 43508 h 116342"/>
              <a:gd name="connsiteX21" fmla="*/ 153581 w 155575"/>
              <a:gd name="connsiteY21" fmla="*/ 43508 h 116342"/>
              <a:gd name="connsiteX22" fmla="*/ 155575 w 155575"/>
              <a:gd name="connsiteY22" fmla="*/ 49413 h 116342"/>
              <a:gd name="connsiteX23" fmla="*/ 155575 w 155575"/>
              <a:gd name="connsiteY23" fmla="*/ 55319 h 116342"/>
              <a:gd name="connsiteX24" fmla="*/ 153581 w 155575"/>
              <a:gd name="connsiteY24" fmla="*/ 61224 h 116342"/>
              <a:gd name="connsiteX25" fmla="*/ 147597 w 155575"/>
              <a:gd name="connsiteY25" fmla="*/ 61224 h 116342"/>
              <a:gd name="connsiteX26" fmla="*/ 141613 w 155575"/>
              <a:gd name="connsiteY26" fmla="*/ 65161 h 116342"/>
              <a:gd name="connsiteX27" fmla="*/ 135630 w 155575"/>
              <a:gd name="connsiteY27" fmla="*/ 67130 h 116342"/>
              <a:gd name="connsiteX28" fmla="*/ 127651 w 155575"/>
              <a:gd name="connsiteY28" fmla="*/ 63193 h 116342"/>
              <a:gd name="connsiteX29" fmla="*/ 119673 w 155575"/>
              <a:gd name="connsiteY29" fmla="*/ 61224 h 116342"/>
              <a:gd name="connsiteX30" fmla="*/ 111695 w 155575"/>
              <a:gd name="connsiteY30" fmla="*/ 61224 h 116342"/>
              <a:gd name="connsiteX31" fmla="*/ 105711 w 155575"/>
              <a:gd name="connsiteY31" fmla="*/ 65161 h 116342"/>
              <a:gd name="connsiteX32" fmla="*/ 99728 w 155575"/>
              <a:gd name="connsiteY32" fmla="*/ 73035 h 116342"/>
              <a:gd name="connsiteX33" fmla="*/ 93744 w 155575"/>
              <a:gd name="connsiteY33" fmla="*/ 76972 h 116342"/>
              <a:gd name="connsiteX34" fmla="*/ 87760 w 155575"/>
              <a:gd name="connsiteY34" fmla="*/ 88783 h 116342"/>
              <a:gd name="connsiteX35" fmla="*/ 83771 w 155575"/>
              <a:gd name="connsiteY35" fmla="*/ 98626 h 116342"/>
              <a:gd name="connsiteX36" fmla="*/ 75793 w 155575"/>
              <a:gd name="connsiteY36" fmla="*/ 98626 h 116342"/>
              <a:gd name="connsiteX37" fmla="*/ 65820 w 155575"/>
              <a:gd name="connsiteY37" fmla="*/ 98626 h 116342"/>
              <a:gd name="connsiteX38" fmla="*/ 57842 w 155575"/>
              <a:gd name="connsiteY38" fmla="*/ 102563 h 116342"/>
              <a:gd name="connsiteX39" fmla="*/ 51858 w 155575"/>
              <a:gd name="connsiteY39" fmla="*/ 108468 h 116342"/>
              <a:gd name="connsiteX40" fmla="*/ 49864 w 155575"/>
              <a:gd name="connsiteY40" fmla="*/ 112405 h 116342"/>
              <a:gd name="connsiteX41" fmla="*/ 47869 w 155575"/>
              <a:gd name="connsiteY41" fmla="*/ 116342 h 116342"/>
              <a:gd name="connsiteX42" fmla="*/ 43880 w 155575"/>
              <a:gd name="connsiteY42" fmla="*/ 116342 h 116342"/>
              <a:gd name="connsiteX43" fmla="*/ 41886 w 155575"/>
              <a:gd name="connsiteY43" fmla="*/ 116342 h 116342"/>
              <a:gd name="connsiteX44" fmla="*/ 43880 w 155575"/>
              <a:gd name="connsiteY44" fmla="*/ 114374 h 116342"/>
              <a:gd name="connsiteX45" fmla="*/ 43880 w 155575"/>
              <a:gd name="connsiteY45" fmla="*/ 106500 h 116342"/>
              <a:gd name="connsiteX46" fmla="*/ 39891 w 155575"/>
              <a:gd name="connsiteY46" fmla="*/ 106500 h 116342"/>
              <a:gd name="connsiteX47" fmla="*/ 39891 w 155575"/>
              <a:gd name="connsiteY47" fmla="*/ 94689 h 116342"/>
              <a:gd name="connsiteX48" fmla="*/ 39891 w 155575"/>
              <a:gd name="connsiteY48" fmla="*/ 90752 h 116342"/>
              <a:gd name="connsiteX49" fmla="*/ 35902 w 155575"/>
              <a:gd name="connsiteY49" fmla="*/ 86815 h 116342"/>
              <a:gd name="connsiteX50" fmla="*/ 27924 w 155575"/>
              <a:gd name="connsiteY50" fmla="*/ 86815 h 116342"/>
              <a:gd name="connsiteX51" fmla="*/ 21940 w 155575"/>
              <a:gd name="connsiteY51" fmla="*/ 82878 h 116342"/>
              <a:gd name="connsiteX52" fmla="*/ 15957 w 155575"/>
              <a:gd name="connsiteY52" fmla="*/ 78941 h 116342"/>
              <a:gd name="connsiteX53" fmla="*/ 11967 w 155575"/>
              <a:gd name="connsiteY53" fmla="*/ 75004 h 116342"/>
              <a:gd name="connsiteX54" fmla="*/ 3989 w 155575"/>
              <a:gd name="connsiteY54" fmla="*/ 71067 h 116342"/>
              <a:gd name="connsiteX55" fmla="*/ 1995 w 155575"/>
              <a:gd name="connsiteY55" fmla="*/ 69098 h 116342"/>
              <a:gd name="connsiteX56" fmla="*/ 0 w 155575"/>
              <a:gd name="connsiteY56" fmla="*/ 69098 h 116342"/>
              <a:gd name="connsiteX57" fmla="*/ 3989 w 155575"/>
              <a:gd name="connsiteY57" fmla="*/ 59256 h 116342"/>
              <a:gd name="connsiteX58" fmla="*/ 7978 w 155575"/>
              <a:gd name="connsiteY58" fmla="*/ 51382 h 116342"/>
              <a:gd name="connsiteX59" fmla="*/ 15957 w 155575"/>
              <a:gd name="connsiteY59" fmla="*/ 45476 h 116342"/>
              <a:gd name="connsiteX60" fmla="*/ 23935 w 155575"/>
              <a:gd name="connsiteY60" fmla="*/ 37602 h 116342"/>
              <a:gd name="connsiteX61" fmla="*/ 27924 w 155575"/>
              <a:gd name="connsiteY61" fmla="*/ 33665 h 116342"/>
              <a:gd name="connsiteX62" fmla="*/ 29918 w 155575"/>
              <a:gd name="connsiteY62" fmla="*/ 29728 h 116342"/>
              <a:gd name="connsiteX63" fmla="*/ 31913 w 155575"/>
              <a:gd name="connsiteY63" fmla="*/ 27760 h 116342"/>
              <a:gd name="connsiteX64" fmla="*/ 39891 w 155575"/>
              <a:gd name="connsiteY64" fmla="*/ 21854 h 116342"/>
              <a:gd name="connsiteX65" fmla="*/ 47869 w 155575"/>
              <a:gd name="connsiteY65" fmla="*/ 25791 h 116342"/>
              <a:gd name="connsiteX66" fmla="*/ 57842 w 155575"/>
              <a:gd name="connsiteY66" fmla="*/ 27760 h 116342"/>
              <a:gd name="connsiteX67" fmla="*/ 65820 w 155575"/>
              <a:gd name="connsiteY67" fmla="*/ 31697 h 116342"/>
              <a:gd name="connsiteX68" fmla="*/ 69809 w 155575"/>
              <a:gd name="connsiteY68" fmla="*/ 29728 h 116342"/>
              <a:gd name="connsiteX69" fmla="*/ 75793 w 155575"/>
              <a:gd name="connsiteY69" fmla="*/ 29728 h 116342"/>
              <a:gd name="connsiteX70" fmla="*/ 79782 w 155575"/>
              <a:gd name="connsiteY70" fmla="*/ 25791 h 116342"/>
              <a:gd name="connsiteX71" fmla="*/ 85766 w 155575"/>
              <a:gd name="connsiteY71" fmla="*/ 25791 h 116342"/>
              <a:gd name="connsiteX72" fmla="*/ 87760 w 155575"/>
              <a:gd name="connsiteY72" fmla="*/ 21854 h 116342"/>
              <a:gd name="connsiteX73" fmla="*/ 87760 w 155575"/>
              <a:gd name="connsiteY73" fmla="*/ 17917 h 116342"/>
              <a:gd name="connsiteX74" fmla="*/ 84627 w 155575"/>
              <a:gd name="connsiteY74" fmla="*/ 907 h 116342"/>
              <a:gd name="connsiteX75" fmla="*/ 88534 w 155575"/>
              <a:gd name="connsiteY75" fmla="*/ 907 h 116342"/>
              <a:gd name="connsiteX76" fmla="*/ 90488 w 155575"/>
              <a:gd name="connsiteY76" fmla="*/ 2948 h 116342"/>
              <a:gd name="connsiteX77" fmla="*/ 86580 w 155575"/>
              <a:gd name="connsiteY77" fmla="*/ 4989 h 116342"/>
              <a:gd name="connsiteX78" fmla="*/ 82673 w 155575"/>
              <a:gd name="connsiteY78" fmla="*/ 4989 h 116342"/>
              <a:gd name="connsiteX79" fmla="*/ 76811 w 155575"/>
              <a:gd name="connsiteY79" fmla="*/ 9071 h 116342"/>
              <a:gd name="connsiteX80" fmla="*/ 70950 w 155575"/>
              <a:gd name="connsiteY80" fmla="*/ 9071 h 116342"/>
              <a:gd name="connsiteX81" fmla="*/ 67042 w 155575"/>
              <a:gd name="connsiteY81" fmla="*/ 13153 h 116342"/>
              <a:gd name="connsiteX82" fmla="*/ 65088 w 155575"/>
              <a:gd name="connsiteY82" fmla="*/ 9071 h 116342"/>
              <a:gd name="connsiteX83" fmla="*/ 67042 w 155575"/>
              <a:gd name="connsiteY83" fmla="*/ 4989 h 116342"/>
              <a:gd name="connsiteX84" fmla="*/ 72904 w 155575"/>
              <a:gd name="connsiteY84" fmla="*/ 2948 h 116342"/>
              <a:gd name="connsiteX85" fmla="*/ 78765 w 155575"/>
              <a:gd name="connsiteY85" fmla="*/ 2948 h 116342"/>
              <a:gd name="connsiteX86" fmla="*/ 84627 w 155575"/>
              <a:gd name="connsiteY86" fmla="*/ 907 h 11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55575" h="116342">
                <a:moveTo>
                  <a:pt x="87760" y="17917"/>
                </a:moveTo>
                <a:cubicBezTo>
                  <a:pt x="87760" y="17917"/>
                  <a:pt x="93744" y="21854"/>
                  <a:pt x="95739" y="21854"/>
                </a:cubicBezTo>
                <a:cubicBezTo>
                  <a:pt x="95739" y="21854"/>
                  <a:pt x="95739" y="23823"/>
                  <a:pt x="97733" y="25791"/>
                </a:cubicBezTo>
                <a:cubicBezTo>
                  <a:pt x="99728" y="25791"/>
                  <a:pt x="105711" y="25791"/>
                  <a:pt x="107706" y="25791"/>
                </a:cubicBezTo>
                <a:cubicBezTo>
                  <a:pt x="107706" y="23823"/>
                  <a:pt x="111695" y="23823"/>
                  <a:pt x="113690" y="23823"/>
                </a:cubicBezTo>
                <a:cubicBezTo>
                  <a:pt x="115684" y="23823"/>
                  <a:pt x="117679" y="23823"/>
                  <a:pt x="119673" y="23823"/>
                </a:cubicBezTo>
                <a:cubicBezTo>
                  <a:pt x="119673" y="25791"/>
                  <a:pt x="119673" y="27760"/>
                  <a:pt x="121668" y="29728"/>
                </a:cubicBezTo>
                <a:cubicBezTo>
                  <a:pt x="123662" y="29728"/>
                  <a:pt x="125657" y="27760"/>
                  <a:pt x="125657" y="27760"/>
                </a:cubicBezTo>
                <a:cubicBezTo>
                  <a:pt x="127651" y="25791"/>
                  <a:pt x="129646" y="25791"/>
                  <a:pt x="131641" y="25791"/>
                </a:cubicBezTo>
                <a:cubicBezTo>
                  <a:pt x="133635" y="25791"/>
                  <a:pt x="137624" y="29728"/>
                  <a:pt x="137624" y="29728"/>
                </a:cubicBezTo>
                <a:cubicBezTo>
                  <a:pt x="137624" y="29728"/>
                  <a:pt x="139619" y="31697"/>
                  <a:pt x="139619" y="31697"/>
                </a:cubicBezTo>
                <a:cubicBezTo>
                  <a:pt x="141613" y="33665"/>
                  <a:pt x="141613" y="35634"/>
                  <a:pt x="141613" y="35634"/>
                </a:cubicBezTo>
                <a:cubicBezTo>
                  <a:pt x="139619" y="35634"/>
                  <a:pt x="137624" y="35634"/>
                  <a:pt x="137624" y="35634"/>
                </a:cubicBezTo>
                <a:cubicBezTo>
                  <a:pt x="137624" y="35634"/>
                  <a:pt x="135630" y="35634"/>
                  <a:pt x="133635" y="35634"/>
                </a:cubicBezTo>
                <a:cubicBezTo>
                  <a:pt x="133635" y="35634"/>
                  <a:pt x="133635" y="39571"/>
                  <a:pt x="133635" y="39571"/>
                </a:cubicBezTo>
                <a:cubicBezTo>
                  <a:pt x="133635" y="41539"/>
                  <a:pt x="129646" y="43508"/>
                  <a:pt x="131641" y="45476"/>
                </a:cubicBezTo>
                <a:cubicBezTo>
                  <a:pt x="131641" y="45476"/>
                  <a:pt x="137624" y="43508"/>
                  <a:pt x="139619" y="43508"/>
                </a:cubicBezTo>
                <a:cubicBezTo>
                  <a:pt x="139619" y="43508"/>
                  <a:pt x="143608" y="43508"/>
                  <a:pt x="143608" y="43508"/>
                </a:cubicBezTo>
                <a:cubicBezTo>
                  <a:pt x="143608" y="43508"/>
                  <a:pt x="145602" y="39571"/>
                  <a:pt x="145602" y="39571"/>
                </a:cubicBezTo>
                <a:cubicBezTo>
                  <a:pt x="147597" y="37602"/>
                  <a:pt x="147597" y="37602"/>
                  <a:pt x="149591" y="39571"/>
                </a:cubicBezTo>
                <a:cubicBezTo>
                  <a:pt x="149591" y="41539"/>
                  <a:pt x="149591" y="43508"/>
                  <a:pt x="149591" y="43508"/>
                </a:cubicBezTo>
                <a:cubicBezTo>
                  <a:pt x="149591" y="43508"/>
                  <a:pt x="153581" y="43508"/>
                  <a:pt x="153581" y="43508"/>
                </a:cubicBezTo>
                <a:cubicBezTo>
                  <a:pt x="155575" y="45476"/>
                  <a:pt x="155575" y="47445"/>
                  <a:pt x="155575" y="49413"/>
                </a:cubicBezTo>
                <a:cubicBezTo>
                  <a:pt x="155575" y="51382"/>
                  <a:pt x="155575" y="55319"/>
                  <a:pt x="155575" y="55319"/>
                </a:cubicBezTo>
                <a:cubicBezTo>
                  <a:pt x="155575" y="57287"/>
                  <a:pt x="153581" y="61224"/>
                  <a:pt x="153581" y="61224"/>
                </a:cubicBezTo>
                <a:cubicBezTo>
                  <a:pt x="147597" y="61224"/>
                  <a:pt x="147597" y="61224"/>
                  <a:pt x="147597" y="61224"/>
                </a:cubicBezTo>
                <a:cubicBezTo>
                  <a:pt x="147597" y="61224"/>
                  <a:pt x="143608" y="65161"/>
                  <a:pt x="141613" y="65161"/>
                </a:cubicBezTo>
                <a:cubicBezTo>
                  <a:pt x="141613" y="65161"/>
                  <a:pt x="137624" y="67130"/>
                  <a:pt x="135630" y="67130"/>
                </a:cubicBezTo>
                <a:cubicBezTo>
                  <a:pt x="133635" y="67130"/>
                  <a:pt x="129646" y="63193"/>
                  <a:pt x="127651" y="63193"/>
                </a:cubicBezTo>
                <a:cubicBezTo>
                  <a:pt x="125657" y="61224"/>
                  <a:pt x="121668" y="61224"/>
                  <a:pt x="119673" y="61224"/>
                </a:cubicBezTo>
                <a:cubicBezTo>
                  <a:pt x="117679" y="61224"/>
                  <a:pt x="113690" y="61224"/>
                  <a:pt x="111695" y="61224"/>
                </a:cubicBezTo>
                <a:cubicBezTo>
                  <a:pt x="109700" y="61224"/>
                  <a:pt x="107706" y="63193"/>
                  <a:pt x="105711" y="65161"/>
                </a:cubicBezTo>
                <a:cubicBezTo>
                  <a:pt x="103717" y="67130"/>
                  <a:pt x="99728" y="71067"/>
                  <a:pt x="99728" y="73035"/>
                </a:cubicBezTo>
                <a:cubicBezTo>
                  <a:pt x="99728" y="73035"/>
                  <a:pt x="95739" y="76972"/>
                  <a:pt x="93744" y="76972"/>
                </a:cubicBezTo>
                <a:cubicBezTo>
                  <a:pt x="91749" y="80909"/>
                  <a:pt x="87760" y="86815"/>
                  <a:pt x="87760" y="88783"/>
                </a:cubicBezTo>
                <a:cubicBezTo>
                  <a:pt x="87760" y="88783"/>
                  <a:pt x="83771" y="98626"/>
                  <a:pt x="83771" y="98626"/>
                </a:cubicBezTo>
                <a:cubicBezTo>
                  <a:pt x="83771" y="98626"/>
                  <a:pt x="77788" y="98626"/>
                  <a:pt x="75793" y="98626"/>
                </a:cubicBezTo>
                <a:cubicBezTo>
                  <a:pt x="73799" y="98626"/>
                  <a:pt x="67815" y="98626"/>
                  <a:pt x="65820" y="98626"/>
                </a:cubicBezTo>
                <a:cubicBezTo>
                  <a:pt x="63826" y="100594"/>
                  <a:pt x="59837" y="100594"/>
                  <a:pt x="57842" y="102563"/>
                </a:cubicBezTo>
                <a:cubicBezTo>
                  <a:pt x="55848" y="102563"/>
                  <a:pt x="53853" y="106500"/>
                  <a:pt x="51858" y="108468"/>
                </a:cubicBezTo>
                <a:cubicBezTo>
                  <a:pt x="51858" y="108468"/>
                  <a:pt x="49864" y="112405"/>
                  <a:pt x="49864" y="112405"/>
                </a:cubicBezTo>
                <a:cubicBezTo>
                  <a:pt x="49864" y="114374"/>
                  <a:pt x="49864" y="116342"/>
                  <a:pt x="47869" y="116342"/>
                </a:cubicBezTo>
                <a:cubicBezTo>
                  <a:pt x="45875" y="116342"/>
                  <a:pt x="43880" y="116342"/>
                  <a:pt x="43880" y="116342"/>
                </a:cubicBezTo>
                <a:cubicBezTo>
                  <a:pt x="41886" y="116342"/>
                  <a:pt x="41886" y="116342"/>
                  <a:pt x="41886" y="116342"/>
                </a:cubicBezTo>
                <a:cubicBezTo>
                  <a:pt x="43880" y="116342"/>
                  <a:pt x="43880" y="114374"/>
                  <a:pt x="43880" y="114374"/>
                </a:cubicBezTo>
                <a:cubicBezTo>
                  <a:pt x="45875" y="112405"/>
                  <a:pt x="43880" y="106500"/>
                  <a:pt x="43880" y="106500"/>
                </a:cubicBezTo>
                <a:cubicBezTo>
                  <a:pt x="43880" y="106500"/>
                  <a:pt x="41886" y="106500"/>
                  <a:pt x="39891" y="106500"/>
                </a:cubicBezTo>
                <a:cubicBezTo>
                  <a:pt x="37897" y="106500"/>
                  <a:pt x="39891" y="94689"/>
                  <a:pt x="39891" y="94689"/>
                </a:cubicBezTo>
                <a:cubicBezTo>
                  <a:pt x="39891" y="94689"/>
                  <a:pt x="39891" y="90752"/>
                  <a:pt x="39891" y="90752"/>
                </a:cubicBezTo>
                <a:cubicBezTo>
                  <a:pt x="39891" y="88783"/>
                  <a:pt x="35902" y="88783"/>
                  <a:pt x="35902" y="86815"/>
                </a:cubicBezTo>
                <a:cubicBezTo>
                  <a:pt x="33907" y="86815"/>
                  <a:pt x="27924" y="86815"/>
                  <a:pt x="27924" y="86815"/>
                </a:cubicBezTo>
                <a:cubicBezTo>
                  <a:pt x="27924" y="86815"/>
                  <a:pt x="23935" y="84846"/>
                  <a:pt x="21940" y="82878"/>
                </a:cubicBezTo>
                <a:cubicBezTo>
                  <a:pt x="19946" y="82878"/>
                  <a:pt x="17951" y="80909"/>
                  <a:pt x="15957" y="78941"/>
                </a:cubicBezTo>
                <a:cubicBezTo>
                  <a:pt x="15957" y="78941"/>
                  <a:pt x="11967" y="75004"/>
                  <a:pt x="11967" y="75004"/>
                </a:cubicBezTo>
                <a:cubicBezTo>
                  <a:pt x="11967" y="75004"/>
                  <a:pt x="5984" y="71067"/>
                  <a:pt x="3989" y="71067"/>
                </a:cubicBezTo>
                <a:cubicBezTo>
                  <a:pt x="3989" y="69098"/>
                  <a:pt x="1995" y="69098"/>
                  <a:pt x="1995" y="69098"/>
                </a:cubicBezTo>
                <a:lnTo>
                  <a:pt x="0" y="69098"/>
                </a:lnTo>
                <a:cubicBezTo>
                  <a:pt x="0" y="67130"/>
                  <a:pt x="3989" y="61224"/>
                  <a:pt x="3989" y="59256"/>
                </a:cubicBezTo>
                <a:cubicBezTo>
                  <a:pt x="5984" y="57287"/>
                  <a:pt x="7978" y="53350"/>
                  <a:pt x="7978" y="51382"/>
                </a:cubicBezTo>
                <a:cubicBezTo>
                  <a:pt x="9973" y="49413"/>
                  <a:pt x="11967" y="45476"/>
                  <a:pt x="15957" y="45476"/>
                </a:cubicBezTo>
                <a:cubicBezTo>
                  <a:pt x="17951" y="43508"/>
                  <a:pt x="21940" y="39571"/>
                  <a:pt x="23935" y="37602"/>
                </a:cubicBezTo>
                <a:cubicBezTo>
                  <a:pt x="25929" y="37602"/>
                  <a:pt x="27924" y="35634"/>
                  <a:pt x="27924" y="33665"/>
                </a:cubicBezTo>
                <a:cubicBezTo>
                  <a:pt x="29918" y="31697"/>
                  <a:pt x="29918" y="29728"/>
                  <a:pt x="29918" y="29728"/>
                </a:cubicBezTo>
                <a:cubicBezTo>
                  <a:pt x="29918" y="29728"/>
                  <a:pt x="31913" y="29728"/>
                  <a:pt x="31913" y="27760"/>
                </a:cubicBezTo>
                <a:cubicBezTo>
                  <a:pt x="33907" y="27760"/>
                  <a:pt x="37897" y="23823"/>
                  <a:pt x="39891" y="21854"/>
                </a:cubicBezTo>
                <a:cubicBezTo>
                  <a:pt x="41886" y="21854"/>
                  <a:pt x="45875" y="23823"/>
                  <a:pt x="47869" y="25791"/>
                </a:cubicBezTo>
                <a:cubicBezTo>
                  <a:pt x="49864" y="27760"/>
                  <a:pt x="55848" y="27760"/>
                  <a:pt x="57842" y="27760"/>
                </a:cubicBezTo>
                <a:cubicBezTo>
                  <a:pt x="59837" y="27760"/>
                  <a:pt x="65820" y="31697"/>
                  <a:pt x="65820" y="31697"/>
                </a:cubicBezTo>
                <a:cubicBezTo>
                  <a:pt x="67815" y="31697"/>
                  <a:pt x="67815" y="29728"/>
                  <a:pt x="69809" y="29728"/>
                </a:cubicBezTo>
                <a:cubicBezTo>
                  <a:pt x="71804" y="29728"/>
                  <a:pt x="73799" y="31697"/>
                  <a:pt x="75793" y="29728"/>
                </a:cubicBezTo>
                <a:cubicBezTo>
                  <a:pt x="75793" y="27760"/>
                  <a:pt x="77788" y="27760"/>
                  <a:pt x="79782" y="25791"/>
                </a:cubicBezTo>
                <a:cubicBezTo>
                  <a:pt x="79782" y="25791"/>
                  <a:pt x="85766" y="25791"/>
                  <a:pt x="85766" y="25791"/>
                </a:cubicBezTo>
                <a:cubicBezTo>
                  <a:pt x="85766" y="25791"/>
                  <a:pt x="87760" y="21854"/>
                  <a:pt x="87760" y="21854"/>
                </a:cubicBezTo>
                <a:cubicBezTo>
                  <a:pt x="85766" y="19886"/>
                  <a:pt x="87760" y="17917"/>
                  <a:pt x="87760" y="17917"/>
                </a:cubicBezTo>
                <a:close/>
                <a:moveTo>
                  <a:pt x="84627" y="907"/>
                </a:moveTo>
                <a:cubicBezTo>
                  <a:pt x="84627" y="-1134"/>
                  <a:pt x="86580" y="907"/>
                  <a:pt x="88534" y="907"/>
                </a:cubicBezTo>
                <a:cubicBezTo>
                  <a:pt x="88534" y="907"/>
                  <a:pt x="90488" y="2948"/>
                  <a:pt x="90488" y="2948"/>
                </a:cubicBezTo>
                <a:cubicBezTo>
                  <a:pt x="88534" y="4989"/>
                  <a:pt x="86580" y="4989"/>
                  <a:pt x="86580" y="4989"/>
                </a:cubicBezTo>
                <a:cubicBezTo>
                  <a:pt x="86580" y="4989"/>
                  <a:pt x="82673" y="4989"/>
                  <a:pt x="82673" y="4989"/>
                </a:cubicBezTo>
                <a:cubicBezTo>
                  <a:pt x="80719" y="7030"/>
                  <a:pt x="78765" y="9071"/>
                  <a:pt x="76811" y="9071"/>
                </a:cubicBezTo>
                <a:cubicBezTo>
                  <a:pt x="72904" y="9071"/>
                  <a:pt x="72904" y="7030"/>
                  <a:pt x="70950" y="9071"/>
                </a:cubicBezTo>
                <a:cubicBezTo>
                  <a:pt x="68996" y="11112"/>
                  <a:pt x="67042" y="13153"/>
                  <a:pt x="67042" y="13153"/>
                </a:cubicBezTo>
                <a:cubicBezTo>
                  <a:pt x="65088" y="13153"/>
                  <a:pt x="65088" y="9071"/>
                  <a:pt x="65088" y="9071"/>
                </a:cubicBezTo>
                <a:cubicBezTo>
                  <a:pt x="65088" y="9071"/>
                  <a:pt x="65088" y="4989"/>
                  <a:pt x="67042" y="4989"/>
                </a:cubicBezTo>
                <a:cubicBezTo>
                  <a:pt x="70950" y="4989"/>
                  <a:pt x="72904" y="4989"/>
                  <a:pt x="72904" y="2948"/>
                </a:cubicBezTo>
                <a:cubicBezTo>
                  <a:pt x="72904" y="907"/>
                  <a:pt x="78765" y="907"/>
                  <a:pt x="78765" y="2948"/>
                </a:cubicBezTo>
                <a:cubicBezTo>
                  <a:pt x="80719" y="4989"/>
                  <a:pt x="84627" y="907"/>
                  <a:pt x="84627" y="907"/>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29" name="Belize"/>
          <p:cNvSpPr>
            <a:spLocks/>
          </p:cNvSpPr>
          <p:nvPr/>
        </p:nvSpPr>
        <p:spPr bwMode="auto">
          <a:xfrm>
            <a:off x="3806829" y="3453192"/>
            <a:ext cx="40831" cy="96358"/>
          </a:xfrm>
          <a:custGeom>
            <a:avLst/>
            <a:gdLst>
              <a:gd name="T0" fmla="*/ 4 w 20"/>
              <a:gd name="T1" fmla="*/ 47 h 47"/>
              <a:gd name="T2" fmla="*/ 6 w 20"/>
              <a:gd name="T3" fmla="*/ 46 h 47"/>
              <a:gd name="T4" fmla="*/ 7 w 20"/>
              <a:gd name="T5" fmla="*/ 41 h 47"/>
              <a:gd name="T6" fmla="*/ 9 w 20"/>
              <a:gd name="T7" fmla="*/ 38 h 47"/>
              <a:gd name="T8" fmla="*/ 10 w 20"/>
              <a:gd name="T9" fmla="*/ 35 h 47"/>
              <a:gd name="T10" fmla="*/ 9 w 20"/>
              <a:gd name="T11" fmla="*/ 28 h 47"/>
              <a:gd name="T12" fmla="*/ 10 w 20"/>
              <a:gd name="T13" fmla="*/ 22 h 47"/>
              <a:gd name="T14" fmla="*/ 11 w 20"/>
              <a:gd name="T15" fmla="*/ 19 h 47"/>
              <a:gd name="T16" fmla="*/ 14 w 20"/>
              <a:gd name="T17" fmla="*/ 14 h 47"/>
              <a:gd name="T18" fmla="*/ 12 w 20"/>
              <a:gd name="T19" fmla="*/ 13 h 47"/>
              <a:gd name="T20" fmla="*/ 11 w 20"/>
              <a:gd name="T21" fmla="*/ 10 h 47"/>
              <a:gd name="T22" fmla="*/ 12 w 20"/>
              <a:gd name="T23" fmla="*/ 6 h 47"/>
              <a:gd name="T24" fmla="*/ 15 w 20"/>
              <a:gd name="T25" fmla="*/ 6 h 47"/>
              <a:gd name="T26" fmla="*/ 16 w 20"/>
              <a:gd name="T27" fmla="*/ 9 h 47"/>
              <a:gd name="T28" fmla="*/ 16 w 20"/>
              <a:gd name="T29" fmla="*/ 13 h 47"/>
              <a:gd name="T30" fmla="*/ 19 w 20"/>
              <a:gd name="T31" fmla="*/ 14 h 47"/>
              <a:gd name="T32" fmla="*/ 19 w 20"/>
              <a:gd name="T33" fmla="*/ 12 h 47"/>
              <a:gd name="T34" fmla="*/ 18 w 20"/>
              <a:gd name="T35" fmla="*/ 8 h 47"/>
              <a:gd name="T36" fmla="*/ 20 w 20"/>
              <a:gd name="T37" fmla="*/ 6 h 47"/>
              <a:gd name="T38" fmla="*/ 20 w 20"/>
              <a:gd name="T39" fmla="*/ 4 h 47"/>
              <a:gd name="T40" fmla="*/ 19 w 20"/>
              <a:gd name="T41" fmla="*/ 5 h 47"/>
              <a:gd name="T42" fmla="*/ 17 w 20"/>
              <a:gd name="T43" fmla="*/ 2 h 47"/>
              <a:gd name="T44" fmla="*/ 15 w 20"/>
              <a:gd name="T45" fmla="*/ 2 h 47"/>
              <a:gd name="T46" fmla="*/ 9 w 20"/>
              <a:gd name="T47" fmla="*/ 11 h 47"/>
              <a:gd name="T48" fmla="*/ 6 w 20"/>
              <a:gd name="T49" fmla="*/ 15 h 47"/>
              <a:gd name="T50" fmla="*/ 3 w 20"/>
              <a:gd name="T51" fmla="*/ 16 h 47"/>
              <a:gd name="T52" fmla="*/ 3 w 20"/>
              <a:gd name="T53" fmla="*/ 21 h 47"/>
              <a:gd name="T54" fmla="*/ 2 w 20"/>
              <a:gd name="T55" fmla="*/ 24 h 47"/>
              <a:gd name="T56" fmla="*/ 1 w 20"/>
              <a:gd name="T57" fmla="*/ 29 h 47"/>
              <a:gd name="T58" fmla="*/ 1 w 20"/>
              <a:gd name="T59" fmla="*/ 35 h 47"/>
              <a:gd name="T60" fmla="*/ 0 w 20"/>
              <a:gd name="T61" fmla="*/ 42 h 47"/>
              <a:gd name="T62" fmla="*/ 1 w 20"/>
              <a:gd name="T63" fmla="*/ 45 h 47"/>
              <a:gd name="T64" fmla="*/ 4 w 20"/>
              <a:gd name="T6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7">
                <a:moveTo>
                  <a:pt x="4" y="47"/>
                </a:moveTo>
                <a:cubicBezTo>
                  <a:pt x="5" y="46"/>
                  <a:pt x="5" y="46"/>
                  <a:pt x="6" y="46"/>
                </a:cubicBezTo>
                <a:cubicBezTo>
                  <a:pt x="6" y="45"/>
                  <a:pt x="7" y="42"/>
                  <a:pt x="7" y="41"/>
                </a:cubicBezTo>
                <a:cubicBezTo>
                  <a:pt x="8" y="40"/>
                  <a:pt x="9" y="40"/>
                  <a:pt x="9" y="38"/>
                </a:cubicBezTo>
                <a:cubicBezTo>
                  <a:pt x="10" y="37"/>
                  <a:pt x="10" y="36"/>
                  <a:pt x="10" y="35"/>
                </a:cubicBezTo>
                <a:cubicBezTo>
                  <a:pt x="10" y="34"/>
                  <a:pt x="9" y="29"/>
                  <a:pt x="9" y="28"/>
                </a:cubicBezTo>
                <a:cubicBezTo>
                  <a:pt x="9" y="27"/>
                  <a:pt x="10" y="23"/>
                  <a:pt x="10" y="22"/>
                </a:cubicBezTo>
                <a:cubicBezTo>
                  <a:pt x="10" y="21"/>
                  <a:pt x="11" y="20"/>
                  <a:pt x="11" y="19"/>
                </a:cubicBezTo>
                <a:cubicBezTo>
                  <a:pt x="12" y="18"/>
                  <a:pt x="13" y="16"/>
                  <a:pt x="14" y="14"/>
                </a:cubicBezTo>
                <a:cubicBezTo>
                  <a:pt x="14" y="13"/>
                  <a:pt x="13" y="13"/>
                  <a:pt x="12" y="13"/>
                </a:cubicBezTo>
                <a:cubicBezTo>
                  <a:pt x="11" y="12"/>
                  <a:pt x="11" y="11"/>
                  <a:pt x="11" y="10"/>
                </a:cubicBezTo>
                <a:cubicBezTo>
                  <a:pt x="11" y="9"/>
                  <a:pt x="12" y="7"/>
                  <a:pt x="12" y="6"/>
                </a:cubicBezTo>
                <a:cubicBezTo>
                  <a:pt x="13" y="5"/>
                  <a:pt x="14" y="6"/>
                  <a:pt x="15" y="6"/>
                </a:cubicBezTo>
                <a:cubicBezTo>
                  <a:pt x="16" y="6"/>
                  <a:pt x="16" y="8"/>
                  <a:pt x="16" y="9"/>
                </a:cubicBezTo>
                <a:cubicBezTo>
                  <a:pt x="16" y="9"/>
                  <a:pt x="16" y="12"/>
                  <a:pt x="16" y="13"/>
                </a:cubicBezTo>
                <a:cubicBezTo>
                  <a:pt x="16" y="13"/>
                  <a:pt x="18" y="13"/>
                  <a:pt x="19" y="14"/>
                </a:cubicBezTo>
                <a:cubicBezTo>
                  <a:pt x="20" y="14"/>
                  <a:pt x="20" y="12"/>
                  <a:pt x="19" y="12"/>
                </a:cubicBezTo>
                <a:cubicBezTo>
                  <a:pt x="19" y="11"/>
                  <a:pt x="18" y="10"/>
                  <a:pt x="18" y="8"/>
                </a:cubicBezTo>
                <a:cubicBezTo>
                  <a:pt x="18" y="7"/>
                  <a:pt x="19" y="6"/>
                  <a:pt x="20" y="6"/>
                </a:cubicBezTo>
                <a:cubicBezTo>
                  <a:pt x="20" y="5"/>
                  <a:pt x="20" y="5"/>
                  <a:pt x="20" y="4"/>
                </a:cubicBezTo>
                <a:cubicBezTo>
                  <a:pt x="20" y="4"/>
                  <a:pt x="20" y="5"/>
                  <a:pt x="19" y="5"/>
                </a:cubicBezTo>
                <a:cubicBezTo>
                  <a:pt x="18" y="5"/>
                  <a:pt x="17" y="4"/>
                  <a:pt x="17" y="2"/>
                </a:cubicBezTo>
                <a:cubicBezTo>
                  <a:pt x="18" y="1"/>
                  <a:pt x="17" y="0"/>
                  <a:pt x="15" y="2"/>
                </a:cubicBezTo>
                <a:cubicBezTo>
                  <a:pt x="12" y="4"/>
                  <a:pt x="9" y="11"/>
                  <a:pt x="9" y="11"/>
                </a:cubicBezTo>
                <a:cubicBezTo>
                  <a:pt x="9" y="11"/>
                  <a:pt x="7" y="15"/>
                  <a:pt x="6" y="15"/>
                </a:cubicBezTo>
                <a:cubicBezTo>
                  <a:pt x="5" y="15"/>
                  <a:pt x="3" y="16"/>
                  <a:pt x="3" y="16"/>
                </a:cubicBezTo>
                <a:cubicBezTo>
                  <a:pt x="3" y="16"/>
                  <a:pt x="3" y="20"/>
                  <a:pt x="3" y="21"/>
                </a:cubicBezTo>
                <a:cubicBezTo>
                  <a:pt x="3" y="21"/>
                  <a:pt x="2" y="24"/>
                  <a:pt x="2" y="24"/>
                </a:cubicBezTo>
                <a:cubicBezTo>
                  <a:pt x="2" y="25"/>
                  <a:pt x="1" y="28"/>
                  <a:pt x="1" y="29"/>
                </a:cubicBezTo>
                <a:cubicBezTo>
                  <a:pt x="1" y="29"/>
                  <a:pt x="1" y="34"/>
                  <a:pt x="1" y="35"/>
                </a:cubicBezTo>
                <a:cubicBezTo>
                  <a:pt x="1" y="36"/>
                  <a:pt x="0" y="40"/>
                  <a:pt x="0" y="42"/>
                </a:cubicBezTo>
                <a:cubicBezTo>
                  <a:pt x="0" y="42"/>
                  <a:pt x="0" y="45"/>
                  <a:pt x="1" y="45"/>
                </a:cubicBezTo>
                <a:cubicBezTo>
                  <a:pt x="1" y="46"/>
                  <a:pt x="4" y="47"/>
                  <a:pt x="4" y="47"/>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0" name="Mexico"/>
          <p:cNvSpPr>
            <a:spLocks/>
          </p:cNvSpPr>
          <p:nvPr/>
        </p:nvSpPr>
        <p:spPr bwMode="auto">
          <a:xfrm>
            <a:off x="3053707" y="2981200"/>
            <a:ext cx="820083" cy="614080"/>
          </a:xfrm>
          <a:custGeom>
            <a:avLst/>
            <a:gdLst>
              <a:gd name="connsiteX0" fmla="*/ 203680 w 797141"/>
              <a:gd name="connsiteY0" fmla="*/ 279242 h 596900"/>
              <a:gd name="connsiteX1" fmla="*/ 205532 w 797141"/>
              <a:gd name="connsiteY1" fmla="*/ 279718 h 596900"/>
              <a:gd name="connsiteX2" fmla="*/ 209237 w 797141"/>
              <a:gd name="connsiteY2" fmla="*/ 283528 h 596900"/>
              <a:gd name="connsiteX3" fmla="*/ 201828 w 797141"/>
              <a:gd name="connsiteY3" fmla="*/ 281623 h 596900"/>
              <a:gd name="connsiteX4" fmla="*/ 203680 w 797141"/>
              <a:gd name="connsiteY4" fmla="*/ 279242 h 596900"/>
              <a:gd name="connsiteX5" fmla="*/ 191113 w 797141"/>
              <a:gd name="connsiteY5" fmla="*/ 277654 h 596900"/>
              <a:gd name="connsiteX6" fmla="*/ 193097 w 797141"/>
              <a:gd name="connsiteY6" fmla="*/ 278130 h 596900"/>
              <a:gd name="connsiteX7" fmla="*/ 197066 w 797141"/>
              <a:gd name="connsiteY7" fmla="*/ 280035 h 596900"/>
              <a:gd name="connsiteX8" fmla="*/ 189128 w 797141"/>
              <a:gd name="connsiteY8" fmla="*/ 280035 h 596900"/>
              <a:gd name="connsiteX9" fmla="*/ 191113 w 797141"/>
              <a:gd name="connsiteY9" fmla="*/ 277654 h 596900"/>
              <a:gd name="connsiteX10" fmla="*/ 192700 w 797141"/>
              <a:gd name="connsiteY10" fmla="*/ 265113 h 596900"/>
              <a:gd name="connsiteX11" fmla="*/ 190715 w 797141"/>
              <a:gd name="connsiteY11" fmla="*/ 269346 h 596900"/>
              <a:gd name="connsiteX12" fmla="*/ 192700 w 797141"/>
              <a:gd name="connsiteY12" fmla="*/ 265113 h 596900"/>
              <a:gd name="connsiteX13" fmla="*/ 143620 w 797141"/>
              <a:gd name="connsiteY13" fmla="*/ 263843 h 596900"/>
              <a:gd name="connsiteX14" fmla="*/ 141503 w 797141"/>
              <a:gd name="connsiteY14" fmla="*/ 271463 h 596900"/>
              <a:gd name="connsiteX15" fmla="*/ 143620 w 797141"/>
              <a:gd name="connsiteY15" fmla="*/ 275273 h 596900"/>
              <a:gd name="connsiteX16" fmla="*/ 145736 w 797141"/>
              <a:gd name="connsiteY16" fmla="*/ 277178 h 596900"/>
              <a:gd name="connsiteX17" fmla="*/ 143620 w 797141"/>
              <a:gd name="connsiteY17" fmla="*/ 280988 h 596900"/>
              <a:gd name="connsiteX18" fmla="*/ 139386 w 797141"/>
              <a:gd name="connsiteY18" fmla="*/ 275273 h 596900"/>
              <a:gd name="connsiteX19" fmla="*/ 133036 w 797141"/>
              <a:gd name="connsiteY19" fmla="*/ 273368 h 596900"/>
              <a:gd name="connsiteX20" fmla="*/ 135153 w 797141"/>
              <a:gd name="connsiteY20" fmla="*/ 267653 h 596900"/>
              <a:gd name="connsiteX21" fmla="*/ 139386 w 797141"/>
              <a:gd name="connsiteY21" fmla="*/ 265748 h 596900"/>
              <a:gd name="connsiteX22" fmla="*/ 143620 w 797141"/>
              <a:gd name="connsiteY22" fmla="*/ 263843 h 596900"/>
              <a:gd name="connsiteX23" fmla="*/ 81972 w 797141"/>
              <a:gd name="connsiteY23" fmla="*/ 151210 h 596900"/>
              <a:gd name="connsiteX24" fmla="*/ 83824 w 797141"/>
              <a:gd name="connsiteY24" fmla="*/ 155178 h 596900"/>
              <a:gd name="connsiteX25" fmla="*/ 81972 w 797141"/>
              <a:gd name="connsiteY25" fmla="*/ 159147 h 596900"/>
              <a:gd name="connsiteX26" fmla="*/ 80119 w 797141"/>
              <a:gd name="connsiteY26" fmla="*/ 163116 h 596900"/>
              <a:gd name="connsiteX27" fmla="*/ 78267 w 797141"/>
              <a:gd name="connsiteY27" fmla="*/ 157163 h 596900"/>
              <a:gd name="connsiteX28" fmla="*/ 81972 w 797141"/>
              <a:gd name="connsiteY28" fmla="*/ 151210 h 596900"/>
              <a:gd name="connsiteX29" fmla="*/ 2438 w 797141"/>
              <a:gd name="connsiteY29" fmla="*/ 133668 h 596900"/>
              <a:gd name="connsiteX30" fmla="*/ 4343 w 797141"/>
              <a:gd name="connsiteY30" fmla="*/ 137478 h 596900"/>
              <a:gd name="connsiteX31" fmla="*/ 533 w 797141"/>
              <a:gd name="connsiteY31" fmla="*/ 137478 h 596900"/>
              <a:gd name="connsiteX32" fmla="*/ 2438 w 797141"/>
              <a:gd name="connsiteY32" fmla="*/ 133668 h 596900"/>
              <a:gd name="connsiteX33" fmla="*/ 147853 w 797141"/>
              <a:gd name="connsiteY33" fmla="*/ 130175 h 596900"/>
              <a:gd name="connsiteX34" fmla="*/ 155791 w 797141"/>
              <a:gd name="connsiteY34" fmla="*/ 137583 h 596900"/>
              <a:gd name="connsiteX35" fmla="*/ 151822 w 797141"/>
              <a:gd name="connsiteY35" fmla="*/ 139435 h 596900"/>
              <a:gd name="connsiteX36" fmla="*/ 149838 w 797141"/>
              <a:gd name="connsiteY36" fmla="*/ 137583 h 596900"/>
              <a:gd name="connsiteX37" fmla="*/ 147853 w 797141"/>
              <a:gd name="connsiteY37" fmla="*/ 133879 h 596900"/>
              <a:gd name="connsiteX38" fmla="*/ 147853 w 797141"/>
              <a:gd name="connsiteY38" fmla="*/ 130175 h 596900"/>
              <a:gd name="connsiteX39" fmla="*/ 2332 w 797141"/>
              <a:gd name="connsiteY39" fmla="*/ 124090 h 596900"/>
              <a:gd name="connsiteX40" fmla="*/ 4448 w 797141"/>
              <a:gd name="connsiteY40" fmla="*/ 129646 h 596900"/>
              <a:gd name="connsiteX41" fmla="*/ 215 w 797141"/>
              <a:gd name="connsiteY41" fmla="*/ 129646 h 596900"/>
              <a:gd name="connsiteX42" fmla="*/ 2332 w 797141"/>
              <a:gd name="connsiteY42" fmla="*/ 124090 h 596900"/>
              <a:gd name="connsiteX43" fmla="*/ 128009 w 797141"/>
              <a:gd name="connsiteY43" fmla="*/ 115788 h 596900"/>
              <a:gd name="connsiteX44" fmla="*/ 129332 w 797141"/>
              <a:gd name="connsiteY44" fmla="*/ 118269 h 596900"/>
              <a:gd name="connsiteX45" fmla="*/ 131448 w 797141"/>
              <a:gd name="connsiteY45" fmla="*/ 122237 h 596900"/>
              <a:gd name="connsiteX46" fmla="*/ 135682 w 797141"/>
              <a:gd name="connsiteY46" fmla="*/ 126206 h 596900"/>
              <a:gd name="connsiteX47" fmla="*/ 133565 w 797141"/>
              <a:gd name="connsiteY47" fmla="*/ 130175 h 596900"/>
              <a:gd name="connsiteX48" fmla="*/ 127215 w 797141"/>
              <a:gd name="connsiteY48" fmla="*/ 128191 h 596900"/>
              <a:gd name="connsiteX49" fmla="*/ 125098 w 797141"/>
              <a:gd name="connsiteY49" fmla="*/ 126206 h 596900"/>
              <a:gd name="connsiteX50" fmla="*/ 125098 w 797141"/>
              <a:gd name="connsiteY50" fmla="*/ 122237 h 596900"/>
              <a:gd name="connsiteX51" fmla="*/ 122982 w 797141"/>
              <a:gd name="connsiteY51" fmla="*/ 120253 h 596900"/>
              <a:gd name="connsiteX52" fmla="*/ 125098 w 797141"/>
              <a:gd name="connsiteY52" fmla="*/ 116284 h 596900"/>
              <a:gd name="connsiteX53" fmla="*/ 128009 w 797141"/>
              <a:gd name="connsiteY53" fmla="*/ 115788 h 596900"/>
              <a:gd name="connsiteX54" fmla="*/ 72146 w 797141"/>
              <a:gd name="connsiteY54" fmla="*/ 0 h 596900"/>
              <a:gd name="connsiteX55" fmla="*/ 109989 w 797141"/>
              <a:gd name="connsiteY55" fmla="*/ 5989 h 596900"/>
              <a:gd name="connsiteX56" fmla="*/ 141857 w 797141"/>
              <a:gd name="connsiteY56" fmla="*/ 15970 h 596900"/>
              <a:gd name="connsiteX57" fmla="*/ 195634 w 797141"/>
              <a:gd name="connsiteY57" fmla="*/ 39926 h 596900"/>
              <a:gd name="connsiteX58" fmla="*/ 243436 w 797141"/>
              <a:gd name="connsiteY58" fmla="*/ 51904 h 596900"/>
              <a:gd name="connsiteX59" fmla="*/ 275304 w 797141"/>
              <a:gd name="connsiteY59" fmla="*/ 51904 h 596900"/>
              <a:gd name="connsiteX60" fmla="*/ 293229 w 797141"/>
              <a:gd name="connsiteY60" fmla="*/ 47912 h 596900"/>
              <a:gd name="connsiteX61" fmla="*/ 303188 w 797141"/>
              <a:gd name="connsiteY61" fmla="*/ 39926 h 596900"/>
              <a:gd name="connsiteX62" fmla="*/ 329081 w 797141"/>
              <a:gd name="connsiteY62" fmla="*/ 37930 h 596900"/>
              <a:gd name="connsiteX63" fmla="*/ 339040 w 797141"/>
              <a:gd name="connsiteY63" fmla="*/ 41923 h 596900"/>
              <a:gd name="connsiteX64" fmla="*/ 345015 w 797141"/>
              <a:gd name="connsiteY64" fmla="*/ 45915 h 596900"/>
              <a:gd name="connsiteX65" fmla="*/ 352982 w 797141"/>
              <a:gd name="connsiteY65" fmla="*/ 61886 h 596900"/>
              <a:gd name="connsiteX66" fmla="*/ 368916 w 797141"/>
              <a:gd name="connsiteY66" fmla="*/ 87838 h 596900"/>
              <a:gd name="connsiteX67" fmla="*/ 378875 w 797141"/>
              <a:gd name="connsiteY67" fmla="*/ 111794 h 596900"/>
              <a:gd name="connsiteX68" fmla="*/ 404767 w 797141"/>
              <a:gd name="connsiteY68" fmla="*/ 125768 h 596900"/>
              <a:gd name="connsiteX69" fmla="*/ 416718 w 797141"/>
              <a:gd name="connsiteY69" fmla="*/ 123772 h 596900"/>
              <a:gd name="connsiteX70" fmla="*/ 416718 w 797141"/>
              <a:gd name="connsiteY70" fmla="*/ 107801 h 596900"/>
              <a:gd name="connsiteX71" fmla="*/ 418709 w 797141"/>
              <a:gd name="connsiteY71" fmla="*/ 101812 h 596900"/>
              <a:gd name="connsiteX72" fmla="*/ 424685 w 797141"/>
              <a:gd name="connsiteY72" fmla="*/ 101812 h 596900"/>
              <a:gd name="connsiteX73" fmla="*/ 432652 w 797141"/>
              <a:gd name="connsiteY73" fmla="*/ 103809 h 596900"/>
              <a:gd name="connsiteX74" fmla="*/ 448586 w 797141"/>
              <a:gd name="connsiteY74" fmla="*/ 103809 h 596900"/>
              <a:gd name="connsiteX75" fmla="*/ 462528 w 797141"/>
              <a:gd name="connsiteY75" fmla="*/ 103809 h 596900"/>
              <a:gd name="connsiteX76" fmla="*/ 466511 w 797141"/>
              <a:gd name="connsiteY76" fmla="*/ 111794 h 596900"/>
              <a:gd name="connsiteX77" fmla="*/ 476470 w 797141"/>
              <a:gd name="connsiteY77" fmla="*/ 151721 h 596900"/>
              <a:gd name="connsiteX78" fmla="*/ 488421 w 797141"/>
              <a:gd name="connsiteY78" fmla="*/ 175676 h 596900"/>
              <a:gd name="connsiteX79" fmla="*/ 496388 w 797141"/>
              <a:gd name="connsiteY79" fmla="*/ 193643 h 596900"/>
              <a:gd name="connsiteX80" fmla="*/ 502363 w 797141"/>
              <a:gd name="connsiteY80" fmla="*/ 213606 h 596900"/>
              <a:gd name="connsiteX81" fmla="*/ 516305 w 797141"/>
              <a:gd name="connsiteY81" fmla="*/ 221592 h 596900"/>
              <a:gd name="connsiteX82" fmla="*/ 538214 w 797141"/>
              <a:gd name="connsiteY82" fmla="*/ 215603 h 596900"/>
              <a:gd name="connsiteX83" fmla="*/ 540206 w 797141"/>
              <a:gd name="connsiteY83" fmla="*/ 221592 h 596900"/>
              <a:gd name="connsiteX84" fmla="*/ 538214 w 797141"/>
              <a:gd name="connsiteY84" fmla="*/ 229577 h 596900"/>
              <a:gd name="connsiteX85" fmla="*/ 538214 w 797141"/>
              <a:gd name="connsiteY85" fmla="*/ 237562 h 596900"/>
              <a:gd name="connsiteX86" fmla="*/ 534231 w 797141"/>
              <a:gd name="connsiteY86" fmla="*/ 247544 h 596900"/>
              <a:gd name="connsiteX87" fmla="*/ 530247 w 797141"/>
              <a:gd name="connsiteY87" fmla="*/ 257526 h 596900"/>
              <a:gd name="connsiteX88" fmla="*/ 526264 w 797141"/>
              <a:gd name="connsiteY88" fmla="*/ 261518 h 596900"/>
              <a:gd name="connsiteX89" fmla="*/ 522280 w 797141"/>
              <a:gd name="connsiteY89" fmla="*/ 261518 h 596900"/>
              <a:gd name="connsiteX90" fmla="*/ 524272 w 797141"/>
              <a:gd name="connsiteY90" fmla="*/ 267507 h 596900"/>
              <a:gd name="connsiteX91" fmla="*/ 524272 w 797141"/>
              <a:gd name="connsiteY91" fmla="*/ 277489 h 596900"/>
              <a:gd name="connsiteX92" fmla="*/ 522280 w 797141"/>
              <a:gd name="connsiteY92" fmla="*/ 279485 h 596900"/>
              <a:gd name="connsiteX93" fmla="*/ 518297 w 797141"/>
              <a:gd name="connsiteY93" fmla="*/ 277489 h 596900"/>
              <a:gd name="connsiteX94" fmla="*/ 516305 w 797141"/>
              <a:gd name="connsiteY94" fmla="*/ 277489 h 596900"/>
              <a:gd name="connsiteX95" fmla="*/ 518297 w 797141"/>
              <a:gd name="connsiteY95" fmla="*/ 285474 h 596900"/>
              <a:gd name="connsiteX96" fmla="*/ 520288 w 797141"/>
              <a:gd name="connsiteY96" fmla="*/ 289467 h 596900"/>
              <a:gd name="connsiteX97" fmla="*/ 516305 w 797141"/>
              <a:gd name="connsiteY97" fmla="*/ 323404 h 596900"/>
              <a:gd name="connsiteX98" fmla="*/ 514313 w 797141"/>
              <a:gd name="connsiteY98" fmla="*/ 333386 h 596900"/>
              <a:gd name="connsiteX99" fmla="*/ 510330 w 797141"/>
              <a:gd name="connsiteY99" fmla="*/ 343367 h 596900"/>
              <a:gd name="connsiteX100" fmla="*/ 514313 w 797141"/>
              <a:gd name="connsiteY100" fmla="*/ 347360 h 596900"/>
              <a:gd name="connsiteX101" fmla="*/ 516305 w 797141"/>
              <a:gd name="connsiteY101" fmla="*/ 353349 h 596900"/>
              <a:gd name="connsiteX102" fmla="*/ 514313 w 797141"/>
              <a:gd name="connsiteY102" fmla="*/ 359338 h 596900"/>
              <a:gd name="connsiteX103" fmla="*/ 518297 w 797141"/>
              <a:gd name="connsiteY103" fmla="*/ 367323 h 596900"/>
              <a:gd name="connsiteX104" fmla="*/ 520288 w 797141"/>
              <a:gd name="connsiteY104" fmla="*/ 371316 h 596900"/>
              <a:gd name="connsiteX105" fmla="*/ 520288 w 797141"/>
              <a:gd name="connsiteY105" fmla="*/ 383294 h 596900"/>
              <a:gd name="connsiteX106" fmla="*/ 522280 w 797141"/>
              <a:gd name="connsiteY106" fmla="*/ 399264 h 596900"/>
              <a:gd name="connsiteX107" fmla="*/ 524272 w 797141"/>
              <a:gd name="connsiteY107" fmla="*/ 405253 h 596900"/>
              <a:gd name="connsiteX108" fmla="*/ 524272 w 797141"/>
              <a:gd name="connsiteY108" fmla="*/ 415235 h 596900"/>
              <a:gd name="connsiteX109" fmla="*/ 532239 w 797141"/>
              <a:gd name="connsiteY109" fmla="*/ 421224 h 596900"/>
              <a:gd name="connsiteX110" fmla="*/ 534231 w 797141"/>
              <a:gd name="connsiteY110" fmla="*/ 429209 h 596900"/>
              <a:gd name="connsiteX111" fmla="*/ 544189 w 797141"/>
              <a:gd name="connsiteY111" fmla="*/ 433202 h 596900"/>
              <a:gd name="connsiteX112" fmla="*/ 544189 w 797141"/>
              <a:gd name="connsiteY112" fmla="*/ 443183 h 596900"/>
              <a:gd name="connsiteX113" fmla="*/ 550165 w 797141"/>
              <a:gd name="connsiteY113" fmla="*/ 451169 h 596900"/>
              <a:gd name="connsiteX114" fmla="*/ 558132 w 797141"/>
              <a:gd name="connsiteY114" fmla="*/ 465143 h 596900"/>
              <a:gd name="connsiteX115" fmla="*/ 562115 w 797141"/>
              <a:gd name="connsiteY115" fmla="*/ 471132 h 596900"/>
              <a:gd name="connsiteX116" fmla="*/ 568090 w 797141"/>
              <a:gd name="connsiteY116" fmla="*/ 471132 h 596900"/>
              <a:gd name="connsiteX117" fmla="*/ 574066 w 797141"/>
              <a:gd name="connsiteY117" fmla="*/ 469136 h 596900"/>
              <a:gd name="connsiteX118" fmla="*/ 578049 w 797141"/>
              <a:gd name="connsiteY118" fmla="*/ 473128 h 596900"/>
              <a:gd name="connsiteX119" fmla="*/ 580041 w 797141"/>
              <a:gd name="connsiteY119" fmla="*/ 475125 h 596900"/>
              <a:gd name="connsiteX120" fmla="*/ 588008 w 797141"/>
              <a:gd name="connsiteY120" fmla="*/ 477121 h 596900"/>
              <a:gd name="connsiteX121" fmla="*/ 588008 w 797141"/>
              <a:gd name="connsiteY121" fmla="*/ 487102 h 596900"/>
              <a:gd name="connsiteX122" fmla="*/ 595975 w 797141"/>
              <a:gd name="connsiteY122" fmla="*/ 487102 h 596900"/>
              <a:gd name="connsiteX123" fmla="*/ 599958 w 797141"/>
              <a:gd name="connsiteY123" fmla="*/ 487102 h 596900"/>
              <a:gd name="connsiteX124" fmla="*/ 605934 w 797141"/>
              <a:gd name="connsiteY124" fmla="*/ 485106 h 596900"/>
              <a:gd name="connsiteX125" fmla="*/ 607925 w 797141"/>
              <a:gd name="connsiteY125" fmla="*/ 479117 h 596900"/>
              <a:gd name="connsiteX126" fmla="*/ 611909 w 797141"/>
              <a:gd name="connsiteY126" fmla="*/ 477121 h 596900"/>
              <a:gd name="connsiteX127" fmla="*/ 615892 w 797141"/>
              <a:gd name="connsiteY127" fmla="*/ 477121 h 596900"/>
              <a:gd name="connsiteX128" fmla="*/ 619876 w 797141"/>
              <a:gd name="connsiteY128" fmla="*/ 479117 h 596900"/>
              <a:gd name="connsiteX129" fmla="*/ 625851 w 797141"/>
              <a:gd name="connsiteY129" fmla="*/ 479117 h 596900"/>
              <a:gd name="connsiteX130" fmla="*/ 631826 w 797141"/>
              <a:gd name="connsiteY130" fmla="*/ 479117 h 596900"/>
              <a:gd name="connsiteX131" fmla="*/ 635810 w 797141"/>
              <a:gd name="connsiteY131" fmla="*/ 479117 h 596900"/>
              <a:gd name="connsiteX132" fmla="*/ 637801 w 797141"/>
              <a:gd name="connsiteY132" fmla="*/ 473128 h 596900"/>
              <a:gd name="connsiteX133" fmla="*/ 641785 w 797141"/>
              <a:gd name="connsiteY133" fmla="*/ 471132 h 596900"/>
              <a:gd name="connsiteX134" fmla="*/ 651744 w 797141"/>
              <a:gd name="connsiteY134" fmla="*/ 469136 h 596900"/>
              <a:gd name="connsiteX135" fmla="*/ 659711 w 797141"/>
              <a:gd name="connsiteY135" fmla="*/ 469136 h 596900"/>
              <a:gd name="connsiteX136" fmla="*/ 659711 w 797141"/>
              <a:gd name="connsiteY136" fmla="*/ 475125 h 596900"/>
              <a:gd name="connsiteX137" fmla="*/ 665686 w 797141"/>
              <a:gd name="connsiteY137" fmla="*/ 479117 h 596900"/>
              <a:gd name="connsiteX138" fmla="*/ 669669 w 797141"/>
              <a:gd name="connsiteY138" fmla="*/ 475125 h 596900"/>
              <a:gd name="connsiteX139" fmla="*/ 673653 w 797141"/>
              <a:gd name="connsiteY139" fmla="*/ 475125 h 596900"/>
              <a:gd name="connsiteX140" fmla="*/ 675645 w 797141"/>
              <a:gd name="connsiteY140" fmla="*/ 469136 h 596900"/>
              <a:gd name="connsiteX141" fmla="*/ 671661 w 797141"/>
              <a:gd name="connsiteY141" fmla="*/ 467139 h 596900"/>
              <a:gd name="connsiteX142" fmla="*/ 667678 w 797141"/>
              <a:gd name="connsiteY142" fmla="*/ 467139 h 596900"/>
              <a:gd name="connsiteX143" fmla="*/ 665686 w 797141"/>
              <a:gd name="connsiteY143" fmla="*/ 467139 h 596900"/>
              <a:gd name="connsiteX144" fmla="*/ 673653 w 797141"/>
              <a:gd name="connsiteY144" fmla="*/ 459154 h 596900"/>
              <a:gd name="connsiteX145" fmla="*/ 687595 w 797141"/>
              <a:gd name="connsiteY145" fmla="*/ 455161 h 596900"/>
              <a:gd name="connsiteX146" fmla="*/ 689587 w 797141"/>
              <a:gd name="connsiteY146" fmla="*/ 447176 h 596900"/>
              <a:gd name="connsiteX147" fmla="*/ 691579 w 797141"/>
              <a:gd name="connsiteY147" fmla="*/ 441187 h 596900"/>
              <a:gd name="connsiteX148" fmla="*/ 691579 w 797141"/>
              <a:gd name="connsiteY148" fmla="*/ 437194 h 596900"/>
              <a:gd name="connsiteX149" fmla="*/ 695562 w 797141"/>
              <a:gd name="connsiteY149" fmla="*/ 435198 h 596900"/>
              <a:gd name="connsiteX150" fmla="*/ 695562 w 797141"/>
              <a:gd name="connsiteY150" fmla="*/ 433202 h 596900"/>
              <a:gd name="connsiteX151" fmla="*/ 697554 w 797141"/>
              <a:gd name="connsiteY151" fmla="*/ 419228 h 596900"/>
              <a:gd name="connsiteX152" fmla="*/ 699546 w 797141"/>
              <a:gd name="connsiteY152" fmla="*/ 407250 h 596900"/>
              <a:gd name="connsiteX153" fmla="*/ 699546 w 797141"/>
              <a:gd name="connsiteY153" fmla="*/ 399264 h 596900"/>
              <a:gd name="connsiteX154" fmla="*/ 707513 w 797141"/>
              <a:gd name="connsiteY154" fmla="*/ 391279 h 596900"/>
              <a:gd name="connsiteX155" fmla="*/ 719463 w 797141"/>
              <a:gd name="connsiteY155" fmla="*/ 389283 h 596900"/>
              <a:gd name="connsiteX156" fmla="*/ 735397 w 797141"/>
              <a:gd name="connsiteY156" fmla="*/ 387286 h 596900"/>
              <a:gd name="connsiteX157" fmla="*/ 743364 w 797141"/>
              <a:gd name="connsiteY157" fmla="*/ 385290 h 596900"/>
              <a:gd name="connsiteX158" fmla="*/ 747348 w 797141"/>
              <a:gd name="connsiteY158" fmla="*/ 383294 h 596900"/>
              <a:gd name="connsiteX159" fmla="*/ 751331 w 797141"/>
              <a:gd name="connsiteY159" fmla="*/ 381297 h 596900"/>
              <a:gd name="connsiteX160" fmla="*/ 761290 w 797141"/>
              <a:gd name="connsiteY160" fmla="*/ 383294 h 596900"/>
              <a:gd name="connsiteX161" fmla="*/ 765273 w 797141"/>
              <a:gd name="connsiteY161" fmla="*/ 379301 h 596900"/>
              <a:gd name="connsiteX162" fmla="*/ 775232 w 797141"/>
              <a:gd name="connsiteY162" fmla="*/ 383294 h 596900"/>
              <a:gd name="connsiteX163" fmla="*/ 785191 w 797141"/>
              <a:gd name="connsiteY163" fmla="*/ 385290 h 596900"/>
              <a:gd name="connsiteX164" fmla="*/ 795149 w 797141"/>
              <a:gd name="connsiteY164" fmla="*/ 387286 h 596900"/>
              <a:gd name="connsiteX165" fmla="*/ 797141 w 797141"/>
              <a:gd name="connsiteY165" fmla="*/ 393275 h 596900"/>
              <a:gd name="connsiteX166" fmla="*/ 797141 w 797141"/>
              <a:gd name="connsiteY166" fmla="*/ 399264 h 596900"/>
              <a:gd name="connsiteX167" fmla="*/ 787182 w 797141"/>
              <a:gd name="connsiteY167" fmla="*/ 411242 h 596900"/>
              <a:gd name="connsiteX168" fmla="*/ 783199 w 797141"/>
              <a:gd name="connsiteY168" fmla="*/ 419228 h 596900"/>
              <a:gd name="connsiteX169" fmla="*/ 781207 w 797141"/>
              <a:gd name="connsiteY169" fmla="*/ 429209 h 596900"/>
              <a:gd name="connsiteX170" fmla="*/ 779215 w 797141"/>
              <a:gd name="connsiteY170" fmla="*/ 435198 h 596900"/>
              <a:gd name="connsiteX171" fmla="*/ 777224 w 797141"/>
              <a:gd name="connsiteY171" fmla="*/ 441187 h 596900"/>
              <a:gd name="connsiteX172" fmla="*/ 771248 w 797141"/>
              <a:gd name="connsiteY172" fmla="*/ 445180 h 596900"/>
              <a:gd name="connsiteX173" fmla="*/ 779215 w 797141"/>
              <a:gd name="connsiteY173" fmla="*/ 447176 h 596900"/>
              <a:gd name="connsiteX174" fmla="*/ 777224 w 797141"/>
              <a:gd name="connsiteY174" fmla="*/ 453165 h 596900"/>
              <a:gd name="connsiteX175" fmla="*/ 775232 w 797141"/>
              <a:gd name="connsiteY175" fmla="*/ 459154 h 596900"/>
              <a:gd name="connsiteX176" fmla="*/ 771248 w 797141"/>
              <a:gd name="connsiteY176" fmla="*/ 467139 h 596900"/>
              <a:gd name="connsiteX177" fmla="*/ 769257 w 797141"/>
              <a:gd name="connsiteY177" fmla="*/ 469136 h 596900"/>
              <a:gd name="connsiteX178" fmla="*/ 765273 w 797141"/>
              <a:gd name="connsiteY178" fmla="*/ 463147 h 596900"/>
              <a:gd name="connsiteX179" fmla="*/ 761290 w 797141"/>
              <a:gd name="connsiteY179" fmla="*/ 463147 h 596900"/>
              <a:gd name="connsiteX180" fmla="*/ 749339 w 797141"/>
              <a:gd name="connsiteY180" fmla="*/ 481114 h 596900"/>
              <a:gd name="connsiteX181" fmla="*/ 743364 w 797141"/>
              <a:gd name="connsiteY181" fmla="*/ 489099 h 596900"/>
              <a:gd name="connsiteX182" fmla="*/ 737389 w 797141"/>
              <a:gd name="connsiteY182" fmla="*/ 491095 h 596900"/>
              <a:gd name="connsiteX183" fmla="*/ 725438 w 797141"/>
              <a:gd name="connsiteY183" fmla="*/ 493091 h 596900"/>
              <a:gd name="connsiteX184" fmla="*/ 717471 w 797141"/>
              <a:gd name="connsiteY184" fmla="*/ 495088 h 596900"/>
              <a:gd name="connsiteX185" fmla="*/ 705521 w 797141"/>
              <a:gd name="connsiteY185" fmla="*/ 493091 h 596900"/>
              <a:gd name="connsiteX186" fmla="*/ 689587 w 797141"/>
              <a:gd name="connsiteY186" fmla="*/ 493091 h 596900"/>
              <a:gd name="connsiteX187" fmla="*/ 683612 w 797141"/>
              <a:gd name="connsiteY187" fmla="*/ 497084 h 596900"/>
              <a:gd name="connsiteX188" fmla="*/ 683612 w 797141"/>
              <a:gd name="connsiteY188" fmla="*/ 507066 h 596900"/>
              <a:gd name="connsiteX189" fmla="*/ 683612 w 797141"/>
              <a:gd name="connsiteY189" fmla="*/ 513055 h 596900"/>
              <a:gd name="connsiteX190" fmla="*/ 679628 w 797141"/>
              <a:gd name="connsiteY190" fmla="*/ 519044 h 596900"/>
              <a:gd name="connsiteX191" fmla="*/ 683612 w 797141"/>
              <a:gd name="connsiteY191" fmla="*/ 525033 h 596900"/>
              <a:gd name="connsiteX192" fmla="*/ 691579 w 797141"/>
              <a:gd name="connsiteY192" fmla="*/ 531022 h 596900"/>
              <a:gd name="connsiteX193" fmla="*/ 695562 w 797141"/>
              <a:gd name="connsiteY193" fmla="*/ 537011 h 596900"/>
              <a:gd name="connsiteX194" fmla="*/ 695562 w 797141"/>
              <a:gd name="connsiteY194" fmla="*/ 542999 h 596900"/>
              <a:gd name="connsiteX195" fmla="*/ 685603 w 797141"/>
              <a:gd name="connsiteY195" fmla="*/ 546992 h 596900"/>
              <a:gd name="connsiteX196" fmla="*/ 673653 w 797141"/>
              <a:gd name="connsiteY196" fmla="*/ 546992 h 596900"/>
              <a:gd name="connsiteX197" fmla="*/ 661702 w 797141"/>
              <a:gd name="connsiteY197" fmla="*/ 548988 h 596900"/>
              <a:gd name="connsiteX198" fmla="*/ 653735 w 797141"/>
              <a:gd name="connsiteY198" fmla="*/ 562963 h 596900"/>
              <a:gd name="connsiteX199" fmla="*/ 649752 w 797141"/>
              <a:gd name="connsiteY199" fmla="*/ 572944 h 596900"/>
              <a:gd name="connsiteX200" fmla="*/ 641785 w 797141"/>
              <a:gd name="connsiteY200" fmla="*/ 580930 h 596900"/>
              <a:gd name="connsiteX201" fmla="*/ 635810 w 797141"/>
              <a:gd name="connsiteY201" fmla="*/ 582926 h 596900"/>
              <a:gd name="connsiteX202" fmla="*/ 633818 w 797141"/>
              <a:gd name="connsiteY202" fmla="*/ 588915 h 596900"/>
              <a:gd name="connsiteX203" fmla="*/ 633818 w 797141"/>
              <a:gd name="connsiteY203" fmla="*/ 594904 h 596900"/>
              <a:gd name="connsiteX204" fmla="*/ 631826 w 797141"/>
              <a:gd name="connsiteY204" fmla="*/ 596900 h 596900"/>
              <a:gd name="connsiteX205" fmla="*/ 623859 w 797141"/>
              <a:gd name="connsiteY205" fmla="*/ 588915 h 596900"/>
              <a:gd name="connsiteX206" fmla="*/ 609917 w 797141"/>
              <a:gd name="connsiteY206" fmla="*/ 572944 h 596900"/>
              <a:gd name="connsiteX207" fmla="*/ 601950 w 797141"/>
              <a:gd name="connsiteY207" fmla="*/ 564959 h 596900"/>
              <a:gd name="connsiteX208" fmla="*/ 597967 w 797141"/>
              <a:gd name="connsiteY208" fmla="*/ 554977 h 596900"/>
              <a:gd name="connsiteX209" fmla="*/ 591991 w 797141"/>
              <a:gd name="connsiteY209" fmla="*/ 554977 h 596900"/>
              <a:gd name="connsiteX210" fmla="*/ 591991 w 797141"/>
              <a:gd name="connsiteY210" fmla="*/ 550985 h 596900"/>
              <a:gd name="connsiteX211" fmla="*/ 588008 w 797141"/>
              <a:gd name="connsiteY211" fmla="*/ 548988 h 596900"/>
              <a:gd name="connsiteX212" fmla="*/ 578049 w 797141"/>
              <a:gd name="connsiteY212" fmla="*/ 548988 h 596900"/>
              <a:gd name="connsiteX213" fmla="*/ 572074 w 797141"/>
              <a:gd name="connsiteY213" fmla="*/ 550985 h 596900"/>
              <a:gd name="connsiteX214" fmla="*/ 568090 w 797141"/>
              <a:gd name="connsiteY214" fmla="*/ 552981 h 596900"/>
              <a:gd name="connsiteX215" fmla="*/ 564107 w 797141"/>
              <a:gd name="connsiteY215" fmla="*/ 552981 h 596900"/>
              <a:gd name="connsiteX216" fmla="*/ 558132 w 797141"/>
              <a:gd name="connsiteY216" fmla="*/ 554977 h 596900"/>
              <a:gd name="connsiteX217" fmla="*/ 552156 w 797141"/>
              <a:gd name="connsiteY217" fmla="*/ 560966 h 596900"/>
              <a:gd name="connsiteX218" fmla="*/ 544189 w 797141"/>
              <a:gd name="connsiteY218" fmla="*/ 564959 h 596900"/>
              <a:gd name="connsiteX219" fmla="*/ 538214 w 797141"/>
              <a:gd name="connsiteY219" fmla="*/ 564959 h 596900"/>
              <a:gd name="connsiteX220" fmla="*/ 532239 w 797141"/>
              <a:gd name="connsiteY220" fmla="*/ 566955 h 596900"/>
              <a:gd name="connsiteX221" fmla="*/ 526264 w 797141"/>
              <a:gd name="connsiteY221" fmla="*/ 568952 h 596900"/>
              <a:gd name="connsiteX222" fmla="*/ 522280 w 797141"/>
              <a:gd name="connsiteY222" fmla="*/ 564959 h 596900"/>
              <a:gd name="connsiteX223" fmla="*/ 516305 w 797141"/>
              <a:gd name="connsiteY223" fmla="*/ 560966 h 596900"/>
              <a:gd name="connsiteX224" fmla="*/ 504355 w 797141"/>
              <a:gd name="connsiteY224" fmla="*/ 560966 h 596900"/>
              <a:gd name="connsiteX225" fmla="*/ 502363 w 797141"/>
              <a:gd name="connsiteY225" fmla="*/ 558970 h 596900"/>
              <a:gd name="connsiteX226" fmla="*/ 500371 w 797141"/>
              <a:gd name="connsiteY226" fmla="*/ 556974 h 596900"/>
              <a:gd name="connsiteX227" fmla="*/ 496388 w 797141"/>
              <a:gd name="connsiteY227" fmla="*/ 554977 h 596900"/>
              <a:gd name="connsiteX228" fmla="*/ 494396 w 797141"/>
              <a:gd name="connsiteY228" fmla="*/ 548988 h 596900"/>
              <a:gd name="connsiteX229" fmla="*/ 490412 w 797141"/>
              <a:gd name="connsiteY229" fmla="*/ 546992 h 596900"/>
              <a:gd name="connsiteX230" fmla="*/ 480454 w 797141"/>
              <a:gd name="connsiteY230" fmla="*/ 544996 h 596900"/>
              <a:gd name="connsiteX231" fmla="*/ 478462 w 797141"/>
              <a:gd name="connsiteY231" fmla="*/ 539007 h 596900"/>
              <a:gd name="connsiteX232" fmla="*/ 474478 w 797141"/>
              <a:gd name="connsiteY232" fmla="*/ 537011 h 596900"/>
              <a:gd name="connsiteX233" fmla="*/ 468503 w 797141"/>
              <a:gd name="connsiteY233" fmla="*/ 539007 h 596900"/>
              <a:gd name="connsiteX234" fmla="*/ 462528 w 797141"/>
              <a:gd name="connsiteY234" fmla="*/ 539007 h 596900"/>
              <a:gd name="connsiteX235" fmla="*/ 450577 w 797141"/>
              <a:gd name="connsiteY235" fmla="*/ 535014 h 596900"/>
              <a:gd name="connsiteX236" fmla="*/ 438627 w 797141"/>
              <a:gd name="connsiteY236" fmla="*/ 527029 h 596900"/>
              <a:gd name="connsiteX237" fmla="*/ 434643 w 797141"/>
              <a:gd name="connsiteY237" fmla="*/ 525033 h 596900"/>
              <a:gd name="connsiteX238" fmla="*/ 426676 w 797141"/>
              <a:gd name="connsiteY238" fmla="*/ 521040 h 596900"/>
              <a:gd name="connsiteX239" fmla="*/ 420701 w 797141"/>
              <a:gd name="connsiteY239" fmla="*/ 519044 h 596900"/>
              <a:gd name="connsiteX240" fmla="*/ 414726 w 797141"/>
              <a:gd name="connsiteY240" fmla="*/ 513055 h 596900"/>
              <a:gd name="connsiteX241" fmla="*/ 412734 w 797141"/>
              <a:gd name="connsiteY241" fmla="*/ 509062 h 596900"/>
              <a:gd name="connsiteX242" fmla="*/ 408751 w 797141"/>
              <a:gd name="connsiteY242" fmla="*/ 509062 h 596900"/>
              <a:gd name="connsiteX243" fmla="*/ 408751 w 797141"/>
              <a:gd name="connsiteY243" fmla="*/ 505069 h 596900"/>
              <a:gd name="connsiteX244" fmla="*/ 404767 w 797141"/>
              <a:gd name="connsiteY244" fmla="*/ 505069 h 596900"/>
              <a:gd name="connsiteX245" fmla="*/ 402775 w 797141"/>
              <a:gd name="connsiteY245" fmla="*/ 499080 h 596900"/>
              <a:gd name="connsiteX246" fmla="*/ 398792 w 797141"/>
              <a:gd name="connsiteY246" fmla="*/ 495088 h 596900"/>
              <a:gd name="connsiteX247" fmla="*/ 394809 w 797141"/>
              <a:gd name="connsiteY247" fmla="*/ 495088 h 596900"/>
              <a:gd name="connsiteX248" fmla="*/ 392817 w 797141"/>
              <a:gd name="connsiteY248" fmla="*/ 493091 h 596900"/>
              <a:gd name="connsiteX249" fmla="*/ 388833 w 797141"/>
              <a:gd name="connsiteY249" fmla="*/ 491095 h 596900"/>
              <a:gd name="connsiteX250" fmla="*/ 382858 w 797141"/>
              <a:gd name="connsiteY250" fmla="*/ 491095 h 596900"/>
              <a:gd name="connsiteX251" fmla="*/ 378875 w 797141"/>
              <a:gd name="connsiteY251" fmla="*/ 487102 h 596900"/>
              <a:gd name="connsiteX252" fmla="*/ 376883 w 797141"/>
              <a:gd name="connsiteY252" fmla="*/ 485106 h 596900"/>
              <a:gd name="connsiteX253" fmla="*/ 368916 w 797141"/>
              <a:gd name="connsiteY253" fmla="*/ 483110 h 596900"/>
              <a:gd name="connsiteX254" fmla="*/ 362941 w 797141"/>
              <a:gd name="connsiteY254" fmla="*/ 481114 h 596900"/>
              <a:gd name="connsiteX255" fmla="*/ 354974 w 797141"/>
              <a:gd name="connsiteY255" fmla="*/ 477121 h 596900"/>
              <a:gd name="connsiteX256" fmla="*/ 352982 w 797141"/>
              <a:gd name="connsiteY256" fmla="*/ 473128 h 596900"/>
              <a:gd name="connsiteX257" fmla="*/ 350990 w 797141"/>
              <a:gd name="connsiteY257" fmla="*/ 467139 h 596900"/>
              <a:gd name="connsiteX258" fmla="*/ 347007 w 797141"/>
              <a:gd name="connsiteY258" fmla="*/ 463147 h 596900"/>
              <a:gd name="connsiteX259" fmla="*/ 341031 w 797141"/>
              <a:gd name="connsiteY259" fmla="*/ 461150 h 596900"/>
              <a:gd name="connsiteX260" fmla="*/ 337048 w 797141"/>
              <a:gd name="connsiteY260" fmla="*/ 457158 h 596900"/>
              <a:gd name="connsiteX261" fmla="*/ 333064 w 797141"/>
              <a:gd name="connsiteY261" fmla="*/ 457158 h 596900"/>
              <a:gd name="connsiteX262" fmla="*/ 329081 w 797141"/>
              <a:gd name="connsiteY262" fmla="*/ 457158 h 596900"/>
              <a:gd name="connsiteX263" fmla="*/ 325097 w 797141"/>
              <a:gd name="connsiteY263" fmla="*/ 455161 h 596900"/>
              <a:gd name="connsiteX264" fmla="*/ 321114 w 797141"/>
              <a:gd name="connsiteY264" fmla="*/ 453165 h 596900"/>
              <a:gd name="connsiteX265" fmla="*/ 319122 w 797141"/>
              <a:gd name="connsiteY265" fmla="*/ 449172 h 596900"/>
              <a:gd name="connsiteX266" fmla="*/ 315139 w 797141"/>
              <a:gd name="connsiteY266" fmla="*/ 445180 h 596900"/>
              <a:gd name="connsiteX267" fmla="*/ 313147 w 797141"/>
              <a:gd name="connsiteY267" fmla="*/ 441187 h 596900"/>
              <a:gd name="connsiteX268" fmla="*/ 311155 w 797141"/>
              <a:gd name="connsiteY268" fmla="*/ 437194 h 596900"/>
              <a:gd name="connsiteX269" fmla="*/ 307172 w 797141"/>
              <a:gd name="connsiteY269" fmla="*/ 433202 h 596900"/>
              <a:gd name="connsiteX270" fmla="*/ 303188 w 797141"/>
              <a:gd name="connsiteY270" fmla="*/ 427213 h 596900"/>
              <a:gd name="connsiteX271" fmla="*/ 301196 w 797141"/>
              <a:gd name="connsiteY271" fmla="*/ 423220 h 596900"/>
              <a:gd name="connsiteX272" fmla="*/ 301196 w 797141"/>
              <a:gd name="connsiteY272" fmla="*/ 411242 h 596900"/>
              <a:gd name="connsiteX273" fmla="*/ 303188 w 797141"/>
              <a:gd name="connsiteY273" fmla="*/ 405253 h 596900"/>
              <a:gd name="connsiteX274" fmla="*/ 309163 w 797141"/>
              <a:gd name="connsiteY274" fmla="*/ 401261 h 596900"/>
              <a:gd name="connsiteX275" fmla="*/ 317130 w 797141"/>
              <a:gd name="connsiteY275" fmla="*/ 389283 h 596900"/>
              <a:gd name="connsiteX276" fmla="*/ 319122 w 797141"/>
              <a:gd name="connsiteY276" fmla="*/ 383294 h 596900"/>
              <a:gd name="connsiteX277" fmla="*/ 319122 w 797141"/>
              <a:gd name="connsiteY277" fmla="*/ 377305 h 596900"/>
              <a:gd name="connsiteX278" fmla="*/ 313147 w 797141"/>
              <a:gd name="connsiteY278" fmla="*/ 375309 h 596900"/>
              <a:gd name="connsiteX279" fmla="*/ 309163 w 797141"/>
              <a:gd name="connsiteY279" fmla="*/ 367323 h 596900"/>
              <a:gd name="connsiteX280" fmla="*/ 309163 w 797141"/>
              <a:gd name="connsiteY280" fmla="*/ 359338 h 596900"/>
              <a:gd name="connsiteX281" fmla="*/ 309163 w 797141"/>
              <a:gd name="connsiteY281" fmla="*/ 351353 h 596900"/>
              <a:gd name="connsiteX282" fmla="*/ 305180 w 797141"/>
              <a:gd name="connsiteY282" fmla="*/ 347360 h 596900"/>
              <a:gd name="connsiteX283" fmla="*/ 303188 w 797141"/>
              <a:gd name="connsiteY283" fmla="*/ 341371 h 596900"/>
              <a:gd name="connsiteX284" fmla="*/ 297213 w 797141"/>
              <a:gd name="connsiteY284" fmla="*/ 331389 h 596900"/>
              <a:gd name="connsiteX285" fmla="*/ 291238 w 797141"/>
              <a:gd name="connsiteY285" fmla="*/ 321408 h 596900"/>
              <a:gd name="connsiteX286" fmla="*/ 279287 w 797141"/>
              <a:gd name="connsiteY286" fmla="*/ 305437 h 596900"/>
              <a:gd name="connsiteX287" fmla="*/ 273312 w 797141"/>
              <a:gd name="connsiteY287" fmla="*/ 295456 h 596900"/>
              <a:gd name="connsiteX288" fmla="*/ 269329 w 797141"/>
              <a:gd name="connsiteY288" fmla="*/ 289467 h 596900"/>
              <a:gd name="connsiteX289" fmla="*/ 269329 w 797141"/>
              <a:gd name="connsiteY289" fmla="*/ 285474 h 596900"/>
              <a:gd name="connsiteX290" fmla="*/ 265345 w 797141"/>
              <a:gd name="connsiteY290" fmla="*/ 281481 h 596900"/>
              <a:gd name="connsiteX291" fmla="*/ 259370 w 797141"/>
              <a:gd name="connsiteY291" fmla="*/ 279485 h 596900"/>
              <a:gd name="connsiteX292" fmla="*/ 255386 w 797141"/>
              <a:gd name="connsiteY292" fmla="*/ 273496 h 596900"/>
              <a:gd name="connsiteX293" fmla="*/ 253395 w 797141"/>
              <a:gd name="connsiteY293" fmla="*/ 269503 h 596900"/>
              <a:gd name="connsiteX294" fmla="*/ 253395 w 797141"/>
              <a:gd name="connsiteY294" fmla="*/ 265511 h 596900"/>
              <a:gd name="connsiteX295" fmla="*/ 251403 w 797141"/>
              <a:gd name="connsiteY295" fmla="*/ 261518 h 596900"/>
              <a:gd name="connsiteX296" fmla="*/ 247419 w 797141"/>
              <a:gd name="connsiteY296" fmla="*/ 259522 h 596900"/>
              <a:gd name="connsiteX297" fmla="*/ 243436 w 797141"/>
              <a:gd name="connsiteY297" fmla="*/ 257526 h 596900"/>
              <a:gd name="connsiteX298" fmla="*/ 239452 w 797141"/>
              <a:gd name="connsiteY298" fmla="*/ 251537 h 596900"/>
              <a:gd name="connsiteX299" fmla="*/ 235469 w 797141"/>
              <a:gd name="connsiteY299" fmla="*/ 249540 h 596900"/>
              <a:gd name="connsiteX300" fmla="*/ 233477 w 797141"/>
              <a:gd name="connsiteY300" fmla="*/ 247544 h 596900"/>
              <a:gd name="connsiteX301" fmla="*/ 239452 w 797141"/>
              <a:gd name="connsiteY301" fmla="*/ 247544 h 596900"/>
              <a:gd name="connsiteX302" fmla="*/ 241444 w 797141"/>
              <a:gd name="connsiteY302" fmla="*/ 247544 h 596900"/>
              <a:gd name="connsiteX303" fmla="*/ 237461 w 797141"/>
              <a:gd name="connsiteY303" fmla="*/ 245548 h 596900"/>
              <a:gd name="connsiteX304" fmla="*/ 233477 w 797141"/>
              <a:gd name="connsiteY304" fmla="*/ 243551 h 596900"/>
              <a:gd name="connsiteX305" fmla="*/ 233477 w 797141"/>
              <a:gd name="connsiteY305" fmla="*/ 241555 h 596900"/>
              <a:gd name="connsiteX306" fmla="*/ 229494 w 797141"/>
              <a:gd name="connsiteY306" fmla="*/ 241555 h 596900"/>
              <a:gd name="connsiteX307" fmla="*/ 227502 w 797141"/>
              <a:gd name="connsiteY307" fmla="*/ 243551 h 596900"/>
              <a:gd name="connsiteX308" fmla="*/ 225510 w 797141"/>
              <a:gd name="connsiteY308" fmla="*/ 243551 h 596900"/>
              <a:gd name="connsiteX309" fmla="*/ 223518 w 797141"/>
              <a:gd name="connsiteY309" fmla="*/ 239559 h 596900"/>
              <a:gd name="connsiteX310" fmla="*/ 223518 w 797141"/>
              <a:gd name="connsiteY310" fmla="*/ 229577 h 596900"/>
              <a:gd name="connsiteX311" fmla="*/ 227502 w 797141"/>
              <a:gd name="connsiteY311" fmla="*/ 227581 h 596900"/>
              <a:gd name="connsiteX312" fmla="*/ 227502 w 797141"/>
              <a:gd name="connsiteY312" fmla="*/ 221592 h 596900"/>
              <a:gd name="connsiteX313" fmla="*/ 223518 w 797141"/>
              <a:gd name="connsiteY313" fmla="*/ 215603 h 596900"/>
              <a:gd name="connsiteX314" fmla="*/ 221527 w 797141"/>
              <a:gd name="connsiteY314" fmla="*/ 209614 h 596900"/>
              <a:gd name="connsiteX315" fmla="*/ 215551 w 797141"/>
              <a:gd name="connsiteY315" fmla="*/ 207618 h 596900"/>
              <a:gd name="connsiteX316" fmla="*/ 213560 w 797141"/>
              <a:gd name="connsiteY316" fmla="*/ 203625 h 596900"/>
              <a:gd name="connsiteX317" fmla="*/ 213560 w 797141"/>
              <a:gd name="connsiteY317" fmla="*/ 197636 h 596900"/>
              <a:gd name="connsiteX318" fmla="*/ 209576 w 797141"/>
              <a:gd name="connsiteY318" fmla="*/ 195640 h 596900"/>
              <a:gd name="connsiteX319" fmla="*/ 203601 w 797141"/>
              <a:gd name="connsiteY319" fmla="*/ 195640 h 596900"/>
              <a:gd name="connsiteX320" fmla="*/ 197626 w 797141"/>
              <a:gd name="connsiteY320" fmla="*/ 191647 h 596900"/>
              <a:gd name="connsiteX321" fmla="*/ 199617 w 797141"/>
              <a:gd name="connsiteY321" fmla="*/ 181665 h 596900"/>
              <a:gd name="connsiteX322" fmla="*/ 195634 w 797141"/>
              <a:gd name="connsiteY322" fmla="*/ 177673 h 596900"/>
              <a:gd name="connsiteX323" fmla="*/ 195634 w 797141"/>
              <a:gd name="connsiteY323" fmla="*/ 175676 h 596900"/>
              <a:gd name="connsiteX324" fmla="*/ 201609 w 797141"/>
              <a:gd name="connsiteY324" fmla="*/ 171684 h 596900"/>
              <a:gd name="connsiteX325" fmla="*/ 199617 w 797141"/>
              <a:gd name="connsiteY325" fmla="*/ 169687 h 596900"/>
              <a:gd name="connsiteX326" fmla="*/ 193642 w 797141"/>
              <a:gd name="connsiteY326" fmla="*/ 169687 h 596900"/>
              <a:gd name="connsiteX327" fmla="*/ 185675 w 797141"/>
              <a:gd name="connsiteY327" fmla="*/ 169687 h 596900"/>
              <a:gd name="connsiteX328" fmla="*/ 179700 w 797141"/>
              <a:gd name="connsiteY328" fmla="*/ 165695 h 596900"/>
              <a:gd name="connsiteX329" fmla="*/ 177708 w 797141"/>
              <a:gd name="connsiteY329" fmla="*/ 159706 h 596900"/>
              <a:gd name="connsiteX330" fmla="*/ 175717 w 797141"/>
              <a:gd name="connsiteY330" fmla="*/ 153717 h 596900"/>
              <a:gd name="connsiteX331" fmla="*/ 171733 w 797141"/>
              <a:gd name="connsiteY331" fmla="*/ 151721 h 596900"/>
              <a:gd name="connsiteX332" fmla="*/ 167750 w 797141"/>
              <a:gd name="connsiteY332" fmla="*/ 145732 h 596900"/>
              <a:gd name="connsiteX333" fmla="*/ 167750 w 797141"/>
              <a:gd name="connsiteY333" fmla="*/ 141739 h 596900"/>
              <a:gd name="connsiteX334" fmla="*/ 165758 w 797141"/>
              <a:gd name="connsiteY334" fmla="*/ 137746 h 596900"/>
              <a:gd name="connsiteX335" fmla="*/ 159783 w 797141"/>
              <a:gd name="connsiteY335" fmla="*/ 133754 h 596900"/>
              <a:gd name="connsiteX336" fmla="*/ 161774 w 797141"/>
              <a:gd name="connsiteY336" fmla="*/ 125768 h 596900"/>
              <a:gd name="connsiteX337" fmla="*/ 157791 w 797141"/>
              <a:gd name="connsiteY337" fmla="*/ 115786 h 596900"/>
              <a:gd name="connsiteX338" fmla="*/ 155799 w 797141"/>
              <a:gd name="connsiteY338" fmla="*/ 113790 h 596900"/>
              <a:gd name="connsiteX339" fmla="*/ 155799 w 797141"/>
              <a:gd name="connsiteY339" fmla="*/ 107801 h 596900"/>
              <a:gd name="connsiteX340" fmla="*/ 147832 w 797141"/>
              <a:gd name="connsiteY340" fmla="*/ 95823 h 596900"/>
              <a:gd name="connsiteX341" fmla="*/ 141857 w 797141"/>
              <a:gd name="connsiteY341" fmla="*/ 77856 h 596900"/>
              <a:gd name="connsiteX342" fmla="*/ 141857 w 797141"/>
              <a:gd name="connsiteY342" fmla="*/ 67875 h 596900"/>
              <a:gd name="connsiteX343" fmla="*/ 141857 w 797141"/>
              <a:gd name="connsiteY343" fmla="*/ 63882 h 596900"/>
              <a:gd name="connsiteX344" fmla="*/ 135882 w 797141"/>
              <a:gd name="connsiteY344" fmla="*/ 61886 h 596900"/>
              <a:gd name="connsiteX345" fmla="*/ 133890 w 797141"/>
              <a:gd name="connsiteY345" fmla="*/ 57893 h 596900"/>
              <a:gd name="connsiteX346" fmla="*/ 133890 w 797141"/>
              <a:gd name="connsiteY346" fmla="*/ 49908 h 596900"/>
              <a:gd name="connsiteX347" fmla="*/ 129906 w 797141"/>
              <a:gd name="connsiteY347" fmla="*/ 47912 h 596900"/>
              <a:gd name="connsiteX348" fmla="*/ 125923 w 797141"/>
              <a:gd name="connsiteY348" fmla="*/ 51904 h 596900"/>
              <a:gd name="connsiteX349" fmla="*/ 121939 w 797141"/>
              <a:gd name="connsiteY349" fmla="*/ 55897 h 596900"/>
              <a:gd name="connsiteX350" fmla="*/ 115964 w 797141"/>
              <a:gd name="connsiteY350" fmla="*/ 53901 h 596900"/>
              <a:gd name="connsiteX351" fmla="*/ 111981 w 797141"/>
              <a:gd name="connsiteY351" fmla="*/ 47912 h 596900"/>
              <a:gd name="connsiteX352" fmla="*/ 107997 w 797141"/>
              <a:gd name="connsiteY352" fmla="*/ 45915 h 596900"/>
              <a:gd name="connsiteX353" fmla="*/ 104014 w 797141"/>
              <a:gd name="connsiteY353" fmla="*/ 49908 h 596900"/>
              <a:gd name="connsiteX354" fmla="*/ 104014 w 797141"/>
              <a:gd name="connsiteY354" fmla="*/ 57893 h 596900"/>
              <a:gd name="connsiteX355" fmla="*/ 102022 w 797141"/>
              <a:gd name="connsiteY355" fmla="*/ 65878 h 596900"/>
              <a:gd name="connsiteX356" fmla="*/ 104014 w 797141"/>
              <a:gd name="connsiteY356" fmla="*/ 71867 h 596900"/>
              <a:gd name="connsiteX357" fmla="*/ 102022 w 797141"/>
              <a:gd name="connsiteY357" fmla="*/ 77856 h 596900"/>
              <a:gd name="connsiteX358" fmla="*/ 104014 w 797141"/>
              <a:gd name="connsiteY358" fmla="*/ 85842 h 596900"/>
              <a:gd name="connsiteX359" fmla="*/ 104014 w 797141"/>
              <a:gd name="connsiteY359" fmla="*/ 99816 h 596900"/>
              <a:gd name="connsiteX360" fmla="*/ 106005 w 797141"/>
              <a:gd name="connsiteY360" fmla="*/ 107801 h 596900"/>
              <a:gd name="connsiteX361" fmla="*/ 111981 w 797141"/>
              <a:gd name="connsiteY361" fmla="*/ 109798 h 596900"/>
              <a:gd name="connsiteX362" fmla="*/ 113972 w 797141"/>
              <a:gd name="connsiteY362" fmla="*/ 115786 h 596900"/>
              <a:gd name="connsiteX363" fmla="*/ 117956 w 797141"/>
              <a:gd name="connsiteY363" fmla="*/ 119779 h 596900"/>
              <a:gd name="connsiteX364" fmla="*/ 121939 w 797141"/>
              <a:gd name="connsiteY364" fmla="*/ 123772 h 596900"/>
              <a:gd name="connsiteX365" fmla="*/ 121939 w 797141"/>
              <a:gd name="connsiteY365" fmla="*/ 135750 h 596900"/>
              <a:gd name="connsiteX366" fmla="*/ 125923 w 797141"/>
              <a:gd name="connsiteY366" fmla="*/ 137746 h 596900"/>
              <a:gd name="connsiteX367" fmla="*/ 129906 w 797141"/>
              <a:gd name="connsiteY367" fmla="*/ 139743 h 596900"/>
              <a:gd name="connsiteX368" fmla="*/ 133890 w 797141"/>
              <a:gd name="connsiteY368" fmla="*/ 145732 h 596900"/>
              <a:gd name="connsiteX369" fmla="*/ 137873 w 797141"/>
              <a:gd name="connsiteY369" fmla="*/ 151721 h 596900"/>
              <a:gd name="connsiteX370" fmla="*/ 141857 w 797141"/>
              <a:gd name="connsiteY370" fmla="*/ 153717 h 596900"/>
              <a:gd name="connsiteX371" fmla="*/ 141857 w 797141"/>
              <a:gd name="connsiteY371" fmla="*/ 161702 h 596900"/>
              <a:gd name="connsiteX372" fmla="*/ 141857 w 797141"/>
              <a:gd name="connsiteY372" fmla="*/ 171684 h 596900"/>
              <a:gd name="connsiteX373" fmla="*/ 145840 w 797141"/>
              <a:gd name="connsiteY373" fmla="*/ 175676 h 596900"/>
              <a:gd name="connsiteX374" fmla="*/ 151816 w 797141"/>
              <a:gd name="connsiteY374" fmla="*/ 177673 h 596900"/>
              <a:gd name="connsiteX375" fmla="*/ 153807 w 797141"/>
              <a:gd name="connsiteY375" fmla="*/ 183662 h 596900"/>
              <a:gd name="connsiteX376" fmla="*/ 155799 w 797141"/>
              <a:gd name="connsiteY376" fmla="*/ 191647 h 596900"/>
              <a:gd name="connsiteX377" fmla="*/ 159783 w 797141"/>
              <a:gd name="connsiteY377" fmla="*/ 193643 h 596900"/>
              <a:gd name="connsiteX378" fmla="*/ 161774 w 797141"/>
              <a:gd name="connsiteY378" fmla="*/ 197636 h 596900"/>
              <a:gd name="connsiteX379" fmla="*/ 159783 w 797141"/>
              <a:gd name="connsiteY379" fmla="*/ 199632 h 596900"/>
              <a:gd name="connsiteX380" fmla="*/ 157791 w 797141"/>
              <a:gd name="connsiteY380" fmla="*/ 201629 h 596900"/>
              <a:gd name="connsiteX381" fmla="*/ 159783 w 797141"/>
              <a:gd name="connsiteY381" fmla="*/ 205621 h 596900"/>
              <a:gd name="connsiteX382" fmla="*/ 161774 w 797141"/>
              <a:gd name="connsiteY382" fmla="*/ 209614 h 596900"/>
              <a:gd name="connsiteX383" fmla="*/ 163766 w 797141"/>
              <a:gd name="connsiteY383" fmla="*/ 213606 h 596900"/>
              <a:gd name="connsiteX384" fmla="*/ 165758 w 797141"/>
              <a:gd name="connsiteY384" fmla="*/ 213606 h 596900"/>
              <a:gd name="connsiteX385" fmla="*/ 165758 w 797141"/>
              <a:gd name="connsiteY385" fmla="*/ 207618 h 596900"/>
              <a:gd name="connsiteX386" fmla="*/ 163766 w 797141"/>
              <a:gd name="connsiteY386" fmla="*/ 201629 h 596900"/>
              <a:gd name="connsiteX387" fmla="*/ 163766 w 797141"/>
              <a:gd name="connsiteY387" fmla="*/ 199632 h 596900"/>
              <a:gd name="connsiteX388" fmla="*/ 165758 w 797141"/>
              <a:gd name="connsiteY388" fmla="*/ 199632 h 596900"/>
              <a:gd name="connsiteX389" fmla="*/ 167750 w 797141"/>
              <a:gd name="connsiteY389" fmla="*/ 205621 h 596900"/>
              <a:gd name="connsiteX390" fmla="*/ 169741 w 797141"/>
              <a:gd name="connsiteY390" fmla="*/ 211610 h 596900"/>
              <a:gd name="connsiteX391" fmla="*/ 173725 w 797141"/>
              <a:gd name="connsiteY391" fmla="*/ 217599 h 596900"/>
              <a:gd name="connsiteX392" fmla="*/ 175717 w 797141"/>
              <a:gd name="connsiteY392" fmla="*/ 227581 h 596900"/>
              <a:gd name="connsiteX393" fmla="*/ 175717 w 797141"/>
              <a:gd name="connsiteY393" fmla="*/ 230004 h 596900"/>
              <a:gd name="connsiteX394" fmla="*/ 177063 w 797141"/>
              <a:gd name="connsiteY394" fmla="*/ 228501 h 596900"/>
              <a:gd name="connsiteX395" fmla="*/ 179285 w 797141"/>
              <a:gd name="connsiteY395" fmla="*/ 228997 h 596900"/>
              <a:gd name="connsiteX396" fmla="*/ 183730 w 797141"/>
              <a:gd name="connsiteY396" fmla="*/ 232966 h 596900"/>
              <a:gd name="connsiteX397" fmla="*/ 175717 w 797141"/>
              <a:gd name="connsiteY397" fmla="*/ 231177 h 596900"/>
              <a:gd name="connsiteX398" fmla="*/ 175717 w 797141"/>
              <a:gd name="connsiteY398" fmla="*/ 232821 h 596900"/>
              <a:gd name="connsiteX399" fmla="*/ 175717 w 797141"/>
              <a:gd name="connsiteY399" fmla="*/ 239559 h 596900"/>
              <a:gd name="connsiteX400" fmla="*/ 175717 w 797141"/>
              <a:gd name="connsiteY400" fmla="*/ 247544 h 596900"/>
              <a:gd name="connsiteX401" fmla="*/ 177708 w 797141"/>
              <a:gd name="connsiteY401" fmla="*/ 255529 h 596900"/>
              <a:gd name="connsiteX402" fmla="*/ 181692 w 797141"/>
              <a:gd name="connsiteY402" fmla="*/ 259522 h 596900"/>
              <a:gd name="connsiteX403" fmla="*/ 185675 w 797141"/>
              <a:gd name="connsiteY403" fmla="*/ 265511 h 596900"/>
              <a:gd name="connsiteX404" fmla="*/ 189659 w 797141"/>
              <a:gd name="connsiteY404" fmla="*/ 275492 h 596900"/>
              <a:gd name="connsiteX405" fmla="*/ 187667 w 797141"/>
              <a:gd name="connsiteY405" fmla="*/ 277489 h 596900"/>
              <a:gd name="connsiteX406" fmla="*/ 187667 w 797141"/>
              <a:gd name="connsiteY406" fmla="*/ 285474 h 596900"/>
              <a:gd name="connsiteX407" fmla="*/ 189659 w 797141"/>
              <a:gd name="connsiteY407" fmla="*/ 291463 h 596900"/>
              <a:gd name="connsiteX408" fmla="*/ 193642 w 797141"/>
              <a:gd name="connsiteY408" fmla="*/ 293459 h 596900"/>
              <a:gd name="connsiteX409" fmla="*/ 191650 w 797141"/>
              <a:gd name="connsiteY409" fmla="*/ 289467 h 596900"/>
              <a:gd name="connsiteX410" fmla="*/ 193642 w 797141"/>
              <a:gd name="connsiteY410" fmla="*/ 285474 h 596900"/>
              <a:gd name="connsiteX411" fmla="*/ 197626 w 797141"/>
              <a:gd name="connsiteY411" fmla="*/ 289467 h 596900"/>
              <a:gd name="connsiteX412" fmla="*/ 201609 w 797141"/>
              <a:gd name="connsiteY412" fmla="*/ 295456 h 596900"/>
              <a:gd name="connsiteX413" fmla="*/ 205593 w 797141"/>
              <a:gd name="connsiteY413" fmla="*/ 305437 h 596900"/>
              <a:gd name="connsiteX414" fmla="*/ 209576 w 797141"/>
              <a:gd name="connsiteY414" fmla="*/ 313423 h 596900"/>
              <a:gd name="connsiteX415" fmla="*/ 211568 w 797141"/>
              <a:gd name="connsiteY415" fmla="*/ 319412 h 596900"/>
              <a:gd name="connsiteX416" fmla="*/ 209576 w 797141"/>
              <a:gd name="connsiteY416" fmla="*/ 327397 h 596900"/>
              <a:gd name="connsiteX417" fmla="*/ 205593 w 797141"/>
              <a:gd name="connsiteY417" fmla="*/ 333386 h 596900"/>
              <a:gd name="connsiteX418" fmla="*/ 201609 w 797141"/>
              <a:gd name="connsiteY418" fmla="*/ 333386 h 596900"/>
              <a:gd name="connsiteX419" fmla="*/ 199617 w 797141"/>
              <a:gd name="connsiteY419" fmla="*/ 335382 h 596900"/>
              <a:gd name="connsiteX420" fmla="*/ 195634 w 797141"/>
              <a:gd name="connsiteY420" fmla="*/ 335382 h 596900"/>
              <a:gd name="connsiteX421" fmla="*/ 193642 w 797141"/>
              <a:gd name="connsiteY421" fmla="*/ 327397 h 596900"/>
              <a:gd name="connsiteX422" fmla="*/ 191650 w 797141"/>
              <a:gd name="connsiteY422" fmla="*/ 317415 h 596900"/>
              <a:gd name="connsiteX423" fmla="*/ 185675 w 797141"/>
              <a:gd name="connsiteY423" fmla="*/ 307434 h 596900"/>
              <a:gd name="connsiteX424" fmla="*/ 175717 w 797141"/>
              <a:gd name="connsiteY424" fmla="*/ 299448 h 596900"/>
              <a:gd name="connsiteX425" fmla="*/ 169741 w 797141"/>
              <a:gd name="connsiteY425" fmla="*/ 293459 h 596900"/>
              <a:gd name="connsiteX426" fmla="*/ 159783 w 797141"/>
              <a:gd name="connsiteY426" fmla="*/ 291463 h 596900"/>
              <a:gd name="connsiteX427" fmla="*/ 157791 w 797141"/>
              <a:gd name="connsiteY427" fmla="*/ 285474 h 596900"/>
              <a:gd name="connsiteX428" fmla="*/ 153807 w 797141"/>
              <a:gd name="connsiteY428" fmla="*/ 277489 h 596900"/>
              <a:gd name="connsiteX429" fmla="*/ 149824 w 797141"/>
              <a:gd name="connsiteY429" fmla="*/ 273496 h 596900"/>
              <a:gd name="connsiteX430" fmla="*/ 145840 w 797141"/>
              <a:gd name="connsiteY430" fmla="*/ 271500 h 596900"/>
              <a:gd name="connsiteX431" fmla="*/ 147832 w 797141"/>
              <a:gd name="connsiteY431" fmla="*/ 263515 h 596900"/>
              <a:gd name="connsiteX432" fmla="*/ 149824 w 797141"/>
              <a:gd name="connsiteY432" fmla="*/ 255529 h 596900"/>
              <a:gd name="connsiteX433" fmla="*/ 151816 w 797141"/>
              <a:gd name="connsiteY433" fmla="*/ 251537 h 596900"/>
              <a:gd name="connsiteX434" fmla="*/ 151816 w 797141"/>
              <a:gd name="connsiteY434" fmla="*/ 241555 h 596900"/>
              <a:gd name="connsiteX435" fmla="*/ 147832 w 797141"/>
              <a:gd name="connsiteY435" fmla="*/ 233570 h 596900"/>
              <a:gd name="connsiteX436" fmla="*/ 147832 w 797141"/>
              <a:gd name="connsiteY436" fmla="*/ 227581 h 596900"/>
              <a:gd name="connsiteX437" fmla="*/ 137873 w 797141"/>
              <a:gd name="connsiteY437" fmla="*/ 221592 h 596900"/>
              <a:gd name="connsiteX438" fmla="*/ 135882 w 797141"/>
              <a:gd name="connsiteY438" fmla="*/ 217599 h 596900"/>
              <a:gd name="connsiteX439" fmla="*/ 135882 w 797141"/>
              <a:gd name="connsiteY439" fmla="*/ 211610 h 596900"/>
              <a:gd name="connsiteX440" fmla="*/ 129906 w 797141"/>
              <a:gd name="connsiteY440" fmla="*/ 209614 h 596900"/>
              <a:gd name="connsiteX441" fmla="*/ 129906 w 797141"/>
              <a:gd name="connsiteY441" fmla="*/ 199632 h 596900"/>
              <a:gd name="connsiteX442" fmla="*/ 125923 w 797141"/>
              <a:gd name="connsiteY442" fmla="*/ 199632 h 596900"/>
              <a:gd name="connsiteX443" fmla="*/ 127915 w 797141"/>
              <a:gd name="connsiteY443" fmla="*/ 205621 h 596900"/>
              <a:gd name="connsiteX444" fmla="*/ 121939 w 797141"/>
              <a:gd name="connsiteY444" fmla="*/ 205621 h 596900"/>
              <a:gd name="connsiteX445" fmla="*/ 117956 w 797141"/>
              <a:gd name="connsiteY445" fmla="*/ 205621 h 596900"/>
              <a:gd name="connsiteX446" fmla="*/ 113972 w 797141"/>
              <a:gd name="connsiteY446" fmla="*/ 207618 h 596900"/>
              <a:gd name="connsiteX447" fmla="*/ 113972 w 797141"/>
              <a:gd name="connsiteY447" fmla="*/ 201629 h 596900"/>
              <a:gd name="connsiteX448" fmla="*/ 109989 w 797141"/>
              <a:gd name="connsiteY448" fmla="*/ 199632 h 596900"/>
              <a:gd name="connsiteX449" fmla="*/ 104014 w 797141"/>
              <a:gd name="connsiteY449" fmla="*/ 199632 h 596900"/>
              <a:gd name="connsiteX450" fmla="*/ 104014 w 797141"/>
              <a:gd name="connsiteY450" fmla="*/ 195640 h 596900"/>
              <a:gd name="connsiteX451" fmla="*/ 98038 w 797141"/>
              <a:gd name="connsiteY451" fmla="*/ 191647 h 596900"/>
              <a:gd name="connsiteX452" fmla="*/ 92063 w 797141"/>
              <a:gd name="connsiteY452" fmla="*/ 183662 h 596900"/>
              <a:gd name="connsiteX453" fmla="*/ 90071 w 797141"/>
              <a:gd name="connsiteY453" fmla="*/ 183662 h 596900"/>
              <a:gd name="connsiteX454" fmla="*/ 88080 w 797141"/>
              <a:gd name="connsiteY454" fmla="*/ 179669 h 596900"/>
              <a:gd name="connsiteX455" fmla="*/ 86088 w 797141"/>
              <a:gd name="connsiteY455" fmla="*/ 175676 h 596900"/>
              <a:gd name="connsiteX456" fmla="*/ 80113 w 797141"/>
              <a:gd name="connsiteY456" fmla="*/ 173680 h 596900"/>
              <a:gd name="connsiteX457" fmla="*/ 82104 w 797141"/>
              <a:gd name="connsiteY457" fmla="*/ 171684 h 596900"/>
              <a:gd name="connsiteX458" fmla="*/ 86088 w 797141"/>
              <a:gd name="connsiteY458" fmla="*/ 169687 h 596900"/>
              <a:gd name="connsiteX459" fmla="*/ 88080 w 797141"/>
              <a:gd name="connsiteY459" fmla="*/ 171684 h 596900"/>
              <a:gd name="connsiteX460" fmla="*/ 96047 w 797141"/>
              <a:gd name="connsiteY460" fmla="*/ 171684 h 596900"/>
              <a:gd name="connsiteX461" fmla="*/ 102022 w 797141"/>
              <a:gd name="connsiteY461" fmla="*/ 175676 h 596900"/>
              <a:gd name="connsiteX462" fmla="*/ 104014 w 797141"/>
              <a:gd name="connsiteY462" fmla="*/ 177673 h 596900"/>
              <a:gd name="connsiteX463" fmla="*/ 106005 w 797141"/>
              <a:gd name="connsiteY463" fmla="*/ 175676 h 596900"/>
              <a:gd name="connsiteX464" fmla="*/ 111981 w 797141"/>
              <a:gd name="connsiteY464" fmla="*/ 175676 h 596900"/>
              <a:gd name="connsiteX465" fmla="*/ 109989 w 797141"/>
              <a:gd name="connsiteY465" fmla="*/ 173680 h 596900"/>
              <a:gd name="connsiteX466" fmla="*/ 104014 w 797141"/>
              <a:gd name="connsiteY466" fmla="*/ 173680 h 596900"/>
              <a:gd name="connsiteX467" fmla="*/ 102022 w 797141"/>
              <a:gd name="connsiteY467" fmla="*/ 167691 h 596900"/>
              <a:gd name="connsiteX468" fmla="*/ 104014 w 797141"/>
              <a:gd name="connsiteY468" fmla="*/ 161702 h 596900"/>
              <a:gd name="connsiteX469" fmla="*/ 106005 w 797141"/>
              <a:gd name="connsiteY469" fmla="*/ 161702 h 596900"/>
              <a:gd name="connsiteX470" fmla="*/ 104014 w 797141"/>
              <a:gd name="connsiteY470" fmla="*/ 147728 h 596900"/>
              <a:gd name="connsiteX471" fmla="*/ 100030 w 797141"/>
              <a:gd name="connsiteY471" fmla="*/ 141739 h 596900"/>
              <a:gd name="connsiteX472" fmla="*/ 94055 w 797141"/>
              <a:gd name="connsiteY472" fmla="*/ 135750 h 596900"/>
              <a:gd name="connsiteX473" fmla="*/ 90071 w 797141"/>
              <a:gd name="connsiteY473" fmla="*/ 127765 h 596900"/>
              <a:gd name="connsiteX474" fmla="*/ 86088 w 797141"/>
              <a:gd name="connsiteY474" fmla="*/ 123772 h 596900"/>
              <a:gd name="connsiteX475" fmla="*/ 82104 w 797141"/>
              <a:gd name="connsiteY475" fmla="*/ 119779 h 596900"/>
              <a:gd name="connsiteX476" fmla="*/ 78121 w 797141"/>
              <a:gd name="connsiteY476" fmla="*/ 113790 h 596900"/>
              <a:gd name="connsiteX477" fmla="*/ 70154 w 797141"/>
              <a:gd name="connsiteY477" fmla="*/ 109798 h 596900"/>
              <a:gd name="connsiteX478" fmla="*/ 70154 w 797141"/>
              <a:gd name="connsiteY478" fmla="*/ 103809 h 596900"/>
              <a:gd name="connsiteX479" fmla="*/ 72146 w 797141"/>
              <a:gd name="connsiteY479" fmla="*/ 95823 h 596900"/>
              <a:gd name="connsiteX480" fmla="*/ 68162 w 797141"/>
              <a:gd name="connsiteY480" fmla="*/ 91831 h 596900"/>
              <a:gd name="connsiteX481" fmla="*/ 66171 w 797141"/>
              <a:gd name="connsiteY481" fmla="*/ 85842 h 596900"/>
              <a:gd name="connsiteX482" fmla="*/ 64179 w 797141"/>
              <a:gd name="connsiteY482" fmla="*/ 81849 h 596900"/>
              <a:gd name="connsiteX483" fmla="*/ 64179 w 797141"/>
              <a:gd name="connsiteY483" fmla="*/ 75860 h 596900"/>
              <a:gd name="connsiteX484" fmla="*/ 64179 w 797141"/>
              <a:gd name="connsiteY484" fmla="*/ 65878 h 596900"/>
              <a:gd name="connsiteX485" fmla="*/ 60195 w 797141"/>
              <a:gd name="connsiteY485" fmla="*/ 55897 h 596900"/>
              <a:gd name="connsiteX486" fmla="*/ 56212 w 797141"/>
              <a:gd name="connsiteY486" fmla="*/ 45915 h 596900"/>
              <a:gd name="connsiteX487" fmla="*/ 56212 w 797141"/>
              <a:gd name="connsiteY487" fmla="*/ 41923 h 596900"/>
              <a:gd name="connsiteX488" fmla="*/ 56212 w 797141"/>
              <a:gd name="connsiteY488" fmla="*/ 27948 h 596900"/>
              <a:gd name="connsiteX489" fmla="*/ 52228 w 797141"/>
              <a:gd name="connsiteY489" fmla="*/ 21959 h 596900"/>
              <a:gd name="connsiteX490" fmla="*/ 50237 w 797141"/>
              <a:gd name="connsiteY490" fmla="*/ 9981 h 596900"/>
              <a:gd name="connsiteX491" fmla="*/ 46253 w 797141"/>
              <a:gd name="connsiteY491" fmla="*/ 1996 h 596900"/>
              <a:gd name="connsiteX492" fmla="*/ 72146 w 797141"/>
              <a:gd name="connsiteY492" fmla="*/ 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797141" h="596900">
                <a:moveTo>
                  <a:pt x="203680" y="279242"/>
                </a:moveTo>
                <a:cubicBezTo>
                  <a:pt x="204606" y="279242"/>
                  <a:pt x="205532" y="279718"/>
                  <a:pt x="205532" y="279718"/>
                </a:cubicBezTo>
                <a:cubicBezTo>
                  <a:pt x="205532" y="279718"/>
                  <a:pt x="212941" y="277813"/>
                  <a:pt x="209237" y="283528"/>
                </a:cubicBezTo>
                <a:cubicBezTo>
                  <a:pt x="205532" y="287338"/>
                  <a:pt x="203680" y="285433"/>
                  <a:pt x="201828" y="281623"/>
                </a:cubicBezTo>
                <a:cubicBezTo>
                  <a:pt x="201828" y="279718"/>
                  <a:pt x="202754" y="279242"/>
                  <a:pt x="203680" y="279242"/>
                </a:cubicBezTo>
                <a:close/>
                <a:moveTo>
                  <a:pt x="191113" y="277654"/>
                </a:moveTo>
                <a:cubicBezTo>
                  <a:pt x="192105" y="277654"/>
                  <a:pt x="193097" y="278130"/>
                  <a:pt x="193097" y="278130"/>
                </a:cubicBezTo>
                <a:cubicBezTo>
                  <a:pt x="193097" y="278130"/>
                  <a:pt x="197066" y="276225"/>
                  <a:pt x="197066" y="280035"/>
                </a:cubicBezTo>
                <a:cubicBezTo>
                  <a:pt x="197066" y="285750"/>
                  <a:pt x="189128" y="285750"/>
                  <a:pt x="189128" y="280035"/>
                </a:cubicBezTo>
                <a:cubicBezTo>
                  <a:pt x="189128" y="278130"/>
                  <a:pt x="190120" y="277654"/>
                  <a:pt x="191113" y="277654"/>
                </a:cubicBezTo>
                <a:close/>
                <a:moveTo>
                  <a:pt x="192700" y="265113"/>
                </a:moveTo>
                <a:cubicBezTo>
                  <a:pt x="198653" y="267230"/>
                  <a:pt x="192700" y="271463"/>
                  <a:pt x="190715" y="269346"/>
                </a:cubicBezTo>
                <a:cubicBezTo>
                  <a:pt x="190715" y="267230"/>
                  <a:pt x="192700" y="265113"/>
                  <a:pt x="192700" y="265113"/>
                </a:cubicBezTo>
                <a:close/>
                <a:moveTo>
                  <a:pt x="143620" y="263843"/>
                </a:moveTo>
                <a:cubicBezTo>
                  <a:pt x="143620" y="267653"/>
                  <a:pt x="141503" y="267653"/>
                  <a:pt x="141503" y="271463"/>
                </a:cubicBezTo>
                <a:cubicBezTo>
                  <a:pt x="141503" y="273368"/>
                  <a:pt x="143620" y="275273"/>
                  <a:pt x="143620" y="275273"/>
                </a:cubicBezTo>
                <a:cubicBezTo>
                  <a:pt x="143620" y="275273"/>
                  <a:pt x="145736" y="275273"/>
                  <a:pt x="145736" y="277178"/>
                </a:cubicBezTo>
                <a:cubicBezTo>
                  <a:pt x="147853" y="279083"/>
                  <a:pt x="145736" y="280988"/>
                  <a:pt x="143620" y="280988"/>
                </a:cubicBezTo>
                <a:cubicBezTo>
                  <a:pt x="141503" y="280988"/>
                  <a:pt x="139386" y="279083"/>
                  <a:pt x="139386" y="275273"/>
                </a:cubicBezTo>
                <a:cubicBezTo>
                  <a:pt x="139386" y="271463"/>
                  <a:pt x="137270" y="275273"/>
                  <a:pt x="133036" y="273368"/>
                </a:cubicBezTo>
                <a:cubicBezTo>
                  <a:pt x="128803" y="269558"/>
                  <a:pt x="135153" y="267653"/>
                  <a:pt x="135153" y="267653"/>
                </a:cubicBezTo>
                <a:cubicBezTo>
                  <a:pt x="135153" y="267653"/>
                  <a:pt x="139386" y="265748"/>
                  <a:pt x="139386" y="265748"/>
                </a:cubicBezTo>
                <a:cubicBezTo>
                  <a:pt x="139386" y="263843"/>
                  <a:pt x="141503" y="261938"/>
                  <a:pt x="143620" y="263843"/>
                </a:cubicBezTo>
                <a:close/>
                <a:moveTo>
                  <a:pt x="81972" y="151210"/>
                </a:moveTo>
                <a:cubicBezTo>
                  <a:pt x="87528" y="149225"/>
                  <a:pt x="85676" y="155178"/>
                  <a:pt x="83824" y="155178"/>
                </a:cubicBezTo>
                <a:cubicBezTo>
                  <a:pt x="81972" y="155178"/>
                  <a:pt x="81972" y="157163"/>
                  <a:pt x="81972" y="159147"/>
                </a:cubicBezTo>
                <a:cubicBezTo>
                  <a:pt x="83824" y="163116"/>
                  <a:pt x="83824" y="161131"/>
                  <a:pt x="80119" y="163116"/>
                </a:cubicBezTo>
                <a:cubicBezTo>
                  <a:pt x="78267" y="165100"/>
                  <a:pt x="76415" y="161131"/>
                  <a:pt x="78267" y="157163"/>
                </a:cubicBezTo>
                <a:cubicBezTo>
                  <a:pt x="78267" y="153194"/>
                  <a:pt x="81972" y="151210"/>
                  <a:pt x="81972" y="151210"/>
                </a:cubicBezTo>
                <a:close/>
                <a:moveTo>
                  <a:pt x="2438" y="133668"/>
                </a:moveTo>
                <a:cubicBezTo>
                  <a:pt x="8153" y="131763"/>
                  <a:pt x="6248" y="135573"/>
                  <a:pt x="4343" y="137478"/>
                </a:cubicBezTo>
                <a:cubicBezTo>
                  <a:pt x="4343" y="139383"/>
                  <a:pt x="533" y="141288"/>
                  <a:pt x="533" y="137478"/>
                </a:cubicBezTo>
                <a:cubicBezTo>
                  <a:pt x="-1372" y="133668"/>
                  <a:pt x="2438" y="133668"/>
                  <a:pt x="2438" y="133668"/>
                </a:cubicBezTo>
                <a:close/>
                <a:moveTo>
                  <a:pt x="147853" y="130175"/>
                </a:moveTo>
                <a:cubicBezTo>
                  <a:pt x="155791" y="130175"/>
                  <a:pt x="155791" y="135731"/>
                  <a:pt x="155791" y="137583"/>
                </a:cubicBezTo>
                <a:cubicBezTo>
                  <a:pt x="155791" y="139435"/>
                  <a:pt x="153807" y="141287"/>
                  <a:pt x="151822" y="139435"/>
                </a:cubicBezTo>
                <a:cubicBezTo>
                  <a:pt x="147853" y="139435"/>
                  <a:pt x="149838" y="137583"/>
                  <a:pt x="149838" y="137583"/>
                </a:cubicBezTo>
                <a:cubicBezTo>
                  <a:pt x="149838" y="137583"/>
                  <a:pt x="149838" y="135731"/>
                  <a:pt x="147853" y="133879"/>
                </a:cubicBezTo>
                <a:cubicBezTo>
                  <a:pt x="147853" y="132027"/>
                  <a:pt x="147853" y="130175"/>
                  <a:pt x="147853" y="130175"/>
                </a:cubicBezTo>
                <a:close/>
                <a:moveTo>
                  <a:pt x="2332" y="124090"/>
                </a:moveTo>
                <a:cubicBezTo>
                  <a:pt x="4448" y="122238"/>
                  <a:pt x="6565" y="127794"/>
                  <a:pt x="4448" y="129646"/>
                </a:cubicBezTo>
                <a:cubicBezTo>
                  <a:pt x="4448" y="131498"/>
                  <a:pt x="215" y="133350"/>
                  <a:pt x="215" y="129646"/>
                </a:cubicBezTo>
                <a:cubicBezTo>
                  <a:pt x="215" y="125942"/>
                  <a:pt x="2332" y="124090"/>
                  <a:pt x="2332" y="124090"/>
                </a:cubicBezTo>
                <a:close/>
                <a:moveTo>
                  <a:pt x="128009" y="115788"/>
                </a:moveTo>
                <a:cubicBezTo>
                  <a:pt x="128803" y="115788"/>
                  <a:pt x="129332" y="116284"/>
                  <a:pt x="129332" y="118269"/>
                </a:cubicBezTo>
                <a:cubicBezTo>
                  <a:pt x="129332" y="122237"/>
                  <a:pt x="131448" y="122237"/>
                  <a:pt x="131448" y="122237"/>
                </a:cubicBezTo>
                <a:cubicBezTo>
                  <a:pt x="131448" y="122237"/>
                  <a:pt x="133565" y="124222"/>
                  <a:pt x="135682" y="126206"/>
                </a:cubicBezTo>
                <a:cubicBezTo>
                  <a:pt x="135682" y="128191"/>
                  <a:pt x="139915" y="130175"/>
                  <a:pt x="133565" y="130175"/>
                </a:cubicBezTo>
                <a:cubicBezTo>
                  <a:pt x="127215" y="130175"/>
                  <a:pt x="127215" y="128191"/>
                  <a:pt x="127215" y="128191"/>
                </a:cubicBezTo>
                <a:cubicBezTo>
                  <a:pt x="127215" y="128191"/>
                  <a:pt x="125098" y="130175"/>
                  <a:pt x="125098" y="126206"/>
                </a:cubicBezTo>
                <a:cubicBezTo>
                  <a:pt x="125098" y="124222"/>
                  <a:pt x="125098" y="122237"/>
                  <a:pt x="125098" y="122237"/>
                </a:cubicBezTo>
                <a:cubicBezTo>
                  <a:pt x="122982" y="120253"/>
                  <a:pt x="122982" y="120253"/>
                  <a:pt x="122982" y="120253"/>
                </a:cubicBezTo>
                <a:cubicBezTo>
                  <a:pt x="122982" y="120253"/>
                  <a:pt x="120865" y="116284"/>
                  <a:pt x="125098" y="116284"/>
                </a:cubicBezTo>
                <a:cubicBezTo>
                  <a:pt x="126157" y="116284"/>
                  <a:pt x="127215" y="115788"/>
                  <a:pt x="128009" y="115788"/>
                </a:cubicBezTo>
                <a:close/>
                <a:moveTo>
                  <a:pt x="72146" y="0"/>
                </a:moveTo>
                <a:cubicBezTo>
                  <a:pt x="88080" y="0"/>
                  <a:pt x="100030" y="1996"/>
                  <a:pt x="109989" y="5989"/>
                </a:cubicBezTo>
                <a:cubicBezTo>
                  <a:pt x="121939" y="7985"/>
                  <a:pt x="141857" y="15970"/>
                  <a:pt x="141857" y="15970"/>
                </a:cubicBezTo>
                <a:cubicBezTo>
                  <a:pt x="141857" y="15970"/>
                  <a:pt x="179700" y="33937"/>
                  <a:pt x="195634" y="39926"/>
                </a:cubicBezTo>
                <a:cubicBezTo>
                  <a:pt x="209576" y="47912"/>
                  <a:pt x="227502" y="51904"/>
                  <a:pt x="243436" y="51904"/>
                </a:cubicBezTo>
                <a:cubicBezTo>
                  <a:pt x="257378" y="51904"/>
                  <a:pt x="269329" y="51904"/>
                  <a:pt x="275304" y="51904"/>
                </a:cubicBezTo>
                <a:cubicBezTo>
                  <a:pt x="281279" y="53901"/>
                  <a:pt x="291238" y="51904"/>
                  <a:pt x="293229" y="47912"/>
                </a:cubicBezTo>
                <a:cubicBezTo>
                  <a:pt x="293229" y="41923"/>
                  <a:pt x="295221" y="39926"/>
                  <a:pt x="303188" y="39926"/>
                </a:cubicBezTo>
                <a:cubicBezTo>
                  <a:pt x="311155" y="39926"/>
                  <a:pt x="321114" y="39926"/>
                  <a:pt x="329081" y="37930"/>
                </a:cubicBezTo>
                <a:cubicBezTo>
                  <a:pt x="335056" y="35934"/>
                  <a:pt x="335056" y="39926"/>
                  <a:pt x="339040" y="41923"/>
                </a:cubicBezTo>
                <a:cubicBezTo>
                  <a:pt x="343023" y="43919"/>
                  <a:pt x="343023" y="41923"/>
                  <a:pt x="345015" y="45915"/>
                </a:cubicBezTo>
                <a:cubicBezTo>
                  <a:pt x="345015" y="49908"/>
                  <a:pt x="347007" y="55897"/>
                  <a:pt x="352982" y="61886"/>
                </a:cubicBezTo>
                <a:cubicBezTo>
                  <a:pt x="358957" y="67875"/>
                  <a:pt x="366924" y="75860"/>
                  <a:pt x="368916" y="87838"/>
                </a:cubicBezTo>
                <a:cubicBezTo>
                  <a:pt x="370908" y="99816"/>
                  <a:pt x="370908" y="103809"/>
                  <a:pt x="378875" y="111794"/>
                </a:cubicBezTo>
                <a:cubicBezTo>
                  <a:pt x="386842" y="119779"/>
                  <a:pt x="394809" y="121775"/>
                  <a:pt x="404767" y="125768"/>
                </a:cubicBezTo>
                <a:cubicBezTo>
                  <a:pt x="414726" y="129761"/>
                  <a:pt x="418709" y="127765"/>
                  <a:pt x="416718" y="123772"/>
                </a:cubicBezTo>
                <a:cubicBezTo>
                  <a:pt x="416718" y="121775"/>
                  <a:pt x="418709" y="109798"/>
                  <a:pt x="416718" y="107801"/>
                </a:cubicBezTo>
                <a:cubicBezTo>
                  <a:pt x="416718" y="103809"/>
                  <a:pt x="416718" y="101812"/>
                  <a:pt x="418709" y="101812"/>
                </a:cubicBezTo>
                <a:cubicBezTo>
                  <a:pt x="420701" y="101812"/>
                  <a:pt x="420701" y="99816"/>
                  <a:pt x="424685" y="101812"/>
                </a:cubicBezTo>
                <a:cubicBezTo>
                  <a:pt x="426676" y="103809"/>
                  <a:pt x="428668" y="101812"/>
                  <a:pt x="432652" y="103809"/>
                </a:cubicBezTo>
                <a:cubicBezTo>
                  <a:pt x="436635" y="105805"/>
                  <a:pt x="442610" y="105805"/>
                  <a:pt x="448586" y="103809"/>
                </a:cubicBezTo>
                <a:cubicBezTo>
                  <a:pt x="452569" y="103809"/>
                  <a:pt x="458544" y="103809"/>
                  <a:pt x="462528" y="103809"/>
                </a:cubicBezTo>
                <a:cubicBezTo>
                  <a:pt x="466511" y="103809"/>
                  <a:pt x="466511" y="107801"/>
                  <a:pt x="466511" y="111794"/>
                </a:cubicBezTo>
                <a:cubicBezTo>
                  <a:pt x="466511" y="113790"/>
                  <a:pt x="470495" y="133754"/>
                  <a:pt x="476470" y="151721"/>
                </a:cubicBezTo>
                <a:cubicBezTo>
                  <a:pt x="482445" y="169687"/>
                  <a:pt x="486429" y="171684"/>
                  <a:pt x="488421" y="175676"/>
                </a:cubicBezTo>
                <a:cubicBezTo>
                  <a:pt x="490412" y="179669"/>
                  <a:pt x="496388" y="187654"/>
                  <a:pt x="496388" y="193643"/>
                </a:cubicBezTo>
                <a:cubicBezTo>
                  <a:pt x="494396" y="199632"/>
                  <a:pt x="498379" y="211610"/>
                  <a:pt x="502363" y="213606"/>
                </a:cubicBezTo>
                <a:cubicBezTo>
                  <a:pt x="506346" y="217599"/>
                  <a:pt x="516305" y="221592"/>
                  <a:pt x="516305" y="221592"/>
                </a:cubicBezTo>
                <a:cubicBezTo>
                  <a:pt x="518297" y="223588"/>
                  <a:pt x="532239" y="229577"/>
                  <a:pt x="538214" y="215603"/>
                </a:cubicBezTo>
                <a:cubicBezTo>
                  <a:pt x="538214" y="217599"/>
                  <a:pt x="540206" y="219595"/>
                  <a:pt x="540206" y="221592"/>
                </a:cubicBezTo>
                <a:cubicBezTo>
                  <a:pt x="540206" y="223588"/>
                  <a:pt x="538214" y="227581"/>
                  <a:pt x="538214" y="229577"/>
                </a:cubicBezTo>
                <a:cubicBezTo>
                  <a:pt x="538214" y="233570"/>
                  <a:pt x="538214" y="237562"/>
                  <a:pt x="538214" y="237562"/>
                </a:cubicBezTo>
                <a:cubicBezTo>
                  <a:pt x="538214" y="237562"/>
                  <a:pt x="534231" y="245548"/>
                  <a:pt x="534231" y="247544"/>
                </a:cubicBezTo>
                <a:cubicBezTo>
                  <a:pt x="532239" y="251537"/>
                  <a:pt x="532239" y="255529"/>
                  <a:pt x="530247" y="257526"/>
                </a:cubicBezTo>
                <a:cubicBezTo>
                  <a:pt x="530247" y="259522"/>
                  <a:pt x="528255" y="261518"/>
                  <a:pt x="526264" y="261518"/>
                </a:cubicBezTo>
                <a:cubicBezTo>
                  <a:pt x="526264" y="261518"/>
                  <a:pt x="524272" y="259522"/>
                  <a:pt x="522280" y="261518"/>
                </a:cubicBezTo>
                <a:cubicBezTo>
                  <a:pt x="522280" y="263515"/>
                  <a:pt x="526264" y="265511"/>
                  <a:pt x="524272" y="267507"/>
                </a:cubicBezTo>
                <a:cubicBezTo>
                  <a:pt x="522280" y="269503"/>
                  <a:pt x="524272" y="275492"/>
                  <a:pt x="524272" y="277489"/>
                </a:cubicBezTo>
                <a:cubicBezTo>
                  <a:pt x="522280" y="277489"/>
                  <a:pt x="522280" y="279485"/>
                  <a:pt x="522280" y="279485"/>
                </a:cubicBezTo>
                <a:cubicBezTo>
                  <a:pt x="520288" y="279485"/>
                  <a:pt x="520288" y="277489"/>
                  <a:pt x="518297" y="277489"/>
                </a:cubicBezTo>
                <a:cubicBezTo>
                  <a:pt x="518297" y="277489"/>
                  <a:pt x="516305" y="275492"/>
                  <a:pt x="516305" y="277489"/>
                </a:cubicBezTo>
                <a:cubicBezTo>
                  <a:pt x="516305" y="281481"/>
                  <a:pt x="516305" y="281481"/>
                  <a:pt x="518297" y="285474"/>
                </a:cubicBezTo>
                <a:cubicBezTo>
                  <a:pt x="520288" y="287470"/>
                  <a:pt x="520288" y="285474"/>
                  <a:pt x="520288" y="289467"/>
                </a:cubicBezTo>
                <a:cubicBezTo>
                  <a:pt x="520288" y="291463"/>
                  <a:pt x="516305" y="323404"/>
                  <a:pt x="516305" y="323404"/>
                </a:cubicBezTo>
                <a:cubicBezTo>
                  <a:pt x="516305" y="323404"/>
                  <a:pt x="514313" y="331389"/>
                  <a:pt x="514313" y="333386"/>
                </a:cubicBezTo>
                <a:cubicBezTo>
                  <a:pt x="514313" y="335382"/>
                  <a:pt x="510330" y="339375"/>
                  <a:pt x="510330" y="343367"/>
                </a:cubicBezTo>
                <a:cubicBezTo>
                  <a:pt x="510330" y="345364"/>
                  <a:pt x="514313" y="347360"/>
                  <a:pt x="514313" y="347360"/>
                </a:cubicBezTo>
                <a:cubicBezTo>
                  <a:pt x="514313" y="347360"/>
                  <a:pt x="516305" y="351353"/>
                  <a:pt x="516305" y="353349"/>
                </a:cubicBezTo>
                <a:cubicBezTo>
                  <a:pt x="518297" y="355345"/>
                  <a:pt x="516305" y="357342"/>
                  <a:pt x="514313" y="359338"/>
                </a:cubicBezTo>
                <a:cubicBezTo>
                  <a:pt x="514313" y="363331"/>
                  <a:pt x="518297" y="365327"/>
                  <a:pt x="518297" y="367323"/>
                </a:cubicBezTo>
                <a:cubicBezTo>
                  <a:pt x="518297" y="367323"/>
                  <a:pt x="520288" y="369320"/>
                  <a:pt x="520288" y="371316"/>
                </a:cubicBezTo>
                <a:cubicBezTo>
                  <a:pt x="520288" y="373312"/>
                  <a:pt x="520288" y="381297"/>
                  <a:pt x="520288" y="383294"/>
                </a:cubicBezTo>
                <a:cubicBezTo>
                  <a:pt x="522280" y="385290"/>
                  <a:pt x="520288" y="393275"/>
                  <a:pt x="522280" y="399264"/>
                </a:cubicBezTo>
                <a:cubicBezTo>
                  <a:pt x="522280" y="403257"/>
                  <a:pt x="524272" y="403257"/>
                  <a:pt x="524272" y="405253"/>
                </a:cubicBezTo>
                <a:cubicBezTo>
                  <a:pt x="524272" y="407250"/>
                  <a:pt x="524272" y="413239"/>
                  <a:pt x="524272" y="415235"/>
                </a:cubicBezTo>
                <a:cubicBezTo>
                  <a:pt x="524272" y="415235"/>
                  <a:pt x="532239" y="419228"/>
                  <a:pt x="532239" y="421224"/>
                </a:cubicBezTo>
                <a:cubicBezTo>
                  <a:pt x="532239" y="421224"/>
                  <a:pt x="534231" y="429209"/>
                  <a:pt x="534231" y="429209"/>
                </a:cubicBezTo>
                <a:cubicBezTo>
                  <a:pt x="536222" y="431205"/>
                  <a:pt x="544189" y="433202"/>
                  <a:pt x="544189" y="433202"/>
                </a:cubicBezTo>
                <a:cubicBezTo>
                  <a:pt x="544189" y="435198"/>
                  <a:pt x="544189" y="443183"/>
                  <a:pt x="544189" y="443183"/>
                </a:cubicBezTo>
                <a:cubicBezTo>
                  <a:pt x="550165" y="451169"/>
                  <a:pt x="550165" y="451169"/>
                  <a:pt x="550165" y="451169"/>
                </a:cubicBezTo>
                <a:cubicBezTo>
                  <a:pt x="550165" y="451169"/>
                  <a:pt x="558132" y="463147"/>
                  <a:pt x="558132" y="465143"/>
                </a:cubicBezTo>
                <a:cubicBezTo>
                  <a:pt x="560123" y="465143"/>
                  <a:pt x="560123" y="471132"/>
                  <a:pt x="562115" y="471132"/>
                </a:cubicBezTo>
                <a:cubicBezTo>
                  <a:pt x="564107" y="471132"/>
                  <a:pt x="568090" y="471132"/>
                  <a:pt x="568090" y="471132"/>
                </a:cubicBezTo>
                <a:cubicBezTo>
                  <a:pt x="570082" y="469136"/>
                  <a:pt x="574066" y="469136"/>
                  <a:pt x="574066" y="469136"/>
                </a:cubicBezTo>
                <a:cubicBezTo>
                  <a:pt x="574066" y="469136"/>
                  <a:pt x="576057" y="471132"/>
                  <a:pt x="578049" y="473128"/>
                </a:cubicBezTo>
                <a:cubicBezTo>
                  <a:pt x="578049" y="475125"/>
                  <a:pt x="576057" y="475125"/>
                  <a:pt x="580041" y="475125"/>
                </a:cubicBezTo>
                <a:cubicBezTo>
                  <a:pt x="584024" y="475125"/>
                  <a:pt x="586016" y="475125"/>
                  <a:pt x="588008" y="477121"/>
                </a:cubicBezTo>
                <a:cubicBezTo>
                  <a:pt x="588008" y="479117"/>
                  <a:pt x="586016" y="485106"/>
                  <a:pt x="588008" y="487102"/>
                </a:cubicBezTo>
                <a:cubicBezTo>
                  <a:pt x="590000" y="487102"/>
                  <a:pt x="593983" y="487102"/>
                  <a:pt x="595975" y="487102"/>
                </a:cubicBezTo>
                <a:cubicBezTo>
                  <a:pt x="595975" y="487102"/>
                  <a:pt x="599958" y="487102"/>
                  <a:pt x="599958" y="487102"/>
                </a:cubicBezTo>
                <a:cubicBezTo>
                  <a:pt x="601950" y="487102"/>
                  <a:pt x="605934" y="485106"/>
                  <a:pt x="605934" y="485106"/>
                </a:cubicBezTo>
                <a:cubicBezTo>
                  <a:pt x="605934" y="483110"/>
                  <a:pt x="605934" y="479117"/>
                  <a:pt x="607925" y="479117"/>
                </a:cubicBezTo>
                <a:cubicBezTo>
                  <a:pt x="609917" y="479117"/>
                  <a:pt x="609917" y="477121"/>
                  <a:pt x="611909" y="477121"/>
                </a:cubicBezTo>
                <a:cubicBezTo>
                  <a:pt x="613901" y="477121"/>
                  <a:pt x="615892" y="479117"/>
                  <a:pt x="615892" y="477121"/>
                </a:cubicBezTo>
                <a:cubicBezTo>
                  <a:pt x="617884" y="477121"/>
                  <a:pt x="619876" y="477121"/>
                  <a:pt x="619876" y="479117"/>
                </a:cubicBezTo>
                <a:cubicBezTo>
                  <a:pt x="621868" y="479117"/>
                  <a:pt x="623859" y="479117"/>
                  <a:pt x="625851" y="479117"/>
                </a:cubicBezTo>
                <a:cubicBezTo>
                  <a:pt x="627843" y="479117"/>
                  <a:pt x="629834" y="479117"/>
                  <a:pt x="631826" y="479117"/>
                </a:cubicBezTo>
                <a:cubicBezTo>
                  <a:pt x="631826" y="479117"/>
                  <a:pt x="633818" y="479117"/>
                  <a:pt x="635810" y="479117"/>
                </a:cubicBezTo>
                <a:cubicBezTo>
                  <a:pt x="635810" y="477121"/>
                  <a:pt x="637801" y="473128"/>
                  <a:pt x="637801" y="473128"/>
                </a:cubicBezTo>
                <a:cubicBezTo>
                  <a:pt x="637801" y="471132"/>
                  <a:pt x="639793" y="471132"/>
                  <a:pt x="641785" y="471132"/>
                </a:cubicBezTo>
                <a:cubicBezTo>
                  <a:pt x="645768" y="469136"/>
                  <a:pt x="649752" y="469136"/>
                  <a:pt x="651744" y="469136"/>
                </a:cubicBezTo>
                <a:cubicBezTo>
                  <a:pt x="653735" y="469136"/>
                  <a:pt x="659711" y="467139"/>
                  <a:pt x="659711" y="469136"/>
                </a:cubicBezTo>
                <a:cubicBezTo>
                  <a:pt x="659711" y="471132"/>
                  <a:pt x="659711" y="475125"/>
                  <a:pt x="659711" y="475125"/>
                </a:cubicBezTo>
                <a:cubicBezTo>
                  <a:pt x="659711" y="477121"/>
                  <a:pt x="663694" y="479117"/>
                  <a:pt x="665686" y="479117"/>
                </a:cubicBezTo>
                <a:cubicBezTo>
                  <a:pt x="667678" y="479117"/>
                  <a:pt x="669669" y="477121"/>
                  <a:pt x="669669" y="475125"/>
                </a:cubicBezTo>
                <a:cubicBezTo>
                  <a:pt x="669669" y="475125"/>
                  <a:pt x="673653" y="477121"/>
                  <a:pt x="673653" y="475125"/>
                </a:cubicBezTo>
                <a:cubicBezTo>
                  <a:pt x="675645" y="475125"/>
                  <a:pt x="675645" y="471132"/>
                  <a:pt x="675645" y="469136"/>
                </a:cubicBezTo>
                <a:cubicBezTo>
                  <a:pt x="675645" y="467139"/>
                  <a:pt x="671661" y="467139"/>
                  <a:pt x="671661" y="467139"/>
                </a:cubicBezTo>
                <a:cubicBezTo>
                  <a:pt x="671661" y="469136"/>
                  <a:pt x="669669" y="469136"/>
                  <a:pt x="667678" y="467139"/>
                </a:cubicBezTo>
                <a:cubicBezTo>
                  <a:pt x="665686" y="467139"/>
                  <a:pt x="665686" y="469136"/>
                  <a:pt x="665686" y="467139"/>
                </a:cubicBezTo>
                <a:cubicBezTo>
                  <a:pt x="667678" y="463147"/>
                  <a:pt x="671661" y="461150"/>
                  <a:pt x="673653" y="459154"/>
                </a:cubicBezTo>
                <a:cubicBezTo>
                  <a:pt x="675645" y="459154"/>
                  <a:pt x="685603" y="457158"/>
                  <a:pt x="687595" y="455161"/>
                </a:cubicBezTo>
                <a:cubicBezTo>
                  <a:pt x="689587" y="455161"/>
                  <a:pt x="689587" y="449172"/>
                  <a:pt x="689587" y="447176"/>
                </a:cubicBezTo>
                <a:cubicBezTo>
                  <a:pt x="689587" y="447176"/>
                  <a:pt x="689587" y="443183"/>
                  <a:pt x="691579" y="441187"/>
                </a:cubicBezTo>
                <a:cubicBezTo>
                  <a:pt x="691579" y="441187"/>
                  <a:pt x="691579" y="439191"/>
                  <a:pt x="691579" y="437194"/>
                </a:cubicBezTo>
                <a:cubicBezTo>
                  <a:pt x="693570" y="437194"/>
                  <a:pt x="695562" y="435198"/>
                  <a:pt x="695562" y="435198"/>
                </a:cubicBezTo>
                <a:cubicBezTo>
                  <a:pt x="695562" y="433202"/>
                  <a:pt x="695562" y="433202"/>
                  <a:pt x="695562" y="433202"/>
                </a:cubicBezTo>
                <a:cubicBezTo>
                  <a:pt x="697554" y="431205"/>
                  <a:pt x="697554" y="421224"/>
                  <a:pt x="697554" y="419228"/>
                </a:cubicBezTo>
                <a:cubicBezTo>
                  <a:pt x="697554" y="417231"/>
                  <a:pt x="699546" y="409246"/>
                  <a:pt x="699546" y="407250"/>
                </a:cubicBezTo>
                <a:cubicBezTo>
                  <a:pt x="699546" y="405253"/>
                  <a:pt x="699546" y="401261"/>
                  <a:pt x="699546" y="399264"/>
                </a:cubicBezTo>
                <a:cubicBezTo>
                  <a:pt x="699546" y="395272"/>
                  <a:pt x="703529" y="393275"/>
                  <a:pt x="707513" y="391279"/>
                </a:cubicBezTo>
                <a:cubicBezTo>
                  <a:pt x="709504" y="391279"/>
                  <a:pt x="717471" y="389283"/>
                  <a:pt x="719463" y="389283"/>
                </a:cubicBezTo>
                <a:cubicBezTo>
                  <a:pt x="723447" y="389283"/>
                  <a:pt x="733405" y="387286"/>
                  <a:pt x="735397" y="387286"/>
                </a:cubicBezTo>
                <a:cubicBezTo>
                  <a:pt x="737389" y="387286"/>
                  <a:pt x="741372" y="387286"/>
                  <a:pt x="743364" y="385290"/>
                </a:cubicBezTo>
                <a:cubicBezTo>
                  <a:pt x="745356" y="385290"/>
                  <a:pt x="745356" y="387286"/>
                  <a:pt x="747348" y="383294"/>
                </a:cubicBezTo>
                <a:cubicBezTo>
                  <a:pt x="749339" y="383294"/>
                  <a:pt x="749339" y="381297"/>
                  <a:pt x="751331" y="381297"/>
                </a:cubicBezTo>
                <a:cubicBezTo>
                  <a:pt x="753323" y="381297"/>
                  <a:pt x="759298" y="383294"/>
                  <a:pt x="761290" y="383294"/>
                </a:cubicBezTo>
                <a:cubicBezTo>
                  <a:pt x="761290" y="383294"/>
                  <a:pt x="765273" y="379301"/>
                  <a:pt x="765273" y="379301"/>
                </a:cubicBezTo>
                <a:cubicBezTo>
                  <a:pt x="767265" y="379301"/>
                  <a:pt x="773240" y="381297"/>
                  <a:pt x="775232" y="383294"/>
                </a:cubicBezTo>
                <a:cubicBezTo>
                  <a:pt x="775232" y="383294"/>
                  <a:pt x="783199" y="385290"/>
                  <a:pt x="785191" y="385290"/>
                </a:cubicBezTo>
                <a:cubicBezTo>
                  <a:pt x="787182" y="385290"/>
                  <a:pt x="793158" y="385290"/>
                  <a:pt x="795149" y="387286"/>
                </a:cubicBezTo>
                <a:cubicBezTo>
                  <a:pt x="795149" y="389283"/>
                  <a:pt x="797141" y="391279"/>
                  <a:pt x="797141" y="393275"/>
                </a:cubicBezTo>
                <a:cubicBezTo>
                  <a:pt x="797141" y="393275"/>
                  <a:pt x="797141" y="399264"/>
                  <a:pt x="797141" y="399264"/>
                </a:cubicBezTo>
                <a:cubicBezTo>
                  <a:pt x="795149" y="403257"/>
                  <a:pt x="789174" y="409246"/>
                  <a:pt x="787182" y="411242"/>
                </a:cubicBezTo>
                <a:cubicBezTo>
                  <a:pt x="787182" y="411242"/>
                  <a:pt x="783199" y="417231"/>
                  <a:pt x="783199" y="419228"/>
                </a:cubicBezTo>
                <a:cubicBezTo>
                  <a:pt x="781207" y="421224"/>
                  <a:pt x="783199" y="427213"/>
                  <a:pt x="781207" y="429209"/>
                </a:cubicBezTo>
                <a:cubicBezTo>
                  <a:pt x="781207" y="433202"/>
                  <a:pt x="779215" y="433202"/>
                  <a:pt x="779215" y="435198"/>
                </a:cubicBezTo>
                <a:cubicBezTo>
                  <a:pt x="779215" y="435198"/>
                  <a:pt x="777224" y="439191"/>
                  <a:pt x="777224" y="441187"/>
                </a:cubicBezTo>
                <a:cubicBezTo>
                  <a:pt x="775232" y="441187"/>
                  <a:pt x="771248" y="445180"/>
                  <a:pt x="771248" y="445180"/>
                </a:cubicBezTo>
                <a:cubicBezTo>
                  <a:pt x="773240" y="447176"/>
                  <a:pt x="779215" y="447176"/>
                  <a:pt x="779215" y="447176"/>
                </a:cubicBezTo>
                <a:cubicBezTo>
                  <a:pt x="779215" y="447176"/>
                  <a:pt x="777224" y="451169"/>
                  <a:pt x="777224" y="453165"/>
                </a:cubicBezTo>
                <a:cubicBezTo>
                  <a:pt x="775232" y="455161"/>
                  <a:pt x="775232" y="457158"/>
                  <a:pt x="775232" y="459154"/>
                </a:cubicBezTo>
                <a:cubicBezTo>
                  <a:pt x="775232" y="461150"/>
                  <a:pt x="771248" y="465143"/>
                  <a:pt x="771248" y="467139"/>
                </a:cubicBezTo>
                <a:cubicBezTo>
                  <a:pt x="771248" y="467139"/>
                  <a:pt x="771248" y="469136"/>
                  <a:pt x="769257" y="469136"/>
                </a:cubicBezTo>
                <a:cubicBezTo>
                  <a:pt x="767265" y="469136"/>
                  <a:pt x="765273" y="467139"/>
                  <a:pt x="765273" y="463147"/>
                </a:cubicBezTo>
                <a:cubicBezTo>
                  <a:pt x="767265" y="461150"/>
                  <a:pt x="765273" y="459154"/>
                  <a:pt x="761290" y="463147"/>
                </a:cubicBezTo>
                <a:cubicBezTo>
                  <a:pt x="755315" y="467139"/>
                  <a:pt x="749339" y="481114"/>
                  <a:pt x="749339" y="481114"/>
                </a:cubicBezTo>
                <a:cubicBezTo>
                  <a:pt x="749339" y="481114"/>
                  <a:pt x="745356" y="489099"/>
                  <a:pt x="743364" y="489099"/>
                </a:cubicBezTo>
                <a:cubicBezTo>
                  <a:pt x="741372" y="489099"/>
                  <a:pt x="737389" y="491095"/>
                  <a:pt x="737389" y="491095"/>
                </a:cubicBezTo>
                <a:cubicBezTo>
                  <a:pt x="737389" y="491095"/>
                  <a:pt x="729422" y="493091"/>
                  <a:pt x="725438" y="493091"/>
                </a:cubicBezTo>
                <a:cubicBezTo>
                  <a:pt x="723447" y="493091"/>
                  <a:pt x="721455" y="495088"/>
                  <a:pt x="717471" y="495088"/>
                </a:cubicBezTo>
                <a:cubicBezTo>
                  <a:pt x="713488" y="495088"/>
                  <a:pt x="711496" y="495088"/>
                  <a:pt x="705521" y="493091"/>
                </a:cubicBezTo>
                <a:cubicBezTo>
                  <a:pt x="701537" y="493091"/>
                  <a:pt x="691579" y="493091"/>
                  <a:pt x="689587" y="493091"/>
                </a:cubicBezTo>
                <a:cubicBezTo>
                  <a:pt x="687595" y="493091"/>
                  <a:pt x="685603" y="495088"/>
                  <a:pt x="683612" y="497084"/>
                </a:cubicBezTo>
                <a:cubicBezTo>
                  <a:pt x="683612" y="501077"/>
                  <a:pt x="683612" y="505069"/>
                  <a:pt x="683612" y="507066"/>
                </a:cubicBezTo>
                <a:cubicBezTo>
                  <a:pt x="683612" y="509062"/>
                  <a:pt x="683612" y="511058"/>
                  <a:pt x="683612" y="513055"/>
                </a:cubicBezTo>
                <a:cubicBezTo>
                  <a:pt x="683612" y="515051"/>
                  <a:pt x="679628" y="517047"/>
                  <a:pt x="679628" y="519044"/>
                </a:cubicBezTo>
                <a:cubicBezTo>
                  <a:pt x="679628" y="521040"/>
                  <a:pt x="683612" y="523036"/>
                  <a:pt x="683612" y="525033"/>
                </a:cubicBezTo>
                <a:cubicBezTo>
                  <a:pt x="685603" y="527029"/>
                  <a:pt x="691579" y="531022"/>
                  <a:pt x="691579" y="531022"/>
                </a:cubicBezTo>
                <a:cubicBezTo>
                  <a:pt x="691579" y="533018"/>
                  <a:pt x="695562" y="537011"/>
                  <a:pt x="695562" y="537011"/>
                </a:cubicBezTo>
                <a:cubicBezTo>
                  <a:pt x="695562" y="539007"/>
                  <a:pt x="697554" y="541003"/>
                  <a:pt x="695562" y="542999"/>
                </a:cubicBezTo>
                <a:cubicBezTo>
                  <a:pt x="695562" y="542999"/>
                  <a:pt x="689587" y="546992"/>
                  <a:pt x="685603" y="546992"/>
                </a:cubicBezTo>
                <a:cubicBezTo>
                  <a:pt x="681620" y="546992"/>
                  <a:pt x="675645" y="546992"/>
                  <a:pt x="673653" y="546992"/>
                </a:cubicBezTo>
                <a:cubicBezTo>
                  <a:pt x="669669" y="546992"/>
                  <a:pt x="665686" y="546992"/>
                  <a:pt x="661702" y="548988"/>
                </a:cubicBezTo>
                <a:cubicBezTo>
                  <a:pt x="659711" y="552981"/>
                  <a:pt x="655727" y="558970"/>
                  <a:pt x="653735" y="562963"/>
                </a:cubicBezTo>
                <a:cubicBezTo>
                  <a:pt x="653735" y="564959"/>
                  <a:pt x="651744" y="570948"/>
                  <a:pt x="649752" y="572944"/>
                </a:cubicBezTo>
                <a:cubicBezTo>
                  <a:pt x="647760" y="576937"/>
                  <a:pt x="641785" y="580930"/>
                  <a:pt x="641785" y="580930"/>
                </a:cubicBezTo>
                <a:cubicBezTo>
                  <a:pt x="641785" y="580930"/>
                  <a:pt x="637801" y="582926"/>
                  <a:pt x="635810" y="582926"/>
                </a:cubicBezTo>
                <a:cubicBezTo>
                  <a:pt x="635810" y="584922"/>
                  <a:pt x="635810" y="586919"/>
                  <a:pt x="633818" y="588915"/>
                </a:cubicBezTo>
                <a:cubicBezTo>
                  <a:pt x="633818" y="588915"/>
                  <a:pt x="633818" y="592908"/>
                  <a:pt x="633818" y="594904"/>
                </a:cubicBezTo>
                <a:cubicBezTo>
                  <a:pt x="633818" y="596900"/>
                  <a:pt x="631826" y="596900"/>
                  <a:pt x="631826" y="596900"/>
                </a:cubicBezTo>
                <a:cubicBezTo>
                  <a:pt x="629834" y="594904"/>
                  <a:pt x="623859" y="590911"/>
                  <a:pt x="623859" y="588915"/>
                </a:cubicBezTo>
                <a:cubicBezTo>
                  <a:pt x="621868" y="586919"/>
                  <a:pt x="609917" y="572944"/>
                  <a:pt x="609917" y="572944"/>
                </a:cubicBezTo>
                <a:cubicBezTo>
                  <a:pt x="609917" y="572944"/>
                  <a:pt x="603942" y="564959"/>
                  <a:pt x="601950" y="564959"/>
                </a:cubicBezTo>
                <a:cubicBezTo>
                  <a:pt x="601950" y="562963"/>
                  <a:pt x="597967" y="554977"/>
                  <a:pt x="597967" y="554977"/>
                </a:cubicBezTo>
                <a:cubicBezTo>
                  <a:pt x="597967" y="554977"/>
                  <a:pt x="593983" y="554977"/>
                  <a:pt x="591991" y="554977"/>
                </a:cubicBezTo>
                <a:cubicBezTo>
                  <a:pt x="591991" y="554977"/>
                  <a:pt x="591991" y="550985"/>
                  <a:pt x="591991" y="550985"/>
                </a:cubicBezTo>
                <a:cubicBezTo>
                  <a:pt x="591991" y="548988"/>
                  <a:pt x="590000" y="546992"/>
                  <a:pt x="588008" y="548988"/>
                </a:cubicBezTo>
                <a:cubicBezTo>
                  <a:pt x="586016" y="548988"/>
                  <a:pt x="582033" y="546992"/>
                  <a:pt x="578049" y="548988"/>
                </a:cubicBezTo>
                <a:cubicBezTo>
                  <a:pt x="576057" y="548988"/>
                  <a:pt x="574066" y="550985"/>
                  <a:pt x="572074" y="550985"/>
                </a:cubicBezTo>
                <a:cubicBezTo>
                  <a:pt x="572074" y="550985"/>
                  <a:pt x="568090" y="552981"/>
                  <a:pt x="568090" y="552981"/>
                </a:cubicBezTo>
                <a:cubicBezTo>
                  <a:pt x="566099" y="552981"/>
                  <a:pt x="568090" y="552981"/>
                  <a:pt x="564107" y="552981"/>
                </a:cubicBezTo>
                <a:cubicBezTo>
                  <a:pt x="560123" y="554977"/>
                  <a:pt x="558132" y="552981"/>
                  <a:pt x="558132" y="554977"/>
                </a:cubicBezTo>
                <a:cubicBezTo>
                  <a:pt x="556140" y="554977"/>
                  <a:pt x="552156" y="560966"/>
                  <a:pt x="552156" y="560966"/>
                </a:cubicBezTo>
                <a:cubicBezTo>
                  <a:pt x="550165" y="562963"/>
                  <a:pt x="546181" y="564959"/>
                  <a:pt x="544189" y="564959"/>
                </a:cubicBezTo>
                <a:cubicBezTo>
                  <a:pt x="540206" y="564959"/>
                  <a:pt x="538214" y="564959"/>
                  <a:pt x="538214" y="564959"/>
                </a:cubicBezTo>
                <a:cubicBezTo>
                  <a:pt x="538214" y="564959"/>
                  <a:pt x="534231" y="566955"/>
                  <a:pt x="532239" y="566955"/>
                </a:cubicBezTo>
                <a:cubicBezTo>
                  <a:pt x="530247" y="566955"/>
                  <a:pt x="530247" y="568952"/>
                  <a:pt x="526264" y="568952"/>
                </a:cubicBezTo>
                <a:cubicBezTo>
                  <a:pt x="524272" y="568952"/>
                  <a:pt x="522280" y="566955"/>
                  <a:pt x="522280" y="564959"/>
                </a:cubicBezTo>
                <a:cubicBezTo>
                  <a:pt x="522280" y="564959"/>
                  <a:pt x="518297" y="562963"/>
                  <a:pt x="516305" y="560966"/>
                </a:cubicBezTo>
                <a:cubicBezTo>
                  <a:pt x="514313" y="560966"/>
                  <a:pt x="506346" y="560966"/>
                  <a:pt x="504355" y="560966"/>
                </a:cubicBezTo>
                <a:cubicBezTo>
                  <a:pt x="502363" y="558970"/>
                  <a:pt x="502363" y="560966"/>
                  <a:pt x="502363" y="558970"/>
                </a:cubicBezTo>
                <a:cubicBezTo>
                  <a:pt x="502363" y="558970"/>
                  <a:pt x="500371" y="556974"/>
                  <a:pt x="500371" y="556974"/>
                </a:cubicBezTo>
                <a:cubicBezTo>
                  <a:pt x="498379" y="556974"/>
                  <a:pt x="496388" y="556974"/>
                  <a:pt x="496388" y="554977"/>
                </a:cubicBezTo>
                <a:cubicBezTo>
                  <a:pt x="494396" y="552981"/>
                  <a:pt x="494396" y="550985"/>
                  <a:pt x="494396" y="548988"/>
                </a:cubicBezTo>
                <a:cubicBezTo>
                  <a:pt x="492404" y="548988"/>
                  <a:pt x="490412" y="546992"/>
                  <a:pt x="490412" y="546992"/>
                </a:cubicBezTo>
                <a:cubicBezTo>
                  <a:pt x="488421" y="546992"/>
                  <a:pt x="482445" y="546992"/>
                  <a:pt x="480454" y="544996"/>
                </a:cubicBezTo>
                <a:cubicBezTo>
                  <a:pt x="480454" y="544996"/>
                  <a:pt x="478462" y="539007"/>
                  <a:pt x="478462" y="539007"/>
                </a:cubicBezTo>
                <a:cubicBezTo>
                  <a:pt x="478462" y="539007"/>
                  <a:pt x="476470" y="537011"/>
                  <a:pt x="474478" y="537011"/>
                </a:cubicBezTo>
                <a:cubicBezTo>
                  <a:pt x="472487" y="537011"/>
                  <a:pt x="470495" y="539007"/>
                  <a:pt x="468503" y="539007"/>
                </a:cubicBezTo>
                <a:cubicBezTo>
                  <a:pt x="466511" y="539007"/>
                  <a:pt x="464520" y="539007"/>
                  <a:pt x="462528" y="539007"/>
                </a:cubicBezTo>
                <a:cubicBezTo>
                  <a:pt x="462528" y="539007"/>
                  <a:pt x="452569" y="535014"/>
                  <a:pt x="450577" y="535014"/>
                </a:cubicBezTo>
                <a:cubicBezTo>
                  <a:pt x="450577" y="535014"/>
                  <a:pt x="440619" y="527029"/>
                  <a:pt x="438627" y="527029"/>
                </a:cubicBezTo>
                <a:cubicBezTo>
                  <a:pt x="438627" y="527029"/>
                  <a:pt x="434643" y="525033"/>
                  <a:pt x="434643" y="525033"/>
                </a:cubicBezTo>
                <a:cubicBezTo>
                  <a:pt x="432652" y="523036"/>
                  <a:pt x="428668" y="521040"/>
                  <a:pt x="426676" y="521040"/>
                </a:cubicBezTo>
                <a:cubicBezTo>
                  <a:pt x="426676" y="521040"/>
                  <a:pt x="422693" y="521040"/>
                  <a:pt x="420701" y="519044"/>
                </a:cubicBezTo>
                <a:cubicBezTo>
                  <a:pt x="420701" y="517047"/>
                  <a:pt x="416718" y="513055"/>
                  <a:pt x="414726" y="513055"/>
                </a:cubicBezTo>
                <a:cubicBezTo>
                  <a:pt x="414726" y="511058"/>
                  <a:pt x="414726" y="509062"/>
                  <a:pt x="412734" y="509062"/>
                </a:cubicBezTo>
                <a:cubicBezTo>
                  <a:pt x="408751" y="509062"/>
                  <a:pt x="408751" y="511058"/>
                  <a:pt x="408751" y="509062"/>
                </a:cubicBezTo>
                <a:cubicBezTo>
                  <a:pt x="408751" y="509062"/>
                  <a:pt x="410742" y="505069"/>
                  <a:pt x="408751" y="505069"/>
                </a:cubicBezTo>
                <a:cubicBezTo>
                  <a:pt x="408751" y="505069"/>
                  <a:pt x="404767" y="505069"/>
                  <a:pt x="404767" y="505069"/>
                </a:cubicBezTo>
                <a:cubicBezTo>
                  <a:pt x="402775" y="503073"/>
                  <a:pt x="404767" y="501077"/>
                  <a:pt x="402775" y="499080"/>
                </a:cubicBezTo>
                <a:cubicBezTo>
                  <a:pt x="402775" y="499080"/>
                  <a:pt x="400784" y="495088"/>
                  <a:pt x="398792" y="495088"/>
                </a:cubicBezTo>
                <a:cubicBezTo>
                  <a:pt x="398792" y="495088"/>
                  <a:pt x="396800" y="495088"/>
                  <a:pt x="394809" y="495088"/>
                </a:cubicBezTo>
                <a:cubicBezTo>
                  <a:pt x="394809" y="495088"/>
                  <a:pt x="392817" y="493091"/>
                  <a:pt x="392817" y="493091"/>
                </a:cubicBezTo>
                <a:cubicBezTo>
                  <a:pt x="392817" y="493091"/>
                  <a:pt x="390825" y="491095"/>
                  <a:pt x="388833" y="491095"/>
                </a:cubicBezTo>
                <a:cubicBezTo>
                  <a:pt x="386842" y="491095"/>
                  <a:pt x="384850" y="493091"/>
                  <a:pt x="382858" y="491095"/>
                </a:cubicBezTo>
                <a:cubicBezTo>
                  <a:pt x="382858" y="491095"/>
                  <a:pt x="380866" y="487102"/>
                  <a:pt x="378875" y="487102"/>
                </a:cubicBezTo>
                <a:cubicBezTo>
                  <a:pt x="378875" y="487102"/>
                  <a:pt x="376883" y="487102"/>
                  <a:pt x="376883" y="485106"/>
                </a:cubicBezTo>
                <a:cubicBezTo>
                  <a:pt x="374891" y="485106"/>
                  <a:pt x="370908" y="483110"/>
                  <a:pt x="368916" y="483110"/>
                </a:cubicBezTo>
                <a:cubicBezTo>
                  <a:pt x="368916" y="483110"/>
                  <a:pt x="364932" y="483110"/>
                  <a:pt x="362941" y="481114"/>
                </a:cubicBezTo>
                <a:cubicBezTo>
                  <a:pt x="362941" y="481114"/>
                  <a:pt x="356965" y="479117"/>
                  <a:pt x="354974" y="477121"/>
                </a:cubicBezTo>
                <a:cubicBezTo>
                  <a:pt x="352982" y="477121"/>
                  <a:pt x="352982" y="473128"/>
                  <a:pt x="352982" y="473128"/>
                </a:cubicBezTo>
                <a:cubicBezTo>
                  <a:pt x="352982" y="471132"/>
                  <a:pt x="350990" y="467139"/>
                  <a:pt x="350990" y="467139"/>
                </a:cubicBezTo>
                <a:cubicBezTo>
                  <a:pt x="348998" y="465143"/>
                  <a:pt x="348998" y="463147"/>
                  <a:pt x="347007" y="463147"/>
                </a:cubicBezTo>
                <a:cubicBezTo>
                  <a:pt x="345015" y="463147"/>
                  <a:pt x="341031" y="461150"/>
                  <a:pt x="341031" y="461150"/>
                </a:cubicBezTo>
                <a:cubicBezTo>
                  <a:pt x="341031" y="461150"/>
                  <a:pt x="337048" y="457158"/>
                  <a:pt x="337048" y="457158"/>
                </a:cubicBezTo>
                <a:cubicBezTo>
                  <a:pt x="335056" y="457158"/>
                  <a:pt x="335056" y="457158"/>
                  <a:pt x="333064" y="457158"/>
                </a:cubicBezTo>
                <a:cubicBezTo>
                  <a:pt x="333064" y="459154"/>
                  <a:pt x="329081" y="457158"/>
                  <a:pt x="329081" y="457158"/>
                </a:cubicBezTo>
                <a:cubicBezTo>
                  <a:pt x="329081" y="457158"/>
                  <a:pt x="327089" y="455161"/>
                  <a:pt x="325097" y="455161"/>
                </a:cubicBezTo>
                <a:cubicBezTo>
                  <a:pt x="325097" y="455161"/>
                  <a:pt x="321114" y="453165"/>
                  <a:pt x="321114" y="453165"/>
                </a:cubicBezTo>
                <a:cubicBezTo>
                  <a:pt x="319122" y="451169"/>
                  <a:pt x="319122" y="449172"/>
                  <a:pt x="319122" y="449172"/>
                </a:cubicBezTo>
                <a:cubicBezTo>
                  <a:pt x="317130" y="447176"/>
                  <a:pt x="315139" y="445180"/>
                  <a:pt x="315139" y="445180"/>
                </a:cubicBezTo>
                <a:cubicBezTo>
                  <a:pt x="313147" y="441187"/>
                  <a:pt x="313147" y="441187"/>
                  <a:pt x="313147" y="441187"/>
                </a:cubicBezTo>
                <a:cubicBezTo>
                  <a:pt x="313147" y="441187"/>
                  <a:pt x="315139" y="437194"/>
                  <a:pt x="311155" y="437194"/>
                </a:cubicBezTo>
                <a:cubicBezTo>
                  <a:pt x="309163" y="435198"/>
                  <a:pt x="307172" y="435198"/>
                  <a:pt x="307172" y="433202"/>
                </a:cubicBezTo>
                <a:cubicBezTo>
                  <a:pt x="305180" y="431205"/>
                  <a:pt x="305180" y="429209"/>
                  <a:pt x="303188" y="427213"/>
                </a:cubicBezTo>
                <a:cubicBezTo>
                  <a:pt x="301196" y="425217"/>
                  <a:pt x="301196" y="425217"/>
                  <a:pt x="301196" y="423220"/>
                </a:cubicBezTo>
                <a:cubicBezTo>
                  <a:pt x="301196" y="421224"/>
                  <a:pt x="301196" y="413239"/>
                  <a:pt x="301196" y="411242"/>
                </a:cubicBezTo>
                <a:cubicBezTo>
                  <a:pt x="301196" y="409246"/>
                  <a:pt x="301196" y="407250"/>
                  <a:pt x="303188" y="405253"/>
                </a:cubicBezTo>
                <a:cubicBezTo>
                  <a:pt x="303188" y="405253"/>
                  <a:pt x="307172" y="403257"/>
                  <a:pt x="309163" y="401261"/>
                </a:cubicBezTo>
                <a:cubicBezTo>
                  <a:pt x="309163" y="399264"/>
                  <a:pt x="315139" y="391279"/>
                  <a:pt x="317130" y="389283"/>
                </a:cubicBezTo>
                <a:cubicBezTo>
                  <a:pt x="317130" y="387286"/>
                  <a:pt x="319122" y="385290"/>
                  <a:pt x="319122" y="383294"/>
                </a:cubicBezTo>
                <a:cubicBezTo>
                  <a:pt x="319122" y="381297"/>
                  <a:pt x="319122" y="377305"/>
                  <a:pt x="319122" y="377305"/>
                </a:cubicBezTo>
                <a:cubicBezTo>
                  <a:pt x="317130" y="377305"/>
                  <a:pt x="313147" y="377305"/>
                  <a:pt x="313147" y="375309"/>
                </a:cubicBezTo>
                <a:cubicBezTo>
                  <a:pt x="311155" y="373312"/>
                  <a:pt x="309163" y="369320"/>
                  <a:pt x="309163" y="367323"/>
                </a:cubicBezTo>
                <a:cubicBezTo>
                  <a:pt x="309163" y="365327"/>
                  <a:pt x="309163" y="359338"/>
                  <a:pt x="309163" y="359338"/>
                </a:cubicBezTo>
                <a:cubicBezTo>
                  <a:pt x="309163" y="359338"/>
                  <a:pt x="309163" y="353349"/>
                  <a:pt x="309163" y="351353"/>
                </a:cubicBezTo>
                <a:cubicBezTo>
                  <a:pt x="307172" y="349356"/>
                  <a:pt x="305180" y="347360"/>
                  <a:pt x="305180" y="347360"/>
                </a:cubicBezTo>
                <a:cubicBezTo>
                  <a:pt x="305180" y="347360"/>
                  <a:pt x="303188" y="343367"/>
                  <a:pt x="303188" y="341371"/>
                </a:cubicBezTo>
                <a:cubicBezTo>
                  <a:pt x="303188" y="341371"/>
                  <a:pt x="297213" y="333386"/>
                  <a:pt x="297213" y="331389"/>
                </a:cubicBezTo>
                <a:cubicBezTo>
                  <a:pt x="295221" y="329393"/>
                  <a:pt x="291238" y="323404"/>
                  <a:pt x="291238" y="321408"/>
                </a:cubicBezTo>
                <a:cubicBezTo>
                  <a:pt x="291238" y="319412"/>
                  <a:pt x="279287" y="305437"/>
                  <a:pt x="279287" y="305437"/>
                </a:cubicBezTo>
                <a:cubicBezTo>
                  <a:pt x="279287" y="305437"/>
                  <a:pt x="273312" y="295456"/>
                  <a:pt x="273312" y="295456"/>
                </a:cubicBezTo>
                <a:cubicBezTo>
                  <a:pt x="271320" y="293459"/>
                  <a:pt x="269329" y="291463"/>
                  <a:pt x="269329" y="289467"/>
                </a:cubicBezTo>
                <a:cubicBezTo>
                  <a:pt x="269329" y="289467"/>
                  <a:pt x="269329" y="285474"/>
                  <a:pt x="269329" y="285474"/>
                </a:cubicBezTo>
                <a:cubicBezTo>
                  <a:pt x="269329" y="283478"/>
                  <a:pt x="267337" y="281481"/>
                  <a:pt x="265345" y="281481"/>
                </a:cubicBezTo>
                <a:cubicBezTo>
                  <a:pt x="265345" y="281481"/>
                  <a:pt x="261362" y="281481"/>
                  <a:pt x="259370" y="279485"/>
                </a:cubicBezTo>
                <a:cubicBezTo>
                  <a:pt x="259370" y="279485"/>
                  <a:pt x="255386" y="275492"/>
                  <a:pt x="255386" y="273496"/>
                </a:cubicBezTo>
                <a:cubicBezTo>
                  <a:pt x="253395" y="273496"/>
                  <a:pt x="253395" y="271500"/>
                  <a:pt x="253395" y="269503"/>
                </a:cubicBezTo>
                <a:cubicBezTo>
                  <a:pt x="255386" y="267507"/>
                  <a:pt x="255386" y="267507"/>
                  <a:pt x="253395" y="265511"/>
                </a:cubicBezTo>
                <a:cubicBezTo>
                  <a:pt x="253395" y="263515"/>
                  <a:pt x="251403" y="263515"/>
                  <a:pt x="251403" y="261518"/>
                </a:cubicBezTo>
                <a:cubicBezTo>
                  <a:pt x="249411" y="261518"/>
                  <a:pt x="249411" y="259522"/>
                  <a:pt x="247419" y="259522"/>
                </a:cubicBezTo>
                <a:cubicBezTo>
                  <a:pt x="245428" y="257526"/>
                  <a:pt x="243436" y="257526"/>
                  <a:pt x="243436" y="257526"/>
                </a:cubicBezTo>
                <a:cubicBezTo>
                  <a:pt x="241444" y="255529"/>
                  <a:pt x="239452" y="251537"/>
                  <a:pt x="239452" y="251537"/>
                </a:cubicBezTo>
                <a:cubicBezTo>
                  <a:pt x="239452" y="251537"/>
                  <a:pt x="237461" y="249540"/>
                  <a:pt x="235469" y="249540"/>
                </a:cubicBezTo>
                <a:cubicBezTo>
                  <a:pt x="235469" y="249540"/>
                  <a:pt x="233477" y="249540"/>
                  <a:pt x="233477" y="247544"/>
                </a:cubicBezTo>
                <a:cubicBezTo>
                  <a:pt x="235469" y="247544"/>
                  <a:pt x="239452" y="247544"/>
                  <a:pt x="239452" y="247544"/>
                </a:cubicBezTo>
                <a:cubicBezTo>
                  <a:pt x="239452" y="247544"/>
                  <a:pt x="241444" y="247544"/>
                  <a:pt x="241444" y="247544"/>
                </a:cubicBezTo>
                <a:cubicBezTo>
                  <a:pt x="239452" y="245548"/>
                  <a:pt x="237461" y="245548"/>
                  <a:pt x="237461" y="245548"/>
                </a:cubicBezTo>
                <a:cubicBezTo>
                  <a:pt x="237461" y="245548"/>
                  <a:pt x="235469" y="245548"/>
                  <a:pt x="233477" y="243551"/>
                </a:cubicBezTo>
                <a:cubicBezTo>
                  <a:pt x="233477" y="243551"/>
                  <a:pt x="233477" y="241555"/>
                  <a:pt x="233477" y="241555"/>
                </a:cubicBezTo>
                <a:cubicBezTo>
                  <a:pt x="231485" y="241555"/>
                  <a:pt x="229494" y="241555"/>
                  <a:pt x="229494" y="241555"/>
                </a:cubicBezTo>
                <a:cubicBezTo>
                  <a:pt x="227502" y="241555"/>
                  <a:pt x="227502" y="241555"/>
                  <a:pt x="227502" y="243551"/>
                </a:cubicBezTo>
                <a:cubicBezTo>
                  <a:pt x="227502" y="243551"/>
                  <a:pt x="227502" y="243551"/>
                  <a:pt x="225510" y="243551"/>
                </a:cubicBezTo>
                <a:cubicBezTo>
                  <a:pt x="223518" y="243551"/>
                  <a:pt x="223518" y="241555"/>
                  <a:pt x="223518" y="239559"/>
                </a:cubicBezTo>
                <a:cubicBezTo>
                  <a:pt x="223518" y="237562"/>
                  <a:pt x="223518" y="231573"/>
                  <a:pt x="223518" y="229577"/>
                </a:cubicBezTo>
                <a:cubicBezTo>
                  <a:pt x="225510" y="229577"/>
                  <a:pt x="227502" y="227581"/>
                  <a:pt x="227502" y="227581"/>
                </a:cubicBezTo>
                <a:cubicBezTo>
                  <a:pt x="227502" y="225584"/>
                  <a:pt x="227502" y="221592"/>
                  <a:pt x="227502" y="221592"/>
                </a:cubicBezTo>
                <a:cubicBezTo>
                  <a:pt x="227502" y="221592"/>
                  <a:pt x="223518" y="217599"/>
                  <a:pt x="223518" y="215603"/>
                </a:cubicBezTo>
                <a:cubicBezTo>
                  <a:pt x="223518" y="211610"/>
                  <a:pt x="223518" y="209614"/>
                  <a:pt x="221527" y="209614"/>
                </a:cubicBezTo>
                <a:cubicBezTo>
                  <a:pt x="221527" y="209614"/>
                  <a:pt x="217543" y="207618"/>
                  <a:pt x="215551" y="207618"/>
                </a:cubicBezTo>
                <a:cubicBezTo>
                  <a:pt x="215551" y="207618"/>
                  <a:pt x="213560" y="205621"/>
                  <a:pt x="213560" y="203625"/>
                </a:cubicBezTo>
                <a:cubicBezTo>
                  <a:pt x="211568" y="201629"/>
                  <a:pt x="213560" y="199632"/>
                  <a:pt x="213560" y="197636"/>
                </a:cubicBezTo>
                <a:cubicBezTo>
                  <a:pt x="211568" y="195640"/>
                  <a:pt x="213560" y="195640"/>
                  <a:pt x="209576" y="195640"/>
                </a:cubicBezTo>
                <a:cubicBezTo>
                  <a:pt x="209576" y="195640"/>
                  <a:pt x="203601" y="195640"/>
                  <a:pt x="203601" y="195640"/>
                </a:cubicBezTo>
                <a:cubicBezTo>
                  <a:pt x="203601" y="195640"/>
                  <a:pt x="197626" y="191647"/>
                  <a:pt x="197626" y="191647"/>
                </a:cubicBezTo>
                <a:cubicBezTo>
                  <a:pt x="197626" y="189651"/>
                  <a:pt x="199617" y="183662"/>
                  <a:pt x="199617" y="181665"/>
                </a:cubicBezTo>
                <a:cubicBezTo>
                  <a:pt x="197626" y="181665"/>
                  <a:pt x="195634" y="177673"/>
                  <a:pt x="195634" y="177673"/>
                </a:cubicBezTo>
                <a:cubicBezTo>
                  <a:pt x="195634" y="177673"/>
                  <a:pt x="193642" y="177673"/>
                  <a:pt x="195634" y="175676"/>
                </a:cubicBezTo>
                <a:cubicBezTo>
                  <a:pt x="195634" y="175676"/>
                  <a:pt x="199617" y="173680"/>
                  <a:pt x="201609" y="171684"/>
                </a:cubicBezTo>
                <a:cubicBezTo>
                  <a:pt x="201609" y="171684"/>
                  <a:pt x="199617" y="169687"/>
                  <a:pt x="199617" y="169687"/>
                </a:cubicBezTo>
                <a:cubicBezTo>
                  <a:pt x="199617" y="169687"/>
                  <a:pt x="193642" y="169687"/>
                  <a:pt x="193642" y="169687"/>
                </a:cubicBezTo>
                <a:cubicBezTo>
                  <a:pt x="193642" y="169687"/>
                  <a:pt x="189659" y="169687"/>
                  <a:pt x="185675" y="169687"/>
                </a:cubicBezTo>
                <a:cubicBezTo>
                  <a:pt x="185675" y="167691"/>
                  <a:pt x="179700" y="165695"/>
                  <a:pt x="179700" y="165695"/>
                </a:cubicBezTo>
                <a:cubicBezTo>
                  <a:pt x="177708" y="159706"/>
                  <a:pt x="177708" y="159706"/>
                  <a:pt x="177708" y="159706"/>
                </a:cubicBezTo>
                <a:cubicBezTo>
                  <a:pt x="177708" y="159706"/>
                  <a:pt x="175717" y="155713"/>
                  <a:pt x="175717" y="153717"/>
                </a:cubicBezTo>
                <a:cubicBezTo>
                  <a:pt x="175717" y="151721"/>
                  <a:pt x="171733" y="151721"/>
                  <a:pt x="171733" y="151721"/>
                </a:cubicBezTo>
                <a:cubicBezTo>
                  <a:pt x="169741" y="151721"/>
                  <a:pt x="169741" y="147728"/>
                  <a:pt x="167750" y="145732"/>
                </a:cubicBezTo>
                <a:cubicBezTo>
                  <a:pt x="167750" y="143735"/>
                  <a:pt x="167750" y="143735"/>
                  <a:pt x="167750" y="141739"/>
                </a:cubicBezTo>
                <a:cubicBezTo>
                  <a:pt x="165758" y="141739"/>
                  <a:pt x="165758" y="137746"/>
                  <a:pt x="165758" y="137746"/>
                </a:cubicBezTo>
                <a:cubicBezTo>
                  <a:pt x="165758" y="137746"/>
                  <a:pt x="161774" y="133754"/>
                  <a:pt x="159783" y="133754"/>
                </a:cubicBezTo>
                <a:cubicBezTo>
                  <a:pt x="159783" y="129761"/>
                  <a:pt x="161774" y="127765"/>
                  <a:pt x="161774" y="125768"/>
                </a:cubicBezTo>
                <a:cubicBezTo>
                  <a:pt x="161774" y="123772"/>
                  <a:pt x="157791" y="117783"/>
                  <a:pt x="157791" y="115786"/>
                </a:cubicBezTo>
                <a:cubicBezTo>
                  <a:pt x="155799" y="115786"/>
                  <a:pt x="155799" y="115786"/>
                  <a:pt x="155799" y="113790"/>
                </a:cubicBezTo>
                <a:cubicBezTo>
                  <a:pt x="155799" y="111794"/>
                  <a:pt x="155799" y="109798"/>
                  <a:pt x="155799" y="107801"/>
                </a:cubicBezTo>
                <a:cubicBezTo>
                  <a:pt x="153807" y="107801"/>
                  <a:pt x="149824" y="99816"/>
                  <a:pt x="147832" y="95823"/>
                </a:cubicBezTo>
                <a:cubicBezTo>
                  <a:pt x="147832" y="93827"/>
                  <a:pt x="143849" y="81849"/>
                  <a:pt x="141857" y="77856"/>
                </a:cubicBezTo>
                <a:cubicBezTo>
                  <a:pt x="141857" y="73864"/>
                  <a:pt x="141857" y="69871"/>
                  <a:pt x="141857" y="67875"/>
                </a:cubicBezTo>
                <a:cubicBezTo>
                  <a:pt x="141857" y="65878"/>
                  <a:pt x="143849" y="65878"/>
                  <a:pt x="141857" y="63882"/>
                </a:cubicBezTo>
                <a:cubicBezTo>
                  <a:pt x="141857" y="63882"/>
                  <a:pt x="135882" y="61886"/>
                  <a:pt x="135882" y="61886"/>
                </a:cubicBezTo>
                <a:cubicBezTo>
                  <a:pt x="133890" y="61886"/>
                  <a:pt x="133890" y="59890"/>
                  <a:pt x="133890" y="57893"/>
                </a:cubicBezTo>
                <a:cubicBezTo>
                  <a:pt x="133890" y="55897"/>
                  <a:pt x="133890" y="51904"/>
                  <a:pt x="133890" y="49908"/>
                </a:cubicBezTo>
                <a:cubicBezTo>
                  <a:pt x="133890" y="49908"/>
                  <a:pt x="131898" y="47912"/>
                  <a:pt x="129906" y="47912"/>
                </a:cubicBezTo>
                <a:cubicBezTo>
                  <a:pt x="129906" y="47912"/>
                  <a:pt x="125923" y="51904"/>
                  <a:pt x="125923" y="51904"/>
                </a:cubicBezTo>
                <a:cubicBezTo>
                  <a:pt x="125923" y="53901"/>
                  <a:pt x="125923" y="55897"/>
                  <a:pt x="121939" y="55897"/>
                </a:cubicBezTo>
                <a:cubicBezTo>
                  <a:pt x="119948" y="55897"/>
                  <a:pt x="117956" y="53901"/>
                  <a:pt x="115964" y="53901"/>
                </a:cubicBezTo>
                <a:cubicBezTo>
                  <a:pt x="115964" y="51904"/>
                  <a:pt x="111981" y="49908"/>
                  <a:pt x="111981" y="47912"/>
                </a:cubicBezTo>
                <a:cubicBezTo>
                  <a:pt x="111981" y="47912"/>
                  <a:pt x="111981" y="45915"/>
                  <a:pt x="107997" y="45915"/>
                </a:cubicBezTo>
                <a:cubicBezTo>
                  <a:pt x="106005" y="45915"/>
                  <a:pt x="106005" y="47912"/>
                  <a:pt x="104014" y="49908"/>
                </a:cubicBezTo>
                <a:cubicBezTo>
                  <a:pt x="104014" y="51904"/>
                  <a:pt x="104014" y="57893"/>
                  <a:pt x="104014" y="57893"/>
                </a:cubicBezTo>
                <a:cubicBezTo>
                  <a:pt x="104014" y="59890"/>
                  <a:pt x="102022" y="63882"/>
                  <a:pt x="102022" y="65878"/>
                </a:cubicBezTo>
                <a:cubicBezTo>
                  <a:pt x="100030" y="67875"/>
                  <a:pt x="104014" y="69871"/>
                  <a:pt x="104014" y="71867"/>
                </a:cubicBezTo>
                <a:cubicBezTo>
                  <a:pt x="104014" y="73864"/>
                  <a:pt x="104014" y="77856"/>
                  <a:pt x="102022" y="77856"/>
                </a:cubicBezTo>
                <a:cubicBezTo>
                  <a:pt x="102022" y="79853"/>
                  <a:pt x="104014" y="85842"/>
                  <a:pt x="104014" y="85842"/>
                </a:cubicBezTo>
                <a:cubicBezTo>
                  <a:pt x="104014" y="87838"/>
                  <a:pt x="104014" y="97820"/>
                  <a:pt x="104014" y="99816"/>
                </a:cubicBezTo>
                <a:cubicBezTo>
                  <a:pt x="104014" y="103809"/>
                  <a:pt x="104014" y="103809"/>
                  <a:pt x="106005" y="107801"/>
                </a:cubicBezTo>
                <a:cubicBezTo>
                  <a:pt x="107997" y="107801"/>
                  <a:pt x="107997" y="107801"/>
                  <a:pt x="111981" y="109798"/>
                </a:cubicBezTo>
                <a:cubicBezTo>
                  <a:pt x="113972" y="111794"/>
                  <a:pt x="113972" y="113790"/>
                  <a:pt x="113972" y="115786"/>
                </a:cubicBezTo>
                <a:cubicBezTo>
                  <a:pt x="113972" y="117783"/>
                  <a:pt x="117956" y="119779"/>
                  <a:pt x="117956" y="119779"/>
                </a:cubicBezTo>
                <a:cubicBezTo>
                  <a:pt x="119948" y="121775"/>
                  <a:pt x="121939" y="121775"/>
                  <a:pt x="121939" y="123772"/>
                </a:cubicBezTo>
                <a:cubicBezTo>
                  <a:pt x="121939" y="123772"/>
                  <a:pt x="121939" y="133754"/>
                  <a:pt x="121939" y="135750"/>
                </a:cubicBezTo>
                <a:cubicBezTo>
                  <a:pt x="123931" y="137746"/>
                  <a:pt x="123931" y="139743"/>
                  <a:pt x="125923" y="137746"/>
                </a:cubicBezTo>
                <a:cubicBezTo>
                  <a:pt x="127915" y="137746"/>
                  <a:pt x="129906" y="137746"/>
                  <a:pt x="129906" y="139743"/>
                </a:cubicBezTo>
                <a:cubicBezTo>
                  <a:pt x="129906" y="139743"/>
                  <a:pt x="131898" y="143735"/>
                  <a:pt x="133890" y="145732"/>
                </a:cubicBezTo>
                <a:cubicBezTo>
                  <a:pt x="133890" y="149724"/>
                  <a:pt x="135882" y="149724"/>
                  <a:pt x="137873" y="151721"/>
                </a:cubicBezTo>
                <a:cubicBezTo>
                  <a:pt x="139865" y="153717"/>
                  <a:pt x="141857" y="153717"/>
                  <a:pt x="141857" y="153717"/>
                </a:cubicBezTo>
                <a:cubicBezTo>
                  <a:pt x="141857" y="155713"/>
                  <a:pt x="141857" y="159706"/>
                  <a:pt x="141857" y="161702"/>
                </a:cubicBezTo>
                <a:cubicBezTo>
                  <a:pt x="141857" y="165695"/>
                  <a:pt x="141857" y="169687"/>
                  <a:pt x="141857" y="171684"/>
                </a:cubicBezTo>
                <a:cubicBezTo>
                  <a:pt x="143849" y="173680"/>
                  <a:pt x="143849" y="175676"/>
                  <a:pt x="145840" y="175676"/>
                </a:cubicBezTo>
                <a:cubicBezTo>
                  <a:pt x="147832" y="175676"/>
                  <a:pt x="151816" y="175676"/>
                  <a:pt x="151816" y="177673"/>
                </a:cubicBezTo>
                <a:cubicBezTo>
                  <a:pt x="153807" y="179669"/>
                  <a:pt x="153807" y="183662"/>
                  <a:pt x="153807" y="183662"/>
                </a:cubicBezTo>
                <a:cubicBezTo>
                  <a:pt x="153807" y="185658"/>
                  <a:pt x="153807" y="191647"/>
                  <a:pt x="155799" y="191647"/>
                </a:cubicBezTo>
                <a:cubicBezTo>
                  <a:pt x="157791" y="193643"/>
                  <a:pt x="159783" y="191647"/>
                  <a:pt x="159783" y="193643"/>
                </a:cubicBezTo>
                <a:cubicBezTo>
                  <a:pt x="161774" y="195640"/>
                  <a:pt x="161774" y="197636"/>
                  <a:pt x="161774" y="197636"/>
                </a:cubicBezTo>
                <a:cubicBezTo>
                  <a:pt x="161774" y="199632"/>
                  <a:pt x="159783" y="199632"/>
                  <a:pt x="159783" y="199632"/>
                </a:cubicBezTo>
                <a:cubicBezTo>
                  <a:pt x="157791" y="199632"/>
                  <a:pt x="157791" y="199632"/>
                  <a:pt x="157791" y="201629"/>
                </a:cubicBezTo>
                <a:cubicBezTo>
                  <a:pt x="159783" y="203625"/>
                  <a:pt x="157791" y="203625"/>
                  <a:pt x="159783" y="205621"/>
                </a:cubicBezTo>
                <a:cubicBezTo>
                  <a:pt x="161774" y="207618"/>
                  <a:pt x="161774" y="207618"/>
                  <a:pt x="161774" y="209614"/>
                </a:cubicBezTo>
                <a:cubicBezTo>
                  <a:pt x="161774" y="211610"/>
                  <a:pt x="159783" y="213606"/>
                  <a:pt x="163766" y="213606"/>
                </a:cubicBezTo>
                <a:cubicBezTo>
                  <a:pt x="165758" y="213606"/>
                  <a:pt x="165758" y="213606"/>
                  <a:pt x="165758" y="213606"/>
                </a:cubicBezTo>
                <a:cubicBezTo>
                  <a:pt x="165758" y="213606"/>
                  <a:pt x="165758" y="209614"/>
                  <a:pt x="165758" y="207618"/>
                </a:cubicBezTo>
                <a:cubicBezTo>
                  <a:pt x="163766" y="205621"/>
                  <a:pt x="163766" y="201629"/>
                  <a:pt x="163766" y="201629"/>
                </a:cubicBezTo>
                <a:cubicBezTo>
                  <a:pt x="163766" y="199632"/>
                  <a:pt x="163766" y="199632"/>
                  <a:pt x="163766" y="199632"/>
                </a:cubicBezTo>
                <a:cubicBezTo>
                  <a:pt x="163766" y="199632"/>
                  <a:pt x="165758" y="197636"/>
                  <a:pt x="165758" y="199632"/>
                </a:cubicBezTo>
                <a:cubicBezTo>
                  <a:pt x="167750" y="201629"/>
                  <a:pt x="167750" y="205621"/>
                  <a:pt x="167750" y="205621"/>
                </a:cubicBezTo>
                <a:cubicBezTo>
                  <a:pt x="167750" y="209614"/>
                  <a:pt x="167750" y="209614"/>
                  <a:pt x="169741" y="211610"/>
                </a:cubicBezTo>
                <a:cubicBezTo>
                  <a:pt x="169741" y="213606"/>
                  <a:pt x="173725" y="213606"/>
                  <a:pt x="173725" y="217599"/>
                </a:cubicBezTo>
                <a:cubicBezTo>
                  <a:pt x="175717" y="217599"/>
                  <a:pt x="175717" y="225584"/>
                  <a:pt x="175717" y="227581"/>
                </a:cubicBezTo>
                <a:lnTo>
                  <a:pt x="175717" y="230004"/>
                </a:lnTo>
                <a:lnTo>
                  <a:pt x="177063" y="228501"/>
                </a:lnTo>
                <a:cubicBezTo>
                  <a:pt x="178174" y="228501"/>
                  <a:pt x="179285" y="228997"/>
                  <a:pt x="179285" y="228997"/>
                </a:cubicBezTo>
                <a:cubicBezTo>
                  <a:pt x="179285" y="227013"/>
                  <a:pt x="185953" y="232966"/>
                  <a:pt x="183730" y="232966"/>
                </a:cubicBezTo>
                <a:lnTo>
                  <a:pt x="175717" y="231177"/>
                </a:lnTo>
                <a:lnTo>
                  <a:pt x="175717" y="232821"/>
                </a:lnTo>
                <a:cubicBezTo>
                  <a:pt x="175717" y="235566"/>
                  <a:pt x="175717" y="238561"/>
                  <a:pt x="175717" y="239559"/>
                </a:cubicBezTo>
                <a:cubicBezTo>
                  <a:pt x="175717" y="241555"/>
                  <a:pt x="173725" y="245548"/>
                  <a:pt x="175717" y="247544"/>
                </a:cubicBezTo>
                <a:cubicBezTo>
                  <a:pt x="175717" y="251537"/>
                  <a:pt x="177708" y="251537"/>
                  <a:pt x="177708" y="255529"/>
                </a:cubicBezTo>
                <a:cubicBezTo>
                  <a:pt x="179700" y="257526"/>
                  <a:pt x="179700" y="257526"/>
                  <a:pt x="181692" y="259522"/>
                </a:cubicBezTo>
                <a:cubicBezTo>
                  <a:pt x="183684" y="259522"/>
                  <a:pt x="185675" y="265511"/>
                  <a:pt x="185675" y="265511"/>
                </a:cubicBezTo>
                <a:cubicBezTo>
                  <a:pt x="185675" y="267507"/>
                  <a:pt x="189659" y="273496"/>
                  <a:pt x="189659" y="275492"/>
                </a:cubicBezTo>
                <a:cubicBezTo>
                  <a:pt x="189659" y="275492"/>
                  <a:pt x="189659" y="277489"/>
                  <a:pt x="187667" y="277489"/>
                </a:cubicBezTo>
                <a:cubicBezTo>
                  <a:pt x="185675" y="281481"/>
                  <a:pt x="187667" y="281481"/>
                  <a:pt x="187667" y="285474"/>
                </a:cubicBezTo>
                <a:cubicBezTo>
                  <a:pt x="187667" y="287470"/>
                  <a:pt x="189659" y="289467"/>
                  <a:pt x="189659" y="291463"/>
                </a:cubicBezTo>
                <a:cubicBezTo>
                  <a:pt x="189659" y="293459"/>
                  <a:pt x="193642" y="295456"/>
                  <a:pt x="193642" y="293459"/>
                </a:cubicBezTo>
                <a:cubicBezTo>
                  <a:pt x="193642" y="293459"/>
                  <a:pt x="193642" y="291463"/>
                  <a:pt x="191650" y="289467"/>
                </a:cubicBezTo>
                <a:cubicBezTo>
                  <a:pt x="191650" y="287470"/>
                  <a:pt x="191650" y="285474"/>
                  <a:pt x="193642" y="285474"/>
                </a:cubicBezTo>
                <a:cubicBezTo>
                  <a:pt x="195634" y="285474"/>
                  <a:pt x="195634" y="287470"/>
                  <a:pt x="197626" y="289467"/>
                </a:cubicBezTo>
                <a:cubicBezTo>
                  <a:pt x="197626" y="291463"/>
                  <a:pt x="199617" y="293459"/>
                  <a:pt x="201609" y="295456"/>
                </a:cubicBezTo>
                <a:cubicBezTo>
                  <a:pt x="205593" y="297452"/>
                  <a:pt x="205593" y="303441"/>
                  <a:pt x="205593" y="305437"/>
                </a:cubicBezTo>
                <a:cubicBezTo>
                  <a:pt x="205593" y="307434"/>
                  <a:pt x="207584" y="309430"/>
                  <a:pt x="209576" y="313423"/>
                </a:cubicBezTo>
                <a:cubicBezTo>
                  <a:pt x="211568" y="317415"/>
                  <a:pt x="211568" y="317415"/>
                  <a:pt x="211568" y="319412"/>
                </a:cubicBezTo>
                <a:cubicBezTo>
                  <a:pt x="211568" y="323404"/>
                  <a:pt x="209576" y="327397"/>
                  <a:pt x="209576" y="327397"/>
                </a:cubicBezTo>
                <a:cubicBezTo>
                  <a:pt x="209576" y="329393"/>
                  <a:pt x="205593" y="331389"/>
                  <a:pt x="205593" y="333386"/>
                </a:cubicBezTo>
                <a:cubicBezTo>
                  <a:pt x="205593" y="333386"/>
                  <a:pt x="203601" y="333386"/>
                  <a:pt x="201609" y="333386"/>
                </a:cubicBezTo>
                <a:cubicBezTo>
                  <a:pt x="201609" y="335382"/>
                  <a:pt x="199617" y="335382"/>
                  <a:pt x="199617" y="335382"/>
                </a:cubicBezTo>
                <a:cubicBezTo>
                  <a:pt x="199617" y="337378"/>
                  <a:pt x="195634" y="337378"/>
                  <a:pt x="195634" y="335382"/>
                </a:cubicBezTo>
                <a:cubicBezTo>
                  <a:pt x="195634" y="335382"/>
                  <a:pt x="195634" y="329393"/>
                  <a:pt x="193642" y="327397"/>
                </a:cubicBezTo>
                <a:cubicBezTo>
                  <a:pt x="193642" y="325400"/>
                  <a:pt x="193642" y="319412"/>
                  <a:pt x="191650" y="317415"/>
                </a:cubicBezTo>
                <a:cubicBezTo>
                  <a:pt x="191650" y="315419"/>
                  <a:pt x="189659" y="309430"/>
                  <a:pt x="185675" y="307434"/>
                </a:cubicBezTo>
                <a:cubicBezTo>
                  <a:pt x="183684" y="305437"/>
                  <a:pt x="177708" y="299448"/>
                  <a:pt x="175717" y="299448"/>
                </a:cubicBezTo>
                <a:cubicBezTo>
                  <a:pt x="175717" y="297452"/>
                  <a:pt x="171733" y="293459"/>
                  <a:pt x="169741" y="293459"/>
                </a:cubicBezTo>
                <a:cubicBezTo>
                  <a:pt x="167750" y="291463"/>
                  <a:pt x="161774" y="293459"/>
                  <a:pt x="159783" y="291463"/>
                </a:cubicBezTo>
                <a:cubicBezTo>
                  <a:pt x="159783" y="291463"/>
                  <a:pt x="159783" y="285474"/>
                  <a:pt x="157791" y="285474"/>
                </a:cubicBezTo>
                <a:cubicBezTo>
                  <a:pt x="155799" y="283478"/>
                  <a:pt x="153807" y="279485"/>
                  <a:pt x="153807" y="277489"/>
                </a:cubicBezTo>
                <a:cubicBezTo>
                  <a:pt x="151816" y="275492"/>
                  <a:pt x="151816" y="275492"/>
                  <a:pt x="149824" y="273496"/>
                </a:cubicBezTo>
                <a:cubicBezTo>
                  <a:pt x="147832" y="273496"/>
                  <a:pt x="145840" y="273496"/>
                  <a:pt x="145840" y="271500"/>
                </a:cubicBezTo>
                <a:cubicBezTo>
                  <a:pt x="145840" y="269503"/>
                  <a:pt x="147832" y="263515"/>
                  <a:pt x="147832" y="263515"/>
                </a:cubicBezTo>
                <a:cubicBezTo>
                  <a:pt x="147832" y="263515"/>
                  <a:pt x="149824" y="257526"/>
                  <a:pt x="149824" y="255529"/>
                </a:cubicBezTo>
                <a:cubicBezTo>
                  <a:pt x="149824" y="253533"/>
                  <a:pt x="151816" y="251537"/>
                  <a:pt x="151816" y="251537"/>
                </a:cubicBezTo>
                <a:cubicBezTo>
                  <a:pt x="151816" y="249540"/>
                  <a:pt x="151816" y="243551"/>
                  <a:pt x="151816" y="241555"/>
                </a:cubicBezTo>
                <a:cubicBezTo>
                  <a:pt x="149824" y="239559"/>
                  <a:pt x="147832" y="235566"/>
                  <a:pt x="147832" y="233570"/>
                </a:cubicBezTo>
                <a:cubicBezTo>
                  <a:pt x="147832" y="231573"/>
                  <a:pt x="147832" y="229577"/>
                  <a:pt x="147832" y="227581"/>
                </a:cubicBezTo>
                <a:cubicBezTo>
                  <a:pt x="145840" y="225584"/>
                  <a:pt x="141857" y="223588"/>
                  <a:pt x="137873" y="221592"/>
                </a:cubicBezTo>
                <a:cubicBezTo>
                  <a:pt x="137873" y="221592"/>
                  <a:pt x="137873" y="219595"/>
                  <a:pt x="135882" y="217599"/>
                </a:cubicBezTo>
                <a:cubicBezTo>
                  <a:pt x="135882" y="217599"/>
                  <a:pt x="135882" y="211610"/>
                  <a:pt x="135882" y="211610"/>
                </a:cubicBezTo>
                <a:cubicBezTo>
                  <a:pt x="129906" y="209614"/>
                  <a:pt x="129906" y="209614"/>
                  <a:pt x="129906" y="209614"/>
                </a:cubicBezTo>
                <a:cubicBezTo>
                  <a:pt x="129906" y="209614"/>
                  <a:pt x="129906" y="201629"/>
                  <a:pt x="129906" y="199632"/>
                </a:cubicBezTo>
                <a:cubicBezTo>
                  <a:pt x="129906" y="199632"/>
                  <a:pt x="127915" y="197636"/>
                  <a:pt x="125923" y="199632"/>
                </a:cubicBezTo>
                <a:cubicBezTo>
                  <a:pt x="125923" y="201629"/>
                  <a:pt x="127915" y="203625"/>
                  <a:pt x="127915" y="205621"/>
                </a:cubicBezTo>
                <a:cubicBezTo>
                  <a:pt x="125923" y="205621"/>
                  <a:pt x="123931" y="205621"/>
                  <a:pt x="121939" y="205621"/>
                </a:cubicBezTo>
                <a:cubicBezTo>
                  <a:pt x="121939" y="205621"/>
                  <a:pt x="119948" y="205621"/>
                  <a:pt x="117956" y="205621"/>
                </a:cubicBezTo>
                <a:cubicBezTo>
                  <a:pt x="117956" y="207618"/>
                  <a:pt x="115964" y="207618"/>
                  <a:pt x="113972" y="207618"/>
                </a:cubicBezTo>
                <a:cubicBezTo>
                  <a:pt x="113972" y="207618"/>
                  <a:pt x="113972" y="203625"/>
                  <a:pt x="113972" y="201629"/>
                </a:cubicBezTo>
                <a:cubicBezTo>
                  <a:pt x="111981" y="199632"/>
                  <a:pt x="109989" y="199632"/>
                  <a:pt x="109989" y="199632"/>
                </a:cubicBezTo>
                <a:cubicBezTo>
                  <a:pt x="107997" y="199632"/>
                  <a:pt x="106005" y="199632"/>
                  <a:pt x="104014" y="199632"/>
                </a:cubicBezTo>
                <a:cubicBezTo>
                  <a:pt x="104014" y="197636"/>
                  <a:pt x="104014" y="195640"/>
                  <a:pt x="104014" y="195640"/>
                </a:cubicBezTo>
                <a:cubicBezTo>
                  <a:pt x="102022" y="193643"/>
                  <a:pt x="98038" y="191647"/>
                  <a:pt x="98038" y="191647"/>
                </a:cubicBezTo>
                <a:cubicBezTo>
                  <a:pt x="96047" y="189651"/>
                  <a:pt x="92063" y="183662"/>
                  <a:pt x="92063" y="183662"/>
                </a:cubicBezTo>
                <a:cubicBezTo>
                  <a:pt x="92063" y="183662"/>
                  <a:pt x="92063" y="183662"/>
                  <a:pt x="90071" y="183662"/>
                </a:cubicBezTo>
                <a:cubicBezTo>
                  <a:pt x="90071" y="181665"/>
                  <a:pt x="88080" y="181665"/>
                  <a:pt x="88080" y="179669"/>
                </a:cubicBezTo>
                <a:cubicBezTo>
                  <a:pt x="88080" y="177673"/>
                  <a:pt x="88080" y="177673"/>
                  <a:pt x="86088" y="175676"/>
                </a:cubicBezTo>
                <a:cubicBezTo>
                  <a:pt x="84096" y="175676"/>
                  <a:pt x="80113" y="175676"/>
                  <a:pt x="80113" y="173680"/>
                </a:cubicBezTo>
                <a:cubicBezTo>
                  <a:pt x="80113" y="171684"/>
                  <a:pt x="80113" y="171684"/>
                  <a:pt x="82104" y="171684"/>
                </a:cubicBezTo>
                <a:cubicBezTo>
                  <a:pt x="82104" y="169687"/>
                  <a:pt x="84096" y="169687"/>
                  <a:pt x="86088" y="169687"/>
                </a:cubicBezTo>
                <a:cubicBezTo>
                  <a:pt x="86088" y="171684"/>
                  <a:pt x="88080" y="171684"/>
                  <a:pt x="88080" y="171684"/>
                </a:cubicBezTo>
                <a:cubicBezTo>
                  <a:pt x="88080" y="171684"/>
                  <a:pt x="96047" y="171684"/>
                  <a:pt x="96047" y="171684"/>
                </a:cubicBezTo>
                <a:cubicBezTo>
                  <a:pt x="96047" y="171684"/>
                  <a:pt x="102022" y="173680"/>
                  <a:pt x="102022" y="175676"/>
                </a:cubicBezTo>
                <a:cubicBezTo>
                  <a:pt x="102022" y="177673"/>
                  <a:pt x="104014" y="177673"/>
                  <a:pt x="104014" y="177673"/>
                </a:cubicBezTo>
                <a:cubicBezTo>
                  <a:pt x="106005" y="175676"/>
                  <a:pt x="106005" y="175676"/>
                  <a:pt x="106005" y="175676"/>
                </a:cubicBezTo>
                <a:cubicBezTo>
                  <a:pt x="106005" y="175676"/>
                  <a:pt x="111981" y="175676"/>
                  <a:pt x="111981" y="175676"/>
                </a:cubicBezTo>
                <a:cubicBezTo>
                  <a:pt x="111981" y="173680"/>
                  <a:pt x="111981" y="173680"/>
                  <a:pt x="109989" y="173680"/>
                </a:cubicBezTo>
                <a:cubicBezTo>
                  <a:pt x="107997" y="173680"/>
                  <a:pt x="106005" y="173680"/>
                  <a:pt x="104014" y="173680"/>
                </a:cubicBezTo>
                <a:cubicBezTo>
                  <a:pt x="104014" y="171684"/>
                  <a:pt x="102022" y="169687"/>
                  <a:pt x="102022" y="167691"/>
                </a:cubicBezTo>
                <a:cubicBezTo>
                  <a:pt x="102022" y="163698"/>
                  <a:pt x="102022" y="161702"/>
                  <a:pt x="104014" y="161702"/>
                </a:cubicBezTo>
                <a:cubicBezTo>
                  <a:pt x="104014" y="161702"/>
                  <a:pt x="106005" y="163698"/>
                  <a:pt x="106005" y="161702"/>
                </a:cubicBezTo>
                <a:cubicBezTo>
                  <a:pt x="107997" y="159706"/>
                  <a:pt x="106005" y="149724"/>
                  <a:pt x="104014" y="147728"/>
                </a:cubicBezTo>
                <a:cubicBezTo>
                  <a:pt x="104014" y="145732"/>
                  <a:pt x="102022" y="143735"/>
                  <a:pt x="100030" y="141739"/>
                </a:cubicBezTo>
                <a:cubicBezTo>
                  <a:pt x="100030" y="141739"/>
                  <a:pt x="94055" y="137746"/>
                  <a:pt x="94055" y="135750"/>
                </a:cubicBezTo>
                <a:cubicBezTo>
                  <a:pt x="92063" y="133754"/>
                  <a:pt x="92063" y="127765"/>
                  <a:pt x="90071" y="127765"/>
                </a:cubicBezTo>
                <a:cubicBezTo>
                  <a:pt x="90071" y="125768"/>
                  <a:pt x="88080" y="123772"/>
                  <a:pt x="86088" y="123772"/>
                </a:cubicBezTo>
                <a:cubicBezTo>
                  <a:pt x="86088" y="123772"/>
                  <a:pt x="84096" y="119779"/>
                  <a:pt x="82104" y="119779"/>
                </a:cubicBezTo>
                <a:cubicBezTo>
                  <a:pt x="82104" y="117783"/>
                  <a:pt x="80113" y="115786"/>
                  <a:pt x="78121" y="113790"/>
                </a:cubicBezTo>
                <a:cubicBezTo>
                  <a:pt x="76129" y="113790"/>
                  <a:pt x="70154" y="109798"/>
                  <a:pt x="70154" y="109798"/>
                </a:cubicBezTo>
                <a:cubicBezTo>
                  <a:pt x="70154" y="107801"/>
                  <a:pt x="68162" y="105805"/>
                  <a:pt x="70154" y="103809"/>
                </a:cubicBezTo>
                <a:cubicBezTo>
                  <a:pt x="70154" y="101812"/>
                  <a:pt x="72146" y="97820"/>
                  <a:pt x="72146" y="95823"/>
                </a:cubicBezTo>
                <a:cubicBezTo>
                  <a:pt x="70154" y="93827"/>
                  <a:pt x="70154" y="91831"/>
                  <a:pt x="68162" y="91831"/>
                </a:cubicBezTo>
                <a:cubicBezTo>
                  <a:pt x="68162" y="89834"/>
                  <a:pt x="66171" y="87838"/>
                  <a:pt x="66171" y="85842"/>
                </a:cubicBezTo>
                <a:cubicBezTo>
                  <a:pt x="66171" y="83845"/>
                  <a:pt x="66171" y="83845"/>
                  <a:pt x="64179" y="81849"/>
                </a:cubicBezTo>
                <a:cubicBezTo>
                  <a:pt x="64179" y="79853"/>
                  <a:pt x="62187" y="77856"/>
                  <a:pt x="64179" y="75860"/>
                </a:cubicBezTo>
                <a:cubicBezTo>
                  <a:pt x="64179" y="73864"/>
                  <a:pt x="64179" y="67875"/>
                  <a:pt x="64179" y="65878"/>
                </a:cubicBezTo>
                <a:cubicBezTo>
                  <a:pt x="64179" y="63882"/>
                  <a:pt x="62187" y="57893"/>
                  <a:pt x="60195" y="55897"/>
                </a:cubicBezTo>
                <a:cubicBezTo>
                  <a:pt x="60195" y="53901"/>
                  <a:pt x="58204" y="47912"/>
                  <a:pt x="56212" y="45915"/>
                </a:cubicBezTo>
                <a:cubicBezTo>
                  <a:pt x="56212" y="45915"/>
                  <a:pt x="56212" y="43919"/>
                  <a:pt x="56212" y="41923"/>
                </a:cubicBezTo>
                <a:cubicBezTo>
                  <a:pt x="56212" y="41923"/>
                  <a:pt x="56212" y="29945"/>
                  <a:pt x="56212" y="27948"/>
                </a:cubicBezTo>
                <a:cubicBezTo>
                  <a:pt x="56212" y="27948"/>
                  <a:pt x="54220" y="23956"/>
                  <a:pt x="52228" y="21959"/>
                </a:cubicBezTo>
                <a:cubicBezTo>
                  <a:pt x="52228" y="19963"/>
                  <a:pt x="50237" y="11978"/>
                  <a:pt x="50237" y="9981"/>
                </a:cubicBezTo>
                <a:cubicBezTo>
                  <a:pt x="48245" y="7985"/>
                  <a:pt x="46253" y="5989"/>
                  <a:pt x="46253" y="1996"/>
                </a:cubicBezTo>
                <a:cubicBezTo>
                  <a:pt x="46253" y="1996"/>
                  <a:pt x="58204" y="0"/>
                  <a:pt x="7214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1" name="Chile"/>
          <p:cNvSpPr>
            <a:spLocks/>
          </p:cNvSpPr>
          <p:nvPr/>
        </p:nvSpPr>
        <p:spPr bwMode="auto">
          <a:xfrm>
            <a:off x="4257589" y="4620924"/>
            <a:ext cx="276011" cy="1411177"/>
          </a:xfrm>
          <a:custGeom>
            <a:avLst/>
            <a:gdLst>
              <a:gd name="connsiteX0" fmla="*/ 247701 w 268289"/>
              <a:gd name="connsiteY0" fmla="*/ 1350863 h 1371698"/>
              <a:gd name="connsiteX1" fmla="*/ 252413 w 268289"/>
              <a:gd name="connsiteY1" fmla="*/ 1353343 h 1371698"/>
              <a:gd name="connsiteX2" fmla="*/ 252413 w 268289"/>
              <a:gd name="connsiteY2" fmla="*/ 1357312 h 1371698"/>
              <a:gd name="connsiteX3" fmla="*/ 252413 w 268289"/>
              <a:gd name="connsiteY3" fmla="*/ 1361280 h 1371698"/>
              <a:gd name="connsiteX4" fmla="*/ 258367 w 268289"/>
              <a:gd name="connsiteY4" fmla="*/ 1361280 h 1371698"/>
              <a:gd name="connsiteX5" fmla="*/ 256382 w 268289"/>
              <a:gd name="connsiteY5" fmla="*/ 1365249 h 1371698"/>
              <a:gd name="connsiteX6" fmla="*/ 254398 w 268289"/>
              <a:gd name="connsiteY6" fmla="*/ 1367233 h 1371698"/>
              <a:gd name="connsiteX7" fmla="*/ 256382 w 268289"/>
              <a:gd name="connsiteY7" fmla="*/ 1369218 h 1371698"/>
              <a:gd name="connsiteX8" fmla="*/ 254398 w 268289"/>
              <a:gd name="connsiteY8" fmla="*/ 1371202 h 1371698"/>
              <a:gd name="connsiteX9" fmla="*/ 252413 w 268289"/>
              <a:gd name="connsiteY9" fmla="*/ 1369218 h 1371698"/>
              <a:gd name="connsiteX10" fmla="*/ 248445 w 268289"/>
              <a:gd name="connsiteY10" fmla="*/ 1365249 h 1371698"/>
              <a:gd name="connsiteX11" fmla="*/ 244476 w 268289"/>
              <a:gd name="connsiteY11" fmla="*/ 1367233 h 1371698"/>
              <a:gd name="connsiteX12" fmla="*/ 236538 w 268289"/>
              <a:gd name="connsiteY12" fmla="*/ 1369218 h 1371698"/>
              <a:gd name="connsiteX13" fmla="*/ 236538 w 268289"/>
              <a:gd name="connsiteY13" fmla="*/ 1365249 h 1371698"/>
              <a:gd name="connsiteX14" fmla="*/ 244476 w 268289"/>
              <a:gd name="connsiteY14" fmla="*/ 1363265 h 1371698"/>
              <a:gd name="connsiteX15" fmla="*/ 244476 w 268289"/>
              <a:gd name="connsiteY15" fmla="*/ 1357312 h 1371698"/>
              <a:gd name="connsiteX16" fmla="*/ 242491 w 268289"/>
              <a:gd name="connsiteY16" fmla="*/ 1357312 h 1371698"/>
              <a:gd name="connsiteX17" fmla="*/ 240507 w 268289"/>
              <a:gd name="connsiteY17" fmla="*/ 1353343 h 1371698"/>
              <a:gd name="connsiteX18" fmla="*/ 244476 w 268289"/>
              <a:gd name="connsiteY18" fmla="*/ 1351359 h 1371698"/>
              <a:gd name="connsiteX19" fmla="*/ 247701 w 268289"/>
              <a:gd name="connsiteY19" fmla="*/ 1350863 h 1371698"/>
              <a:gd name="connsiteX20" fmla="*/ 189971 w 268289"/>
              <a:gd name="connsiteY20" fmla="*/ 1347786 h 1371698"/>
              <a:gd name="connsiteX21" fmla="*/ 192088 w 268289"/>
              <a:gd name="connsiteY21" fmla="*/ 1349374 h 1371698"/>
              <a:gd name="connsiteX22" fmla="*/ 187855 w 268289"/>
              <a:gd name="connsiteY22" fmla="*/ 1349374 h 1371698"/>
              <a:gd name="connsiteX23" fmla="*/ 189971 w 268289"/>
              <a:gd name="connsiteY23" fmla="*/ 1347786 h 1371698"/>
              <a:gd name="connsiteX24" fmla="*/ 182034 w 268289"/>
              <a:gd name="connsiteY24" fmla="*/ 1343024 h 1371698"/>
              <a:gd name="connsiteX25" fmla="*/ 184151 w 268289"/>
              <a:gd name="connsiteY25" fmla="*/ 1345141 h 1371698"/>
              <a:gd name="connsiteX26" fmla="*/ 179918 w 268289"/>
              <a:gd name="connsiteY26" fmla="*/ 1347258 h 1371698"/>
              <a:gd name="connsiteX27" fmla="*/ 182034 w 268289"/>
              <a:gd name="connsiteY27" fmla="*/ 1343024 h 1371698"/>
              <a:gd name="connsiteX28" fmla="*/ 253683 w 268289"/>
              <a:gd name="connsiteY28" fmla="*/ 1336674 h 1371698"/>
              <a:gd name="connsiteX29" fmla="*/ 260351 w 268289"/>
              <a:gd name="connsiteY29" fmla="*/ 1338791 h 1371698"/>
              <a:gd name="connsiteX30" fmla="*/ 251461 w 268289"/>
              <a:gd name="connsiteY30" fmla="*/ 1340908 h 1371698"/>
              <a:gd name="connsiteX31" fmla="*/ 253683 w 268289"/>
              <a:gd name="connsiteY31" fmla="*/ 1336674 h 1371698"/>
              <a:gd name="connsiteX32" fmla="*/ 262584 w 268289"/>
              <a:gd name="connsiteY32" fmla="*/ 1334987 h 1371698"/>
              <a:gd name="connsiteX33" fmla="*/ 264320 w 268289"/>
              <a:gd name="connsiteY33" fmla="*/ 1335483 h 1371698"/>
              <a:gd name="connsiteX34" fmla="*/ 268289 w 268289"/>
              <a:gd name="connsiteY34" fmla="*/ 1337468 h 1371698"/>
              <a:gd name="connsiteX35" fmla="*/ 262336 w 268289"/>
              <a:gd name="connsiteY35" fmla="*/ 1337468 h 1371698"/>
              <a:gd name="connsiteX36" fmla="*/ 262584 w 268289"/>
              <a:gd name="connsiteY36" fmla="*/ 1334987 h 1371698"/>
              <a:gd name="connsiteX37" fmla="*/ 176214 w 268289"/>
              <a:gd name="connsiteY37" fmla="*/ 1327149 h 1371698"/>
              <a:gd name="connsiteX38" fmla="*/ 177801 w 268289"/>
              <a:gd name="connsiteY38" fmla="*/ 1329530 h 1371698"/>
              <a:gd name="connsiteX39" fmla="*/ 174626 w 268289"/>
              <a:gd name="connsiteY39" fmla="*/ 1329530 h 1371698"/>
              <a:gd name="connsiteX40" fmla="*/ 176214 w 268289"/>
              <a:gd name="connsiteY40" fmla="*/ 1327149 h 1371698"/>
              <a:gd name="connsiteX41" fmla="*/ 167959 w 268289"/>
              <a:gd name="connsiteY41" fmla="*/ 1322784 h 1371698"/>
              <a:gd name="connsiteX42" fmla="*/ 172087 w 268289"/>
              <a:gd name="connsiteY42" fmla="*/ 1324768 h 1371698"/>
              <a:gd name="connsiteX43" fmla="*/ 170023 w 268289"/>
              <a:gd name="connsiteY43" fmla="*/ 1326752 h 1371698"/>
              <a:gd name="connsiteX44" fmla="*/ 165895 w 268289"/>
              <a:gd name="connsiteY44" fmla="*/ 1328737 h 1371698"/>
              <a:gd name="connsiteX45" fmla="*/ 172087 w 268289"/>
              <a:gd name="connsiteY45" fmla="*/ 1330721 h 1371698"/>
              <a:gd name="connsiteX46" fmla="*/ 176214 w 268289"/>
              <a:gd name="connsiteY46" fmla="*/ 1334690 h 1371698"/>
              <a:gd name="connsiteX47" fmla="*/ 167959 w 268289"/>
              <a:gd name="connsiteY47" fmla="*/ 1334690 h 1371698"/>
              <a:gd name="connsiteX48" fmla="*/ 159704 w 268289"/>
              <a:gd name="connsiteY48" fmla="*/ 1334690 h 1371698"/>
              <a:gd name="connsiteX49" fmla="*/ 157640 w 268289"/>
              <a:gd name="connsiteY49" fmla="*/ 1326752 h 1371698"/>
              <a:gd name="connsiteX50" fmla="*/ 163831 w 268289"/>
              <a:gd name="connsiteY50" fmla="*/ 1326752 h 1371698"/>
              <a:gd name="connsiteX51" fmla="*/ 167959 w 268289"/>
              <a:gd name="connsiteY51" fmla="*/ 1322784 h 1371698"/>
              <a:gd name="connsiteX52" fmla="*/ 150178 w 268289"/>
              <a:gd name="connsiteY52" fmla="*/ 1320799 h 1371698"/>
              <a:gd name="connsiteX53" fmla="*/ 153988 w 268289"/>
              <a:gd name="connsiteY53" fmla="*/ 1322916 h 1371698"/>
              <a:gd name="connsiteX54" fmla="*/ 146368 w 268289"/>
              <a:gd name="connsiteY54" fmla="*/ 1325033 h 1371698"/>
              <a:gd name="connsiteX55" fmla="*/ 150178 w 268289"/>
              <a:gd name="connsiteY55" fmla="*/ 1320799 h 1371698"/>
              <a:gd name="connsiteX56" fmla="*/ 133784 w 268289"/>
              <a:gd name="connsiteY56" fmla="*/ 1303790 h 1371698"/>
              <a:gd name="connsiteX57" fmla="*/ 139845 w 268289"/>
              <a:gd name="connsiteY57" fmla="*/ 1307418 h 1371698"/>
              <a:gd name="connsiteX58" fmla="*/ 143886 w 268289"/>
              <a:gd name="connsiteY58" fmla="*/ 1303790 h 1371698"/>
              <a:gd name="connsiteX59" fmla="*/ 147927 w 268289"/>
              <a:gd name="connsiteY59" fmla="*/ 1305604 h 1371698"/>
              <a:gd name="connsiteX60" fmla="*/ 151968 w 268289"/>
              <a:gd name="connsiteY60" fmla="*/ 1307418 h 1371698"/>
              <a:gd name="connsiteX61" fmla="*/ 153988 w 268289"/>
              <a:gd name="connsiteY61" fmla="*/ 1311047 h 1371698"/>
              <a:gd name="connsiteX62" fmla="*/ 151968 w 268289"/>
              <a:gd name="connsiteY62" fmla="*/ 1311047 h 1371698"/>
              <a:gd name="connsiteX63" fmla="*/ 145906 w 268289"/>
              <a:gd name="connsiteY63" fmla="*/ 1311047 h 1371698"/>
              <a:gd name="connsiteX64" fmla="*/ 139845 w 268289"/>
              <a:gd name="connsiteY64" fmla="*/ 1311047 h 1371698"/>
              <a:gd name="connsiteX65" fmla="*/ 131763 w 268289"/>
              <a:gd name="connsiteY65" fmla="*/ 1309233 h 1371698"/>
              <a:gd name="connsiteX66" fmla="*/ 133784 w 268289"/>
              <a:gd name="connsiteY66" fmla="*/ 1303790 h 1371698"/>
              <a:gd name="connsiteX67" fmla="*/ 98278 w 268289"/>
              <a:gd name="connsiteY67" fmla="*/ 1289347 h 1371698"/>
              <a:gd name="connsiteX68" fmla="*/ 98030 w 268289"/>
              <a:gd name="connsiteY68" fmla="*/ 1293282 h 1371698"/>
              <a:gd name="connsiteX69" fmla="*/ 92076 w 268289"/>
              <a:gd name="connsiteY69" fmla="*/ 1293282 h 1371698"/>
              <a:gd name="connsiteX70" fmla="*/ 94061 w 268289"/>
              <a:gd name="connsiteY70" fmla="*/ 1289578 h 1371698"/>
              <a:gd name="connsiteX71" fmla="*/ 98278 w 268289"/>
              <a:gd name="connsiteY71" fmla="*/ 1289347 h 1371698"/>
              <a:gd name="connsiteX72" fmla="*/ 133473 w 268289"/>
              <a:gd name="connsiteY72" fmla="*/ 1283162 h 1371698"/>
              <a:gd name="connsiteX73" fmla="*/ 135915 w 268289"/>
              <a:gd name="connsiteY73" fmla="*/ 1287285 h 1371698"/>
              <a:gd name="connsiteX74" fmla="*/ 141777 w 268289"/>
              <a:gd name="connsiteY74" fmla="*/ 1287285 h 1371698"/>
              <a:gd name="connsiteX75" fmla="*/ 147638 w 268289"/>
              <a:gd name="connsiteY75" fmla="*/ 1293106 h 1371698"/>
              <a:gd name="connsiteX76" fmla="*/ 139823 w 268289"/>
              <a:gd name="connsiteY76" fmla="*/ 1295046 h 1371698"/>
              <a:gd name="connsiteX77" fmla="*/ 133961 w 268289"/>
              <a:gd name="connsiteY77" fmla="*/ 1296986 h 1371698"/>
              <a:gd name="connsiteX78" fmla="*/ 130054 w 268289"/>
              <a:gd name="connsiteY78" fmla="*/ 1293106 h 1371698"/>
              <a:gd name="connsiteX79" fmla="*/ 122238 w 268289"/>
              <a:gd name="connsiteY79" fmla="*/ 1287285 h 1371698"/>
              <a:gd name="connsiteX80" fmla="*/ 128100 w 268289"/>
              <a:gd name="connsiteY80" fmla="*/ 1283405 h 1371698"/>
              <a:gd name="connsiteX81" fmla="*/ 133473 w 268289"/>
              <a:gd name="connsiteY81" fmla="*/ 1283162 h 1371698"/>
              <a:gd name="connsiteX82" fmla="*/ 159810 w 268289"/>
              <a:gd name="connsiteY82" fmla="*/ 1273855 h 1371698"/>
              <a:gd name="connsiteX83" fmla="*/ 161662 w 268289"/>
              <a:gd name="connsiteY83" fmla="*/ 1277710 h 1371698"/>
              <a:gd name="connsiteX84" fmla="*/ 161662 w 268289"/>
              <a:gd name="connsiteY84" fmla="*/ 1283493 h 1371698"/>
              <a:gd name="connsiteX85" fmla="*/ 163514 w 268289"/>
              <a:gd name="connsiteY85" fmla="*/ 1287348 h 1371698"/>
              <a:gd name="connsiteX86" fmla="*/ 161662 w 268289"/>
              <a:gd name="connsiteY86" fmla="*/ 1293131 h 1371698"/>
              <a:gd name="connsiteX87" fmla="*/ 154253 w 268289"/>
              <a:gd name="connsiteY87" fmla="*/ 1295059 h 1371698"/>
              <a:gd name="connsiteX88" fmla="*/ 156105 w 268289"/>
              <a:gd name="connsiteY88" fmla="*/ 1289276 h 1371698"/>
              <a:gd name="connsiteX89" fmla="*/ 157958 w 268289"/>
              <a:gd name="connsiteY89" fmla="*/ 1285420 h 1371698"/>
              <a:gd name="connsiteX90" fmla="*/ 157958 w 268289"/>
              <a:gd name="connsiteY90" fmla="*/ 1281565 h 1371698"/>
              <a:gd name="connsiteX91" fmla="*/ 157958 w 268289"/>
              <a:gd name="connsiteY91" fmla="*/ 1277710 h 1371698"/>
              <a:gd name="connsiteX92" fmla="*/ 159810 w 268289"/>
              <a:gd name="connsiteY92" fmla="*/ 1273855 h 1371698"/>
              <a:gd name="connsiteX93" fmla="*/ 81829 w 268289"/>
              <a:gd name="connsiteY93" fmla="*/ 1260941 h 1371698"/>
              <a:gd name="connsiteX94" fmla="*/ 85870 w 268289"/>
              <a:gd name="connsiteY94" fmla="*/ 1262995 h 1371698"/>
              <a:gd name="connsiteX95" fmla="*/ 93952 w 268289"/>
              <a:gd name="connsiteY95" fmla="*/ 1267104 h 1371698"/>
              <a:gd name="connsiteX96" fmla="*/ 102034 w 268289"/>
              <a:gd name="connsiteY96" fmla="*/ 1262995 h 1371698"/>
              <a:gd name="connsiteX97" fmla="*/ 108095 w 268289"/>
              <a:gd name="connsiteY97" fmla="*/ 1267104 h 1371698"/>
              <a:gd name="connsiteX98" fmla="*/ 112136 w 268289"/>
              <a:gd name="connsiteY98" fmla="*/ 1269158 h 1371698"/>
              <a:gd name="connsiteX99" fmla="*/ 114156 w 268289"/>
              <a:gd name="connsiteY99" fmla="*/ 1273267 h 1371698"/>
              <a:gd name="connsiteX100" fmla="*/ 118197 w 268289"/>
              <a:gd name="connsiteY100" fmla="*/ 1275322 h 1371698"/>
              <a:gd name="connsiteX101" fmla="*/ 122238 w 268289"/>
              <a:gd name="connsiteY101" fmla="*/ 1279430 h 1371698"/>
              <a:gd name="connsiteX102" fmla="*/ 120218 w 268289"/>
              <a:gd name="connsiteY102" fmla="*/ 1281485 h 1371698"/>
              <a:gd name="connsiteX103" fmla="*/ 116177 w 268289"/>
              <a:gd name="connsiteY103" fmla="*/ 1285594 h 1371698"/>
              <a:gd name="connsiteX104" fmla="*/ 116177 w 268289"/>
              <a:gd name="connsiteY104" fmla="*/ 1291757 h 1371698"/>
              <a:gd name="connsiteX105" fmla="*/ 112136 w 268289"/>
              <a:gd name="connsiteY105" fmla="*/ 1289702 h 1371698"/>
              <a:gd name="connsiteX106" fmla="*/ 104054 w 268289"/>
              <a:gd name="connsiteY106" fmla="*/ 1291757 h 1371698"/>
              <a:gd name="connsiteX107" fmla="*/ 102034 w 268289"/>
              <a:gd name="connsiteY107" fmla="*/ 1287648 h 1371698"/>
              <a:gd name="connsiteX108" fmla="*/ 95972 w 268289"/>
              <a:gd name="connsiteY108" fmla="*/ 1287648 h 1371698"/>
              <a:gd name="connsiteX109" fmla="*/ 93952 w 268289"/>
              <a:gd name="connsiteY109" fmla="*/ 1281485 h 1371698"/>
              <a:gd name="connsiteX110" fmla="*/ 95972 w 268289"/>
              <a:gd name="connsiteY110" fmla="*/ 1277376 h 1371698"/>
              <a:gd name="connsiteX111" fmla="*/ 89911 w 268289"/>
              <a:gd name="connsiteY111" fmla="*/ 1273267 h 1371698"/>
              <a:gd name="connsiteX112" fmla="*/ 83849 w 268289"/>
              <a:gd name="connsiteY112" fmla="*/ 1269158 h 1371698"/>
              <a:gd name="connsiteX113" fmla="*/ 81829 w 268289"/>
              <a:gd name="connsiteY113" fmla="*/ 1260941 h 1371698"/>
              <a:gd name="connsiteX114" fmla="*/ 86520 w 268289"/>
              <a:gd name="connsiteY114" fmla="*/ 1237095 h 1371698"/>
              <a:gd name="connsiteX115" fmla="*/ 84535 w 268289"/>
              <a:gd name="connsiteY115" fmla="*/ 1247197 h 1371698"/>
              <a:gd name="connsiteX116" fmla="*/ 92473 w 268289"/>
              <a:gd name="connsiteY116" fmla="*/ 1251238 h 1371698"/>
              <a:gd name="connsiteX117" fmla="*/ 96442 w 268289"/>
              <a:gd name="connsiteY117" fmla="*/ 1255279 h 1371698"/>
              <a:gd name="connsiteX118" fmla="*/ 92473 w 268289"/>
              <a:gd name="connsiteY118" fmla="*/ 1255279 h 1371698"/>
              <a:gd name="connsiteX119" fmla="*/ 86520 w 268289"/>
              <a:gd name="connsiteY119" fmla="*/ 1255279 h 1371698"/>
              <a:gd name="connsiteX120" fmla="*/ 82551 w 268289"/>
              <a:gd name="connsiteY120" fmla="*/ 1253258 h 1371698"/>
              <a:gd name="connsiteX121" fmla="*/ 76598 w 268289"/>
              <a:gd name="connsiteY121" fmla="*/ 1251238 h 1371698"/>
              <a:gd name="connsiteX122" fmla="*/ 70645 w 268289"/>
              <a:gd name="connsiteY122" fmla="*/ 1247197 h 1371698"/>
              <a:gd name="connsiteX123" fmla="*/ 62707 w 268289"/>
              <a:gd name="connsiteY123" fmla="*/ 1243156 h 1371698"/>
              <a:gd name="connsiteX124" fmla="*/ 62707 w 268289"/>
              <a:gd name="connsiteY124" fmla="*/ 1239115 h 1371698"/>
              <a:gd name="connsiteX125" fmla="*/ 70645 w 268289"/>
              <a:gd name="connsiteY125" fmla="*/ 1241136 h 1371698"/>
              <a:gd name="connsiteX126" fmla="*/ 76598 w 268289"/>
              <a:gd name="connsiteY126" fmla="*/ 1243156 h 1371698"/>
              <a:gd name="connsiteX127" fmla="*/ 78582 w 268289"/>
              <a:gd name="connsiteY127" fmla="*/ 1241136 h 1371698"/>
              <a:gd name="connsiteX128" fmla="*/ 86520 w 268289"/>
              <a:gd name="connsiteY128" fmla="*/ 1237095 h 1371698"/>
              <a:gd name="connsiteX129" fmla="*/ 183913 w 268289"/>
              <a:gd name="connsiteY129" fmla="*/ 1230311 h 1371698"/>
              <a:gd name="connsiteX130" fmla="*/ 183913 w 268289"/>
              <a:gd name="connsiteY130" fmla="*/ 1236246 h 1371698"/>
              <a:gd name="connsiteX131" fmla="*/ 187961 w 268289"/>
              <a:gd name="connsiteY131" fmla="*/ 1238224 h 1371698"/>
              <a:gd name="connsiteX132" fmla="*/ 194034 w 268289"/>
              <a:gd name="connsiteY132" fmla="*/ 1234268 h 1371698"/>
              <a:gd name="connsiteX133" fmla="*/ 202130 w 268289"/>
              <a:gd name="connsiteY133" fmla="*/ 1234268 h 1371698"/>
              <a:gd name="connsiteX134" fmla="*/ 204154 w 268289"/>
              <a:gd name="connsiteY134" fmla="*/ 1252072 h 1371698"/>
              <a:gd name="connsiteX135" fmla="*/ 206178 w 268289"/>
              <a:gd name="connsiteY135" fmla="*/ 1261963 h 1371698"/>
              <a:gd name="connsiteX136" fmla="*/ 210226 w 268289"/>
              <a:gd name="connsiteY136" fmla="*/ 1287681 h 1371698"/>
              <a:gd name="connsiteX137" fmla="*/ 212250 w 268289"/>
              <a:gd name="connsiteY137" fmla="*/ 1293616 h 1371698"/>
              <a:gd name="connsiteX138" fmla="*/ 214274 w 268289"/>
              <a:gd name="connsiteY138" fmla="*/ 1319333 h 1371698"/>
              <a:gd name="connsiteX139" fmla="*/ 212250 w 268289"/>
              <a:gd name="connsiteY139" fmla="*/ 1327246 h 1371698"/>
              <a:gd name="connsiteX140" fmla="*/ 210226 w 268289"/>
              <a:gd name="connsiteY140" fmla="*/ 1333181 h 1371698"/>
              <a:gd name="connsiteX141" fmla="*/ 218322 w 268289"/>
              <a:gd name="connsiteY141" fmla="*/ 1335159 h 1371698"/>
              <a:gd name="connsiteX142" fmla="*/ 222371 w 268289"/>
              <a:gd name="connsiteY142" fmla="*/ 1339116 h 1371698"/>
              <a:gd name="connsiteX143" fmla="*/ 222371 w 268289"/>
              <a:gd name="connsiteY143" fmla="*/ 1341094 h 1371698"/>
              <a:gd name="connsiteX144" fmla="*/ 228443 w 268289"/>
              <a:gd name="connsiteY144" fmla="*/ 1347029 h 1371698"/>
              <a:gd name="connsiteX145" fmla="*/ 232491 w 268289"/>
              <a:gd name="connsiteY145" fmla="*/ 1354942 h 1371698"/>
              <a:gd name="connsiteX146" fmla="*/ 232491 w 268289"/>
              <a:gd name="connsiteY146" fmla="*/ 1358898 h 1371698"/>
              <a:gd name="connsiteX147" fmla="*/ 226419 w 268289"/>
              <a:gd name="connsiteY147" fmla="*/ 1350985 h 1371698"/>
              <a:gd name="connsiteX148" fmla="*/ 216298 w 268289"/>
              <a:gd name="connsiteY148" fmla="*/ 1349007 h 1371698"/>
              <a:gd name="connsiteX149" fmla="*/ 214274 w 268289"/>
              <a:gd name="connsiteY149" fmla="*/ 1349007 h 1371698"/>
              <a:gd name="connsiteX150" fmla="*/ 210226 w 268289"/>
              <a:gd name="connsiteY150" fmla="*/ 1341094 h 1371698"/>
              <a:gd name="connsiteX151" fmla="*/ 204154 w 268289"/>
              <a:gd name="connsiteY151" fmla="*/ 1339116 h 1371698"/>
              <a:gd name="connsiteX152" fmla="*/ 198082 w 268289"/>
              <a:gd name="connsiteY152" fmla="*/ 1339116 h 1371698"/>
              <a:gd name="connsiteX153" fmla="*/ 202130 w 268289"/>
              <a:gd name="connsiteY153" fmla="*/ 1345050 h 1371698"/>
              <a:gd name="connsiteX154" fmla="*/ 204154 w 268289"/>
              <a:gd name="connsiteY154" fmla="*/ 1350985 h 1371698"/>
              <a:gd name="connsiteX155" fmla="*/ 198082 w 268289"/>
              <a:gd name="connsiteY155" fmla="*/ 1347029 h 1371698"/>
              <a:gd name="connsiteX156" fmla="*/ 189985 w 268289"/>
              <a:gd name="connsiteY156" fmla="*/ 1343072 h 1371698"/>
              <a:gd name="connsiteX157" fmla="*/ 192009 w 268289"/>
              <a:gd name="connsiteY157" fmla="*/ 1337137 h 1371698"/>
              <a:gd name="connsiteX158" fmla="*/ 187961 w 268289"/>
              <a:gd name="connsiteY158" fmla="*/ 1339116 h 1371698"/>
              <a:gd name="connsiteX159" fmla="*/ 179865 w 268289"/>
              <a:gd name="connsiteY159" fmla="*/ 1337137 h 1371698"/>
              <a:gd name="connsiteX160" fmla="*/ 196058 w 268289"/>
              <a:gd name="connsiteY160" fmla="*/ 1331203 h 1371698"/>
              <a:gd name="connsiteX161" fmla="*/ 200106 w 268289"/>
              <a:gd name="connsiteY161" fmla="*/ 1325268 h 1371698"/>
              <a:gd name="connsiteX162" fmla="*/ 189985 w 268289"/>
              <a:gd name="connsiteY162" fmla="*/ 1327246 h 1371698"/>
              <a:gd name="connsiteX163" fmla="*/ 179865 w 268289"/>
              <a:gd name="connsiteY163" fmla="*/ 1323290 h 1371698"/>
              <a:gd name="connsiteX164" fmla="*/ 163672 w 268289"/>
              <a:gd name="connsiteY164" fmla="*/ 1321311 h 1371698"/>
              <a:gd name="connsiteX165" fmla="*/ 157600 w 268289"/>
              <a:gd name="connsiteY165" fmla="*/ 1313398 h 1371698"/>
              <a:gd name="connsiteX166" fmla="*/ 157600 w 268289"/>
              <a:gd name="connsiteY166" fmla="*/ 1301529 h 1371698"/>
              <a:gd name="connsiteX167" fmla="*/ 159624 w 268289"/>
              <a:gd name="connsiteY167" fmla="*/ 1297572 h 1371698"/>
              <a:gd name="connsiteX168" fmla="*/ 167721 w 268289"/>
              <a:gd name="connsiteY168" fmla="*/ 1307463 h 1371698"/>
              <a:gd name="connsiteX169" fmla="*/ 169745 w 268289"/>
              <a:gd name="connsiteY169" fmla="*/ 1307463 h 1371698"/>
              <a:gd name="connsiteX170" fmla="*/ 171769 w 268289"/>
              <a:gd name="connsiteY170" fmla="*/ 1301529 h 1371698"/>
              <a:gd name="connsiteX171" fmla="*/ 175817 w 268289"/>
              <a:gd name="connsiteY171" fmla="*/ 1303507 h 1371698"/>
              <a:gd name="connsiteX172" fmla="*/ 179865 w 268289"/>
              <a:gd name="connsiteY172" fmla="*/ 1303507 h 1371698"/>
              <a:gd name="connsiteX173" fmla="*/ 181889 w 268289"/>
              <a:gd name="connsiteY173" fmla="*/ 1299550 h 1371698"/>
              <a:gd name="connsiteX174" fmla="*/ 183913 w 268289"/>
              <a:gd name="connsiteY174" fmla="*/ 1301529 h 1371698"/>
              <a:gd name="connsiteX175" fmla="*/ 189985 w 268289"/>
              <a:gd name="connsiteY175" fmla="*/ 1301529 h 1371698"/>
              <a:gd name="connsiteX176" fmla="*/ 192009 w 268289"/>
              <a:gd name="connsiteY176" fmla="*/ 1305485 h 1371698"/>
              <a:gd name="connsiteX177" fmla="*/ 196058 w 268289"/>
              <a:gd name="connsiteY177" fmla="*/ 1303507 h 1371698"/>
              <a:gd name="connsiteX178" fmla="*/ 194034 w 268289"/>
              <a:gd name="connsiteY178" fmla="*/ 1299550 h 1371698"/>
              <a:gd name="connsiteX179" fmla="*/ 183913 w 268289"/>
              <a:gd name="connsiteY179" fmla="*/ 1293616 h 1371698"/>
              <a:gd name="connsiteX180" fmla="*/ 169745 w 268289"/>
              <a:gd name="connsiteY180" fmla="*/ 1281746 h 1371698"/>
              <a:gd name="connsiteX181" fmla="*/ 177841 w 268289"/>
              <a:gd name="connsiteY181" fmla="*/ 1277790 h 1371698"/>
              <a:gd name="connsiteX182" fmla="*/ 187961 w 268289"/>
              <a:gd name="connsiteY182" fmla="*/ 1271855 h 1371698"/>
              <a:gd name="connsiteX183" fmla="*/ 192009 w 268289"/>
              <a:gd name="connsiteY183" fmla="*/ 1263942 h 1371698"/>
              <a:gd name="connsiteX184" fmla="*/ 177841 w 268289"/>
              <a:gd name="connsiteY184" fmla="*/ 1263942 h 1371698"/>
              <a:gd name="connsiteX185" fmla="*/ 163672 w 268289"/>
              <a:gd name="connsiteY185" fmla="*/ 1263942 h 1371698"/>
              <a:gd name="connsiteX186" fmla="*/ 159624 w 268289"/>
              <a:gd name="connsiteY186" fmla="*/ 1252072 h 1371698"/>
              <a:gd name="connsiteX187" fmla="*/ 161648 w 268289"/>
              <a:gd name="connsiteY187" fmla="*/ 1242181 h 1371698"/>
              <a:gd name="connsiteX188" fmla="*/ 163672 w 268289"/>
              <a:gd name="connsiteY188" fmla="*/ 1238224 h 1371698"/>
              <a:gd name="connsiteX189" fmla="*/ 167721 w 268289"/>
              <a:gd name="connsiteY189" fmla="*/ 1240203 h 1371698"/>
              <a:gd name="connsiteX190" fmla="*/ 173793 w 268289"/>
              <a:gd name="connsiteY190" fmla="*/ 1240203 h 1371698"/>
              <a:gd name="connsiteX191" fmla="*/ 175817 w 268289"/>
              <a:gd name="connsiteY191" fmla="*/ 1234268 h 1371698"/>
              <a:gd name="connsiteX192" fmla="*/ 183913 w 268289"/>
              <a:gd name="connsiteY192" fmla="*/ 1230311 h 1371698"/>
              <a:gd name="connsiteX193" fmla="*/ 74296 w 268289"/>
              <a:gd name="connsiteY193" fmla="*/ 1228043 h 1371698"/>
              <a:gd name="connsiteX194" fmla="*/ 78742 w 268289"/>
              <a:gd name="connsiteY194" fmla="*/ 1234166 h 1371698"/>
              <a:gd name="connsiteX195" fmla="*/ 72074 w 268289"/>
              <a:gd name="connsiteY195" fmla="*/ 1232125 h 1371698"/>
              <a:gd name="connsiteX196" fmla="*/ 74296 w 268289"/>
              <a:gd name="connsiteY196" fmla="*/ 1228043 h 1371698"/>
              <a:gd name="connsiteX197" fmla="*/ 63501 w 268289"/>
              <a:gd name="connsiteY197" fmla="*/ 1221183 h 1371698"/>
              <a:gd name="connsiteX198" fmla="*/ 62443 w 268289"/>
              <a:gd name="connsiteY198" fmla="*/ 1225231 h 1371698"/>
              <a:gd name="connsiteX199" fmla="*/ 56093 w 268289"/>
              <a:gd name="connsiteY199" fmla="*/ 1225231 h 1371698"/>
              <a:gd name="connsiteX200" fmla="*/ 58209 w 268289"/>
              <a:gd name="connsiteY200" fmla="*/ 1221421 h 1371698"/>
              <a:gd name="connsiteX201" fmla="*/ 63501 w 268289"/>
              <a:gd name="connsiteY201" fmla="*/ 1221183 h 1371698"/>
              <a:gd name="connsiteX202" fmla="*/ 66146 w 268289"/>
              <a:gd name="connsiteY202" fmla="*/ 1213484 h 1371698"/>
              <a:gd name="connsiteX203" fmla="*/ 68263 w 268289"/>
              <a:gd name="connsiteY203" fmla="*/ 1215706 h 1371698"/>
              <a:gd name="connsiteX204" fmla="*/ 76730 w 268289"/>
              <a:gd name="connsiteY204" fmla="*/ 1215706 h 1371698"/>
              <a:gd name="connsiteX205" fmla="*/ 78846 w 268289"/>
              <a:gd name="connsiteY205" fmla="*/ 1220151 h 1371698"/>
              <a:gd name="connsiteX206" fmla="*/ 74613 w 268289"/>
              <a:gd name="connsiteY206" fmla="*/ 1222373 h 1371698"/>
              <a:gd name="connsiteX207" fmla="*/ 66146 w 268289"/>
              <a:gd name="connsiteY207" fmla="*/ 1222373 h 1371698"/>
              <a:gd name="connsiteX208" fmla="*/ 61913 w 268289"/>
              <a:gd name="connsiteY208" fmla="*/ 1215706 h 1371698"/>
              <a:gd name="connsiteX209" fmla="*/ 66146 w 268289"/>
              <a:gd name="connsiteY209" fmla="*/ 1213484 h 1371698"/>
              <a:gd name="connsiteX210" fmla="*/ 81421 w 268289"/>
              <a:gd name="connsiteY210" fmla="*/ 1211205 h 1371698"/>
              <a:gd name="connsiteX211" fmla="*/ 86092 w 268289"/>
              <a:gd name="connsiteY211" fmla="*/ 1211715 h 1371698"/>
              <a:gd name="connsiteX212" fmla="*/ 100624 w 268289"/>
              <a:gd name="connsiteY212" fmla="*/ 1215797 h 1371698"/>
              <a:gd name="connsiteX213" fmla="*/ 102700 w 268289"/>
              <a:gd name="connsiteY213" fmla="*/ 1223962 h 1371698"/>
              <a:gd name="connsiteX214" fmla="*/ 104776 w 268289"/>
              <a:gd name="connsiteY214" fmla="*/ 1232126 h 1371698"/>
              <a:gd name="connsiteX215" fmla="*/ 98548 w 268289"/>
              <a:gd name="connsiteY215" fmla="*/ 1236208 h 1371698"/>
              <a:gd name="connsiteX216" fmla="*/ 88168 w 268289"/>
              <a:gd name="connsiteY216" fmla="*/ 1236208 h 1371698"/>
              <a:gd name="connsiteX217" fmla="*/ 90244 w 268289"/>
              <a:gd name="connsiteY217" fmla="*/ 1232126 h 1371698"/>
              <a:gd name="connsiteX218" fmla="*/ 84016 w 268289"/>
              <a:gd name="connsiteY218" fmla="*/ 1234167 h 1371698"/>
              <a:gd name="connsiteX219" fmla="*/ 81940 w 268289"/>
              <a:gd name="connsiteY219" fmla="*/ 1232126 h 1371698"/>
              <a:gd name="connsiteX220" fmla="*/ 86092 w 268289"/>
              <a:gd name="connsiteY220" fmla="*/ 1223962 h 1371698"/>
              <a:gd name="connsiteX221" fmla="*/ 79864 w 268289"/>
              <a:gd name="connsiteY221" fmla="*/ 1215797 h 1371698"/>
              <a:gd name="connsiteX222" fmla="*/ 79864 w 268289"/>
              <a:gd name="connsiteY222" fmla="*/ 1213756 h 1371698"/>
              <a:gd name="connsiteX223" fmla="*/ 81421 w 268289"/>
              <a:gd name="connsiteY223" fmla="*/ 1211205 h 1371698"/>
              <a:gd name="connsiteX224" fmla="*/ 68036 w 268289"/>
              <a:gd name="connsiteY224" fmla="*/ 1204812 h 1371698"/>
              <a:gd name="connsiteX225" fmla="*/ 70531 w 268289"/>
              <a:gd name="connsiteY225" fmla="*/ 1205308 h 1371698"/>
              <a:gd name="connsiteX226" fmla="*/ 75974 w 268289"/>
              <a:gd name="connsiteY226" fmla="*/ 1205308 h 1371698"/>
              <a:gd name="connsiteX227" fmla="*/ 75974 w 268289"/>
              <a:gd name="connsiteY227" fmla="*/ 1209277 h 1371698"/>
              <a:gd name="connsiteX228" fmla="*/ 66902 w 268289"/>
              <a:gd name="connsiteY228" fmla="*/ 1207293 h 1371698"/>
              <a:gd name="connsiteX229" fmla="*/ 68036 w 268289"/>
              <a:gd name="connsiteY229" fmla="*/ 1204812 h 1371698"/>
              <a:gd name="connsiteX230" fmla="*/ 58209 w 268289"/>
              <a:gd name="connsiteY230" fmla="*/ 1195386 h 1371698"/>
              <a:gd name="connsiteX231" fmla="*/ 60326 w 268289"/>
              <a:gd name="connsiteY231" fmla="*/ 1199620 h 1371698"/>
              <a:gd name="connsiteX232" fmla="*/ 53976 w 268289"/>
              <a:gd name="connsiteY232" fmla="*/ 1197503 h 1371698"/>
              <a:gd name="connsiteX233" fmla="*/ 58209 w 268289"/>
              <a:gd name="connsiteY233" fmla="*/ 1195386 h 1371698"/>
              <a:gd name="connsiteX234" fmla="*/ 46283 w 268289"/>
              <a:gd name="connsiteY234" fmla="*/ 1194196 h 1371698"/>
              <a:gd name="connsiteX235" fmla="*/ 52511 w 268289"/>
              <a:gd name="connsiteY235" fmla="*/ 1200149 h 1371698"/>
              <a:gd name="connsiteX236" fmla="*/ 58739 w 268289"/>
              <a:gd name="connsiteY236" fmla="*/ 1204117 h 1371698"/>
              <a:gd name="connsiteX237" fmla="*/ 56663 w 268289"/>
              <a:gd name="connsiteY237" fmla="*/ 1210070 h 1371698"/>
              <a:gd name="connsiteX238" fmla="*/ 54587 w 268289"/>
              <a:gd name="connsiteY238" fmla="*/ 1214039 h 1371698"/>
              <a:gd name="connsiteX239" fmla="*/ 50435 w 268289"/>
              <a:gd name="connsiteY239" fmla="*/ 1214039 h 1371698"/>
              <a:gd name="connsiteX240" fmla="*/ 44207 w 268289"/>
              <a:gd name="connsiteY240" fmla="*/ 1212055 h 1371698"/>
              <a:gd name="connsiteX241" fmla="*/ 42131 w 268289"/>
              <a:gd name="connsiteY241" fmla="*/ 1206102 h 1371698"/>
              <a:gd name="connsiteX242" fmla="*/ 35903 w 268289"/>
              <a:gd name="connsiteY242" fmla="*/ 1204117 h 1371698"/>
              <a:gd name="connsiteX243" fmla="*/ 35903 w 268289"/>
              <a:gd name="connsiteY243" fmla="*/ 1196180 h 1371698"/>
              <a:gd name="connsiteX244" fmla="*/ 46283 w 268289"/>
              <a:gd name="connsiteY244" fmla="*/ 1194196 h 1371698"/>
              <a:gd name="connsiteX245" fmla="*/ 58738 w 268289"/>
              <a:gd name="connsiteY245" fmla="*/ 1181532 h 1371698"/>
              <a:gd name="connsiteX246" fmla="*/ 62442 w 268289"/>
              <a:gd name="connsiteY246" fmla="*/ 1183552 h 1371698"/>
              <a:gd name="connsiteX247" fmla="*/ 66147 w 268289"/>
              <a:gd name="connsiteY247" fmla="*/ 1185573 h 1371698"/>
              <a:gd name="connsiteX248" fmla="*/ 66147 w 268289"/>
              <a:gd name="connsiteY248" fmla="*/ 1189614 h 1371698"/>
              <a:gd name="connsiteX249" fmla="*/ 67999 w 268289"/>
              <a:gd name="connsiteY249" fmla="*/ 1195675 h 1371698"/>
              <a:gd name="connsiteX250" fmla="*/ 69851 w 268289"/>
              <a:gd name="connsiteY250" fmla="*/ 1199716 h 1371698"/>
              <a:gd name="connsiteX251" fmla="*/ 62442 w 268289"/>
              <a:gd name="connsiteY251" fmla="*/ 1197695 h 1371698"/>
              <a:gd name="connsiteX252" fmla="*/ 60590 w 268289"/>
              <a:gd name="connsiteY252" fmla="*/ 1189614 h 1371698"/>
              <a:gd name="connsiteX253" fmla="*/ 60590 w 268289"/>
              <a:gd name="connsiteY253" fmla="*/ 1185573 h 1371698"/>
              <a:gd name="connsiteX254" fmla="*/ 58738 w 268289"/>
              <a:gd name="connsiteY254" fmla="*/ 1181532 h 1371698"/>
              <a:gd name="connsiteX255" fmla="*/ 42070 w 268289"/>
              <a:gd name="connsiteY255" fmla="*/ 1177924 h 1371698"/>
              <a:gd name="connsiteX256" fmla="*/ 50007 w 268289"/>
              <a:gd name="connsiteY256" fmla="*/ 1177924 h 1371698"/>
              <a:gd name="connsiteX257" fmla="*/ 50007 w 268289"/>
              <a:gd name="connsiteY257" fmla="*/ 1181099 h 1371698"/>
              <a:gd name="connsiteX258" fmla="*/ 40086 w 268289"/>
              <a:gd name="connsiteY258" fmla="*/ 1179512 h 1371698"/>
              <a:gd name="connsiteX259" fmla="*/ 42070 w 268289"/>
              <a:gd name="connsiteY259" fmla="*/ 1177924 h 1371698"/>
              <a:gd name="connsiteX260" fmla="*/ 38101 w 268289"/>
              <a:gd name="connsiteY260" fmla="*/ 1157763 h 1371698"/>
              <a:gd name="connsiteX261" fmla="*/ 48684 w 268289"/>
              <a:gd name="connsiteY261" fmla="*/ 1161890 h 1371698"/>
              <a:gd name="connsiteX262" fmla="*/ 50801 w 268289"/>
              <a:gd name="connsiteY262" fmla="*/ 1168081 h 1371698"/>
              <a:gd name="connsiteX263" fmla="*/ 52918 w 268289"/>
              <a:gd name="connsiteY263" fmla="*/ 1170145 h 1371698"/>
              <a:gd name="connsiteX264" fmla="*/ 57151 w 268289"/>
              <a:gd name="connsiteY264" fmla="*/ 1172209 h 1371698"/>
              <a:gd name="connsiteX265" fmla="*/ 50801 w 268289"/>
              <a:gd name="connsiteY265" fmla="*/ 1174273 h 1371698"/>
              <a:gd name="connsiteX266" fmla="*/ 44451 w 268289"/>
              <a:gd name="connsiteY266" fmla="*/ 1174273 h 1371698"/>
              <a:gd name="connsiteX267" fmla="*/ 33868 w 268289"/>
              <a:gd name="connsiteY267" fmla="*/ 1161890 h 1371698"/>
              <a:gd name="connsiteX268" fmla="*/ 38101 w 268289"/>
              <a:gd name="connsiteY268" fmla="*/ 1157763 h 1371698"/>
              <a:gd name="connsiteX269" fmla="*/ 26195 w 268289"/>
              <a:gd name="connsiteY269" fmla="*/ 1149349 h 1371698"/>
              <a:gd name="connsiteX270" fmla="*/ 28047 w 268289"/>
              <a:gd name="connsiteY270" fmla="*/ 1149349 h 1371698"/>
              <a:gd name="connsiteX271" fmla="*/ 29899 w 268289"/>
              <a:gd name="connsiteY271" fmla="*/ 1153583 h 1371698"/>
              <a:gd name="connsiteX272" fmla="*/ 28047 w 268289"/>
              <a:gd name="connsiteY272" fmla="*/ 1159933 h 1371698"/>
              <a:gd name="connsiteX273" fmla="*/ 24342 w 268289"/>
              <a:gd name="connsiteY273" fmla="*/ 1162049 h 1371698"/>
              <a:gd name="connsiteX274" fmla="*/ 20638 w 268289"/>
              <a:gd name="connsiteY274" fmla="*/ 1155699 h 1371698"/>
              <a:gd name="connsiteX275" fmla="*/ 26195 w 268289"/>
              <a:gd name="connsiteY275" fmla="*/ 1149349 h 1371698"/>
              <a:gd name="connsiteX276" fmla="*/ 40218 w 268289"/>
              <a:gd name="connsiteY276" fmla="*/ 1146174 h 1371698"/>
              <a:gd name="connsiteX277" fmla="*/ 46568 w 268289"/>
              <a:gd name="connsiteY277" fmla="*/ 1149878 h 1371698"/>
              <a:gd name="connsiteX278" fmla="*/ 48684 w 268289"/>
              <a:gd name="connsiteY278" fmla="*/ 1155434 h 1371698"/>
              <a:gd name="connsiteX279" fmla="*/ 40218 w 268289"/>
              <a:gd name="connsiteY279" fmla="*/ 1149878 h 1371698"/>
              <a:gd name="connsiteX280" fmla="*/ 40218 w 268289"/>
              <a:gd name="connsiteY280" fmla="*/ 1146174 h 1371698"/>
              <a:gd name="connsiteX281" fmla="*/ 22490 w 268289"/>
              <a:gd name="connsiteY281" fmla="*/ 1140141 h 1371698"/>
              <a:gd name="connsiteX282" fmla="*/ 24342 w 268289"/>
              <a:gd name="connsiteY282" fmla="*/ 1140141 h 1371698"/>
              <a:gd name="connsiteX283" fmla="*/ 29899 w 268289"/>
              <a:gd name="connsiteY283" fmla="*/ 1145856 h 1371698"/>
              <a:gd name="connsiteX284" fmla="*/ 28047 w 268289"/>
              <a:gd name="connsiteY284" fmla="*/ 1145856 h 1371698"/>
              <a:gd name="connsiteX285" fmla="*/ 24342 w 268289"/>
              <a:gd name="connsiteY285" fmla="*/ 1145856 h 1371698"/>
              <a:gd name="connsiteX286" fmla="*/ 22490 w 268289"/>
              <a:gd name="connsiteY286" fmla="*/ 1140141 h 1371698"/>
              <a:gd name="connsiteX287" fmla="*/ 20638 w 268289"/>
              <a:gd name="connsiteY287" fmla="*/ 1125536 h 1371698"/>
              <a:gd name="connsiteX288" fmla="*/ 26353 w 268289"/>
              <a:gd name="connsiteY288" fmla="*/ 1127441 h 1371698"/>
              <a:gd name="connsiteX289" fmla="*/ 30163 w 268289"/>
              <a:gd name="connsiteY289" fmla="*/ 1131251 h 1371698"/>
              <a:gd name="connsiteX290" fmla="*/ 26353 w 268289"/>
              <a:gd name="connsiteY290" fmla="*/ 1133156 h 1371698"/>
              <a:gd name="connsiteX291" fmla="*/ 24448 w 268289"/>
              <a:gd name="connsiteY291" fmla="*/ 1133156 h 1371698"/>
              <a:gd name="connsiteX292" fmla="*/ 22543 w 268289"/>
              <a:gd name="connsiteY292" fmla="*/ 1127441 h 1371698"/>
              <a:gd name="connsiteX293" fmla="*/ 20638 w 268289"/>
              <a:gd name="connsiteY293" fmla="*/ 1125536 h 1371698"/>
              <a:gd name="connsiteX294" fmla="*/ 20109 w 268289"/>
              <a:gd name="connsiteY294" fmla="*/ 1104105 h 1371698"/>
              <a:gd name="connsiteX295" fmla="*/ 24343 w 268289"/>
              <a:gd name="connsiteY295" fmla="*/ 1106089 h 1371698"/>
              <a:gd name="connsiteX296" fmla="*/ 24343 w 268289"/>
              <a:gd name="connsiteY296" fmla="*/ 1112042 h 1371698"/>
              <a:gd name="connsiteX297" fmla="*/ 26459 w 268289"/>
              <a:gd name="connsiteY297" fmla="*/ 1119980 h 1371698"/>
              <a:gd name="connsiteX298" fmla="*/ 18168 w 268289"/>
              <a:gd name="connsiteY298" fmla="*/ 1119980 h 1371698"/>
              <a:gd name="connsiteX299" fmla="*/ 20638 w 268289"/>
              <a:gd name="connsiteY299" fmla="*/ 1123314 h 1371698"/>
              <a:gd name="connsiteX300" fmla="*/ 14288 w 268289"/>
              <a:gd name="connsiteY300" fmla="*/ 1123314 h 1371698"/>
              <a:gd name="connsiteX301" fmla="*/ 16405 w 268289"/>
              <a:gd name="connsiteY301" fmla="*/ 1117599 h 1371698"/>
              <a:gd name="connsiteX302" fmla="*/ 18066 w 268289"/>
              <a:gd name="connsiteY302" fmla="*/ 1119842 h 1371698"/>
              <a:gd name="connsiteX303" fmla="*/ 20109 w 268289"/>
              <a:gd name="connsiteY303" fmla="*/ 1116011 h 1371698"/>
              <a:gd name="connsiteX304" fmla="*/ 20109 w 268289"/>
              <a:gd name="connsiteY304" fmla="*/ 1112042 h 1371698"/>
              <a:gd name="connsiteX305" fmla="*/ 17993 w 268289"/>
              <a:gd name="connsiteY305" fmla="*/ 1110058 h 1371698"/>
              <a:gd name="connsiteX306" fmla="*/ 20109 w 268289"/>
              <a:gd name="connsiteY306" fmla="*/ 1104105 h 1371698"/>
              <a:gd name="connsiteX307" fmla="*/ 17199 w 268289"/>
              <a:gd name="connsiteY307" fmla="*/ 1096614 h 1371698"/>
              <a:gd name="connsiteX308" fmla="*/ 18521 w 268289"/>
              <a:gd name="connsiteY308" fmla="*/ 1097358 h 1371698"/>
              <a:gd name="connsiteX309" fmla="*/ 10055 w 268289"/>
              <a:gd name="connsiteY309" fmla="*/ 1101327 h 1371698"/>
              <a:gd name="connsiteX310" fmla="*/ 14288 w 268289"/>
              <a:gd name="connsiteY310" fmla="*/ 1097358 h 1371698"/>
              <a:gd name="connsiteX311" fmla="*/ 17199 w 268289"/>
              <a:gd name="connsiteY311" fmla="*/ 1096614 h 1371698"/>
              <a:gd name="connsiteX312" fmla="*/ 24607 w 268289"/>
              <a:gd name="connsiteY312" fmla="*/ 1093786 h 1371698"/>
              <a:gd name="connsiteX313" fmla="*/ 26592 w 268289"/>
              <a:gd name="connsiteY313" fmla="*/ 1095903 h 1371698"/>
              <a:gd name="connsiteX314" fmla="*/ 22623 w 268289"/>
              <a:gd name="connsiteY314" fmla="*/ 1095903 h 1371698"/>
              <a:gd name="connsiteX315" fmla="*/ 24607 w 268289"/>
              <a:gd name="connsiteY315" fmla="*/ 1093786 h 1371698"/>
              <a:gd name="connsiteX316" fmla="*/ 19845 w 268289"/>
              <a:gd name="connsiteY316" fmla="*/ 1089553 h 1371698"/>
              <a:gd name="connsiteX317" fmla="*/ 23814 w 268289"/>
              <a:gd name="connsiteY317" fmla="*/ 1091670 h 1371698"/>
              <a:gd name="connsiteX318" fmla="*/ 17861 w 268289"/>
              <a:gd name="connsiteY318" fmla="*/ 1091670 h 1371698"/>
              <a:gd name="connsiteX319" fmla="*/ 19845 w 268289"/>
              <a:gd name="connsiteY319" fmla="*/ 1089553 h 1371698"/>
              <a:gd name="connsiteX320" fmla="*/ 26459 w 268289"/>
              <a:gd name="connsiteY320" fmla="*/ 1075530 h 1371698"/>
              <a:gd name="connsiteX321" fmla="*/ 28576 w 268289"/>
              <a:gd name="connsiteY321" fmla="*/ 1077912 h 1371698"/>
              <a:gd name="connsiteX322" fmla="*/ 24343 w 268289"/>
              <a:gd name="connsiteY322" fmla="*/ 1080293 h 1371698"/>
              <a:gd name="connsiteX323" fmla="*/ 26459 w 268289"/>
              <a:gd name="connsiteY323" fmla="*/ 1075530 h 1371698"/>
              <a:gd name="connsiteX324" fmla="*/ 30798 w 268289"/>
              <a:gd name="connsiteY324" fmla="*/ 1067434 h 1371698"/>
              <a:gd name="connsiteX325" fmla="*/ 32703 w 268289"/>
              <a:gd name="connsiteY325" fmla="*/ 1069656 h 1371698"/>
              <a:gd name="connsiteX326" fmla="*/ 34608 w 268289"/>
              <a:gd name="connsiteY326" fmla="*/ 1074101 h 1371698"/>
              <a:gd name="connsiteX327" fmla="*/ 32703 w 268289"/>
              <a:gd name="connsiteY327" fmla="*/ 1076323 h 1371698"/>
              <a:gd name="connsiteX328" fmla="*/ 28893 w 268289"/>
              <a:gd name="connsiteY328" fmla="*/ 1074101 h 1371698"/>
              <a:gd name="connsiteX329" fmla="*/ 30798 w 268289"/>
              <a:gd name="connsiteY329" fmla="*/ 1067434 h 1371698"/>
              <a:gd name="connsiteX330" fmla="*/ 21036 w 268289"/>
              <a:gd name="connsiteY330" fmla="*/ 1062433 h 1371698"/>
              <a:gd name="connsiteX331" fmla="*/ 26989 w 268289"/>
              <a:gd name="connsiteY331" fmla="*/ 1064418 h 1371698"/>
              <a:gd name="connsiteX332" fmla="*/ 25005 w 268289"/>
              <a:gd name="connsiteY332" fmla="*/ 1068386 h 1371698"/>
              <a:gd name="connsiteX333" fmla="*/ 21036 w 268289"/>
              <a:gd name="connsiteY333" fmla="*/ 1064418 h 1371698"/>
              <a:gd name="connsiteX334" fmla="*/ 21036 w 268289"/>
              <a:gd name="connsiteY334" fmla="*/ 1062433 h 1371698"/>
              <a:gd name="connsiteX335" fmla="*/ 10055 w 268289"/>
              <a:gd name="connsiteY335" fmla="*/ 1057274 h 1371698"/>
              <a:gd name="connsiteX336" fmla="*/ 12171 w 268289"/>
              <a:gd name="connsiteY336" fmla="*/ 1057274 h 1371698"/>
              <a:gd name="connsiteX337" fmla="*/ 14288 w 268289"/>
              <a:gd name="connsiteY337" fmla="*/ 1065317 h 1371698"/>
              <a:gd name="connsiteX338" fmla="*/ 18521 w 268289"/>
              <a:gd name="connsiteY338" fmla="*/ 1069339 h 1371698"/>
              <a:gd name="connsiteX339" fmla="*/ 20638 w 268289"/>
              <a:gd name="connsiteY339" fmla="*/ 1071350 h 1371698"/>
              <a:gd name="connsiteX340" fmla="*/ 18521 w 268289"/>
              <a:gd name="connsiteY340" fmla="*/ 1081404 h 1371698"/>
              <a:gd name="connsiteX341" fmla="*/ 14288 w 268289"/>
              <a:gd name="connsiteY341" fmla="*/ 1085425 h 1371698"/>
              <a:gd name="connsiteX342" fmla="*/ 10055 w 268289"/>
              <a:gd name="connsiteY342" fmla="*/ 1077382 h 1371698"/>
              <a:gd name="connsiteX343" fmla="*/ 12171 w 268289"/>
              <a:gd name="connsiteY343" fmla="*/ 1069339 h 1371698"/>
              <a:gd name="connsiteX344" fmla="*/ 10055 w 268289"/>
              <a:gd name="connsiteY344" fmla="*/ 1061296 h 1371698"/>
              <a:gd name="connsiteX345" fmla="*/ 10055 w 268289"/>
              <a:gd name="connsiteY345" fmla="*/ 1057274 h 1371698"/>
              <a:gd name="connsiteX346" fmla="*/ 20109 w 268289"/>
              <a:gd name="connsiteY346" fmla="*/ 1048013 h 1371698"/>
              <a:gd name="connsiteX347" fmla="*/ 22226 w 268289"/>
              <a:gd name="connsiteY347" fmla="*/ 1053569 h 1371698"/>
              <a:gd name="connsiteX348" fmla="*/ 17993 w 268289"/>
              <a:gd name="connsiteY348" fmla="*/ 1057273 h 1371698"/>
              <a:gd name="connsiteX349" fmla="*/ 17993 w 268289"/>
              <a:gd name="connsiteY349" fmla="*/ 1051717 h 1371698"/>
              <a:gd name="connsiteX350" fmla="*/ 20109 w 268289"/>
              <a:gd name="connsiteY350" fmla="*/ 1048013 h 1371698"/>
              <a:gd name="connsiteX351" fmla="*/ 12701 w 268289"/>
              <a:gd name="connsiteY351" fmla="*/ 1044574 h 1371698"/>
              <a:gd name="connsiteX352" fmla="*/ 15876 w 268289"/>
              <a:gd name="connsiteY352" fmla="*/ 1047749 h 1371698"/>
              <a:gd name="connsiteX353" fmla="*/ 11113 w 268289"/>
              <a:gd name="connsiteY353" fmla="*/ 1046162 h 1371698"/>
              <a:gd name="connsiteX354" fmla="*/ 12701 w 268289"/>
              <a:gd name="connsiteY354" fmla="*/ 1044574 h 1371698"/>
              <a:gd name="connsiteX355" fmla="*/ 40218 w 268289"/>
              <a:gd name="connsiteY355" fmla="*/ 973666 h 1371698"/>
              <a:gd name="connsiteX356" fmla="*/ 42334 w 268289"/>
              <a:gd name="connsiteY356" fmla="*/ 977899 h 1371698"/>
              <a:gd name="connsiteX357" fmla="*/ 40218 w 268289"/>
              <a:gd name="connsiteY357" fmla="*/ 973666 h 1371698"/>
              <a:gd name="connsiteX358" fmla="*/ 33984 w 268289"/>
              <a:gd name="connsiteY358" fmla="*/ 973137 h 1371698"/>
              <a:gd name="connsiteX359" fmla="*/ 35720 w 268289"/>
              <a:gd name="connsiteY359" fmla="*/ 973666 h 1371698"/>
              <a:gd name="connsiteX360" fmla="*/ 37705 w 268289"/>
              <a:gd name="connsiteY360" fmla="*/ 977899 h 1371698"/>
              <a:gd name="connsiteX361" fmla="*/ 33736 w 268289"/>
              <a:gd name="connsiteY361" fmla="*/ 975783 h 1371698"/>
              <a:gd name="connsiteX362" fmla="*/ 33984 w 268289"/>
              <a:gd name="connsiteY362" fmla="*/ 973137 h 1371698"/>
              <a:gd name="connsiteX363" fmla="*/ 18370 w 268289"/>
              <a:gd name="connsiteY363" fmla="*/ 963611 h 1371698"/>
              <a:gd name="connsiteX364" fmla="*/ 22453 w 268289"/>
              <a:gd name="connsiteY364" fmla="*/ 963611 h 1371698"/>
              <a:gd name="connsiteX365" fmla="*/ 28576 w 268289"/>
              <a:gd name="connsiteY365" fmla="*/ 969564 h 1371698"/>
              <a:gd name="connsiteX366" fmla="*/ 22453 w 268289"/>
              <a:gd name="connsiteY366" fmla="*/ 971548 h 1371698"/>
              <a:gd name="connsiteX367" fmla="*/ 16329 w 268289"/>
              <a:gd name="connsiteY367" fmla="*/ 967580 h 1371698"/>
              <a:gd name="connsiteX368" fmla="*/ 18370 w 268289"/>
              <a:gd name="connsiteY368" fmla="*/ 963611 h 1371698"/>
              <a:gd name="connsiteX369" fmla="*/ 44451 w 268289"/>
              <a:gd name="connsiteY369" fmla="*/ 962288 h 1371698"/>
              <a:gd name="connsiteX370" fmla="*/ 49213 w 268289"/>
              <a:gd name="connsiteY370" fmla="*/ 965992 h 1371698"/>
              <a:gd name="connsiteX371" fmla="*/ 46832 w 268289"/>
              <a:gd name="connsiteY371" fmla="*/ 969696 h 1371698"/>
              <a:gd name="connsiteX372" fmla="*/ 42069 w 268289"/>
              <a:gd name="connsiteY372" fmla="*/ 964140 h 1371698"/>
              <a:gd name="connsiteX373" fmla="*/ 44451 w 268289"/>
              <a:gd name="connsiteY373" fmla="*/ 962288 h 1371698"/>
              <a:gd name="connsiteX374" fmla="*/ 17993 w 268289"/>
              <a:gd name="connsiteY374" fmla="*/ 954616 h 1371698"/>
              <a:gd name="connsiteX375" fmla="*/ 22226 w 268289"/>
              <a:gd name="connsiteY375" fmla="*/ 954616 h 1371698"/>
              <a:gd name="connsiteX376" fmla="*/ 20109 w 268289"/>
              <a:gd name="connsiteY376" fmla="*/ 956733 h 1371698"/>
              <a:gd name="connsiteX377" fmla="*/ 17993 w 268289"/>
              <a:gd name="connsiteY377" fmla="*/ 954616 h 1371698"/>
              <a:gd name="connsiteX378" fmla="*/ 23813 w 268289"/>
              <a:gd name="connsiteY378" fmla="*/ 952895 h 1371698"/>
              <a:gd name="connsiteX379" fmla="*/ 30163 w 268289"/>
              <a:gd name="connsiteY379" fmla="*/ 956864 h 1371698"/>
              <a:gd name="connsiteX380" fmla="*/ 25930 w 268289"/>
              <a:gd name="connsiteY380" fmla="*/ 956864 h 1371698"/>
              <a:gd name="connsiteX381" fmla="*/ 23813 w 268289"/>
              <a:gd name="connsiteY381" fmla="*/ 952895 h 1371698"/>
              <a:gd name="connsiteX382" fmla="*/ 28802 w 268289"/>
              <a:gd name="connsiteY382" fmla="*/ 948054 h 1371698"/>
              <a:gd name="connsiteX383" fmla="*/ 34245 w 268289"/>
              <a:gd name="connsiteY383" fmla="*/ 948054 h 1371698"/>
              <a:gd name="connsiteX384" fmla="*/ 37874 w 268289"/>
              <a:gd name="connsiteY384" fmla="*/ 953769 h 1371698"/>
              <a:gd name="connsiteX385" fmla="*/ 36060 w 268289"/>
              <a:gd name="connsiteY385" fmla="*/ 953769 h 1371698"/>
              <a:gd name="connsiteX386" fmla="*/ 28802 w 268289"/>
              <a:gd name="connsiteY386" fmla="*/ 951864 h 1371698"/>
              <a:gd name="connsiteX387" fmla="*/ 28802 w 268289"/>
              <a:gd name="connsiteY387" fmla="*/ 948054 h 1371698"/>
              <a:gd name="connsiteX388" fmla="*/ 44451 w 268289"/>
              <a:gd name="connsiteY388" fmla="*/ 938211 h 1371698"/>
              <a:gd name="connsiteX389" fmla="*/ 42546 w 268289"/>
              <a:gd name="connsiteY389" fmla="*/ 944164 h 1371698"/>
              <a:gd name="connsiteX390" fmla="*/ 34926 w 268289"/>
              <a:gd name="connsiteY390" fmla="*/ 944164 h 1371698"/>
              <a:gd name="connsiteX391" fmla="*/ 36831 w 268289"/>
              <a:gd name="connsiteY391" fmla="*/ 940195 h 1371698"/>
              <a:gd name="connsiteX392" fmla="*/ 40641 w 268289"/>
              <a:gd name="connsiteY392" fmla="*/ 940195 h 1371698"/>
              <a:gd name="connsiteX393" fmla="*/ 44451 w 268289"/>
              <a:gd name="connsiteY393" fmla="*/ 938211 h 1371698"/>
              <a:gd name="connsiteX394" fmla="*/ 22679 w 268289"/>
              <a:gd name="connsiteY394" fmla="*/ 938211 h 1371698"/>
              <a:gd name="connsiteX395" fmla="*/ 28803 w 268289"/>
              <a:gd name="connsiteY395" fmla="*/ 938211 h 1371698"/>
              <a:gd name="connsiteX396" fmla="*/ 34926 w 268289"/>
              <a:gd name="connsiteY396" fmla="*/ 940195 h 1371698"/>
              <a:gd name="connsiteX397" fmla="*/ 30844 w 268289"/>
              <a:gd name="connsiteY397" fmla="*/ 942180 h 1371698"/>
              <a:gd name="connsiteX398" fmla="*/ 24720 w 268289"/>
              <a:gd name="connsiteY398" fmla="*/ 944164 h 1371698"/>
              <a:gd name="connsiteX399" fmla="*/ 22679 w 268289"/>
              <a:gd name="connsiteY399" fmla="*/ 938211 h 1371698"/>
              <a:gd name="connsiteX400" fmla="*/ 38630 w 268289"/>
              <a:gd name="connsiteY400" fmla="*/ 933978 h 1371698"/>
              <a:gd name="connsiteX401" fmla="*/ 42863 w 268289"/>
              <a:gd name="connsiteY401" fmla="*/ 933978 h 1371698"/>
              <a:gd name="connsiteX402" fmla="*/ 38630 w 268289"/>
              <a:gd name="connsiteY402" fmla="*/ 936095 h 1371698"/>
              <a:gd name="connsiteX403" fmla="*/ 38630 w 268289"/>
              <a:gd name="connsiteY403" fmla="*/ 933978 h 1371698"/>
              <a:gd name="connsiteX404" fmla="*/ 32885 w 268289"/>
              <a:gd name="connsiteY404" fmla="*/ 930274 h 1371698"/>
              <a:gd name="connsiteX405" fmla="*/ 32885 w 268289"/>
              <a:gd name="connsiteY405" fmla="*/ 934243 h 1371698"/>
              <a:gd name="connsiteX406" fmla="*/ 28803 w 268289"/>
              <a:gd name="connsiteY406" fmla="*/ 936227 h 1371698"/>
              <a:gd name="connsiteX407" fmla="*/ 22679 w 268289"/>
              <a:gd name="connsiteY407" fmla="*/ 936227 h 1371698"/>
              <a:gd name="connsiteX408" fmla="*/ 24720 w 268289"/>
              <a:gd name="connsiteY408" fmla="*/ 932258 h 1371698"/>
              <a:gd name="connsiteX409" fmla="*/ 26762 w 268289"/>
              <a:gd name="connsiteY409" fmla="*/ 932258 h 1371698"/>
              <a:gd name="connsiteX410" fmla="*/ 32885 w 268289"/>
              <a:gd name="connsiteY410" fmla="*/ 930274 h 1371698"/>
              <a:gd name="connsiteX411" fmla="*/ 16511 w 268289"/>
              <a:gd name="connsiteY411" fmla="*/ 930274 h 1371698"/>
              <a:gd name="connsiteX412" fmla="*/ 20321 w 268289"/>
              <a:gd name="connsiteY412" fmla="*/ 934508 h 1371698"/>
              <a:gd name="connsiteX413" fmla="*/ 14606 w 268289"/>
              <a:gd name="connsiteY413" fmla="*/ 934508 h 1371698"/>
              <a:gd name="connsiteX414" fmla="*/ 16511 w 268289"/>
              <a:gd name="connsiteY414" fmla="*/ 930274 h 1371698"/>
              <a:gd name="connsiteX415" fmla="*/ 20242 w 268289"/>
              <a:gd name="connsiteY415" fmla="*/ 926041 h 1371698"/>
              <a:gd name="connsiteX416" fmla="*/ 22226 w 268289"/>
              <a:gd name="connsiteY416" fmla="*/ 928158 h 1371698"/>
              <a:gd name="connsiteX417" fmla="*/ 16273 w 268289"/>
              <a:gd name="connsiteY417" fmla="*/ 928158 h 1371698"/>
              <a:gd name="connsiteX418" fmla="*/ 20242 w 268289"/>
              <a:gd name="connsiteY418" fmla="*/ 926041 h 1371698"/>
              <a:gd name="connsiteX419" fmla="*/ 24343 w 268289"/>
              <a:gd name="connsiteY419" fmla="*/ 924320 h 1371698"/>
              <a:gd name="connsiteX420" fmla="*/ 32809 w 268289"/>
              <a:gd name="connsiteY420" fmla="*/ 924320 h 1371698"/>
              <a:gd name="connsiteX421" fmla="*/ 32809 w 268289"/>
              <a:gd name="connsiteY421" fmla="*/ 928289 h 1371698"/>
              <a:gd name="connsiteX422" fmla="*/ 26459 w 268289"/>
              <a:gd name="connsiteY422" fmla="*/ 926305 h 1371698"/>
              <a:gd name="connsiteX423" fmla="*/ 24343 w 268289"/>
              <a:gd name="connsiteY423" fmla="*/ 924320 h 1371698"/>
              <a:gd name="connsiteX424" fmla="*/ 36196 w 268289"/>
              <a:gd name="connsiteY424" fmla="*/ 920749 h 1371698"/>
              <a:gd name="connsiteX425" fmla="*/ 42864 w 268289"/>
              <a:gd name="connsiteY425" fmla="*/ 922337 h 1371698"/>
              <a:gd name="connsiteX426" fmla="*/ 38419 w 268289"/>
              <a:gd name="connsiteY426" fmla="*/ 923924 h 1371698"/>
              <a:gd name="connsiteX427" fmla="*/ 33974 w 268289"/>
              <a:gd name="connsiteY427" fmla="*/ 922337 h 1371698"/>
              <a:gd name="connsiteX428" fmla="*/ 36196 w 268289"/>
              <a:gd name="connsiteY428" fmla="*/ 922337 h 1371698"/>
              <a:gd name="connsiteX429" fmla="*/ 32280 w 268289"/>
              <a:gd name="connsiteY429" fmla="*/ 916516 h 1371698"/>
              <a:gd name="connsiteX430" fmla="*/ 36513 w 268289"/>
              <a:gd name="connsiteY430" fmla="*/ 916516 h 1371698"/>
              <a:gd name="connsiteX431" fmla="*/ 32280 w 268289"/>
              <a:gd name="connsiteY431" fmla="*/ 918633 h 1371698"/>
              <a:gd name="connsiteX432" fmla="*/ 32280 w 268289"/>
              <a:gd name="connsiteY432" fmla="*/ 916516 h 1371698"/>
              <a:gd name="connsiteX433" fmla="*/ 26195 w 268289"/>
              <a:gd name="connsiteY433" fmla="*/ 914399 h 1371698"/>
              <a:gd name="connsiteX434" fmla="*/ 30164 w 268289"/>
              <a:gd name="connsiteY434" fmla="*/ 916516 h 1371698"/>
              <a:gd name="connsiteX435" fmla="*/ 24211 w 268289"/>
              <a:gd name="connsiteY435" fmla="*/ 918633 h 1371698"/>
              <a:gd name="connsiteX436" fmla="*/ 26195 w 268289"/>
              <a:gd name="connsiteY436" fmla="*/ 914399 h 1371698"/>
              <a:gd name="connsiteX437" fmla="*/ 25005 w 268289"/>
              <a:gd name="connsiteY437" fmla="*/ 912547 h 1371698"/>
              <a:gd name="connsiteX438" fmla="*/ 23020 w 268289"/>
              <a:gd name="connsiteY438" fmla="*/ 915986 h 1371698"/>
              <a:gd name="connsiteX439" fmla="*/ 21036 w 268289"/>
              <a:gd name="connsiteY439" fmla="*/ 913870 h 1371698"/>
              <a:gd name="connsiteX440" fmla="*/ 25005 w 268289"/>
              <a:gd name="connsiteY440" fmla="*/ 912547 h 1371698"/>
              <a:gd name="connsiteX441" fmla="*/ 36513 w 268289"/>
              <a:gd name="connsiteY441" fmla="*/ 910165 h 1371698"/>
              <a:gd name="connsiteX442" fmla="*/ 40482 w 268289"/>
              <a:gd name="connsiteY442" fmla="*/ 910165 h 1371698"/>
              <a:gd name="connsiteX443" fmla="*/ 44451 w 268289"/>
              <a:gd name="connsiteY443" fmla="*/ 915721 h 1371698"/>
              <a:gd name="connsiteX444" fmla="*/ 40482 w 268289"/>
              <a:gd name="connsiteY444" fmla="*/ 913869 h 1371698"/>
              <a:gd name="connsiteX445" fmla="*/ 36513 w 268289"/>
              <a:gd name="connsiteY445" fmla="*/ 910165 h 1371698"/>
              <a:gd name="connsiteX446" fmla="*/ 44451 w 268289"/>
              <a:gd name="connsiteY446" fmla="*/ 908049 h 1371698"/>
              <a:gd name="connsiteX447" fmla="*/ 49214 w 268289"/>
              <a:gd name="connsiteY447" fmla="*/ 910430 h 1371698"/>
              <a:gd name="connsiteX448" fmla="*/ 46833 w 268289"/>
              <a:gd name="connsiteY448" fmla="*/ 910430 h 1371698"/>
              <a:gd name="connsiteX449" fmla="*/ 44451 w 268289"/>
              <a:gd name="connsiteY449" fmla="*/ 908049 h 1371698"/>
              <a:gd name="connsiteX450" fmla="*/ 33452 w 268289"/>
              <a:gd name="connsiteY450" fmla="*/ 898920 h 1371698"/>
              <a:gd name="connsiteX451" fmla="*/ 34473 w 268289"/>
              <a:gd name="connsiteY451" fmla="*/ 902889 h 1371698"/>
              <a:gd name="connsiteX452" fmla="*/ 24267 w 268289"/>
              <a:gd name="connsiteY452" fmla="*/ 902889 h 1371698"/>
              <a:gd name="connsiteX453" fmla="*/ 26308 w 268289"/>
              <a:gd name="connsiteY453" fmla="*/ 900905 h 1371698"/>
              <a:gd name="connsiteX454" fmla="*/ 33452 w 268289"/>
              <a:gd name="connsiteY454" fmla="*/ 898920 h 1371698"/>
              <a:gd name="connsiteX455" fmla="*/ 14817 w 268289"/>
              <a:gd name="connsiteY455" fmla="*/ 898920 h 1371698"/>
              <a:gd name="connsiteX456" fmla="*/ 20374 w 268289"/>
              <a:gd name="connsiteY456" fmla="*/ 900905 h 1371698"/>
              <a:gd name="connsiteX457" fmla="*/ 14817 w 268289"/>
              <a:gd name="connsiteY457" fmla="*/ 902889 h 1371698"/>
              <a:gd name="connsiteX458" fmla="*/ 14817 w 268289"/>
              <a:gd name="connsiteY458" fmla="*/ 898920 h 1371698"/>
              <a:gd name="connsiteX459" fmla="*/ 8996 w 268289"/>
              <a:gd name="connsiteY459" fmla="*/ 894158 h 1371698"/>
              <a:gd name="connsiteX460" fmla="*/ 8996 w 268289"/>
              <a:gd name="connsiteY460" fmla="*/ 898127 h 1371698"/>
              <a:gd name="connsiteX461" fmla="*/ 6880 w 268289"/>
              <a:gd name="connsiteY461" fmla="*/ 896143 h 1371698"/>
              <a:gd name="connsiteX462" fmla="*/ 8996 w 268289"/>
              <a:gd name="connsiteY462" fmla="*/ 894158 h 1371698"/>
              <a:gd name="connsiteX463" fmla="*/ 24448 w 268289"/>
              <a:gd name="connsiteY463" fmla="*/ 893761 h 1371698"/>
              <a:gd name="connsiteX464" fmla="*/ 30163 w 268289"/>
              <a:gd name="connsiteY464" fmla="*/ 895878 h 1371698"/>
              <a:gd name="connsiteX465" fmla="*/ 22543 w 268289"/>
              <a:gd name="connsiteY465" fmla="*/ 897995 h 1371698"/>
              <a:gd name="connsiteX466" fmla="*/ 24448 w 268289"/>
              <a:gd name="connsiteY466" fmla="*/ 893761 h 1371698"/>
              <a:gd name="connsiteX467" fmla="*/ 22543 w 268289"/>
              <a:gd name="connsiteY467" fmla="*/ 832272 h 1371698"/>
              <a:gd name="connsiteX468" fmla="*/ 26353 w 268289"/>
              <a:gd name="connsiteY468" fmla="*/ 832272 h 1371698"/>
              <a:gd name="connsiteX469" fmla="*/ 32068 w 268289"/>
              <a:gd name="connsiteY469" fmla="*/ 832272 h 1371698"/>
              <a:gd name="connsiteX470" fmla="*/ 33973 w 268289"/>
              <a:gd name="connsiteY470" fmla="*/ 838305 h 1371698"/>
              <a:gd name="connsiteX471" fmla="*/ 33973 w 268289"/>
              <a:gd name="connsiteY471" fmla="*/ 852380 h 1371698"/>
              <a:gd name="connsiteX472" fmla="*/ 35878 w 268289"/>
              <a:gd name="connsiteY472" fmla="*/ 860424 h 1371698"/>
              <a:gd name="connsiteX473" fmla="*/ 37783 w 268289"/>
              <a:gd name="connsiteY473" fmla="*/ 872489 h 1371698"/>
              <a:gd name="connsiteX474" fmla="*/ 32068 w 268289"/>
              <a:gd name="connsiteY474" fmla="*/ 876510 h 1371698"/>
              <a:gd name="connsiteX475" fmla="*/ 30163 w 268289"/>
              <a:gd name="connsiteY475" fmla="*/ 882543 h 1371698"/>
              <a:gd name="connsiteX476" fmla="*/ 28258 w 268289"/>
              <a:gd name="connsiteY476" fmla="*/ 886565 h 1371698"/>
              <a:gd name="connsiteX477" fmla="*/ 26353 w 268289"/>
              <a:gd name="connsiteY477" fmla="*/ 882543 h 1371698"/>
              <a:gd name="connsiteX478" fmla="*/ 22543 w 268289"/>
              <a:gd name="connsiteY478" fmla="*/ 878521 h 1371698"/>
              <a:gd name="connsiteX479" fmla="*/ 20638 w 268289"/>
              <a:gd name="connsiteY479" fmla="*/ 880532 h 1371698"/>
              <a:gd name="connsiteX480" fmla="*/ 22543 w 268289"/>
              <a:gd name="connsiteY480" fmla="*/ 888575 h 1371698"/>
              <a:gd name="connsiteX481" fmla="*/ 14923 w 268289"/>
              <a:gd name="connsiteY481" fmla="*/ 886565 h 1371698"/>
              <a:gd name="connsiteX482" fmla="*/ 14923 w 268289"/>
              <a:gd name="connsiteY482" fmla="*/ 876510 h 1371698"/>
              <a:gd name="connsiteX483" fmla="*/ 20638 w 268289"/>
              <a:gd name="connsiteY483" fmla="*/ 860424 h 1371698"/>
              <a:gd name="connsiteX484" fmla="*/ 18733 w 268289"/>
              <a:gd name="connsiteY484" fmla="*/ 842326 h 1371698"/>
              <a:gd name="connsiteX485" fmla="*/ 22543 w 268289"/>
              <a:gd name="connsiteY485" fmla="*/ 832272 h 1371698"/>
              <a:gd name="connsiteX486" fmla="*/ 65859 w 268289"/>
              <a:gd name="connsiteY486" fmla="*/ 0 h 1371698"/>
              <a:gd name="connsiteX487" fmla="*/ 67854 w 268289"/>
              <a:gd name="connsiteY487" fmla="*/ 1996 h 1371698"/>
              <a:gd name="connsiteX488" fmla="*/ 71846 w 268289"/>
              <a:gd name="connsiteY488" fmla="*/ 15964 h 1371698"/>
              <a:gd name="connsiteX489" fmla="*/ 77833 w 268289"/>
              <a:gd name="connsiteY489" fmla="*/ 25942 h 1371698"/>
              <a:gd name="connsiteX490" fmla="*/ 85816 w 268289"/>
              <a:gd name="connsiteY490" fmla="*/ 33924 h 1371698"/>
              <a:gd name="connsiteX491" fmla="*/ 87812 w 268289"/>
              <a:gd name="connsiteY491" fmla="*/ 39910 h 1371698"/>
              <a:gd name="connsiteX492" fmla="*/ 91803 w 268289"/>
              <a:gd name="connsiteY492" fmla="*/ 53879 h 1371698"/>
              <a:gd name="connsiteX493" fmla="*/ 99786 w 268289"/>
              <a:gd name="connsiteY493" fmla="*/ 61861 h 1371698"/>
              <a:gd name="connsiteX494" fmla="*/ 103777 w 268289"/>
              <a:gd name="connsiteY494" fmla="*/ 67847 h 1371698"/>
              <a:gd name="connsiteX495" fmla="*/ 103777 w 268289"/>
              <a:gd name="connsiteY495" fmla="*/ 79820 h 1371698"/>
              <a:gd name="connsiteX496" fmla="*/ 105773 w 268289"/>
              <a:gd name="connsiteY496" fmla="*/ 91793 h 1371698"/>
              <a:gd name="connsiteX497" fmla="*/ 101782 w 268289"/>
              <a:gd name="connsiteY497" fmla="*/ 97780 h 1371698"/>
              <a:gd name="connsiteX498" fmla="*/ 103777 w 268289"/>
              <a:gd name="connsiteY498" fmla="*/ 107757 h 1371698"/>
              <a:gd name="connsiteX499" fmla="*/ 107769 w 268289"/>
              <a:gd name="connsiteY499" fmla="*/ 115739 h 1371698"/>
              <a:gd name="connsiteX500" fmla="*/ 109764 w 268289"/>
              <a:gd name="connsiteY500" fmla="*/ 125717 h 1371698"/>
              <a:gd name="connsiteX501" fmla="*/ 115752 w 268289"/>
              <a:gd name="connsiteY501" fmla="*/ 129708 h 1371698"/>
              <a:gd name="connsiteX502" fmla="*/ 117747 w 268289"/>
              <a:gd name="connsiteY502" fmla="*/ 133699 h 1371698"/>
              <a:gd name="connsiteX503" fmla="*/ 121739 w 268289"/>
              <a:gd name="connsiteY503" fmla="*/ 143676 h 1371698"/>
              <a:gd name="connsiteX504" fmla="*/ 123734 w 268289"/>
              <a:gd name="connsiteY504" fmla="*/ 153654 h 1371698"/>
              <a:gd name="connsiteX505" fmla="*/ 127726 w 268289"/>
              <a:gd name="connsiteY505" fmla="*/ 165627 h 1371698"/>
              <a:gd name="connsiteX506" fmla="*/ 127726 w 268289"/>
              <a:gd name="connsiteY506" fmla="*/ 177600 h 1371698"/>
              <a:gd name="connsiteX507" fmla="*/ 131717 w 268289"/>
              <a:gd name="connsiteY507" fmla="*/ 183586 h 1371698"/>
              <a:gd name="connsiteX508" fmla="*/ 139700 w 268289"/>
              <a:gd name="connsiteY508" fmla="*/ 183586 h 1371698"/>
              <a:gd name="connsiteX509" fmla="*/ 145687 w 268289"/>
              <a:gd name="connsiteY509" fmla="*/ 183586 h 1371698"/>
              <a:gd name="connsiteX510" fmla="*/ 147683 w 268289"/>
              <a:gd name="connsiteY510" fmla="*/ 189573 h 1371698"/>
              <a:gd name="connsiteX511" fmla="*/ 145687 w 268289"/>
              <a:gd name="connsiteY511" fmla="*/ 205537 h 1371698"/>
              <a:gd name="connsiteX512" fmla="*/ 147683 w 268289"/>
              <a:gd name="connsiteY512" fmla="*/ 217510 h 1371698"/>
              <a:gd name="connsiteX513" fmla="*/ 143692 w 268289"/>
              <a:gd name="connsiteY513" fmla="*/ 223496 h 1371698"/>
              <a:gd name="connsiteX514" fmla="*/ 131717 w 268289"/>
              <a:gd name="connsiteY514" fmla="*/ 229483 h 1371698"/>
              <a:gd name="connsiteX515" fmla="*/ 119743 w 268289"/>
              <a:gd name="connsiteY515" fmla="*/ 237465 h 1371698"/>
              <a:gd name="connsiteX516" fmla="*/ 115752 w 268289"/>
              <a:gd name="connsiteY516" fmla="*/ 241456 h 1371698"/>
              <a:gd name="connsiteX517" fmla="*/ 117747 w 268289"/>
              <a:gd name="connsiteY517" fmla="*/ 245447 h 1371698"/>
              <a:gd name="connsiteX518" fmla="*/ 119743 w 268289"/>
              <a:gd name="connsiteY518" fmla="*/ 253429 h 1371698"/>
              <a:gd name="connsiteX519" fmla="*/ 115752 w 268289"/>
              <a:gd name="connsiteY519" fmla="*/ 263406 h 1371698"/>
              <a:gd name="connsiteX520" fmla="*/ 115752 w 268289"/>
              <a:gd name="connsiteY520" fmla="*/ 275379 h 1371698"/>
              <a:gd name="connsiteX521" fmla="*/ 117747 w 268289"/>
              <a:gd name="connsiteY521" fmla="*/ 289348 h 1371698"/>
              <a:gd name="connsiteX522" fmla="*/ 117747 w 268289"/>
              <a:gd name="connsiteY522" fmla="*/ 303316 h 1371698"/>
              <a:gd name="connsiteX523" fmla="*/ 121739 w 268289"/>
              <a:gd name="connsiteY523" fmla="*/ 309303 h 1371698"/>
              <a:gd name="connsiteX524" fmla="*/ 119743 w 268289"/>
              <a:gd name="connsiteY524" fmla="*/ 321276 h 1371698"/>
              <a:gd name="connsiteX525" fmla="*/ 113756 w 268289"/>
              <a:gd name="connsiteY525" fmla="*/ 325267 h 1371698"/>
              <a:gd name="connsiteX526" fmla="*/ 101782 w 268289"/>
              <a:gd name="connsiteY526" fmla="*/ 341231 h 1371698"/>
              <a:gd name="connsiteX527" fmla="*/ 95794 w 268289"/>
              <a:gd name="connsiteY527" fmla="*/ 361186 h 1371698"/>
              <a:gd name="connsiteX528" fmla="*/ 91803 w 268289"/>
              <a:gd name="connsiteY528" fmla="*/ 381141 h 1371698"/>
              <a:gd name="connsiteX529" fmla="*/ 85816 w 268289"/>
              <a:gd name="connsiteY529" fmla="*/ 393114 h 1371698"/>
              <a:gd name="connsiteX530" fmla="*/ 85816 w 268289"/>
              <a:gd name="connsiteY530" fmla="*/ 405087 h 1371698"/>
              <a:gd name="connsiteX531" fmla="*/ 91803 w 268289"/>
              <a:gd name="connsiteY531" fmla="*/ 419056 h 1371698"/>
              <a:gd name="connsiteX532" fmla="*/ 91803 w 268289"/>
              <a:gd name="connsiteY532" fmla="*/ 429033 h 1371698"/>
              <a:gd name="connsiteX533" fmla="*/ 85816 w 268289"/>
              <a:gd name="connsiteY533" fmla="*/ 433024 h 1371698"/>
              <a:gd name="connsiteX534" fmla="*/ 83820 w 268289"/>
              <a:gd name="connsiteY534" fmla="*/ 444997 h 1371698"/>
              <a:gd name="connsiteX535" fmla="*/ 85816 w 268289"/>
              <a:gd name="connsiteY535" fmla="*/ 450984 h 1371698"/>
              <a:gd name="connsiteX536" fmla="*/ 81824 w 268289"/>
              <a:gd name="connsiteY536" fmla="*/ 454975 h 1371698"/>
              <a:gd name="connsiteX537" fmla="*/ 79829 w 268289"/>
              <a:gd name="connsiteY537" fmla="*/ 464952 h 1371698"/>
              <a:gd name="connsiteX538" fmla="*/ 81824 w 268289"/>
              <a:gd name="connsiteY538" fmla="*/ 470939 h 1371698"/>
              <a:gd name="connsiteX539" fmla="*/ 85816 w 268289"/>
              <a:gd name="connsiteY539" fmla="*/ 482912 h 1371698"/>
              <a:gd name="connsiteX540" fmla="*/ 91803 w 268289"/>
              <a:gd name="connsiteY540" fmla="*/ 490894 h 1371698"/>
              <a:gd name="connsiteX541" fmla="*/ 91803 w 268289"/>
              <a:gd name="connsiteY541" fmla="*/ 502867 h 1371698"/>
              <a:gd name="connsiteX542" fmla="*/ 95794 w 268289"/>
              <a:gd name="connsiteY542" fmla="*/ 508853 h 1371698"/>
              <a:gd name="connsiteX543" fmla="*/ 95794 w 268289"/>
              <a:gd name="connsiteY543" fmla="*/ 520826 h 1371698"/>
              <a:gd name="connsiteX544" fmla="*/ 101782 w 268289"/>
              <a:gd name="connsiteY544" fmla="*/ 526813 h 1371698"/>
              <a:gd name="connsiteX545" fmla="*/ 103777 w 268289"/>
              <a:gd name="connsiteY545" fmla="*/ 538786 h 1371698"/>
              <a:gd name="connsiteX546" fmla="*/ 103777 w 268289"/>
              <a:gd name="connsiteY546" fmla="*/ 554750 h 1371698"/>
              <a:gd name="connsiteX547" fmla="*/ 95794 w 268289"/>
              <a:gd name="connsiteY547" fmla="*/ 566723 h 1371698"/>
              <a:gd name="connsiteX548" fmla="*/ 89807 w 268289"/>
              <a:gd name="connsiteY548" fmla="*/ 584682 h 1371698"/>
              <a:gd name="connsiteX549" fmla="*/ 89807 w 268289"/>
              <a:gd name="connsiteY549" fmla="*/ 596655 h 1371698"/>
              <a:gd name="connsiteX550" fmla="*/ 91803 w 268289"/>
              <a:gd name="connsiteY550" fmla="*/ 604637 h 1371698"/>
              <a:gd name="connsiteX551" fmla="*/ 93799 w 268289"/>
              <a:gd name="connsiteY551" fmla="*/ 614615 h 1371698"/>
              <a:gd name="connsiteX552" fmla="*/ 91803 w 268289"/>
              <a:gd name="connsiteY552" fmla="*/ 630579 h 1371698"/>
              <a:gd name="connsiteX553" fmla="*/ 83820 w 268289"/>
              <a:gd name="connsiteY553" fmla="*/ 638561 h 1371698"/>
              <a:gd name="connsiteX554" fmla="*/ 77833 w 268289"/>
              <a:gd name="connsiteY554" fmla="*/ 648538 h 1371698"/>
              <a:gd name="connsiteX555" fmla="*/ 77833 w 268289"/>
              <a:gd name="connsiteY555" fmla="*/ 660511 h 1371698"/>
              <a:gd name="connsiteX556" fmla="*/ 81824 w 268289"/>
              <a:gd name="connsiteY556" fmla="*/ 668493 h 1371698"/>
              <a:gd name="connsiteX557" fmla="*/ 83820 w 268289"/>
              <a:gd name="connsiteY557" fmla="*/ 674480 h 1371698"/>
              <a:gd name="connsiteX558" fmla="*/ 85816 w 268289"/>
              <a:gd name="connsiteY558" fmla="*/ 692439 h 1371698"/>
              <a:gd name="connsiteX559" fmla="*/ 89807 w 268289"/>
              <a:gd name="connsiteY559" fmla="*/ 708403 h 1371698"/>
              <a:gd name="connsiteX560" fmla="*/ 81824 w 268289"/>
              <a:gd name="connsiteY560" fmla="*/ 716385 h 1371698"/>
              <a:gd name="connsiteX561" fmla="*/ 81824 w 268289"/>
              <a:gd name="connsiteY561" fmla="*/ 724367 h 1371698"/>
              <a:gd name="connsiteX562" fmla="*/ 83820 w 268289"/>
              <a:gd name="connsiteY562" fmla="*/ 730354 h 1371698"/>
              <a:gd name="connsiteX563" fmla="*/ 81824 w 268289"/>
              <a:gd name="connsiteY563" fmla="*/ 736340 h 1371698"/>
              <a:gd name="connsiteX564" fmla="*/ 77833 w 268289"/>
              <a:gd name="connsiteY564" fmla="*/ 744322 h 1371698"/>
              <a:gd name="connsiteX565" fmla="*/ 77833 w 268289"/>
              <a:gd name="connsiteY565" fmla="*/ 750309 h 1371698"/>
              <a:gd name="connsiteX566" fmla="*/ 81824 w 268289"/>
              <a:gd name="connsiteY566" fmla="*/ 758291 h 1371698"/>
              <a:gd name="connsiteX567" fmla="*/ 75837 w 268289"/>
              <a:gd name="connsiteY567" fmla="*/ 760286 h 1371698"/>
              <a:gd name="connsiteX568" fmla="*/ 75837 w 268289"/>
              <a:gd name="connsiteY568" fmla="*/ 770264 h 1371698"/>
              <a:gd name="connsiteX569" fmla="*/ 75837 w 268289"/>
              <a:gd name="connsiteY569" fmla="*/ 782237 h 1371698"/>
              <a:gd name="connsiteX570" fmla="*/ 77833 w 268289"/>
              <a:gd name="connsiteY570" fmla="*/ 802192 h 1371698"/>
              <a:gd name="connsiteX571" fmla="*/ 79829 w 268289"/>
              <a:gd name="connsiteY571" fmla="*/ 812169 h 1371698"/>
              <a:gd name="connsiteX572" fmla="*/ 83820 w 268289"/>
              <a:gd name="connsiteY572" fmla="*/ 820151 h 1371698"/>
              <a:gd name="connsiteX573" fmla="*/ 85816 w 268289"/>
              <a:gd name="connsiteY573" fmla="*/ 832124 h 1371698"/>
              <a:gd name="connsiteX574" fmla="*/ 77833 w 268289"/>
              <a:gd name="connsiteY574" fmla="*/ 836115 h 1371698"/>
              <a:gd name="connsiteX575" fmla="*/ 79829 w 268289"/>
              <a:gd name="connsiteY575" fmla="*/ 842102 h 1371698"/>
              <a:gd name="connsiteX576" fmla="*/ 79829 w 268289"/>
              <a:gd name="connsiteY576" fmla="*/ 850084 h 1371698"/>
              <a:gd name="connsiteX577" fmla="*/ 79829 w 268289"/>
              <a:gd name="connsiteY577" fmla="*/ 864052 h 1371698"/>
              <a:gd name="connsiteX578" fmla="*/ 85816 w 268289"/>
              <a:gd name="connsiteY578" fmla="*/ 876025 h 1371698"/>
              <a:gd name="connsiteX579" fmla="*/ 87812 w 268289"/>
              <a:gd name="connsiteY579" fmla="*/ 882012 h 1371698"/>
              <a:gd name="connsiteX580" fmla="*/ 87812 w 268289"/>
              <a:gd name="connsiteY580" fmla="*/ 889994 h 1371698"/>
              <a:gd name="connsiteX581" fmla="*/ 87812 w 268289"/>
              <a:gd name="connsiteY581" fmla="*/ 899971 h 1371698"/>
              <a:gd name="connsiteX582" fmla="*/ 87812 w 268289"/>
              <a:gd name="connsiteY582" fmla="*/ 905958 h 1371698"/>
              <a:gd name="connsiteX583" fmla="*/ 89807 w 268289"/>
              <a:gd name="connsiteY583" fmla="*/ 913940 h 1371698"/>
              <a:gd name="connsiteX584" fmla="*/ 99786 w 268289"/>
              <a:gd name="connsiteY584" fmla="*/ 917931 h 1371698"/>
              <a:gd name="connsiteX585" fmla="*/ 103777 w 268289"/>
              <a:gd name="connsiteY585" fmla="*/ 919926 h 1371698"/>
              <a:gd name="connsiteX586" fmla="*/ 109764 w 268289"/>
              <a:gd name="connsiteY586" fmla="*/ 927908 h 1371698"/>
              <a:gd name="connsiteX587" fmla="*/ 95794 w 268289"/>
              <a:gd name="connsiteY587" fmla="*/ 929904 h 1371698"/>
              <a:gd name="connsiteX588" fmla="*/ 95794 w 268289"/>
              <a:gd name="connsiteY588" fmla="*/ 935890 h 1371698"/>
              <a:gd name="connsiteX589" fmla="*/ 103777 w 268289"/>
              <a:gd name="connsiteY589" fmla="*/ 941877 h 1371698"/>
              <a:gd name="connsiteX590" fmla="*/ 107769 w 268289"/>
              <a:gd name="connsiteY590" fmla="*/ 951854 h 1371698"/>
              <a:gd name="connsiteX591" fmla="*/ 101782 w 268289"/>
              <a:gd name="connsiteY591" fmla="*/ 959836 h 1371698"/>
              <a:gd name="connsiteX592" fmla="*/ 99786 w 268289"/>
              <a:gd name="connsiteY592" fmla="*/ 965823 h 1371698"/>
              <a:gd name="connsiteX593" fmla="*/ 99786 w 268289"/>
              <a:gd name="connsiteY593" fmla="*/ 973805 h 1371698"/>
              <a:gd name="connsiteX594" fmla="*/ 103777 w 268289"/>
              <a:gd name="connsiteY594" fmla="*/ 979791 h 1371698"/>
              <a:gd name="connsiteX595" fmla="*/ 101782 w 268289"/>
              <a:gd name="connsiteY595" fmla="*/ 989769 h 1371698"/>
              <a:gd name="connsiteX596" fmla="*/ 103777 w 268289"/>
              <a:gd name="connsiteY596" fmla="*/ 997751 h 1371698"/>
              <a:gd name="connsiteX597" fmla="*/ 101782 w 268289"/>
              <a:gd name="connsiteY597" fmla="*/ 1007729 h 1371698"/>
              <a:gd name="connsiteX598" fmla="*/ 99786 w 268289"/>
              <a:gd name="connsiteY598" fmla="*/ 1015711 h 1371698"/>
              <a:gd name="connsiteX599" fmla="*/ 97790 w 268289"/>
              <a:gd name="connsiteY599" fmla="*/ 1023693 h 1371698"/>
              <a:gd name="connsiteX600" fmla="*/ 91803 w 268289"/>
              <a:gd name="connsiteY600" fmla="*/ 1031675 h 1371698"/>
              <a:gd name="connsiteX601" fmla="*/ 91803 w 268289"/>
              <a:gd name="connsiteY601" fmla="*/ 1039657 h 1371698"/>
              <a:gd name="connsiteX602" fmla="*/ 91803 w 268289"/>
              <a:gd name="connsiteY602" fmla="*/ 1047639 h 1371698"/>
              <a:gd name="connsiteX603" fmla="*/ 95794 w 268289"/>
              <a:gd name="connsiteY603" fmla="*/ 1049634 h 1371698"/>
              <a:gd name="connsiteX604" fmla="*/ 99786 w 268289"/>
              <a:gd name="connsiteY604" fmla="*/ 1059612 h 1371698"/>
              <a:gd name="connsiteX605" fmla="*/ 97790 w 268289"/>
              <a:gd name="connsiteY605" fmla="*/ 1065598 h 1371698"/>
              <a:gd name="connsiteX606" fmla="*/ 97790 w 268289"/>
              <a:gd name="connsiteY606" fmla="*/ 1073580 h 1371698"/>
              <a:gd name="connsiteX607" fmla="*/ 93799 w 268289"/>
              <a:gd name="connsiteY607" fmla="*/ 1085553 h 1371698"/>
              <a:gd name="connsiteX608" fmla="*/ 81824 w 268289"/>
              <a:gd name="connsiteY608" fmla="*/ 1099522 h 1371698"/>
              <a:gd name="connsiteX609" fmla="*/ 77833 w 268289"/>
              <a:gd name="connsiteY609" fmla="*/ 1113490 h 1371698"/>
              <a:gd name="connsiteX610" fmla="*/ 77833 w 268289"/>
              <a:gd name="connsiteY610" fmla="*/ 1135441 h 1371698"/>
              <a:gd name="connsiteX611" fmla="*/ 81824 w 268289"/>
              <a:gd name="connsiteY611" fmla="*/ 1143423 h 1371698"/>
              <a:gd name="connsiteX612" fmla="*/ 87812 w 268289"/>
              <a:gd name="connsiteY612" fmla="*/ 1151405 h 1371698"/>
              <a:gd name="connsiteX613" fmla="*/ 93799 w 268289"/>
              <a:gd name="connsiteY613" fmla="*/ 1153400 h 1371698"/>
              <a:gd name="connsiteX614" fmla="*/ 99786 w 268289"/>
              <a:gd name="connsiteY614" fmla="*/ 1149409 h 1371698"/>
              <a:gd name="connsiteX615" fmla="*/ 105773 w 268289"/>
              <a:gd name="connsiteY615" fmla="*/ 1147414 h 1371698"/>
              <a:gd name="connsiteX616" fmla="*/ 109764 w 268289"/>
              <a:gd name="connsiteY616" fmla="*/ 1151405 h 1371698"/>
              <a:gd name="connsiteX617" fmla="*/ 111760 w 268289"/>
              <a:gd name="connsiteY617" fmla="*/ 1163378 h 1371698"/>
              <a:gd name="connsiteX618" fmla="*/ 111760 w 268289"/>
              <a:gd name="connsiteY618" fmla="*/ 1169364 h 1371698"/>
              <a:gd name="connsiteX619" fmla="*/ 117747 w 268289"/>
              <a:gd name="connsiteY619" fmla="*/ 1179342 h 1371698"/>
              <a:gd name="connsiteX620" fmla="*/ 125730 w 268289"/>
              <a:gd name="connsiteY620" fmla="*/ 1193310 h 1371698"/>
              <a:gd name="connsiteX621" fmla="*/ 129722 w 268289"/>
              <a:gd name="connsiteY621" fmla="*/ 1197301 h 1371698"/>
              <a:gd name="connsiteX622" fmla="*/ 135709 w 268289"/>
              <a:gd name="connsiteY622" fmla="*/ 1195306 h 1371698"/>
              <a:gd name="connsiteX623" fmla="*/ 145687 w 268289"/>
              <a:gd name="connsiteY623" fmla="*/ 1195306 h 1371698"/>
              <a:gd name="connsiteX624" fmla="*/ 155666 w 268289"/>
              <a:gd name="connsiteY624" fmla="*/ 1197301 h 1371698"/>
              <a:gd name="connsiteX625" fmla="*/ 167640 w 268289"/>
              <a:gd name="connsiteY625" fmla="*/ 1193310 h 1371698"/>
              <a:gd name="connsiteX626" fmla="*/ 177619 w 268289"/>
              <a:gd name="connsiteY626" fmla="*/ 1191315 h 1371698"/>
              <a:gd name="connsiteX627" fmla="*/ 185602 w 268289"/>
              <a:gd name="connsiteY627" fmla="*/ 1195306 h 1371698"/>
              <a:gd name="connsiteX628" fmla="*/ 189593 w 268289"/>
              <a:gd name="connsiteY628" fmla="*/ 1201292 h 1371698"/>
              <a:gd name="connsiteX629" fmla="*/ 205559 w 268289"/>
              <a:gd name="connsiteY629" fmla="*/ 1211270 h 1371698"/>
              <a:gd name="connsiteX630" fmla="*/ 209550 w 268289"/>
              <a:gd name="connsiteY630" fmla="*/ 1217256 h 1371698"/>
              <a:gd name="connsiteX631" fmla="*/ 205559 w 268289"/>
              <a:gd name="connsiteY631" fmla="*/ 1219252 h 1371698"/>
              <a:gd name="connsiteX632" fmla="*/ 197576 w 268289"/>
              <a:gd name="connsiteY632" fmla="*/ 1217256 h 1371698"/>
              <a:gd name="connsiteX633" fmla="*/ 191589 w 268289"/>
              <a:gd name="connsiteY633" fmla="*/ 1217256 h 1371698"/>
              <a:gd name="connsiteX634" fmla="*/ 187597 w 268289"/>
              <a:gd name="connsiteY634" fmla="*/ 1215261 h 1371698"/>
              <a:gd name="connsiteX635" fmla="*/ 183606 w 268289"/>
              <a:gd name="connsiteY635" fmla="*/ 1217256 h 1371698"/>
              <a:gd name="connsiteX636" fmla="*/ 181610 w 268289"/>
              <a:gd name="connsiteY636" fmla="*/ 1221247 h 1371698"/>
              <a:gd name="connsiteX637" fmla="*/ 179614 w 268289"/>
              <a:gd name="connsiteY637" fmla="*/ 1223243 h 1371698"/>
              <a:gd name="connsiteX638" fmla="*/ 177619 w 268289"/>
              <a:gd name="connsiteY638" fmla="*/ 1225238 h 1371698"/>
              <a:gd name="connsiteX639" fmla="*/ 167640 w 268289"/>
              <a:gd name="connsiteY639" fmla="*/ 1227234 h 1371698"/>
              <a:gd name="connsiteX640" fmla="*/ 159657 w 268289"/>
              <a:gd name="connsiteY640" fmla="*/ 1231225 h 1371698"/>
              <a:gd name="connsiteX641" fmla="*/ 153670 w 268289"/>
              <a:gd name="connsiteY641" fmla="*/ 1239207 h 1371698"/>
              <a:gd name="connsiteX642" fmla="*/ 151674 w 268289"/>
              <a:gd name="connsiteY642" fmla="*/ 1255171 h 1371698"/>
              <a:gd name="connsiteX643" fmla="*/ 153670 w 268289"/>
              <a:gd name="connsiteY643" fmla="*/ 1269139 h 1371698"/>
              <a:gd name="connsiteX644" fmla="*/ 151674 w 268289"/>
              <a:gd name="connsiteY644" fmla="*/ 1275126 h 1371698"/>
              <a:gd name="connsiteX645" fmla="*/ 145687 w 268289"/>
              <a:gd name="connsiteY645" fmla="*/ 1279117 h 1371698"/>
              <a:gd name="connsiteX646" fmla="*/ 139700 w 268289"/>
              <a:gd name="connsiteY646" fmla="*/ 1281112 h 1371698"/>
              <a:gd name="connsiteX647" fmla="*/ 135709 w 268289"/>
              <a:gd name="connsiteY647" fmla="*/ 1273130 h 1371698"/>
              <a:gd name="connsiteX648" fmla="*/ 127726 w 268289"/>
              <a:gd name="connsiteY648" fmla="*/ 1269139 h 1371698"/>
              <a:gd name="connsiteX649" fmla="*/ 125730 w 268289"/>
              <a:gd name="connsiteY649" fmla="*/ 1267144 h 1371698"/>
              <a:gd name="connsiteX650" fmla="*/ 119743 w 268289"/>
              <a:gd name="connsiteY650" fmla="*/ 1263153 h 1371698"/>
              <a:gd name="connsiteX651" fmla="*/ 117747 w 268289"/>
              <a:gd name="connsiteY651" fmla="*/ 1259162 h 1371698"/>
              <a:gd name="connsiteX652" fmla="*/ 113756 w 268289"/>
              <a:gd name="connsiteY652" fmla="*/ 1259162 h 1371698"/>
              <a:gd name="connsiteX653" fmla="*/ 109764 w 268289"/>
              <a:gd name="connsiteY653" fmla="*/ 1259162 h 1371698"/>
              <a:gd name="connsiteX654" fmla="*/ 107769 w 268289"/>
              <a:gd name="connsiteY654" fmla="*/ 1259162 h 1371698"/>
              <a:gd name="connsiteX655" fmla="*/ 105773 w 268289"/>
              <a:gd name="connsiteY655" fmla="*/ 1251180 h 1371698"/>
              <a:gd name="connsiteX656" fmla="*/ 95794 w 268289"/>
              <a:gd name="connsiteY656" fmla="*/ 1247189 h 1371698"/>
              <a:gd name="connsiteX657" fmla="*/ 91803 w 268289"/>
              <a:gd name="connsiteY657" fmla="*/ 1245193 h 1371698"/>
              <a:gd name="connsiteX658" fmla="*/ 95794 w 268289"/>
              <a:gd name="connsiteY658" fmla="*/ 1239207 h 1371698"/>
              <a:gd name="connsiteX659" fmla="*/ 103777 w 268289"/>
              <a:gd name="connsiteY659" fmla="*/ 1239207 h 1371698"/>
              <a:gd name="connsiteX660" fmla="*/ 105773 w 268289"/>
              <a:gd name="connsiteY660" fmla="*/ 1235216 h 1371698"/>
              <a:gd name="connsiteX661" fmla="*/ 109764 w 268289"/>
              <a:gd name="connsiteY661" fmla="*/ 1237211 h 1371698"/>
              <a:gd name="connsiteX662" fmla="*/ 113756 w 268289"/>
              <a:gd name="connsiteY662" fmla="*/ 1235216 h 1371698"/>
              <a:gd name="connsiteX663" fmla="*/ 117747 w 268289"/>
              <a:gd name="connsiteY663" fmla="*/ 1231225 h 1371698"/>
              <a:gd name="connsiteX664" fmla="*/ 123734 w 268289"/>
              <a:gd name="connsiteY664" fmla="*/ 1233220 h 1371698"/>
              <a:gd name="connsiteX665" fmla="*/ 129722 w 268289"/>
              <a:gd name="connsiteY665" fmla="*/ 1235216 h 1371698"/>
              <a:gd name="connsiteX666" fmla="*/ 131717 w 268289"/>
              <a:gd name="connsiteY666" fmla="*/ 1231225 h 1371698"/>
              <a:gd name="connsiteX667" fmla="*/ 129722 w 268289"/>
              <a:gd name="connsiteY667" fmla="*/ 1227234 h 1371698"/>
              <a:gd name="connsiteX668" fmla="*/ 117747 w 268289"/>
              <a:gd name="connsiteY668" fmla="*/ 1227234 h 1371698"/>
              <a:gd name="connsiteX669" fmla="*/ 113756 w 268289"/>
              <a:gd name="connsiteY669" fmla="*/ 1225238 h 1371698"/>
              <a:gd name="connsiteX670" fmla="*/ 109764 w 268289"/>
              <a:gd name="connsiteY670" fmla="*/ 1229229 h 1371698"/>
              <a:gd name="connsiteX671" fmla="*/ 105773 w 268289"/>
              <a:gd name="connsiteY671" fmla="*/ 1227234 h 1371698"/>
              <a:gd name="connsiteX672" fmla="*/ 107769 w 268289"/>
              <a:gd name="connsiteY672" fmla="*/ 1219252 h 1371698"/>
              <a:gd name="connsiteX673" fmla="*/ 109764 w 268289"/>
              <a:gd name="connsiteY673" fmla="*/ 1217256 h 1371698"/>
              <a:gd name="connsiteX674" fmla="*/ 107769 w 268289"/>
              <a:gd name="connsiteY674" fmla="*/ 1209274 h 1371698"/>
              <a:gd name="connsiteX675" fmla="*/ 105773 w 268289"/>
              <a:gd name="connsiteY675" fmla="*/ 1205283 h 1371698"/>
              <a:gd name="connsiteX676" fmla="*/ 107769 w 268289"/>
              <a:gd name="connsiteY676" fmla="*/ 1197301 h 1371698"/>
              <a:gd name="connsiteX677" fmla="*/ 103777 w 268289"/>
              <a:gd name="connsiteY677" fmla="*/ 1187324 h 1371698"/>
              <a:gd name="connsiteX678" fmla="*/ 95794 w 268289"/>
              <a:gd name="connsiteY678" fmla="*/ 1183333 h 1371698"/>
              <a:gd name="connsiteX679" fmla="*/ 87812 w 268289"/>
              <a:gd name="connsiteY679" fmla="*/ 1183333 h 1371698"/>
              <a:gd name="connsiteX680" fmla="*/ 89807 w 268289"/>
              <a:gd name="connsiteY680" fmla="*/ 1187324 h 1371698"/>
              <a:gd name="connsiteX681" fmla="*/ 95794 w 268289"/>
              <a:gd name="connsiteY681" fmla="*/ 1191315 h 1371698"/>
              <a:gd name="connsiteX682" fmla="*/ 95794 w 268289"/>
              <a:gd name="connsiteY682" fmla="*/ 1195306 h 1371698"/>
              <a:gd name="connsiteX683" fmla="*/ 91803 w 268289"/>
              <a:gd name="connsiteY683" fmla="*/ 1197301 h 1371698"/>
              <a:gd name="connsiteX684" fmla="*/ 95794 w 268289"/>
              <a:gd name="connsiteY684" fmla="*/ 1205283 h 1371698"/>
              <a:gd name="connsiteX685" fmla="*/ 89807 w 268289"/>
              <a:gd name="connsiteY685" fmla="*/ 1209274 h 1371698"/>
              <a:gd name="connsiteX686" fmla="*/ 81824 w 268289"/>
              <a:gd name="connsiteY686" fmla="*/ 1205283 h 1371698"/>
              <a:gd name="connsiteX687" fmla="*/ 77833 w 268289"/>
              <a:gd name="connsiteY687" fmla="*/ 1197301 h 1371698"/>
              <a:gd name="connsiteX688" fmla="*/ 75837 w 268289"/>
              <a:gd name="connsiteY688" fmla="*/ 1189319 h 1371698"/>
              <a:gd name="connsiteX689" fmla="*/ 69850 w 268289"/>
              <a:gd name="connsiteY689" fmla="*/ 1185328 h 1371698"/>
              <a:gd name="connsiteX690" fmla="*/ 67854 w 268289"/>
              <a:gd name="connsiteY690" fmla="*/ 1183333 h 1371698"/>
              <a:gd name="connsiteX691" fmla="*/ 69850 w 268289"/>
              <a:gd name="connsiteY691" fmla="*/ 1179342 h 1371698"/>
              <a:gd name="connsiteX692" fmla="*/ 65859 w 268289"/>
              <a:gd name="connsiteY692" fmla="*/ 1175351 h 1371698"/>
              <a:gd name="connsiteX693" fmla="*/ 59872 w 268289"/>
              <a:gd name="connsiteY693" fmla="*/ 1171360 h 1371698"/>
              <a:gd name="connsiteX694" fmla="*/ 63863 w 268289"/>
              <a:gd name="connsiteY694" fmla="*/ 1167369 h 1371698"/>
              <a:gd name="connsiteX695" fmla="*/ 69850 w 268289"/>
              <a:gd name="connsiteY695" fmla="*/ 1163378 h 1371698"/>
              <a:gd name="connsiteX696" fmla="*/ 65859 w 268289"/>
              <a:gd name="connsiteY696" fmla="*/ 1159387 h 1371698"/>
              <a:gd name="connsiteX697" fmla="*/ 61867 w 268289"/>
              <a:gd name="connsiteY697" fmla="*/ 1161382 h 1371698"/>
              <a:gd name="connsiteX698" fmla="*/ 57876 w 268289"/>
              <a:gd name="connsiteY698" fmla="*/ 1157391 h 1371698"/>
              <a:gd name="connsiteX699" fmla="*/ 55880 w 268289"/>
              <a:gd name="connsiteY699" fmla="*/ 1153400 h 1371698"/>
              <a:gd name="connsiteX700" fmla="*/ 59872 w 268289"/>
              <a:gd name="connsiteY700" fmla="*/ 1151405 h 1371698"/>
              <a:gd name="connsiteX701" fmla="*/ 57876 w 268289"/>
              <a:gd name="connsiteY701" fmla="*/ 1149409 h 1371698"/>
              <a:gd name="connsiteX702" fmla="*/ 49893 w 268289"/>
              <a:gd name="connsiteY702" fmla="*/ 1145418 h 1371698"/>
              <a:gd name="connsiteX703" fmla="*/ 43906 w 268289"/>
              <a:gd name="connsiteY703" fmla="*/ 1143423 h 1371698"/>
              <a:gd name="connsiteX704" fmla="*/ 39914 w 268289"/>
              <a:gd name="connsiteY704" fmla="*/ 1139432 h 1371698"/>
              <a:gd name="connsiteX705" fmla="*/ 43906 w 268289"/>
              <a:gd name="connsiteY705" fmla="*/ 1129454 h 1371698"/>
              <a:gd name="connsiteX706" fmla="*/ 45902 w 268289"/>
              <a:gd name="connsiteY706" fmla="*/ 1123468 h 1371698"/>
              <a:gd name="connsiteX707" fmla="*/ 47897 w 268289"/>
              <a:gd name="connsiteY707" fmla="*/ 1121472 h 1371698"/>
              <a:gd name="connsiteX708" fmla="*/ 45902 w 268289"/>
              <a:gd name="connsiteY708" fmla="*/ 1115486 h 1371698"/>
              <a:gd name="connsiteX709" fmla="*/ 43906 w 268289"/>
              <a:gd name="connsiteY709" fmla="*/ 1115486 h 1371698"/>
              <a:gd name="connsiteX710" fmla="*/ 45902 w 268289"/>
              <a:gd name="connsiteY710" fmla="*/ 1109499 h 1371698"/>
              <a:gd name="connsiteX711" fmla="*/ 43906 w 268289"/>
              <a:gd name="connsiteY711" fmla="*/ 1101517 h 1371698"/>
              <a:gd name="connsiteX712" fmla="*/ 43906 w 268289"/>
              <a:gd name="connsiteY712" fmla="*/ 1099522 h 1371698"/>
              <a:gd name="connsiteX713" fmla="*/ 43906 w 268289"/>
              <a:gd name="connsiteY713" fmla="*/ 1091540 h 1371698"/>
              <a:gd name="connsiteX714" fmla="*/ 41910 w 268289"/>
              <a:gd name="connsiteY714" fmla="*/ 1087549 h 1371698"/>
              <a:gd name="connsiteX715" fmla="*/ 39914 w 268289"/>
              <a:gd name="connsiteY715" fmla="*/ 1083558 h 1371698"/>
              <a:gd name="connsiteX716" fmla="*/ 39914 w 268289"/>
              <a:gd name="connsiteY716" fmla="*/ 1077571 h 1371698"/>
              <a:gd name="connsiteX717" fmla="*/ 41910 w 268289"/>
              <a:gd name="connsiteY717" fmla="*/ 1073580 h 1371698"/>
              <a:gd name="connsiteX718" fmla="*/ 47897 w 268289"/>
              <a:gd name="connsiteY718" fmla="*/ 1071585 h 1371698"/>
              <a:gd name="connsiteX719" fmla="*/ 51889 w 268289"/>
              <a:gd name="connsiteY719" fmla="*/ 1071585 h 1371698"/>
              <a:gd name="connsiteX720" fmla="*/ 49893 w 268289"/>
              <a:gd name="connsiteY720" fmla="*/ 1065598 h 1371698"/>
              <a:gd name="connsiteX721" fmla="*/ 41910 w 268289"/>
              <a:gd name="connsiteY721" fmla="*/ 1069589 h 1371698"/>
              <a:gd name="connsiteX722" fmla="*/ 37919 w 268289"/>
              <a:gd name="connsiteY722" fmla="*/ 1067594 h 1371698"/>
              <a:gd name="connsiteX723" fmla="*/ 33927 w 268289"/>
              <a:gd name="connsiteY723" fmla="*/ 1065598 h 1371698"/>
              <a:gd name="connsiteX724" fmla="*/ 31932 w 268289"/>
              <a:gd name="connsiteY724" fmla="*/ 1057616 h 1371698"/>
              <a:gd name="connsiteX725" fmla="*/ 33927 w 268289"/>
              <a:gd name="connsiteY725" fmla="*/ 1053625 h 1371698"/>
              <a:gd name="connsiteX726" fmla="*/ 35923 w 268289"/>
              <a:gd name="connsiteY726" fmla="*/ 1053625 h 1371698"/>
              <a:gd name="connsiteX727" fmla="*/ 39914 w 268289"/>
              <a:gd name="connsiteY727" fmla="*/ 1055621 h 1371698"/>
              <a:gd name="connsiteX728" fmla="*/ 37919 w 268289"/>
              <a:gd name="connsiteY728" fmla="*/ 1059612 h 1371698"/>
              <a:gd name="connsiteX729" fmla="*/ 43906 w 268289"/>
              <a:gd name="connsiteY729" fmla="*/ 1059612 h 1371698"/>
              <a:gd name="connsiteX730" fmla="*/ 47897 w 268289"/>
              <a:gd name="connsiteY730" fmla="*/ 1059612 h 1371698"/>
              <a:gd name="connsiteX731" fmla="*/ 49893 w 268289"/>
              <a:gd name="connsiteY731" fmla="*/ 1063603 h 1371698"/>
              <a:gd name="connsiteX732" fmla="*/ 53884 w 268289"/>
              <a:gd name="connsiteY732" fmla="*/ 1063603 h 1371698"/>
              <a:gd name="connsiteX733" fmla="*/ 55880 w 268289"/>
              <a:gd name="connsiteY733" fmla="*/ 1065598 h 1371698"/>
              <a:gd name="connsiteX734" fmla="*/ 61867 w 268289"/>
              <a:gd name="connsiteY734" fmla="*/ 1065598 h 1371698"/>
              <a:gd name="connsiteX735" fmla="*/ 63863 w 268289"/>
              <a:gd name="connsiteY735" fmla="*/ 1063603 h 1371698"/>
              <a:gd name="connsiteX736" fmla="*/ 59872 w 268289"/>
              <a:gd name="connsiteY736" fmla="*/ 1061607 h 1371698"/>
              <a:gd name="connsiteX737" fmla="*/ 57876 w 268289"/>
              <a:gd name="connsiteY737" fmla="*/ 1059612 h 1371698"/>
              <a:gd name="connsiteX738" fmla="*/ 55880 w 268289"/>
              <a:gd name="connsiteY738" fmla="*/ 1057616 h 1371698"/>
              <a:gd name="connsiteX739" fmla="*/ 53884 w 268289"/>
              <a:gd name="connsiteY739" fmla="*/ 1055621 h 1371698"/>
              <a:gd name="connsiteX740" fmla="*/ 59872 w 268289"/>
              <a:gd name="connsiteY740" fmla="*/ 1053625 h 1371698"/>
              <a:gd name="connsiteX741" fmla="*/ 61867 w 268289"/>
              <a:gd name="connsiteY741" fmla="*/ 1055621 h 1371698"/>
              <a:gd name="connsiteX742" fmla="*/ 61867 w 268289"/>
              <a:gd name="connsiteY742" fmla="*/ 1049634 h 1371698"/>
              <a:gd name="connsiteX743" fmla="*/ 57876 w 268289"/>
              <a:gd name="connsiteY743" fmla="*/ 1047639 h 1371698"/>
              <a:gd name="connsiteX744" fmla="*/ 51889 w 268289"/>
              <a:gd name="connsiteY744" fmla="*/ 1049634 h 1371698"/>
              <a:gd name="connsiteX745" fmla="*/ 45902 w 268289"/>
              <a:gd name="connsiteY745" fmla="*/ 1049634 h 1371698"/>
              <a:gd name="connsiteX746" fmla="*/ 39914 w 268289"/>
              <a:gd name="connsiteY746" fmla="*/ 1051630 h 1371698"/>
              <a:gd name="connsiteX747" fmla="*/ 33927 w 268289"/>
              <a:gd name="connsiteY747" fmla="*/ 1047639 h 1371698"/>
              <a:gd name="connsiteX748" fmla="*/ 29936 w 268289"/>
              <a:gd name="connsiteY748" fmla="*/ 1045643 h 1371698"/>
              <a:gd name="connsiteX749" fmla="*/ 27940 w 268289"/>
              <a:gd name="connsiteY749" fmla="*/ 1043648 h 1371698"/>
              <a:gd name="connsiteX750" fmla="*/ 29936 w 268289"/>
              <a:gd name="connsiteY750" fmla="*/ 1041652 h 1371698"/>
              <a:gd name="connsiteX751" fmla="*/ 37919 w 268289"/>
              <a:gd name="connsiteY751" fmla="*/ 1039657 h 1371698"/>
              <a:gd name="connsiteX752" fmla="*/ 39914 w 268289"/>
              <a:gd name="connsiteY752" fmla="*/ 1039657 h 1371698"/>
              <a:gd name="connsiteX753" fmla="*/ 39914 w 268289"/>
              <a:gd name="connsiteY753" fmla="*/ 1035666 h 1371698"/>
              <a:gd name="connsiteX754" fmla="*/ 31932 w 268289"/>
              <a:gd name="connsiteY754" fmla="*/ 1033670 h 1371698"/>
              <a:gd name="connsiteX755" fmla="*/ 27940 w 268289"/>
              <a:gd name="connsiteY755" fmla="*/ 1027684 h 1371698"/>
              <a:gd name="connsiteX756" fmla="*/ 27940 w 268289"/>
              <a:gd name="connsiteY756" fmla="*/ 1021697 h 1371698"/>
              <a:gd name="connsiteX757" fmla="*/ 31932 w 268289"/>
              <a:gd name="connsiteY757" fmla="*/ 1021697 h 1371698"/>
              <a:gd name="connsiteX758" fmla="*/ 31932 w 268289"/>
              <a:gd name="connsiteY758" fmla="*/ 1025688 h 1371698"/>
              <a:gd name="connsiteX759" fmla="*/ 35923 w 268289"/>
              <a:gd name="connsiteY759" fmla="*/ 1027684 h 1371698"/>
              <a:gd name="connsiteX760" fmla="*/ 37919 w 268289"/>
              <a:gd name="connsiteY760" fmla="*/ 1025688 h 1371698"/>
              <a:gd name="connsiteX761" fmla="*/ 37919 w 268289"/>
              <a:gd name="connsiteY761" fmla="*/ 1021697 h 1371698"/>
              <a:gd name="connsiteX762" fmla="*/ 41910 w 268289"/>
              <a:gd name="connsiteY762" fmla="*/ 1021697 h 1371698"/>
              <a:gd name="connsiteX763" fmla="*/ 43906 w 268289"/>
              <a:gd name="connsiteY763" fmla="*/ 1021697 h 1371698"/>
              <a:gd name="connsiteX764" fmla="*/ 45902 w 268289"/>
              <a:gd name="connsiteY764" fmla="*/ 1019702 h 1371698"/>
              <a:gd name="connsiteX765" fmla="*/ 41910 w 268289"/>
              <a:gd name="connsiteY765" fmla="*/ 1017706 h 1371698"/>
              <a:gd name="connsiteX766" fmla="*/ 41910 w 268289"/>
              <a:gd name="connsiteY766" fmla="*/ 1015711 h 1371698"/>
              <a:gd name="connsiteX767" fmla="*/ 39914 w 268289"/>
              <a:gd name="connsiteY767" fmla="*/ 1013715 h 1371698"/>
              <a:gd name="connsiteX768" fmla="*/ 39914 w 268289"/>
              <a:gd name="connsiteY768" fmla="*/ 1009724 h 1371698"/>
              <a:gd name="connsiteX769" fmla="*/ 35923 w 268289"/>
              <a:gd name="connsiteY769" fmla="*/ 1009724 h 1371698"/>
              <a:gd name="connsiteX770" fmla="*/ 35923 w 268289"/>
              <a:gd name="connsiteY770" fmla="*/ 1007729 h 1371698"/>
              <a:gd name="connsiteX771" fmla="*/ 31932 w 268289"/>
              <a:gd name="connsiteY771" fmla="*/ 1005733 h 1371698"/>
              <a:gd name="connsiteX772" fmla="*/ 25944 w 268289"/>
              <a:gd name="connsiteY772" fmla="*/ 1007729 h 1371698"/>
              <a:gd name="connsiteX773" fmla="*/ 23949 w 268289"/>
              <a:gd name="connsiteY773" fmla="*/ 1011720 h 1371698"/>
              <a:gd name="connsiteX774" fmla="*/ 19957 w 268289"/>
              <a:gd name="connsiteY774" fmla="*/ 1011720 h 1371698"/>
              <a:gd name="connsiteX775" fmla="*/ 17962 w 268289"/>
              <a:gd name="connsiteY775" fmla="*/ 1003738 h 1371698"/>
              <a:gd name="connsiteX776" fmla="*/ 11974 w 268289"/>
              <a:gd name="connsiteY776" fmla="*/ 1001742 h 1371698"/>
              <a:gd name="connsiteX777" fmla="*/ 5987 w 268289"/>
              <a:gd name="connsiteY777" fmla="*/ 1003738 h 1371698"/>
              <a:gd name="connsiteX778" fmla="*/ 7983 w 268289"/>
              <a:gd name="connsiteY778" fmla="*/ 1011720 h 1371698"/>
              <a:gd name="connsiteX779" fmla="*/ 9979 w 268289"/>
              <a:gd name="connsiteY779" fmla="*/ 1017706 h 1371698"/>
              <a:gd name="connsiteX780" fmla="*/ 5987 w 268289"/>
              <a:gd name="connsiteY780" fmla="*/ 1017706 h 1371698"/>
              <a:gd name="connsiteX781" fmla="*/ 0 w 268289"/>
              <a:gd name="connsiteY781" fmla="*/ 1009724 h 1371698"/>
              <a:gd name="connsiteX782" fmla="*/ 1996 w 268289"/>
              <a:gd name="connsiteY782" fmla="*/ 1001742 h 1371698"/>
              <a:gd name="connsiteX783" fmla="*/ 9979 w 268289"/>
              <a:gd name="connsiteY783" fmla="*/ 993760 h 1371698"/>
              <a:gd name="connsiteX784" fmla="*/ 15966 w 268289"/>
              <a:gd name="connsiteY784" fmla="*/ 991764 h 1371698"/>
              <a:gd name="connsiteX785" fmla="*/ 15966 w 268289"/>
              <a:gd name="connsiteY785" fmla="*/ 983782 h 1371698"/>
              <a:gd name="connsiteX786" fmla="*/ 13970 w 268289"/>
              <a:gd name="connsiteY786" fmla="*/ 975800 h 1371698"/>
              <a:gd name="connsiteX787" fmla="*/ 17962 w 268289"/>
              <a:gd name="connsiteY787" fmla="*/ 977796 h 1371698"/>
              <a:gd name="connsiteX788" fmla="*/ 23949 w 268289"/>
              <a:gd name="connsiteY788" fmla="*/ 977796 h 1371698"/>
              <a:gd name="connsiteX789" fmla="*/ 27940 w 268289"/>
              <a:gd name="connsiteY789" fmla="*/ 979791 h 1371698"/>
              <a:gd name="connsiteX790" fmla="*/ 29936 w 268289"/>
              <a:gd name="connsiteY790" fmla="*/ 983782 h 1371698"/>
              <a:gd name="connsiteX791" fmla="*/ 33927 w 268289"/>
              <a:gd name="connsiteY791" fmla="*/ 985778 h 1371698"/>
              <a:gd name="connsiteX792" fmla="*/ 35923 w 268289"/>
              <a:gd name="connsiteY792" fmla="*/ 987773 h 1371698"/>
              <a:gd name="connsiteX793" fmla="*/ 35923 w 268289"/>
              <a:gd name="connsiteY793" fmla="*/ 991764 h 1371698"/>
              <a:gd name="connsiteX794" fmla="*/ 35923 w 268289"/>
              <a:gd name="connsiteY794" fmla="*/ 993760 h 1371698"/>
              <a:gd name="connsiteX795" fmla="*/ 37919 w 268289"/>
              <a:gd name="connsiteY795" fmla="*/ 997751 h 1371698"/>
              <a:gd name="connsiteX796" fmla="*/ 41910 w 268289"/>
              <a:gd name="connsiteY796" fmla="*/ 993760 h 1371698"/>
              <a:gd name="connsiteX797" fmla="*/ 41910 w 268289"/>
              <a:gd name="connsiteY797" fmla="*/ 985778 h 1371698"/>
              <a:gd name="connsiteX798" fmla="*/ 43906 w 268289"/>
              <a:gd name="connsiteY798" fmla="*/ 983782 h 1371698"/>
              <a:gd name="connsiteX799" fmla="*/ 45902 w 268289"/>
              <a:gd name="connsiteY799" fmla="*/ 987773 h 1371698"/>
              <a:gd name="connsiteX800" fmla="*/ 43906 w 268289"/>
              <a:gd name="connsiteY800" fmla="*/ 997751 h 1371698"/>
              <a:gd name="connsiteX801" fmla="*/ 39914 w 268289"/>
              <a:gd name="connsiteY801" fmla="*/ 1005733 h 1371698"/>
              <a:gd name="connsiteX802" fmla="*/ 45902 w 268289"/>
              <a:gd name="connsiteY802" fmla="*/ 1005733 h 1371698"/>
              <a:gd name="connsiteX803" fmla="*/ 47897 w 268289"/>
              <a:gd name="connsiteY803" fmla="*/ 997751 h 1371698"/>
              <a:gd name="connsiteX804" fmla="*/ 49893 w 268289"/>
              <a:gd name="connsiteY804" fmla="*/ 989769 h 1371698"/>
              <a:gd name="connsiteX805" fmla="*/ 53884 w 268289"/>
              <a:gd name="connsiteY805" fmla="*/ 987773 h 1371698"/>
              <a:gd name="connsiteX806" fmla="*/ 51889 w 268289"/>
              <a:gd name="connsiteY806" fmla="*/ 977796 h 1371698"/>
              <a:gd name="connsiteX807" fmla="*/ 47897 w 268289"/>
              <a:gd name="connsiteY807" fmla="*/ 977796 h 1371698"/>
              <a:gd name="connsiteX808" fmla="*/ 51889 w 268289"/>
              <a:gd name="connsiteY808" fmla="*/ 965823 h 1371698"/>
              <a:gd name="connsiteX809" fmla="*/ 55880 w 268289"/>
              <a:gd name="connsiteY809" fmla="*/ 963827 h 1371698"/>
              <a:gd name="connsiteX810" fmla="*/ 59872 w 268289"/>
              <a:gd name="connsiteY810" fmla="*/ 963827 h 1371698"/>
              <a:gd name="connsiteX811" fmla="*/ 57876 w 268289"/>
              <a:gd name="connsiteY811" fmla="*/ 959836 h 1371698"/>
              <a:gd name="connsiteX812" fmla="*/ 51889 w 268289"/>
              <a:gd name="connsiteY812" fmla="*/ 959836 h 1371698"/>
              <a:gd name="connsiteX813" fmla="*/ 51889 w 268289"/>
              <a:gd name="connsiteY813" fmla="*/ 951854 h 1371698"/>
              <a:gd name="connsiteX814" fmla="*/ 53884 w 268289"/>
              <a:gd name="connsiteY814" fmla="*/ 945868 h 1371698"/>
              <a:gd name="connsiteX815" fmla="*/ 49893 w 268289"/>
              <a:gd name="connsiteY815" fmla="*/ 941877 h 1371698"/>
              <a:gd name="connsiteX816" fmla="*/ 49893 w 268289"/>
              <a:gd name="connsiteY816" fmla="*/ 933895 h 1371698"/>
              <a:gd name="connsiteX817" fmla="*/ 47897 w 268289"/>
              <a:gd name="connsiteY817" fmla="*/ 931899 h 1371698"/>
              <a:gd name="connsiteX818" fmla="*/ 49893 w 268289"/>
              <a:gd name="connsiteY818" fmla="*/ 925913 h 1371698"/>
              <a:gd name="connsiteX819" fmla="*/ 51889 w 268289"/>
              <a:gd name="connsiteY819" fmla="*/ 923917 h 1371698"/>
              <a:gd name="connsiteX820" fmla="*/ 55880 w 268289"/>
              <a:gd name="connsiteY820" fmla="*/ 925913 h 1371698"/>
              <a:gd name="connsiteX821" fmla="*/ 57876 w 268289"/>
              <a:gd name="connsiteY821" fmla="*/ 925913 h 1371698"/>
              <a:gd name="connsiteX822" fmla="*/ 61867 w 268289"/>
              <a:gd name="connsiteY822" fmla="*/ 927908 h 1371698"/>
              <a:gd name="connsiteX823" fmla="*/ 67854 w 268289"/>
              <a:gd name="connsiteY823" fmla="*/ 927908 h 1371698"/>
              <a:gd name="connsiteX824" fmla="*/ 65859 w 268289"/>
              <a:gd name="connsiteY824" fmla="*/ 921922 h 1371698"/>
              <a:gd name="connsiteX825" fmla="*/ 59872 w 268289"/>
              <a:gd name="connsiteY825" fmla="*/ 921922 h 1371698"/>
              <a:gd name="connsiteX826" fmla="*/ 55880 w 268289"/>
              <a:gd name="connsiteY826" fmla="*/ 917931 h 1371698"/>
              <a:gd name="connsiteX827" fmla="*/ 51889 w 268289"/>
              <a:gd name="connsiteY827" fmla="*/ 917931 h 1371698"/>
              <a:gd name="connsiteX828" fmla="*/ 49893 w 268289"/>
              <a:gd name="connsiteY828" fmla="*/ 913940 h 1371698"/>
              <a:gd name="connsiteX829" fmla="*/ 51889 w 268289"/>
              <a:gd name="connsiteY829" fmla="*/ 911944 h 1371698"/>
              <a:gd name="connsiteX830" fmla="*/ 55880 w 268289"/>
              <a:gd name="connsiteY830" fmla="*/ 905958 h 1371698"/>
              <a:gd name="connsiteX831" fmla="*/ 55880 w 268289"/>
              <a:gd name="connsiteY831" fmla="*/ 899971 h 1371698"/>
              <a:gd name="connsiteX832" fmla="*/ 53884 w 268289"/>
              <a:gd name="connsiteY832" fmla="*/ 895980 h 1371698"/>
              <a:gd name="connsiteX833" fmla="*/ 51889 w 268289"/>
              <a:gd name="connsiteY833" fmla="*/ 891989 h 1371698"/>
              <a:gd name="connsiteX834" fmla="*/ 55880 w 268289"/>
              <a:gd name="connsiteY834" fmla="*/ 882012 h 1371698"/>
              <a:gd name="connsiteX835" fmla="*/ 53884 w 268289"/>
              <a:gd name="connsiteY835" fmla="*/ 876025 h 1371698"/>
              <a:gd name="connsiteX836" fmla="*/ 53884 w 268289"/>
              <a:gd name="connsiteY836" fmla="*/ 872034 h 1371698"/>
              <a:gd name="connsiteX837" fmla="*/ 57876 w 268289"/>
              <a:gd name="connsiteY837" fmla="*/ 872034 h 1371698"/>
              <a:gd name="connsiteX838" fmla="*/ 55880 w 268289"/>
              <a:gd name="connsiteY838" fmla="*/ 868043 h 1371698"/>
              <a:gd name="connsiteX839" fmla="*/ 51889 w 268289"/>
              <a:gd name="connsiteY839" fmla="*/ 866048 h 1371698"/>
              <a:gd name="connsiteX840" fmla="*/ 53884 w 268289"/>
              <a:gd name="connsiteY840" fmla="*/ 860061 h 1371698"/>
              <a:gd name="connsiteX841" fmla="*/ 55880 w 268289"/>
              <a:gd name="connsiteY841" fmla="*/ 858066 h 1371698"/>
              <a:gd name="connsiteX842" fmla="*/ 59872 w 268289"/>
              <a:gd name="connsiteY842" fmla="*/ 858066 h 1371698"/>
              <a:gd name="connsiteX843" fmla="*/ 57876 w 268289"/>
              <a:gd name="connsiteY843" fmla="*/ 854075 h 1371698"/>
              <a:gd name="connsiteX844" fmla="*/ 53884 w 268289"/>
              <a:gd name="connsiteY844" fmla="*/ 850084 h 1371698"/>
              <a:gd name="connsiteX845" fmla="*/ 57876 w 268289"/>
              <a:gd name="connsiteY845" fmla="*/ 848088 h 1371698"/>
              <a:gd name="connsiteX846" fmla="*/ 59872 w 268289"/>
              <a:gd name="connsiteY846" fmla="*/ 850084 h 1371698"/>
              <a:gd name="connsiteX847" fmla="*/ 61867 w 268289"/>
              <a:gd name="connsiteY847" fmla="*/ 846093 h 1371698"/>
              <a:gd name="connsiteX848" fmla="*/ 61867 w 268289"/>
              <a:gd name="connsiteY848" fmla="*/ 838111 h 1371698"/>
              <a:gd name="connsiteX849" fmla="*/ 55880 w 268289"/>
              <a:gd name="connsiteY849" fmla="*/ 840106 h 1371698"/>
              <a:gd name="connsiteX850" fmla="*/ 51889 w 268289"/>
              <a:gd name="connsiteY850" fmla="*/ 834120 h 1371698"/>
              <a:gd name="connsiteX851" fmla="*/ 55880 w 268289"/>
              <a:gd name="connsiteY851" fmla="*/ 828133 h 1371698"/>
              <a:gd name="connsiteX852" fmla="*/ 61867 w 268289"/>
              <a:gd name="connsiteY852" fmla="*/ 826138 h 1371698"/>
              <a:gd name="connsiteX853" fmla="*/ 63863 w 268289"/>
              <a:gd name="connsiteY853" fmla="*/ 818156 h 1371698"/>
              <a:gd name="connsiteX854" fmla="*/ 61867 w 268289"/>
              <a:gd name="connsiteY854" fmla="*/ 818156 h 1371698"/>
              <a:gd name="connsiteX855" fmla="*/ 57876 w 268289"/>
              <a:gd name="connsiteY855" fmla="*/ 822147 h 1371698"/>
              <a:gd name="connsiteX856" fmla="*/ 49893 w 268289"/>
              <a:gd name="connsiteY856" fmla="*/ 824142 h 1371698"/>
              <a:gd name="connsiteX857" fmla="*/ 47897 w 268289"/>
              <a:gd name="connsiteY857" fmla="*/ 820151 h 1371698"/>
              <a:gd name="connsiteX858" fmla="*/ 43906 w 268289"/>
              <a:gd name="connsiteY858" fmla="*/ 822147 h 1371698"/>
              <a:gd name="connsiteX859" fmla="*/ 39914 w 268289"/>
              <a:gd name="connsiteY859" fmla="*/ 826138 h 1371698"/>
              <a:gd name="connsiteX860" fmla="*/ 33927 w 268289"/>
              <a:gd name="connsiteY860" fmla="*/ 826138 h 1371698"/>
              <a:gd name="connsiteX861" fmla="*/ 29936 w 268289"/>
              <a:gd name="connsiteY861" fmla="*/ 828133 h 1371698"/>
              <a:gd name="connsiteX862" fmla="*/ 25944 w 268289"/>
              <a:gd name="connsiteY862" fmla="*/ 824142 h 1371698"/>
              <a:gd name="connsiteX863" fmla="*/ 23949 w 268289"/>
              <a:gd name="connsiteY863" fmla="*/ 822147 h 1371698"/>
              <a:gd name="connsiteX864" fmla="*/ 21953 w 268289"/>
              <a:gd name="connsiteY864" fmla="*/ 814165 h 1371698"/>
              <a:gd name="connsiteX865" fmla="*/ 21953 w 268289"/>
              <a:gd name="connsiteY865" fmla="*/ 804187 h 1371698"/>
              <a:gd name="connsiteX866" fmla="*/ 21953 w 268289"/>
              <a:gd name="connsiteY866" fmla="*/ 794210 h 1371698"/>
              <a:gd name="connsiteX867" fmla="*/ 19957 w 268289"/>
              <a:gd name="connsiteY867" fmla="*/ 790219 h 1371698"/>
              <a:gd name="connsiteX868" fmla="*/ 19957 w 268289"/>
              <a:gd name="connsiteY868" fmla="*/ 782237 h 1371698"/>
              <a:gd name="connsiteX869" fmla="*/ 21953 w 268289"/>
              <a:gd name="connsiteY869" fmla="*/ 780241 h 1371698"/>
              <a:gd name="connsiteX870" fmla="*/ 19957 w 268289"/>
              <a:gd name="connsiteY870" fmla="*/ 778246 h 1371698"/>
              <a:gd name="connsiteX871" fmla="*/ 19957 w 268289"/>
              <a:gd name="connsiteY871" fmla="*/ 766273 h 1371698"/>
              <a:gd name="connsiteX872" fmla="*/ 25944 w 268289"/>
              <a:gd name="connsiteY872" fmla="*/ 752304 h 1371698"/>
              <a:gd name="connsiteX873" fmla="*/ 25944 w 268289"/>
              <a:gd name="connsiteY873" fmla="*/ 732349 h 1371698"/>
              <a:gd name="connsiteX874" fmla="*/ 23949 w 268289"/>
              <a:gd name="connsiteY874" fmla="*/ 716385 h 1371698"/>
              <a:gd name="connsiteX875" fmla="*/ 19957 w 268289"/>
              <a:gd name="connsiteY875" fmla="*/ 708403 h 1371698"/>
              <a:gd name="connsiteX876" fmla="*/ 17962 w 268289"/>
              <a:gd name="connsiteY876" fmla="*/ 700421 h 1371698"/>
              <a:gd name="connsiteX877" fmla="*/ 15966 w 268289"/>
              <a:gd name="connsiteY877" fmla="*/ 694435 h 1371698"/>
              <a:gd name="connsiteX878" fmla="*/ 9979 w 268289"/>
              <a:gd name="connsiteY878" fmla="*/ 686453 h 1371698"/>
              <a:gd name="connsiteX879" fmla="*/ 9979 w 268289"/>
              <a:gd name="connsiteY879" fmla="*/ 676475 h 1371698"/>
              <a:gd name="connsiteX880" fmla="*/ 13970 w 268289"/>
              <a:gd name="connsiteY880" fmla="*/ 670489 h 1371698"/>
              <a:gd name="connsiteX881" fmla="*/ 15966 w 268289"/>
              <a:gd name="connsiteY881" fmla="*/ 670489 h 1371698"/>
              <a:gd name="connsiteX882" fmla="*/ 19957 w 268289"/>
              <a:gd name="connsiteY882" fmla="*/ 668493 h 1371698"/>
              <a:gd name="connsiteX883" fmla="*/ 21953 w 268289"/>
              <a:gd name="connsiteY883" fmla="*/ 660511 h 1371698"/>
              <a:gd name="connsiteX884" fmla="*/ 21953 w 268289"/>
              <a:gd name="connsiteY884" fmla="*/ 654525 h 1371698"/>
              <a:gd name="connsiteX885" fmla="*/ 23949 w 268289"/>
              <a:gd name="connsiteY885" fmla="*/ 650534 h 1371698"/>
              <a:gd name="connsiteX886" fmla="*/ 25944 w 268289"/>
              <a:gd name="connsiteY886" fmla="*/ 648538 h 1371698"/>
              <a:gd name="connsiteX887" fmla="*/ 27940 w 268289"/>
              <a:gd name="connsiteY887" fmla="*/ 640556 h 1371698"/>
              <a:gd name="connsiteX888" fmla="*/ 27940 w 268289"/>
              <a:gd name="connsiteY888" fmla="*/ 628583 h 1371698"/>
              <a:gd name="connsiteX889" fmla="*/ 27940 w 268289"/>
              <a:gd name="connsiteY889" fmla="*/ 614615 h 1371698"/>
              <a:gd name="connsiteX890" fmla="*/ 29936 w 268289"/>
              <a:gd name="connsiteY890" fmla="*/ 608628 h 1371698"/>
              <a:gd name="connsiteX891" fmla="*/ 31932 w 268289"/>
              <a:gd name="connsiteY891" fmla="*/ 606633 h 1371698"/>
              <a:gd name="connsiteX892" fmla="*/ 35923 w 268289"/>
              <a:gd name="connsiteY892" fmla="*/ 598651 h 1371698"/>
              <a:gd name="connsiteX893" fmla="*/ 35923 w 268289"/>
              <a:gd name="connsiteY893" fmla="*/ 590669 h 1371698"/>
              <a:gd name="connsiteX894" fmla="*/ 37919 w 268289"/>
              <a:gd name="connsiteY894" fmla="*/ 582687 h 1371698"/>
              <a:gd name="connsiteX895" fmla="*/ 43906 w 268289"/>
              <a:gd name="connsiteY895" fmla="*/ 574705 h 1371698"/>
              <a:gd name="connsiteX896" fmla="*/ 43906 w 268289"/>
              <a:gd name="connsiteY896" fmla="*/ 566723 h 1371698"/>
              <a:gd name="connsiteX897" fmla="*/ 41910 w 268289"/>
              <a:gd name="connsiteY897" fmla="*/ 560736 h 1371698"/>
              <a:gd name="connsiteX898" fmla="*/ 45902 w 268289"/>
              <a:gd name="connsiteY898" fmla="*/ 552754 h 1371698"/>
              <a:gd name="connsiteX899" fmla="*/ 45902 w 268289"/>
              <a:gd name="connsiteY899" fmla="*/ 532799 h 1371698"/>
              <a:gd name="connsiteX900" fmla="*/ 47897 w 268289"/>
              <a:gd name="connsiteY900" fmla="*/ 520826 h 1371698"/>
              <a:gd name="connsiteX901" fmla="*/ 49893 w 268289"/>
              <a:gd name="connsiteY901" fmla="*/ 514840 h 1371698"/>
              <a:gd name="connsiteX902" fmla="*/ 51889 w 268289"/>
              <a:gd name="connsiteY902" fmla="*/ 512844 h 1371698"/>
              <a:gd name="connsiteX903" fmla="*/ 49893 w 268289"/>
              <a:gd name="connsiteY903" fmla="*/ 502867 h 1371698"/>
              <a:gd name="connsiteX904" fmla="*/ 43906 w 268289"/>
              <a:gd name="connsiteY904" fmla="*/ 496880 h 1371698"/>
              <a:gd name="connsiteX905" fmla="*/ 45902 w 268289"/>
              <a:gd name="connsiteY905" fmla="*/ 486903 h 1371698"/>
              <a:gd name="connsiteX906" fmla="*/ 45902 w 268289"/>
              <a:gd name="connsiteY906" fmla="*/ 474930 h 1371698"/>
              <a:gd name="connsiteX907" fmla="*/ 39914 w 268289"/>
              <a:gd name="connsiteY907" fmla="*/ 464952 h 1371698"/>
              <a:gd name="connsiteX908" fmla="*/ 37919 w 268289"/>
              <a:gd name="connsiteY908" fmla="*/ 450984 h 1371698"/>
              <a:gd name="connsiteX909" fmla="*/ 37919 w 268289"/>
              <a:gd name="connsiteY909" fmla="*/ 435020 h 1371698"/>
              <a:gd name="connsiteX910" fmla="*/ 43906 w 268289"/>
              <a:gd name="connsiteY910" fmla="*/ 427038 h 1371698"/>
              <a:gd name="connsiteX911" fmla="*/ 45902 w 268289"/>
              <a:gd name="connsiteY911" fmla="*/ 409078 h 1371698"/>
              <a:gd name="connsiteX912" fmla="*/ 43906 w 268289"/>
              <a:gd name="connsiteY912" fmla="*/ 401096 h 1371698"/>
              <a:gd name="connsiteX913" fmla="*/ 41910 w 268289"/>
              <a:gd name="connsiteY913" fmla="*/ 389123 h 1371698"/>
              <a:gd name="connsiteX914" fmla="*/ 41910 w 268289"/>
              <a:gd name="connsiteY914" fmla="*/ 379146 h 1371698"/>
              <a:gd name="connsiteX915" fmla="*/ 45902 w 268289"/>
              <a:gd name="connsiteY915" fmla="*/ 373159 h 1371698"/>
              <a:gd name="connsiteX916" fmla="*/ 47897 w 268289"/>
              <a:gd name="connsiteY916" fmla="*/ 349213 h 1371698"/>
              <a:gd name="connsiteX917" fmla="*/ 53884 w 268289"/>
              <a:gd name="connsiteY917" fmla="*/ 343227 h 1371698"/>
              <a:gd name="connsiteX918" fmla="*/ 51889 w 268289"/>
              <a:gd name="connsiteY918" fmla="*/ 333249 h 1371698"/>
              <a:gd name="connsiteX919" fmla="*/ 55880 w 268289"/>
              <a:gd name="connsiteY919" fmla="*/ 331253 h 1371698"/>
              <a:gd name="connsiteX920" fmla="*/ 53884 w 268289"/>
              <a:gd name="connsiteY920" fmla="*/ 317285 h 1371698"/>
              <a:gd name="connsiteX921" fmla="*/ 53884 w 268289"/>
              <a:gd name="connsiteY921" fmla="*/ 311298 h 1371698"/>
              <a:gd name="connsiteX922" fmla="*/ 55880 w 268289"/>
              <a:gd name="connsiteY922" fmla="*/ 287352 h 1371698"/>
              <a:gd name="connsiteX923" fmla="*/ 57876 w 268289"/>
              <a:gd name="connsiteY923" fmla="*/ 271388 h 1371698"/>
              <a:gd name="connsiteX924" fmla="*/ 57876 w 268289"/>
              <a:gd name="connsiteY924" fmla="*/ 259415 h 1371698"/>
              <a:gd name="connsiteX925" fmla="*/ 53884 w 268289"/>
              <a:gd name="connsiteY925" fmla="*/ 241456 h 1371698"/>
              <a:gd name="connsiteX926" fmla="*/ 55880 w 268289"/>
              <a:gd name="connsiteY926" fmla="*/ 225492 h 1371698"/>
              <a:gd name="connsiteX927" fmla="*/ 53884 w 268289"/>
              <a:gd name="connsiteY927" fmla="*/ 217510 h 1371698"/>
              <a:gd name="connsiteX928" fmla="*/ 51889 w 268289"/>
              <a:gd name="connsiteY928" fmla="*/ 205537 h 1371698"/>
              <a:gd name="connsiteX929" fmla="*/ 53884 w 268289"/>
              <a:gd name="connsiteY929" fmla="*/ 197555 h 1371698"/>
              <a:gd name="connsiteX930" fmla="*/ 55880 w 268289"/>
              <a:gd name="connsiteY930" fmla="*/ 197555 h 1371698"/>
              <a:gd name="connsiteX931" fmla="*/ 57876 w 268289"/>
              <a:gd name="connsiteY931" fmla="*/ 187577 h 1371698"/>
              <a:gd name="connsiteX932" fmla="*/ 59872 w 268289"/>
              <a:gd name="connsiteY932" fmla="*/ 181591 h 1371698"/>
              <a:gd name="connsiteX933" fmla="*/ 57876 w 268289"/>
              <a:gd name="connsiteY933" fmla="*/ 169618 h 1371698"/>
              <a:gd name="connsiteX934" fmla="*/ 59872 w 268289"/>
              <a:gd name="connsiteY934" fmla="*/ 159640 h 1371698"/>
              <a:gd name="connsiteX935" fmla="*/ 63863 w 268289"/>
              <a:gd name="connsiteY935" fmla="*/ 151658 h 1371698"/>
              <a:gd name="connsiteX936" fmla="*/ 63863 w 268289"/>
              <a:gd name="connsiteY936" fmla="*/ 141681 h 1371698"/>
              <a:gd name="connsiteX937" fmla="*/ 57876 w 268289"/>
              <a:gd name="connsiteY937" fmla="*/ 127712 h 1371698"/>
              <a:gd name="connsiteX938" fmla="*/ 55880 w 268289"/>
              <a:gd name="connsiteY938" fmla="*/ 115739 h 1371698"/>
              <a:gd name="connsiteX939" fmla="*/ 57876 w 268289"/>
              <a:gd name="connsiteY939" fmla="*/ 97780 h 1371698"/>
              <a:gd name="connsiteX940" fmla="*/ 53884 w 268289"/>
              <a:gd name="connsiteY940" fmla="*/ 83811 h 1371698"/>
              <a:gd name="connsiteX941" fmla="*/ 49893 w 268289"/>
              <a:gd name="connsiteY941" fmla="*/ 75829 h 1371698"/>
              <a:gd name="connsiteX942" fmla="*/ 49893 w 268289"/>
              <a:gd name="connsiteY942" fmla="*/ 61861 h 1371698"/>
              <a:gd name="connsiteX943" fmla="*/ 47897 w 268289"/>
              <a:gd name="connsiteY943" fmla="*/ 49888 h 1371698"/>
              <a:gd name="connsiteX944" fmla="*/ 37919 w 268289"/>
              <a:gd name="connsiteY944" fmla="*/ 33924 h 1371698"/>
              <a:gd name="connsiteX945" fmla="*/ 33927 w 268289"/>
              <a:gd name="connsiteY945" fmla="*/ 29933 h 1371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Lst>
            <a:rect l="l" t="t" r="r" b="b"/>
            <a:pathLst>
              <a:path w="268289" h="1371698">
                <a:moveTo>
                  <a:pt x="247701" y="1350863"/>
                </a:moveTo>
                <a:cubicBezTo>
                  <a:pt x="249437" y="1350863"/>
                  <a:pt x="251421" y="1351359"/>
                  <a:pt x="252413" y="1353343"/>
                </a:cubicBezTo>
                <a:cubicBezTo>
                  <a:pt x="254398" y="1357312"/>
                  <a:pt x="252413" y="1357312"/>
                  <a:pt x="252413" y="1357312"/>
                </a:cubicBezTo>
                <a:cubicBezTo>
                  <a:pt x="252413" y="1357312"/>
                  <a:pt x="250429" y="1361280"/>
                  <a:pt x="252413" y="1361280"/>
                </a:cubicBezTo>
                <a:cubicBezTo>
                  <a:pt x="254398" y="1361280"/>
                  <a:pt x="256382" y="1359296"/>
                  <a:pt x="258367" y="1361280"/>
                </a:cubicBezTo>
                <a:cubicBezTo>
                  <a:pt x="260351" y="1361280"/>
                  <a:pt x="258367" y="1363265"/>
                  <a:pt x="256382" y="1365249"/>
                </a:cubicBezTo>
                <a:cubicBezTo>
                  <a:pt x="254398" y="1365249"/>
                  <a:pt x="254398" y="1365249"/>
                  <a:pt x="254398" y="1367233"/>
                </a:cubicBezTo>
                <a:cubicBezTo>
                  <a:pt x="256382" y="1369218"/>
                  <a:pt x="256382" y="1369218"/>
                  <a:pt x="256382" y="1369218"/>
                </a:cubicBezTo>
                <a:cubicBezTo>
                  <a:pt x="256382" y="1371202"/>
                  <a:pt x="254398" y="1371202"/>
                  <a:pt x="254398" y="1371202"/>
                </a:cubicBezTo>
                <a:cubicBezTo>
                  <a:pt x="254398" y="1371202"/>
                  <a:pt x="252413" y="1373186"/>
                  <a:pt x="252413" y="1369218"/>
                </a:cubicBezTo>
                <a:cubicBezTo>
                  <a:pt x="252413" y="1365249"/>
                  <a:pt x="248445" y="1365249"/>
                  <a:pt x="248445" y="1365249"/>
                </a:cubicBezTo>
                <a:cubicBezTo>
                  <a:pt x="246460" y="1365249"/>
                  <a:pt x="244476" y="1367233"/>
                  <a:pt x="244476" y="1367233"/>
                </a:cubicBezTo>
                <a:cubicBezTo>
                  <a:pt x="244476" y="1367233"/>
                  <a:pt x="238523" y="1369218"/>
                  <a:pt x="236538" y="1369218"/>
                </a:cubicBezTo>
                <a:cubicBezTo>
                  <a:pt x="236538" y="1367233"/>
                  <a:pt x="236538" y="1365249"/>
                  <a:pt x="236538" y="1365249"/>
                </a:cubicBezTo>
                <a:cubicBezTo>
                  <a:pt x="238523" y="1363265"/>
                  <a:pt x="240507" y="1365249"/>
                  <a:pt x="244476" y="1363265"/>
                </a:cubicBezTo>
                <a:cubicBezTo>
                  <a:pt x="246460" y="1361280"/>
                  <a:pt x="246460" y="1359296"/>
                  <a:pt x="244476" y="1357312"/>
                </a:cubicBezTo>
                <a:cubicBezTo>
                  <a:pt x="244476" y="1357312"/>
                  <a:pt x="242491" y="1357312"/>
                  <a:pt x="242491" y="1357312"/>
                </a:cubicBezTo>
                <a:cubicBezTo>
                  <a:pt x="242491" y="1357312"/>
                  <a:pt x="240507" y="1357312"/>
                  <a:pt x="240507" y="1353343"/>
                </a:cubicBezTo>
                <a:cubicBezTo>
                  <a:pt x="242491" y="1349374"/>
                  <a:pt x="244476" y="1351359"/>
                  <a:pt x="244476" y="1351359"/>
                </a:cubicBezTo>
                <a:cubicBezTo>
                  <a:pt x="244476" y="1351359"/>
                  <a:pt x="245964" y="1350863"/>
                  <a:pt x="247701" y="1350863"/>
                </a:cubicBezTo>
                <a:close/>
                <a:moveTo>
                  <a:pt x="189971" y="1347786"/>
                </a:moveTo>
                <a:cubicBezTo>
                  <a:pt x="189971" y="1347786"/>
                  <a:pt x="192088" y="1347786"/>
                  <a:pt x="192088" y="1349374"/>
                </a:cubicBezTo>
                <a:cubicBezTo>
                  <a:pt x="192088" y="1350961"/>
                  <a:pt x="189971" y="1350961"/>
                  <a:pt x="187855" y="1349374"/>
                </a:cubicBezTo>
                <a:cubicBezTo>
                  <a:pt x="185738" y="1347786"/>
                  <a:pt x="189971" y="1347786"/>
                  <a:pt x="189971" y="1347786"/>
                </a:cubicBezTo>
                <a:close/>
                <a:moveTo>
                  <a:pt x="182034" y="1343024"/>
                </a:moveTo>
                <a:cubicBezTo>
                  <a:pt x="182034" y="1343024"/>
                  <a:pt x="184151" y="1343024"/>
                  <a:pt x="184151" y="1345141"/>
                </a:cubicBezTo>
                <a:cubicBezTo>
                  <a:pt x="184151" y="1347258"/>
                  <a:pt x="179918" y="1349374"/>
                  <a:pt x="179918" y="1347258"/>
                </a:cubicBezTo>
                <a:cubicBezTo>
                  <a:pt x="177801" y="1345141"/>
                  <a:pt x="182034" y="1343024"/>
                  <a:pt x="182034" y="1343024"/>
                </a:cubicBezTo>
                <a:close/>
                <a:moveTo>
                  <a:pt x="253683" y="1336674"/>
                </a:moveTo>
                <a:cubicBezTo>
                  <a:pt x="253683" y="1336674"/>
                  <a:pt x="260351" y="1336674"/>
                  <a:pt x="260351" y="1338791"/>
                </a:cubicBezTo>
                <a:cubicBezTo>
                  <a:pt x="260351" y="1340908"/>
                  <a:pt x="251461" y="1343024"/>
                  <a:pt x="251461" y="1340908"/>
                </a:cubicBezTo>
                <a:cubicBezTo>
                  <a:pt x="249238" y="1336674"/>
                  <a:pt x="253683" y="1336674"/>
                  <a:pt x="253683" y="1336674"/>
                </a:cubicBezTo>
                <a:close/>
                <a:moveTo>
                  <a:pt x="262584" y="1334987"/>
                </a:moveTo>
                <a:cubicBezTo>
                  <a:pt x="263328" y="1334987"/>
                  <a:pt x="264320" y="1335483"/>
                  <a:pt x="264320" y="1335483"/>
                </a:cubicBezTo>
                <a:cubicBezTo>
                  <a:pt x="264320" y="1335483"/>
                  <a:pt x="268289" y="1335483"/>
                  <a:pt x="268289" y="1337468"/>
                </a:cubicBezTo>
                <a:cubicBezTo>
                  <a:pt x="268289" y="1339452"/>
                  <a:pt x="262336" y="1341436"/>
                  <a:pt x="262336" y="1337468"/>
                </a:cubicBezTo>
                <a:cubicBezTo>
                  <a:pt x="261343" y="1335483"/>
                  <a:pt x="261840" y="1334987"/>
                  <a:pt x="262584" y="1334987"/>
                </a:cubicBezTo>
                <a:close/>
                <a:moveTo>
                  <a:pt x="176214" y="1327149"/>
                </a:moveTo>
                <a:cubicBezTo>
                  <a:pt x="176214" y="1327149"/>
                  <a:pt x="177801" y="1327149"/>
                  <a:pt x="177801" y="1329530"/>
                </a:cubicBezTo>
                <a:cubicBezTo>
                  <a:pt x="179389" y="1331911"/>
                  <a:pt x="174626" y="1331911"/>
                  <a:pt x="174626" y="1329530"/>
                </a:cubicBezTo>
                <a:cubicBezTo>
                  <a:pt x="174626" y="1327149"/>
                  <a:pt x="176214" y="1327149"/>
                  <a:pt x="176214" y="1327149"/>
                </a:cubicBezTo>
                <a:close/>
                <a:moveTo>
                  <a:pt x="167959" y="1322784"/>
                </a:moveTo>
                <a:cubicBezTo>
                  <a:pt x="167959" y="1320799"/>
                  <a:pt x="172087" y="1322784"/>
                  <a:pt x="172087" y="1324768"/>
                </a:cubicBezTo>
                <a:cubicBezTo>
                  <a:pt x="172087" y="1326752"/>
                  <a:pt x="170023" y="1326752"/>
                  <a:pt x="170023" y="1326752"/>
                </a:cubicBezTo>
                <a:cubicBezTo>
                  <a:pt x="170023" y="1326752"/>
                  <a:pt x="167959" y="1326752"/>
                  <a:pt x="165895" y="1328737"/>
                </a:cubicBezTo>
                <a:cubicBezTo>
                  <a:pt x="165895" y="1330721"/>
                  <a:pt x="170023" y="1330721"/>
                  <a:pt x="172087" y="1330721"/>
                </a:cubicBezTo>
                <a:cubicBezTo>
                  <a:pt x="174150" y="1330721"/>
                  <a:pt x="176214" y="1332705"/>
                  <a:pt x="176214" y="1334690"/>
                </a:cubicBezTo>
                <a:cubicBezTo>
                  <a:pt x="174150" y="1336674"/>
                  <a:pt x="170023" y="1334690"/>
                  <a:pt x="167959" y="1334690"/>
                </a:cubicBezTo>
                <a:cubicBezTo>
                  <a:pt x="165895" y="1332705"/>
                  <a:pt x="163831" y="1334690"/>
                  <a:pt x="159704" y="1334690"/>
                </a:cubicBezTo>
                <a:cubicBezTo>
                  <a:pt x="155576" y="1332705"/>
                  <a:pt x="155576" y="1330721"/>
                  <a:pt x="157640" y="1326752"/>
                </a:cubicBezTo>
                <a:cubicBezTo>
                  <a:pt x="157640" y="1322784"/>
                  <a:pt x="163831" y="1326752"/>
                  <a:pt x="163831" y="1326752"/>
                </a:cubicBezTo>
                <a:cubicBezTo>
                  <a:pt x="163831" y="1326752"/>
                  <a:pt x="165895" y="1324768"/>
                  <a:pt x="167959" y="1322784"/>
                </a:cubicBezTo>
                <a:close/>
                <a:moveTo>
                  <a:pt x="150178" y="1320799"/>
                </a:moveTo>
                <a:cubicBezTo>
                  <a:pt x="150178" y="1320799"/>
                  <a:pt x="153988" y="1320799"/>
                  <a:pt x="153988" y="1322916"/>
                </a:cubicBezTo>
                <a:cubicBezTo>
                  <a:pt x="153988" y="1325033"/>
                  <a:pt x="150178" y="1327149"/>
                  <a:pt x="146368" y="1325033"/>
                </a:cubicBezTo>
                <a:cubicBezTo>
                  <a:pt x="144463" y="1320799"/>
                  <a:pt x="150178" y="1320799"/>
                  <a:pt x="150178" y="1320799"/>
                </a:cubicBezTo>
                <a:close/>
                <a:moveTo>
                  <a:pt x="133784" y="1303790"/>
                </a:moveTo>
                <a:cubicBezTo>
                  <a:pt x="133784" y="1303790"/>
                  <a:pt x="137824" y="1305604"/>
                  <a:pt x="139845" y="1307418"/>
                </a:cubicBezTo>
                <a:cubicBezTo>
                  <a:pt x="141865" y="1309233"/>
                  <a:pt x="141865" y="1307418"/>
                  <a:pt x="143886" y="1303790"/>
                </a:cubicBezTo>
                <a:cubicBezTo>
                  <a:pt x="145906" y="1300161"/>
                  <a:pt x="147927" y="1303790"/>
                  <a:pt x="147927" y="1305604"/>
                </a:cubicBezTo>
                <a:cubicBezTo>
                  <a:pt x="149947" y="1305604"/>
                  <a:pt x="151968" y="1307418"/>
                  <a:pt x="151968" y="1307418"/>
                </a:cubicBezTo>
                <a:cubicBezTo>
                  <a:pt x="153988" y="1309233"/>
                  <a:pt x="153988" y="1309233"/>
                  <a:pt x="153988" y="1311047"/>
                </a:cubicBezTo>
                <a:cubicBezTo>
                  <a:pt x="153988" y="1312861"/>
                  <a:pt x="151968" y="1311047"/>
                  <a:pt x="151968" y="1311047"/>
                </a:cubicBezTo>
                <a:cubicBezTo>
                  <a:pt x="151968" y="1311047"/>
                  <a:pt x="147927" y="1311047"/>
                  <a:pt x="145906" y="1311047"/>
                </a:cubicBezTo>
                <a:cubicBezTo>
                  <a:pt x="143886" y="1312861"/>
                  <a:pt x="141865" y="1311047"/>
                  <a:pt x="139845" y="1311047"/>
                </a:cubicBezTo>
                <a:cubicBezTo>
                  <a:pt x="137824" y="1311047"/>
                  <a:pt x="131763" y="1312861"/>
                  <a:pt x="131763" y="1309233"/>
                </a:cubicBezTo>
                <a:cubicBezTo>
                  <a:pt x="131763" y="1305604"/>
                  <a:pt x="133784" y="1303790"/>
                  <a:pt x="133784" y="1303790"/>
                </a:cubicBezTo>
                <a:close/>
                <a:moveTo>
                  <a:pt x="98278" y="1289347"/>
                </a:moveTo>
                <a:cubicBezTo>
                  <a:pt x="98526" y="1290504"/>
                  <a:pt x="98030" y="1292356"/>
                  <a:pt x="98030" y="1293282"/>
                </a:cubicBezTo>
                <a:cubicBezTo>
                  <a:pt x="98030" y="1296986"/>
                  <a:pt x="92076" y="1296986"/>
                  <a:pt x="92076" y="1293282"/>
                </a:cubicBezTo>
                <a:cubicBezTo>
                  <a:pt x="92076" y="1291430"/>
                  <a:pt x="94061" y="1289578"/>
                  <a:pt x="94061" y="1289578"/>
                </a:cubicBezTo>
                <a:cubicBezTo>
                  <a:pt x="97037" y="1287726"/>
                  <a:pt x="98030" y="1288189"/>
                  <a:pt x="98278" y="1289347"/>
                </a:cubicBezTo>
                <a:close/>
                <a:moveTo>
                  <a:pt x="133473" y="1283162"/>
                </a:moveTo>
                <a:cubicBezTo>
                  <a:pt x="134450" y="1284375"/>
                  <a:pt x="134938" y="1286315"/>
                  <a:pt x="135915" y="1287285"/>
                </a:cubicBezTo>
                <a:cubicBezTo>
                  <a:pt x="135915" y="1289225"/>
                  <a:pt x="137869" y="1287285"/>
                  <a:pt x="141777" y="1287285"/>
                </a:cubicBezTo>
                <a:cubicBezTo>
                  <a:pt x="145684" y="1289225"/>
                  <a:pt x="145684" y="1289225"/>
                  <a:pt x="147638" y="1293106"/>
                </a:cubicBezTo>
                <a:cubicBezTo>
                  <a:pt x="147638" y="1295046"/>
                  <a:pt x="141777" y="1295046"/>
                  <a:pt x="139823" y="1295046"/>
                </a:cubicBezTo>
                <a:cubicBezTo>
                  <a:pt x="137869" y="1295046"/>
                  <a:pt x="135915" y="1296986"/>
                  <a:pt x="133961" y="1296986"/>
                </a:cubicBezTo>
                <a:cubicBezTo>
                  <a:pt x="130054" y="1296986"/>
                  <a:pt x="130054" y="1295046"/>
                  <a:pt x="130054" y="1293106"/>
                </a:cubicBezTo>
                <a:cubicBezTo>
                  <a:pt x="126146" y="1289225"/>
                  <a:pt x="124192" y="1291166"/>
                  <a:pt x="122238" y="1287285"/>
                </a:cubicBezTo>
                <a:cubicBezTo>
                  <a:pt x="122238" y="1285345"/>
                  <a:pt x="128100" y="1283405"/>
                  <a:pt x="128100" y="1283405"/>
                </a:cubicBezTo>
                <a:cubicBezTo>
                  <a:pt x="131030" y="1281465"/>
                  <a:pt x="132496" y="1281950"/>
                  <a:pt x="133473" y="1283162"/>
                </a:cubicBezTo>
                <a:close/>
                <a:moveTo>
                  <a:pt x="159810" y="1273855"/>
                </a:moveTo>
                <a:cubicBezTo>
                  <a:pt x="163514" y="1269999"/>
                  <a:pt x="161662" y="1277710"/>
                  <a:pt x="161662" y="1277710"/>
                </a:cubicBezTo>
                <a:cubicBezTo>
                  <a:pt x="161662" y="1277710"/>
                  <a:pt x="161662" y="1277710"/>
                  <a:pt x="161662" y="1283493"/>
                </a:cubicBezTo>
                <a:cubicBezTo>
                  <a:pt x="161662" y="1283493"/>
                  <a:pt x="163514" y="1285420"/>
                  <a:pt x="163514" y="1287348"/>
                </a:cubicBezTo>
                <a:cubicBezTo>
                  <a:pt x="161662" y="1289276"/>
                  <a:pt x="161662" y="1287348"/>
                  <a:pt x="161662" y="1293131"/>
                </a:cubicBezTo>
                <a:cubicBezTo>
                  <a:pt x="161662" y="1296986"/>
                  <a:pt x="156105" y="1295059"/>
                  <a:pt x="154253" y="1295059"/>
                </a:cubicBezTo>
                <a:cubicBezTo>
                  <a:pt x="152401" y="1293131"/>
                  <a:pt x="154253" y="1291203"/>
                  <a:pt x="156105" y="1289276"/>
                </a:cubicBezTo>
                <a:cubicBezTo>
                  <a:pt x="157958" y="1289276"/>
                  <a:pt x="157958" y="1285420"/>
                  <a:pt x="157958" y="1285420"/>
                </a:cubicBezTo>
                <a:cubicBezTo>
                  <a:pt x="157958" y="1285420"/>
                  <a:pt x="156105" y="1281565"/>
                  <a:pt x="157958" y="1281565"/>
                </a:cubicBezTo>
                <a:cubicBezTo>
                  <a:pt x="157958" y="1281565"/>
                  <a:pt x="157958" y="1279637"/>
                  <a:pt x="157958" y="1277710"/>
                </a:cubicBezTo>
                <a:cubicBezTo>
                  <a:pt x="157958" y="1277710"/>
                  <a:pt x="159810" y="1273855"/>
                  <a:pt x="159810" y="1273855"/>
                </a:cubicBezTo>
                <a:close/>
                <a:moveTo>
                  <a:pt x="81829" y="1260941"/>
                </a:moveTo>
                <a:cubicBezTo>
                  <a:pt x="83849" y="1258886"/>
                  <a:pt x="85870" y="1262995"/>
                  <a:pt x="85870" y="1262995"/>
                </a:cubicBezTo>
                <a:cubicBezTo>
                  <a:pt x="85870" y="1262995"/>
                  <a:pt x="89911" y="1269158"/>
                  <a:pt x="93952" y="1267104"/>
                </a:cubicBezTo>
                <a:cubicBezTo>
                  <a:pt x="97993" y="1262995"/>
                  <a:pt x="97993" y="1262995"/>
                  <a:pt x="102034" y="1262995"/>
                </a:cubicBezTo>
                <a:cubicBezTo>
                  <a:pt x="106074" y="1265049"/>
                  <a:pt x="108095" y="1265049"/>
                  <a:pt x="108095" y="1267104"/>
                </a:cubicBezTo>
                <a:cubicBezTo>
                  <a:pt x="108095" y="1269158"/>
                  <a:pt x="110115" y="1269158"/>
                  <a:pt x="112136" y="1269158"/>
                </a:cubicBezTo>
                <a:cubicBezTo>
                  <a:pt x="114156" y="1269158"/>
                  <a:pt x="114156" y="1271213"/>
                  <a:pt x="114156" y="1273267"/>
                </a:cubicBezTo>
                <a:cubicBezTo>
                  <a:pt x="114156" y="1273267"/>
                  <a:pt x="114156" y="1275322"/>
                  <a:pt x="118197" y="1275322"/>
                </a:cubicBezTo>
                <a:cubicBezTo>
                  <a:pt x="120218" y="1275322"/>
                  <a:pt x="122238" y="1277376"/>
                  <a:pt x="122238" y="1279430"/>
                </a:cubicBezTo>
                <a:cubicBezTo>
                  <a:pt x="122238" y="1281485"/>
                  <a:pt x="120218" y="1281485"/>
                  <a:pt x="120218" y="1281485"/>
                </a:cubicBezTo>
                <a:cubicBezTo>
                  <a:pt x="120218" y="1281485"/>
                  <a:pt x="116177" y="1281485"/>
                  <a:pt x="116177" y="1285594"/>
                </a:cubicBezTo>
                <a:cubicBezTo>
                  <a:pt x="118197" y="1287648"/>
                  <a:pt x="120218" y="1291757"/>
                  <a:pt x="116177" y="1291757"/>
                </a:cubicBezTo>
                <a:cubicBezTo>
                  <a:pt x="116177" y="1291757"/>
                  <a:pt x="112136" y="1289702"/>
                  <a:pt x="112136" y="1289702"/>
                </a:cubicBezTo>
                <a:cubicBezTo>
                  <a:pt x="110115" y="1291757"/>
                  <a:pt x="106074" y="1293811"/>
                  <a:pt x="104054" y="1291757"/>
                </a:cubicBezTo>
                <a:cubicBezTo>
                  <a:pt x="102034" y="1289702"/>
                  <a:pt x="102034" y="1287648"/>
                  <a:pt x="102034" y="1287648"/>
                </a:cubicBezTo>
                <a:cubicBezTo>
                  <a:pt x="102034" y="1287648"/>
                  <a:pt x="97993" y="1289702"/>
                  <a:pt x="95972" y="1287648"/>
                </a:cubicBezTo>
                <a:cubicBezTo>
                  <a:pt x="93952" y="1287648"/>
                  <a:pt x="91931" y="1283539"/>
                  <a:pt x="93952" y="1281485"/>
                </a:cubicBezTo>
                <a:cubicBezTo>
                  <a:pt x="93952" y="1277376"/>
                  <a:pt x="95972" y="1277376"/>
                  <a:pt x="95972" y="1277376"/>
                </a:cubicBezTo>
                <a:cubicBezTo>
                  <a:pt x="95972" y="1275322"/>
                  <a:pt x="89911" y="1277376"/>
                  <a:pt x="89911" y="1273267"/>
                </a:cubicBezTo>
                <a:cubicBezTo>
                  <a:pt x="87890" y="1271213"/>
                  <a:pt x="85870" y="1269158"/>
                  <a:pt x="83849" y="1269158"/>
                </a:cubicBezTo>
                <a:cubicBezTo>
                  <a:pt x="81829" y="1265049"/>
                  <a:pt x="77788" y="1265049"/>
                  <a:pt x="81829" y="1260941"/>
                </a:cubicBezTo>
                <a:close/>
                <a:moveTo>
                  <a:pt x="86520" y="1237095"/>
                </a:moveTo>
                <a:cubicBezTo>
                  <a:pt x="86520" y="1241136"/>
                  <a:pt x="84535" y="1245177"/>
                  <a:pt x="84535" y="1247197"/>
                </a:cubicBezTo>
                <a:cubicBezTo>
                  <a:pt x="84535" y="1247197"/>
                  <a:pt x="88504" y="1249217"/>
                  <a:pt x="92473" y="1251238"/>
                </a:cubicBezTo>
                <a:cubicBezTo>
                  <a:pt x="94457" y="1251238"/>
                  <a:pt x="98426" y="1255279"/>
                  <a:pt x="96442" y="1255279"/>
                </a:cubicBezTo>
                <a:cubicBezTo>
                  <a:pt x="96442" y="1257299"/>
                  <a:pt x="94457" y="1257299"/>
                  <a:pt x="92473" y="1255279"/>
                </a:cubicBezTo>
                <a:cubicBezTo>
                  <a:pt x="90489" y="1255279"/>
                  <a:pt x="88504" y="1255279"/>
                  <a:pt x="86520" y="1255279"/>
                </a:cubicBezTo>
                <a:cubicBezTo>
                  <a:pt x="82551" y="1257299"/>
                  <a:pt x="82551" y="1255279"/>
                  <a:pt x="82551" y="1253258"/>
                </a:cubicBezTo>
                <a:cubicBezTo>
                  <a:pt x="82551" y="1251238"/>
                  <a:pt x="80567" y="1251238"/>
                  <a:pt x="76598" y="1251238"/>
                </a:cubicBezTo>
                <a:cubicBezTo>
                  <a:pt x="72629" y="1251238"/>
                  <a:pt x="72629" y="1249217"/>
                  <a:pt x="70645" y="1247197"/>
                </a:cubicBezTo>
                <a:cubicBezTo>
                  <a:pt x="66676" y="1247197"/>
                  <a:pt x="64691" y="1245177"/>
                  <a:pt x="62707" y="1243156"/>
                </a:cubicBezTo>
                <a:cubicBezTo>
                  <a:pt x="58738" y="1239115"/>
                  <a:pt x="62707" y="1239115"/>
                  <a:pt x="62707" y="1239115"/>
                </a:cubicBezTo>
                <a:cubicBezTo>
                  <a:pt x="62707" y="1239115"/>
                  <a:pt x="66676" y="1241136"/>
                  <a:pt x="70645" y="1241136"/>
                </a:cubicBezTo>
                <a:cubicBezTo>
                  <a:pt x="70645" y="1241136"/>
                  <a:pt x="74613" y="1243156"/>
                  <a:pt x="76598" y="1243156"/>
                </a:cubicBezTo>
                <a:cubicBezTo>
                  <a:pt x="78582" y="1245177"/>
                  <a:pt x="80567" y="1243156"/>
                  <a:pt x="78582" y="1241136"/>
                </a:cubicBezTo>
                <a:cubicBezTo>
                  <a:pt x="78582" y="1239115"/>
                  <a:pt x="84535" y="1235074"/>
                  <a:pt x="86520" y="1237095"/>
                </a:cubicBezTo>
                <a:close/>
                <a:moveTo>
                  <a:pt x="183913" y="1230311"/>
                </a:moveTo>
                <a:cubicBezTo>
                  <a:pt x="185937" y="1230311"/>
                  <a:pt x="183913" y="1232290"/>
                  <a:pt x="183913" y="1236246"/>
                </a:cubicBezTo>
                <a:cubicBezTo>
                  <a:pt x="183913" y="1236246"/>
                  <a:pt x="183913" y="1236246"/>
                  <a:pt x="187961" y="1238224"/>
                </a:cubicBezTo>
                <a:cubicBezTo>
                  <a:pt x="189985" y="1238224"/>
                  <a:pt x="192009" y="1238224"/>
                  <a:pt x="194034" y="1234268"/>
                </a:cubicBezTo>
                <a:cubicBezTo>
                  <a:pt x="198082" y="1230311"/>
                  <a:pt x="202130" y="1234268"/>
                  <a:pt x="202130" y="1234268"/>
                </a:cubicBezTo>
                <a:cubicBezTo>
                  <a:pt x="202130" y="1234268"/>
                  <a:pt x="202130" y="1248116"/>
                  <a:pt x="204154" y="1252072"/>
                </a:cubicBezTo>
                <a:cubicBezTo>
                  <a:pt x="204154" y="1254050"/>
                  <a:pt x="206178" y="1259985"/>
                  <a:pt x="206178" y="1261963"/>
                </a:cubicBezTo>
                <a:cubicBezTo>
                  <a:pt x="206178" y="1263942"/>
                  <a:pt x="208202" y="1283724"/>
                  <a:pt x="210226" y="1287681"/>
                </a:cubicBezTo>
                <a:cubicBezTo>
                  <a:pt x="212250" y="1291637"/>
                  <a:pt x="212250" y="1293616"/>
                  <a:pt x="212250" y="1293616"/>
                </a:cubicBezTo>
                <a:cubicBezTo>
                  <a:pt x="214274" y="1295594"/>
                  <a:pt x="214274" y="1319333"/>
                  <a:pt x="214274" y="1319333"/>
                </a:cubicBezTo>
                <a:cubicBezTo>
                  <a:pt x="214274" y="1319333"/>
                  <a:pt x="212250" y="1325268"/>
                  <a:pt x="212250" y="1327246"/>
                </a:cubicBezTo>
                <a:cubicBezTo>
                  <a:pt x="210226" y="1329224"/>
                  <a:pt x="208202" y="1331203"/>
                  <a:pt x="210226" y="1333181"/>
                </a:cubicBezTo>
                <a:cubicBezTo>
                  <a:pt x="212250" y="1335159"/>
                  <a:pt x="216298" y="1335159"/>
                  <a:pt x="218322" y="1335159"/>
                </a:cubicBezTo>
                <a:cubicBezTo>
                  <a:pt x="222371" y="1335159"/>
                  <a:pt x="222371" y="1337137"/>
                  <a:pt x="222371" y="1339116"/>
                </a:cubicBezTo>
                <a:cubicBezTo>
                  <a:pt x="220347" y="1341094"/>
                  <a:pt x="222371" y="1341094"/>
                  <a:pt x="222371" y="1341094"/>
                </a:cubicBezTo>
                <a:cubicBezTo>
                  <a:pt x="222371" y="1341094"/>
                  <a:pt x="226419" y="1345050"/>
                  <a:pt x="228443" y="1347029"/>
                </a:cubicBezTo>
                <a:cubicBezTo>
                  <a:pt x="230467" y="1349007"/>
                  <a:pt x="230467" y="1352963"/>
                  <a:pt x="232491" y="1354942"/>
                </a:cubicBezTo>
                <a:cubicBezTo>
                  <a:pt x="236539" y="1354942"/>
                  <a:pt x="234515" y="1356920"/>
                  <a:pt x="232491" y="1358898"/>
                </a:cubicBezTo>
                <a:cubicBezTo>
                  <a:pt x="230467" y="1358898"/>
                  <a:pt x="226419" y="1352963"/>
                  <a:pt x="226419" y="1350985"/>
                </a:cubicBezTo>
                <a:cubicBezTo>
                  <a:pt x="222371" y="1347029"/>
                  <a:pt x="216298" y="1349007"/>
                  <a:pt x="216298" y="1349007"/>
                </a:cubicBezTo>
                <a:cubicBezTo>
                  <a:pt x="216298" y="1349007"/>
                  <a:pt x="216298" y="1349007"/>
                  <a:pt x="214274" y="1349007"/>
                </a:cubicBezTo>
                <a:cubicBezTo>
                  <a:pt x="210226" y="1349007"/>
                  <a:pt x="210226" y="1345050"/>
                  <a:pt x="210226" y="1341094"/>
                </a:cubicBezTo>
                <a:cubicBezTo>
                  <a:pt x="210226" y="1339116"/>
                  <a:pt x="204154" y="1339116"/>
                  <a:pt x="204154" y="1339116"/>
                </a:cubicBezTo>
                <a:cubicBezTo>
                  <a:pt x="204154" y="1339116"/>
                  <a:pt x="198082" y="1337137"/>
                  <a:pt x="198082" y="1339116"/>
                </a:cubicBezTo>
                <a:cubicBezTo>
                  <a:pt x="198082" y="1341094"/>
                  <a:pt x="200106" y="1343072"/>
                  <a:pt x="202130" y="1345050"/>
                </a:cubicBezTo>
                <a:cubicBezTo>
                  <a:pt x="204154" y="1345050"/>
                  <a:pt x="206178" y="1350985"/>
                  <a:pt x="204154" y="1350985"/>
                </a:cubicBezTo>
                <a:cubicBezTo>
                  <a:pt x="202130" y="1352963"/>
                  <a:pt x="200106" y="1349007"/>
                  <a:pt x="198082" y="1347029"/>
                </a:cubicBezTo>
                <a:cubicBezTo>
                  <a:pt x="196058" y="1345050"/>
                  <a:pt x="192009" y="1345050"/>
                  <a:pt x="189985" y="1343072"/>
                </a:cubicBezTo>
                <a:cubicBezTo>
                  <a:pt x="187961" y="1341094"/>
                  <a:pt x="192009" y="1339116"/>
                  <a:pt x="192009" y="1337137"/>
                </a:cubicBezTo>
                <a:cubicBezTo>
                  <a:pt x="192009" y="1337137"/>
                  <a:pt x="187961" y="1339116"/>
                  <a:pt x="187961" y="1339116"/>
                </a:cubicBezTo>
                <a:cubicBezTo>
                  <a:pt x="187961" y="1339116"/>
                  <a:pt x="181889" y="1341094"/>
                  <a:pt x="179865" y="1337137"/>
                </a:cubicBezTo>
                <a:cubicBezTo>
                  <a:pt x="179865" y="1333181"/>
                  <a:pt x="187961" y="1331203"/>
                  <a:pt x="196058" y="1331203"/>
                </a:cubicBezTo>
                <a:cubicBezTo>
                  <a:pt x="202130" y="1331203"/>
                  <a:pt x="200106" y="1327246"/>
                  <a:pt x="200106" y="1325268"/>
                </a:cubicBezTo>
                <a:cubicBezTo>
                  <a:pt x="198082" y="1323290"/>
                  <a:pt x="192009" y="1325268"/>
                  <a:pt x="189985" y="1327246"/>
                </a:cubicBezTo>
                <a:cubicBezTo>
                  <a:pt x="187961" y="1329224"/>
                  <a:pt x="183913" y="1327246"/>
                  <a:pt x="179865" y="1323290"/>
                </a:cubicBezTo>
                <a:cubicBezTo>
                  <a:pt x="177841" y="1319333"/>
                  <a:pt x="171769" y="1319333"/>
                  <a:pt x="163672" y="1321311"/>
                </a:cubicBezTo>
                <a:cubicBezTo>
                  <a:pt x="157600" y="1323290"/>
                  <a:pt x="157600" y="1315376"/>
                  <a:pt x="157600" y="1313398"/>
                </a:cubicBezTo>
                <a:cubicBezTo>
                  <a:pt x="157600" y="1309442"/>
                  <a:pt x="157600" y="1305485"/>
                  <a:pt x="157600" y="1301529"/>
                </a:cubicBezTo>
                <a:cubicBezTo>
                  <a:pt x="155576" y="1297572"/>
                  <a:pt x="157600" y="1297572"/>
                  <a:pt x="159624" y="1297572"/>
                </a:cubicBezTo>
                <a:cubicBezTo>
                  <a:pt x="163672" y="1297572"/>
                  <a:pt x="165697" y="1305485"/>
                  <a:pt x="167721" y="1307463"/>
                </a:cubicBezTo>
                <a:cubicBezTo>
                  <a:pt x="167721" y="1309442"/>
                  <a:pt x="169745" y="1307463"/>
                  <a:pt x="169745" y="1307463"/>
                </a:cubicBezTo>
                <a:cubicBezTo>
                  <a:pt x="169745" y="1305485"/>
                  <a:pt x="171769" y="1303507"/>
                  <a:pt x="171769" y="1301529"/>
                </a:cubicBezTo>
                <a:cubicBezTo>
                  <a:pt x="173793" y="1299550"/>
                  <a:pt x="175817" y="1301529"/>
                  <a:pt x="175817" y="1303507"/>
                </a:cubicBezTo>
                <a:cubicBezTo>
                  <a:pt x="175817" y="1305485"/>
                  <a:pt x="177841" y="1305485"/>
                  <a:pt x="179865" y="1303507"/>
                </a:cubicBezTo>
                <a:cubicBezTo>
                  <a:pt x="179865" y="1303507"/>
                  <a:pt x="177841" y="1301529"/>
                  <a:pt x="181889" y="1299550"/>
                </a:cubicBezTo>
                <a:cubicBezTo>
                  <a:pt x="185937" y="1299550"/>
                  <a:pt x="183913" y="1299550"/>
                  <a:pt x="183913" y="1301529"/>
                </a:cubicBezTo>
                <a:cubicBezTo>
                  <a:pt x="183913" y="1303507"/>
                  <a:pt x="185937" y="1301529"/>
                  <a:pt x="189985" y="1301529"/>
                </a:cubicBezTo>
                <a:cubicBezTo>
                  <a:pt x="192009" y="1301529"/>
                  <a:pt x="192009" y="1303507"/>
                  <a:pt x="192009" y="1305485"/>
                </a:cubicBezTo>
                <a:cubicBezTo>
                  <a:pt x="192009" y="1309442"/>
                  <a:pt x="196058" y="1307463"/>
                  <a:pt x="196058" y="1303507"/>
                </a:cubicBezTo>
                <a:cubicBezTo>
                  <a:pt x="196058" y="1301529"/>
                  <a:pt x="196058" y="1301529"/>
                  <a:pt x="194034" y="1299550"/>
                </a:cubicBezTo>
                <a:cubicBezTo>
                  <a:pt x="192009" y="1297572"/>
                  <a:pt x="185937" y="1293616"/>
                  <a:pt x="183913" y="1293616"/>
                </a:cubicBezTo>
                <a:cubicBezTo>
                  <a:pt x="179865" y="1293616"/>
                  <a:pt x="169745" y="1285703"/>
                  <a:pt x="169745" y="1281746"/>
                </a:cubicBezTo>
                <a:cubicBezTo>
                  <a:pt x="167721" y="1279768"/>
                  <a:pt x="175817" y="1277790"/>
                  <a:pt x="177841" y="1277790"/>
                </a:cubicBezTo>
                <a:cubicBezTo>
                  <a:pt x="179865" y="1275811"/>
                  <a:pt x="183913" y="1273833"/>
                  <a:pt x="187961" y="1271855"/>
                </a:cubicBezTo>
                <a:cubicBezTo>
                  <a:pt x="189985" y="1269876"/>
                  <a:pt x="192009" y="1263942"/>
                  <a:pt x="192009" y="1263942"/>
                </a:cubicBezTo>
                <a:cubicBezTo>
                  <a:pt x="189985" y="1261963"/>
                  <a:pt x="179865" y="1261963"/>
                  <a:pt x="177841" y="1263942"/>
                </a:cubicBezTo>
                <a:cubicBezTo>
                  <a:pt x="175817" y="1265920"/>
                  <a:pt x="165697" y="1269876"/>
                  <a:pt x="163672" y="1263942"/>
                </a:cubicBezTo>
                <a:cubicBezTo>
                  <a:pt x="161648" y="1261963"/>
                  <a:pt x="159624" y="1254050"/>
                  <a:pt x="159624" y="1252072"/>
                </a:cubicBezTo>
                <a:cubicBezTo>
                  <a:pt x="161648" y="1248116"/>
                  <a:pt x="163672" y="1244159"/>
                  <a:pt x="161648" y="1242181"/>
                </a:cubicBezTo>
                <a:cubicBezTo>
                  <a:pt x="157600" y="1238224"/>
                  <a:pt x="161648" y="1238224"/>
                  <a:pt x="163672" y="1238224"/>
                </a:cubicBezTo>
                <a:cubicBezTo>
                  <a:pt x="165697" y="1238224"/>
                  <a:pt x="167721" y="1240203"/>
                  <a:pt x="167721" y="1240203"/>
                </a:cubicBezTo>
                <a:cubicBezTo>
                  <a:pt x="167721" y="1242181"/>
                  <a:pt x="171769" y="1242181"/>
                  <a:pt x="173793" y="1240203"/>
                </a:cubicBezTo>
                <a:cubicBezTo>
                  <a:pt x="175817" y="1240203"/>
                  <a:pt x="175817" y="1238224"/>
                  <a:pt x="175817" y="1234268"/>
                </a:cubicBezTo>
                <a:cubicBezTo>
                  <a:pt x="175817" y="1230311"/>
                  <a:pt x="179865" y="1230311"/>
                  <a:pt x="183913" y="1230311"/>
                </a:cubicBezTo>
                <a:close/>
                <a:moveTo>
                  <a:pt x="74296" y="1228043"/>
                </a:moveTo>
                <a:cubicBezTo>
                  <a:pt x="80964" y="1223961"/>
                  <a:pt x="78742" y="1230084"/>
                  <a:pt x="78742" y="1234166"/>
                </a:cubicBezTo>
                <a:cubicBezTo>
                  <a:pt x="76519" y="1238248"/>
                  <a:pt x="72074" y="1236207"/>
                  <a:pt x="72074" y="1232125"/>
                </a:cubicBezTo>
                <a:cubicBezTo>
                  <a:pt x="69851" y="1230084"/>
                  <a:pt x="74296" y="1228043"/>
                  <a:pt x="74296" y="1228043"/>
                </a:cubicBezTo>
                <a:close/>
                <a:moveTo>
                  <a:pt x="63501" y="1221183"/>
                </a:moveTo>
                <a:cubicBezTo>
                  <a:pt x="63501" y="1222374"/>
                  <a:pt x="62443" y="1224279"/>
                  <a:pt x="62443" y="1225231"/>
                </a:cubicBezTo>
                <a:cubicBezTo>
                  <a:pt x="60326" y="1227136"/>
                  <a:pt x="56093" y="1227136"/>
                  <a:pt x="56093" y="1225231"/>
                </a:cubicBezTo>
                <a:cubicBezTo>
                  <a:pt x="53976" y="1221421"/>
                  <a:pt x="58209" y="1221421"/>
                  <a:pt x="58209" y="1221421"/>
                </a:cubicBezTo>
                <a:cubicBezTo>
                  <a:pt x="62443" y="1219516"/>
                  <a:pt x="63501" y="1219993"/>
                  <a:pt x="63501" y="1221183"/>
                </a:cubicBezTo>
                <a:close/>
                <a:moveTo>
                  <a:pt x="66146" y="1213484"/>
                </a:moveTo>
                <a:cubicBezTo>
                  <a:pt x="66146" y="1215706"/>
                  <a:pt x="68263" y="1215706"/>
                  <a:pt x="68263" y="1215706"/>
                </a:cubicBezTo>
                <a:cubicBezTo>
                  <a:pt x="68263" y="1215706"/>
                  <a:pt x="74613" y="1213484"/>
                  <a:pt x="76730" y="1215706"/>
                </a:cubicBezTo>
                <a:cubicBezTo>
                  <a:pt x="78846" y="1217928"/>
                  <a:pt x="76730" y="1217928"/>
                  <a:pt x="78846" y="1220151"/>
                </a:cubicBezTo>
                <a:cubicBezTo>
                  <a:pt x="80963" y="1222373"/>
                  <a:pt x="76730" y="1222373"/>
                  <a:pt x="74613" y="1222373"/>
                </a:cubicBezTo>
                <a:cubicBezTo>
                  <a:pt x="72496" y="1220151"/>
                  <a:pt x="68263" y="1222373"/>
                  <a:pt x="66146" y="1222373"/>
                </a:cubicBezTo>
                <a:cubicBezTo>
                  <a:pt x="64030" y="1222373"/>
                  <a:pt x="64030" y="1220151"/>
                  <a:pt x="61913" y="1215706"/>
                </a:cubicBezTo>
                <a:cubicBezTo>
                  <a:pt x="61913" y="1211261"/>
                  <a:pt x="66146" y="1211261"/>
                  <a:pt x="66146" y="1213484"/>
                </a:cubicBezTo>
                <a:close/>
                <a:moveTo>
                  <a:pt x="81421" y="1211205"/>
                </a:moveTo>
                <a:cubicBezTo>
                  <a:pt x="82978" y="1211205"/>
                  <a:pt x="85054" y="1211715"/>
                  <a:pt x="86092" y="1211715"/>
                </a:cubicBezTo>
                <a:cubicBezTo>
                  <a:pt x="92320" y="1211715"/>
                  <a:pt x="94396" y="1213756"/>
                  <a:pt x="100624" y="1215797"/>
                </a:cubicBezTo>
                <a:cubicBezTo>
                  <a:pt x="104776" y="1217839"/>
                  <a:pt x="104776" y="1219880"/>
                  <a:pt x="102700" y="1223962"/>
                </a:cubicBezTo>
                <a:cubicBezTo>
                  <a:pt x="102700" y="1230085"/>
                  <a:pt x="104776" y="1230085"/>
                  <a:pt x="104776" y="1232126"/>
                </a:cubicBezTo>
                <a:cubicBezTo>
                  <a:pt x="104776" y="1234167"/>
                  <a:pt x="100624" y="1234167"/>
                  <a:pt x="98548" y="1236208"/>
                </a:cubicBezTo>
                <a:cubicBezTo>
                  <a:pt x="96472" y="1236208"/>
                  <a:pt x="92320" y="1238249"/>
                  <a:pt x="88168" y="1236208"/>
                </a:cubicBezTo>
                <a:cubicBezTo>
                  <a:pt x="86092" y="1236208"/>
                  <a:pt x="88168" y="1234167"/>
                  <a:pt x="90244" y="1232126"/>
                </a:cubicBezTo>
                <a:cubicBezTo>
                  <a:pt x="90244" y="1232126"/>
                  <a:pt x="86092" y="1232126"/>
                  <a:pt x="84016" y="1234167"/>
                </a:cubicBezTo>
                <a:cubicBezTo>
                  <a:pt x="81940" y="1234167"/>
                  <a:pt x="81940" y="1234167"/>
                  <a:pt x="81940" y="1232126"/>
                </a:cubicBezTo>
                <a:cubicBezTo>
                  <a:pt x="81940" y="1228044"/>
                  <a:pt x="84016" y="1228044"/>
                  <a:pt x="86092" y="1223962"/>
                </a:cubicBezTo>
                <a:cubicBezTo>
                  <a:pt x="86092" y="1221921"/>
                  <a:pt x="79864" y="1215797"/>
                  <a:pt x="79864" y="1215797"/>
                </a:cubicBezTo>
                <a:cubicBezTo>
                  <a:pt x="79864" y="1215797"/>
                  <a:pt x="79864" y="1213756"/>
                  <a:pt x="79864" y="1213756"/>
                </a:cubicBezTo>
                <a:cubicBezTo>
                  <a:pt x="78826" y="1211715"/>
                  <a:pt x="79864" y="1211205"/>
                  <a:pt x="81421" y="1211205"/>
                </a:cubicBezTo>
                <a:close/>
                <a:moveTo>
                  <a:pt x="68036" y="1204812"/>
                </a:moveTo>
                <a:cubicBezTo>
                  <a:pt x="69170" y="1204812"/>
                  <a:pt x="70531" y="1205308"/>
                  <a:pt x="70531" y="1205308"/>
                </a:cubicBezTo>
                <a:cubicBezTo>
                  <a:pt x="70531" y="1205308"/>
                  <a:pt x="74160" y="1205308"/>
                  <a:pt x="75974" y="1205308"/>
                </a:cubicBezTo>
                <a:cubicBezTo>
                  <a:pt x="77788" y="1207293"/>
                  <a:pt x="77788" y="1209277"/>
                  <a:pt x="75974" y="1209277"/>
                </a:cubicBezTo>
                <a:cubicBezTo>
                  <a:pt x="72345" y="1211261"/>
                  <a:pt x="70531" y="1211261"/>
                  <a:pt x="66902" y="1207293"/>
                </a:cubicBezTo>
                <a:cubicBezTo>
                  <a:pt x="65995" y="1205308"/>
                  <a:pt x="66902" y="1204812"/>
                  <a:pt x="68036" y="1204812"/>
                </a:cubicBezTo>
                <a:close/>
                <a:moveTo>
                  <a:pt x="58209" y="1195386"/>
                </a:moveTo>
                <a:cubicBezTo>
                  <a:pt x="58209" y="1195386"/>
                  <a:pt x="60326" y="1199620"/>
                  <a:pt x="60326" y="1199620"/>
                </a:cubicBezTo>
                <a:cubicBezTo>
                  <a:pt x="58209" y="1201736"/>
                  <a:pt x="56093" y="1199620"/>
                  <a:pt x="53976" y="1197503"/>
                </a:cubicBezTo>
                <a:cubicBezTo>
                  <a:pt x="53976" y="1195386"/>
                  <a:pt x="58209" y="1195386"/>
                  <a:pt x="58209" y="1195386"/>
                </a:cubicBezTo>
                <a:close/>
                <a:moveTo>
                  <a:pt x="46283" y="1194196"/>
                </a:moveTo>
                <a:cubicBezTo>
                  <a:pt x="50435" y="1194196"/>
                  <a:pt x="52511" y="1198164"/>
                  <a:pt x="52511" y="1200149"/>
                </a:cubicBezTo>
                <a:cubicBezTo>
                  <a:pt x="54587" y="1202133"/>
                  <a:pt x="56663" y="1202133"/>
                  <a:pt x="58739" y="1204117"/>
                </a:cubicBezTo>
                <a:cubicBezTo>
                  <a:pt x="58739" y="1206102"/>
                  <a:pt x="58739" y="1210070"/>
                  <a:pt x="56663" y="1210070"/>
                </a:cubicBezTo>
                <a:cubicBezTo>
                  <a:pt x="56663" y="1210070"/>
                  <a:pt x="54587" y="1210070"/>
                  <a:pt x="54587" y="1214039"/>
                </a:cubicBezTo>
                <a:cubicBezTo>
                  <a:pt x="54587" y="1216023"/>
                  <a:pt x="50435" y="1214039"/>
                  <a:pt x="50435" y="1214039"/>
                </a:cubicBezTo>
                <a:cubicBezTo>
                  <a:pt x="50435" y="1214039"/>
                  <a:pt x="48359" y="1212055"/>
                  <a:pt x="44207" y="1212055"/>
                </a:cubicBezTo>
                <a:cubicBezTo>
                  <a:pt x="42131" y="1210070"/>
                  <a:pt x="42131" y="1210070"/>
                  <a:pt x="42131" y="1206102"/>
                </a:cubicBezTo>
                <a:cubicBezTo>
                  <a:pt x="42131" y="1204117"/>
                  <a:pt x="40055" y="1206102"/>
                  <a:pt x="35903" y="1204117"/>
                </a:cubicBezTo>
                <a:cubicBezTo>
                  <a:pt x="31751" y="1200149"/>
                  <a:pt x="35903" y="1196180"/>
                  <a:pt x="35903" y="1196180"/>
                </a:cubicBezTo>
                <a:cubicBezTo>
                  <a:pt x="37979" y="1194196"/>
                  <a:pt x="44207" y="1192211"/>
                  <a:pt x="46283" y="1194196"/>
                </a:cubicBezTo>
                <a:close/>
                <a:moveTo>
                  <a:pt x="58738" y="1181532"/>
                </a:moveTo>
                <a:cubicBezTo>
                  <a:pt x="62442" y="1179511"/>
                  <a:pt x="62442" y="1183552"/>
                  <a:pt x="62442" y="1183552"/>
                </a:cubicBezTo>
                <a:cubicBezTo>
                  <a:pt x="62442" y="1183552"/>
                  <a:pt x="64295" y="1183552"/>
                  <a:pt x="66147" y="1185573"/>
                </a:cubicBezTo>
                <a:cubicBezTo>
                  <a:pt x="66147" y="1187593"/>
                  <a:pt x="66147" y="1189614"/>
                  <a:pt x="66147" y="1189614"/>
                </a:cubicBezTo>
                <a:cubicBezTo>
                  <a:pt x="67999" y="1189614"/>
                  <a:pt x="67999" y="1195675"/>
                  <a:pt x="67999" y="1195675"/>
                </a:cubicBezTo>
                <a:cubicBezTo>
                  <a:pt x="69851" y="1195675"/>
                  <a:pt x="69851" y="1197695"/>
                  <a:pt x="69851" y="1199716"/>
                </a:cubicBezTo>
                <a:cubicBezTo>
                  <a:pt x="69851" y="1201736"/>
                  <a:pt x="64295" y="1199716"/>
                  <a:pt x="62442" y="1197695"/>
                </a:cubicBezTo>
                <a:cubicBezTo>
                  <a:pt x="60590" y="1193654"/>
                  <a:pt x="60590" y="1191634"/>
                  <a:pt x="60590" y="1189614"/>
                </a:cubicBezTo>
                <a:cubicBezTo>
                  <a:pt x="62442" y="1187593"/>
                  <a:pt x="62442" y="1187593"/>
                  <a:pt x="60590" y="1185573"/>
                </a:cubicBezTo>
                <a:cubicBezTo>
                  <a:pt x="58738" y="1183552"/>
                  <a:pt x="58738" y="1181532"/>
                  <a:pt x="58738" y="1181532"/>
                </a:cubicBezTo>
                <a:close/>
                <a:moveTo>
                  <a:pt x="42070" y="1177924"/>
                </a:moveTo>
                <a:cubicBezTo>
                  <a:pt x="42070" y="1177924"/>
                  <a:pt x="48023" y="1177924"/>
                  <a:pt x="50007" y="1177924"/>
                </a:cubicBezTo>
                <a:cubicBezTo>
                  <a:pt x="53976" y="1179512"/>
                  <a:pt x="51992" y="1181099"/>
                  <a:pt x="50007" y="1181099"/>
                </a:cubicBezTo>
                <a:cubicBezTo>
                  <a:pt x="48023" y="1181099"/>
                  <a:pt x="42070" y="1181099"/>
                  <a:pt x="40086" y="1179512"/>
                </a:cubicBezTo>
                <a:cubicBezTo>
                  <a:pt x="38101" y="1177924"/>
                  <a:pt x="42070" y="1177924"/>
                  <a:pt x="42070" y="1177924"/>
                </a:cubicBezTo>
                <a:close/>
                <a:moveTo>
                  <a:pt x="38101" y="1157763"/>
                </a:moveTo>
                <a:cubicBezTo>
                  <a:pt x="44451" y="1155699"/>
                  <a:pt x="46568" y="1161890"/>
                  <a:pt x="48684" y="1161890"/>
                </a:cubicBezTo>
                <a:cubicBezTo>
                  <a:pt x="50801" y="1163954"/>
                  <a:pt x="50801" y="1166018"/>
                  <a:pt x="50801" y="1168081"/>
                </a:cubicBezTo>
                <a:cubicBezTo>
                  <a:pt x="48684" y="1170145"/>
                  <a:pt x="50801" y="1170145"/>
                  <a:pt x="52918" y="1170145"/>
                </a:cubicBezTo>
                <a:cubicBezTo>
                  <a:pt x="55034" y="1168081"/>
                  <a:pt x="57151" y="1170145"/>
                  <a:pt x="57151" y="1172209"/>
                </a:cubicBezTo>
                <a:cubicBezTo>
                  <a:pt x="57151" y="1172209"/>
                  <a:pt x="55034" y="1172209"/>
                  <a:pt x="50801" y="1174273"/>
                </a:cubicBezTo>
                <a:cubicBezTo>
                  <a:pt x="46568" y="1176336"/>
                  <a:pt x="46568" y="1176336"/>
                  <a:pt x="44451" y="1174273"/>
                </a:cubicBezTo>
                <a:cubicBezTo>
                  <a:pt x="40218" y="1172209"/>
                  <a:pt x="35984" y="1168081"/>
                  <a:pt x="33868" y="1161890"/>
                </a:cubicBezTo>
                <a:cubicBezTo>
                  <a:pt x="31751" y="1157763"/>
                  <a:pt x="38101" y="1157763"/>
                  <a:pt x="38101" y="1157763"/>
                </a:cubicBezTo>
                <a:close/>
                <a:moveTo>
                  <a:pt x="26195" y="1149349"/>
                </a:moveTo>
                <a:cubicBezTo>
                  <a:pt x="26195" y="1149349"/>
                  <a:pt x="26195" y="1149349"/>
                  <a:pt x="28047" y="1149349"/>
                </a:cubicBezTo>
                <a:cubicBezTo>
                  <a:pt x="29899" y="1151466"/>
                  <a:pt x="31751" y="1153583"/>
                  <a:pt x="29899" y="1153583"/>
                </a:cubicBezTo>
                <a:cubicBezTo>
                  <a:pt x="28047" y="1153583"/>
                  <a:pt x="28047" y="1157816"/>
                  <a:pt x="28047" y="1159933"/>
                </a:cubicBezTo>
                <a:cubicBezTo>
                  <a:pt x="28047" y="1162049"/>
                  <a:pt x="26195" y="1162049"/>
                  <a:pt x="24342" y="1162049"/>
                </a:cubicBezTo>
                <a:cubicBezTo>
                  <a:pt x="22490" y="1162049"/>
                  <a:pt x="22490" y="1159933"/>
                  <a:pt x="20638" y="1155699"/>
                </a:cubicBezTo>
                <a:cubicBezTo>
                  <a:pt x="20638" y="1149349"/>
                  <a:pt x="26195" y="1149349"/>
                  <a:pt x="26195" y="1149349"/>
                </a:cubicBezTo>
                <a:close/>
                <a:moveTo>
                  <a:pt x="40218" y="1146174"/>
                </a:moveTo>
                <a:cubicBezTo>
                  <a:pt x="40218" y="1146174"/>
                  <a:pt x="44451" y="1148026"/>
                  <a:pt x="46568" y="1149878"/>
                </a:cubicBezTo>
                <a:cubicBezTo>
                  <a:pt x="48684" y="1151730"/>
                  <a:pt x="50801" y="1153582"/>
                  <a:pt x="48684" y="1155434"/>
                </a:cubicBezTo>
                <a:cubicBezTo>
                  <a:pt x="48684" y="1157286"/>
                  <a:pt x="44451" y="1153582"/>
                  <a:pt x="40218" y="1149878"/>
                </a:cubicBezTo>
                <a:cubicBezTo>
                  <a:pt x="38101" y="1148026"/>
                  <a:pt x="40218" y="1146174"/>
                  <a:pt x="40218" y="1146174"/>
                </a:cubicBezTo>
                <a:close/>
                <a:moveTo>
                  <a:pt x="22490" y="1140141"/>
                </a:moveTo>
                <a:cubicBezTo>
                  <a:pt x="22490" y="1140141"/>
                  <a:pt x="22490" y="1138236"/>
                  <a:pt x="24342" y="1140141"/>
                </a:cubicBezTo>
                <a:cubicBezTo>
                  <a:pt x="28047" y="1140141"/>
                  <a:pt x="28047" y="1142046"/>
                  <a:pt x="29899" y="1145856"/>
                </a:cubicBezTo>
                <a:cubicBezTo>
                  <a:pt x="31751" y="1147761"/>
                  <a:pt x="28047" y="1145856"/>
                  <a:pt x="28047" y="1145856"/>
                </a:cubicBezTo>
                <a:cubicBezTo>
                  <a:pt x="28047" y="1145856"/>
                  <a:pt x="26195" y="1145856"/>
                  <a:pt x="24342" y="1145856"/>
                </a:cubicBezTo>
                <a:cubicBezTo>
                  <a:pt x="20638" y="1145856"/>
                  <a:pt x="22490" y="1140141"/>
                  <a:pt x="22490" y="1140141"/>
                </a:cubicBezTo>
                <a:close/>
                <a:moveTo>
                  <a:pt x="20638" y="1125536"/>
                </a:moveTo>
                <a:cubicBezTo>
                  <a:pt x="22543" y="1125536"/>
                  <a:pt x="24448" y="1127441"/>
                  <a:pt x="26353" y="1127441"/>
                </a:cubicBezTo>
                <a:cubicBezTo>
                  <a:pt x="28258" y="1129346"/>
                  <a:pt x="30163" y="1129346"/>
                  <a:pt x="30163" y="1131251"/>
                </a:cubicBezTo>
                <a:cubicBezTo>
                  <a:pt x="28258" y="1133156"/>
                  <a:pt x="26353" y="1133156"/>
                  <a:pt x="26353" y="1133156"/>
                </a:cubicBezTo>
                <a:cubicBezTo>
                  <a:pt x="24448" y="1135061"/>
                  <a:pt x="22543" y="1133156"/>
                  <a:pt x="24448" y="1133156"/>
                </a:cubicBezTo>
                <a:cubicBezTo>
                  <a:pt x="24448" y="1131251"/>
                  <a:pt x="22543" y="1127441"/>
                  <a:pt x="22543" y="1127441"/>
                </a:cubicBezTo>
                <a:cubicBezTo>
                  <a:pt x="22543" y="1127441"/>
                  <a:pt x="20638" y="1127441"/>
                  <a:pt x="20638" y="1125536"/>
                </a:cubicBezTo>
                <a:close/>
                <a:moveTo>
                  <a:pt x="20109" y="1104105"/>
                </a:moveTo>
                <a:cubicBezTo>
                  <a:pt x="24343" y="1100136"/>
                  <a:pt x="26459" y="1104105"/>
                  <a:pt x="24343" y="1106089"/>
                </a:cubicBezTo>
                <a:cubicBezTo>
                  <a:pt x="24343" y="1108074"/>
                  <a:pt x="24343" y="1110058"/>
                  <a:pt x="24343" y="1112042"/>
                </a:cubicBezTo>
                <a:cubicBezTo>
                  <a:pt x="26459" y="1114027"/>
                  <a:pt x="28576" y="1119980"/>
                  <a:pt x="26459" y="1119980"/>
                </a:cubicBezTo>
                <a:lnTo>
                  <a:pt x="18168" y="1119980"/>
                </a:lnTo>
                <a:lnTo>
                  <a:pt x="20638" y="1123314"/>
                </a:lnTo>
                <a:cubicBezTo>
                  <a:pt x="20638" y="1127124"/>
                  <a:pt x="14288" y="1123314"/>
                  <a:pt x="14288" y="1123314"/>
                </a:cubicBezTo>
                <a:cubicBezTo>
                  <a:pt x="14288" y="1119504"/>
                  <a:pt x="16405" y="1117599"/>
                  <a:pt x="16405" y="1117599"/>
                </a:cubicBezTo>
                <a:lnTo>
                  <a:pt x="18066" y="1119842"/>
                </a:lnTo>
                <a:lnTo>
                  <a:pt x="20109" y="1116011"/>
                </a:lnTo>
                <a:cubicBezTo>
                  <a:pt x="20109" y="1116011"/>
                  <a:pt x="20109" y="1116011"/>
                  <a:pt x="20109" y="1112042"/>
                </a:cubicBezTo>
                <a:cubicBezTo>
                  <a:pt x="20109" y="1110058"/>
                  <a:pt x="17993" y="1110058"/>
                  <a:pt x="17993" y="1110058"/>
                </a:cubicBezTo>
                <a:cubicBezTo>
                  <a:pt x="17993" y="1110058"/>
                  <a:pt x="15876" y="1106089"/>
                  <a:pt x="20109" y="1104105"/>
                </a:cubicBezTo>
                <a:close/>
                <a:moveTo>
                  <a:pt x="17199" y="1096614"/>
                </a:moveTo>
                <a:cubicBezTo>
                  <a:pt x="18521" y="1096366"/>
                  <a:pt x="19580" y="1096366"/>
                  <a:pt x="18521" y="1097358"/>
                </a:cubicBezTo>
                <a:cubicBezTo>
                  <a:pt x="18521" y="1099343"/>
                  <a:pt x="10055" y="1103311"/>
                  <a:pt x="10055" y="1101327"/>
                </a:cubicBezTo>
                <a:cubicBezTo>
                  <a:pt x="7938" y="1099343"/>
                  <a:pt x="14288" y="1097358"/>
                  <a:pt x="14288" y="1097358"/>
                </a:cubicBezTo>
                <a:cubicBezTo>
                  <a:pt x="14288" y="1097358"/>
                  <a:pt x="15876" y="1096862"/>
                  <a:pt x="17199" y="1096614"/>
                </a:cubicBezTo>
                <a:close/>
                <a:moveTo>
                  <a:pt x="24607" y="1093786"/>
                </a:moveTo>
                <a:cubicBezTo>
                  <a:pt x="24607" y="1093786"/>
                  <a:pt x="28576" y="1093786"/>
                  <a:pt x="26592" y="1095903"/>
                </a:cubicBezTo>
                <a:cubicBezTo>
                  <a:pt x="26592" y="1100136"/>
                  <a:pt x="22623" y="1100136"/>
                  <a:pt x="22623" y="1095903"/>
                </a:cubicBezTo>
                <a:cubicBezTo>
                  <a:pt x="20638" y="1093786"/>
                  <a:pt x="24607" y="1093786"/>
                  <a:pt x="24607" y="1093786"/>
                </a:cubicBezTo>
                <a:close/>
                <a:moveTo>
                  <a:pt x="19845" y="1089553"/>
                </a:moveTo>
                <a:cubicBezTo>
                  <a:pt x="23814" y="1087436"/>
                  <a:pt x="23814" y="1091670"/>
                  <a:pt x="23814" y="1091670"/>
                </a:cubicBezTo>
                <a:cubicBezTo>
                  <a:pt x="21830" y="1093786"/>
                  <a:pt x="17861" y="1093786"/>
                  <a:pt x="17861" y="1091670"/>
                </a:cubicBezTo>
                <a:cubicBezTo>
                  <a:pt x="15876" y="1089553"/>
                  <a:pt x="19845" y="1089553"/>
                  <a:pt x="19845" y="1089553"/>
                </a:cubicBezTo>
                <a:close/>
                <a:moveTo>
                  <a:pt x="26459" y="1075530"/>
                </a:moveTo>
                <a:cubicBezTo>
                  <a:pt x="28576" y="1073149"/>
                  <a:pt x="28576" y="1075530"/>
                  <a:pt x="28576" y="1077912"/>
                </a:cubicBezTo>
                <a:cubicBezTo>
                  <a:pt x="28576" y="1080293"/>
                  <a:pt x="26459" y="1082674"/>
                  <a:pt x="24343" y="1080293"/>
                </a:cubicBezTo>
                <a:cubicBezTo>
                  <a:pt x="22226" y="1075530"/>
                  <a:pt x="26459" y="1075530"/>
                  <a:pt x="26459" y="1075530"/>
                </a:cubicBezTo>
                <a:close/>
                <a:moveTo>
                  <a:pt x="30798" y="1067434"/>
                </a:moveTo>
                <a:cubicBezTo>
                  <a:pt x="32703" y="1065211"/>
                  <a:pt x="32703" y="1065211"/>
                  <a:pt x="32703" y="1069656"/>
                </a:cubicBezTo>
                <a:cubicBezTo>
                  <a:pt x="32703" y="1069656"/>
                  <a:pt x="32703" y="1071878"/>
                  <a:pt x="34608" y="1074101"/>
                </a:cubicBezTo>
                <a:cubicBezTo>
                  <a:pt x="36513" y="1074101"/>
                  <a:pt x="36513" y="1076323"/>
                  <a:pt x="32703" y="1076323"/>
                </a:cubicBezTo>
                <a:cubicBezTo>
                  <a:pt x="30798" y="1076323"/>
                  <a:pt x="28893" y="1076323"/>
                  <a:pt x="28893" y="1074101"/>
                </a:cubicBezTo>
                <a:cubicBezTo>
                  <a:pt x="26988" y="1069656"/>
                  <a:pt x="30798" y="1067434"/>
                  <a:pt x="30798" y="1067434"/>
                </a:cubicBezTo>
                <a:close/>
                <a:moveTo>
                  <a:pt x="21036" y="1062433"/>
                </a:moveTo>
                <a:cubicBezTo>
                  <a:pt x="21036" y="1062433"/>
                  <a:pt x="25005" y="1062433"/>
                  <a:pt x="26989" y="1064418"/>
                </a:cubicBezTo>
                <a:cubicBezTo>
                  <a:pt x="26989" y="1066402"/>
                  <a:pt x="26989" y="1066402"/>
                  <a:pt x="25005" y="1068386"/>
                </a:cubicBezTo>
                <a:cubicBezTo>
                  <a:pt x="21036" y="1068386"/>
                  <a:pt x="21036" y="1066402"/>
                  <a:pt x="21036" y="1064418"/>
                </a:cubicBezTo>
                <a:cubicBezTo>
                  <a:pt x="19051" y="1060449"/>
                  <a:pt x="21036" y="1062433"/>
                  <a:pt x="21036" y="1062433"/>
                </a:cubicBezTo>
                <a:close/>
                <a:moveTo>
                  <a:pt x="10055" y="1057274"/>
                </a:moveTo>
                <a:cubicBezTo>
                  <a:pt x="10055" y="1057274"/>
                  <a:pt x="10055" y="1057274"/>
                  <a:pt x="12171" y="1057274"/>
                </a:cubicBezTo>
                <a:cubicBezTo>
                  <a:pt x="14288" y="1057274"/>
                  <a:pt x="14288" y="1061296"/>
                  <a:pt x="14288" y="1065317"/>
                </a:cubicBezTo>
                <a:cubicBezTo>
                  <a:pt x="16405" y="1069339"/>
                  <a:pt x="18521" y="1069339"/>
                  <a:pt x="18521" y="1069339"/>
                </a:cubicBezTo>
                <a:cubicBezTo>
                  <a:pt x="18521" y="1069339"/>
                  <a:pt x="20638" y="1069339"/>
                  <a:pt x="20638" y="1071350"/>
                </a:cubicBezTo>
                <a:cubicBezTo>
                  <a:pt x="20638" y="1073361"/>
                  <a:pt x="18521" y="1079393"/>
                  <a:pt x="18521" y="1081404"/>
                </a:cubicBezTo>
                <a:cubicBezTo>
                  <a:pt x="18521" y="1083415"/>
                  <a:pt x="18521" y="1087436"/>
                  <a:pt x="14288" y="1085425"/>
                </a:cubicBezTo>
                <a:cubicBezTo>
                  <a:pt x="10055" y="1085425"/>
                  <a:pt x="12171" y="1081404"/>
                  <a:pt x="10055" y="1077382"/>
                </a:cubicBezTo>
                <a:cubicBezTo>
                  <a:pt x="10055" y="1075371"/>
                  <a:pt x="12171" y="1071350"/>
                  <a:pt x="12171" y="1069339"/>
                </a:cubicBezTo>
                <a:cubicBezTo>
                  <a:pt x="12171" y="1067328"/>
                  <a:pt x="10055" y="1065317"/>
                  <a:pt x="10055" y="1061296"/>
                </a:cubicBezTo>
                <a:cubicBezTo>
                  <a:pt x="7938" y="1059285"/>
                  <a:pt x="10055" y="1057274"/>
                  <a:pt x="10055" y="1057274"/>
                </a:cubicBezTo>
                <a:close/>
                <a:moveTo>
                  <a:pt x="20109" y="1048013"/>
                </a:moveTo>
                <a:cubicBezTo>
                  <a:pt x="22226" y="1048013"/>
                  <a:pt x="22226" y="1053569"/>
                  <a:pt x="22226" y="1053569"/>
                </a:cubicBezTo>
                <a:cubicBezTo>
                  <a:pt x="22226" y="1053569"/>
                  <a:pt x="20109" y="1057273"/>
                  <a:pt x="17993" y="1057273"/>
                </a:cubicBezTo>
                <a:cubicBezTo>
                  <a:pt x="15876" y="1055421"/>
                  <a:pt x="17993" y="1051717"/>
                  <a:pt x="17993" y="1051717"/>
                </a:cubicBezTo>
                <a:cubicBezTo>
                  <a:pt x="15876" y="1046161"/>
                  <a:pt x="17993" y="1048013"/>
                  <a:pt x="20109" y="1048013"/>
                </a:cubicBezTo>
                <a:close/>
                <a:moveTo>
                  <a:pt x="12701" y="1044574"/>
                </a:moveTo>
                <a:cubicBezTo>
                  <a:pt x="12701" y="1044574"/>
                  <a:pt x="15876" y="1046162"/>
                  <a:pt x="15876" y="1047749"/>
                </a:cubicBezTo>
                <a:cubicBezTo>
                  <a:pt x="14288" y="1049336"/>
                  <a:pt x="11113" y="1047749"/>
                  <a:pt x="11113" y="1046162"/>
                </a:cubicBezTo>
                <a:cubicBezTo>
                  <a:pt x="11113" y="1044574"/>
                  <a:pt x="12701" y="1044574"/>
                  <a:pt x="12701" y="1044574"/>
                </a:cubicBezTo>
                <a:close/>
                <a:moveTo>
                  <a:pt x="40218" y="973666"/>
                </a:moveTo>
                <a:cubicBezTo>
                  <a:pt x="44451" y="975783"/>
                  <a:pt x="42334" y="977899"/>
                  <a:pt x="42334" y="977899"/>
                </a:cubicBezTo>
                <a:cubicBezTo>
                  <a:pt x="40218" y="977899"/>
                  <a:pt x="40218" y="975783"/>
                  <a:pt x="40218" y="973666"/>
                </a:cubicBezTo>
                <a:close/>
                <a:moveTo>
                  <a:pt x="33984" y="973137"/>
                </a:moveTo>
                <a:cubicBezTo>
                  <a:pt x="34728" y="973137"/>
                  <a:pt x="35720" y="973666"/>
                  <a:pt x="35720" y="973666"/>
                </a:cubicBezTo>
                <a:cubicBezTo>
                  <a:pt x="35720" y="973666"/>
                  <a:pt x="39689" y="977899"/>
                  <a:pt x="37705" y="977899"/>
                </a:cubicBezTo>
                <a:cubicBezTo>
                  <a:pt x="35720" y="977899"/>
                  <a:pt x="33736" y="977899"/>
                  <a:pt x="33736" y="975783"/>
                </a:cubicBezTo>
                <a:cubicBezTo>
                  <a:pt x="32743" y="973666"/>
                  <a:pt x="33240" y="973137"/>
                  <a:pt x="33984" y="973137"/>
                </a:cubicBezTo>
                <a:close/>
                <a:moveTo>
                  <a:pt x="18370" y="963611"/>
                </a:moveTo>
                <a:cubicBezTo>
                  <a:pt x="18370" y="963611"/>
                  <a:pt x="20412" y="963611"/>
                  <a:pt x="22453" y="963611"/>
                </a:cubicBezTo>
                <a:cubicBezTo>
                  <a:pt x="24494" y="965595"/>
                  <a:pt x="26535" y="967580"/>
                  <a:pt x="28576" y="969564"/>
                </a:cubicBezTo>
                <a:cubicBezTo>
                  <a:pt x="28576" y="971548"/>
                  <a:pt x="26535" y="971548"/>
                  <a:pt x="22453" y="971548"/>
                </a:cubicBezTo>
                <a:cubicBezTo>
                  <a:pt x="20412" y="971548"/>
                  <a:pt x="18370" y="969564"/>
                  <a:pt x="16329" y="967580"/>
                </a:cubicBezTo>
                <a:cubicBezTo>
                  <a:pt x="14288" y="965595"/>
                  <a:pt x="18370" y="963611"/>
                  <a:pt x="18370" y="963611"/>
                </a:cubicBezTo>
                <a:close/>
                <a:moveTo>
                  <a:pt x="44451" y="962288"/>
                </a:moveTo>
                <a:cubicBezTo>
                  <a:pt x="49213" y="962288"/>
                  <a:pt x="49213" y="964140"/>
                  <a:pt x="49213" y="965992"/>
                </a:cubicBezTo>
                <a:cubicBezTo>
                  <a:pt x="49213" y="967844"/>
                  <a:pt x="46832" y="971548"/>
                  <a:pt x="46832" y="969696"/>
                </a:cubicBezTo>
                <a:cubicBezTo>
                  <a:pt x="44451" y="969696"/>
                  <a:pt x="39688" y="967844"/>
                  <a:pt x="42069" y="964140"/>
                </a:cubicBezTo>
                <a:cubicBezTo>
                  <a:pt x="42069" y="964140"/>
                  <a:pt x="42069" y="960436"/>
                  <a:pt x="44451" y="962288"/>
                </a:cubicBezTo>
                <a:close/>
                <a:moveTo>
                  <a:pt x="17993" y="954616"/>
                </a:moveTo>
                <a:cubicBezTo>
                  <a:pt x="17993" y="954616"/>
                  <a:pt x="22226" y="952499"/>
                  <a:pt x="22226" y="954616"/>
                </a:cubicBezTo>
                <a:cubicBezTo>
                  <a:pt x="22226" y="956733"/>
                  <a:pt x="22226" y="956733"/>
                  <a:pt x="20109" y="956733"/>
                </a:cubicBezTo>
                <a:cubicBezTo>
                  <a:pt x="15876" y="958849"/>
                  <a:pt x="17993" y="954616"/>
                  <a:pt x="17993" y="954616"/>
                </a:cubicBezTo>
                <a:close/>
                <a:moveTo>
                  <a:pt x="23813" y="952895"/>
                </a:moveTo>
                <a:cubicBezTo>
                  <a:pt x="25930" y="950911"/>
                  <a:pt x="30163" y="952895"/>
                  <a:pt x="30163" y="956864"/>
                </a:cubicBezTo>
                <a:cubicBezTo>
                  <a:pt x="30163" y="956864"/>
                  <a:pt x="28046" y="958848"/>
                  <a:pt x="25930" y="956864"/>
                </a:cubicBezTo>
                <a:cubicBezTo>
                  <a:pt x="23813" y="956864"/>
                  <a:pt x="23813" y="952895"/>
                  <a:pt x="23813" y="952895"/>
                </a:cubicBezTo>
                <a:close/>
                <a:moveTo>
                  <a:pt x="28802" y="948054"/>
                </a:moveTo>
                <a:cubicBezTo>
                  <a:pt x="28802" y="946149"/>
                  <a:pt x="32431" y="948054"/>
                  <a:pt x="34245" y="948054"/>
                </a:cubicBezTo>
                <a:cubicBezTo>
                  <a:pt x="37874" y="949959"/>
                  <a:pt x="39688" y="951864"/>
                  <a:pt x="37874" y="953769"/>
                </a:cubicBezTo>
                <a:cubicBezTo>
                  <a:pt x="37874" y="955674"/>
                  <a:pt x="36060" y="955674"/>
                  <a:pt x="36060" y="953769"/>
                </a:cubicBezTo>
                <a:cubicBezTo>
                  <a:pt x="34245" y="951864"/>
                  <a:pt x="32431" y="951864"/>
                  <a:pt x="28802" y="951864"/>
                </a:cubicBezTo>
                <a:cubicBezTo>
                  <a:pt x="26988" y="951864"/>
                  <a:pt x="28802" y="948054"/>
                  <a:pt x="28802" y="948054"/>
                </a:cubicBezTo>
                <a:close/>
                <a:moveTo>
                  <a:pt x="44451" y="938211"/>
                </a:moveTo>
                <a:cubicBezTo>
                  <a:pt x="44451" y="940195"/>
                  <a:pt x="44451" y="942180"/>
                  <a:pt x="42546" y="944164"/>
                </a:cubicBezTo>
                <a:cubicBezTo>
                  <a:pt x="40641" y="944164"/>
                  <a:pt x="34926" y="946148"/>
                  <a:pt x="34926" y="944164"/>
                </a:cubicBezTo>
                <a:cubicBezTo>
                  <a:pt x="34926" y="942180"/>
                  <a:pt x="34926" y="940195"/>
                  <a:pt x="36831" y="940195"/>
                </a:cubicBezTo>
                <a:cubicBezTo>
                  <a:pt x="38736" y="940195"/>
                  <a:pt x="40641" y="940195"/>
                  <a:pt x="40641" y="940195"/>
                </a:cubicBezTo>
                <a:cubicBezTo>
                  <a:pt x="40641" y="940195"/>
                  <a:pt x="42546" y="938211"/>
                  <a:pt x="44451" y="938211"/>
                </a:cubicBezTo>
                <a:close/>
                <a:moveTo>
                  <a:pt x="22679" y="938211"/>
                </a:moveTo>
                <a:cubicBezTo>
                  <a:pt x="22679" y="938211"/>
                  <a:pt x="26762" y="938211"/>
                  <a:pt x="28803" y="938211"/>
                </a:cubicBezTo>
                <a:cubicBezTo>
                  <a:pt x="32885" y="938211"/>
                  <a:pt x="34926" y="938211"/>
                  <a:pt x="34926" y="940195"/>
                </a:cubicBezTo>
                <a:cubicBezTo>
                  <a:pt x="34926" y="942180"/>
                  <a:pt x="30844" y="942180"/>
                  <a:pt x="30844" y="942180"/>
                </a:cubicBezTo>
                <a:cubicBezTo>
                  <a:pt x="30844" y="942180"/>
                  <a:pt x="26762" y="946148"/>
                  <a:pt x="24720" y="944164"/>
                </a:cubicBezTo>
                <a:cubicBezTo>
                  <a:pt x="22679" y="942180"/>
                  <a:pt x="20638" y="940195"/>
                  <a:pt x="22679" y="938211"/>
                </a:cubicBezTo>
                <a:close/>
                <a:moveTo>
                  <a:pt x="38630" y="933978"/>
                </a:moveTo>
                <a:cubicBezTo>
                  <a:pt x="40746" y="931861"/>
                  <a:pt x="42863" y="931861"/>
                  <a:pt x="42863" y="933978"/>
                </a:cubicBezTo>
                <a:cubicBezTo>
                  <a:pt x="42863" y="936095"/>
                  <a:pt x="42863" y="938211"/>
                  <a:pt x="38630" y="936095"/>
                </a:cubicBezTo>
                <a:cubicBezTo>
                  <a:pt x="36513" y="933978"/>
                  <a:pt x="38630" y="933978"/>
                  <a:pt x="38630" y="933978"/>
                </a:cubicBezTo>
                <a:close/>
                <a:moveTo>
                  <a:pt x="32885" y="930274"/>
                </a:moveTo>
                <a:cubicBezTo>
                  <a:pt x="34926" y="930274"/>
                  <a:pt x="34926" y="932258"/>
                  <a:pt x="32885" y="934243"/>
                </a:cubicBezTo>
                <a:cubicBezTo>
                  <a:pt x="30844" y="934243"/>
                  <a:pt x="28803" y="936227"/>
                  <a:pt x="28803" y="936227"/>
                </a:cubicBezTo>
                <a:cubicBezTo>
                  <a:pt x="28803" y="936227"/>
                  <a:pt x="22679" y="938211"/>
                  <a:pt x="22679" y="936227"/>
                </a:cubicBezTo>
                <a:cubicBezTo>
                  <a:pt x="20638" y="934243"/>
                  <a:pt x="22679" y="932258"/>
                  <a:pt x="24720" y="932258"/>
                </a:cubicBezTo>
                <a:cubicBezTo>
                  <a:pt x="26762" y="932258"/>
                  <a:pt x="26762" y="932258"/>
                  <a:pt x="26762" y="932258"/>
                </a:cubicBezTo>
                <a:cubicBezTo>
                  <a:pt x="28803" y="932258"/>
                  <a:pt x="30844" y="930274"/>
                  <a:pt x="32885" y="930274"/>
                </a:cubicBezTo>
                <a:close/>
                <a:moveTo>
                  <a:pt x="16511" y="930274"/>
                </a:moveTo>
                <a:cubicBezTo>
                  <a:pt x="20321" y="930274"/>
                  <a:pt x="22226" y="932391"/>
                  <a:pt x="20321" y="934508"/>
                </a:cubicBezTo>
                <a:cubicBezTo>
                  <a:pt x="20321" y="936624"/>
                  <a:pt x="18416" y="936624"/>
                  <a:pt x="14606" y="934508"/>
                </a:cubicBezTo>
                <a:cubicBezTo>
                  <a:pt x="12701" y="930274"/>
                  <a:pt x="16511" y="930274"/>
                  <a:pt x="16511" y="930274"/>
                </a:cubicBezTo>
                <a:close/>
                <a:moveTo>
                  <a:pt x="20242" y="926041"/>
                </a:moveTo>
                <a:cubicBezTo>
                  <a:pt x="22226" y="923924"/>
                  <a:pt x="22226" y="926041"/>
                  <a:pt x="22226" y="928158"/>
                </a:cubicBezTo>
                <a:cubicBezTo>
                  <a:pt x="22226" y="930274"/>
                  <a:pt x="16273" y="930274"/>
                  <a:pt x="16273" y="928158"/>
                </a:cubicBezTo>
                <a:cubicBezTo>
                  <a:pt x="14288" y="926041"/>
                  <a:pt x="20242" y="926041"/>
                  <a:pt x="20242" y="926041"/>
                </a:cubicBezTo>
                <a:close/>
                <a:moveTo>
                  <a:pt x="24343" y="924320"/>
                </a:moveTo>
                <a:cubicBezTo>
                  <a:pt x="26459" y="922336"/>
                  <a:pt x="30693" y="924320"/>
                  <a:pt x="32809" y="924320"/>
                </a:cubicBezTo>
                <a:cubicBezTo>
                  <a:pt x="34926" y="926305"/>
                  <a:pt x="34926" y="926305"/>
                  <a:pt x="32809" y="928289"/>
                </a:cubicBezTo>
                <a:cubicBezTo>
                  <a:pt x="30693" y="930273"/>
                  <a:pt x="28576" y="928289"/>
                  <a:pt x="26459" y="926305"/>
                </a:cubicBezTo>
                <a:cubicBezTo>
                  <a:pt x="22226" y="926305"/>
                  <a:pt x="24343" y="924320"/>
                  <a:pt x="24343" y="924320"/>
                </a:cubicBezTo>
                <a:close/>
                <a:moveTo>
                  <a:pt x="36196" y="920749"/>
                </a:moveTo>
                <a:cubicBezTo>
                  <a:pt x="36196" y="920749"/>
                  <a:pt x="40642" y="920749"/>
                  <a:pt x="42864" y="922337"/>
                </a:cubicBezTo>
                <a:cubicBezTo>
                  <a:pt x="42864" y="923924"/>
                  <a:pt x="40642" y="923924"/>
                  <a:pt x="38419" y="923924"/>
                </a:cubicBezTo>
                <a:cubicBezTo>
                  <a:pt x="36196" y="925511"/>
                  <a:pt x="36196" y="925511"/>
                  <a:pt x="33974" y="922337"/>
                </a:cubicBezTo>
                <a:cubicBezTo>
                  <a:pt x="31751" y="920749"/>
                  <a:pt x="36196" y="922337"/>
                  <a:pt x="36196" y="922337"/>
                </a:cubicBezTo>
                <a:close/>
                <a:moveTo>
                  <a:pt x="32280" y="916516"/>
                </a:moveTo>
                <a:cubicBezTo>
                  <a:pt x="32280" y="916516"/>
                  <a:pt x="36513" y="914399"/>
                  <a:pt x="36513" y="916516"/>
                </a:cubicBezTo>
                <a:cubicBezTo>
                  <a:pt x="36513" y="918633"/>
                  <a:pt x="34396" y="920749"/>
                  <a:pt x="32280" y="918633"/>
                </a:cubicBezTo>
                <a:cubicBezTo>
                  <a:pt x="30163" y="916516"/>
                  <a:pt x="32280" y="916516"/>
                  <a:pt x="32280" y="916516"/>
                </a:cubicBezTo>
                <a:close/>
                <a:moveTo>
                  <a:pt x="26195" y="914399"/>
                </a:moveTo>
                <a:cubicBezTo>
                  <a:pt x="26195" y="914399"/>
                  <a:pt x="30164" y="914399"/>
                  <a:pt x="30164" y="916516"/>
                </a:cubicBezTo>
                <a:cubicBezTo>
                  <a:pt x="30164" y="920749"/>
                  <a:pt x="26195" y="920749"/>
                  <a:pt x="24211" y="918633"/>
                </a:cubicBezTo>
                <a:cubicBezTo>
                  <a:pt x="22226" y="916516"/>
                  <a:pt x="26195" y="914399"/>
                  <a:pt x="26195" y="914399"/>
                </a:cubicBezTo>
                <a:close/>
                <a:moveTo>
                  <a:pt x="25005" y="912547"/>
                </a:moveTo>
                <a:cubicBezTo>
                  <a:pt x="25501" y="913341"/>
                  <a:pt x="25005" y="914928"/>
                  <a:pt x="23020" y="915986"/>
                </a:cubicBezTo>
                <a:cubicBezTo>
                  <a:pt x="19051" y="915986"/>
                  <a:pt x="21036" y="913870"/>
                  <a:pt x="21036" y="913870"/>
                </a:cubicBezTo>
                <a:cubicBezTo>
                  <a:pt x="23020" y="911753"/>
                  <a:pt x="24509" y="911753"/>
                  <a:pt x="25005" y="912547"/>
                </a:cubicBezTo>
                <a:close/>
                <a:moveTo>
                  <a:pt x="36513" y="910165"/>
                </a:moveTo>
                <a:cubicBezTo>
                  <a:pt x="38498" y="906461"/>
                  <a:pt x="40482" y="910165"/>
                  <a:pt x="40482" y="910165"/>
                </a:cubicBezTo>
                <a:cubicBezTo>
                  <a:pt x="40482" y="910165"/>
                  <a:pt x="44451" y="913869"/>
                  <a:pt x="44451" y="915721"/>
                </a:cubicBezTo>
                <a:cubicBezTo>
                  <a:pt x="42467" y="917573"/>
                  <a:pt x="40482" y="917573"/>
                  <a:pt x="40482" y="913869"/>
                </a:cubicBezTo>
                <a:cubicBezTo>
                  <a:pt x="38498" y="912017"/>
                  <a:pt x="36513" y="910165"/>
                  <a:pt x="36513" y="910165"/>
                </a:cubicBezTo>
                <a:close/>
                <a:moveTo>
                  <a:pt x="44451" y="908049"/>
                </a:moveTo>
                <a:cubicBezTo>
                  <a:pt x="44451" y="908049"/>
                  <a:pt x="49214" y="908049"/>
                  <a:pt x="49214" y="910430"/>
                </a:cubicBezTo>
                <a:cubicBezTo>
                  <a:pt x="49214" y="910430"/>
                  <a:pt x="49214" y="912811"/>
                  <a:pt x="46833" y="910430"/>
                </a:cubicBezTo>
                <a:cubicBezTo>
                  <a:pt x="44451" y="908049"/>
                  <a:pt x="44451" y="908049"/>
                  <a:pt x="44451" y="908049"/>
                </a:cubicBezTo>
                <a:close/>
                <a:moveTo>
                  <a:pt x="33452" y="898920"/>
                </a:moveTo>
                <a:cubicBezTo>
                  <a:pt x="34983" y="899416"/>
                  <a:pt x="35494" y="900905"/>
                  <a:pt x="34473" y="902889"/>
                </a:cubicBezTo>
                <a:cubicBezTo>
                  <a:pt x="30391" y="904873"/>
                  <a:pt x="26308" y="904873"/>
                  <a:pt x="24267" y="902889"/>
                </a:cubicBezTo>
                <a:cubicBezTo>
                  <a:pt x="22226" y="900905"/>
                  <a:pt x="26308" y="900905"/>
                  <a:pt x="26308" y="900905"/>
                </a:cubicBezTo>
                <a:cubicBezTo>
                  <a:pt x="29370" y="898920"/>
                  <a:pt x="31922" y="898424"/>
                  <a:pt x="33452" y="898920"/>
                </a:cubicBezTo>
                <a:close/>
                <a:moveTo>
                  <a:pt x="14817" y="898920"/>
                </a:moveTo>
                <a:cubicBezTo>
                  <a:pt x="22226" y="896936"/>
                  <a:pt x="22226" y="900905"/>
                  <a:pt x="20374" y="900905"/>
                </a:cubicBezTo>
                <a:cubicBezTo>
                  <a:pt x="20374" y="902889"/>
                  <a:pt x="16670" y="904873"/>
                  <a:pt x="14817" y="902889"/>
                </a:cubicBezTo>
                <a:cubicBezTo>
                  <a:pt x="11113" y="900905"/>
                  <a:pt x="14817" y="898920"/>
                  <a:pt x="14817" y="898920"/>
                </a:cubicBezTo>
                <a:close/>
                <a:moveTo>
                  <a:pt x="8996" y="894158"/>
                </a:moveTo>
                <a:cubicBezTo>
                  <a:pt x="11113" y="896143"/>
                  <a:pt x="8996" y="898127"/>
                  <a:pt x="8996" y="898127"/>
                </a:cubicBezTo>
                <a:cubicBezTo>
                  <a:pt x="8996" y="900111"/>
                  <a:pt x="4763" y="898127"/>
                  <a:pt x="6880" y="896143"/>
                </a:cubicBezTo>
                <a:cubicBezTo>
                  <a:pt x="6880" y="896143"/>
                  <a:pt x="6880" y="892174"/>
                  <a:pt x="8996" y="894158"/>
                </a:cubicBezTo>
                <a:close/>
                <a:moveTo>
                  <a:pt x="24448" y="893761"/>
                </a:moveTo>
                <a:cubicBezTo>
                  <a:pt x="24448" y="893761"/>
                  <a:pt x="30163" y="893761"/>
                  <a:pt x="30163" y="895878"/>
                </a:cubicBezTo>
                <a:cubicBezTo>
                  <a:pt x="30163" y="895878"/>
                  <a:pt x="24448" y="900111"/>
                  <a:pt x="22543" y="897995"/>
                </a:cubicBezTo>
                <a:cubicBezTo>
                  <a:pt x="20638" y="895878"/>
                  <a:pt x="24448" y="893761"/>
                  <a:pt x="24448" y="893761"/>
                </a:cubicBezTo>
                <a:close/>
                <a:moveTo>
                  <a:pt x="22543" y="832272"/>
                </a:moveTo>
                <a:cubicBezTo>
                  <a:pt x="22543" y="832272"/>
                  <a:pt x="26353" y="832272"/>
                  <a:pt x="26353" y="832272"/>
                </a:cubicBezTo>
                <a:cubicBezTo>
                  <a:pt x="28258" y="834283"/>
                  <a:pt x="30163" y="832272"/>
                  <a:pt x="32068" y="832272"/>
                </a:cubicBezTo>
                <a:cubicBezTo>
                  <a:pt x="32068" y="830261"/>
                  <a:pt x="33973" y="834283"/>
                  <a:pt x="33973" y="838305"/>
                </a:cubicBezTo>
                <a:cubicBezTo>
                  <a:pt x="33973" y="840315"/>
                  <a:pt x="33973" y="850370"/>
                  <a:pt x="33973" y="852380"/>
                </a:cubicBezTo>
                <a:cubicBezTo>
                  <a:pt x="33973" y="854391"/>
                  <a:pt x="35878" y="856402"/>
                  <a:pt x="35878" y="860424"/>
                </a:cubicBezTo>
                <a:cubicBezTo>
                  <a:pt x="35878" y="864445"/>
                  <a:pt x="39688" y="870478"/>
                  <a:pt x="37783" y="872489"/>
                </a:cubicBezTo>
                <a:cubicBezTo>
                  <a:pt x="37783" y="874500"/>
                  <a:pt x="35878" y="876510"/>
                  <a:pt x="32068" y="876510"/>
                </a:cubicBezTo>
                <a:cubicBezTo>
                  <a:pt x="28258" y="876510"/>
                  <a:pt x="30163" y="882543"/>
                  <a:pt x="30163" y="882543"/>
                </a:cubicBezTo>
                <a:cubicBezTo>
                  <a:pt x="30163" y="882543"/>
                  <a:pt x="32068" y="886565"/>
                  <a:pt x="28258" y="886565"/>
                </a:cubicBezTo>
                <a:cubicBezTo>
                  <a:pt x="26353" y="886565"/>
                  <a:pt x="26353" y="886565"/>
                  <a:pt x="26353" y="882543"/>
                </a:cubicBezTo>
                <a:cubicBezTo>
                  <a:pt x="26353" y="880532"/>
                  <a:pt x="26353" y="878521"/>
                  <a:pt x="22543" y="878521"/>
                </a:cubicBezTo>
                <a:cubicBezTo>
                  <a:pt x="18733" y="876510"/>
                  <a:pt x="20638" y="880532"/>
                  <a:pt x="20638" y="880532"/>
                </a:cubicBezTo>
                <a:cubicBezTo>
                  <a:pt x="20638" y="882543"/>
                  <a:pt x="22543" y="884554"/>
                  <a:pt x="22543" y="888575"/>
                </a:cubicBezTo>
                <a:cubicBezTo>
                  <a:pt x="20638" y="890586"/>
                  <a:pt x="16828" y="888575"/>
                  <a:pt x="14923" y="886565"/>
                </a:cubicBezTo>
                <a:cubicBezTo>
                  <a:pt x="11113" y="882543"/>
                  <a:pt x="13018" y="880532"/>
                  <a:pt x="14923" y="876510"/>
                </a:cubicBezTo>
                <a:cubicBezTo>
                  <a:pt x="18733" y="874500"/>
                  <a:pt x="18733" y="866456"/>
                  <a:pt x="20638" y="860424"/>
                </a:cubicBezTo>
                <a:cubicBezTo>
                  <a:pt x="20638" y="856402"/>
                  <a:pt x="18733" y="848359"/>
                  <a:pt x="18733" y="842326"/>
                </a:cubicBezTo>
                <a:cubicBezTo>
                  <a:pt x="16828" y="836294"/>
                  <a:pt x="22543" y="832272"/>
                  <a:pt x="22543" y="832272"/>
                </a:cubicBezTo>
                <a:close/>
                <a:moveTo>
                  <a:pt x="65859" y="0"/>
                </a:moveTo>
                <a:cubicBezTo>
                  <a:pt x="65859" y="0"/>
                  <a:pt x="67854" y="0"/>
                  <a:pt x="67854" y="1996"/>
                </a:cubicBezTo>
                <a:cubicBezTo>
                  <a:pt x="69850" y="3991"/>
                  <a:pt x="71846" y="13969"/>
                  <a:pt x="71846" y="15964"/>
                </a:cubicBezTo>
                <a:cubicBezTo>
                  <a:pt x="71846" y="19955"/>
                  <a:pt x="77833" y="23946"/>
                  <a:pt x="77833" y="25942"/>
                </a:cubicBezTo>
                <a:cubicBezTo>
                  <a:pt x="79829" y="25942"/>
                  <a:pt x="83820" y="31928"/>
                  <a:pt x="85816" y="33924"/>
                </a:cubicBezTo>
                <a:cubicBezTo>
                  <a:pt x="85816" y="35919"/>
                  <a:pt x="87812" y="37915"/>
                  <a:pt x="87812" y="39910"/>
                </a:cubicBezTo>
                <a:cubicBezTo>
                  <a:pt x="87812" y="41906"/>
                  <a:pt x="91803" y="51883"/>
                  <a:pt x="91803" y="53879"/>
                </a:cubicBezTo>
                <a:cubicBezTo>
                  <a:pt x="93799" y="55874"/>
                  <a:pt x="97790" y="59865"/>
                  <a:pt x="99786" y="61861"/>
                </a:cubicBezTo>
                <a:cubicBezTo>
                  <a:pt x="101782" y="61861"/>
                  <a:pt x="103777" y="63856"/>
                  <a:pt x="103777" y="67847"/>
                </a:cubicBezTo>
                <a:cubicBezTo>
                  <a:pt x="103777" y="67847"/>
                  <a:pt x="103777" y="77825"/>
                  <a:pt x="103777" y="79820"/>
                </a:cubicBezTo>
                <a:cubicBezTo>
                  <a:pt x="103777" y="79820"/>
                  <a:pt x="107769" y="89798"/>
                  <a:pt x="105773" y="91793"/>
                </a:cubicBezTo>
                <a:cubicBezTo>
                  <a:pt x="103777" y="93789"/>
                  <a:pt x="101782" y="97780"/>
                  <a:pt x="101782" y="97780"/>
                </a:cubicBezTo>
                <a:cubicBezTo>
                  <a:pt x="101782" y="99775"/>
                  <a:pt x="101782" y="107757"/>
                  <a:pt x="103777" y="107757"/>
                </a:cubicBezTo>
                <a:cubicBezTo>
                  <a:pt x="105773" y="109753"/>
                  <a:pt x="107769" y="115739"/>
                  <a:pt x="107769" y="115739"/>
                </a:cubicBezTo>
                <a:cubicBezTo>
                  <a:pt x="107769" y="117735"/>
                  <a:pt x="107769" y="123721"/>
                  <a:pt x="109764" y="125717"/>
                </a:cubicBezTo>
                <a:cubicBezTo>
                  <a:pt x="111760" y="127712"/>
                  <a:pt x="113756" y="127712"/>
                  <a:pt x="115752" y="129708"/>
                </a:cubicBezTo>
                <a:cubicBezTo>
                  <a:pt x="115752" y="129708"/>
                  <a:pt x="117747" y="133699"/>
                  <a:pt x="117747" y="133699"/>
                </a:cubicBezTo>
                <a:cubicBezTo>
                  <a:pt x="117747" y="133699"/>
                  <a:pt x="119743" y="139685"/>
                  <a:pt x="121739" y="143676"/>
                </a:cubicBezTo>
                <a:cubicBezTo>
                  <a:pt x="121739" y="147667"/>
                  <a:pt x="121739" y="149663"/>
                  <a:pt x="123734" y="153654"/>
                </a:cubicBezTo>
                <a:cubicBezTo>
                  <a:pt x="123734" y="157645"/>
                  <a:pt x="125730" y="163631"/>
                  <a:pt x="127726" y="165627"/>
                </a:cubicBezTo>
                <a:cubicBezTo>
                  <a:pt x="127726" y="167622"/>
                  <a:pt x="127726" y="173609"/>
                  <a:pt x="127726" y="177600"/>
                </a:cubicBezTo>
                <a:cubicBezTo>
                  <a:pt x="127726" y="179595"/>
                  <a:pt x="131717" y="183586"/>
                  <a:pt x="131717" y="183586"/>
                </a:cubicBezTo>
                <a:cubicBezTo>
                  <a:pt x="131717" y="183586"/>
                  <a:pt x="139700" y="183586"/>
                  <a:pt x="139700" y="183586"/>
                </a:cubicBezTo>
                <a:cubicBezTo>
                  <a:pt x="141696" y="181591"/>
                  <a:pt x="143692" y="183586"/>
                  <a:pt x="145687" y="183586"/>
                </a:cubicBezTo>
                <a:cubicBezTo>
                  <a:pt x="145687" y="185582"/>
                  <a:pt x="145687" y="189573"/>
                  <a:pt x="147683" y="189573"/>
                </a:cubicBezTo>
                <a:cubicBezTo>
                  <a:pt x="147683" y="191568"/>
                  <a:pt x="145687" y="203541"/>
                  <a:pt x="145687" y="205537"/>
                </a:cubicBezTo>
                <a:cubicBezTo>
                  <a:pt x="145687" y="205537"/>
                  <a:pt x="149679" y="215514"/>
                  <a:pt x="147683" y="217510"/>
                </a:cubicBezTo>
                <a:cubicBezTo>
                  <a:pt x="147683" y="219505"/>
                  <a:pt x="143692" y="223496"/>
                  <a:pt x="143692" y="223496"/>
                </a:cubicBezTo>
                <a:cubicBezTo>
                  <a:pt x="141696" y="223496"/>
                  <a:pt x="135709" y="229483"/>
                  <a:pt x="131717" y="229483"/>
                </a:cubicBezTo>
                <a:cubicBezTo>
                  <a:pt x="129722" y="231478"/>
                  <a:pt x="119743" y="235469"/>
                  <a:pt x="119743" y="237465"/>
                </a:cubicBezTo>
                <a:cubicBezTo>
                  <a:pt x="117747" y="237465"/>
                  <a:pt x="115752" y="239460"/>
                  <a:pt x="115752" y="241456"/>
                </a:cubicBezTo>
                <a:cubicBezTo>
                  <a:pt x="115752" y="245447"/>
                  <a:pt x="117747" y="243451"/>
                  <a:pt x="117747" y="245447"/>
                </a:cubicBezTo>
                <a:cubicBezTo>
                  <a:pt x="119743" y="247442"/>
                  <a:pt x="119743" y="249438"/>
                  <a:pt x="119743" y="253429"/>
                </a:cubicBezTo>
                <a:cubicBezTo>
                  <a:pt x="119743" y="255424"/>
                  <a:pt x="117747" y="261411"/>
                  <a:pt x="115752" y="263406"/>
                </a:cubicBezTo>
                <a:cubicBezTo>
                  <a:pt x="115752" y="265402"/>
                  <a:pt x="115752" y="271388"/>
                  <a:pt x="115752" y="275379"/>
                </a:cubicBezTo>
                <a:cubicBezTo>
                  <a:pt x="115752" y="279370"/>
                  <a:pt x="117747" y="287352"/>
                  <a:pt x="117747" y="289348"/>
                </a:cubicBezTo>
                <a:cubicBezTo>
                  <a:pt x="117747" y="291343"/>
                  <a:pt x="117747" y="299325"/>
                  <a:pt x="117747" y="303316"/>
                </a:cubicBezTo>
                <a:cubicBezTo>
                  <a:pt x="119743" y="305312"/>
                  <a:pt x="121739" y="309303"/>
                  <a:pt x="121739" y="309303"/>
                </a:cubicBezTo>
                <a:cubicBezTo>
                  <a:pt x="121739" y="309303"/>
                  <a:pt x="121739" y="319280"/>
                  <a:pt x="119743" y="321276"/>
                </a:cubicBezTo>
                <a:cubicBezTo>
                  <a:pt x="119743" y="323271"/>
                  <a:pt x="115752" y="325267"/>
                  <a:pt x="113756" y="325267"/>
                </a:cubicBezTo>
                <a:cubicBezTo>
                  <a:pt x="111760" y="327262"/>
                  <a:pt x="103777" y="337240"/>
                  <a:pt x="101782" y="341231"/>
                </a:cubicBezTo>
                <a:cubicBezTo>
                  <a:pt x="99786" y="345222"/>
                  <a:pt x="95794" y="361186"/>
                  <a:pt x="95794" y="361186"/>
                </a:cubicBezTo>
                <a:cubicBezTo>
                  <a:pt x="95794" y="363182"/>
                  <a:pt x="93799" y="375155"/>
                  <a:pt x="91803" y="381141"/>
                </a:cubicBezTo>
                <a:cubicBezTo>
                  <a:pt x="91803" y="385132"/>
                  <a:pt x="85816" y="391119"/>
                  <a:pt x="85816" y="393114"/>
                </a:cubicBezTo>
                <a:cubicBezTo>
                  <a:pt x="83820" y="395110"/>
                  <a:pt x="83820" y="401096"/>
                  <a:pt x="85816" y="405087"/>
                </a:cubicBezTo>
                <a:cubicBezTo>
                  <a:pt x="85816" y="409078"/>
                  <a:pt x="89807" y="415065"/>
                  <a:pt x="91803" y="419056"/>
                </a:cubicBezTo>
                <a:cubicBezTo>
                  <a:pt x="91803" y="419056"/>
                  <a:pt x="91803" y="427038"/>
                  <a:pt x="91803" y="429033"/>
                </a:cubicBezTo>
                <a:cubicBezTo>
                  <a:pt x="91803" y="429033"/>
                  <a:pt x="87812" y="431029"/>
                  <a:pt x="85816" y="433024"/>
                </a:cubicBezTo>
                <a:cubicBezTo>
                  <a:pt x="83820" y="435020"/>
                  <a:pt x="83820" y="441006"/>
                  <a:pt x="83820" y="444997"/>
                </a:cubicBezTo>
                <a:cubicBezTo>
                  <a:pt x="85816" y="446993"/>
                  <a:pt x="85816" y="450984"/>
                  <a:pt x="85816" y="450984"/>
                </a:cubicBezTo>
                <a:cubicBezTo>
                  <a:pt x="85816" y="452979"/>
                  <a:pt x="83820" y="452979"/>
                  <a:pt x="81824" y="454975"/>
                </a:cubicBezTo>
                <a:cubicBezTo>
                  <a:pt x="79829" y="456970"/>
                  <a:pt x="77833" y="458966"/>
                  <a:pt x="79829" y="464952"/>
                </a:cubicBezTo>
                <a:cubicBezTo>
                  <a:pt x="79829" y="468943"/>
                  <a:pt x="79829" y="468943"/>
                  <a:pt x="81824" y="470939"/>
                </a:cubicBezTo>
                <a:cubicBezTo>
                  <a:pt x="81824" y="472934"/>
                  <a:pt x="85816" y="480916"/>
                  <a:pt x="85816" y="482912"/>
                </a:cubicBezTo>
                <a:cubicBezTo>
                  <a:pt x="85816" y="482912"/>
                  <a:pt x="89807" y="490894"/>
                  <a:pt x="91803" y="490894"/>
                </a:cubicBezTo>
                <a:cubicBezTo>
                  <a:pt x="91803" y="494885"/>
                  <a:pt x="91803" y="500871"/>
                  <a:pt x="91803" y="502867"/>
                </a:cubicBezTo>
                <a:cubicBezTo>
                  <a:pt x="91803" y="504862"/>
                  <a:pt x="95794" y="506858"/>
                  <a:pt x="95794" y="508853"/>
                </a:cubicBezTo>
                <a:cubicBezTo>
                  <a:pt x="95794" y="512844"/>
                  <a:pt x="95794" y="518831"/>
                  <a:pt x="95794" y="520826"/>
                </a:cubicBezTo>
                <a:cubicBezTo>
                  <a:pt x="97790" y="522822"/>
                  <a:pt x="101782" y="524817"/>
                  <a:pt x="101782" y="526813"/>
                </a:cubicBezTo>
                <a:cubicBezTo>
                  <a:pt x="103777" y="528808"/>
                  <a:pt x="103777" y="536790"/>
                  <a:pt x="103777" y="538786"/>
                </a:cubicBezTo>
                <a:cubicBezTo>
                  <a:pt x="103777" y="538786"/>
                  <a:pt x="103777" y="552754"/>
                  <a:pt x="103777" y="554750"/>
                </a:cubicBezTo>
                <a:cubicBezTo>
                  <a:pt x="103777" y="558741"/>
                  <a:pt x="97790" y="562732"/>
                  <a:pt x="95794" y="566723"/>
                </a:cubicBezTo>
                <a:cubicBezTo>
                  <a:pt x="93799" y="568718"/>
                  <a:pt x="89807" y="580691"/>
                  <a:pt x="89807" y="584682"/>
                </a:cubicBezTo>
                <a:cubicBezTo>
                  <a:pt x="89807" y="586678"/>
                  <a:pt x="89807" y="594660"/>
                  <a:pt x="89807" y="596655"/>
                </a:cubicBezTo>
                <a:cubicBezTo>
                  <a:pt x="89807" y="600646"/>
                  <a:pt x="89807" y="602642"/>
                  <a:pt x="91803" y="604637"/>
                </a:cubicBezTo>
                <a:cubicBezTo>
                  <a:pt x="91803" y="606633"/>
                  <a:pt x="91803" y="612619"/>
                  <a:pt x="93799" y="614615"/>
                </a:cubicBezTo>
                <a:cubicBezTo>
                  <a:pt x="93799" y="616610"/>
                  <a:pt x="93799" y="628583"/>
                  <a:pt x="91803" y="630579"/>
                </a:cubicBezTo>
                <a:cubicBezTo>
                  <a:pt x="89807" y="632574"/>
                  <a:pt x="85816" y="636565"/>
                  <a:pt x="83820" y="638561"/>
                </a:cubicBezTo>
                <a:cubicBezTo>
                  <a:pt x="81824" y="642552"/>
                  <a:pt x="77833" y="646543"/>
                  <a:pt x="77833" y="648538"/>
                </a:cubicBezTo>
                <a:cubicBezTo>
                  <a:pt x="77833" y="652529"/>
                  <a:pt x="77833" y="658516"/>
                  <a:pt x="77833" y="660511"/>
                </a:cubicBezTo>
                <a:cubicBezTo>
                  <a:pt x="77833" y="660511"/>
                  <a:pt x="81824" y="666498"/>
                  <a:pt x="81824" y="668493"/>
                </a:cubicBezTo>
                <a:cubicBezTo>
                  <a:pt x="81824" y="668493"/>
                  <a:pt x="83820" y="672484"/>
                  <a:pt x="83820" y="674480"/>
                </a:cubicBezTo>
                <a:cubicBezTo>
                  <a:pt x="83820" y="676475"/>
                  <a:pt x="85816" y="692439"/>
                  <a:pt x="85816" y="692439"/>
                </a:cubicBezTo>
                <a:cubicBezTo>
                  <a:pt x="85816" y="694435"/>
                  <a:pt x="89807" y="706408"/>
                  <a:pt x="89807" y="708403"/>
                </a:cubicBezTo>
                <a:cubicBezTo>
                  <a:pt x="91803" y="712394"/>
                  <a:pt x="83820" y="714390"/>
                  <a:pt x="81824" y="716385"/>
                </a:cubicBezTo>
                <a:cubicBezTo>
                  <a:pt x="79829" y="720376"/>
                  <a:pt x="81824" y="720376"/>
                  <a:pt x="81824" y="724367"/>
                </a:cubicBezTo>
                <a:cubicBezTo>
                  <a:pt x="81824" y="728358"/>
                  <a:pt x="81824" y="728358"/>
                  <a:pt x="83820" y="730354"/>
                </a:cubicBezTo>
                <a:cubicBezTo>
                  <a:pt x="83820" y="732349"/>
                  <a:pt x="83820" y="736340"/>
                  <a:pt x="81824" y="736340"/>
                </a:cubicBezTo>
                <a:cubicBezTo>
                  <a:pt x="81824" y="738336"/>
                  <a:pt x="79829" y="742327"/>
                  <a:pt x="77833" y="744322"/>
                </a:cubicBezTo>
                <a:cubicBezTo>
                  <a:pt x="75837" y="744322"/>
                  <a:pt x="77833" y="748313"/>
                  <a:pt x="77833" y="750309"/>
                </a:cubicBezTo>
                <a:cubicBezTo>
                  <a:pt x="79829" y="752304"/>
                  <a:pt x="81824" y="756295"/>
                  <a:pt x="81824" y="758291"/>
                </a:cubicBezTo>
                <a:cubicBezTo>
                  <a:pt x="81824" y="760286"/>
                  <a:pt x="75837" y="760286"/>
                  <a:pt x="75837" y="760286"/>
                </a:cubicBezTo>
                <a:cubicBezTo>
                  <a:pt x="75837" y="760286"/>
                  <a:pt x="75837" y="768268"/>
                  <a:pt x="75837" y="770264"/>
                </a:cubicBezTo>
                <a:cubicBezTo>
                  <a:pt x="75837" y="772259"/>
                  <a:pt x="75837" y="780241"/>
                  <a:pt x="75837" y="782237"/>
                </a:cubicBezTo>
                <a:cubicBezTo>
                  <a:pt x="75837" y="782237"/>
                  <a:pt x="75837" y="798201"/>
                  <a:pt x="77833" y="802192"/>
                </a:cubicBezTo>
                <a:cubicBezTo>
                  <a:pt x="77833" y="806183"/>
                  <a:pt x="77833" y="810174"/>
                  <a:pt x="79829" y="812169"/>
                </a:cubicBezTo>
                <a:cubicBezTo>
                  <a:pt x="79829" y="814165"/>
                  <a:pt x="83820" y="820151"/>
                  <a:pt x="83820" y="820151"/>
                </a:cubicBezTo>
                <a:cubicBezTo>
                  <a:pt x="83820" y="820151"/>
                  <a:pt x="85816" y="832124"/>
                  <a:pt x="85816" y="832124"/>
                </a:cubicBezTo>
                <a:cubicBezTo>
                  <a:pt x="83820" y="834120"/>
                  <a:pt x="79829" y="834120"/>
                  <a:pt x="77833" y="836115"/>
                </a:cubicBezTo>
                <a:cubicBezTo>
                  <a:pt x="77833" y="836115"/>
                  <a:pt x="77833" y="838111"/>
                  <a:pt x="79829" y="842102"/>
                </a:cubicBezTo>
                <a:cubicBezTo>
                  <a:pt x="79829" y="844097"/>
                  <a:pt x="79829" y="848088"/>
                  <a:pt x="79829" y="850084"/>
                </a:cubicBezTo>
                <a:cubicBezTo>
                  <a:pt x="79829" y="852079"/>
                  <a:pt x="79829" y="860061"/>
                  <a:pt x="79829" y="864052"/>
                </a:cubicBezTo>
                <a:cubicBezTo>
                  <a:pt x="81824" y="866048"/>
                  <a:pt x="85816" y="874030"/>
                  <a:pt x="85816" y="876025"/>
                </a:cubicBezTo>
                <a:cubicBezTo>
                  <a:pt x="87812" y="878021"/>
                  <a:pt x="87812" y="880016"/>
                  <a:pt x="87812" y="882012"/>
                </a:cubicBezTo>
                <a:cubicBezTo>
                  <a:pt x="85816" y="884007"/>
                  <a:pt x="87812" y="889994"/>
                  <a:pt x="87812" y="889994"/>
                </a:cubicBezTo>
                <a:cubicBezTo>
                  <a:pt x="87812" y="889994"/>
                  <a:pt x="85816" y="897976"/>
                  <a:pt x="87812" y="899971"/>
                </a:cubicBezTo>
                <a:cubicBezTo>
                  <a:pt x="87812" y="901967"/>
                  <a:pt x="87812" y="905958"/>
                  <a:pt x="87812" y="905958"/>
                </a:cubicBezTo>
                <a:cubicBezTo>
                  <a:pt x="87812" y="907953"/>
                  <a:pt x="89807" y="913940"/>
                  <a:pt x="89807" y="913940"/>
                </a:cubicBezTo>
                <a:cubicBezTo>
                  <a:pt x="89807" y="913940"/>
                  <a:pt x="97790" y="917931"/>
                  <a:pt x="99786" y="917931"/>
                </a:cubicBezTo>
                <a:cubicBezTo>
                  <a:pt x="101782" y="917931"/>
                  <a:pt x="103777" y="917931"/>
                  <a:pt x="103777" y="919926"/>
                </a:cubicBezTo>
                <a:cubicBezTo>
                  <a:pt x="105773" y="919926"/>
                  <a:pt x="109764" y="925913"/>
                  <a:pt x="109764" y="927908"/>
                </a:cubicBezTo>
                <a:cubicBezTo>
                  <a:pt x="109764" y="929904"/>
                  <a:pt x="95794" y="927908"/>
                  <a:pt x="95794" y="929904"/>
                </a:cubicBezTo>
                <a:cubicBezTo>
                  <a:pt x="93799" y="929904"/>
                  <a:pt x="93799" y="933895"/>
                  <a:pt x="95794" y="935890"/>
                </a:cubicBezTo>
                <a:cubicBezTo>
                  <a:pt x="95794" y="937886"/>
                  <a:pt x="103777" y="941877"/>
                  <a:pt x="103777" y="941877"/>
                </a:cubicBezTo>
                <a:cubicBezTo>
                  <a:pt x="103777" y="941877"/>
                  <a:pt x="107769" y="947863"/>
                  <a:pt x="107769" y="951854"/>
                </a:cubicBezTo>
                <a:cubicBezTo>
                  <a:pt x="107769" y="953850"/>
                  <a:pt x="103777" y="957841"/>
                  <a:pt x="101782" y="959836"/>
                </a:cubicBezTo>
                <a:cubicBezTo>
                  <a:pt x="99786" y="961832"/>
                  <a:pt x="99786" y="963827"/>
                  <a:pt x="99786" y="965823"/>
                </a:cubicBezTo>
                <a:cubicBezTo>
                  <a:pt x="99786" y="967818"/>
                  <a:pt x="99786" y="973805"/>
                  <a:pt x="99786" y="973805"/>
                </a:cubicBezTo>
                <a:cubicBezTo>
                  <a:pt x="101782" y="975800"/>
                  <a:pt x="101782" y="975800"/>
                  <a:pt x="103777" y="979791"/>
                </a:cubicBezTo>
                <a:cubicBezTo>
                  <a:pt x="103777" y="981787"/>
                  <a:pt x="101782" y="987773"/>
                  <a:pt x="101782" y="989769"/>
                </a:cubicBezTo>
                <a:cubicBezTo>
                  <a:pt x="101782" y="991764"/>
                  <a:pt x="103777" y="995755"/>
                  <a:pt x="103777" y="997751"/>
                </a:cubicBezTo>
                <a:cubicBezTo>
                  <a:pt x="103777" y="999746"/>
                  <a:pt x="103777" y="1005733"/>
                  <a:pt x="101782" y="1007729"/>
                </a:cubicBezTo>
                <a:cubicBezTo>
                  <a:pt x="101782" y="1009724"/>
                  <a:pt x="99786" y="1013715"/>
                  <a:pt x="99786" y="1015711"/>
                </a:cubicBezTo>
                <a:cubicBezTo>
                  <a:pt x="97790" y="1019702"/>
                  <a:pt x="97790" y="1021697"/>
                  <a:pt x="97790" y="1023693"/>
                </a:cubicBezTo>
                <a:cubicBezTo>
                  <a:pt x="95794" y="1027684"/>
                  <a:pt x="93799" y="1029679"/>
                  <a:pt x="91803" y="1031675"/>
                </a:cubicBezTo>
                <a:cubicBezTo>
                  <a:pt x="91803" y="1033670"/>
                  <a:pt x="93799" y="1037661"/>
                  <a:pt x="91803" y="1039657"/>
                </a:cubicBezTo>
                <a:cubicBezTo>
                  <a:pt x="91803" y="1041652"/>
                  <a:pt x="91803" y="1045643"/>
                  <a:pt x="91803" y="1047639"/>
                </a:cubicBezTo>
                <a:cubicBezTo>
                  <a:pt x="91803" y="1047639"/>
                  <a:pt x="95794" y="1049634"/>
                  <a:pt x="95794" y="1049634"/>
                </a:cubicBezTo>
                <a:cubicBezTo>
                  <a:pt x="95794" y="1049634"/>
                  <a:pt x="99786" y="1055621"/>
                  <a:pt x="99786" y="1059612"/>
                </a:cubicBezTo>
                <a:cubicBezTo>
                  <a:pt x="99786" y="1061607"/>
                  <a:pt x="99786" y="1063603"/>
                  <a:pt x="97790" y="1065598"/>
                </a:cubicBezTo>
                <a:cubicBezTo>
                  <a:pt x="95794" y="1069589"/>
                  <a:pt x="97790" y="1071585"/>
                  <a:pt x="97790" y="1073580"/>
                </a:cubicBezTo>
                <a:cubicBezTo>
                  <a:pt x="97790" y="1075576"/>
                  <a:pt x="93799" y="1081562"/>
                  <a:pt x="93799" y="1085553"/>
                </a:cubicBezTo>
                <a:cubicBezTo>
                  <a:pt x="91803" y="1087549"/>
                  <a:pt x="83820" y="1097526"/>
                  <a:pt x="81824" y="1099522"/>
                </a:cubicBezTo>
                <a:cubicBezTo>
                  <a:pt x="79829" y="1101517"/>
                  <a:pt x="77833" y="1111495"/>
                  <a:pt x="77833" y="1113490"/>
                </a:cubicBezTo>
                <a:cubicBezTo>
                  <a:pt x="77833" y="1113490"/>
                  <a:pt x="77833" y="1133445"/>
                  <a:pt x="77833" y="1135441"/>
                </a:cubicBezTo>
                <a:cubicBezTo>
                  <a:pt x="77833" y="1137436"/>
                  <a:pt x="81824" y="1141427"/>
                  <a:pt x="81824" y="1143423"/>
                </a:cubicBezTo>
                <a:cubicBezTo>
                  <a:pt x="83820" y="1143423"/>
                  <a:pt x="87812" y="1151405"/>
                  <a:pt x="87812" y="1151405"/>
                </a:cubicBezTo>
                <a:cubicBezTo>
                  <a:pt x="87812" y="1151405"/>
                  <a:pt x="91803" y="1153400"/>
                  <a:pt x="93799" y="1153400"/>
                </a:cubicBezTo>
                <a:cubicBezTo>
                  <a:pt x="95794" y="1153400"/>
                  <a:pt x="97790" y="1151405"/>
                  <a:pt x="99786" y="1149409"/>
                </a:cubicBezTo>
                <a:cubicBezTo>
                  <a:pt x="99786" y="1149409"/>
                  <a:pt x="103777" y="1147414"/>
                  <a:pt x="105773" y="1147414"/>
                </a:cubicBezTo>
                <a:cubicBezTo>
                  <a:pt x="109764" y="1145418"/>
                  <a:pt x="109764" y="1149409"/>
                  <a:pt x="109764" y="1151405"/>
                </a:cubicBezTo>
                <a:cubicBezTo>
                  <a:pt x="109764" y="1153400"/>
                  <a:pt x="111760" y="1159387"/>
                  <a:pt x="111760" y="1163378"/>
                </a:cubicBezTo>
                <a:cubicBezTo>
                  <a:pt x="109764" y="1163378"/>
                  <a:pt x="111760" y="1167369"/>
                  <a:pt x="111760" y="1169364"/>
                </a:cubicBezTo>
                <a:cubicBezTo>
                  <a:pt x="111760" y="1171360"/>
                  <a:pt x="117747" y="1179342"/>
                  <a:pt x="117747" y="1179342"/>
                </a:cubicBezTo>
                <a:cubicBezTo>
                  <a:pt x="117747" y="1179342"/>
                  <a:pt x="117747" y="1179342"/>
                  <a:pt x="125730" y="1193310"/>
                </a:cubicBezTo>
                <a:cubicBezTo>
                  <a:pt x="125730" y="1193310"/>
                  <a:pt x="129722" y="1197301"/>
                  <a:pt x="129722" y="1197301"/>
                </a:cubicBezTo>
                <a:cubicBezTo>
                  <a:pt x="131717" y="1197301"/>
                  <a:pt x="133713" y="1197301"/>
                  <a:pt x="135709" y="1195306"/>
                </a:cubicBezTo>
                <a:cubicBezTo>
                  <a:pt x="135709" y="1195306"/>
                  <a:pt x="145687" y="1195306"/>
                  <a:pt x="145687" y="1195306"/>
                </a:cubicBezTo>
                <a:cubicBezTo>
                  <a:pt x="147683" y="1195306"/>
                  <a:pt x="153670" y="1197301"/>
                  <a:pt x="155666" y="1197301"/>
                </a:cubicBezTo>
                <a:cubicBezTo>
                  <a:pt x="157662" y="1197301"/>
                  <a:pt x="165644" y="1193310"/>
                  <a:pt x="167640" y="1193310"/>
                </a:cubicBezTo>
                <a:cubicBezTo>
                  <a:pt x="169636" y="1193310"/>
                  <a:pt x="177619" y="1191315"/>
                  <a:pt x="177619" y="1191315"/>
                </a:cubicBezTo>
                <a:cubicBezTo>
                  <a:pt x="177619" y="1191315"/>
                  <a:pt x="185602" y="1193310"/>
                  <a:pt x="185602" y="1195306"/>
                </a:cubicBezTo>
                <a:cubicBezTo>
                  <a:pt x="185602" y="1197301"/>
                  <a:pt x="187597" y="1199297"/>
                  <a:pt x="189593" y="1201292"/>
                </a:cubicBezTo>
                <a:cubicBezTo>
                  <a:pt x="191589" y="1203288"/>
                  <a:pt x="201567" y="1209274"/>
                  <a:pt x="205559" y="1211270"/>
                </a:cubicBezTo>
                <a:cubicBezTo>
                  <a:pt x="207554" y="1213265"/>
                  <a:pt x="209550" y="1213265"/>
                  <a:pt x="209550" y="1217256"/>
                </a:cubicBezTo>
                <a:cubicBezTo>
                  <a:pt x="209550" y="1219252"/>
                  <a:pt x="205559" y="1219252"/>
                  <a:pt x="205559" y="1219252"/>
                </a:cubicBezTo>
                <a:cubicBezTo>
                  <a:pt x="203563" y="1219252"/>
                  <a:pt x="197576" y="1217256"/>
                  <a:pt x="197576" y="1217256"/>
                </a:cubicBezTo>
                <a:cubicBezTo>
                  <a:pt x="195580" y="1217256"/>
                  <a:pt x="193584" y="1217256"/>
                  <a:pt x="191589" y="1217256"/>
                </a:cubicBezTo>
                <a:cubicBezTo>
                  <a:pt x="189593" y="1217256"/>
                  <a:pt x="187597" y="1215261"/>
                  <a:pt x="187597" y="1215261"/>
                </a:cubicBezTo>
                <a:cubicBezTo>
                  <a:pt x="185602" y="1215261"/>
                  <a:pt x="183606" y="1215261"/>
                  <a:pt x="183606" y="1217256"/>
                </a:cubicBezTo>
                <a:cubicBezTo>
                  <a:pt x="183606" y="1219252"/>
                  <a:pt x="181610" y="1221247"/>
                  <a:pt x="181610" y="1221247"/>
                </a:cubicBezTo>
                <a:cubicBezTo>
                  <a:pt x="179614" y="1221247"/>
                  <a:pt x="179614" y="1221247"/>
                  <a:pt x="179614" y="1223243"/>
                </a:cubicBezTo>
                <a:cubicBezTo>
                  <a:pt x="177619" y="1225238"/>
                  <a:pt x="179614" y="1225238"/>
                  <a:pt x="177619" y="1225238"/>
                </a:cubicBezTo>
                <a:cubicBezTo>
                  <a:pt x="175623" y="1227234"/>
                  <a:pt x="167640" y="1227234"/>
                  <a:pt x="167640" y="1227234"/>
                </a:cubicBezTo>
                <a:cubicBezTo>
                  <a:pt x="167640" y="1227234"/>
                  <a:pt x="161653" y="1229229"/>
                  <a:pt x="159657" y="1231225"/>
                </a:cubicBezTo>
                <a:cubicBezTo>
                  <a:pt x="157662" y="1233220"/>
                  <a:pt x="153670" y="1239207"/>
                  <a:pt x="153670" y="1239207"/>
                </a:cubicBezTo>
                <a:cubicBezTo>
                  <a:pt x="153670" y="1243198"/>
                  <a:pt x="151674" y="1253175"/>
                  <a:pt x="151674" y="1255171"/>
                </a:cubicBezTo>
                <a:cubicBezTo>
                  <a:pt x="151674" y="1259162"/>
                  <a:pt x="153670" y="1267144"/>
                  <a:pt x="153670" y="1269139"/>
                </a:cubicBezTo>
                <a:cubicBezTo>
                  <a:pt x="153670" y="1271135"/>
                  <a:pt x="153670" y="1275126"/>
                  <a:pt x="151674" y="1275126"/>
                </a:cubicBezTo>
                <a:cubicBezTo>
                  <a:pt x="149679" y="1277121"/>
                  <a:pt x="145687" y="1277121"/>
                  <a:pt x="145687" y="1279117"/>
                </a:cubicBezTo>
                <a:cubicBezTo>
                  <a:pt x="143692" y="1281112"/>
                  <a:pt x="139700" y="1281112"/>
                  <a:pt x="139700" y="1281112"/>
                </a:cubicBezTo>
                <a:cubicBezTo>
                  <a:pt x="139700" y="1279117"/>
                  <a:pt x="137704" y="1275126"/>
                  <a:pt x="135709" y="1273130"/>
                </a:cubicBezTo>
                <a:cubicBezTo>
                  <a:pt x="133713" y="1273130"/>
                  <a:pt x="129722" y="1273130"/>
                  <a:pt x="127726" y="1269139"/>
                </a:cubicBezTo>
                <a:cubicBezTo>
                  <a:pt x="125730" y="1269139"/>
                  <a:pt x="127726" y="1267144"/>
                  <a:pt x="125730" y="1267144"/>
                </a:cubicBezTo>
                <a:cubicBezTo>
                  <a:pt x="123734" y="1267144"/>
                  <a:pt x="121739" y="1265148"/>
                  <a:pt x="119743" y="1263153"/>
                </a:cubicBezTo>
                <a:cubicBezTo>
                  <a:pt x="119743" y="1263153"/>
                  <a:pt x="119743" y="1261157"/>
                  <a:pt x="117747" y="1259162"/>
                </a:cubicBezTo>
                <a:cubicBezTo>
                  <a:pt x="115752" y="1257166"/>
                  <a:pt x="115752" y="1259162"/>
                  <a:pt x="113756" y="1259162"/>
                </a:cubicBezTo>
                <a:cubicBezTo>
                  <a:pt x="111760" y="1259162"/>
                  <a:pt x="109764" y="1259162"/>
                  <a:pt x="109764" y="1259162"/>
                </a:cubicBezTo>
                <a:cubicBezTo>
                  <a:pt x="107769" y="1259162"/>
                  <a:pt x="107769" y="1259162"/>
                  <a:pt x="107769" y="1259162"/>
                </a:cubicBezTo>
                <a:cubicBezTo>
                  <a:pt x="107769" y="1259162"/>
                  <a:pt x="107769" y="1251180"/>
                  <a:pt x="105773" y="1251180"/>
                </a:cubicBezTo>
                <a:cubicBezTo>
                  <a:pt x="103777" y="1249184"/>
                  <a:pt x="97790" y="1247189"/>
                  <a:pt x="95794" y="1247189"/>
                </a:cubicBezTo>
                <a:cubicBezTo>
                  <a:pt x="95794" y="1247189"/>
                  <a:pt x="91803" y="1245193"/>
                  <a:pt x="91803" y="1245193"/>
                </a:cubicBezTo>
                <a:cubicBezTo>
                  <a:pt x="91803" y="1245193"/>
                  <a:pt x="93799" y="1239207"/>
                  <a:pt x="95794" y="1239207"/>
                </a:cubicBezTo>
                <a:cubicBezTo>
                  <a:pt x="97790" y="1239207"/>
                  <a:pt x="101782" y="1239207"/>
                  <a:pt x="103777" y="1239207"/>
                </a:cubicBezTo>
                <a:cubicBezTo>
                  <a:pt x="103777" y="1237211"/>
                  <a:pt x="105773" y="1235216"/>
                  <a:pt x="105773" y="1235216"/>
                </a:cubicBezTo>
                <a:cubicBezTo>
                  <a:pt x="107769" y="1235216"/>
                  <a:pt x="107769" y="1237211"/>
                  <a:pt x="109764" y="1237211"/>
                </a:cubicBezTo>
                <a:cubicBezTo>
                  <a:pt x="109764" y="1237211"/>
                  <a:pt x="113756" y="1235216"/>
                  <a:pt x="113756" y="1235216"/>
                </a:cubicBezTo>
                <a:cubicBezTo>
                  <a:pt x="115752" y="1233220"/>
                  <a:pt x="115752" y="1231225"/>
                  <a:pt x="117747" y="1231225"/>
                </a:cubicBezTo>
                <a:cubicBezTo>
                  <a:pt x="117747" y="1231225"/>
                  <a:pt x="121739" y="1233220"/>
                  <a:pt x="123734" y="1233220"/>
                </a:cubicBezTo>
                <a:cubicBezTo>
                  <a:pt x="123734" y="1233220"/>
                  <a:pt x="127726" y="1235216"/>
                  <a:pt x="129722" y="1235216"/>
                </a:cubicBezTo>
                <a:cubicBezTo>
                  <a:pt x="131717" y="1233220"/>
                  <a:pt x="131717" y="1235216"/>
                  <a:pt x="131717" y="1231225"/>
                </a:cubicBezTo>
                <a:cubicBezTo>
                  <a:pt x="131717" y="1231225"/>
                  <a:pt x="133713" y="1227234"/>
                  <a:pt x="129722" y="1227234"/>
                </a:cubicBezTo>
                <a:cubicBezTo>
                  <a:pt x="123734" y="1227234"/>
                  <a:pt x="119743" y="1227234"/>
                  <a:pt x="117747" y="1227234"/>
                </a:cubicBezTo>
                <a:cubicBezTo>
                  <a:pt x="115752" y="1227234"/>
                  <a:pt x="115752" y="1225238"/>
                  <a:pt x="113756" y="1225238"/>
                </a:cubicBezTo>
                <a:cubicBezTo>
                  <a:pt x="111760" y="1227234"/>
                  <a:pt x="111760" y="1229229"/>
                  <a:pt x="109764" y="1229229"/>
                </a:cubicBezTo>
                <a:cubicBezTo>
                  <a:pt x="107769" y="1229229"/>
                  <a:pt x="105773" y="1231225"/>
                  <a:pt x="105773" y="1227234"/>
                </a:cubicBezTo>
                <a:cubicBezTo>
                  <a:pt x="105773" y="1225238"/>
                  <a:pt x="105773" y="1219252"/>
                  <a:pt x="107769" y="1219252"/>
                </a:cubicBezTo>
                <a:cubicBezTo>
                  <a:pt x="107769" y="1219252"/>
                  <a:pt x="109764" y="1219252"/>
                  <a:pt x="109764" y="1217256"/>
                </a:cubicBezTo>
                <a:cubicBezTo>
                  <a:pt x="111760" y="1215261"/>
                  <a:pt x="107769" y="1211270"/>
                  <a:pt x="107769" y="1209274"/>
                </a:cubicBezTo>
                <a:cubicBezTo>
                  <a:pt x="107769" y="1209274"/>
                  <a:pt x="103777" y="1207279"/>
                  <a:pt x="105773" y="1205283"/>
                </a:cubicBezTo>
                <a:cubicBezTo>
                  <a:pt x="105773" y="1203288"/>
                  <a:pt x="107769" y="1199297"/>
                  <a:pt x="107769" y="1197301"/>
                </a:cubicBezTo>
                <a:cubicBezTo>
                  <a:pt x="107769" y="1193310"/>
                  <a:pt x="103777" y="1189319"/>
                  <a:pt x="103777" y="1187324"/>
                </a:cubicBezTo>
                <a:cubicBezTo>
                  <a:pt x="101782" y="1185328"/>
                  <a:pt x="95794" y="1183333"/>
                  <a:pt x="95794" y="1183333"/>
                </a:cubicBezTo>
                <a:cubicBezTo>
                  <a:pt x="93799" y="1183333"/>
                  <a:pt x="87812" y="1183333"/>
                  <a:pt x="87812" y="1183333"/>
                </a:cubicBezTo>
                <a:cubicBezTo>
                  <a:pt x="87812" y="1185328"/>
                  <a:pt x="87812" y="1187324"/>
                  <a:pt x="89807" y="1187324"/>
                </a:cubicBezTo>
                <a:cubicBezTo>
                  <a:pt x="91803" y="1189319"/>
                  <a:pt x="95794" y="1189319"/>
                  <a:pt x="95794" y="1191315"/>
                </a:cubicBezTo>
                <a:cubicBezTo>
                  <a:pt x="95794" y="1191315"/>
                  <a:pt x="95794" y="1193310"/>
                  <a:pt x="95794" y="1195306"/>
                </a:cubicBezTo>
                <a:cubicBezTo>
                  <a:pt x="93799" y="1197301"/>
                  <a:pt x="91803" y="1195306"/>
                  <a:pt x="91803" y="1197301"/>
                </a:cubicBezTo>
                <a:cubicBezTo>
                  <a:pt x="91803" y="1199297"/>
                  <a:pt x="95794" y="1201292"/>
                  <a:pt x="95794" y="1205283"/>
                </a:cubicBezTo>
                <a:cubicBezTo>
                  <a:pt x="95794" y="1207279"/>
                  <a:pt x="91803" y="1209274"/>
                  <a:pt x="89807" y="1209274"/>
                </a:cubicBezTo>
                <a:cubicBezTo>
                  <a:pt x="87812" y="1207279"/>
                  <a:pt x="83820" y="1207279"/>
                  <a:pt x="81824" y="1205283"/>
                </a:cubicBezTo>
                <a:cubicBezTo>
                  <a:pt x="81824" y="1205283"/>
                  <a:pt x="77833" y="1199297"/>
                  <a:pt x="77833" y="1197301"/>
                </a:cubicBezTo>
                <a:cubicBezTo>
                  <a:pt x="75837" y="1195306"/>
                  <a:pt x="77833" y="1191315"/>
                  <a:pt x="75837" y="1189319"/>
                </a:cubicBezTo>
                <a:cubicBezTo>
                  <a:pt x="73842" y="1187324"/>
                  <a:pt x="71846" y="1185328"/>
                  <a:pt x="69850" y="1185328"/>
                </a:cubicBezTo>
                <a:cubicBezTo>
                  <a:pt x="69850" y="1185328"/>
                  <a:pt x="67854" y="1183333"/>
                  <a:pt x="67854" y="1183333"/>
                </a:cubicBezTo>
                <a:cubicBezTo>
                  <a:pt x="67854" y="1181337"/>
                  <a:pt x="69850" y="1181337"/>
                  <a:pt x="69850" y="1179342"/>
                </a:cubicBezTo>
                <a:cubicBezTo>
                  <a:pt x="69850" y="1177346"/>
                  <a:pt x="65859" y="1175351"/>
                  <a:pt x="65859" y="1175351"/>
                </a:cubicBezTo>
                <a:cubicBezTo>
                  <a:pt x="63863" y="1175351"/>
                  <a:pt x="59872" y="1171360"/>
                  <a:pt x="59872" y="1171360"/>
                </a:cubicBezTo>
                <a:cubicBezTo>
                  <a:pt x="59872" y="1169364"/>
                  <a:pt x="61867" y="1167369"/>
                  <a:pt x="63863" y="1167369"/>
                </a:cubicBezTo>
                <a:cubicBezTo>
                  <a:pt x="65859" y="1165373"/>
                  <a:pt x="69850" y="1165373"/>
                  <a:pt x="69850" y="1163378"/>
                </a:cubicBezTo>
                <a:cubicBezTo>
                  <a:pt x="69850" y="1161382"/>
                  <a:pt x="67854" y="1159387"/>
                  <a:pt x="65859" y="1159387"/>
                </a:cubicBezTo>
                <a:cubicBezTo>
                  <a:pt x="65859" y="1157391"/>
                  <a:pt x="63863" y="1159387"/>
                  <a:pt x="61867" y="1161382"/>
                </a:cubicBezTo>
                <a:cubicBezTo>
                  <a:pt x="59872" y="1161382"/>
                  <a:pt x="57876" y="1159387"/>
                  <a:pt x="57876" y="1157391"/>
                </a:cubicBezTo>
                <a:cubicBezTo>
                  <a:pt x="55880" y="1157391"/>
                  <a:pt x="53884" y="1153400"/>
                  <a:pt x="55880" y="1153400"/>
                </a:cubicBezTo>
                <a:cubicBezTo>
                  <a:pt x="55880" y="1151405"/>
                  <a:pt x="57876" y="1151405"/>
                  <a:pt x="59872" y="1151405"/>
                </a:cubicBezTo>
                <a:cubicBezTo>
                  <a:pt x="59872" y="1149409"/>
                  <a:pt x="59872" y="1149409"/>
                  <a:pt x="57876" y="1149409"/>
                </a:cubicBezTo>
                <a:cubicBezTo>
                  <a:pt x="55880" y="1147414"/>
                  <a:pt x="51889" y="1147414"/>
                  <a:pt x="49893" y="1145418"/>
                </a:cubicBezTo>
                <a:cubicBezTo>
                  <a:pt x="47897" y="1145418"/>
                  <a:pt x="43906" y="1143423"/>
                  <a:pt x="43906" y="1143423"/>
                </a:cubicBezTo>
                <a:cubicBezTo>
                  <a:pt x="43906" y="1143423"/>
                  <a:pt x="39914" y="1141427"/>
                  <a:pt x="39914" y="1139432"/>
                </a:cubicBezTo>
                <a:cubicBezTo>
                  <a:pt x="39914" y="1135441"/>
                  <a:pt x="43906" y="1133445"/>
                  <a:pt x="43906" y="1129454"/>
                </a:cubicBezTo>
                <a:cubicBezTo>
                  <a:pt x="43906" y="1129454"/>
                  <a:pt x="43906" y="1125463"/>
                  <a:pt x="45902" y="1123468"/>
                </a:cubicBezTo>
                <a:cubicBezTo>
                  <a:pt x="45902" y="1121472"/>
                  <a:pt x="47897" y="1123468"/>
                  <a:pt x="47897" y="1121472"/>
                </a:cubicBezTo>
                <a:cubicBezTo>
                  <a:pt x="47897" y="1119477"/>
                  <a:pt x="45902" y="1115486"/>
                  <a:pt x="45902" y="1115486"/>
                </a:cubicBezTo>
                <a:cubicBezTo>
                  <a:pt x="45902" y="1115486"/>
                  <a:pt x="43906" y="1115486"/>
                  <a:pt x="43906" y="1115486"/>
                </a:cubicBezTo>
                <a:cubicBezTo>
                  <a:pt x="43906" y="1113490"/>
                  <a:pt x="45902" y="1111495"/>
                  <a:pt x="45902" y="1109499"/>
                </a:cubicBezTo>
                <a:cubicBezTo>
                  <a:pt x="45902" y="1107504"/>
                  <a:pt x="43906" y="1103513"/>
                  <a:pt x="43906" y="1101517"/>
                </a:cubicBezTo>
                <a:cubicBezTo>
                  <a:pt x="43906" y="1101517"/>
                  <a:pt x="43906" y="1099522"/>
                  <a:pt x="43906" y="1099522"/>
                </a:cubicBezTo>
                <a:cubicBezTo>
                  <a:pt x="43906" y="1097526"/>
                  <a:pt x="43906" y="1091540"/>
                  <a:pt x="43906" y="1091540"/>
                </a:cubicBezTo>
                <a:cubicBezTo>
                  <a:pt x="43906" y="1089544"/>
                  <a:pt x="41910" y="1087549"/>
                  <a:pt x="41910" y="1087549"/>
                </a:cubicBezTo>
                <a:cubicBezTo>
                  <a:pt x="41910" y="1087549"/>
                  <a:pt x="39914" y="1085553"/>
                  <a:pt x="39914" y="1083558"/>
                </a:cubicBezTo>
                <a:cubicBezTo>
                  <a:pt x="41910" y="1083558"/>
                  <a:pt x="39914" y="1079567"/>
                  <a:pt x="39914" y="1077571"/>
                </a:cubicBezTo>
                <a:cubicBezTo>
                  <a:pt x="39914" y="1075576"/>
                  <a:pt x="39914" y="1073580"/>
                  <a:pt x="41910" y="1073580"/>
                </a:cubicBezTo>
                <a:cubicBezTo>
                  <a:pt x="43906" y="1071585"/>
                  <a:pt x="45902" y="1071585"/>
                  <a:pt x="47897" y="1071585"/>
                </a:cubicBezTo>
                <a:cubicBezTo>
                  <a:pt x="49893" y="1071585"/>
                  <a:pt x="51889" y="1071585"/>
                  <a:pt x="51889" y="1071585"/>
                </a:cubicBezTo>
                <a:cubicBezTo>
                  <a:pt x="51889" y="1069589"/>
                  <a:pt x="49893" y="1065598"/>
                  <a:pt x="49893" y="1065598"/>
                </a:cubicBezTo>
                <a:cubicBezTo>
                  <a:pt x="49893" y="1065598"/>
                  <a:pt x="43906" y="1069589"/>
                  <a:pt x="41910" y="1069589"/>
                </a:cubicBezTo>
                <a:cubicBezTo>
                  <a:pt x="41910" y="1069589"/>
                  <a:pt x="39914" y="1067594"/>
                  <a:pt x="37919" y="1067594"/>
                </a:cubicBezTo>
                <a:cubicBezTo>
                  <a:pt x="35923" y="1067594"/>
                  <a:pt x="33927" y="1067594"/>
                  <a:pt x="33927" y="1065598"/>
                </a:cubicBezTo>
                <a:cubicBezTo>
                  <a:pt x="31932" y="1065598"/>
                  <a:pt x="31932" y="1059612"/>
                  <a:pt x="31932" y="1057616"/>
                </a:cubicBezTo>
                <a:cubicBezTo>
                  <a:pt x="31932" y="1057616"/>
                  <a:pt x="35923" y="1055621"/>
                  <a:pt x="33927" y="1053625"/>
                </a:cubicBezTo>
                <a:cubicBezTo>
                  <a:pt x="31932" y="1053625"/>
                  <a:pt x="31932" y="1053625"/>
                  <a:pt x="35923" y="1053625"/>
                </a:cubicBezTo>
                <a:cubicBezTo>
                  <a:pt x="37919" y="1053625"/>
                  <a:pt x="39914" y="1055621"/>
                  <a:pt x="39914" y="1055621"/>
                </a:cubicBezTo>
                <a:cubicBezTo>
                  <a:pt x="39914" y="1057616"/>
                  <a:pt x="35923" y="1059612"/>
                  <a:pt x="37919" y="1059612"/>
                </a:cubicBezTo>
                <a:cubicBezTo>
                  <a:pt x="39914" y="1059612"/>
                  <a:pt x="41910" y="1059612"/>
                  <a:pt x="43906" y="1059612"/>
                </a:cubicBezTo>
                <a:cubicBezTo>
                  <a:pt x="45902" y="1059612"/>
                  <a:pt x="47897" y="1057616"/>
                  <a:pt x="47897" y="1059612"/>
                </a:cubicBezTo>
                <a:cubicBezTo>
                  <a:pt x="47897" y="1061607"/>
                  <a:pt x="47897" y="1061607"/>
                  <a:pt x="49893" y="1063603"/>
                </a:cubicBezTo>
                <a:cubicBezTo>
                  <a:pt x="51889" y="1063603"/>
                  <a:pt x="53884" y="1063603"/>
                  <a:pt x="53884" y="1063603"/>
                </a:cubicBezTo>
                <a:cubicBezTo>
                  <a:pt x="53884" y="1061607"/>
                  <a:pt x="55880" y="1065598"/>
                  <a:pt x="55880" y="1065598"/>
                </a:cubicBezTo>
                <a:cubicBezTo>
                  <a:pt x="57876" y="1065598"/>
                  <a:pt x="59872" y="1067594"/>
                  <a:pt x="61867" y="1065598"/>
                </a:cubicBezTo>
                <a:cubicBezTo>
                  <a:pt x="61867" y="1065598"/>
                  <a:pt x="63863" y="1063603"/>
                  <a:pt x="63863" y="1063603"/>
                </a:cubicBezTo>
                <a:cubicBezTo>
                  <a:pt x="63863" y="1061607"/>
                  <a:pt x="61867" y="1061607"/>
                  <a:pt x="59872" y="1061607"/>
                </a:cubicBezTo>
                <a:cubicBezTo>
                  <a:pt x="59872" y="1061607"/>
                  <a:pt x="57876" y="1061607"/>
                  <a:pt x="57876" y="1059612"/>
                </a:cubicBezTo>
                <a:cubicBezTo>
                  <a:pt x="55880" y="1059612"/>
                  <a:pt x="55880" y="1057616"/>
                  <a:pt x="55880" y="1057616"/>
                </a:cubicBezTo>
                <a:cubicBezTo>
                  <a:pt x="55880" y="1057616"/>
                  <a:pt x="53884" y="1057616"/>
                  <a:pt x="53884" y="1055621"/>
                </a:cubicBezTo>
                <a:cubicBezTo>
                  <a:pt x="55880" y="1053625"/>
                  <a:pt x="57876" y="1051630"/>
                  <a:pt x="59872" y="1053625"/>
                </a:cubicBezTo>
                <a:cubicBezTo>
                  <a:pt x="61867" y="1053625"/>
                  <a:pt x="61867" y="1055621"/>
                  <a:pt x="61867" y="1055621"/>
                </a:cubicBezTo>
                <a:cubicBezTo>
                  <a:pt x="63863" y="1055621"/>
                  <a:pt x="61867" y="1051630"/>
                  <a:pt x="61867" y="1049634"/>
                </a:cubicBezTo>
                <a:cubicBezTo>
                  <a:pt x="61867" y="1049634"/>
                  <a:pt x="59872" y="1047639"/>
                  <a:pt x="57876" y="1047639"/>
                </a:cubicBezTo>
                <a:cubicBezTo>
                  <a:pt x="57876" y="1047639"/>
                  <a:pt x="53884" y="1049634"/>
                  <a:pt x="51889" y="1049634"/>
                </a:cubicBezTo>
                <a:cubicBezTo>
                  <a:pt x="49893" y="1049634"/>
                  <a:pt x="45902" y="1049634"/>
                  <a:pt x="45902" y="1049634"/>
                </a:cubicBezTo>
                <a:cubicBezTo>
                  <a:pt x="43906" y="1051630"/>
                  <a:pt x="41910" y="1051630"/>
                  <a:pt x="39914" y="1051630"/>
                </a:cubicBezTo>
                <a:cubicBezTo>
                  <a:pt x="37919" y="1049634"/>
                  <a:pt x="35923" y="1047639"/>
                  <a:pt x="33927" y="1047639"/>
                </a:cubicBezTo>
                <a:cubicBezTo>
                  <a:pt x="31932" y="1047639"/>
                  <a:pt x="31932" y="1047639"/>
                  <a:pt x="29936" y="1045643"/>
                </a:cubicBezTo>
                <a:cubicBezTo>
                  <a:pt x="29936" y="1045643"/>
                  <a:pt x="27940" y="1045643"/>
                  <a:pt x="27940" y="1043648"/>
                </a:cubicBezTo>
                <a:cubicBezTo>
                  <a:pt x="27940" y="1041652"/>
                  <a:pt x="27940" y="1041652"/>
                  <a:pt x="29936" y="1041652"/>
                </a:cubicBezTo>
                <a:cubicBezTo>
                  <a:pt x="31932" y="1041652"/>
                  <a:pt x="33927" y="1041652"/>
                  <a:pt x="37919" y="1039657"/>
                </a:cubicBezTo>
                <a:cubicBezTo>
                  <a:pt x="39914" y="1039657"/>
                  <a:pt x="39914" y="1039657"/>
                  <a:pt x="39914" y="1039657"/>
                </a:cubicBezTo>
                <a:cubicBezTo>
                  <a:pt x="39914" y="1039657"/>
                  <a:pt x="41910" y="1037661"/>
                  <a:pt x="39914" y="1035666"/>
                </a:cubicBezTo>
                <a:cubicBezTo>
                  <a:pt x="35923" y="1035666"/>
                  <a:pt x="33927" y="1035666"/>
                  <a:pt x="31932" y="1033670"/>
                </a:cubicBezTo>
                <a:cubicBezTo>
                  <a:pt x="31932" y="1031675"/>
                  <a:pt x="27940" y="1027684"/>
                  <a:pt x="27940" y="1027684"/>
                </a:cubicBezTo>
                <a:cubicBezTo>
                  <a:pt x="27940" y="1025688"/>
                  <a:pt x="25944" y="1021697"/>
                  <a:pt x="27940" y="1021697"/>
                </a:cubicBezTo>
                <a:cubicBezTo>
                  <a:pt x="27940" y="1021697"/>
                  <a:pt x="31932" y="1021697"/>
                  <a:pt x="31932" y="1021697"/>
                </a:cubicBezTo>
                <a:cubicBezTo>
                  <a:pt x="31932" y="1021697"/>
                  <a:pt x="31932" y="1023693"/>
                  <a:pt x="31932" y="1025688"/>
                </a:cubicBezTo>
                <a:cubicBezTo>
                  <a:pt x="33927" y="1027684"/>
                  <a:pt x="35923" y="1027684"/>
                  <a:pt x="35923" y="1027684"/>
                </a:cubicBezTo>
                <a:cubicBezTo>
                  <a:pt x="35923" y="1027684"/>
                  <a:pt x="37919" y="1027684"/>
                  <a:pt x="37919" y="1025688"/>
                </a:cubicBezTo>
                <a:cubicBezTo>
                  <a:pt x="37919" y="1025688"/>
                  <a:pt x="37919" y="1023693"/>
                  <a:pt x="37919" y="1021697"/>
                </a:cubicBezTo>
                <a:cubicBezTo>
                  <a:pt x="39914" y="1019702"/>
                  <a:pt x="41910" y="1021697"/>
                  <a:pt x="41910" y="1021697"/>
                </a:cubicBezTo>
                <a:cubicBezTo>
                  <a:pt x="41910" y="1021697"/>
                  <a:pt x="43906" y="1019702"/>
                  <a:pt x="43906" y="1021697"/>
                </a:cubicBezTo>
                <a:cubicBezTo>
                  <a:pt x="45902" y="1023693"/>
                  <a:pt x="45902" y="1019702"/>
                  <a:pt x="45902" y="1019702"/>
                </a:cubicBezTo>
                <a:cubicBezTo>
                  <a:pt x="45902" y="1019702"/>
                  <a:pt x="41910" y="1019702"/>
                  <a:pt x="41910" y="1017706"/>
                </a:cubicBezTo>
                <a:cubicBezTo>
                  <a:pt x="41910" y="1017706"/>
                  <a:pt x="41910" y="1015711"/>
                  <a:pt x="41910" y="1015711"/>
                </a:cubicBezTo>
                <a:cubicBezTo>
                  <a:pt x="41910" y="1015711"/>
                  <a:pt x="39914" y="1013715"/>
                  <a:pt x="39914" y="1013715"/>
                </a:cubicBezTo>
                <a:cubicBezTo>
                  <a:pt x="39914" y="1011720"/>
                  <a:pt x="39914" y="1009724"/>
                  <a:pt x="39914" y="1009724"/>
                </a:cubicBezTo>
                <a:cubicBezTo>
                  <a:pt x="39914" y="1009724"/>
                  <a:pt x="39914" y="1009724"/>
                  <a:pt x="35923" y="1009724"/>
                </a:cubicBezTo>
                <a:cubicBezTo>
                  <a:pt x="35923" y="1009724"/>
                  <a:pt x="37919" y="1007729"/>
                  <a:pt x="35923" y="1007729"/>
                </a:cubicBezTo>
                <a:cubicBezTo>
                  <a:pt x="33927" y="1005733"/>
                  <a:pt x="33927" y="1005733"/>
                  <a:pt x="31932" y="1005733"/>
                </a:cubicBezTo>
                <a:cubicBezTo>
                  <a:pt x="29936" y="1005733"/>
                  <a:pt x="25944" y="1005733"/>
                  <a:pt x="25944" y="1007729"/>
                </a:cubicBezTo>
                <a:cubicBezTo>
                  <a:pt x="23949" y="1009724"/>
                  <a:pt x="23949" y="1011720"/>
                  <a:pt x="23949" y="1011720"/>
                </a:cubicBezTo>
                <a:cubicBezTo>
                  <a:pt x="21953" y="1011720"/>
                  <a:pt x="19957" y="1011720"/>
                  <a:pt x="19957" y="1011720"/>
                </a:cubicBezTo>
                <a:cubicBezTo>
                  <a:pt x="19957" y="1009724"/>
                  <a:pt x="17962" y="1003738"/>
                  <a:pt x="17962" y="1003738"/>
                </a:cubicBezTo>
                <a:cubicBezTo>
                  <a:pt x="17962" y="1003738"/>
                  <a:pt x="13970" y="1001742"/>
                  <a:pt x="11974" y="1001742"/>
                </a:cubicBezTo>
                <a:cubicBezTo>
                  <a:pt x="9979" y="1001742"/>
                  <a:pt x="5987" y="1003738"/>
                  <a:pt x="5987" y="1003738"/>
                </a:cubicBezTo>
                <a:cubicBezTo>
                  <a:pt x="5987" y="1005733"/>
                  <a:pt x="5987" y="1009724"/>
                  <a:pt x="7983" y="1011720"/>
                </a:cubicBezTo>
                <a:cubicBezTo>
                  <a:pt x="7983" y="1015711"/>
                  <a:pt x="9979" y="1015711"/>
                  <a:pt x="9979" y="1017706"/>
                </a:cubicBezTo>
                <a:cubicBezTo>
                  <a:pt x="7983" y="1019702"/>
                  <a:pt x="5987" y="1019702"/>
                  <a:pt x="5987" y="1017706"/>
                </a:cubicBezTo>
                <a:cubicBezTo>
                  <a:pt x="3992" y="1017706"/>
                  <a:pt x="0" y="1011720"/>
                  <a:pt x="0" y="1009724"/>
                </a:cubicBezTo>
                <a:cubicBezTo>
                  <a:pt x="0" y="1005733"/>
                  <a:pt x="0" y="1003738"/>
                  <a:pt x="1996" y="1001742"/>
                </a:cubicBezTo>
                <a:cubicBezTo>
                  <a:pt x="1996" y="997751"/>
                  <a:pt x="7983" y="993760"/>
                  <a:pt x="9979" y="993760"/>
                </a:cubicBezTo>
                <a:cubicBezTo>
                  <a:pt x="11974" y="993760"/>
                  <a:pt x="15966" y="993760"/>
                  <a:pt x="15966" y="991764"/>
                </a:cubicBezTo>
                <a:cubicBezTo>
                  <a:pt x="15966" y="989769"/>
                  <a:pt x="15966" y="985778"/>
                  <a:pt x="15966" y="983782"/>
                </a:cubicBezTo>
                <a:cubicBezTo>
                  <a:pt x="15966" y="981787"/>
                  <a:pt x="13970" y="977796"/>
                  <a:pt x="13970" y="975800"/>
                </a:cubicBezTo>
                <a:cubicBezTo>
                  <a:pt x="13970" y="975800"/>
                  <a:pt x="17962" y="975800"/>
                  <a:pt x="17962" y="977796"/>
                </a:cubicBezTo>
                <a:cubicBezTo>
                  <a:pt x="17962" y="979791"/>
                  <a:pt x="21953" y="979791"/>
                  <a:pt x="23949" y="977796"/>
                </a:cubicBezTo>
                <a:cubicBezTo>
                  <a:pt x="23949" y="977796"/>
                  <a:pt x="25944" y="977796"/>
                  <a:pt x="27940" y="979791"/>
                </a:cubicBezTo>
                <a:cubicBezTo>
                  <a:pt x="27940" y="979791"/>
                  <a:pt x="27940" y="981787"/>
                  <a:pt x="29936" y="983782"/>
                </a:cubicBezTo>
                <a:cubicBezTo>
                  <a:pt x="31932" y="983782"/>
                  <a:pt x="33927" y="981787"/>
                  <a:pt x="33927" y="985778"/>
                </a:cubicBezTo>
                <a:cubicBezTo>
                  <a:pt x="33927" y="987773"/>
                  <a:pt x="33927" y="987773"/>
                  <a:pt x="35923" y="987773"/>
                </a:cubicBezTo>
                <a:cubicBezTo>
                  <a:pt x="35923" y="987773"/>
                  <a:pt x="37919" y="989769"/>
                  <a:pt x="35923" y="991764"/>
                </a:cubicBezTo>
                <a:cubicBezTo>
                  <a:pt x="35923" y="993760"/>
                  <a:pt x="35923" y="991764"/>
                  <a:pt x="35923" y="993760"/>
                </a:cubicBezTo>
                <a:cubicBezTo>
                  <a:pt x="35923" y="995755"/>
                  <a:pt x="35923" y="997751"/>
                  <a:pt x="37919" y="997751"/>
                </a:cubicBezTo>
                <a:cubicBezTo>
                  <a:pt x="39914" y="995755"/>
                  <a:pt x="41910" y="993760"/>
                  <a:pt x="41910" y="993760"/>
                </a:cubicBezTo>
                <a:cubicBezTo>
                  <a:pt x="41910" y="993760"/>
                  <a:pt x="41910" y="989769"/>
                  <a:pt x="41910" y="985778"/>
                </a:cubicBezTo>
                <a:cubicBezTo>
                  <a:pt x="41910" y="983782"/>
                  <a:pt x="41910" y="983782"/>
                  <a:pt x="43906" y="983782"/>
                </a:cubicBezTo>
                <a:cubicBezTo>
                  <a:pt x="43906" y="983782"/>
                  <a:pt x="45902" y="983782"/>
                  <a:pt x="45902" y="987773"/>
                </a:cubicBezTo>
                <a:cubicBezTo>
                  <a:pt x="45902" y="989769"/>
                  <a:pt x="45902" y="995755"/>
                  <a:pt x="43906" y="997751"/>
                </a:cubicBezTo>
                <a:cubicBezTo>
                  <a:pt x="41910" y="999746"/>
                  <a:pt x="37919" y="1003738"/>
                  <a:pt x="39914" y="1005733"/>
                </a:cubicBezTo>
                <a:cubicBezTo>
                  <a:pt x="39914" y="1007729"/>
                  <a:pt x="43906" y="1007729"/>
                  <a:pt x="45902" y="1005733"/>
                </a:cubicBezTo>
                <a:cubicBezTo>
                  <a:pt x="47897" y="1003738"/>
                  <a:pt x="47897" y="999746"/>
                  <a:pt x="47897" y="997751"/>
                </a:cubicBezTo>
                <a:cubicBezTo>
                  <a:pt x="47897" y="993760"/>
                  <a:pt x="47897" y="989769"/>
                  <a:pt x="49893" y="989769"/>
                </a:cubicBezTo>
                <a:cubicBezTo>
                  <a:pt x="51889" y="987773"/>
                  <a:pt x="51889" y="989769"/>
                  <a:pt x="53884" y="987773"/>
                </a:cubicBezTo>
                <a:cubicBezTo>
                  <a:pt x="53884" y="985778"/>
                  <a:pt x="53884" y="977796"/>
                  <a:pt x="51889" y="977796"/>
                </a:cubicBezTo>
                <a:cubicBezTo>
                  <a:pt x="51889" y="977796"/>
                  <a:pt x="47897" y="979791"/>
                  <a:pt x="47897" y="977796"/>
                </a:cubicBezTo>
                <a:cubicBezTo>
                  <a:pt x="47897" y="977796"/>
                  <a:pt x="51889" y="967818"/>
                  <a:pt x="51889" y="965823"/>
                </a:cubicBezTo>
                <a:cubicBezTo>
                  <a:pt x="53884" y="965823"/>
                  <a:pt x="53884" y="963827"/>
                  <a:pt x="55880" y="963827"/>
                </a:cubicBezTo>
                <a:cubicBezTo>
                  <a:pt x="55880" y="963827"/>
                  <a:pt x="57876" y="963827"/>
                  <a:pt x="59872" y="963827"/>
                </a:cubicBezTo>
                <a:cubicBezTo>
                  <a:pt x="61867" y="963827"/>
                  <a:pt x="59872" y="959836"/>
                  <a:pt x="57876" y="959836"/>
                </a:cubicBezTo>
                <a:cubicBezTo>
                  <a:pt x="55880" y="959836"/>
                  <a:pt x="51889" y="959836"/>
                  <a:pt x="51889" y="959836"/>
                </a:cubicBezTo>
                <a:cubicBezTo>
                  <a:pt x="51889" y="959836"/>
                  <a:pt x="51889" y="953850"/>
                  <a:pt x="51889" y="951854"/>
                </a:cubicBezTo>
                <a:cubicBezTo>
                  <a:pt x="51889" y="949859"/>
                  <a:pt x="53884" y="947863"/>
                  <a:pt x="53884" y="945868"/>
                </a:cubicBezTo>
                <a:cubicBezTo>
                  <a:pt x="53884" y="943872"/>
                  <a:pt x="49893" y="943872"/>
                  <a:pt x="49893" y="941877"/>
                </a:cubicBezTo>
                <a:cubicBezTo>
                  <a:pt x="47897" y="941877"/>
                  <a:pt x="49893" y="933895"/>
                  <a:pt x="49893" y="933895"/>
                </a:cubicBezTo>
                <a:cubicBezTo>
                  <a:pt x="49893" y="933895"/>
                  <a:pt x="47897" y="933895"/>
                  <a:pt x="47897" y="931899"/>
                </a:cubicBezTo>
                <a:cubicBezTo>
                  <a:pt x="47897" y="929904"/>
                  <a:pt x="49893" y="927908"/>
                  <a:pt x="49893" y="925913"/>
                </a:cubicBezTo>
                <a:cubicBezTo>
                  <a:pt x="49893" y="925913"/>
                  <a:pt x="51889" y="923917"/>
                  <a:pt x="51889" y="923917"/>
                </a:cubicBezTo>
                <a:cubicBezTo>
                  <a:pt x="51889" y="923917"/>
                  <a:pt x="53884" y="925913"/>
                  <a:pt x="55880" y="925913"/>
                </a:cubicBezTo>
                <a:cubicBezTo>
                  <a:pt x="57876" y="925913"/>
                  <a:pt x="57876" y="923917"/>
                  <a:pt x="57876" y="925913"/>
                </a:cubicBezTo>
                <a:cubicBezTo>
                  <a:pt x="57876" y="927908"/>
                  <a:pt x="59872" y="927908"/>
                  <a:pt x="61867" y="927908"/>
                </a:cubicBezTo>
                <a:cubicBezTo>
                  <a:pt x="65859" y="929904"/>
                  <a:pt x="65859" y="929904"/>
                  <a:pt x="67854" y="927908"/>
                </a:cubicBezTo>
                <a:cubicBezTo>
                  <a:pt x="67854" y="925913"/>
                  <a:pt x="67854" y="921922"/>
                  <a:pt x="65859" y="921922"/>
                </a:cubicBezTo>
                <a:cubicBezTo>
                  <a:pt x="65859" y="921922"/>
                  <a:pt x="59872" y="921922"/>
                  <a:pt x="59872" y="921922"/>
                </a:cubicBezTo>
                <a:cubicBezTo>
                  <a:pt x="57876" y="921922"/>
                  <a:pt x="57876" y="919926"/>
                  <a:pt x="55880" y="917931"/>
                </a:cubicBezTo>
                <a:cubicBezTo>
                  <a:pt x="55880" y="917931"/>
                  <a:pt x="53884" y="917931"/>
                  <a:pt x="51889" y="917931"/>
                </a:cubicBezTo>
                <a:cubicBezTo>
                  <a:pt x="51889" y="915935"/>
                  <a:pt x="49893" y="917931"/>
                  <a:pt x="49893" y="913940"/>
                </a:cubicBezTo>
                <a:cubicBezTo>
                  <a:pt x="49893" y="911944"/>
                  <a:pt x="49893" y="911944"/>
                  <a:pt x="51889" y="911944"/>
                </a:cubicBezTo>
                <a:cubicBezTo>
                  <a:pt x="51889" y="911944"/>
                  <a:pt x="55880" y="907953"/>
                  <a:pt x="55880" y="905958"/>
                </a:cubicBezTo>
                <a:cubicBezTo>
                  <a:pt x="55880" y="903962"/>
                  <a:pt x="55880" y="899971"/>
                  <a:pt x="55880" y="899971"/>
                </a:cubicBezTo>
                <a:cubicBezTo>
                  <a:pt x="57876" y="897976"/>
                  <a:pt x="53884" y="895980"/>
                  <a:pt x="53884" y="895980"/>
                </a:cubicBezTo>
                <a:cubicBezTo>
                  <a:pt x="53884" y="895980"/>
                  <a:pt x="49893" y="893985"/>
                  <a:pt x="51889" y="891989"/>
                </a:cubicBezTo>
                <a:cubicBezTo>
                  <a:pt x="51889" y="887998"/>
                  <a:pt x="53884" y="884007"/>
                  <a:pt x="55880" y="882012"/>
                </a:cubicBezTo>
                <a:cubicBezTo>
                  <a:pt x="55880" y="880016"/>
                  <a:pt x="55880" y="876025"/>
                  <a:pt x="53884" y="876025"/>
                </a:cubicBezTo>
                <a:cubicBezTo>
                  <a:pt x="53884" y="874030"/>
                  <a:pt x="53884" y="872034"/>
                  <a:pt x="53884" y="872034"/>
                </a:cubicBezTo>
                <a:cubicBezTo>
                  <a:pt x="55880" y="872034"/>
                  <a:pt x="57876" y="872034"/>
                  <a:pt x="57876" y="872034"/>
                </a:cubicBezTo>
                <a:cubicBezTo>
                  <a:pt x="57876" y="870039"/>
                  <a:pt x="57876" y="868043"/>
                  <a:pt x="55880" y="868043"/>
                </a:cubicBezTo>
                <a:cubicBezTo>
                  <a:pt x="53884" y="868043"/>
                  <a:pt x="51889" y="870039"/>
                  <a:pt x="51889" y="866048"/>
                </a:cubicBezTo>
                <a:cubicBezTo>
                  <a:pt x="51889" y="864052"/>
                  <a:pt x="51889" y="862057"/>
                  <a:pt x="53884" y="860061"/>
                </a:cubicBezTo>
                <a:cubicBezTo>
                  <a:pt x="53884" y="858066"/>
                  <a:pt x="53884" y="856070"/>
                  <a:pt x="55880" y="858066"/>
                </a:cubicBezTo>
                <a:cubicBezTo>
                  <a:pt x="57876" y="858066"/>
                  <a:pt x="59872" y="860061"/>
                  <a:pt x="59872" y="858066"/>
                </a:cubicBezTo>
                <a:cubicBezTo>
                  <a:pt x="59872" y="858066"/>
                  <a:pt x="57876" y="854075"/>
                  <a:pt x="57876" y="854075"/>
                </a:cubicBezTo>
                <a:cubicBezTo>
                  <a:pt x="55880" y="852079"/>
                  <a:pt x="53884" y="850084"/>
                  <a:pt x="53884" y="850084"/>
                </a:cubicBezTo>
                <a:cubicBezTo>
                  <a:pt x="55880" y="846093"/>
                  <a:pt x="57876" y="846093"/>
                  <a:pt x="57876" y="848088"/>
                </a:cubicBezTo>
                <a:cubicBezTo>
                  <a:pt x="59872" y="848088"/>
                  <a:pt x="59872" y="850084"/>
                  <a:pt x="59872" y="850084"/>
                </a:cubicBezTo>
                <a:cubicBezTo>
                  <a:pt x="61867" y="850084"/>
                  <a:pt x="61867" y="848088"/>
                  <a:pt x="61867" y="846093"/>
                </a:cubicBezTo>
                <a:cubicBezTo>
                  <a:pt x="61867" y="846093"/>
                  <a:pt x="63863" y="838111"/>
                  <a:pt x="61867" y="838111"/>
                </a:cubicBezTo>
                <a:cubicBezTo>
                  <a:pt x="59872" y="838111"/>
                  <a:pt x="57876" y="840106"/>
                  <a:pt x="55880" y="840106"/>
                </a:cubicBezTo>
                <a:cubicBezTo>
                  <a:pt x="51889" y="840106"/>
                  <a:pt x="51889" y="836115"/>
                  <a:pt x="51889" y="834120"/>
                </a:cubicBezTo>
                <a:cubicBezTo>
                  <a:pt x="51889" y="832124"/>
                  <a:pt x="53884" y="828133"/>
                  <a:pt x="55880" y="828133"/>
                </a:cubicBezTo>
                <a:cubicBezTo>
                  <a:pt x="57876" y="828133"/>
                  <a:pt x="61867" y="826138"/>
                  <a:pt x="61867" y="826138"/>
                </a:cubicBezTo>
                <a:cubicBezTo>
                  <a:pt x="63863" y="824142"/>
                  <a:pt x="63863" y="818156"/>
                  <a:pt x="63863" y="818156"/>
                </a:cubicBezTo>
                <a:cubicBezTo>
                  <a:pt x="63863" y="818156"/>
                  <a:pt x="61867" y="816160"/>
                  <a:pt x="61867" y="818156"/>
                </a:cubicBezTo>
                <a:cubicBezTo>
                  <a:pt x="61867" y="818156"/>
                  <a:pt x="57876" y="822147"/>
                  <a:pt x="57876" y="822147"/>
                </a:cubicBezTo>
                <a:cubicBezTo>
                  <a:pt x="55880" y="824142"/>
                  <a:pt x="51889" y="824142"/>
                  <a:pt x="49893" y="824142"/>
                </a:cubicBezTo>
                <a:cubicBezTo>
                  <a:pt x="47897" y="824142"/>
                  <a:pt x="47897" y="822147"/>
                  <a:pt x="47897" y="820151"/>
                </a:cubicBezTo>
                <a:cubicBezTo>
                  <a:pt x="47897" y="820151"/>
                  <a:pt x="45902" y="820151"/>
                  <a:pt x="43906" y="822147"/>
                </a:cubicBezTo>
                <a:cubicBezTo>
                  <a:pt x="43906" y="824142"/>
                  <a:pt x="39914" y="824142"/>
                  <a:pt x="39914" y="826138"/>
                </a:cubicBezTo>
                <a:cubicBezTo>
                  <a:pt x="37919" y="826138"/>
                  <a:pt x="33927" y="826138"/>
                  <a:pt x="33927" y="826138"/>
                </a:cubicBezTo>
                <a:cubicBezTo>
                  <a:pt x="31932" y="828133"/>
                  <a:pt x="31932" y="830129"/>
                  <a:pt x="29936" y="828133"/>
                </a:cubicBezTo>
                <a:cubicBezTo>
                  <a:pt x="27940" y="828133"/>
                  <a:pt x="25944" y="824142"/>
                  <a:pt x="25944" y="824142"/>
                </a:cubicBezTo>
                <a:cubicBezTo>
                  <a:pt x="23949" y="824142"/>
                  <a:pt x="23949" y="824142"/>
                  <a:pt x="23949" y="822147"/>
                </a:cubicBezTo>
                <a:cubicBezTo>
                  <a:pt x="23949" y="820151"/>
                  <a:pt x="21953" y="816160"/>
                  <a:pt x="21953" y="814165"/>
                </a:cubicBezTo>
                <a:cubicBezTo>
                  <a:pt x="19957" y="812169"/>
                  <a:pt x="21953" y="808178"/>
                  <a:pt x="21953" y="804187"/>
                </a:cubicBezTo>
                <a:cubicBezTo>
                  <a:pt x="21953" y="800196"/>
                  <a:pt x="21953" y="794210"/>
                  <a:pt x="21953" y="794210"/>
                </a:cubicBezTo>
                <a:cubicBezTo>
                  <a:pt x="21953" y="792214"/>
                  <a:pt x="19957" y="792214"/>
                  <a:pt x="19957" y="790219"/>
                </a:cubicBezTo>
                <a:cubicBezTo>
                  <a:pt x="19957" y="790219"/>
                  <a:pt x="17962" y="784232"/>
                  <a:pt x="19957" y="782237"/>
                </a:cubicBezTo>
                <a:cubicBezTo>
                  <a:pt x="19957" y="782237"/>
                  <a:pt x="21953" y="782237"/>
                  <a:pt x="21953" y="780241"/>
                </a:cubicBezTo>
                <a:cubicBezTo>
                  <a:pt x="21953" y="778246"/>
                  <a:pt x="19957" y="778246"/>
                  <a:pt x="19957" y="778246"/>
                </a:cubicBezTo>
                <a:cubicBezTo>
                  <a:pt x="19957" y="776250"/>
                  <a:pt x="19957" y="770264"/>
                  <a:pt x="19957" y="766273"/>
                </a:cubicBezTo>
                <a:cubicBezTo>
                  <a:pt x="21953" y="762282"/>
                  <a:pt x="25944" y="756295"/>
                  <a:pt x="25944" y="752304"/>
                </a:cubicBezTo>
                <a:cubicBezTo>
                  <a:pt x="25944" y="748313"/>
                  <a:pt x="25944" y="734345"/>
                  <a:pt x="25944" y="732349"/>
                </a:cubicBezTo>
                <a:cubicBezTo>
                  <a:pt x="25944" y="728358"/>
                  <a:pt x="23949" y="718381"/>
                  <a:pt x="23949" y="716385"/>
                </a:cubicBezTo>
                <a:cubicBezTo>
                  <a:pt x="21953" y="714390"/>
                  <a:pt x="19957" y="710399"/>
                  <a:pt x="19957" y="708403"/>
                </a:cubicBezTo>
                <a:cubicBezTo>
                  <a:pt x="19957" y="706408"/>
                  <a:pt x="17962" y="702417"/>
                  <a:pt x="17962" y="700421"/>
                </a:cubicBezTo>
                <a:cubicBezTo>
                  <a:pt x="17962" y="698426"/>
                  <a:pt x="17962" y="696430"/>
                  <a:pt x="15966" y="694435"/>
                </a:cubicBezTo>
                <a:cubicBezTo>
                  <a:pt x="13970" y="692439"/>
                  <a:pt x="11974" y="688448"/>
                  <a:pt x="9979" y="686453"/>
                </a:cubicBezTo>
                <a:cubicBezTo>
                  <a:pt x="9979" y="682462"/>
                  <a:pt x="9979" y="678471"/>
                  <a:pt x="9979" y="676475"/>
                </a:cubicBezTo>
                <a:cubicBezTo>
                  <a:pt x="9979" y="674480"/>
                  <a:pt x="11974" y="670489"/>
                  <a:pt x="13970" y="670489"/>
                </a:cubicBezTo>
                <a:cubicBezTo>
                  <a:pt x="13970" y="670489"/>
                  <a:pt x="13970" y="670489"/>
                  <a:pt x="15966" y="670489"/>
                </a:cubicBezTo>
                <a:cubicBezTo>
                  <a:pt x="17962" y="672484"/>
                  <a:pt x="19957" y="670489"/>
                  <a:pt x="19957" y="668493"/>
                </a:cubicBezTo>
                <a:cubicBezTo>
                  <a:pt x="19957" y="668493"/>
                  <a:pt x="21953" y="664502"/>
                  <a:pt x="21953" y="660511"/>
                </a:cubicBezTo>
                <a:cubicBezTo>
                  <a:pt x="21953" y="658516"/>
                  <a:pt x="19957" y="656520"/>
                  <a:pt x="21953" y="654525"/>
                </a:cubicBezTo>
                <a:cubicBezTo>
                  <a:pt x="21953" y="650534"/>
                  <a:pt x="23949" y="650534"/>
                  <a:pt x="23949" y="650534"/>
                </a:cubicBezTo>
                <a:cubicBezTo>
                  <a:pt x="25944" y="650534"/>
                  <a:pt x="25944" y="650534"/>
                  <a:pt x="25944" y="648538"/>
                </a:cubicBezTo>
                <a:cubicBezTo>
                  <a:pt x="25944" y="644547"/>
                  <a:pt x="27940" y="640556"/>
                  <a:pt x="27940" y="640556"/>
                </a:cubicBezTo>
                <a:cubicBezTo>
                  <a:pt x="27940" y="638561"/>
                  <a:pt x="27940" y="630579"/>
                  <a:pt x="27940" y="628583"/>
                </a:cubicBezTo>
                <a:cubicBezTo>
                  <a:pt x="29936" y="626588"/>
                  <a:pt x="27940" y="616610"/>
                  <a:pt x="27940" y="614615"/>
                </a:cubicBezTo>
                <a:cubicBezTo>
                  <a:pt x="27940" y="612619"/>
                  <a:pt x="27940" y="610624"/>
                  <a:pt x="29936" y="608628"/>
                </a:cubicBezTo>
                <a:cubicBezTo>
                  <a:pt x="31932" y="608628"/>
                  <a:pt x="31932" y="608628"/>
                  <a:pt x="31932" y="606633"/>
                </a:cubicBezTo>
                <a:cubicBezTo>
                  <a:pt x="33927" y="602642"/>
                  <a:pt x="35923" y="600646"/>
                  <a:pt x="35923" y="598651"/>
                </a:cubicBezTo>
                <a:cubicBezTo>
                  <a:pt x="35923" y="596655"/>
                  <a:pt x="35923" y="592664"/>
                  <a:pt x="35923" y="590669"/>
                </a:cubicBezTo>
                <a:cubicBezTo>
                  <a:pt x="35923" y="586678"/>
                  <a:pt x="35923" y="584682"/>
                  <a:pt x="37919" y="582687"/>
                </a:cubicBezTo>
                <a:cubicBezTo>
                  <a:pt x="37919" y="578696"/>
                  <a:pt x="41910" y="576700"/>
                  <a:pt x="43906" y="574705"/>
                </a:cubicBezTo>
                <a:cubicBezTo>
                  <a:pt x="43906" y="572709"/>
                  <a:pt x="43906" y="570714"/>
                  <a:pt x="43906" y="566723"/>
                </a:cubicBezTo>
                <a:cubicBezTo>
                  <a:pt x="43906" y="564727"/>
                  <a:pt x="41910" y="564727"/>
                  <a:pt x="41910" y="560736"/>
                </a:cubicBezTo>
                <a:cubicBezTo>
                  <a:pt x="43906" y="556745"/>
                  <a:pt x="45902" y="556745"/>
                  <a:pt x="45902" y="552754"/>
                </a:cubicBezTo>
                <a:cubicBezTo>
                  <a:pt x="47897" y="546768"/>
                  <a:pt x="45902" y="534795"/>
                  <a:pt x="45902" y="532799"/>
                </a:cubicBezTo>
                <a:cubicBezTo>
                  <a:pt x="45902" y="528808"/>
                  <a:pt x="47897" y="522822"/>
                  <a:pt x="47897" y="520826"/>
                </a:cubicBezTo>
                <a:cubicBezTo>
                  <a:pt x="47897" y="518831"/>
                  <a:pt x="47897" y="516835"/>
                  <a:pt x="49893" y="514840"/>
                </a:cubicBezTo>
                <a:cubicBezTo>
                  <a:pt x="51889" y="512844"/>
                  <a:pt x="51889" y="512844"/>
                  <a:pt x="51889" y="512844"/>
                </a:cubicBezTo>
                <a:cubicBezTo>
                  <a:pt x="51889" y="512844"/>
                  <a:pt x="51889" y="502867"/>
                  <a:pt x="49893" y="502867"/>
                </a:cubicBezTo>
                <a:cubicBezTo>
                  <a:pt x="49893" y="500871"/>
                  <a:pt x="43906" y="496880"/>
                  <a:pt x="43906" y="496880"/>
                </a:cubicBezTo>
                <a:cubicBezTo>
                  <a:pt x="43906" y="494885"/>
                  <a:pt x="45902" y="488898"/>
                  <a:pt x="45902" y="486903"/>
                </a:cubicBezTo>
                <a:cubicBezTo>
                  <a:pt x="47897" y="484907"/>
                  <a:pt x="47897" y="476925"/>
                  <a:pt x="45902" y="474930"/>
                </a:cubicBezTo>
                <a:cubicBezTo>
                  <a:pt x="45902" y="472934"/>
                  <a:pt x="41910" y="464952"/>
                  <a:pt x="39914" y="464952"/>
                </a:cubicBezTo>
                <a:cubicBezTo>
                  <a:pt x="39914" y="462957"/>
                  <a:pt x="37919" y="452979"/>
                  <a:pt x="37919" y="450984"/>
                </a:cubicBezTo>
                <a:cubicBezTo>
                  <a:pt x="37919" y="448988"/>
                  <a:pt x="37919" y="439011"/>
                  <a:pt x="37919" y="435020"/>
                </a:cubicBezTo>
                <a:cubicBezTo>
                  <a:pt x="39914" y="433024"/>
                  <a:pt x="43906" y="429033"/>
                  <a:pt x="43906" y="427038"/>
                </a:cubicBezTo>
                <a:cubicBezTo>
                  <a:pt x="45902" y="423047"/>
                  <a:pt x="45902" y="411074"/>
                  <a:pt x="45902" y="409078"/>
                </a:cubicBezTo>
                <a:cubicBezTo>
                  <a:pt x="43906" y="407083"/>
                  <a:pt x="43906" y="401096"/>
                  <a:pt x="43906" y="401096"/>
                </a:cubicBezTo>
                <a:cubicBezTo>
                  <a:pt x="43906" y="401096"/>
                  <a:pt x="41910" y="391119"/>
                  <a:pt x="41910" y="389123"/>
                </a:cubicBezTo>
                <a:cubicBezTo>
                  <a:pt x="41910" y="385132"/>
                  <a:pt x="41910" y="381141"/>
                  <a:pt x="41910" y="379146"/>
                </a:cubicBezTo>
                <a:cubicBezTo>
                  <a:pt x="43906" y="377150"/>
                  <a:pt x="45902" y="377150"/>
                  <a:pt x="45902" y="373159"/>
                </a:cubicBezTo>
                <a:cubicBezTo>
                  <a:pt x="45902" y="371164"/>
                  <a:pt x="47897" y="351209"/>
                  <a:pt x="47897" y="349213"/>
                </a:cubicBezTo>
                <a:cubicBezTo>
                  <a:pt x="47897" y="347218"/>
                  <a:pt x="53884" y="343227"/>
                  <a:pt x="53884" y="343227"/>
                </a:cubicBezTo>
                <a:cubicBezTo>
                  <a:pt x="53884" y="341231"/>
                  <a:pt x="51889" y="335244"/>
                  <a:pt x="51889" y="333249"/>
                </a:cubicBezTo>
                <a:cubicBezTo>
                  <a:pt x="53884" y="329258"/>
                  <a:pt x="55880" y="331253"/>
                  <a:pt x="55880" y="331253"/>
                </a:cubicBezTo>
                <a:cubicBezTo>
                  <a:pt x="55880" y="331253"/>
                  <a:pt x="55880" y="331253"/>
                  <a:pt x="53884" y="317285"/>
                </a:cubicBezTo>
                <a:cubicBezTo>
                  <a:pt x="53884" y="317285"/>
                  <a:pt x="53884" y="313294"/>
                  <a:pt x="53884" y="311298"/>
                </a:cubicBezTo>
                <a:cubicBezTo>
                  <a:pt x="55880" y="309303"/>
                  <a:pt x="55880" y="291343"/>
                  <a:pt x="55880" y="287352"/>
                </a:cubicBezTo>
                <a:cubicBezTo>
                  <a:pt x="55880" y="285357"/>
                  <a:pt x="57876" y="275379"/>
                  <a:pt x="57876" y="271388"/>
                </a:cubicBezTo>
                <a:cubicBezTo>
                  <a:pt x="57876" y="269393"/>
                  <a:pt x="57876" y="259415"/>
                  <a:pt x="57876" y="259415"/>
                </a:cubicBezTo>
                <a:cubicBezTo>
                  <a:pt x="57876" y="259415"/>
                  <a:pt x="53884" y="243451"/>
                  <a:pt x="53884" y="241456"/>
                </a:cubicBezTo>
                <a:cubicBezTo>
                  <a:pt x="53884" y="241456"/>
                  <a:pt x="55880" y="229483"/>
                  <a:pt x="55880" y="225492"/>
                </a:cubicBezTo>
                <a:cubicBezTo>
                  <a:pt x="55880" y="223496"/>
                  <a:pt x="53884" y="219505"/>
                  <a:pt x="53884" y="217510"/>
                </a:cubicBezTo>
                <a:cubicBezTo>
                  <a:pt x="51889" y="217510"/>
                  <a:pt x="51889" y="209528"/>
                  <a:pt x="51889" y="205537"/>
                </a:cubicBezTo>
                <a:cubicBezTo>
                  <a:pt x="51889" y="203541"/>
                  <a:pt x="51889" y="199550"/>
                  <a:pt x="53884" y="197555"/>
                </a:cubicBezTo>
                <a:cubicBezTo>
                  <a:pt x="53884" y="197555"/>
                  <a:pt x="55880" y="197555"/>
                  <a:pt x="55880" y="197555"/>
                </a:cubicBezTo>
                <a:cubicBezTo>
                  <a:pt x="55880" y="197555"/>
                  <a:pt x="55880" y="189573"/>
                  <a:pt x="57876" y="187577"/>
                </a:cubicBezTo>
                <a:cubicBezTo>
                  <a:pt x="57876" y="185582"/>
                  <a:pt x="59872" y="181591"/>
                  <a:pt x="59872" y="181591"/>
                </a:cubicBezTo>
                <a:cubicBezTo>
                  <a:pt x="59872" y="179595"/>
                  <a:pt x="57876" y="171613"/>
                  <a:pt x="57876" y="169618"/>
                </a:cubicBezTo>
                <a:cubicBezTo>
                  <a:pt x="57876" y="165627"/>
                  <a:pt x="57876" y="161636"/>
                  <a:pt x="59872" y="159640"/>
                </a:cubicBezTo>
                <a:cubicBezTo>
                  <a:pt x="61867" y="157645"/>
                  <a:pt x="63863" y="153654"/>
                  <a:pt x="63863" y="151658"/>
                </a:cubicBezTo>
                <a:cubicBezTo>
                  <a:pt x="63863" y="149663"/>
                  <a:pt x="63863" y="143676"/>
                  <a:pt x="63863" y="141681"/>
                </a:cubicBezTo>
                <a:cubicBezTo>
                  <a:pt x="61867" y="139685"/>
                  <a:pt x="57876" y="129708"/>
                  <a:pt x="57876" y="127712"/>
                </a:cubicBezTo>
                <a:cubicBezTo>
                  <a:pt x="57876" y="125717"/>
                  <a:pt x="55880" y="117735"/>
                  <a:pt x="55880" y="115739"/>
                </a:cubicBezTo>
                <a:cubicBezTo>
                  <a:pt x="55880" y="113744"/>
                  <a:pt x="59872" y="99775"/>
                  <a:pt x="57876" y="97780"/>
                </a:cubicBezTo>
                <a:cubicBezTo>
                  <a:pt x="57876" y="93789"/>
                  <a:pt x="53884" y="85807"/>
                  <a:pt x="53884" y="83811"/>
                </a:cubicBezTo>
                <a:cubicBezTo>
                  <a:pt x="53884" y="81816"/>
                  <a:pt x="49893" y="77825"/>
                  <a:pt x="49893" y="75829"/>
                </a:cubicBezTo>
                <a:cubicBezTo>
                  <a:pt x="49893" y="71838"/>
                  <a:pt x="49893" y="63856"/>
                  <a:pt x="49893" y="61861"/>
                </a:cubicBezTo>
                <a:cubicBezTo>
                  <a:pt x="49893" y="57870"/>
                  <a:pt x="49893" y="51883"/>
                  <a:pt x="47897" y="49888"/>
                </a:cubicBezTo>
                <a:cubicBezTo>
                  <a:pt x="45902" y="47892"/>
                  <a:pt x="37919" y="33924"/>
                  <a:pt x="37919" y="33924"/>
                </a:cubicBezTo>
                <a:cubicBezTo>
                  <a:pt x="37919" y="33924"/>
                  <a:pt x="35923" y="29933"/>
                  <a:pt x="33927" y="2993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2" name="Argentina"/>
          <p:cNvSpPr>
            <a:spLocks/>
          </p:cNvSpPr>
          <p:nvPr/>
        </p:nvSpPr>
        <p:spPr bwMode="auto">
          <a:xfrm>
            <a:off x="4335983" y="4777277"/>
            <a:ext cx="437695" cy="1219639"/>
          </a:xfrm>
          <a:custGeom>
            <a:avLst/>
            <a:gdLst>
              <a:gd name="connsiteX0" fmla="*/ 243285 w 425450"/>
              <a:gd name="connsiteY0" fmla="*/ 1160882 h 1185518"/>
              <a:gd name="connsiteX1" fmla="*/ 251223 w 425450"/>
              <a:gd name="connsiteY1" fmla="*/ 1162866 h 1185518"/>
              <a:gd name="connsiteX2" fmla="*/ 257176 w 425450"/>
              <a:gd name="connsiteY2" fmla="*/ 1164851 h 1185518"/>
              <a:gd name="connsiteX3" fmla="*/ 255192 w 425450"/>
              <a:gd name="connsiteY3" fmla="*/ 1164851 h 1185518"/>
              <a:gd name="connsiteX4" fmla="*/ 249238 w 425450"/>
              <a:gd name="connsiteY4" fmla="*/ 1164851 h 1185518"/>
              <a:gd name="connsiteX5" fmla="*/ 241301 w 425450"/>
              <a:gd name="connsiteY5" fmla="*/ 1166835 h 1185518"/>
              <a:gd name="connsiteX6" fmla="*/ 237332 w 425450"/>
              <a:gd name="connsiteY6" fmla="*/ 1168819 h 1185518"/>
              <a:gd name="connsiteX7" fmla="*/ 233363 w 425450"/>
              <a:gd name="connsiteY7" fmla="*/ 1166835 h 1185518"/>
              <a:gd name="connsiteX8" fmla="*/ 235348 w 425450"/>
              <a:gd name="connsiteY8" fmla="*/ 1162866 h 1185518"/>
              <a:gd name="connsiteX9" fmla="*/ 239316 w 425450"/>
              <a:gd name="connsiteY9" fmla="*/ 1162866 h 1185518"/>
              <a:gd name="connsiteX10" fmla="*/ 243285 w 425450"/>
              <a:gd name="connsiteY10" fmla="*/ 1160882 h 1185518"/>
              <a:gd name="connsiteX11" fmla="*/ 125413 w 425450"/>
              <a:gd name="connsiteY11" fmla="*/ 1081507 h 1185518"/>
              <a:gd name="connsiteX12" fmla="*/ 133384 w 425450"/>
              <a:gd name="connsiteY12" fmla="*/ 1091541 h 1185518"/>
              <a:gd name="connsiteX13" fmla="*/ 139363 w 425450"/>
              <a:gd name="connsiteY13" fmla="*/ 1101576 h 1185518"/>
              <a:gd name="connsiteX14" fmla="*/ 141356 w 425450"/>
              <a:gd name="connsiteY14" fmla="*/ 1109603 h 1185518"/>
              <a:gd name="connsiteX15" fmla="*/ 145341 w 425450"/>
              <a:gd name="connsiteY15" fmla="*/ 1123651 h 1185518"/>
              <a:gd name="connsiteX16" fmla="*/ 159291 w 425450"/>
              <a:gd name="connsiteY16" fmla="*/ 1133685 h 1185518"/>
              <a:gd name="connsiteX17" fmla="*/ 183205 w 425450"/>
              <a:gd name="connsiteY17" fmla="*/ 1149739 h 1185518"/>
              <a:gd name="connsiteX18" fmla="*/ 193169 w 425450"/>
              <a:gd name="connsiteY18" fmla="*/ 1157767 h 1185518"/>
              <a:gd name="connsiteX19" fmla="*/ 205126 w 425450"/>
              <a:gd name="connsiteY19" fmla="*/ 1161780 h 1185518"/>
              <a:gd name="connsiteX20" fmla="*/ 219076 w 425450"/>
              <a:gd name="connsiteY20" fmla="*/ 1163787 h 1185518"/>
              <a:gd name="connsiteX21" fmla="*/ 217083 w 425450"/>
              <a:gd name="connsiteY21" fmla="*/ 1169808 h 1185518"/>
              <a:gd name="connsiteX22" fmla="*/ 209112 w 425450"/>
              <a:gd name="connsiteY22" fmla="*/ 1171815 h 1185518"/>
              <a:gd name="connsiteX23" fmla="*/ 205126 w 425450"/>
              <a:gd name="connsiteY23" fmla="*/ 1175828 h 1185518"/>
              <a:gd name="connsiteX24" fmla="*/ 201141 w 425450"/>
              <a:gd name="connsiteY24" fmla="*/ 1177835 h 1185518"/>
              <a:gd name="connsiteX25" fmla="*/ 195162 w 425450"/>
              <a:gd name="connsiteY25" fmla="*/ 1177835 h 1185518"/>
              <a:gd name="connsiteX26" fmla="*/ 185198 w 425450"/>
              <a:gd name="connsiteY26" fmla="*/ 1179842 h 1185518"/>
              <a:gd name="connsiteX27" fmla="*/ 169255 w 425450"/>
              <a:gd name="connsiteY27" fmla="*/ 1171815 h 1185518"/>
              <a:gd name="connsiteX28" fmla="*/ 159291 w 425450"/>
              <a:gd name="connsiteY28" fmla="*/ 1175828 h 1185518"/>
              <a:gd name="connsiteX29" fmla="*/ 175234 w 425450"/>
              <a:gd name="connsiteY29" fmla="*/ 1179842 h 1185518"/>
              <a:gd name="connsiteX30" fmla="*/ 169255 w 425450"/>
              <a:gd name="connsiteY30" fmla="*/ 1183856 h 1185518"/>
              <a:gd name="connsiteX31" fmla="*/ 163277 w 425450"/>
              <a:gd name="connsiteY31" fmla="*/ 1183856 h 1185518"/>
              <a:gd name="connsiteX32" fmla="*/ 157298 w 425450"/>
              <a:gd name="connsiteY32" fmla="*/ 1183856 h 1185518"/>
              <a:gd name="connsiteX33" fmla="*/ 155306 w 425450"/>
              <a:gd name="connsiteY33" fmla="*/ 1183856 h 1185518"/>
              <a:gd name="connsiteX34" fmla="*/ 151320 w 425450"/>
              <a:gd name="connsiteY34" fmla="*/ 1183856 h 1185518"/>
              <a:gd name="connsiteX35" fmla="*/ 149327 w 425450"/>
              <a:gd name="connsiteY35" fmla="*/ 1179842 h 1185518"/>
              <a:gd name="connsiteX36" fmla="*/ 137370 w 425450"/>
              <a:gd name="connsiteY36" fmla="*/ 1171815 h 1185518"/>
              <a:gd name="connsiteX37" fmla="*/ 137370 w 425450"/>
              <a:gd name="connsiteY37" fmla="*/ 1167801 h 1185518"/>
              <a:gd name="connsiteX38" fmla="*/ 135377 w 425450"/>
              <a:gd name="connsiteY38" fmla="*/ 1141712 h 1185518"/>
              <a:gd name="connsiteX39" fmla="*/ 133384 w 425450"/>
              <a:gd name="connsiteY39" fmla="*/ 1135692 h 1185518"/>
              <a:gd name="connsiteX40" fmla="*/ 129399 w 425450"/>
              <a:gd name="connsiteY40" fmla="*/ 1109603 h 1185518"/>
              <a:gd name="connsiteX41" fmla="*/ 127406 w 425450"/>
              <a:gd name="connsiteY41" fmla="*/ 1099569 h 1185518"/>
              <a:gd name="connsiteX42" fmla="*/ 125413 w 425450"/>
              <a:gd name="connsiteY42" fmla="*/ 1081507 h 1185518"/>
              <a:gd name="connsiteX43" fmla="*/ 91881 w 425450"/>
              <a:gd name="connsiteY43" fmla="*/ 826 h 1185518"/>
              <a:gd name="connsiteX44" fmla="*/ 97874 w 425450"/>
              <a:gd name="connsiteY44" fmla="*/ 2819 h 1185518"/>
              <a:gd name="connsiteX45" fmla="*/ 103866 w 425450"/>
              <a:gd name="connsiteY45" fmla="*/ 8797 h 1185518"/>
              <a:gd name="connsiteX46" fmla="*/ 109858 w 425450"/>
              <a:gd name="connsiteY46" fmla="*/ 10789 h 1185518"/>
              <a:gd name="connsiteX47" fmla="*/ 123840 w 425450"/>
              <a:gd name="connsiteY47" fmla="*/ 10789 h 1185518"/>
              <a:gd name="connsiteX48" fmla="*/ 127835 w 425450"/>
              <a:gd name="connsiteY48" fmla="*/ 8797 h 1185518"/>
              <a:gd name="connsiteX49" fmla="*/ 141817 w 425450"/>
              <a:gd name="connsiteY49" fmla="*/ 6804 h 1185518"/>
              <a:gd name="connsiteX50" fmla="*/ 141817 w 425450"/>
              <a:gd name="connsiteY50" fmla="*/ 10789 h 1185518"/>
              <a:gd name="connsiteX51" fmla="*/ 145812 w 425450"/>
              <a:gd name="connsiteY51" fmla="*/ 10789 h 1185518"/>
              <a:gd name="connsiteX52" fmla="*/ 149806 w 425450"/>
              <a:gd name="connsiteY52" fmla="*/ 6804 h 1185518"/>
              <a:gd name="connsiteX53" fmla="*/ 155799 w 425450"/>
              <a:gd name="connsiteY53" fmla="*/ 4811 h 1185518"/>
              <a:gd name="connsiteX54" fmla="*/ 167783 w 425450"/>
              <a:gd name="connsiteY54" fmla="*/ 2819 h 1185518"/>
              <a:gd name="connsiteX55" fmla="*/ 169781 w 425450"/>
              <a:gd name="connsiteY55" fmla="*/ 2819 h 1185518"/>
              <a:gd name="connsiteX56" fmla="*/ 169781 w 425450"/>
              <a:gd name="connsiteY56" fmla="*/ 6804 h 1185518"/>
              <a:gd name="connsiteX57" fmla="*/ 171778 w 425450"/>
              <a:gd name="connsiteY57" fmla="*/ 10789 h 1185518"/>
              <a:gd name="connsiteX58" fmla="*/ 173775 w 425450"/>
              <a:gd name="connsiteY58" fmla="*/ 16767 h 1185518"/>
              <a:gd name="connsiteX59" fmla="*/ 175773 w 425450"/>
              <a:gd name="connsiteY59" fmla="*/ 18760 h 1185518"/>
              <a:gd name="connsiteX60" fmla="*/ 179768 w 425450"/>
              <a:gd name="connsiteY60" fmla="*/ 22746 h 1185518"/>
              <a:gd name="connsiteX61" fmla="*/ 183763 w 425450"/>
              <a:gd name="connsiteY61" fmla="*/ 26731 h 1185518"/>
              <a:gd name="connsiteX62" fmla="*/ 187757 w 425450"/>
              <a:gd name="connsiteY62" fmla="*/ 32709 h 1185518"/>
              <a:gd name="connsiteX63" fmla="*/ 195747 w 425450"/>
              <a:gd name="connsiteY63" fmla="*/ 42672 h 1185518"/>
              <a:gd name="connsiteX64" fmla="*/ 201739 w 425450"/>
              <a:gd name="connsiteY64" fmla="*/ 46658 h 1185518"/>
              <a:gd name="connsiteX65" fmla="*/ 205734 w 425450"/>
              <a:gd name="connsiteY65" fmla="*/ 52636 h 1185518"/>
              <a:gd name="connsiteX66" fmla="*/ 209729 w 425450"/>
              <a:gd name="connsiteY66" fmla="*/ 56621 h 1185518"/>
              <a:gd name="connsiteX67" fmla="*/ 215721 w 425450"/>
              <a:gd name="connsiteY67" fmla="*/ 60607 h 1185518"/>
              <a:gd name="connsiteX68" fmla="*/ 217719 w 425450"/>
              <a:gd name="connsiteY68" fmla="*/ 64592 h 1185518"/>
              <a:gd name="connsiteX69" fmla="*/ 225708 w 425450"/>
              <a:gd name="connsiteY69" fmla="*/ 68577 h 1185518"/>
              <a:gd name="connsiteX70" fmla="*/ 231701 w 425450"/>
              <a:gd name="connsiteY70" fmla="*/ 74555 h 1185518"/>
              <a:gd name="connsiteX71" fmla="*/ 235695 w 425450"/>
              <a:gd name="connsiteY71" fmla="*/ 76548 h 1185518"/>
              <a:gd name="connsiteX72" fmla="*/ 241688 w 425450"/>
              <a:gd name="connsiteY72" fmla="*/ 76548 h 1185518"/>
              <a:gd name="connsiteX73" fmla="*/ 249677 w 425450"/>
              <a:gd name="connsiteY73" fmla="*/ 78541 h 1185518"/>
              <a:gd name="connsiteX74" fmla="*/ 257667 w 425450"/>
              <a:gd name="connsiteY74" fmla="*/ 78541 h 1185518"/>
              <a:gd name="connsiteX75" fmla="*/ 261662 w 425450"/>
              <a:gd name="connsiteY75" fmla="*/ 82526 h 1185518"/>
              <a:gd name="connsiteX76" fmla="*/ 263659 w 425450"/>
              <a:gd name="connsiteY76" fmla="*/ 86512 h 1185518"/>
              <a:gd name="connsiteX77" fmla="*/ 269652 w 425450"/>
              <a:gd name="connsiteY77" fmla="*/ 88504 h 1185518"/>
              <a:gd name="connsiteX78" fmla="*/ 275644 w 425450"/>
              <a:gd name="connsiteY78" fmla="*/ 94482 h 1185518"/>
              <a:gd name="connsiteX79" fmla="*/ 277641 w 425450"/>
              <a:gd name="connsiteY79" fmla="*/ 98468 h 1185518"/>
              <a:gd name="connsiteX80" fmla="*/ 281636 w 425450"/>
              <a:gd name="connsiteY80" fmla="*/ 98468 h 1185518"/>
              <a:gd name="connsiteX81" fmla="*/ 289626 w 425450"/>
              <a:gd name="connsiteY81" fmla="*/ 100460 h 1185518"/>
              <a:gd name="connsiteX82" fmla="*/ 293621 w 425450"/>
              <a:gd name="connsiteY82" fmla="*/ 102453 h 1185518"/>
              <a:gd name="connsiteX83" fmla="*/ 297615 w 425450"/>
              <a:gd name="connsiteY83" fmla="*/ 106438 h 1185518"/>
              <a:gd name="connsiteX84" fmla="*/ 303608 w 425450"/>
              <a:gd name="connsiteY84" fmla="*/ 106438 h 1185518"/>
              <a:gd name="connsiteX85" fmla="*/ 307602 w 425450"/>
              <a:gd name="connsiteY85" fmla="*/ 106438 h 1185518"/>
              <a:gd name="connsiteX86" fmla="*/ 311597 w 425450"/>
              <a:gd name="connsiteY86" fmla="*/ 108431 h 1185518"/>
              <a:gd name="connsiteX87" fmla="*/ 315592 w 425450"/>
              <a:gd name="connsiteY87" fmla="*/ 114409 h 1185518"/>
              <a:gd name="connsiteX88" fmla="*/ 317590 w 425450"/>
              <a:gd name="connsiteY88" fmla="*/ 120387 h 1185518"/>
              <a:gd name="connsiteX89" fmla="*/ 317590 w 425450"/>
              <a:gd name="connsiteY89" fmla="*/ 124373 h 1185518"/>
              <a:gd name="connsiteX90" fmla="*/ 315592 w 425450"/>
              <a:gd name="connsiteY90" fmla="*/ 126365 h 1185518"/>
              <a:gd name="connsiteX91" fmla="*/ 313595 w 425450"/>
              <a:gd name="connsiteY91" fmla="*/ 128358 h 1185518"/>
              <a:gd name="connsiteX92" fmla="*/ 311597 w 425450"/>
              <a:gd name="connsiteY92" fmla="*/ 132343 h 1185518"/>
              <a:gd name="connsiteX93" fmla="*/ 311597 w 425450"/>
              <a:gd name="connsiteY93" fmla="*/ 136329 h 1185518"/>
              <a:gd name="connsiteX94" fmla="*/ 311597 w 425450"/>
              <a:gd name="connsiteY94" fmla="*/ 138322 h 1185518"/>
              <a:gd name="connsiteX95" fmla="*/ 311597 w 425450"/>
              <a:gd name="connsiteY95" fmla="*/ 146292 h 1185518"/>
              <a:gd name="connsiteX96" fmla="*/ 305605 w 425450"/>
              <a:gd name="connsiteY96" fmla="*/ 146292 h 1185518"/>
              <a:gd name="connsiteX97" fmla="*/ 303608 w 425450"/>
              <a:gd name="connsiteY97" fmla="*/ 150278 h 1185518"/>
              <a:gd name="connsiteX98" fmla="*/ 297615 w 425450"/>
              <a:gd name="connsiteY98" fmla="*/ 158248 h 1185518"/>
              <a:gd name="connsiteX99" fmla="*/ 299613 w 425450"/>
              <a:gd name="connsiteY99" fmla="*/ 166219 h 1185518"/>
              <a:gd name="connsiteX100" fmla="*/ 295618 w 425450"/>
              <a:gd name="connsiteY100" fmla="*/ 166219 h 1185518"/>
              <a:gd name="connsiteX101" fmla="*/ 293621 w 425450"/>
              <a:gd name="connsiteY101" fmla="*/ 170205 h 1185518"/>
              <a:gd name="connsiteX102" fmla="*/ 297615 w 425450"/>
              <a:gd name="connsiteY102" fmla="*/ 172197 h 1185518"/>
              <a:gd name="connsiteX103" fmla="*/ 307602 w 425450"/>
              <a:gd name="connsiteY103" fmla="*/ 174190 h 1185518"/>
              <a:gd name="connsiteX104" fmla="*/ 319587 w 425450"/>
              <a:gd name="connsiteY104" fmla="*/ 176183 h 1185518"/>
              <a:gd name="connsiteX105" fmla="*/ 325579 w 425450"/>
              <a:gd name="connsiteY105" fmla="*/ 180168 h 1185518"/>
              <a:gd name="connsiteX106" fmla="*/ 333569 w 425450"/>
              <a:gd name="connsiteY106" fmla="*/ 180168 h 1185518"/>
              <a:gd name="connsiteX107" fmla="*/ 341559 w 425450"/>
              <a:gd name="connsiteY107" fmla="*/ 182161 h 1185518"/>
              <a:gd name="connsiteX108" fmla="*/ 347551 w 425450"/>
              <a:gd name="connsiteY108" fmla="*/ 180168 h 1185518"/>
              <a:gd name="connsiteX109" fmla="*/ 353543 w 425450"/>
              <a:gd name="connsiteY109" fmla="*/ 178175 h 1185518"/>
              <a:gd name="connsiteX110" fmla="*/ 359535 w 425450"/>
              <a:gd name="connsiteY110" fmla="*/ 174190 h 1185518"/>
              <a:gd name="connsiteX111" fmla="*/ 365528 w 425450"/>
              <a:gd name="connsiteY111" fmla="*/ 172197 h 1185518"/>
              <a:gd name="connsiteX112" fmla="*/ 373517 w 425450"/>
              <a:gd name="connsiteY112" fmla="*/ 170205 h 1185518"/>
              <a:gd name="connsiteX113" fmla="*/ 377512 w 425450"/>
              <a:gd name="connsiteY113" fmla="*/ 166219 h 1185518"/>
              <a:gd name="connsiteX114" fmla="*/ 381507 w 425450"/>
              <a:gd name="connsiteY114" fmla="*/ 162234 h 1185518"/>
              <a:gd name="connsiteX115" fmla="*/ 387499 w 425450"/>
              <a:gd name="connsiteY115" fmla="*/ 160241 h 1185518"/>
              <a:gd name="connsiteX116" fmla="*/ 389497 w 425450"/>
              <a:gd name="connsiteY116" fmla="*/ 152270 h 1185518"/>
              <a:gd name="connsiteX117" fmla="*/ 393491 w 425450"/>
              <a:gd name="connsiteY117" fmla="*/ 150278 h 1185518"/>
              <a:gd name="connsiteX118" fmla="*/ 397486 w 425450"/>
              <a:gd name="connsiteY118" fmla="*/ 144300 h 1185518"/>
              <a:gd name="connsiteX119" fmla="*/ 399484 w 425450"/>
              <a:gd name="connsiteY119" fmla="*/ 138322 h 1185518"/>
              <a:gd name="connsiteX120" fmla="*/ 401481 w 425450"/>
              <a:gd name="connsiteY120" fmla="*/ 134336 h 1185518"/>
              <a:gd name="connsiteX121" fmla="*/ 403479 w 425450"/>
              <a:gd name="connsiteY121" fmla="*/ 128358 h 1185518"/>
              <a:gd name="connsiteX122" fmla="*/ 413466 w 425450"/>
              <a:gd name="connsiteY122" fmla="*/ 138322 h 1185518"/>
              <a:gd name="connsiteX123" fmla="*/ 419458 w 425450"/>
              <a:gd name="connsiteY123" fmla="*/ 146292 h 1185518"/>
              <a:gd name="connsiteX124" fmla="*/ 425450 w 425450"/>
              <a:gd name="connsiteY124" fmla="*/ 160241 h 1185518"/>
              <a:gd name="connsiteX125" fmla="*/ 423453 w 425450"/>
              <a:gd name="connsiteY125" fmla="*/ 170205 h 1185518"/>
              <a:gd name="connsiteX126" fmla="*/ 419458 w 425450"/>
              <a:gd name="connsiteY126" fmla="*/ 172197 h 1185518"/>
              <a:gd name="connsiteX127" fmla="*/ 399484 w 425450"/>
              <a:gd name="connsiteY127" fmla="*/ 180168 h 1185518"/>
              <a:gd name="connsiteX128" fmla="*/ 387499 w 425450"/>
              <a:gd name="connsiteY128" fmla="*/ 192124 h 1185518"/>
              <a:gd name="connsiteX129" fmla="*/ 375515 w 425450"/>
              <a:gd name="connsiteY129" fmla="*/ 208066 h 1185518"/>
              <a:gd name="connsiteX130" fmla="*/ 361533 w 425450"/>
              <a:gd name="connsiteY130" fmla="*/ 218029 h 1185518"/>
              <a:gd name="connsiteX131" fmla="*/ 355541 w 425450"/>
              <a:gd name="connsiteY131" fmla="*/ 224007 h 1185518"/>
              <a:gd name="connsiteX132" fmla="*/ 349548 w 425450"/>
              <a:gd name="connsiteY132" fmla="*/ 241941 h 1185518"/>
              <a:gd name="connsiteX133" fmla="*/ 337564 w 425450"/>
              <a:gd name="connsiteY133" fmla="*/ 259876 h 1185518"/>
              <a:gd name="connsiteX134" fmla="*/ 333569 w 425450"/>
              <a:gd name="connsiteY134" fmla="*/ 265854 h 1185518"/>
              <a:gd name="connsiteX135" fmla="*/ 329574 w 425450"/>
              <a:gd name="connsiteY135" fmla="*/ 267846 h 1185518"/>
              <a:gd name="connsiteX136" fmla="*/ 323582 w 425450"/>
              <a:gd name="connsiteY136" fmla="*/ 279802 h 1185518"/>
              <a:gd name="connsiteX137" fmla="*/ 321584 w 425450"/>
              <a:gd name="connsiteY137" fmla="*/ 289766 h 1185518"/>
              <a:gd name="connsiteX138" fmla="*/ 319587 w 425450"/>
              <a:gd name="connsiteY138" fmla="*/ 297737 h 1185518"/>
              <a:gd name="connsiteX139" fmla="*/ 319587 w 425450"/>
              <a:gd name="connsiteY139" fmla="*/ 307700 h 1185518"/>
              <a:gd name="connsiteX140" fmla="*/ 317590 w 425450"/>
              <a:gd name="connsiteY140" fmla="*/ 325634 h 1185518"/>
              <a:gd name="connsiteX141" fmla="*/ 311597 w 425450"/>
              <a:gd name="connsiteY141" fmla="*/ 341576 h 1185518"/>
              <a:gd name="connsiteX142" fmla="*/ 313595 w 425450"/>
              <a:gd name="connsiteY142" fmla="*/ 345561 h 1185518"/>
              <a:gd name="connsiteX143" fmla="*/ 313595 w 425450"/>
              <a:gd name="connsiteY143" fmla="*/ 357517 h 1185518"/>
              <a:gd name="connsiteX144" fmla="*/ 311597 w 425450"/>
              <a:gd name="connsiteY144" fmla="*/ 367481 h 1185518"/>
              <a:gd name="connsiteX145" fmla="*/ 307602 w 425450"/>
              <a:gd name="connsiteY145" fmla="*/ 381430 h 1185518"/>
              <a:gd name="connsiteX146" fmla="*/ 309600 w 425450"/>
              <a:gd name="connsiteY146" fmla="*/ 385415 h 1185518"/>
              <a:gd name="connsiteX147" fmla="*/ 309600 w 425450"/>
              <a:gd name="connsiteY147" fmla="*/ 387408 h 1185518"/>
              <a:gd name="connsiteX148" fmla="*/ 307602 w 425450"/>
              <a:gd name="connsiteY148" fmla="*/ 389400 h 1185518"/>
              <a:gd name="connsiteX149" fmla="*/ 307602 w 425450"/>
              <a:gd name="connsiteY149" fmla="*/ 401357 h 1185518"/>
              <a:gd name="connsiteX150" fmla="*/ 311597 w 425450"/>
              <a:gd name="connsiteY150" fmla="*/ 419291 h 1185518"/>
              <a:gd name="connsiteX151" fmla="*/ 313595 w 425450"/>
              <a:gd name="connsiteY151" fmla="*/ 427261 h 1185518"/>
              <a:gd name="connsiteX152" fmla="*/ 323582 w 425450"/>
              <a:gd name="connsiteY152" fmla="*/ 431247 h 1185518"/>
              <a:gd name="connsiteX153" fmla="*/ 333569 w 425450"/>
              <a:gd name="connsiteY153" fmla="*/ 437225 h 1185518"/>
              <a:gd name="connsiteX154" fmla="*/ 339561 w 425450"/>
              <a:gd name="connsiteY154" fmla="*/ 441210 h 1185518"/>
              <a:gd name="connsiteX155" fmla="*/ 347551 w 425450"/>
              <a:gd name="connsiteY155" fmla="*/ 449181 h 1185518"/>
              <a:gd name="connsiteX156" fmla="*/ 349548 w 425450"/>
              <a:gd name="connsiteY156" fmla="*/ 459145 h 1185518"/>
              <a:gd name="connsiteX157" fmla="*/ 347551 w 425450"/>
              <a:gd name="connsiteY157" fmla="*/ 469108 h 1185518"/>
              <a:gd name="connsiteX158" fmla="*/ 351546 w 425450"/>
              <a:gd name="connsiteY158" fmla="*/ 477079 h 1185518"/>
              <a:gd name="connsiteX159" fmla="*/ 357538 w 425450"/>
              <a:gd name="connsiteY159" fmla="*/ 485049 h 1185518"/>
              <a:gd name="connsiteX160" fmla="*/ 361533 w 425450"/>
              <a:gd name="connsiteY160" fmla="*/ 485049 h 1185518"/>
              <a:gd name="connsiteX161" fmla="*/ 365528 w 425450"/>
              <a:gd name="connsiteY161" fmla="*/ 483057 h 1185518"/>
              <a:gd name="connsiteX162" fmla="*/ 367525 w 425450"/>
              <a:gd name="connsiteY162" fmla="*/ 487042 h 1185518"/>
              <a:gd name="connsiteX163" fmla="*/ 365528 w 425450"/>
              <a:gd name="connsiteY163" fmla="*/ 491028 h 1185518"/>
              <a:gd name="connsiteX164" fmla="*/ 367525 w 425450"/>
              <a:gd name="connsiteY164" fmla="*/ 504976 h 1185518"/>
              <a:gd name="connsiteX165" fmla="*/ 367525 w 425450"/>
              <a:gd name="connsiteY165" fmla="*/ 508962 h 1185518"/>
              <a:gd name="connsiteX166" fmla="*/ 363530 w 425450"/>
              <a:gd name="connsiteY166" fmla="*/ 510954 h 1185518"/>
              <a:gd name="connsiteX167" fmla="*/ 363530 w 425450"/>
              <a:gd name="connsiteY167" fmla="*/ 512947 h 1185518"/>
              <a:gd name="connsiteX168" fmla="*/ 361533 w 425450"/>
              <a:gd name="connsiteY168" fmla="*/ 512947 h 1185518"/>
              <a:gd name="connsiteX169" fmla="*/ 359535 w 425450"/>
              <a:gd name="connsiteY169" fmla="*/ 522911 h 1185518"/>
              <a:gd name="connsiteX170" fmla="*/ 353543 w 425450"/>
              <a:gd name="connsiteY170" fmla="*/ 530881 h 1185518"/>
              <a:gd name="connsiteX171" fmla="*/ 349548 w 425450"/>
              <a:gd name="connsiteY171" fmla="*/ 536859 h 1185518"/>
              <a:gd name="connsiteX172" fmla="*/ 345553 w 425450"/>
              <a:gd name="connsiteY172" fmla="*/ 546823 h 1185518"/>
              <a:gd name="connsiteX173" fmla="*/ 331572 w 425450"/>
              <a:gd name="connsiteY173" fmla="*/ 558779 h 1185518"/>
              <a:gd name="connsiteX174" fmla="*/ 317590 w 425450"/>
              <a:gd name="connsiteY174" fmla="*/ 566750 h 1185518"/>
              <a:gd name="connsiteX175" fmla="*/ 307602 w 425450"/>
              <a:gd name="connsiteY175" fmla="*/ 570735 h 1185518"/>
              <a:gd name="connsiteX176" fmla="*/ 301610 w 425450"/>
              <a:gd name="connsiteY176" fmla="*/ 574720 h 1185518"/>
              <a:gd name="connsiteX177" fmla="*/ 291623 w 425450"/>
              <a:gd name="connsiteY177" fmla="*/ 572728 h 1185518"/>
              <a:gd name="connsiteX178" fmla="*/ 285631 w 425450"/>
              <a:gd name="connsiteY178" fmla="*/ 572728 h 1185518"/>
              <a:gd name="connsiteX179" fmla="*/ 277641 w 425450"/>
              <a:gd name="connsiteY179" fmla="*/ 576713 h 1185518"/>
              <a:gd name="connsiteX180" fmla="*/ 271649 w 425450"/>
              <a:gd name="connsiteY180" fmla="*/ 578706 h 1185518"/>
              <a:gd name="connsiteX181" fmla="*/ 261662 w 425450"/>
              <a:gd name="connsiteY181" fmla="*/ 578706 h 1185518"/>
              <a:gd name="connsiteX182" fmla="*/ 255670 w 425450"/>
              <a:gd name="connsiteY182" fmla="*/ 580699 h 1185518"/>
              <a:gd name="connsiteX183" fmla="*/ 251675 w 425450"/>
              <a:gd name="connsiteY183" fmla="*/ 580699 h 1185518"/>
              <a:gd name="connsiteX184" fmla="*/ 247680 w 425450"/>
              <a:gd name="connsiteY184" fmla="*/ 578706 h 1185518"/>
              <a:gd name="connsiteX185" fmla="*/ 241688 w 425450"/>
              <a:gd name="connsiteY185" fmla="*/ 580699 h 1185518"/>
              <a:gd name="connsiteX186" fmla="*/ 235695 w 425450"/>
              <a:gd name="connsiteY186" fmla="*/ 576713 h 1185518"/>
              <a:gd name="connsiteX187" fmla="*/ 231701 w 425450"/>
              <a:gd name="connsiteY187" fmla="*/ 572728 h 1185518"/>
              <a:gd name="connsiteX188" fmla="*/ 225708 w 425450"/>
              <a:gd name="connsiteY188" fmla="*/ 572728 h 1185518"/>
              <a:gd name="connsiteX189" fmla="*/ 227706 w 425450"/>
              <a:gd name="connsiteY189" fmla="*/ 584684 h 1185518"/>
              <a:gd name="connsiteX190" fmla="*/ 229703 w 425450"/>
              <a:gd name="connsiteY190" fmla="*/ 590662 h 1185518"/>
              <a:gd name="connsiteX191" fmla="*/ 231701 w 425450"/>
              <a:gd name="connsiteY191" fmla="*/ 592655 h 1185518"/>
              <a:gd name="connsiteX192" fmla="*/ 233698 w 425450"/>
              <a:gd name="connsiteY192" fmla="*/ 590662 h 1185518"/>
              <a:gd name="connsiteX193" fmla="*/ 235695 w 425450"/>
              <a:gd name="connsiteY193" fmla="*/ 598633 h 1185518"/>
              <a:gd name="connsiteX194" fmla="*/ 233698 w 425450"/>
              <a:gd name="connsiteY194" fmla="*/ 606604 h 1185518"/>
              <a:gd name="connsiteX195" fmla="*/ 229703 w 425450"/>
              <a:gd name="connsiteY195" fmla="*/ 612582 h 1185518"/>
              <a:gd name="connsiteX196" fmla="*/ 231701 w 425450"/>
              <a:gd name="connsiteY196" fmla="*/ 622545 h 1185518"/>
              <a:gd name="connsiteX197" fmla="*/ 229703 w 425450"/>
              <a:gd name="connsiteY197" fmla="*/ 626530 h 1185518"/>
              <a:gd name="connsiteX198" fmla="*/ 227706 w 425450"/>
              <a:gd name="connsiteY198" fmla="*/ 628523 h 1185518"/>
              <a:gd name="connsiteX199" fmla="*/ 233698 w 425450"/>
              <a:gd name="connsiteY199" fmla="*/ 630516 h 1185518"/>
              <a:gd name="connsiteX200" fmla="*/ 231701 w 425450"/>
              <a:gd name="connsiteY200" fmla="*/ 638487 h 1185518"/>
              <a:gd name="connsiteX201" fmla="*/ 227706 w 425450"/>
              <a:gd name="connsiteY201" fmla="*/ 648450 h 1185518"/>
              <a:gd name="connsiteX202" fmla="*/ 221714 w 425450"/>
              <a:gd name="connsiteY202" fmla="*/ 650443 h 1185518"/>
              <a:gd name="connsiteX203" fmla="*/ 219716 w 425450"/>
              <a:gd name="connsiteY203" fmla="*/ 656421 h 1185518"/>
              <a:gd name="connsiteX204" fmla="*/ 213724 w 425450"/>
              <a:gd name="connsiteY204" fmla="*/ 656421 h 1185518"/>
              <a:gd name="connsiteX205" fmla="*/ 207732 w 425450"/>
              <a:gd name="connsiteY205" fmla="*/ 656421 h 1185518"/>
              <a:gd name="connsiteX206" fmla="*/ 201739 w 425450"/>
              <a:gd name="connsiteY206" fmla="*/ 656421 h 1185518"/>
              <a:gd name="connsiteX207" fmla="*/ 197744 w 425450"/>
              <a:gd name="connsiteY207" fmla="*/ 654428 h 1185518"/>
              <a:gd name="connsiteX208" fmla="*/ 193750 w 425450"/>
              <a:gd name="connsiteY208" fmla="*/ 650443 h 1185518"/>
              <a:gd name="connsiteX209" fmla="*/ 185760 w 425450"/>
              <a:gd name="connsiteY209" fmla="*/ 648450 h 1185518"/>
              <a:gd name="connsiteX210" fmla="*/ 177770 w 425450"/>
              <a:gd name="connsiteY210" fmla="*/ 646457 h 1185518"/>
              <a:gd name="connsiteX211" fmla="*/ 171778 w 425450"/>
              <a:gd name="connsiteY211" fmla="*/ 648450 h 1185518"/>
              <a:gd name="connsiteX212" fmla="*/ 171778 w 425450"/>
              <a:gd name="connsiteY212" fmla="*/ 642472 h 1185518"/>
              <a:gd name="connsiteX213" fmla="*/ 171778 w 425450"/>
              <a:gd name="connsiteY213" fmla="*/ 640479 h 1185518"/>
              <a:gd name="connsiteX214" fmla="*/ 165786 w 425450"/>
              <a:gd name="connsiteY214" fmla="*/ 642472 h 1185518"/>
              <a:gd name="connsiteX215" fmla="*/ 163788 w 425450"/>
              <a:gd name="connsiteY215" fmla="*/ 650443 h 1185518"/>
              <a:gd name="connsiteX216" fmla="*/ 163788 w 425450"/>
              <a:gd name="connsiteY216" fmla="*/ 658413 h 1185518"/>
              <a:gd name="connsiteX217" fmla="*/ 167783 w 425450"/>
              <a:gd name="connsiteY217" fmla="*/ 670370 h 1185518"/>
              <a:gd name="connsiteX218" fmla="*/ 171778 w 425450"/>
              <a:gd name="connsiteY218" fmla="*/ 676348 h 1185518"/>
              <a:gd name="connsiteX219" fmla="*/ 169781 w 425450"/>
              <a:gd name="connsiteY219" fmla="*/ 684318 h 1185518"/>
              <a:gd name="connsiteX220" fmla="*/ 169781 w 425450"/>
              <a:gd name="connsiteY220" fmla="*/ 690296 h 1185518"/>
              <a:gd name="connsiteX221" fmla="*/ 179768 w 425450"/>
              <a:gd name="connsiteY221" fmla="*/ 694282 h 1185518"/>
              <a:gd name="connsiteX222" fmla="*/ 181765 w 425450"/>
              <a:gd name="connsiteY222" fmla="*/ 698267 h 1185518"/>
              <a:gd name="connsiteX223" fmla="*/ 181765 w 425450"/>
              <a:gd name="connsiteY223" fmla="*/ 700260 h 1185518"/>
              <a:gd name="connsiteX224" fmla="*/ 187757 w 425450"/>
              <a:gd name="connsiteY224" fmla="*/ 700260 h 1185518"/>
              <a:gd name="connsiteX225" fmla="*/ 191752 w 425450"/>
              <a:gd name="connsiteY225" fmla="*/ 700260 h 1185518"/>
              <a:gd name="connsiteX226" fmla="*/ 191752 w 425450"/>
              <a:gd name="connsiteY226" fmla="*/ 698267 h 1185518"/>
              <a:gd name="connsiteX227" fmla="*/ 185760 w 425450"/>
              <a:gd name="connsiteY227" fmla="*/ 694282 h 1185518"/>
              <a:gd name="connsiteX228" fmla="*/ 185760 w 425450"/>
              <a:gd name="connsiteY228" fmla="*/ 692289 h 1185518"/>
              <a:gd name="connsiteX229" fmla="*/ 191752 w 425450"/>
              <a:gd name="connsiteY229" fmla="*/ 690296 h 1185518"/>
              <a:gd name="connsiteX230" fmla="*/ 197744 w 425450"/>
              <a:gd name="connsiteY230" fmla="*/ 688304 h 1185518"/>
              <a:gd name="connsiteX231" fmla="*/ 201739 w 425450"/>
              <a:gd name="connsiteY231" fmla="*/ 686311 h 1185518"/>
              <a:gd name="connsiteX232" fmla="*/ 205734 w 425450"/>
              <a:gd name="connsiteY232" fmla="*/ 690296 h 1185518"/>
              <a:gd name="connsiteX233" fmla="*/ 203737 w 425450"/>
              <a:gd name="connsiteY233" fmla="*/ 702253 h 1185518"/>
              <a:gd name="connsiteX234" fmla="*/ 201739 w 425450"/>
              <a:gd name="connsiteY234" fmla="*/ 710223 h 1185518"/>
              <a:gd name="connsiteX235" fmla="*/ 201739 w 425450"/>
              <a:gd name="connsiteY235" fmla="*/ 714209 h 1185518"/>
              <a:gd name="connsiteX236" fmla="*/ 195747 w 425450"/>
              <a:gd name="connsiteY236" fmla="*/ 718194 h 1185518"/>
              <a:gd name="connsiteX237" fmla="*/ 193750 w 425450"/>
              <a:gd name="connsiteY237" fmla="*/ 710223 h 1185518"/>
              <a:gd name="connsiteX238" fmla="*/ 191752 w 425450"/>
              <a:gd name="connsiteY238" fmla="*/ 706238 h 1185518"/>
              <a:gd name="connsiteX239" fmla="*/ 185760 w 425450"/>
              <a:gd name="connsiteY239" fmla="*/ 708231 h 1185518"/>
              <a:gd name="connsiteX240" fmla="*/ 179768 w 425450"/>
              <a:gd name="connsiteY240" fmla="*/ 710223 h 1185518"/>
              <a:gd name="connsiteX241" fmla="*/ 175773 w 425450"/>
              <a:gd name="connsiteY241" fmla="*/ 714209 h 1185518"/>
              <a:gd name="connsiteX242" fmla="*/ 171778 w 425450"/>
              <a:gd name="connsiteY242" fmla="*/ 716201 h 1185518"/>
              <a:gd name="connsiteX243" fmla="*/ 173775 w 425450"/>
              <a:gd name="connsiteY243" fmla="*/ 718194 h 1185518"/>
              <a:gd name="connsiteX244" fmla="*/ 185760 w 425450"/>
              <a:gd name="connsiteY244" fmla="*/ 718194 h 1185518"/>
              <a:gd name="connsiteX245" fmla="*/ 189755 w 425450"/>
              <a:gd name="connsiteY245" fmla="*/ 720187 h 1185518"/>
              <a:gd name="connsiteX246" fmla="*/ 185760 w 425450"/>
              <a:gd name="connsiteY246" fmla="*/ 724172 h 1185518"/>
              <a:gd name="connsiteX247" fmla="*/ 179768 w 425450"/>
              <a:gd name="connsiteY247" fmla="*/ 730150 h 1185518"/>
              <a:gd name="connsiteX248" fmla="*/ 175773 w 425450"/>
              <a:gd name="connsiteY248" fmla="*/ 738121 h 1185518"/>
              <a:gd name="connsiteX249" fmla="*/ 173775 w 425450"/>
              <a:gd name="connsiteY249" fmla="*/ 742106 h 1185518"/>
              <a:gd name="connsiteX250" fmla="*/ 171778 w 425450"/>
              <a:gd name="connsiteY250" fmla="*/ 746092 h 1185518"/>
              <a:gd name="connsiteX251" fmla="*/ 171778 w 425450"/>
              <a:gd name="connsiteY251" fmla="*/ 750077 h 1185518"/>
              <a:gd name="connsiteX252" fmla="*/ 171778 w 425450"/>
              <a:gd name="connsiteY252" fmla="*/ 764026 h 1185518"/>
              <a:gd name="connsiteX253" fmla="*/ 173775 w 425450"/>
              <a:gd name="connsiteY253" fmla="*/ 771997 h 1185518"/>
              <a:gd name="connsiteX254" fmla="*/ 167783 w 425450"/>
              <a:gd name="connsiteY254" fmla="*/ 781960 h 1185518"/>
              <a:gd name="connsiteX255" fmla="*/ 163788 w 425450"/>
              <a:gd name="connsiteY255" fmla="*/ 785946 h 1185518"/>
              <a:gd name="connsiteX256" fmla="*/ 163788 w 425450"/>
              <a:gd name="connsiteY256" fmla="*/ 791924 h 1185518"/>
              <a:gd name="connsiteX257" fmla="*/ 167783 w 425450"/>
              <a:gd name="connsiteY257" fmla="*/ 795909 h 1185518"/>
              <a:gd name="connsiteX258" fmla="*/ 163788 w 425450"/>
              <a:gd name="connsiteY258" fmla="*/ 797902 h 1185518"/>
              <a:gd name="connsiteX259" fmla="*/ 155799 w 425450"/>
              <a:gd name="connsiteY259" fmla="*/ 795909 h 1185518"/>
              <a:gd name="connsiteX260" fmla="*/ 149806 w 425450"/>
              <a:gd name="connsiteY260" fmla="*/ 795909 h 1185518"/>
              <a:gd name="connsiteX261" fmla="*/ 145812 w 425450"/>
              <a:gd name="connsiteY261" fmla="*/ 797902 h 1185518"/>
              <a:gd name="connsiteX262" fmla="*/ 145812 w 425450"/>
              <a:gd name="connsiteY262" fmla="*/ 805872 h 1185518"/>
              <a:gd name="connsiteX263" fmla="*/ 137822 w 425450"/>
              <a:gd name="connsiteY263" fmla="*/ 805872 h 1185518"/>
              <a:gd name="connsiteX264" fmla="*/ 131830 w 425450"/>
              <a:gd name="connsiteY264" fmla="*/ 811851 h 1185518"/>
              <a:gd name="connsiteX265" fmla="*/ 127835 w 425450"/>
              <a:gd name="connsiteY265" fmla="*/ 819821 h 1185518"/>
              <a:gd name="connsiteX266" fmla="*/ 121843 w 425450"/>
              <a:gd name="connsiteY266" fmla="*/ 827792 h 1185518"/>
              <a:gd name="connsiteX267" fmla="*/ 119845 w 425450"/>
              <a:gd name="connsiteY267" fmla="*/ 841741 h 1185518"/>
              <a:gd name="connsiteX268" fmla="*/ 123840 w 425450"/>
              <a:gd name="connsiteY268" fmla="*/ 847719 h 1185518"/>
              <a:gd name="connsiteX269" fmla="*/ 129832 w 425450"/>
              <a:gd name="connsiteY269" fmla="*/ 851704 h 1185518"/>
              <a:gd name="connsiteX270" fmla="*/ 137822 w 425450"/>
              <a:gd name="connsiteY270" fmla="*/ 857682 h 1185518"/>
              <a:gd name="connsiteX271" fmla="*/ 145812 w 425450"/>
              <a:gd name="connsiteY271" fmla="*/ 863660 h 1185518"/>
              <a:gd name="connsiteX272" fmla="*/ 145812 w 425450"/>
              <a:gd name="connsiteY272" fmla="*/ 869639 h 1185518"/>
              <a:gd name="connsiteX273" fmla="*/ 151804 w 425450"/>
              <a:gd name="connsiteY273" fmla="*/ 873624 h 1185518"/>
              <a:gd name="connsiteX274" fmla="*/ 157796 w 425450"/>
              <a:gd name="connsiteY274" fmla="*/ 871631 h 1185518"/>
              <a:gd name="connsiteX275" fmla="*/ 163788 w 425450"/>
              <a:gd name="connsiteY275" fmla="*/ 873624 h 1185518"/>
              <a:gd name="connsiteX276" fmla="*/ 167783 w 425450"/>
              <a:gd name="connsiteY276" fmla="*/ 873624 h 1185518"/>
              <a:gd name="connsiteX277" fmla="*/ 171778 w 425450"/>
              <a:gd name="connsiteY277" fmla="*/ 873624 h 1185518"/>
              <a:gd name="connsiteX278" fmla="*/ 169781 w 425450"/>
              <a:gd name="connsiteY278" fmla="*/ 883587 h 1185518"/>
              <a:gd name="connsiteX279" fmla="*/ 165786 w 425450"/>
              <a:gd name="connsiteY279" fmla="*/ 891558 h 1185518"/>
              <a:gd name="connsiteX280" fmla="*/ 169781 w 425450"/>
              <a:gd name="connsiteY280" fmla="*/ 901522 h 1185518"/>
              <a:gd name="connsiteX281" fmla="*/ 169781 w 425450"/>
              <a:gd name="connsiteY281" fmla="*/ 905507 h 1185518"/>
              <a:gd name="connsiteX282" fmla="*/ 165786 w 425450"/>
              <a:gd name="connsiteY282" fmla="*/ 909492 h 1185518"/>
              <a:gd name="connsiteX283" fmla="*/ 159794 w 425450"/>
              <a:gd name="connsiteY283" fmla="*/ 913478 h 1185518"/>
              <a:gd name="connsiteX284" fmla="*/ 149806 w 425450"/>
              <a:gd name="connsiteY284" fmla="*/ 923441 h 1185518"/>
              <a:gd name="connsiteX285" fmla="*/ 145812 w 425450"/>
              <a:gd name="connsiteY285" fmla="*/ 929419 h 1185518"/>
              <a:gd name="connsiteX286" fmla="*/ 139819 w 425450"/>
              <a:gd name="connsiteY286" fmla="*/ 935397 h 1185518"/>
              <a:gd name="connsiteX287" fmla="*/ 135825 w 425450"/>
              <a:gd name="connsiteY287" fmla="*/ 941375 h 1185518"/>
              <a:gd name="connsiteX288" fmla="*/ 133827 w 425450"/>
              <a:gd name="connsiteY288" fmla="*/ 949346 h 1185518"/>
              <a:gd name="connsiteX289" fmla="*/ 131830 w 425450"/>
              <a:gd name="connsiteY289" fmla="*/ 957317 h 1185518"/>
              <a:gd name="connsiteX290" fmla="*/ 135825 w 425450"/>
              <a:gd name="connsiteY290" fmla="*/ 959310 h 1185518"/>
              <a:gd name="connsiteX291" fmla="*/ 137822 w 425450"/>
              <a:gd name="connsiteY291" fmla="*/ 963295 h 1185518"/>
              <a:gd name="connsiteX292" fmla="*/ 137822 w 425450"/>
              <a:gd name="connsiteY292" fmla="*/ 967280 h 1185518"/>
              <a:gd name="connsiteX293" fmla="*/ 133827 w 425450"/>
              <a:gd name="connsiteY293" fmla="*/ 975251 h 1185518"/>
              <a:gd name="connsiteX294" fmla="*/ 129832 w 425450"/>
              <a:gd name="connsiteY294" fmla="*/ 977244 h 1185518"/>
              <a:gd name="connsiteX295" fmla="*/ 127835 w 425450"/>
              <a:gd name="connsiteY295" fmla="*/ 985215 h 1185518"/>
              <a:gd name="connsiteX296" fmla="*/ 115850 w 425450"/>
              <a:gd name="connsiteY296" fmla="*/ 985215 h 1185518"/>
              <a:gd name="connsiteX297" fmla="*/ 111856 w 425450"/>
              <a:gd name="connsiteY297" fmla="*/ 989200 h 1185518"/>
              <a:gd name="connsiteX298" fmla="*/ 111856 w 425450"/>
              <a:gd name="connsiteY298" fmla="*/ 997171 h 1185518"/>
              <a:gd name="connsiteX299" fmla="*/ 105863 w 425450"/>
              <a:gd name="connsiteY299" fmla="*/ 1001156 h 1185518"/>
              <a:gd name="connsiteX300" fmla="*/ 103866 w 425450"/>
              <a:gd name="connsiteY300" fmla="*/ 1007134 h 1185518"/>
              <a:gd name="connsiteX301" fmla="*/ 105863 w 425450"/>
              <a:gd name="connsiteY301" fmla="*/ 1013112 h 1185518"/>
              <a:gd name="connsiteX302" fmla="*/ 99871 w 425450"/>
              <a:gd name="connsiteY302" fmla="*/ 1017098 h 1185518"/>
              <a:gd name="connsiteX303" fmla="*/ 101868 w 425450"/>
              <a:gd name="connsiteY303" fmla="*/ 1021083 h 1185518"/>
              <a:gd name="connsiteX304" fmla="*/ 109858 w 425450"/>
              <a:gd name="connsiteY304" fmla="*/ 1019090 h 1185518"/>
              <a:gd name="connsiteX305" fmla="*/ 109858 w 425450"/>
              <a:gd name="connsiteY305" fmla="*/ 1025068 h 1185518"/>
              <a:gd name="connsiteX306" fmla="*/ 111856 w 425450"/>
              <a:gd name="connsiteY306" fmla="*/ 1029054 h 1185518"/>
              <a:gd name="connsiteX307" fmla="*/ 111856 w 425450"/>
              <a:gd name="connsiteY307" fmla="*/ 1037024 h 1185518"/>
              <a:gd name="connsiteX308" fmla="*/ 109858 w 425450"/>
              <a:gd name="connsiteY308" fmla="*/ 1041010 h 1185518"/>
              <a:gd name="connsiteX309" fmla="*/ 109858 w 425450"/>
              <a:gd name="connsiteY309" fmla="*/ 1043003 h 1185518"/>
              <a:gd name="connsiteX310" fmla="*/ 101868 w 425450"/>
              <a:gd name="connsiteY310" fmla="*/ 1039017 h 1185518"/>
              <a:gd name="connsiteX311" fmla="*/ 91881 w 425450"/>
              <a:gd name="connsiteY311" fmla="*/ 1041010 h 1185518"/>
              <a:gd name="connsiteX312" fmla="*/ 79897 w 425450"/>
              <a:gd name="connsiteY312" fmla="*/ 1044995 h 1185518"/>
              <a:gd name="connsiteX313" fmla="*/ 69910 w 425450"/>
              <a:gd name="connsiteY313" fmla="*/ 1043003 h 1185518"/>
              <a:gd name="connsiteX314" fmla="*/ 59923 w 425450"/>
              <a:gd name="connsiteY314" fmla="*/ 1043003 h 1185518"/>
              <a:gd name="connsiteX315" fmla="*/ 53930 w 425450"/>
              <a:gd name="connsiteY315" fmla="*/ 1044995 h 1185518"/>
              <a:gd name="connsiteX316" fmla="*/ 49936 w 425450"/>
              <a:gd name="connsiteY316" fmla="*/ 1041010 h 1185518"/>
              <a:gd name="connsiteX317" fmla="*/ 41946 w 425450"/>
              <a:gd name="connsiteY317" fmla="*/ 1027061 h 1185518"/>
              <a:gd name="connsiteX318" fmla="*/ 35954 w 425450"/>
              <a:gd name="connsiteY318" fmla="*/ 1017098 h 1185518"/>
              <a:gd name="connsiteX319" fmla="*/ 35954 w 425450"/>
              <a:gd name="connsiteY319" fmla="*/ 1011119 h 1185518"/>
              <a:gd name="connsiteX320" fmla="*/ 33956 w 425450"/>
              <a:gd name="connsiteY320" fmla="*/ 999163 h 1185518"/>
              <a:gd name="connsiteX321" fmla="*/ 29961 w 425450"/>
              <a:gd name="connsiteY321" fmla="*/ 995178 h 1185518"/>
              <a:gd name="connsiteX322" fmla="*/ 23969 w 425450"/>
              <a:gd name="connsiteY322" fmla="*/ 997171 h 1185518"/>
              <a:gd name="connsiteX323" fmla="*/ 17977 w 425450"/>
              <a:gd name="connsiteY323" fmla="*/ 1001156 h 1185518"/>
              <a:gd name="connsiteX324" fmla="*/ 11985 w 425450"/>
              <a:gd name="connsiteY324" fmla="*/ 999163 h 1185518"/>
              <a:gd name="connsiteX325" fmla="*/ 5992 w 425450"/>
              <a:gd name="connsiteY325" fmla="*/ 991193 h 1185518"/>
              <a:gd name="connsiteX326" fmla="*/ 1998 w 425450"/>
              <a:gd name="connsiteY326" fmla="*/ 983222 h 1185518"/>
              <a:gd name="connsiteX327" fmla="*/ 1998 w 425450"/>
              <a:gd name="connsiteY327" fmla="*/ 961302 h 1185518"/>
              <a:gd name="connsiteX328" fmla="*/ 5992 w 425450"/>
              <a:gd name="connsiteY328" fmla="*/ 947353 h 1185518"/>
              <a:gd name="connsiteX329" fmla="*/ 17977 w 425450"/>
              <a:gd name="connsiteY329" fmla="*/ 933405 h 1185518"/>
              <a:gd name="connsiteX330" fmla="*/ 21972 w 425450"/>
              <a:gd name="connsiteY330" fmla="*/ 921448 h 1185518"/>
              <a:gd name="connsiteX331" fmla="*/ 21972 w 425450"/>
              <a:gd name="connsiteY331" fmla="*/ 913478 h 1185518"/>
              <a:gd name="connsiteX332" fmla="*/ 23969 w 425450"/>
              <a:gd name="connsiteY332" fmla="*/ 907500 h 1185518"/>
              <a:gd name="connsiteX333" fmla="*/ 19974 w 425450"/>
              <a:gd name="connsiteY333" fmla="*/ 897536 h 1185518"/>
              <a:gd name="connsiteX334" fmla="*/ 15979 w 425450"/>
              <a:gd name="connsiteY334" fmla="*/ 895544 h 1185518"/>
              <a:gd name="connsiteX335" fmla="*/ 15979 w 425450"/>
              <a:gd name="connsiteY335" fmla="*/ 887573 h 1185518"/>
              <a:gd name="connsiteX336" fmla="*/ 15979 w 425450"/>
              <a:gd name="connsiteY336" fmla="*/ 879602 h 1185518"/>
              <a:gd name="connsiteX337" fmla="*/ 21972 w 425450"/>
              <a:gd name="connsiteY337" fmla="*/ 871631 h 1185518"/>
              <a:gd name="connsiteX338" fmla="*/ 23969 w 425450"/>
              <a:gd name="connsiteY338" fmla="*/ 863660 h 1185518"/>
              <a:gd name="connsiteX339" fmla="*/ 25967 w 425450"/>
              <a:gd name="connsiteY339" fmla="*/ 855690 h 1185518"/>
              <a:gd name="connsiteX340" fmla="*/ 27964 w 425450"/>
              <a:gd name="connsiteY340" fmla="*/ 845726 h 1185518"/>
              <a:gd name="connsiteX341" fmla="*/ 25967 w 425450"/>
              <a:gd name="connsiteY341" fmla="*/ 837756 h 1185518"/>
              <a:gd name="connsiteX342" fmla="*/ 27964 w 425450"/>
              <a:gd name="connsiteY342" fmla="*/ 827792 h 1185518"/>
              <a:gd name="connsiteX343" fmla="*/ 23969 w 425450"/>
              <a:gd name="connsiteY343" fmla="*/ 821814 h 1185518"/>
              <a:gd name="connsiteX344" fmla="*/ 23969 w 425450"/>
              <a:gd name="connsiteY344" fmla="*/ 813843 h 1185518"/>
              <a:gd name="connsiteX345" fmla="*/ 25967 w 425450"/>
              <a:gd name="connsiteY345" fmla="*/ 807865 h 1185518"/>
              <a:gd name="connsiteX346" fmla="*/ 31959 w 425450"/>
              <a:gd name="connsiteY346" fmla="*/ 799894 h 1185518"/>
              <a:gd name="connsiteX347" fmla="*/ 27964 w 425450"/>
              <a:gd name="connsiteY347" fmla="*/ 789931 h 1185518"/>
              <a:gd name="connsiteX348" fmla="*/ 19974 w 425450"/>
              <a:gd name="connsiteY348" fmla="*/ 783953 h 1185518"/>
              <a:gd name="connsiteX349" fmla="*/ 19974 w 425450"/>
              <a:gd name="connsiteY349" fmla="*/ 777975 h 1185518"/>
              <a:gd name="connsiteX350" fmla="*/ 33956 w 425450"/>
              <a:gd name="connsiteY350" fmla="*/ 775982 h 1185518"/>
              <a:gd name="connsiteX351" fmla="*/ 27964 w 425450"/>
              <a:gd name="connsiteY351" fmla="*/ 768011 h 1185518"/>
              <a:gd name="connsiteX352" fmla="*/ 23969 w 425450"/>
              <a:gd name="connsiteY352" fmla="*/ 766019 h 1185518"/>
              <a:gd name="connsiteX353" fmla="*/ 13982 w 425450"/>
              <a:gd name="connsiteY353" fmla="*/ 762033 h 1185518"/>
              <a:gd name="connsiteX354" fmla="*/ 11985 w 425450"/>
              <a:gd name="connsiteY354" fmla="*/ 754063 h 1185518"/>
              <a:gd name="connsiteX355" fmla="*/ 11985 w 425450"/>
              <a:gd name="connsiteY355" fmla="*/ 748084 h 1185518"/>
              <a:gd name="connsiteX356" fmla="*/ 11985 w 425450"/>
              <a:gd name="connsiteY356" fmla="*/ 738121 h 1185518"/>
              <a:gd name="connsiteX357" fmla="*/ 11985 w 425450"/>
              <a:gd name="connsiteY357" fmla="*/ 730150 h 1185518"/>
              <a:gd name="connsiteX358" fmla="*/ 9987 w 425450"/>
              <a:gd name="connsiteY358" fmla="*/ 724172 h 1185518"/>
              <a:gd name="connsiteX359" fmla="*/ 3995 w 425450"/>
              <a:gd name="connsiteY359" fmla="*/ 712216 h 1185518"/>
              <a:gd name="connsiteX360" fmla="*/ 3995 w 425450"/>
              <a:gd name="connsiteY360" fmla="*/ 698267 h 1185518"/>
              <a:gd name="connsiteX361" fmla="*/ 3995 w 425450"/>
              <a:gd name="connsiteY361" fmla="*/ 690296 h 1185518"/>
              <a:gd name="connsiteX362" fmla="*/ 1998 w 425450"/>
              <a:gd name="connsiteY362" fmla="*/ 684318 h 1185518"/>
              <a:gd name="connsiteX363" fmla="*/ 9987 w 425450"/>
              <a:gd name="connsiteY363" fmla="*/ 680333 h 1185518"/>
              <a:gd name="connsiteX364" fmla="*/ 7990 w 425450"/>
              <a:gd name="connsiteY364" fmla="*/ 668377 h 1185518"/>
              <a:gd name="connsiteX365" fmla="*/ 3995 w 425450"/>
              <a:gd name="connsiteY365" fmla="*/ 660406 h 1185518"/>
              <a:gd name="connsiteX366" fmla="*/ 1998 w 425450"/>
              <a:gd name="connsiteY366" fmla="*/ 650443 h 1185518"/>
              <a:gd name="connsiteX367" fmla="*/ 0 w 425450"/>
              <a:gd name="connsiteY367" fmla="*/ 630516 h 1185518"/>
              <a:gd name="connsiteX368" fmla="*/ 0 w 425450"/>
              <a:gd name="connsiteY368" fmla="*/ 618560 h 1185518"/>
              <a:gd name="connsiteX369" fmla="*/ 0 w 425450"/>
              <a:gd name="connsiteY369" fmla="*/ 608596 h 1185518"/>
              <a:gd name="connsiteX370" fmla="*/ 5992 w 425450"/>
              <a:gd name="connsiteY370" fmla="*/ 606604 h 1185518"/>
              <a:gd name="connsiteX371" fmla="*/ 1998 w 425450"/>
              <a:gd name="connsiteY371" fmla="*/ 598633 h 1185518"/>
              <a:gd name="connsiteX372" fmla="*/ 1998 w 425450"/>
              <a:gd name="connsiteY372" fmla="*/ 592655 h 1185518"/>
              <a:gd name="connsiteX373" fmla="*/ 5992 w 425450"/>
              <a:gd name="connsiteY373" fmla="*/ 584684 h 1185518"/>
              <a:gd name="connsiteX374" fmla="*/ 7990 w 425450"/>
              <a:gd name="connsiteY374" fmla="*/ 578706 h 1185518"/>
              <a:gd name="connsiteX375" fmla="*/ 5992 w 425450"/>
              <a:gd name="connsiteY375" fmla="*/ 572728 h 1185518"/>
              <a:gd name="connsiteX376" fmla="*/ 5992 w 425450"/>
              <a:gd name="connsiteY376" fmla="*/ 564757 h 1185518"/>
              <a:gd name="connsiteX377" fmla="*/ 13982 w 425450"/>
              <a:gd name="connsiteY377" fmla="*/ 556786 h 1185518"/>
              <a:gd name="connsiteX378" fmla="*/ 9987 w 425450"/>
              <a:gd name="connsiteY378" fmla="*/ 540845 h 1185518"/>
              <a:gd name="connsiteX379" fmla="*/ 7990 w 425450"/>
              <a:gd name="connsiteY379" fmla="*/ 522911 h 1185518"/>
              <a:gd name="connsiteX380" fmla="*/ 5992 w 425450"/>
              <a:gd name="connsiteY380" fmla="*/ 516933 h 1185518"/>
              <a:gd name="connsiteX381" fmla="*/ 1998 w 425450"/>
              <a:gd name="connsiteY381" fmla="*/ 508962 h 1185518"/>
              <a:gd name="connsiteX382" fmla="*/ 1998 w 425450"/>
              <a:gd name="connsiteY382" fmla="*/ 497006 h 1185518"/>
              <a:gd name="connsiteX383" fmla="*/ 7990 w 425450"/>
              <a:gd name="connsiteY383" fmla="*/ 487042 h 1185518"/>
              <a:gd name="connsiteX384" fmla="*/ 15979 w 425450"/>
              <a:gd name="connsiteY384" fmla="*/ 479071 h 1185518"/>
              <a:gd name="connsiteX385" fmla="*/ 17977 w 425450"/>
              <a:gd name="connsiteY385" fmla="*/ 463130 h 1185518"/>
              <a:gd name="connsiteX386" fmla="*/ 15979 w 425450"/>
              <a:gd name="connsiteY386" fmla="*/ 453166 h 1185518"/>
              <a:gd name="connsiteX387" fmla="*/ 13982 w 425450"/>
              <a:gd name="connsiteY387" fmla="*/ 445196 h 1185518"/>
              <a:gd name="connsiteX388" fmla="*/ 13982 w 425450"/>
              <a:gd name="connsiteY388" fmla="*/ 433240 h 1185518"/>
              <a:gd name="connsiteX389" fmla="*/ 19974 w 425450"/>
              <a:gd name="connsiteY389" fmla="*/ 415305 h 1185518"/>
              <a:gd name="connsiteX390" fmla="*/ 27964 w 425450"/>
              <a:gd name="connsiteY390" fmla="*/ 403349 h 1185518"/>
              <a:gd name="connsiteX391" fmla="*/ 27964 w 425450"/>
              <a:gd name="connsiteY391" fmla="*/ 387408 h 1185518"/>
              <a:gd name="connsiteX392" fmla="*/ 25967 w 425450"/>
              <a:gd name="connsiteY392" fmla="*/ 375452 h 1185518"/>
              <a:gd name="connsiteX393" fmla="*/ 19974 w 425450"/>
              <a:gd name="connsiteY393" fmla="*/ 369473 h 1185518"/>
              <a:gd name="connsiteX394" fmla="*/ 19974 w 425450"/>
              <a:gd name="connsiteY394" fmla="*/ 357517 h 1185518"/>
              <a:gd name="connsiteX395" fmla="*/ 15979 w 425450"/>
              <a:gd name="connsiteY395" fmla="*/ 351539 h 1185518"/>
              <a:gd name="connsiteX396" fmla="*/ 15979 w 425450"/>
              <a:gd name="connsiteY396" fmla="*/ 339583 h 1185518"/>
              <a:gd name="connsiteX397" fmla="*/ 9987 w 425450"/>
              <a:gd name="connsiteY397" fmla="*/ 331612 h 1185518"/>
              <a:gd name="connsiteX398" fmla="*/ 5992 w 425450"/>
              <a:gd name="connsiteY398" fmla="*/ 319656 h 1185518"/>
              <a:gd name="connsiteX399" fmla="*/ 3995 w 425450"/>
              <a:gd name="connsiteY399" fmla="*/ 313678 h 1185518"/>
              <a:gd name="connsiteX400" fmla="*/ 5992 w 425450"/>
              <a:gd name="connsiteY400" fmla="*/ 303715 h 1185518"/>
              <a:gd name="connsiteX401" fmla="*/ 9987 w 425450"/>
              <a:gd name="connsiteY401" fmla="*/ 299729 h 1185518"/>
              <a:gd name="connsiteX402" fmla="*/ 7990 w 425450"/>
              <a:gd name="connsiteY402" fmla="*/ 293751 h 1185518"/>
              <a:gd name="connsiteX403" fmla="*/ 9987 w 425450"/>
              <a:gd name="connsiteY403" fmla="*/ 281795 h 1185518"/>
              <a:gd name="connsiteX404" fmla="*/ 15979 w 425450"/>
              <a:gd name="connsiteY404" fmla="*/ 277810 h 1185518"/>
              <a:gd name="connsiteX405" fmla="*/ 15979 w 425450"/>
              <a:gd name="connsiteY405" fmla="*/ 267846 h 1185518"/>
              <a:gd name="connsiteX406" fmla="*/ 9987 w 425450"/>
              <a:gd name="connsiteY406" fmla="*/ 253898 h 1185518"/>
              <a:gd name="connsiteX407" fmla="*/ 9987 w 425450"/>
              <a:gd name="connsiteY407" fmla="*/ 241941 h 1185518"/>
              <a:gd name="connsiteX408" fmla="*/ 15979 w 425450"/>
              <a:gd name="connsiteY408" fmla="*/ 229985 h 1185518"/>
              <a:gd name="connsiteX409" fmla="*/ 19974 w 425450"/>
              <a:gd name="connsiteY409" fmla="*/ 210058 h 1185518"/>
              <a:gd name="connsiteX410" fmla="*/ 25967 w 425450"/>
              <a:gd name="connsiteY410" fmla="*/ 190131 h 1185518"/>
              <a:gd name="connsiteX411" fmla="*/ 37951 w 425450"/>
              <a:gd name="connsiteY411" fmla="*/ 174190 h 1185518"/>
              <a:gd name="connsiteX412" fmla="*/ 43943 w 425450"/>
              <a:gd name="connsiteY412" fmla="*/ 170205 h 1185518"/>
              <a:gd name="connsiteX413" fmla="*/ 45941 w 425450"/>
              <a:gd name="connsiteY413" fmla="*/ 158248 h 1185518"/>
              <a:gd name="connsiteX414" fmla="*/ 41946 w 425450"/>
              <a:gd name="connsiteY414" fmla="*/ 152270 h 1185518"/>
              <a:gd name="connsiteX415" fmla="*/ 41946 w 425450"/>
              <a:gd name="connsiteY415" fmla="*/ 138322 h 1185518"/>
              <a:gd name="connsiteX416" fmla="*/ 39948 w 425450"/>
              <a:gd name="connsiteY416" fmla="*/ 124373 h 1185518"/>
              <a:gd name="connsiteX417" fmla="*/ 39948 w 425450"/>
              <a:gd name="connsiteY417" fmla="*/ 112417 h 1185518"/>
              <a:gd name="connsiteX418" fmla="*/ 43943 w 425450"/>
              <a:gd name="connsiteY418" fmla="*/ 102453 h 1185518"/>
              <a:gd name="connsiteX419" fmla="*/ 41946 w 425450"/>
              <a:gd name="connsiteY419" fmla="*/ 94482 h 1185518"/>
              <a:gd name="connsiteX420" fmla="*/ 39948 w 425450"/>
              <a:gd name="connsiteY420" fmla="*/ 90497 h 1185518"/>
              <a:gd name="connsiteX421" fmla="*/ 43943 w 425450"/>
              <a:gd name="connsiteY421" fmla="*/ 86512 h 1185518"/>
              <a:gd name="connsiteX422" fmla="*/ 55928 w 425450"/>
              <a:gd name="connsiteY422" fmla="*/ 78541 h 1185518"/>
              <a:gd name="connsiteX423" fmla="*/ 67912 w 425450"/>
              <a:gd name="connsiteY423" fmla="*/ 72563 h 1185518"/>
              <a:gd name="connsiteX424" fmla="*/ 71907 w 425450"/>
              <a:gd name="connsiteY424" fmla="*/ 66585 h 1185518"/>
              <a:gd name="connsiteX425" fmla="*/ 69910 w 425450"/>
              <a:gd name="connsiteY425" fmla="*/ 54629 h 1185518"/>
              <a:gd name="connsiteX426" fmla="*/ 71907 w 425450"/>
              <a:gd name="connsiteY426" fmla="*/ 38687 h 1185518"/>
              <a:gd name="connsiteX427" fmla="*/ 69910 w 425450"/>
              <a:gd name="connsiteY427" fmla="*/ 32709 h 1185518"/>
              <a:gd name="connsiteX428" fmla="*/ 67912 w 425450"/>
              <a:gd name="connsiteY428" fmla="*/ 32709 h 1185518"/>
              <a:gd name="connsiteX429" fmla="*/ 73905 w 425450"/>
              <a:gd name="connsiteY429" fmla="*/ 20753 h 1185518"/>
              <a:gd name="connsiteX430" fmla="*/ 81894 w 425450"/>
              <a:gd name="connsiteY430" fmla="*/ 12782 h 1185518"/>
              <a:gd name="connsiteX431" fmla="*/ 87887 w 425450"/>
              <a:gd name="connsiteY431" fmla="*/ 6804 h 1185518"/>
              <a:gd name="connsiteX432" fmla="*/ 91881 w 425450"/>
              <a:gd name="connsiteY432" fmla="*/ 826 h 11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Lst>
            <a:rect l="l" t="t" r="r" b="b"/>
            <a:pathLst>
              <a:path w="425450" h="1185518">
                <a:moveTo>
                  <a:pt x="243285" y="1160882"/>
                </a:moveTo>
                <a:cubicBezTo>
                  <a:pt x="247254" y="1160882"/>
                  <a:pt x="249238" y="1162866"/>
                  <a:pt x="251223" y="1162866"/>
                </a:cubicBezTo>
                <a:cubicBezTo>
                  <a:pt x="255192" y="1162866"/>
                  <a:pt x="257176" y="1162866"/>
                  <a:pt x="257176" y="1164851"/>
                </a:cubicBezTo>
                <a:cubicBezTo>
                  <a:pt x="257176" y="1164851"/>
                  <a:pt x="255192" y="1164851"/>
                  <a:pt x="255192" y="1164851"/>
                </a:cubicBezTo>
                <a:cubicBezTo>
                  <a:pt x="253207" y="1164851"/>
                  <a:pt x="251223" y="1164851"/>
                  <a:pt x="249238" y="1164851"/>
                </a:cubicBezTo>
                <a:cubicBezTo>
                  <a:pt x="247254" y="1166835"/>
                  <a:pt x="243285" y="1166835"/>
                  <a:pt x="241301" y="1166835"/>
                </a:cubicBezTo>
                <a:cubicBezTo>
                  <a:pt x="239316" y="1166835"/>
                  <a:pt x="239316" y="1166835"/>
                  <a:pt x="237332" y="1168819"/>
                </a:cubicBezTo>
                <a:cubicBezTo>
                  <a:pt x="235348" y="1168819"/>
                  <a:pt x="233363" y="1168819"/>
                  <a:pt x="233363" y="1166835"/>
                </a:cubicBezTo>
                <a:cubicBezTo>
                  <a:pt x="233363" y="1162866"/>
                  <a:pt x="235348" y="1162866"/>
                  <a:pt x="235348" y="1162866"/>
                </a:cubicBezTo>
                <a:cubicBezTo>
                  <a:pt x="237332" y="1162866"/>
                  <a:pt x="237332" y="1162866"/>
                  <a:pt x="239316" y="1162866"/>
                </a:cubicBezTo>
                <a:cubicBezTo>
                  <a:pt x="239316" y="1160882"/>
                  <a:pt x="241301" y="1160882"/>
                  <a:pt x="243285" y="1160882"/>
                </a:cubicBezTo>
                <a:close/>
                <a:moveTo>
                  <a:pt x="125413" y="1081507"/>
                </a:moveTo>
                <a:cubicBezTo>
                  <a:pt x="133384" y="1091541"/>
                  <a:pt x="133384" y="1091541"/>
                  <a:pt x="133384" y="1091541"/>
                </a:cubicBezTo>
                <a:cubicBezTo>
                  <a:pt x="133384" y="1091541"/>
                  <a:pt x="141356" y="1095555"/>
                  <a:pt x="139363" y="1101576"/>
                </a:cubicBezTo>
                <a:cubicBezTo>
                  <a:pt x="139363" y="1105589"/>
                  <a:pt x="137370" y="1107596"/>
                  <a:pt x="141356" y="1109603"/>
                </a:cubicBezTo>
                <a:cubicBezTo>
                  <a:pt x="145341" y="1113617"/>
                  <a:pt x="141356" y="1117630"/>
                  <a:pt x="145341" y="1123651"/>
                </a:cubicBezTo>
                <a:cubicBezTo>
                  <a:pt x="147334" y="1127664"/>
                  <a:pt x="147334" y="1125658"/>
                  <a:pt x="159291" y="1133685"/>
                </a:cubicBezTo>
                <a:cubicBezTo>
                  <a:pt x="171248" y="1141712"/>
                  <a:pt x="181212" y="1147733"/>
                  <a:pt x="183205" y="1149739"/>
                </a:cubicBezTo>
                <a:cubicBezTo>
                  <a:pt x="183205" y="1151746"/>
                  <a:pt x="193169" y="1155760"/>
                  <a:pt x="193169" y="1157767"/>
                </a:cubicBezTo>
                <a:cubicBezTo>
                  <a:pt x="193169" y="1161780"/>
                  <a:pt x="199148" y="1159774"/>
                  <a:pt x="205126" y="1161780"/>
                </a:cubicBezTo>
                <a:cubicBezTo>
                  <a:pt x="213098" y="1163787"/>
                  <a:pt x="219076" y="1161780"/>
                  <a:pt x="219076" y="1163787"/>
                </a:cubicBezTo>
                <a:cubicBezTo>
                  <a:pt x="219076" y="1165794"/>
                  <a:pt x="217083" y="1169808"/>
                  <a:pt x="217083" y="1169808"/>
                </a:cubicBezTo>
                <a:cubicBezTo>
                  <a:pt x="217083" y="1169808"/>
                  <a:pt x="213098" y="1171815"/>
                  <a:pt x="209112" y="1171815"/>
                </a:cubicBezTo>
                <a:cubicBezTo>
                  <a:pt x="207119" y="1171815"/>
                  <a:pt x="205126" y="1175828"/>
                  <a:pt x="205126" y="1175828"/>
                </a:cubicBezTo>
                <a:cubicBezTo>
                  <a:pt x="205126" y="1175828"/>
                  <a:pt x="205126" y="1177835"/>
                  <a:pt x="201141" y="1177835"/>
                </a:cubicBezTo>
                <a:cubicBezTo>
                  <a:pt x="199148" y="1175828"/>
                  <a:pt x="197155" y="1175828"/>
                  <a:pt x="195162" y="1177835"/>
                </a:cubicBezTo>
                <a:cubicBezTo>
                  <a:pt x="193169" y="1179842"/>
                  <a:pt x="187191" y="1179842"/>
                  <a:pt x="185198" y="1179842"/>
                </a:cubicBezTo>
                <a:cubicBezTo>
                  <a:pt x="183205" y="1175828"/>
                  <a:pt x="175234" y="1171815"/>
                  <a:pt x="169255" y="1171815"/>
                </a:cubicBezTo>
                <a:cubicBezTo>
                  <a:pt x="163277" y="1171815"/>
                  <a:pt x="155306" y="1173821"/>
                  <a:pt x="159291" y="1175828"/>
                </a:cubicBezTo>
                <a:cubicBezTo>
                  <a:pt x="163277" y="1175828"/>
                  <a:pt x="175234" y="1177835"/>
                  <a:pt x="175234" y="1179842"/>
                </a:cubicBezTo>
                <a:cubicBezTo>
                  <a:pt x="175234" y="1183856"/>
                  <a:pt x="171248" y="1187869"/>
                  <a:pt x="169255" y="1183856"/>
                </a:cubicBezTo>
                <a:cubicBezTo>
                  <a:pt x="167263" y="1181849"/>
                  <a:pt x="163277" y="1179842"/>
                  <a:pt x="163277" y="1183856"/>
                </a:cubicBezTo>
                <a:cubicBezTo>
                  <a:pt x="163277" y="1185862"/>
                  <a:pt x="157298" y="1185862"/>
                  <a:pt x="157298" y="1183856"/>
                </a:cubicBezTo>
                <a:cubicBezTo>
                  <a:pt x="157298" y="1181849"/>
                  <a:pt x="155306" y="1183856"/>
                  <a:pt x="155306" y="1183856"/>
                </a:cubicBezTo>
                <a:cubicBezTo>
                  <a:pt x="155306" y="1183856"/>
                  <a:pt x="151320" y="1185862"/>
                  <a:pt x="151320" y="1183856"/>
                </a:cubicBezTo>
                <a:cubicBezTo>
                  <a:pt x="151320" y="1179842"/>
                  <a:pt x="149327" y="1179842"/>
                  <a:pt x="149327" y="1179842"/>
                </a:cubicBezTo>
                <a:cubicBezTo>
                  <a:pt x="145341" y="1177835"/>
                  <a:pt x="137370" y="1171815"/>
                  <a:pt x="137370" y="1171815"/>
                </a:cubicBezTo>
                <a:cubicBezTo>
                  <a:pt x="137370" y="1169808"/>
                  <a:pt x="137370" y="1167801"/>
                  <a:pt x="137370" y="1167801"/>
                </a:cubicBezTo>
                <a:cubicBezTo>
                  <a:pt x="137370" y="1167801"/>
                  <a:pt x="137370" y="1143719"/>
                  <a:pt x="135377" y="1141712"/>
                </a:cubicBezTo>
                <a:cubicBezTo>
                  <a:pt x="135377" y="1141712"/>
                  <a:pt x="135377" y="1139705"/>
                  <a:pt x="133384" y="1135692"/>
                </a:cubicBezTo>
                <a:cubicBezTo>
                  <a:pt x="131392" y="1131678"/>
                  <a:pt x="129399" y="1111610"/>
                  <a:pt x="129399" y="1109603"/>
                </a:cubicBezTo>
                <a:cubicBezTo>
                  <a:pt x="129399" y="1107596"/>
                  <a:pt x="127406" y="1101576"/>
                  <a:pt x="127406" y="1099569"/>
                </a:cubicBezTo>
                <a:cubicBezTo>
                  <a:pt x="125413" y="1095555"/>
                  <a:pt x="125413" y="1081507"/>
                  <a:pt x="125413" y="1081507"/>
                </a:cubicBezTo>
                <a:close/>
                <a:moveTo>
                  <a:pt x="91881" y="826"/>
                </a:moveTo>
                <a:cubicBezTo>
                  <a:pt x="93879" y="-1167"/>
                  <a:pt x="97874" y="826"/>
                  <a:pt x="97874" y="2819"/>
                </a:cubicBezTo>
                <a:cubicBezTo>
                  <a:pt x="99871" y="2819"/>
                  <a:pt x="103866" y="6804"/>
                  <a:pt x="103866" y="8797"/>
                </a:cubicBezTo>
                <a:cubicBezTo>
                  <a:pt x="105863" y="8797"/>
                  <a:pt x="107861" y="10789"/>
                  <a:pt x="109858" y="10789"/>
                </a:cubicBezTo>
                <a:cubicBezTo>
                  <a:pt x="113853" y="10789"/>
                  <a:pt x="121843" y="10789"/>
                  <a:pt x="123840" y="10789"/>
                </a:cubicBezTo>
                <a:cubicBezTo>
                  <a:pt x="125837" y="10789"/>
                  <a:pt x="127835" y="8797"/>
                  <a:pt x="127835" y="8797"/>
                </a:cubicBezTo>
                <a:cubicBezTo>
                  <a:pt x="127835" y="8797"/>
                  <a:pt x="127835" y="8797"/>
                  <a:pt x="141817" y="6804"/>
                </a:cubicBezTo>
                <a:cubicBezTo>
                  <a:pt x="141817" y="6804"/>
                  <a:pt x="141817" y="6804"/>
                  <a:pt x="141817" y="10789"/>
                </a:cubicBezTo>
                <a:cubicBezTo>
                  <a:pt x="141817" y="10789"/>
                  <a:pt x="141817" y="10789"/>
                  <a:pt x="145812" y="10789"/>
                </a:cubicBezTo>
                <a:cubicBezTo>
                  <a:pt x="147809" y="10789"/>
                  <a:pt x="147809" y="8797"/>
                  <a:pt x="149806" y="6804"/>
                </a:cubicBezTo>
                <a:cubicBezTo>
                  <a:pt x="153801" y="4811"/>
                  <a:pt x="153801" y="4811"/>
                  <a:pt x="155799" y="4811"/>
                </a:cubicBezTo>
                <a:cubicBezTo>
                  <a:pt x="159794" y="4811"/>
                  <a:pt x="165786" y="2819"/>
                  <a:pt x="167783" y="2819"/>
                </a:cubicBezTo>
                <a:cubicBezTo>
                  <a:pt x="167783" y="2819"/>
                  <a:pt x="169781" y="2819"/>
                  <a:pt x="169781" y="2819"/>
                </a:cubicBezTo>
                <a:cubicBezTo>
                  <a:pt x="169781" y="2819"/>
                  <a:pt x="169781" y="4811"/>
                  <a:pt x="169781" y="6804"/>
                </a:cubicBezTo>
                <a:cubicBezTo>
                  <a:pt x="169781" y="8797"/>
                  <a:pt x="171778" y="10789"/>
                  <a:pt x="171778" y="10789"/>
                </a:cubicBezTo>
                <a:cubicBezTo>
                  <a:pt x="171778" y="10789"/>
                  <a:pt x="173775" y="14775"/>
                  <a:pt x="173775" y="16767"/>
                </a:cubicBezTo>
                <a:cubicBezTo>
                  <a:pt x="173775" y="16767"/>
                  <a:pt x="175773" y="18760"/>
                  <a:pt x="175773" y="18760"/>
                </a:cubicBezTo>
                <a:cubicBezTo>
                  <a:pt x="177770" y="20753"/>
                  <a:pt x="179768" y="22746"/>
                  <a:pt x="179768" y="22746"/>
                </a:cubicBezTo>
                <a:cubicBezTo>
                  <a:pt x="181765" y="24738"/>
                  <a:pt x="183763" y="26731"/>
                  <a:pt x="183763" y="26731"/>
                </a:cubicBezTo>
                <a:cubicBezTo>
                  <a:pt x="183763" y="28724"/>
                  <a:pt x="187757" y="32709"/>
                  <a:pt x="187757" y="32709"/>
                </a:cubicBezTo>
                <a:cubicBezTo>
                  <a:pt x="187757" y="32709"/>
                  <a:pt x="195747" y="40680"/>
                  <a:pt x="195747" y="42672"/>
                </a:cubicBezTo>
                <a:cubicBezTo>
                  <a:pt x="195747" y="42672"/>
                  <a:pt x="199742" y="46658"/>
                  <a:pt x="201739" y="46658"/>
                </a:cubicBezTo>
                <a:cubicBezTo>
                  <a:pt x="201739" y="48650"/>
                  <a:pt x="203737" y="52636"/>
                  <a:pt x="205734" y="52636"/>
                </a:cubicBezTo>
                <a:cubicBezTo>
                  <a:pt x="205734" y="52636"/>
                  <a:pt x="207732" y="56621"/>
                  <a:pt x="209729" y="56621"/>
                </a:cubicBezTo>
                <a:cubicBezTo>
                  <a:pt x="209729" y="56621"/>
                  <a:pt x="213724" y="58614"/>
                  <a:pt x="215721" y="60607"/>
                </a:cubicBezTo>
                <a:cubicBezTo>
                  <a:pt x="217719" y="60607"/>
                  <a:pt x="217719" y="62599"/>
                  <a:pt x="217719" y="64592"/>
                </a:cubicBezTo>
                <a:cubicBezTo>
                  <a:pt x="219716" y="64592"/>
                  <a:pt x="223711" y="68577"/>
                  <a:pt x="225708" y="68577"/>
                </a:cubicBezTo>
                <a:cubicBezTo>
                  <a:pt x="225708" y="70570"/>
                  <a:pt x="229703" y="72563"/>
                  <a:pt x="231701" y="74555"/>
                </a:cubicBezTo>
                <a:cubicBezTo>
                  <a:pt x="231701" y="74555"/>
                  <a:pt x="235695" y="76548"/>
                  <a:pt x="235695" y="76548"/>
                </a:cubicBezTo>
                <a:cubicBezTo>
                  <a:pt x="237693" y="76548"/>
                  <a:pt x="239690" y="76548"/>
                  <a:pt x="241688" y="76548"/>
                </a:cubicBezTo>
                <a:cubicBezTo>
                  <a:pt x="243685" y="78541"/>
                  <a:pt x="247680" y="78541"/>
                  <a:pt x="249677" y="78541"/>
                </a:cubicBezTo>
                <a:cubicBezTo>
                  <a:pt x="249677" y="80534"/>
                  <a:pt x="255670" y="78541"/>
                  <a:pt x="257667" y="78541"/>
                </a:cubicBezTo>
                <a:cubicBezTo>
                  <a:pt x="259664" y="80534"/>
                  <a:pt x="259664" y="80534"/>
                  <a:pt x="261662" y="82526"/>
                </a:cubicBezTo>
                <a:cubicBezTo>
                  <a:pt x="263659" y="82526"/>
                  <a:pt x="263659" y="84519"/>
                  <a:pt x="263659" y="86512"/>
                </a:cubicBezTo>
                <a:cubicBezTo>
                  <a:pt x="265657" y="86512"/>
                  <a:pt x="267654" y="88504"/>
                  <a:pt x="269652" y="88504"/>
                </a:cubicBezTo>
                <a:cubicBezTo>
                  <a:pt x="269652" y="90497"/>
                  <a:pt x="273646" y="94482"/>
                  <a:pt x="275644" y="94482"/>
                </a:cubicBezTo>
                <a:cubicBezTo>
                  <a:pt x="275644" y="96475"/>
                  <a:pt x="277641" y="98468"/>
                  <a:pt x="277641" y="98468"/>
                </a:cubicBezTo>
                <a:cubicBezTo>
                  <a:pt x="279639" y="98468"/>
                  <a:pt x="281636" y="98468"/>
                  <a:pt x="281636" y="98468"/>
                </a:cubicBezTo>
                <a:cubicBezTo>
                  <a:pt x="283633" y="98468"/>
                  <a:pt x="287628" y="100460"/>
                  <a:pt x="289626" y="100460"/>
                </a:cubicBezTo>
                <a:cubicBezTo>
                  <a:pt x="289626" y="102453"/>
                  <a:pt x="293621" y="102453"/>
                  <a:pt x="293621" y="102453"/>
                </a:cubicBezTo>
                <a:cubicBezTo>
                  <a:pt x="293621" y="102453"/>
                  <a:pt x="297615" y="106438"/>
                  <a:pt x="297615" y="106438"/>
                </a:cubicBezTo>
                <a:cubicBezTo>
                  <a:pt x="299613" y="106438"/>
                  <a:pt x="301610" y="106438"/>
                  <a:pt x="303608" y="106438"/>
                </a:cubicBezTo>
                <a:cubicBezTo>
                  <a:pt x="303608" y="106438"/>
                  <a:pt x="307602" y="106438"/>
                  <a:pt x="307602" y="106438"/>
                </a:cubicBezTo>
                <a:cubicBezTo>
                  <a:pt x="309600" y="106438"/>
                  <a:pt x="311597" y="106438"/>
                  <a:pt x="311597" y="108431"/>
                </a:cubicBezTo>
                <a:cubicBezTo>
                  <a:pt x="313595" y="108431"/>
                  <a:pt x="315592" y="112417"/>
                  <a:pt x="315592" y="114409"/>
                </a:cubicBezTo>
                <a:cubicBezTo>
                  <a:pt x="315592" y="114409"/>
                  <a:pt x="315592" y="118395"/>
                  <a:pt x="317590" y="120387"/>
                </a:cubicBezTo>
                <a:cubicBezTo>
                  <a:pt x="317590" y="120387"/>
                  <a:pt x="317590" y="122380"/>
                  <a:pt x="317590" y="124373"/>
                </a:cubicBezTo>
                <a:cubicBezTo>
                  <a:pt x="317590" y="126365"/>
                  <a:pt x="317590" y="126365"/>
                  <a:pt x="315592" y="126365"/>
                </a:cubicBezTo>
                <a:cubicBezTo>
                  <a:pt x="315592" y="128358"/>
                  <a:pt x="315592" y="128358"/>
                  <a:pt x="313595" y="128358"/>
                </a:cubicBezTo>
                <a:cubicBezTo>
                  <a:pt x="311597" y="130351"/>
                  <a:pt x="311597" y="130351"/>
                  <a:pt x="311597" y="132343"/>
                </a:cubicBezTo>
                <a:cubicBezTo>
                  <a:pt x="311597" y="132343"/>
                  <a:pt x="311597" y="134336"/>
                  <a:pt x="311597" y="136329"/>
                </a:cubicBezTo>
                <a:cubicBezTo>
                  <a:pt x="311597" y="136329"/>
                  <a:pt x="311597" y="138322"/>
                  <a:pt x="311597" y="138322"/>
                </a:cubicBezTo>
                <a:cubicBezTo>
                  <a:pt x="311597" y="140314"/>
                  <a:pt x="311597" y="144300"/>
                  <a:pt x="311597" y="146292"/>
                </a:cubicBezTo>
                <a:cubicBezTo>
                  <a:pt x="311597" y="146292"/>
                  <a:pt x="307602" y="146292"/>
                  <a:pt x="305605" y="146292"/>
                </a:cubicBezTo>
                <a:cubicBezTo>
                  <a:pt x="303608" y="148285"/>
                  <a:pt x="303608" y="150278"/>
                  <a:pt x="303608" y="150278"/>
                </a:cubicBezTo>
                <a:cubicBezTo>
                  <a:pt x="301610" y="152270"/>
                  <a:pt x="297615" y="156256"/>
                  <a:pt x="297615" y="158248"/>
                </a:cubicBezTo>
                <a:cubicBezTo>
                  <a:pt x="297615" y="160241"/>
                  <a:pt x="299613" y="166219"/>
                  <a:pt x="299613" y="166219"/>
                </a:cubicBezTo>
                <a:cubicBezTo>
                  <a:pt x="299613" y="168212"/>
                  <a:pt x="295618" y="166219"/>
                  <a:pt x="295618" y="166219"/>
                </a:cubicBezTo>
                <a:cubicBezTo>
                  <a:pt x="295618" y="166219"/>
                  <a:pt x="295618" y="166219"/>
                  <a:pt x="293621" y="170205"/>
                </a:cubicBezTo>
                <a:cubicBezTo>
                  <a:pt x="293621" y="170205"/>
                  <a:pt x="295618" y="172197"/>
                  <a:pt x="297615" y="172197"/>
                </a:cubicBezTo>
                <a:cubicBezTo>
                  <a:pt x="299613" y="174190"/>
                  <a:pt x="307602" y="174190"/>
                  <a:pt x="307602" y="174190"/>
                </a:cubicBezTo>
                <a:cubicBezTo>
                  <a:pt x="309600" y="174190"/>
                  <a:pt x="319587" y="176183"/>
                  <a:pt x="319587" y="176183"/>
                </a:cubicBezTo>
                <a:cubicBezTo>
                  <a:pt x="321584" y="176183"/>
                  <a:pt x="325579" y="180168"/>
                  <a:pt x="325579" y="180168"/>
                </a:cubicBezTo>
                <a:cubicBezTo>
                  <a:pt x="327577" y="182161"/>
                  <a:pt x="331572" y="180168"/>
                  <a:pt x="333569" y="180168"/>
                </a:cubicBezTo>
                <a:cubicBezTo>
                  <a:pt x="335566" y="180168"/>
                  <a:pt x="339561" y="182161"/>
                  <a:pt x="341559" y="182161"/>
                </a:cubicBezTo>
                <a:cubicBezTo>
                  <a:pt x="343556" y="182161"/>
                  <a:pt x="345553" y="180168"/>
                  <a:pt x="347551" y="180168"/>
                </a:cubicBezTo>
                <a:cubicBezTo>
                  <a:pt x="349548" y="178175"/>
                  <a:pt x="353543" y="178175"/>
                  <a:pt x="353543" y="178175"/>
                </a:cubicBezTo>
                <a:cubicBezTo>
                  <a:pt x="355541" y="178175"/>
                  <a:pt x="357538" y="176183"/>
                  <a:pt x="359535" y="174190"/>
                </a:cubicBezTo>
                <a:cubicBezTo>
                  <a:pt x="361533" y="174190"/>
                  <a:pt x="363530" y="172197"/>
                  <a:pt x="365528" y="172197"/>
                </a:cubicBezTo>
                <a:cubicBezTo>
                  <a:pt x="365528" y="172197"/>
                  <a:pt x="371520" y="170205"/>
                  <a:pt x="373517" y="170205"/>
                </a:cubicBezTo>
                <a:cubicBezTo>
                  <a:pt x="373517" y="170205"/>
                  <a:pt x="375515" y="168212"/>
                  <a:pt x="377512" y="166219"/>
                </a:cubicBezTo>
                <a:cubicBezTo>
                  <a:pt x="377512" y="164226"/>
                  <a:pt x="379510" y="162234"/>
                  <a:pt x="381507" y="162234"/>
                </a:cubicBezTo>
                <a:cubicBezTo>
                  <a:pt x="383504" y="162234"/>
                  <a:pt x="385502" y="160241"/>
                  <a:pt x="387499" y="160241"/>
                </a:cubicBezTo>
                <a:cubicBezTo>
                  <a:pt x="387499" y="158248"/>
                  <a:pt x="389497" y="154263"/>
                  <a:pt x="389497" y="152270"/>
                </a:cubicBezTo>
                <a:cubicBezTo>
                  <a:pt x="389497" y="152270"/>
                  <a:pt x="391494" y="150278"/>
                  <a:pt x="393491" y="150278"/>
                </a:cubicBezTo>
                <a:cubicBezTo>
                  <a:pt x="395489" y="148285"/>
                  <a:pt x="397486" y="146292"/>
                  <a:pt x="397486" y="144300"/>
                </a:cubicBezTo>
                <a:cubicBezTo>
                  <a:pt x="397486" y="142307"/>
                  <a:pt x="399484" y="140314"/>
                  <a:pt x="399484" y="138322"/>
                </a:cubicBezTo>
                <a:cubicBezTo>
                  <a:pt x="399484" y="136329"/>
                  <a:pt x="399484" y="134336"/>
                  <a:pt x="401481" y="134336"/>
                </a:cubicBezTo>
                <a:cubicBezTo>
                  <a:pt x="401481" y="132343"/>
                  <a:pt x="403479" y="128358"/>
                  <a:pt x="403479" y="128358"/>
                </a:cubicBezTo>
                <a:cubicBezTo>
                  <a:pt x="405476" y="130351"/>
                  <a:pt x="411468" y="136329"/>
                  <a:pt x="413466" y="138322"/>
                </a:cubicBezTo>
                <a:cubicBezTo>
                  <a:pt x="413466" y="140314"/>
                  <a:pt x="417460" y="144300"/>
                  <a:pt x="419458" y="146292"/>
                </a:cubicBezTo>
                <a:cubicBezTo>
                  <a:pt x="421455" y="148285"/>
                  <a:pt x="423453" y="158248"/>
                  <a:pt x="425450" y="160241"/>
                </a:cubicBezTo>
                <a:cubicBezTo>
                  <a:pt x="425450" y="164226"/>
                  <a:pt x="423453" y="168212"/>
                  <a:pt x="423453" y="170205"/>
                </a:cubicBezTo>
                <a:cubicBezTo>
                  <a:pt x="423453" y="170205"/>
                  <a:pt x="421455" y="172197"/>
                  <a:pt x="419458" y="172197"/>
                </a:cubicBezTo>
                <a:cubicBezTo>
                  <a:pt x="415463" y="174190"/>
                  <a:pt x="403479" y="180168"/>
                  <a:pt x="399484" y="180168"/>
                </a:cubicBezTo>
                <a:cubicBezTo>
                  <a:pt x="395489" y="182161"/>
                  <a:pt x="387499" y="188139"/>
                  <a:pt x="387499" y="192124"/>
                </a:cubicBezTo>
                <a:cubicBezTo>
                  <a:pt x="385502" y="196110"/>
                  <a:pt x="377512" y="208066"/>
                  <a:pt x="375515" y="208066"/>
                </a:cubicBezTo>
                <a:cubicBezTo>
                  <a:pt x="371520" y="210058"/>
                  <a:pt x="365528" y="216036"/>
                  <a:pt x="361533" y="218029"/>
                </a:cubicBezTo>
                <a:cubicBezTo>
                  <a:pt x="359535" y="218029"/>
                  <a:pt x="355541" y="222014"/>
                  <a:pt x="355541" y="224007"/>
                </a:cubicBezTo>
                <a:cubicBezTo>
                  <a:pt x="353543" y="227993"/>
                  <a:pt x="349548" y="237956"/>
                  <a:pt x="349548" y="241941"/>
                </a:cubicBezTo>
                <a:cubicBezTo>
                  <a:pt x="347551" y="245927"/>
                  <a:pt x="339561" y="257883"/>
                  <a:pt x="337564" y="259876"/>
                </a:cubicBezTo>
                <a:cubicBezTo>
                  <a:pt x="333569" y="261868"/>
                  <a:pt x="331572" y="263861"/>
                  <a:pt x="333569" y="265854"/>
                </a:cubicBezTo>
                <a:cubicBezTo>
                  <a:pt x="333569" y="265854"/>
                  <a:pt x="331572" y="265854"/>
                  <a:pt x="329574" y="267846"/>
                </a:cubicBezTo>
                <a:cubicBezTo>
                  <a:pt x="327577" y="269839"/>
                  <a:pt x="323582" y="275817"/>
                  <a:pt x="323582" y="279802"/>
                </a:cubicBezTo>
                <a:cubicBezTo>
                  <a:pt x="321584" y="281795"/>
                  <a:pt x="321584" y="287773"/>
                  <a:pt x="321584" y="289766"/>
                </a:cubicBezTo>
                <a:cubicBezTo>
                  <a:pt x="321584" y="293751"/>
                  <a:pt x="319587" y="297737"/>
                  <a:pt x="319587" y="297737"/>
                </a:cubicBezTo>
                <a:cubicBezTo>
                  <a:pt x="319587" y="301722"/>
                  <a:pt x="319587" y="305707"/>
                  <a:pt x="319587" y="307700"/>
                </a:cubicBezTo>
                <a:cubicBezTo>
                  <a:pt x="319587" y="309693"/>
                  <a:pt x="317590" y="321649"/>
                  <a:pt x="317590" y="325634"/>
                </a:cubicBezTo>
                <a:cubicBezTo>
                  <a:pt x="317590" y="327627"/>
                  <a:pt x="311597" y="339583"/>
                  <a:pt x="311597" y="341576"/>
                </a:cubicBezTo>
                <a:cubicBezTo>
                  <a:pt x="311597" y="343569"/>
                  <a:pt x="311597" y="343569"/>
                  <a:pt x="313595" y="345561"/>
                </a:cubicBezTo>
                <a:cubicBezTo>
                  <a:pt x="313595" y="347554"/>
                  <a:pt x="313595" y="355525"/>
                  <a:pt x="313595" y="357517"/>
                </a:cubicBezTo>
                <a:cubicBezTo>
                  <a:pt x="313595" y="357517"/>
                  <a:pt x="311597" y="365488"/>
                  <a:pt x="311597" y="367481"/>
                </a:cubicBezTo>
                <a:cubicBezTo>
                  <a:pt x="311597" y="369473"/>
                  <a:pt x="307602" y="377444"/>
                  <a:pt x="307602" y="381430"/>
                </a:cubicBezTo>
                <a:cubicBezTo>
                  <a:pt x="307602" y="383422"/>
                  <a:pt x="307602" y="385415"/>
                  <a:pt x="309600" y="385415"/>
                </a:cubicBezTo>
                <a:cubicBezTo>
                  <a:pt x="309600" y="385415"/>
                  <a:pt x="309600" y="387408"/>
                  <a:pt x="309600" y="387408"/>
                </a:cubicBezTo>
                <a:cubicBezTo>
                  <a:pt x="309600" y="387408"/>
                  <a:pt x="307602" y="387408"/>
                  <a:pt x="307602" y="389400"/>
                </a:cubicBezTo>
                <a:cubicBezTo>
                  <a:pt x="307602" y="391393"/>
                  <a:pt x="307602" y="399364"/>
                  <a:pt x="307602" y="401357"/>
                </a:cubicBezTo>
                <a:cubicBezTo>
                  <a:pt x="309600" y="403349"/>
                  <a:pt x="309600" y="415305"/>
                  <a:pt x="311597" y="419291"/>
                </a:cubicBezTo>
                <a:cubicBezTo>
                  <a:pt x="311597" y="423276"/>
                  <a:pt x="311597" y="425269"/>
                  <a:pt x="313595" y="427261"/>
                </a:cubicBezTo>
                <a:cubicBezTo>
                  <a:pt x="315592" y="427261"/>
                  <a:pt x="321584" y="429254"/>
                  <a:pt x="323582" y="431247"/>
                </a:cubicBezTo>
                <a:cubicBezTo>
                  <a:pt x="323582" y="431247"/>
                  <a:pt x="333569" y="437225"/>
                  <a:pt x="333569" y="437225"/>
                </a:cubicBezTo>
                <a:cubicBezTo>
                  <a:pt x="335566" y="437225"/>
                  <a:pt x="339561" y="441210"/>
                  <a:pt x="339561" y="441210"/>
                </a:cubicBezTo>
                <a:cubicBezTo>
                  <a:pt x="341559" y="443203"/>
                  <a:pt x="345553" y="445196"/>
                  <a:pt x="347551" y="449181"/>
                </a:cubicBezTo>
                <a:cubicBezTo>
                  <a:pt x="349548" y="451174"/>
                  <a:pt x="349548" y="457152"/>
                  <a:pt x="349548" y="459145"/>
                </a:cubicBezTo>
                <a:cubicBezTo>
                  <a:pt x="349548" y="463130"/>
                  <a:pt x="347551" y="467115"/>
                  <a:pt x="347551" y="469108"/>
                </a:cubicBezTo>
                <a:cubicBezTo>
                  <a:pt x="347551" y="471101"/>
                  <a:pt x="349548" y="475086"/>
                  <a:pt x="351546" y="477079"/>
                </a:cubicBezTo>
                <a:cubicBezTo>
                  <a:pt x="351546" y="479071"/>
                  <a:pt x="355541" y="483057"/>
                  <a:pt x="357538" y="485049"/>
                </a:cubicBezTo>
                <a:cubicBezTo>
                  <a:pt x="359535" y="485049"/>
                  <a:pt x="361533" y="485049"/>
                  <a:pt x="361533" y="485049"/>
                </a:cubicBezTo>
                <a:cubicBezTo>
                  <a:pt x="361533" y="485049"/>
                  <a:pt x="365528" y="483057"/>
                  <a:pt x="365528" y="483057"/>
                </a:cubicBezTo>
                <a:cubicBezTo>
                  <a:pt x="365528" y="485049"/>
                  <a:pt x="367525" y="487042"/>
                  <a:pt x="367525" y="487042"/>
                </a:cubicBezTo>
                <a:cubicBezTo>
                  <a:pt x="367525" y="489035"/>
                  <a:pt x="365528" y="489035"/>
                  <a:pt x="365528" y="491028"/>
                </a:cubicBezTo>
                <a:cubicBezTo>
                  <a:pt x="365528" y="493020"/>
                  <a:pt x="365528" y="502984"/>
                  <a:pt x="367525" y="504976"/>
                </a:cubicBezTo>
                <a:cubicBezTo>
                  <a:pt x="367525" y="504976"/>
                  <a:pt x="367525" y="508962"/>
                  <a:pt x="367525" y="508962"/>
                </a:cubicBezTo>
                <a:cubicBezTo>
                  <a:pt x="367525" y="510954"/>
                  <a:pt x="365528" y="510954"/>
                  <a:pt x="363530" y="510954"/>
                </a:cubicBezTo>
                <a:cubicBezTo>
                  <a:pt x="363530" y="510954"/>
                  <a:pt x="363530" y="510954"/>
                  <a:pt x="363530" y="512947"/>
                </a:cubicBezTo>
                <a:cubicBezTo>
                  <a:pt x="361533" y="512947"/>
                  <a:pt x="361533" y="512947"/>
                  <a:pt x="361533" y="512947"/>
                </a:cubicBezTo>
                <a:cubicBezTo>
                  <a:pt x="361533" y="516933"/>
                  <a:pt x="361533" y="520918"/>
                  <a:pt x="359535" y="522911"/>
                </a:cubicBezTo>
                <a:cubicBezTo>
                  <a:pt x="357538" y="524903"/>
                  <a:pt x="355541" y="528889"/>
                  <a:pt x="353543" y="530881"/>
                </a:cubicBezTo>
                <a:cubicBezTo>
                  <a:pt x="349548" y="532874"/>
                  <a:pt x="349548" y="534867"/>
                  <a:pt x="349548" y="536859"/>
                </a:cubicBezTo>
                <a:cubicBezTo>
                  <a:pt x="347551" y="540845"/>
                  <a:pt x="345553" y="544830"/>
                  <a:pt x="345553" y="546823"/>
                </a:cubicBezTo>
                <a:cubicBezTo>
                  <a:pt x="343556" y="546823"/>
                  <a:pt x="335566" y="556786"/>
                  <a:pt x="331572" y="558779"/>
                </a:cubicBezTo>
                <a:cubicBezTo>
                  <a:pt x="329574" y="560772"/>
                  <a:pt x="317590" y="564757"/>
                  <a:pt x="317590" y="566750"/>
                </a:cubicBezTo>
                <a:cubicBezTo>
                  <a:pt x="315592" y="566750"/>
                  <a:pt x="309600" y="570735"/>
                  <a:pt x="307602" y="570735"/>
                </a:cubicBezTo>
                <a:cubicBezTo>
                  <a:pt x="307602" y="572728"/>
                  <a:pt x="303608" y="574720"/>
                  <a:pt x="301610" y="574720"/>
                </a:cubicBezTo>
                <a:cubicBezTo>
                  <a:pt x="297615" y="574720"/>
                  <a:pt x="293621" y="574720"/>
                  <a:pt x="291623" y="572728"/>
                </a:cubicBezTo>
                <a:cubicBezTo>
                  <a:pt x="289626" y="572728"/>
                  <a:pt x="285631" y="570735"/>
                  <a:pt x="285631" y="572728"/>
                </a:cubicBezTo>
                <a:cubicBezTo>
                  <a:pt x="283633" y="572728"/>
                  <a:pt x="279639" y="576713"/>
                  <a:pt x="277641" y="576713"/>
                </a:cubicBezTo>
                <a:cubicBezTo>
                  <a:pt x="275644" y="576713"/>
                  <a:pt x="273646" y="578706"/>
                  <a:pt x="271649" y="578706"/>
                </a:cubicBezTo>
                <a:cubicBezTo>
                  <a:pt x="269652" y="578706"/>
                  <a:pt x="263659" y="578706"/>
                  <a:pt x="261662" y="578706"/>
                </a:cubicBezTo>
                <a:cubicBezTo>
                  <a:pt x="259664" y="580699"/>
                  <a:pt x="259664" y="580699"/>
                  <a:pt x="255670" y="580699"/>
                </a:cubicBezTo>
                <a:cubicBezTo>
                  <a:pt x="253672" y="580699"/>
                  <a:pt x="251675" y="580699"/>
                  <a:pt x="251675" y="580699"/>
                </a:cubicBezTo>
                <a:cubicBezTo>
                  <a:pt x="251675" y="580699"/>
                  <a:pt x="249677" y="580699"/>
                  <a:pt x="247680" y="578706"/>
                </a:cubicBezTo>
                <a:cubicBezTo>
                  <a:pt x="245683" y="578706"/>
                  <a:pt x="243685" y="580699"/>
                  <a:pt x="241688" y="580699"/>
                </a:cubicBezTo>
                <a:cubicBezTo>
                  <a:pt x="239690" y="578706"/>
                  <a:pt x="237693" y="578706"/>
                  <a:pt x="235695" y="576713"/>
                </a:cubicBezTo>
                <a:cubicBezTo>
                  <a:pt x="235695" y="576713"/>
                  <a:pt x="231701" y="574720"/>
                  <a:pt x="231701" y="572728"/>
                </a:cubicBezTo>
                <a:cubicBezTo>
                  <a:pt x="229703" y="570735"/>
                  <a:pt x="227706" y="570735"/>
                  <a:pt x="225708" y="572728"/>
                </a:cubicBezTo>
                <a:cubicBezTo>
                  <a:pt x="225708" y="572728"/>
                  <a:pt x="227706" y="582691"/>
                  <a:pt x="227706" y="584684"/>
                </a:cubicBezTo>
                <a:cubicBezTo>
                  <a:pt x="227706" y="586677"/>
                  <a:pt x="227706" y="588669"/>
                  <a:pt x="229703" y="590662"/>
                </a:cubicBezTo>
                <a:cubicBezTo>
                  <a:pt x="231701" y="592655"/>
                  <a:pt x="231701" y="594647"/>
                  <a:pt x="231701" y="592655"/>
                </a:cubicBezTo>
                <a:cubicBezTo>
                  <a:pt x="233698" y="592655"/>
                  <a:pt x="231701" y="588669"/>
                  <a:pt x="233698" y="590662"/>
                </a:cubicBezTo>
                <a:cubicBezTo>
                  <a:pt x="237693" y="592655"/>
                  <a:pt x="237693" y="596640"/>
                  <a:pt x="235695" y="598633"/>
                </a:cubicBezTo>
                <a:cubicBezTo>
                  <a:pt x="235695" y="600625"/>
                  <a:pt x="233698" y="604611"/>
                  <a:pt x="233698" y="606604"/>
                </a:cubicBezTo>
                <a:cubicBezTo>
                  <a:pt x="231701" y="608596"/>
                  <a:pt x="229703" y="610589"/>
                  <a:pt x="229703" y="612582"/>
                </a:cubicBezTo>
                <a:cubicBezTo>
                  <a:pt x="229703" y="614574"/>
                  <a:pt x="231701" y="620552"/>
                  <a:pt x="231701" y="622545"/>
                </a:cubicBezTo>
                <a:cubicBezTo>
                  <a:pt x="231701" y="624538"/>
                  <a:pt x="231701" y="624538"/>
                  <a:pt x="229703" y="626530"/>
                </a:cubicBezTo>
                <a:cubicBezTo>
                  <a:pt x="229703" y="626530"/>
                  <a:pt x="227706" y="628523"/>
                  <a:pt x="227706" y="628523"/>
                </a:cubicBezTo>
                <a:cubicBezTo>
                  <a:pt x="229703" y="630516"/>
                  <a:pt x="231701" y="630516"/>
                  <a:pt x="233698" y="630516"/>
                </a:cubicBezTo>
                <a:cubicBezTo>
                  <a:pt x="233698" y="632508"/>
                  <a:pt x="231701" y="638487"/>
                  <a:pt x="231701" y="638487"/>
                </a:cubicBezTo>
                <a:cubicBezTo>
                  <a:pt x="231701" y="640479"/>
                  <a:pt x="229703" y="648450"/>
                  <a:pt x="227706" y="648450"/>
                </a:cubicBezTo>
                <a:cubicBezTo>
                  <a:pt x="225708" y="648450"/>
                  <a:pt x="223711" y="648450"/>
                  <a:pt x="221714" y="650443"/>
                </a:cubicBezTo>
                <a:cubicBezTo>
                  <a:pt x="221714" y="652435"/>
                  <a:pt x="219716" y="654428"/>
                  <a:pt x="219716" y="656421"/>
                </a:cubicBezTo>
                <a:cubicBezTo>
                  <a:pt x="217719" y="656421"/>
                  <a:pt x="215721" y="656421"/>
                  <a:pt x="213724" y="656421"/>
                </a:cubicBezTo>
                <a:cubicBezTo>
                  <a:pt x="211726" y="656421"/>
                  <a:pt x="209729" y="656421"/>
                  <a:pt x="207732" y="656421"/>
                </a:cubicBezTo>
                <a:cubicBezTo>
                  <a:pt x="205734" y="656421"/>
                  <a:pt x="205734" y="654428"/>
                  <a:pt x="201739" y="656421"/>
                </a:cubicBezTo>
                <a:cubicBezTo>
                  <a:pt x="197744" y="656421"/>
                  <a:pt x="197744" y="656421"/>
                  <a:pt x="197744" y="654428"/>
                </a:cubicBezTo>
                <a:cubicBezTo>
                  <a:pt x="195747" y="652435"/>
                  <a:pt x="193750" y="652435"/>
                  <a:pt x="193750" y="650443"/>
                </a:cubicBezTo>
                <a:cubicBezTo>
                  <a:pt x="191752" y="650443"/>
                  <a:pt x="187757" y="650443"/>
                  <a:pt x="185760" y="648450"/>
                </a:cubicBezTo>
                <a:cubicBezTo>
                  <a:pt x="183763" y="648450"/>
                  <a:pt x="177770" y="646457"/>
                  <a:pt x="177770" y="646457"/>
                </a:cubicBezTo>
                <a:cubicBezTo>
                  <a:pt x="177770" y="646457"/>
                  <a:pt x="173775" y="648450"/>
                  <a:pt x="171778" y="648450"/>
                </a:cubicBezTo>
                <a:cubicBezTo>
                  <a:pt x="171778" y="646457"/>
                  <a:pt x="171778" y="642472"/>
                  <a:pt x="171778" y="642472"/>
                </a:cubicBezTo>
                <a:cubicBezTo>
                  <a:pt x="171778" y="640479"/>
                  <a:pt x="173775" y="640479"/>
                  <a:pt x="171778" y="640479"/>
                </a:cubicBezTo>
                <a:cubicBezTo>
                  <a:pt x="169781" y="640479"/>
                  <a:pt x="167783" y="640479"/>
                  <a:pt x="165786" y="642472"/>
                </a:cubicBezTo>
                <a:cubicBezTo>
                  <a:pt x="165786" y="642472"/>
                  <a:pt x="161791" y="648450"/>
                  <a:pt x="163788" y="650443"/>
                </a:cubicBezTo>
                <a:cubicBezTo>
                  <a:pt x="163788" y="652435"/>
                  <a:pt x="163788" y="658413"/>
                  <a:pt x="163788" y="658413"/>
                </a:cubicBezTo>
                <a:cubicBezTo>
                  <a:pt x="165786" y="660406"/>
                  <a:pt x="167783" y="668377"/>
                  <a:pt x="167783" y="670370"/>
                </a:cubicBezTo>
                <a:cubicBezTo>
                  <a:pt x="169781" y="672362"/>
                  <a:pt x="171778" y="674355"/>
                  <a:pt x="171778" y="676348"/>
                </a:cubicBezTo>
                <a:cubicBezTo>
                  <a:pt x="171778" y="678340"/>
                  <a:pt x="169781" y="682326"/>
                  <a:pt x="169781" y="684318"/>
                </a:cubicBezTo>
                <a:cubicBezTo>
                  <a:pt x="169781" y="686311"/>
                  <a:pt x="169781" y="690296"/>
                  <a:pt x="169781" y="690296"/>
                </a:cubicBezTo>
                <a:cubicBezTo>
                  <a:pt x="171778" y="690296"/>
                  <a:pt x="175773" y="692289"/>
                  <a:pt x="179768" y="694282"/>
                </a:cubicBezTo>
                <a:cubicBezTo>
                  <a:pt x="181765" y="694282"/>
                  <a:pt x="181765" y="696275"/>
                  <a:pt x="181765" y="698267"/>
                </a:cubicBezTo>
                <a:cubicBezTo>
                  <a:pt x="181765" y="700260"/>
                  <a:pt x="179768" y="700260"/>
                  <a:pt x="181765" y="700260"/>
                </a:cubicBezTo>
                <a:cubicBezTo>
                  <a:pt x="183763" y="700260"/>
                  <a:pt x="185760" y="700260"/>
                  <a:pt x="187757" y="700260"/>
                </a:cubicBezTo>
                <a:cubicBezTo>
                  <a:pt x="189755" y="700260"/>
                  <a:pt x="191752" y="700260"/>
                  <a:pt x="191752" y="700260"/>
                </a:cubicBezTo>
                <a:cubicBezTo>
                  <a:pt x="193750" y="700260"/>
                  <a:pt x="191752" y="698267"/>
                  <a:pt x="191752" y="698267"/>
                </a:cubicBezTo>
                <a:cubicBezTo>
                  <a:pt x="191752" y="698267"/>
                  <a:pt x="187757" y="694282"/>
                  <a:pt x="185760" y="694282"/>
                </a:cubicBezTo>
                <a:cubicBezTo>
                  <a:pt x="185760" y="692289"/>
                  <a:pt x="185760" y="692289"/>
                  <a:pt x="185760" y="692289"/>
                </a:cubicBezTo>
                <a:cubicBezTo>
                  <a:pt x="187757" y="690296"/>
                  <a:pt x="189755" y="690296"/>
                  <a:pt x="191752" y="690296"/>
                </a:cubicBezTo>
                <a:cubicBezTo>
                  <a:pt x="191752" y="688304"/>
                  <a:pt x="197744" y="690296"/>
                  <a:pt x="197744" y="688304"/>
                </a:cubicBezTo>
                <a:cubicBezTo>
                  <a:pt x="199742" y="688304"/>
                  <a:pt x="201739" y="686311"/>
                  <a:pt x="201739" y="686311"/>
                </a:cubicBezTo>
                <a:cubicBezTo>
                  <a:pt x="203737" y="686311"/>
                  <a:pt x="205734" y="688304"/>
                  <a:pt x="205734" y="690296"/>
                </a:cubicBezTo>
                <a:cubicBezTo>
                  <a:pt x="205734" y="694282"/>
                  <a:pt x="203737" y="700260"/>
                  <a:pt x="203737" y="702253"/>
                </a:cubicBezTo>
                <a:cubicBezTo>
                  <a:pt x="203737" y="704245"/>
                  <a:pt x="201739" y="708231"/>
                  <a:pt x="201739" y="710223"/>
                </a:cubicBezTo>
                <a:cubicBezTo>
                  <a:pt x="201739" y="710223"/>
                  <a:pt x="201739" y="714209"/>
                  <a:pt x="201739" y="714209"/>
                </a:cubicBezTo>
                <a:cubicBezTo>
                  <a:pt x="199742" y="718194"/>
                  <a:pt x="197744" y="720187"/>
                  <a:pt x="195747" y="718194"/>
                </a:cubicBezTo>
                <a:cubicBezTo>
                  <a:pt x="191752" y="716201"/>
                  <a:pt x="193750" y="712216"/>
                  <a:pt x="193750" y="710223"/>
                </a:cubicBezTo>
                <a:cubicBezTo>
                  <a:pt x="193750" y="710223"/>
                  <a:pt x="191752" y="706238"/>
                  <a:pt x="191752" y="706238"/>
                </a:cubicBezTo>
                <a:cubicBezTo>
                  <a:pt x="191752" y="706238"/>
                  <a:pt x="187757" y="708231"/>
                  <a:pt x="185760" y="708231"/>
                </a:cubicBezTo>
                <a:cubicBezTo>
                  <a:pt x="183763" y="708231"/>
                  <a:pt x="179768" y="708231"/>
                  <a:pt x="179768" y="710223"/>
                </a:cubicBezTo>
                <a:cubicBezTo>
                  <a:pt x="177770" y="712216"/>
                  <a:pt x="177770" y="712216"/>
                  <a:pt x="175773" y="714209"/>
                </a:cubicBezTo>
                <a:cubicBezTo>
                  <a:pt x="175773" y="714209"/>
                  <a:pt x="173775" y="714209"/>
                  <a:pt x="171778" y="716201"/>
                </a:cubicBezTo>
                <a:cubicBezTo>
                  <a:pt x="171778" y="718194"/>
                  <a:pt x="171778" y="718194"/>
                  <a:pt x="173775" y="718194"/>
                </a:cubicBezTo>
                <a:cubicBezTo>
                  <a:pt x="175773" y="718194"/>
                  <a:pt x="183763" y="718194"/>
                  <a:pt x="185760" y="718194"/>
                </a:cubicBezTo>
                <a:cubicBezTo>
                  <a:pt x="185760" y="718194"/>
                  <a:pt x="189755" y="718194"/>
                  <a:pt x="189755" y="720187"/>
                </a:cubicBezTo>
                <a:cubicBezTo>
                  <a:pt x="189755" y="720187"/>
                  <a:pt x="187757" y="724172"/>
                  <a:pt x="185760" y="724172"/>
                </a:cubicBezTo>
                <a:cubicBezTo>
                  <a:pt x="183763" y="726165"/>
                  <a:pt x="179768" y="728158"/>
                  <a:pt x="179768" y="730150"/>
                </a:cubicBezTo>
                <a:cubicBezTo>
                  <a:pt x="177770" y="730150"/>
                  <a:pt x="175773" y="736128"/>
                  <a:pt x="175773" y="738121"/>
                </a:cubicBezTo>
                <a:cubicBezTo>
                  <a:pt x="173775" y="740114"/>
                  <a:pt x="173775" y="742106"/>
                  <a:pt x="173775" y="742106"/>
                </a:cubicBezTo>
                <a:cubicBezTo>
                  <a:pt x="171778" y="744099"/>
                  <a:pt x="169781" y="742106"/>
                  <a:pt x="171778" y="746092"/>
                </a:cubicBezTo>
                <a:cubicBezTo>
                  <a:pt x="171778" y="748084"/>
                  <a:pt x="171778" y="746092"/>
                  <a:pt x="171778" y="750077"/>
                </a:cubicBezTo>
                <a:cubicBezTo>
                  <a:pt x="173775" y="754063"/>
                  <a:pt x="171778" y="762033"/>
                  <a:pt x="171778" y="764026"/>
                </a:cubicBezTo>
                <a:cubicBezTo>
                  <a:pt x="171778" y="766019"/>
                  <a:pt x="173775" y="770004"/>
                  <a:pt x="173775" y="771997"/>
                </a:cubicBezTo>
                <a:cubicBezTo>
                  <a:pt x="173775" y="773989"/>
                  <a:pt x="169781" y="779968"/>
                  <a:pt x="167783" y="781960"/>
                </a:cubicBezTo>
                <a:cubicBezTo>
                  <a:pt x="167783" y="783953"/>
                  <a:pt x="163788" y="785946"/>
                  <a:pt x="163788" y="785946"/>
                </a:cubicBezTo>
                <a:cubicBezTo>
                  <a:pt x="161791" y="787938"/>
                  <a:pt x="163788" y="789931"/>
                  <a:pt x="163788" y="791924"/>
                </a:cubicBezTo>
                <a:cubicBezTo>
                  <a:pt x="165786" y="791924"/>
                  <a:pt x="167783" y="791924"/>
                  <a:pt x="167783" y="795909"/>
                </a:cubicBezTo>
                <a:cubicBezTo>
                  <a:pt x="167783" y="797902"/>
                  <a:pt x="163788" y="797902"/>
                  <a:pt x="163788" y="797902"/>
                </a:cubicBezTo>
                <a:cubicBezTo>
                  <a:pt x="161791" y="797902"/>
                  <a:pt x="157796" y="797902"/>
                  <a:pt x="155799" y="795909"/>
                </a:cubicBezTo>
                <a:cubicBezTo>
                  <a:pt x="153801" y="795909"/>
                  <a:pt x="151804" y="795909"/>
                  <a:pt x="149806" y="795909"/>
                </a:cubicBezTo>
                <a:cubicBezTo>
                  <a:pt x="147809" y="795909"/>
                  <a:pt x="147809" y="795909"/>
                  <a:pt x="145812" y="797902"/>
                </a:cubicBezTo>
                <a:cubicBezTo>
                  <a:pt x="145812" y="797902"/>
                  <a:pt x="145812" y="803880"/>
                  <a:pt x="145812" y="805872"/>
                </a:cubicBezTo>
                <a:cubicBezTo>
                  <a:pt x="143814" y="805872"/>
                  <a:pt x="137822" y="805872"/>
                  <a:pt x="137822" y="805872"/>
                </a:cubicBezTo>
                <a:cubicBezTo>
                  <a:pt x="135825" y="805872"/>
                  <a:pt x="131830" y="809858"/>
                  <a:pt x="131830" y="811851"/>
                </a:cubicBezTo>
                <a:cubicBezTo>
                  <a:pt x="131830" y="813843"/>
                  <a:pt x="129832" y="817829"/>
                  <a:pt x="127835" y="819821"/>
                </a:cubicBezTo>
                <a:cubicBezTo>
                  <a:pt x="127835" y="821814"/>
                  <a:pt x="123840" y="825799"/>
                  <a:pt x="121843" y="827792"/>
                </a:cubicBezTo>
                <a:cubicBezTo>
                  <a:pt x="121843" y="829785"/>
                  <a:pt x="119845" y="837756"/>
                  <a:pt x="119845" y="841741"/>
                </a:cubicBezTo>
                <a:cubicBezTo>
                  <a:pt x="121843" y="843734"/>
                  <a:pt x="121843" y="845726"/>
                  <a:pt x="123840" y="847719"/>
                </a:cubicBezTo>
                <a:cubicBezTo>
                  <a:pt x="125837" y="849712"/>
                  <a:pt x="129832" y="851704"/>
                  <a:pt x="129832" y="851704"/>
                </a:cubicBezTo>
                <a:cubicBezTo>
                  <a:pt x="129832" y="851704"/>
                  <a:pt x="135825" y="857682"/>
                  <a:pt x="137822" y="857682"/>
                </a:cubicBezTo>
                <a:cubicBezTo>
                  <a:pt x="139819" y="859675"/>
                  <a:pt x="143814" y="863660"/>
                  <a:pt x="145812" y="863660"/>
                </a:cubicBezTo>
                <a:cubicBezTo>
                  <a:pt x="145812" y="865653"/>
                  <a:pt x="145812" y="867646"/>
                  <a:pt x="145812" y="869639"/>
                </a:cubicBezTo>
                <a:cubicBezTo>
                  <a:pt x="147809" y="871631"/>
                  <a:pt x="149806" y="873624"/>
                  <a:pt x="151804" y="873624"/>
                </a:cubicBezTo>
                <a:cubicBezTo>
                  <a:pt x="153801" y="873624"/>
                  <a:pt x="155799" y="873624"/>
                  <a:pt x="157796" y="871631"/>
                </a:cubicBezTo>
                <a:cubicBezTo>
                  <a:pt x="159794" y="871631"/>
                  <a:pt x="161791" y="871631"/>
                  <a:pt x="163788" y="873624"/>
                </a:cubicBezTo>
                <a:cubicBezTo>
                  <a:pt x="163788" y="873624"/>
                  <a:pt x="165786" y="873624"/>
                  <a:pt x="167783" y="873624"/>
                </a:cubicBezTo>
                <a:cubicBezTo>
                  <a:pt x="167783" y="873624"/>
                  <a:pt x="171778" y="871631"/>
                  <a:pt x="171778" y="873624"/>
                </a:cubicBezTo>
                <a:cubicBezTo>
                  <a:pt x="171778" y="875617"/>
                  <a:pt x="171778" y="881595"/>
                  <a:pt x="169781" y="883587"/>
                </a:cubicBezTo>
                <a:cubicBezTo>
                  <a:pt x="169781" y="887573"/>
                  <a:pt x="165786" y="889565"/>
                  <a:pt x="165786" y="891558"/>
                </a:cubicBezTo>
                <a:cubicBezTo>
                  <a:pt x="165786" y="893551"/>
                  <a:pt x="167783" y="899529"/>
                  <a:pt x="169781" y="901522"/>
                </a:cubicBezTo>
                <a:cubicBezTo>
                  <a:pt x="169781" y="901522"/>
                  <a:pt x="169781" y="905507"/>
                  <a:pt x="169781" y="905507"/>
                </a:cubicBezTo>
                <a:cubicBezTo>
                  <a:pt x="167783" y="907500"/>
                  <a:pt x="165786" y="909492"/>
                  <a:pt x="165786" y="909492"/>
                </a:cubicBezTo>
                <a:cubicBezTo>
                  <a:pt x="165786" y="909492"/>
                  <a:pt x="159794" y="913478"/>
                  <a:pt x="159794" y="913478"/>
                </a:cubicBezTo>
                <a:cubicBezTo>
                  <a:pt x="159794" y="915470"/>
                  <a:pt x="151804" y="923441"/>
                  <a:pt x="149806" y="923441"/>
                </a:cubicBezTo>
                <a:cubicBezTo>
                  <a:pt x="149806" y="925434"/>
                  <a:pt x="145812" y="929419"/>
                  <a:pt x="145812" y="929419"/>
                </a:cubicBezTo>
                <a:cubicBezTo>
                  <a:pt x="143814" y="931412"/>
                  <a:pt x="141817" y="933405"/>
                  <a:pt x="139819" y="935397"/>
                </a:cubicBezTo>
                <a:cubicBezTo>
                  <a:pt x="137822" y="935397"/>
                  <a:pt x="137822" y="939383"/>
                  <a:pt x="135825" y="941375"/>
                </a:cubicBezTo>
                <a:cubicBezTo>
                  <a:pt x="135825" y="941375"/>
                  <a:pt x="133827" y="945361"/>
                  <a:pt x="133827" y="949346"/>
                </a:cubicBezTo>
                <a:cubicBezTo>
                  <a:pt x="131830" y="951339"/>
                  <a:pt x="131830" y="955324"/>
                  <a:pt x="131830" y="957317"/>
                </a:cubicBezTo>
                <a:cubicBezTo>
                  <a:pt x="133827" y="959310"/>
                  <a:pt x="135825" y="957317"/>
                  <a:pt x="135825" y="959310"/>
                </a:cubicBezTo>
                <a:cubicBezTo>
                  <a:pt x="135825" y="963295"/>
                  <a:pt x="137822" y="963295"/>
                  <a:pt x="137822" y="963295"/>
                </a:cubicBezTo>
                <a:cubicBezTo>
                  <a:pt x="137822" y="965288"/>
                  <a:pt x="137822" y="967280"/>
                  <a:pt x="137822" y="967280"/>
                </a:cubicBezTo>
                <a:cubicBezTo>
                  <a:pt x="135825" y="971266"/>
                  <a:pt x="135825" y="975251"/>
                  <a:pt x="133827" y="975251"/>
                </a:cubicBezTo>
                <a:cubicBezTo>
                  <a:pt x="133827" y="975251"/>
                  <a:pt x="131830" y="975251"/>
                  <a:pt x="129832" y="977244"/>
                </a:cubicBezTo>
                <a:cubicBezTo>
                  <a:pt x="129832" y="979236"/>
                  <a:pt x="129832" y="983222"/>
                  <a:pt x="127835" y="985215"/>
                </a:cubicBezTo>
                <a:cubicBezTo>
                  <a:pt x="125837" y="985215"/>
                  <a:pt x="119845" y="985215"/>
                  <a:pt x="115850" y="985215"/>
                </a:cubicBezTo>
                <a:cubicBezTo>
                  <a:pt x="113853" y="985215"/>
                  <a:pt x="111856" y="989200"/>
                  <a:pt x="111856" y="989200"/>
                </a:cubicBezTo>
                <a:cubicBezTo>
                  <a:pt x="111856" y="991193"/>
                  <a:pt x="113853" y="995178"/>
                  <a:pt x="111856" y="997171"/>
                </a:cubicBezTo>
                <a:cubicBezTo>
                  <a:pt x="109858" y="999163"/>
                  <a:pt x="105863" y="997171"/>
                  <a:pt x="105863" y="1001156"/>
                </a:cubicBezTo>
                <a:cubicBezTo>
                  <a:pt x="103866" y="1003149"/>
                  <a:pt x="103866" y="1003149"/>
                  <a:pt x="103866" y="1007134"/>
                </a:cubicBezTo>
                <a:cubicBezTo>
                  <a:pt x="105863" y="1009127"/>
                  <a:pt x="105863" y="1011119"/>
                  <a:pt x="105863" y="1013112"/>
                </a:cubicBezTo>
                <a:cubicBezTo>
                  <a:pt x="103866" y="1015105"/>
                  <a:pt x="101868" y="1015105"/>
                  <a:pt x="99871" y="1017098"/>
                </a:cubicBezTo>
                <a:cubicBezTo>
                  <a:pt x="99871" y="1019090"/>
                  <a:pt x="101868" y="1021083"/>
                  <a:pt x="101868" y="1021083"/>
                </a:cubicBezTo>
                <a:cubicBezTo>
                  <a:pt x="103866" y="1021083"/>
                  <a:pt x="107861" y="1019090"/>
                  <a:pt x="109858" y="1019090"/>
                </a:cubicBezTo>
                <a:cubicBezTo>
                  <a:pt x="109858" y="1019090"/>
                  <a:pt x="109858" y="1023076"/>
                  <a:pt x="109858" y="1025068"/>
                </a:cubicBezTo>
                <a:cubicBezTo>
                  <a:pt x="109858" y="1027061"/>
                  <a:pt x="111856" y="1027061"/>
                  <a:pt x="111856" y="1029054"/>
                </a:cubicBezTo>
                <a:cubicBezTo>
                  <a:pt x="111856" y="1031046"/>
                  <a:pt x="111856" y="1035032"/>
                  <a:pt x="111856" y="1037024"/>
                </a:cubicBezTo>
                <a:cubicBezTo>
                  <a:pt x="111856" y="1037024"/>
                  <a:pt x="109858" y="1039017"/>
                  <a:pt x="109858" y="1041010"/>
                </a:cubicBezTo>
                <a:cubicBezTo>
                  <a:pt x="109858" y="1041010"/>
                  <a:pt x="109858" y="1041010"/>
                  <a:pt x="109858" y="1043003"/>
                </a:cubicBezTo>
                <a:cubicBezTo>
                  <a:pt x="107861" y="1041010"/>
                  <a:pt x="101868" y="1039017"/>
                  <a:pt x="101868" y="1039017"/>
                </a:cubicBezTo>
                <a:cubicBezTo>
                  <a:pt x="101868" y="1039017"/>
                  <a:pt x="93879" y="1041010"/>
                  <a:pt x="91881" y="1041010"/>
                </a:cubicBezTo>
                <a:cubicBezTo>
                  <a:pt x="89884" y="1041010"/>
                  <a:pt x="81894" y="1044995"/>
                  <a:pt x="79897" y="1044995"/>
                </a:cubicBezTo>
                <a:cubicBezTo>
                  <a:pt x="77899" y="1044995"/>
                  <a:pt x="71907" y="1043003"/>
                  <a:pt x="69910" y="1043003"/>
                </a:cubicBezTo>
                <a:cubicBezTo>
                  <a:pt x="69910" y="1043003"/>
                  <a:pt x="59923" y="1043003"/>
                  <a:pt x="59923" y="1043003"/>
                </a:cubicBezTo>
                <a:cubicBezTo>
                  <a:pt x="57925" y="1044995"/>
                  <a:pt x="55928" y="1044995"/>
                  <a:pt x="53930" y="1044995"/>
                </a:cubicBezTo>
                <a:cubicBezTo>
                  <a:pt x="53930" y="1044995"/>
                  <a:pt x="49936" y="1041010"/>
                  <a:pt x="49936" y="1041010"/>
                </a:cubicBezTo>
                <a:cubicBezTo>
                  <a:pt x="49936" y="1041010"/>
                  <a:pt x="49936" y="1041010"/>
                  <a:pt x="41946" y="1027061"/>
                </a:cubicBezTo>
                <a:cubicBezTo>
                  <a:pt x="41946" y="1027061"/>
                  <a:pt x="35954" y="1019090"/>
                  <a:pt x="35954" y="1017098"/>
                </a:cubicBezTo>
                <a:cubicBezTo>
                  <a:pt x="35954" y="1015105"/>
                  <a:pt x="33956" y="1011119"/>
                  <a:pt x="35954" y="1011119"/>
                </a:cubicBezTo>
                <a:cubicBezTo>
                  <a:pt x="35954" y="1007134"/>
                  <a:pt x="33956" y="1001156"/>
                  <a:pt x="33956" y="999163"/>
                </a:cubicBezTo>
                <a:cubicBezTo>
                  <a:pt x="33956" y="997171"/>
                  <a:pt x="33956" y="993185"/>
                  <a:pt x="29961" y="995178"/>
                </a:cubicBezTo>
                <a:cubicBezTo>
                  <a:pt x="27964" y="995178"/>
                  <a:pt x="23969" y="997171"/>
                  <a:pt x="23969" y="997171"/>
                </a:cubicBezTo>
                <a:cubicBezTo>
                  <a:pt x="21972" y="999163"/>
                  <a:pt x="19974" y="1001156"/>
                  <a:pt x="17977" y="1001156"/>
                </a:cubicBezTo>
                <a:cubicBezTo>
                  <a:pt x="15979" y="1001156"/>
                  <a:pt x="11985" y="999163"/>
                  <a:pt x="11985" y="999163"/>
                </a:cubicBezTo>
                <a:cubicBezTo>
                  <a:pt x="11985" y="999163"/>
                  <a:pt x="7990" y="991193"/>
                  <a:pt x="5992" y="991193"/>
                </a:cubicBezTo>
                <a:cubicBezTo>
                  <a:pt x="5992" y="989200"/>
                  <a:pt x="1998" y="985215"/>
                  <a:pt x="1998" y="983222"/>
                </a:cubicBezTo>
                <a:cubicBezTo>
                  <a:pt x="1998" y="981229"/>
                  <a:pt x="1998" y="961302"/>
                  <a:pt x="1998" y="961302"/>
                </a:cubicBezTo>
                <a:cubicBezTo>
                  <a:pt x="1998" y="959310"/>
                  <a:pt x="3995" y="949346"/>
                  <a:pt x="5992" y="947353"/>
                </a:cubicBezTo>
                <a:cubicBezTo>
                  <a:pt x="7990" y="945361"/>
                  <a:pt x="15979" y="935397"/>
                  <a:pt x="17977" y="933405"/>
                </a:cubicBezTo>
                <a:cubicBezTo>
                  <a:pt x="17977" y="929419"/>
                  <a:pt x="21972" y="923441"/>
                  <a:pt x="21972" y="921448"/>
                </a:cubicBezTo>
                <a:cubicBezTo>
                  <a:pt x="21972" y="919456"/>
                  <a:pt x="19974" y="917463"/>
                  <a:pt x="21972" y="913478"/>
                </a:cubicBezTo>
                <a:cubicBezTo>
                  <a:pt x="23969" y="911485"/>
                  <a:pt x="23969" y="909492"/>
                  <a:pt x="23969" y="907500"/>
                </a:cubicBezTo>
                <a:cubicBezTo>
                  <a:pt x="23969" y="903514"/>
                  <a:pt x="19974" y="897536"/>
                  <a:pt x="19974" y="897536"/>
                </a:cubicBezTo>
                <a:cubicBezTo>
                  <a:pt x="19974" y="897536"/>
                  <a:pt x="15979" y="895544"/>
                  <a:pt x="15979" y="895544"/>
                </a:cubicBezTo>
                <a:cubicBezTo>
                  <a:pt x="15979" y="893551"/>
                  <a:pt x="15979" y="889565"/>
                  <a:pt x="15979" y="887573"/>
                </a:cubicBezTo>
                <a:cubicBezTo>
                  <a:pt x="17977" y="885580"/>
                  <a:pt x="15979" y="881595"/>
                  <a:pt x="15979" y="879602"/>
                </a:cubicBezTo>
                <a:cubicBezTo>
                  <a:pt x="17977" y="877609"/>
                  <a:pt x="19974" y="875617"/>
                  <a:pt x="21972" y="871631"/>
                </a:cubicBezTo>
                <a:cubicBezTo>
                  <a:pt x="21972" y="869639"/>
                  <a:pt x="21972" y="867646"/>
                  <a:pt x="23969" y="863660"/>
                </a:cubicBezTo>
                <a:cubicBezTo>
                  <a:pt x="23969" y="861668"/>
                  <a:pt x="25967" y="857682"/>
                  <a:pt x="25967" y="855690"/>
                </a:cubicBezTo>
                <a:cubicBezTo>
                  <a:pt x="27964" y="853697"/>
                  <a:pt x="27964" y="847719"/>
                  <a:pt x="27964" y="845726"/>
                </a:cubicBezTo>
                <a:cubicBezTo>
                  <a:pt x="27964" y="843734"/>
                  <a:pt x="25967" y="839748"/>
                  <a:pt x="25967" y="837756"/>
                </a:cubicBezTo>
                <a:cubicBezTo>
                  <a:pt x="25967" y="835763"/>
                  <a:pt x="27964" y="829785"/>
                  <a:pt x="27964" y="827792"/>
                </a:cubicBezTo>
                <a:cubicBezTo>
                  <a:pt x="25967" y="823807"/>
                  <a:pt x="25967" y="823807"/>
                  <a:pt x="23969" y="821814"/>
                </a:cubicBezTo>
                <a:cubicBezTo>
                  <a:pt x="23969" y="821814"/>
                  <a:pt x="23969" y="815836"/>
                  <a:pt x="23969" y="813843"/>
                </a:cubicBezTo>
                <a:cubicBezTo>
                  <a:pt x="23969" y="811851"/>
                  <a:pt x="23969" y="809858"/>
                  <a:pt x="25967" y="807865"/>
                </a:cubicBezTo>
                <a:cubicBezTo>
                  <a:pt x="27964" y="805872"/>
                  <a:pt x="31959" y="801887"/>
                  <a:pt x="31959" y="799894"/>
                </a:cubicBezTo>
                <a:cubicBezTo>
                  <a:pt x="31959" y="795909"/>
                  <a:pt x="27964" y="789931"/>
                  <a:pt x="27964" y="789931"/>
                </a:cubicBezTo>
                <a:cubicBezTo>
                  <a:pt x="27964" y="789931"/>
                  <a:pt x="19974" y="785946"/>
                  <a:pt x="19974" y="783953"/>
                </a:cubicBezTo>
                <a:cubicBezTo>
                  <a:pt x="17977" y="781960"/>
                  <a:pt x="17977" y="777975"/>
                  <a:pt x="19974" y="777975"/>
                </a:cubicBezTo>
                <a:cubicBezTo>
                  <a:pt x="19974" y="775982"/>
                  <a:pt x="33956" y="777975"/>
                  <a:pt x="33956" y="775982"/>
                </a:cubicBezTo>
                <a:cubicBezTo>
                  <a:pt x="33956" y="773989"/>
                  <a:pt x="29961" y="768011"/>
                  <a:pt x="27964" y="768011"/>
                </a:cubicBezTo>
                <a:cubicBezTo>
                  <a:pt x="27964" y="766019"/>
                  <a:pt x="25967" y="766019"/>
                  <a:pt x="23969" y="766019"/>
                </a:cubicBezTo>
                <a:cubicBezTo>
                  <a:pt x="21972" y="766019"/>
                  <a:pt x="13982" y="762033"/>
                  <a:pt x="13982" y="762033"/>
                </a:cubicBezTo>
                <a:cubicBezTo>
                  <a:pt x="13982" y="762033"/>
                  <a:pt x="11985" y="756055"/>
                  <a:pt x="11985" y="754063"/>
                </a:cubicBezTo>
                <a:cubicBezTo>
                  <a:pt x="11985" y="754063"/>
                  <a:pt x="11985" y="750077"/>
                  <a:pt x="11985" y="748084"/>
                </a:cubicBezTo>
                <a:cubicBezTo>
                  <a:pt x="9987" y="746092"/>
                  <a:pt x="11985" y="738121"/>
                  <a:pt x="11985" y="738121"/>
                </a:cubicBezTo>
                <a:cubicBezTo>
                  <a:pt x="11985" y="738121"/>
                  <a:pt x="9987" y="732143"/>
                  <a:pt x="11985" y="730150"/>
                </a:cubicBezTo>
                <a:cubicBezTo>
                  <a:pt x="11985" y="728158"/>
                  <a:pt x="11985" y="726165"/>
                  <a:pt x="9987" y="724172"/>
                </a:cubicBezTo>
                <a:cubicBezTo>
                  <a:pt x="9987" y="722180"/>
                  <a:pt x="5992" y="714209"/>
                  <a:pt x="3995" y="712216"/>
                </a:cubicBezTo>
                <a:cubicBezTo>
                  <a:pt x="3995" y="708231"/>
                  <a:pt x="3995" y="700260"/>
                  <a:pt x="3995" y="698267"/>
                </a:cubicBezTo>
                <a:cubicBezTo>
                  <a:pt x="3995" y="696275"/>
                  <a:pt x="3995" y="692289"/>
                  <a:pt x="3995" y="690296"/>
                </a:cubicBezTo>
                <a:cubicBezTo>
                  <a:pt x="1998" y="686311"/>
                  <a:pt x="1998" y="684318"/>
                  <a:pt x="1998" y="684318"/>
                </a:cubicBezTo>
                <a:cubicBezTo>
                  <a:pt x="3995" y="682326"/>
                  <a:pt x="7990" y="682326"/>
                  <a:pt x="9987" y="680333"/>
                </a:cubicBezTo>
                <a:cubicBezTo>
                  <a:pt x="9987" y="680333"/>
                  <a:pt x="7990" y="668377"/>
                  <a:pt x="7990" y="668377"/>
                </a:cubicBezTo>
                <a:cubicBezTo>
                  <a:pt x="7990" y="668377"/>
                  <a:pt x="3995" y="662399"/>
                  <a:pt x="3995" y="660406"/>
                </a:cubicBezTo>
                <a:cubicBezTo>
                  <a:pt x="1998" y="658413"/>
                  <a:pt x="1998" y="654428"/>
                  <a:pt x="1998" y="650443"/>
                </a:cubicBezTo>
                <a:cubicBezTo>
                  <a:pt x="0" y="646457"/>
                  <a:pt x="0" y="630516"/>
                  <a:pt x="0" y="630516"/>
                </a:cubicBezTo>
                <a:cubicBezTo>
                  <a:pt x="0" y="628523"/>
                  <a:pt x="0" y="620552"/>
                  <a:pt x="0" y="618560"/>
                </a:cubicBezTo>
                <a:cubicBezTo>
                  <a:pt x="0" y="616567"/>
                  <a:pt x="0" y="608596"/>
                  <a:pt x="0" y="608596"/>
                </a:cubicBezTo>
                <a:cubicBezTo>
                  <a:pt x="0" y="608596"/>
                  <a:pt x="5992" y="608596"/>
                  <a:pt x="5992" y="606604"/>
                </a:cubicBezTo>
                <a:cubicBezTo>
                  <a:pt x="5992" y="604611"/>
                  <a:pt x="3995" y="600625"/>
                  <a:pt x="1998" y="598633"/>
                </a:cubicBezTo>
                <a:cubicBezTo>
                  <a:pt x="1998" y="596640"/>
                  <a:pt x="0" y="592655"/>
                  <a:pt x="1998" y="592655"/>
                </a:cubicBezTo>
                <a:cubicBezTo>
                  <a:pt x="3995" y="590662"/>
                  <a:pt x="5992" y="586677"/>
                  <a:pt x="5992" y="584684"/>
                </a:cubicBezTo>
                <a:cubicBezTo>
                  <a:pt x="7990" y="584684"/>
                  <a:pt x="7990" y="580699"/>
                  <a:pt x="7990" y="578706"/>
                </a:cubicBezTo>
                <a:cubicBezTo>
                  <a:pt x="5992" y="576713"/>
                  <a:pt x="5992" y="576713"/>
                  <a:pt x="5992" y="572728"/>
                </a:cubicBezTo>
                <a:cubicBezTo>
                  <a:pt x="5992" y="568742"/>
                  <a:pt x="3995" y="568742"/>
                  <a:pt x="5992" y="564757"/>
                </a:cubicBezTo>
                <a:cubicBezTo>
                  <a:pt x="7990" y="562764"/>
                  <a:pt x="15979" y="560772"/>
                  <a:pt x="13982" y="556786"/>
                </a:cubicBezTo>
                <a:cubicBezTo>
                  <a:pt x="13982" y="554794"/>
                  <a:pt x="9987" y="542837"/>
                  <a:pt x="9987" y="540845"/>
                </a:cubicBezTo>
                <a:cubicBezTo>
                  <a:pt x="9987" y="540845"/>
                  <a:pt x="7990" y="524903"/>
                  <a:pt x="7990" y="522911"/>
                </a:cubicBezTo>
                <a:cubicBezTo>
                  <a:pt x="7990" y="520918"/>
                  <a:pt x="5992" y="516933"/>
                  <a:pt x="5992" y="516933"/>
                </a:cubicBezTo>
                <a:cubicBezTo>
                  <a:pt x="5992" y="514940"/>
                  <a:pt x="1998" y="508962"/>
                  <a:pt x="1998" y="508962"/>
                </a:cubicBezTo>
                <a:cubicBezTo>
                  <a:pt x="1998" y="506969"/>
                  <a:pt x="1998" y="500991"/>
                  <a:pt x="1998" y="497006"/>
                </a:cubicBezTo>
                <a:cubicBezTo>
                  <a:pt x="1998" y="495013"/>
                  <a:pt x="5992" y="491028"/>
                  <a:pt x="7990" y="487042"/>
                </a:cubicBezTo>
                <a:cubicBezTo>
                  <a:pt x="9987" y="485049"/>
                  <a:pt x="13982" y="481064"/>
                  <a:pt x="15979" y="479071"/>
                </a:cubicBezTo>
                <a:cubicBezTo>
                  <a:pt x="17977" y="477079"/>
                  <a:pt x="17977" y="465123"/>
                  <a:pt x="17977" y="463130"/>
                </a:cubicBezTo>
                <a:cubicBezTo>
                  <a:pt x="15979" y="461137"/>
                  <a:pt x="15979" y="455159"/>
                  <a:pt x="15979" y="453166"/>
                </a:cubicBezTo>
                <a:cubicBezTo>
                  <a:pt x="13982" y="451174"/>
                  <a:pt x="13982" y="449181"/>
                  <a:pt x="13982" y="445196"/>
                </a:cubicBezTo>
                <a:cubicBezTo>
                  <a:pt x="13982" y="443203"/>
                  <a:pt x="13982" y="435232"/>
                  <a:pt x="13982" y="433240"/>
                </a:cubicBezTo>
                <a:cubicBezTo>
                  <a:pt x="13982" y="429254"/>
                  <a:pt x="17977" y="417298"/>
                  <a:pt x="19974" y="415305"/>
                </a:cubicBezTo>
                <a:cubicBezTo>
                  <a:pt x="21972" y="411320"/>
                  <a:pt x="27964" y="407335"/>
                  <a:pt x="27964" y="403349"/>
                </a:cubicBezTo>
                <a:cubicBezTo>
                  <a:pt x="27964" y="401357"/>
                  <a:pt x="27964" y="387408"/>
                  <a:pt x="27964" y="387408"/>
                </a:cubicBezTo>
                <a:cubicBezTo>
                  <a:pt x="27964" y="385415"/>
                  <a:pt x="27964" y="377444"/>
                  <a:pt x="25967" y="375452"/>
                </a:cubicBezTo>
                <a:cubicBezTo>
                  <a:pt x="25967" y="373459"/>
                  <a:pt x="21972" y="371466"/>
                  <a:pt x="19974" y="369473"/>
                </a:cubicBezTo>
                <a:cubicBezTo>
                  <a:pt x="19974" y="367481"/>
                  <a:pt x="19974" y="361503"/>
                  <a:pt x="19974" y="357517"/>
                </a:cubicBezTo>
                <a:cubicBezTo>
                  <a:pt x="19974" y="355525"/>
                  <a:pt x="15979" y="353532"/>
                  <a:pt x="15979" y="351539"/>
                </a:cubicBezTo>
                <a:cubicBezTo>
                  <a:pt x="15979" y="349547"/>
                  <a:pt x="15979" y="343569"/>
                  <a:pt x="15979" y="339583"/>
                </a:cubicBezTo>
                <a:cubicBezTo>
                  <a:pt x="13982" y="339583"/>
                  <a:pt x="9987" y="331612"/>
                  <a:pt x="9987" y="331612"/>
                </a:cubicBezTo>
                <a:cubicBezTo>
                  <a:pt x="9987" y="329620"/>
                  <a:pt x="5992" y="321649"/>
                  <a:pt x="5992" y="319656"/>
                </a:cubicBezTo>
                <a:cubicBezTo>
                  <a:pt x="3995" y="317664"/>
                  <a:pt x="3995" y="317664"/>
                  <a:pt x="3995" y="313678"/>
                </a:cubicBezTo>
                <a:cubicBezTo>
                  <a:pt x="1998" y="307700"/>
                  <a:pt x="3995" y="305707"/>
                  <a:pt x="5992" y="303715"/>
                </a:cubicBezTo>
                <a:cubicBezTo>
                  <a:pt x="7990" y="301722"/>
                  <a:pt x="9987" y="301722"/>
                  <a:pt x="9987" y="299729"/>
                </a:cubicBezTo>
                <a:cubicBezTo>
                  <a:pt x="9987" y="299729"/>
                  <a:pt x="9987" y="295744"/>
                  <a:pt x="7990" y="293751"/>
                </a:cubicBezTo>
                <a:cubicBezTo>
                  <a:pt x="7990" y="289766"/>
                  <a:pt x="7990" y="283788"/>
                  <a:pt x="9987" y="281795"/>
                </a:cubicBezTo>
                <a:cubicBezTo>
                  <a:pt x="11985" y="279802"/>
                  <a:pt x="15979" y="277810"/>
                  <a:pt x="15979" y="277810"/>
                </a:cubicBezTo>
                <a:cubicBezTo>
                  <a:pt x="15979" y="275817"/>
                  <a:pt x="15979" y="267846"/>
                  <a:pt x="15979" y="267846"/>
                </a:cubicBezTo>
                <a:cubicBezTo>
                  <a:pt x="13982" y="263861"/>
                  <a:pt x="9987" y="257883"/>
                  <a:pt x="9987" y="253898"/>
                </a:cubicBezTo>
                <a:cubicBezTo>
                  <a:pt x="7990" y="249912"/>
                  <a:pt x="7990" y="243934"/>
                  <a:pt x="9987" y="241941"/>
                </a:cubicBezTo>
                <a:cubicBezTo>
                  <a:pt x="9987" y="239949"/>
                  <a:pt x="15979" y="233971"/>
                  <a:pt x="15979" y="229985"/>
                </a:cubicBezTo>
                <a:cubicBezTo>
                  <a:pt x="17977" y="224007"/>
                  <a:pt x="19974" y="212051"/>
                  <a:pt x="19974" y="210058"/>
                </a:cubicBezTo>
                <a:cubicBezTo>
                  <a:pt x="19974" y="210058"/>
                  <a:pt x="23969" y="194117"/>
                  <a:pt x="25967" y="190131"/>
                </a:cubicBezTo>
                <a:cubicBezTo>
                  <a:pt x="27964" y="186146"/>
                  <a:pt x="35954" y="176183"/>
                  <a:pt x="37951" y="174190"/>
                </a:cubicBezTo>
                <a:cubicBezTo>
                  <a:pt x="39948" y="174190"/>
                  <a:pt x="43943" y="172197"/>
                  <a:pt x="43943" y="170205"/>
                </a:cubicBezTo>
                <a:cubicBezTo>
                  <a:pt x="45941" y="168212"/>
                  <a:pt x="45941" y="158248"/>
                  <a:pt x="45941" y="158248"/>
                </a:cubicBezTo>
                <a:cubicBezTo>
                  <a:pt x="45941" y="158248"/>
                  <a:pt x="43943" y="154263"/>
                  <a:pt x="41946" y="152270"/>
                </a:cubicBezTo>
                <a:cubicBezTo>
                  <a:pt x="41946" y="148285"/>
                  <a:pt x="41946" y="140314"/>
                  <a:pt x="41946" y="138322"/>
                </a:cubicBezTo>
                <a:cubicBezTo>
                  <a:pt x="41946" y="136329"/>
                  <a:pt x="39948" y="128358"/>
                  <a:pt x="39948" y="124373"/>
                </a:cubicBezTo>
                <a:cubicBezTo>
                  <a:pt x="39948" y="120387"/>
                  <a:pt x="39948" y="114409"/>
                  <a:pt x="39948" y="112417"/>
                </a:cubicBezTo>
                <a:cubicBezTo>
                  <a:pt x="41946" y="110424"/>
                  <a:pt x="43943" y="104446"/>
                  <a:pt x="43943" y="102453"/>
                </a:cubicBezTo>
                <a:cubicBezTo>
                  <a:pt x="43943" y="98468"/>
                  <a:pt x="43943" y="96475"/>
                  <a:pt x="41946" y="94482"/>
                </a:cubicBezTo>
                <a:cubicBezTo>
                  <a:pt x="41946" y="92490"/>
                  <a:pt x="39948" y="94482"/>
                  <a:pt x="39948" y="90497"/>
                </a:cubicBezTo>
                <a:cubicBezTo>
                  <a:pt x="39948" y="88504"/>
                  <a:pt x="41946" y="86512"/>
                  <a:pt x="43943" y="86512"/>
                </a:cubicBezTo>
                <a:cubicBezTo>
                  <a:pt x="43943" y="84519"/>
                  <a:pt x="53930" y="80534"/>
                  <a:pt x="55928" y="78541"/>
                </a:cubicBezTo>
                <a:cubicBezTo>
                  <a:pt x="59923" y="78541"/>
                  <a:pt x="65915" y="72563"/>
                  <a:pt x="67912" y="72563"/>
                </a:cubicBezTo>
                <a:cubicBezTo>
                  <a:pt x="67912" y="72563"/>
                  <a:pt x="71907" y="68577"/>
                  <a:pt x="71907" y="66585"/>
                </a:cubicBezTo>
                <a:cubicBezTo>
                  <a:pt x="73905" y="64592"/>
                  <a:pt x="69910" y="54629"/>
                  <a:pt x="69910" y="54629"/>
                </a:cubicBezTo>
                <a:cubicBezTo>
                  <a:pt x="69910" y="52636"/>
                  <a:pt x="71907" y="40680"/>
                  <a:pt x="71907" y="38687"/>
                </a:cubicBezTo>
                <a:cubicBezTo>
                  <a:pt x="69910" y="38687"/>
                  <a:pt x="69910" y="34702"/>
                  <a:pt x="69910" y="32709"/>
                </a:cubicBezTo>
                <a:cubicBezTo>
                  <a:pt x="67912" y="32709"/>
                  <a:pt x="67912" y="32709"/>
                  <a:pt x="67912" y="32709"/>
                </a:cubicBezTo>
                <a:cubicBezTo>
                  <a:pt x="67912" y="32709"/>
                  <a:pt x="73905" y="22746"/>
                  <a:pt x="73905" y="20753"/>
                </a:cubicBezTo>
                <a:cubicBezTo>
                  <a:pt x="75902" y="18760"/>
                  <a:pt x="79897" y="14775"/>
                  <a:pt x="81894" y="12782"/>
                </a:cubicBezTo>
                <a:cubicBezTo>
                  <a:pt x="81894" y="10789"/>
                  <a:pt x="85889" y="6804"/>
                  <a:pt x="87887" y="6804"/>
                </a:cubicBezTo>
                <a:cubicBezTo>
                  <a:pt x="89884" y="4811"/>
                  <a:pt x="89884" y="2819"/>
                  <a:pt x="91881" y="82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3" name="Turkey"/>
          <p:cNvSpPr>
            <a:spLocks/>
          </p:cNvSpPr>
          <p:nvPr/>
        </p:nvSpPr>
        <p:spPr bwMode="auto">
          <a:xfrm>
            <a:off x="6860895" y="2662727"/>
            <a:ext cx="481792" cy="247110"/>
          </a:xfrm>
          <a:custGeom>
            <a:avLst/>
            <a:gdLst>
              <a:gd name="connsiteX0" fmla="*/ 35454 w 468313"/>
              <a:gd name="connsiteY0" fmla="*/ 235347 h 240197"/>
              <a:gd name="connsiteX1" fmla="*/ 39687 w 468313"/>
              <a:gd name="connsiteY1" fmla="*/ 235347 h 240197"/>
              <a:gd name="connsiteX2" fmla="*/ 39687 w 468313"/>
              <a:gd name="connsiteY2" fmla="*/ 239316 h 240197"/>
              <a:gd name="connsiteX3" fmla="*/ 35454 w 468313"/>
              <a:gd name="connsiteY3" fmla="*/ 239316 h 240197"/>
              <a:gd name="connsiteX4" fmla="*/ 35454 w 468313"/>
              <a:gd name="connsiteY4" fmla="*/ 235347 h 240197"/>
              <a:gd name="connsiteX5" fmla="*/ 41275 w 468313"/>
              <a:gd name="connsiteY5" fmla="*/ 223838 h 240197"/>
              <a:gd name="connsiteX6" fmla="*/ 43260 w 468313"/>
              <a:gd name="connsiteY6" fmla="*/ 225879 h 240197"/>
              <a:gd name="connsiteX7" fmla="*/ 43260 w 468313"/>
              <a:gd name="connsiteY7" fmla="*/ 229961 h 240197"/>
              <a:gd name="connsiteX8" fmla="*/ 49213 w 468313"/>
              <a:gd name="connsiteY8" fmla="*/ 232002 h 240197"/>
              <a:gd name="connsiteX9" fmla="*/ 41275 w 468313"/>
              <a:gd name="connsiteY9" fmla="*/ 232002 h 240197"/>
              <a:gd name="connsiteX10" fmla="*/ 41275 w 468313"/>
              <a:gd name="connsiteY10" fmla="*/ 227920 h 240197"/>
              <a:gd name="connsiteX11" fmla="*/ 41275 w 468313"/>
              <a:gd name="connsiteY11" fmla="*/ 223838 h 240197"/>
              <a:gd name="connsiteX12" fmla="*/ 41275 w 468313"/>
              <a:gd name="connsiteY12" fmla="*/ 198834 h 240197"/>
              <a:gd name="connsiteX13" fmla="*/ 45509 w 468313"/>
              <a:gd name="connsiteY13" fmla="*/ 198834 h 240197"/>
              <a:gd name="connsiteX14" fmla="*/ 47625 w 468313"/>
              <a:gd name="connsiteY14" fmla="*/ 200819 h 240197"/>
              <a:gd name="connsiteX15" fmla="*/ 45509 w 468313"/>
              <a:gd name="connsiteY15" fmla="*/ 202803 h 240197"/>
              <a:gd name="connsiteX16" fmla="*/ 43392 w 468313"/>
              <a:gd name="connsiteY16" fmla="*/ 202803 h 240197"/>
              <a:gd name="connsiteX17" fmla="*/ 43392 w 468313"/>
              <a:gd name="connsiteY17" fmla="*/ 200819 h 240197"/>
              <a:gd name="connsiteX18" fmla="*/ 41275 w 468313"/>
              <a:gd name="connsiteY18" fmla="*/ 198834 h 240197"/>
              <a:gd name="connsiteX19" fmla="*/ 65768 w 468313"/>
              <a:gd name="connsiteY19" fmla="*/ 198438 h 240197"/>
              <a:gd name="connsiteX20" fmla="*/ 67809 w 468313"/>
              <a:gd name="connsiteY20" fmla="*/ 200423 h 240197"/>
              <a:gd name="connsiteX21" fmla="*/ 69850 w 468313"/>
              <a:gd name="connsiteY21" fmla="*/ 204391 h 240197"/>
              <a:gd name="connsiteX22" fmla="*/ 65768 w 468313"/>
              <a:gd name="connsiteY22" fmla="*/ 208360 h 240197"/>
              <a:gd name="connsiteX23" fmla="*/ 63727 w 468313"/>
              <a:gd name="connsiteY23" fmla="*/ 214313 h 240197"/>
              <a:gd name="connsiteX24" fmla="*/ 61686 w 468313"/>
              <a:gd name="connsiteY24" fmla="*/ 214313 h 240197"/>
              <a:gd name="connsiteX25" fmla="*/ 59645 w 468313"/>
              <a:gd name="connsiteY25" fmla="*/ 212329 h 240197"/>
              <a:gd name="connsiteX26" fmla="*/ 57603 w 468313"/>
              <a:gd name="connsiteY26" fmla="*/ 210344 h 240197"/>
              <a:gd name="connsiteX27" fmla="*/ 57603 w 468313"/>
              <a:gd name="connsiteY27" fmla="*/ 206376 h 240197"/>
              <a:gd name="connsiteX28" fmla="*/ 59645 w 468313"/>
              <a:gd name="connsiteY28" fmla="*/ 204391 h 240197"/>
              <a:gd name="connsiteX29" fmla="*/ 61686 w 468313"/>
              <a:gd name="connsiteY29" fmla="*/ 202407 h 240197"/>
              <a:gd name="connsiteX30" fmla="*/ 65768 w 468313"/>
              <a:gd name="connsiteY30" fmla="*/ 198438 h 240197"/>
              <a:gd name="connsiteX31" fmla="*/ 7144 w 468313"/>
              <a:gd name="connsiteY31" fmla="*/ 198437 h 240197"/>
              <a:gd name="connsiteX32" fmla="*/ 9525 w 468313"/>
              <a:gd name="connsiteY32" fmla="*/ 198437 h 240197"/>
              <a:gd name="connsiteX33" fmla="*/ 9525 w 468313"/>
              <a:gd name="connsiteY33" fmla="*/ 201612 h 240197"/>
              <a:gd name="connsiteX34" fmla="*/ 7144 w 468313"/>
              <a:gd name="connsiteY34" fmla="*/ 201612 h 240197"/>
              <a:gd name="connsiteX35" fmla="*/ 7144 w 468313"/>
              <a:gd name="connsiteY35" fmla="*/ 198437 h 240197"/>
              <a:gd name="connsiteX36" fmla="*/ 19579 w 468313"/>
              <a:gd name="connsiteY36" fmla="*/ 192484 h 240197"/>
              <a:gd name="connsiteX37" fmla="*/ 23812 w 468313"/>
              <a:gd name="connsiteY37" fmla="*/ 192484 h 240197"/>
              <a:gd name="connsiteX38" fmla="*/ 17462 w 468313"/>
              <a:gd name="connsiteY38" fmla="*/ 194469 h 240197"/>
              <a:gd name="connsiteX39" fmla="*/ 19579 w 468313"/>
              <a:gd name="connsiteY39" fmla="*/ 192484 h 240197"/>
              <a:gd name="connsiteX40" fmla="*/ 41956 w 468313"/>
              <a:gd name="connsiteY40" fmla="*/ 184150 h 240197"/>
              <a:gd name="connsiteX41" fmla="*/ 46038 w 468313"/>
              <a:gd name="connsiteY41" fmla="*/ 184150 h 240197"/>
              <a:gd name="connsiteX42" fmla="*/ 43997 w 468313"/>
              <a:gd name="connsiteY42" fmla="*/ 189865 h 240197"/>
              <a:gd name="connsiteX43" fmla="*/ 41956 w 468313"/>
              <a:gd name="connsiteY43" fmla="*/ 189865 h 240197"/>
              <a:gd name="connsiteX44" fmla="*/ 37874 w 468313"/>
              <a:gd name="connsiteY44" fmla="*/ 193675 h 240197"/>
              <a:gd name="connsiteX45" fmla="*/ 33791 w 468313"/>
              <a:gd name="connsiteY45" fmla="*/ 193675 h 240197"/>
              <a:gd name="connsiteX46" fmla="*/ 31750 w 468313"/>
              <a:gd name="connsiteY46" fmla="*/ 191770 h 240197"/>
              <a:gd name="connsiteX47" fmla="*/ 33791 w 468313"/>
              <a:gd name="connsiteY47" fmla="*/ 189865 h 240197"/>
              <a:gd name="connsiteX48" fmla="*/ 39915 w 468313"/>
              <a:gd name="connsiteY48" fmla="*/ 186055 h 240197"/>
              <a:gd name="connsiteX49" fmla="*/ 41956 w 468313"/>
              <a:gd name="connsiteY49" fmla="*/ 184150 h 240197"/>
              <a:gd name="connsiteX50" fmla="*/ 7144 w 468313"/>
              <a:gd name="connsiteY50" fmla="*/ 182563 h 240197"/>
              <a:gd name="connsiteX51" fmla="*/ 11113 w 468313"/>
              <a:gd name="connsiteY51" fmla="*/ 184547 h 240197"/>
              <a:gd name="connsiteX52" fmla="*/ 9129 w 468313"/>
              <a:gd name="connsiteY52" fmla="*/ 186532 h 240197"/>
              <a:gd name="connsiteX53" fmla="*/ 9129 w 468313"/>
              <a:gd name="connsiteY53" fmla="*/ 188516 h 240197"/>
              <a:gd name="connsiteX54" fmla="*/ 5160 w 468313"/>
              <a:gd name="connsiteY54" fmla="*/ 188516 h 240197"/>
              <a:gd name="connsiteX55" fmla="*/ 3175 w 468313"/>
              <a:gd name="connsiteY55" fmla="*/ 184547 h 240197"/>
              <a:gd name="connsiteX56" fmla="*/ 7144 w 468313"/>
              <a:gd name="connsiteY56" fmla="*/ 182563 h 240197"/>
              <a:gd name="connsiteX57" fmla="*/ 33338 w 468313"/>
              <a:gd name="connsiteY57" fmla="*/ 179388 h 240197"/>
              <a:gd name="connsiteX58" fmla="*/ 34925 w 468313"/>
              <a:gd name="connsiteY58" fmla="*/ 179388 h 240197"/>
              <a:gd name="connsiteX59" fmla="*/ 34925 w 468313"/>
              <a:gd name="connsiteY59" fmla="*/ 181769 h 240197"/>
              <a:gd name="connsiteX60" fmla="*/ 31750 w 468313"/>
              <a:gd name="connsiteY60" fmla="*/ 181769 h 240197"/>
              <a:gd name="connsiteX61" fmla="*/ 33338 w 468313"/>
              <a:gd name="connsiteY61" fmla="*/ 179388 h 240197"/>
              <a:gd name="connsiteX62" fmla="*/ 11112 w 468313"/>
              <a:gd name="connsiteY62" fmla="*/ 178197 h 240197"/>
              <a:gd name="connsiteX63" fmla="*/ 15081 w 468313"/>
              <a:gd name="connsiteY63" fmla="*/ 178197 h 240197"/>
              <a:gd name="connsiteX64" fmla="*/ 19050 w 468313"/>
              <a:gd name="connsiteY64" fmla="*/ 178197 h 240197"/>
              <a:gd name="connsiteX65" fmla="*/ 17066 w 468313"/>
              <a:gd name="connsiteY65" fmla="*/ 182166 h 240197"/>
              <a:gd name="connsiteX66" fmla="*/ 15081 w 468313"/>
              <a:gd name="connsiteY66" fmla="*/ 184150 h 240197"/>
              <a:gd name="connsiteX67" fmla="*/ 13097 w 468313"/>
              <a:gd name="connsiteY67" fmla="*/ 184150 h 240197"/>
              <a:gd name="connsiteX68" fmla="*/ 11112 w 468313"/>
              <a:gd name="connsiteY68" fmla="*/ 180182 h 240197"/>
              <a:gd name="connsiteX69" fmla="*/ 11112 w 468313"/>
              <a:gd name="connsiteY69" fmla="*/ 178197 h 240197"/>
              <a:gd name="connsiteX70" fmla="*/ 26987 w 468313"/>
              <a:gd name="connsiteY70" fmla="*/ 173567 h 240197"/>
              <a:gd name="connsiteX71" fmla="*/ 29369 w 468313"/>
              <a:gd name="connsiteY71" fmla="*/ 173567 h 240197"/>
              <a:gd name="connsiteX72" fmla="*/ 29369 w 468313"/>
              <a:gd name="connsiteY72" fmla="*/ 177800 h 240197"/>
              <a:gd name="connsiteX73" fmla="*/ 26987 w 468313"/>
              <a:gd name="connsiteY73" fmla="*/ 175683 h 240197"/>
              <a:gd name="connsiteX74" fmla="*/ 26987 w 468313"/>
              <a:gd name="connsiteY74" fmla="*/ 173567 h 240197"/>
              <a:gd name="connsiteX75" fmla="*/ 13891 w 468313"/>
              <a:gd name="connsiteY75" fmla="*/ 152400 h 240197"/>
              <a:gd name="connsiteX76" fmla="*/ 15875 w 468313"/>
              <a:gd name="connsiteY76" fmla="*/ 154517 h 240197"/>
              <a:gd name="connsiteX77" fmla="*/ 15875 w 468313"/>
              <a:gd name="connsiteY77" fmla="*/ 158750 h 240197"/>
              <a:gd name="connsiteX78" fmla="*/ 11906 w 468313"/>
              <a:gd name="connsiteY78" fmla="*/ 158750 h 240197"/>
              <a:gd name="connsiteX79" fmla="*/ 7937 w 468313"/>
              <a:gd name="connsiteY79" fmla="*/ 158750 h 240197"/>
              <a:gd name="connsiteX80" fmla="*/ 7937 w 468313"/>
              <a:gd name="connsiteY80" fmla="*/ 154517 h 240197"/>
              <a:gd name="connsiteX81" fmla="*/ 13891 w 468313"/>
              <a:gd name="connsiteY81" fmla="*/ 152400 h 240197"/>
              <a:gd name="connsiteX82" fmla="*/ 24871 w 468313"/>
              <a:gd name="connsiteY82" fmla="*/ 149622 h 240197"/>
              <a:gd name="connsiteX83" fmla="*/ 29104 w 468313"/>
              <a:gd name="connsiteY83" fmla="*/ 149622 h 240197"/>
              <a:gd name="connsiteX84" fmla="*/ 31221 w 468313"/>
              <a:gd name="connsiteY84" fmla="*/ 153591 h 240197"/>
              <a:gd name="connsiteX85" fmla="*/ 29104 w 468313"/>
              <a:gd name="connsiteY85" fmla="*/ 153591 h 240197"/>
              <a:gd name="connsiteX86" fmla="*/ 24871 w 468313"/>
              <a:gd name="connsiteY86" fmla="*/ 153591 h 240197"/>
              <a:gd name="connsiteX87" fmla="*/ 20637 w 468313"/>
              <a:gd name="connsiteY87" fmla="*/ 151607 h 240197"/>
              <a:gd name="connsiteX88" fmla="*/ 24871 w 468313"/>
              <a:gd name="connsiteY88" fmla="*/ 149622 h 240197"/>
              <a:gd name="connsiteX89" fmla="*/ 3572 w 468313"/>
              <a:gd name="connsiteY89" fmla="*/ 122635 h 240197"/>
              <a:gd name="connsiteX90" fmla="*/ 9525 w 468313"/>
              <a:gd name="connsiteY90" fmla="*/ 124619 h 240197"/>
              <a:gd name="connsiteX91" fmla="*/ 7541 w 468313"/>
              <a:gd name="connsiteY91" fmla="*/ 132556 h 240197"/>
              <a:gd name="connsiteX92" fmla="*/ 5556 w 468313"/>
              <a:gd name="connsiteY92" fmla="*/ 136525 h 240197"/>
              <a:gd name="connsiteX93" fmla="*/ 3572 w 468313"/>
              <a:gd name="connsiteY93" fmla="*/ 134541 h 240197"/>
              <a:gd name="connsiteX94" fmla="*/ 3572 w 468313"/>
              <a:gd name="connsiteY94" fmla="*/ 130572 h 240197"/>
              <a:gd name="connsiteX95" fmla="*/ 3572 w 468313"/>
              <a:gd name="connsiteY95" fmla="*/ 124619 h 240197"/>
              <a:gd name="connsiteX96" fmla="*/ 3572 w 468313"/>
              <a:gd name="connsiteY96" fmla="*/ 122635 h 240197"/>
              <a:gd name="connsiteX97" fmla="*/ 11430 w 468313"/>
              <a:gd name="connsiteY97" fmla="*/ 95704 h 240197"/>
              <a:gd name="connsiteX98" fmla="*/ 17622 w 468313"/>
              <a:gd name="connsiteY98" fmla="*/ 95704 h 240197"/>
              <a:gd name="connsiteX99" fmla="*/ 19686 w 468313"/>
              <a:gd name="connsiteY99" fmla="*/ 99786 h 240197"/>
              <a:gd name="connsiteX100" fmla="*/ 23813 w 468313"/>
              <a:gd name="connsiteY100" fmla="*/ 103868 h 240197"/>
              <a:gd name="connsiteX101" fmla="*/ 17622 w 468313"/>
              <a:gd name="connsiteY101" fmla="*/ 107950 h 240197"/>
              <a:gd name="connsiteX102" fmla="*/ 13494 w 468313"/>
              <a:gd name="connsiteY102" fmla="*/ 105909 h 240197"/>
              <a:gd name="connsiteX103" fmla="*/ 13494 w 468313"/>
              <a:gd name="connsiteY103" fmla="*/ 101827 h 240197"/>
              <a:gd name="connsiteX104" fmla="*/ 11430 w 468313"/>
              <a:gd name="connsiteY104" fmla="*/ 101827 h 240197"/>
              <a:gd name="connsiteX105" fmla="*/ 5239 w 468313"/>
              <a:gd name="connsiteY105" fmla="*/ 101827 h 240197"/>
              <a:gd name="connsiteX106" fmla="*/ 3175 w 468313"/>
              <a:gd name="connsiteY106" fmla="*/ 99786 h 240197"/>
              <a:gd name="connsiteX107" fmla="*/ 11430 w 468313"/>
              <a:gd name="connsiteY107" fmla="*/ 95704 h 240197"/>
              <a:gd name="connsiteX108" fmla="*/ 227182 w 468313"/>
              <a:gd name="connsiteY108" fmla="*/ 0 h 240197"/>
              <a:gd name="connsiteX109" fmla="*/ 233160 w 468313"/>
              <a:gd name="connsiteY109" fmla="*/ 0 h 240197"/>
              <a:gd name="connsiteX110" fmla="*/ 237146 w 468313"/>
              <a:gd name="connsiteY110" fmla="*/ 3999 h 240197"/>
              <a:gd name="connsiteX111" fmla="*/ 241132 w 468313"/>
              <a:gd name="connsiteY111" fmla="*/ 5999 h 240197"/>
              <a:gd name="connsiteX112" fmla="*/ 239139 w 468313"/>
              <a:gd name="connsiteY112" fmla="*/ 9998 h 240197"/>
              <a:gd name="connsiteX113" fmla="*/ 243124 w 468313"/>
              <a:gd name="connsiteY113" fmla="*/ 13998 h 240197"/>
              <a:gd name="connsiteX114" fmla="*/ 251096 w 468313"/>
              <a:gd name="connsiteY114" fmla="*/ 13998 h 240197"/>
              <a:gd name="connsiteX115" fmla="*/ 259067 w 468313"/>
              <a:gd name="connsiteY115" fmla="*/ 15997 h 240197"/>
              <a:gd name="connsiteX116" fmla="*/ 261060 w 468313"/>
              <a:gd name="connsiteY116" fmla="*/ 21996 h 240197"/>
              <a:gd name="connsiteX117" fmla="*/ 263053 w 468313"/>
              <a:gd name="connsiteY117" fmla="*/ 27995 h 240197"/>
              <a:gd name="connsiteX118" fmla="*/ 269031 w 468313"/>
              <a:gd name="connsiteY118" fmla="*/ 31994 h 240197"/>
              <a:gd name="connsiteX119" fmla="*/ 277002 w 468313"/>
              <a:gd name="connsiteY119" fmla="*/ 29995 h 240197"/>
              <a:gd name="connsiteX120" fmla="*/ 288959 w 468313"/>
              <a:gd name="connsiteY120" fmla="*/ 33994 h 240197"/>
              <a:gd name="connsiteX121" fmla="*/ 294938 w 468313"/>
              <a:gd name="connsiteY121" fmla="*/ 33994 h 240197"/>
              <a:gd name="connsiteX122" fmla="*/ 296931 w 468313"/>
              <a:gd name="connsiteY122" fmla="*/ 31994 h 240197"/>
              <a:gd name="connsiteX123" fmla="*/ 300916 w 468313"/>
              <a:gd name="connsiteY123" fmla="*/ 33994 h 240197"/>
              <a:gd name="connsiteX124" fmla="*/ 306895 w 468313"/>
              <a:gd name="connsiteY124" fmla="*/ 37993 h 240197"/>
              <a:gd name="connsiteX125" fmla="*/ 310880 w 468313"/>
              <a:gd name="connsiteY125" fmla="*/ 39993 h 240197"/>
              <a:gd name="connsiteX126" fmla="*/ 320844 w 468313"/>
              <a:gd name="connsiteY126" fmla="*/ 41992 h 240197"/>
              <a:gd name="connsiteX127" fmla="*/ 330809 w 468313"/>
              <a:gd name="connsiteY127" fmla="*/ 37993 h 240197"/>
              <a:gd name="connsiteX128" fmla="*/ 340773 w 468313"/>
              <a:gd name="connsiteY128" fmla="*/ 33994 h 240197"/>
              <a:gd name="connsiteX129" fmla="*/ 348744 w 468313"/>
              <a:gd name="connsiteY129" fmla="*/ 33994 h 240197"/>
              <a:gd name="connsiteX130" fmla="*/ 358708 w 468313"/>
              <a:gd name="connsiteY130" fmla="*/ 39993 h 240197"/>
              <a:gd name="connsiteX131" fmla="*/ 370665 w 468313"/>
              <a:gd name="connsiteY131" fmla="*/ 35994 h 240197"/>
              <a:gd name="connsiteX132" fmla="*/ 380629 w 468313"/>
              <a:gd name="connsiteY132" fmla="*/ 33994 h 240197"/>
              <a:gd name="connsiteX133" fmla="*/ 390593 w 468313"/>
              <a:gd name="connsiteY133" fmla="*/ 31994 h 240197"/>
              <a:gd name="connsiteX134" fmla="*/ 400557 w 468313"/>
              <a:gd name="connsiteY134" fmla="*/ 27995 h 240197"/>
              <a:gd name="connsiteX135" fmla="*/ 406536 w 468313"/>
              <a:gd name="connsiteY135" fmla="*/ 27995 h 240197"/>
              <a:gd name="connsiteX136" fmla="*/ 420486 w 468313"/>
              <a:gd name="connsiteY136" fmla="*/ 27995 h 240197"/>
              <a:gd name="connsiteX137" fmla="*/ 430450 w 468313"/>
              <a:gd name="connsiteY137" fmla="*/ 31994 h 240197"/>
              <a:gd name="connsiteX138" fmla="*/ 436428 w 468313"/>
              <a:gd name="connsiteY138" fmla="*/ 33994 h 240197"/>
              <a:gd name="connsiteX139" fmla="*/ 434435 w 468313"/>
              <a:gd name="connsiteY139" fmla="*/ 43992 h 240197"/>
              <a:gd name="connsiteX140" fmla="*/ 436428 w 468313"/>
              <a:gd name="connsiteY140" fmla="*/ 55990 h 240197"/>
              <a:gd name="connsiteX141" fmla="*/ 438421 w 468313"/>
              <a:gd name="connsiteY141" fmla="*/ 57990 h 240197"/>
              <a:gd name="connsiteX142" fmla="*/ 436428 w 468313"/>
              <a:gd name="connsiteY142" fmla="*/ 63988 h 240197"/>
              <a:gd name="connsiteX143" fmla="*/ 446392 w 468313"/>
              <a:gd name="connsiteY143" fmla="*/ 69987 h 240197"/>
              <a:gd name="connsiteX144" fmla="*/ 462335 w 468313"/>
              <a:gd name="connsiteY144" fmla="*/ 77986 h 240197"/>
              <a:gd name="connsiteX145" fmla="*/ 468313 w 468313"/>
              <a:gd name="connsiteY145" fmla="*/ 83985 h 240197"/>
              <a:gd name="connsiteX146" fmla="*/ 468313 w 468313"/>
              <a:gd name="connsiteY146" fmla="*/ 89984 h 240197"/>
              <a:gd name="connsiteX147" fmla="*/ 462335 w 468313"/>
              <a:gd name="connsiteY147" fmla="*/ 95983 h 240197"/>
              <a:gd name="connsiteX148" fmla="*/ 464328 w 468313"/>
              <a:gd name="connsiteY148" fmla="*/ 123977 h 240197"/>
              <a:gd name="connsiteX149" fmla="*/ 464328 w 468313"/>
              <a:gd name="connsiteY149" fmla="*/ 143974 h 240197"/>
              <a:gd name="connsiteX150" fmla="*/ 466320 w 468313"/>
              <a:gd name="connsiteY150" fmla="*/ 153972 h 240197"/>
              <a:gd name="connsiteX151" fmla="*/ 458349 w 468313"/>
              <a:gd name="connsiteY151" fmla="*/ 165970 h 240197"/>
              <a:gd name="connsiteX152" fmla="*/ 450378 w 468313"/>
              <a:gd name="connsiteY152" fmla="*/ 167969 h 240197"/>
              <a:gd name="connsiteX153" fmla="*/ 440414 w 468313"/>
              <a:gd name="connsiteY153" fmla="*/ 165970 h 240197"/>
              <a:gd name="connsiteX154" fmla="*/ 430450 w 468313"/>
              <a:gd name="connsiteY154" fmla="*/ 163970 h 240197"/>
              <a:gd name="connsiteX155" fmla="*/ 424471 w 468313"/>
              <a:gd name="connsiteY155" fmla="*/ 161971 h 240197"/>
              <a:gd name="connsiteX156" fmla="*/ 418493 w 468313"/>
              <a:gd name="connsiteY156" fmla="*/ 159971 h 240197"/>
              <a:gd name="connsiteX157" fmla="*/ 412514 w 468313"/>
              <a:gd name="connsiteY157" fmla="*/ 157971 h 240197"/>
              <a:gd name="connsiteX158" fmla="*/ 404543 w 468313"/>
              <a:gd name="connsiteY158" fmla="*/ 167969 h 240197"/>
              <a:gd name="connsiteX159" fmla="*/ 392586 w 468313"/>
              <a:gd name="connsiteY159" fmla="*/ 173968 h 240197"/>
              <a:gd name="connsiteX160" fmla="*/ 380629 w 468313"/>
              <a:gd name="connsiteY160" fmla="*/ 175968 h 240197"/>
              <a:gd name="connsiteX161" fmla="*/ 366679 w 468313"/>
              <a:gd name="connsiteY161" fmla="*/ 183967 h 240197"/>
              <a:gd name="connsiteX162" fmla="*/ 350737 w 468313"/>
              <a:gd name="connsiteY162" fmla="*/ 189965 h 240197"/>
              <a:gd name="connsiteX163" fmla="*/ 336787 w 468313"/>
              <a:gd name="connsiteY163" fmla="*/ 189965 h 240197"/>
              <a:gd name="connsiteX164" fmla="*/ 326823 w 468313"/>
              <a:gd name="connsiteY164" fmla="*/ 191965 h 240197"/>
              <a:gd name="connsiteX165" fmla="*/ 316859 w 468313"/>
              <a:gd name="connsiteY165" fmla="*/ 191965 h 240197"/>
              <a:gd name="connsiteX166" fmla="*/ 306895 w 468313"/>
              <a:gd name="connsiteY166" fmla="*/ 191965 h 240197"/>
              <a:gd name="connsiteX167" fmla="*/ 294938 w 468313"/>
              <a:gd name="connsiteY167" fmla="*/ 199964 h 240197"/>
              <a:gd name="connsiteX168" fmla="*/ 286966 w 468313"/>
              <a:gd name="connsiteY168" fmla="*/ 201963 h 240197"/>
              <a:gd name="connsiteX169" fmla="*/ 277002 w 468313"/>
              <a:gd name="connsiteY169" fmla="*/ 201963 h 240197"/>
              <a:gd name="connsiteX170" fmla="*/ 269031 w 468313"/>
              <a:gd name="connsiteY170" fmla="*/ 205962 h 240197"/>
              <a:gd name="connsiteX171" fmla="*/ 265045 w 468313"/>
              <a:gd name="connsiteY171" fmla="*/ 205962 h 240197"/>
              <a:gd name="connsiteX172" fmla="*/ 267038 w 468313"/>
              <a:gd name="connsiteY172" fmla="*/ 195964 h 240197"/>
              <a:gd name="connsiteX173" fmla="*/ 271024 w 468313"/>
              <a:gd name="connsiteY173" fmla="*/ 189965 h 240197"/>
              <a:gd name="connsiteX174" fmla="*/ 261060 w 468313"/>
              <a:gd name="connsiteY174" fmla="*/ 185966 h 240197"/>
              <a:gd name="connsiteX175" fmla="*/ 257074 w 468313"/>
              <a:gd name="connsiteY175" fmla="*/ 195964 h 240197"/>
              <a:gd name="connsiteX176" fmla="*/ 249103 w 468313"/>
              <a:gd name="connsiteY176" fmla="*/ 195964 h 240197"/>
              <a:gd name="connsiteX177" fmla="*/ 239139 w 468313"/>
              <a:gd name="connsiteY177" fmla="*/ 191965 h 240197"/>
              <a:gd name="connsiteX178" fmla="*/ 227182 w 468313"/>
              <a:gd name="connsiteY178" fmla="*/ 195964 h 240197"/>
              <a:gd name="connsiteX179" fmla="*/ 219211 w 468313"/>
              <a:gd name="connsiteY179" fmla="*/ 203963 h 240197"/>
              <a:gd name="connsiteX180" fmla="*/ 201275 w 468313"/>
              <a:gd name="connsiteY180" fmla="*/ 207962 h 240197"/>
              <a:gd name="connsiteX181" fmla="*/ 181347 w 468313"/>
              <a:gd name="connsiteY181" fmla="*/ 207962 h 240197"/>
              <a:gd name="connsiteX182" fmla="*/ 175369 w 468313"/>
              <a:gd name="connsiteY182" fmla="*/ 199964 h 240197"/>
              <a:gd name="connsiteX183" fmla="*/ 161419 w 468313"/>
              <a:gd name="connsiteY183" fmla="*/ 189965 h 240197"/>
              <a:gd name="connsiteX184" fmla="*/ 149462 w 468313"/>
              <a:gd name="connsiteY184" fmla="*/ 183967 h 240197"/>
              <a:gd name="connsiteX185" fmla="*/ 137505 w 468313"/>
              <a:gd name="connsiteY185" fmla="*/ 183967 h 240197"/>
              <a:gd name="connsiteX186" fmla="*/ 133519 w 468313"/>
              <a:gd name="connsiteY186" fmla="*/ 183967 h 240197"/>
              <a:gd name="connsiteX187" fmla="*/ 127541 w 468313"/>
              <a:gd name="connsiteY187" fmla="*/ 193965 h 240197"/>
              <a:gd name="connsiteX188" fmla="*/ 125548 w 468313"/>
              <a:gd name="connsiteY188" fmla="*/ 201963 h 240197"/>
              <a:gd name="connsiteX189" fmla="*/ 123555 w 468313"/>
              <a:gd name="connsiteY189" fmla="*/ 205962 h 240197"/>
              <a:gd name="connsiteX190" fmla="*/ 119570 w 468313"/>
              <a:gd name="connsiteY190" fmla="*/ 203963 h 240197"/>
              <a:gd name="connsiteX191" fmla="*/ 117577 w 468313"/>
              <a:gd name="connsiteY191" fmla="*/ 205962 h 240197"/>
              <a:gd name="connsiteX192" fmla="*/ 107613 w 468313"/>
              <a:gd name="connsiteY192" fmla="*/ 207962 h 240197"/>
              <a:gd name="connsiteX193" fmla="*/ 99641 w 468313"/>
              <a:gd name="connsiteY193" fmla="*/ 205962 h 240197"/>
              <a:gd name="connsiteX194" fmla="*/ 91670 w 468313"/>
              <a:gd name="connsiteY194" fmla="*/ 195964 h 240197"/>
              <a:gd name="connsiteX195" fmla="*/ 87684 w 468313"/>
              <a:gd name="connsiteY195" fmla="*/ 193965 h 240197"/>
              <a:gd name="connsiteX196" fmla="*/ 85692 w 468313"/>
              <a:gd name="connsiteY196" fmla="*/ 193965 h 240197"/>
              <a:gd name="connsiteX197" fmla="*/ 79713 w 468313"/>
              <a:gd name="connsiteY197" fmla="*/ 189965 h 240197"/>
              <a:gd name="connsiteX198" fmla="*/ 69749 w 468313"/>
              <a:gd name="connsiteY198" fmla="*/ 191965 h 240197"/>
              <a:gd name="connsiteX199" fmla="*/ 63771 w 468313"/>
              <a:gd name="connsiteY199" fmla="*/ 191965 h 240197"/>
              <a:gd name="connsiteX200" fmla="*/ 55799 w 468313"/>
              <a:gd name="connsiteY200" fmla="*/ 189965 h 240197"/>
              <a:gd name="connsiteX201" fmla="*/ 59785 w 468313"/>
              <a:gd name="connsiteY201" fmla="*/ 185966 h 240197"/>
              <a:gd name="connsiteX202" fmla="*/ 59785 w 468313"/>
              <a:gd name="connsiteY202" fmla="*/ 179967 h 240197"/>
              <a:gd name="connsiteX203" fmla="*/ 53806 w 468313"/>
              <a:gd name="connsiteY203" fmla="*/ 179967 h 240197"/>
              <a:gd name="connsiteX204" fmla="*/ 45835 w 468313"/>
              <a:gd name="connsiteY204" fmla="*/ 177968 h 240197"/>
              <a:gd name="connsiteX205" fmla="*/ 49821 w 468313"/>
              <a:gd name="connsiteY205" fmla="*/ 175968 h 240197"/>
              <a:gd name="connsiteX206" fmla="*/ 53806 w 468313"/>
              <a:gd name="connsiteY206" fmla="*/ 165970 h 240197"/>
              <a:gd name="connsiteX207" fmla="*/ 43842 w 468313"/>
              <a:gd name="connsiteY207" fmla="*/ 165970 h 240197"/>
              <a:gd name="connsiteX208" fmla="*/ 39857 w 468313"/>
              <a:gd name="connsiteY208" fmla="*/ 159971 h 240197"/>
              <a:gd name="connsiteX209" fmla="*/ 43842 w 468313"/>
              <a:gd name="connsiteY209" fmla="*/ 149973 h 240197"/>
              <a:gd name="connsiteX210" fmla="*/ 41849 w 468313"/>
              <a:gd name="connsiteY210" fmla="*/ 143974 h 240197"/>
              <a:gd name="connsiteX211" fmla="*/ 31885 w 468313"/>
              <a:gd name="connsiteY211" fmla="*/ 141974 h 240197"/>
              <a:gd name="connsiteX212" fmla="*/ 23914 w 468313"/>
              <a:gd name="connsiteY212" fmla="*/ 141974 h 240197"/>
              <a:gd name="connsiteX213" fmla="*/ 17936 w 468313"/>
              <a:gd name="connsiteY213" fmla="*/ 137975 h 240197"/>
              <a:gd name="connsiteX214" fmla="*/ 15943 w 468313"/>
              <a:gd name="connsiteY214" fmla="*/ 133976 h 240197"/>
              <a:gd name="connsiteX215" fmla="*/ 15943 w 468313"/>
              <a:gd name="connsiteY215" fmla="*/ 123977 h 240197"/>
              <a:gd name="connsiteX216" fmla="*/ 21921 w 468313"/>
              <a:gd name="connsiteY216" fmla="*/ 129976 h 240197"/>
              <a:gd name="connsiteX217" fmla="*/ 25907 w 468313"/>
              <a:gd name="connsiteY217" fmla="*/ 131976 h 240197"/>
              <a:gd name="connsiteX218" fmla="*/ 29893 w 468313"/>
              <a:gd name="connsiteY218" fmla="*/ 129976 h 240197"/>
              <a:gd name="connsiteX219" fmla="*/ 33878 w 468313"/>
              <a:gd name="connsiteY219" fmla="*/ 127977 h 240197"/>
              <a:gd name="connsiteX220" fmla="*/ 27900 w 468313"/>
              <a:gd name="connsiteY220" fmla="*/ 121978 h 240197"/>
              <a:gd name="connsiteX221" fmla="*/ 31885 w 468313"/>
              <a:gd name="connsiteY221" fmla="*/ 117979 h 240197"/>
              <a:gd name="connsiteX222" fmla="*/ 35871 w 468313"/>
              <a:gd name="connsiteY222" fmla="*/ 113979 h 240197"/>
              <a:gd name="connsiteX223" fmla="*/ 31885 w 468313"/>
              <a:gd name="connsiteY223" fmla="*/ 109980 h 240197"/>
              <a:gd name="connsiteX224" fmla="*/ 31885 w 468313"/>
              <a:gd name="connsiteY224" fmla="*/ 105981 h 240197"/>
              <a:gd name="connsiteX225" fmla="*/ 29893 w 468313"/>
              <a:gd name="connsiteY225" fmla="*/ 99982 h 240197"/>
              <a:gd name="connsiteX226" fmla="*/ 27900 w 468313"/>
              <a:gd name="connsiteY226" fmla="*/ 95983 h 240197"/>
              <a:gd name="connsiteX227" fmla="*/ 29893 w 468313"/>
              <a:gd name="connsiteY227" fmla="*/ 89984 h 240197"/>
              <a:gd name="connsiteX228" fmla="*/ 27900 w 468313"/>
              <a:gd name="connsiteY228" fmla="*/ 87984 h 240197"/>
              <a:gd name="connsiteX229" fmla="*/ 15943 w 468313"/>
              <a:gd name="connsiteY229" fmla="*/ 87984 h 240197"/>
              <a:gd name="connsiteX230" fmla="*/ 7972 w 468313"/>
              <a:gd name="connsiteY230" fmla="*/ 87984 h 240197"/>
              <a:gd name="connsiteX231" fmla="*/ 7972 w 468313"/>
              <a:gd name="connsiteY231" fmla="*/ 75986 h 240197"/>
              <a:gd name="connsiteX232" fmla="*/ 15943 w 468313"/>
              <a:gd name="connsiteY232" fmla="*/ 69987 h 240197"/>
              <a:gd name="connsiteX233" fmla="*/ 15943 w 468313"/>
              <a:gd name="connsiteY233" fmla="*/ 65988 h 240197"/>
              <a:gd name="connsiteX234" fmla="*/ 11957 w 468313"/>
              <a:gd name="connsiteY234" fmla="*/ 59989 h 240197"/>
              <a:gd name="connsiteX235" fmla="*/ 19928 w 468313"/>
              <a:gd name="connsiteY235" fmla="*/ 53990 h 240197"/>
              <a:gd name="connsiteX236" fmla="*/ 11957 w 468313"/>
              <a:gd name="connsiteY236" fmla="*/ 51991 h 240197"/>
              <a:gd name="connsiteX237" fmla="*/ 3986 w 468313"/>
              <a:gd name="connsiteY237" fmla="*/ 45992 h 240197"/>
              <a:gd name="connsiteX238" fmla="*/ 1993 w 468313"/>
              <a:gd name="connsiteY238" fmla="*/ 45992 h 240197"/>
              <a:gd name="connsiteX239" fmla="*/ 1993 w 468313"/>
              <a:gd name="connsiteY239" fmla="*/ 43992 h 240197"/>
              <a:gd name="connsiteX240" fmla="*/ 3986 w 468313"/>
              <a:gd name="connsiteY240" fmla="*/ 29995 h 240197"/>
              <a:gd name="connsiteX241" fmla="*/ 0 w 468313"/>
              <a:gd name="connsiteY241" fmla="*/ 23996 h 240197"/>
              <a:gd name="connsiteX242" fmla="*/ 0 w 468313"/>
              <a:gd name="connsiteY242" fmla="*/ 17997 h 240197"/>
              <a:gd name="connsiteX243" fmla="*/ 11957 w 468313"/>
              <a:gd name="connsiteY243" fmla="*/ 11998 h 240197"/>
              <a:gd name="connsiteX244" fmla="*/ 19928 w 468313"/>
              <a:gd name="connsiteY244" fmla="*/ 11998 h 240197"/>
              <a:gd name="connsiteX245" fmla="*/ 21921 w 468313"/>
              <a:gd name="connsiteY245" fmla="*/ 7999 h 240197"/>
              <a:gd name="connsiteX246" fmla="*/ 31885 w 468313"/>
              <a:gd name="connsiteY246" fmla="*/ 7999 h 240197"/>
              <a:gd name="connsiteX247" fmla="*/ 45835 w 468313"/>
              <a:gd name="connsiteY247" fmla="*/ 5999 h 240197"/>
              <a:gd name="connsiteX248" fmla="*/ 55799 w 468313"/>
              <a:gd name="connsiteY248" fmla="*/ 3999 h 240197"/>
              <a:gd name="connsiteX249" fmla="*/ 57792 w 468313"/>
              <a:gd name="connsiteY249" fmla="*/ 9998 h 240197"/>
              <a:gd name="connsiteX250" fmla="*/ 59785 w 468313"/>
              <a:gd name="connsiteY250" fmla="*/ 13998 h 240197"/>
              <a:gd name="connsiteX251" fmla="*/ 63771 w 468313"/>
              <a:gd name="connsiteY251" fmla="*/ 15997 h 240197"/>
              <a:gd name="connsiteX252" fmla="*/ 67756 w 468313"/>
              <a:gd name="connsiteY252" fmla="*/ 23996 h 240197"/>
              <a:gd name="connsiteX253" fmla="*/ 71742 w 468313"/>
              <a:gd name="connsiteY253" fmla="*/ 25995 h 240197"/>
              <a:gd name="connsiteX254" fmla="*/ 75727 w 468313"/>
              <a:gd name="connsiteY254" fmla="*/ 29995 h 240197"/>
              <a:gd name="connsiteX255" fmla="*/ 79713 w 468313"/>
              <a:gd name="connsiteY255" fmla="*/ 29995 h 240197"/>
              <a:gd name="connsiteX256" fmla="*/ 87684 w 468313"/>
              <a:gd name="connsiteY256" fmla="*/ 27995 h 240197"/>
              <a:gd name="connsiteX257" fmla="*/ 97648 w 468313"/>
              <a:gd name="connsiteY257" fmla="*/ 31994 h 240197"/>
              <a:gd name="connsiteX258" fmla="*/ 107613 w 468313"/>
              <a:gd name="connsiteY258" fmla="*/ 31994 h 240197"/>
              <a:gd name="connsiteX259" fmla="*/ 119570 w 468313"/>
              <a:gd name="connsiteY259" fmla="*/ 31994 h 240197"/>
              <a:gd name="connsiteX260" fmla="*/ 125548 w 468313"/>
              <a:gd name="connsiteY260" fmla="*/ 33994 h 240197"/>
              <a:gd name="connsiteX261" fmla="*/ 137505 w 468313"/>
              <a:gd name="connsiteY261" fmla="*/ 31994 h 240197"/>
              <a:gd name="connsiteX262" fmla="*/ 149462 w 468313"/>
              <a:gd name="connsiteY262" fmla="*/ 21996 h 240197"/>
              <a:gd name="connsiteX263" fmla="*/ 157433 w 468313"/>
              <a:gd name="connsiteY263" fmla="*/ 15997 h 240197"/>
              <a:gd name="connsiteX264" fmla="*/ 159426 w 468313"/>
              <a:gd name="connsiteY264" fmla="*/ 11998 h 240197"/>
              <a:gd name="connsiteX265" fmla="*/ 167397 w 468313"/>
              <a:gd name="connsiteY265" fmla="*/ 9998 h 240197"/>
              <a:gd name="connsiteX266" fmla="*/ 173376 w 468313"/>
              <a:gd name="connsiteY266" fmla="*/ 7999 h 240197"/>
              <a:gd name="connsiteX267" fmla="*/ 177361 w 468313"/>
              <a:gd name="connsiteY267" fmla="*/ 3999 h 240197"/>
              <a:gd name="connsiteX268" fmla="*/ 189318 w 468313"/>
              <a:gd name="connsiteY268" fmla="*/ 3999 h 240197"/>
              <a:gd name="connsiteX269" fmla="*/ 199282 w 468313"/>
              <a:gd name="connsiteY269" fmla="*/ 2000 h 240197"/>
              <a:gd name="connsiteX270" fmla="*/ 209246 w 468313"/>
              <a:gd name="connsiteY270" fmla="*/ 3999 h 240197"/>
              <a:gd name="connsiteX271" fmla="*/ 215225 w 468313"/>
              <a:gd name="connsiteY271" fmla="*/ 5999 h 240197"/>
              <a:gd name="connsiteX272" fmla="*/ 225189 w 468313"/>
              <a:gd name="connsiteY272" fmla="*/ 3999 h 240197"/>
              <a:gd name="connsiteX273" fmla="*/ 227182 w 468313"/>
              <a:gd name="connsiteY273"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468313" h="240197">
                <a:moveTo>
                  <a:pt x="35454" y="235347"/>
                </a:moveTo>
                <a:cubicBezTo>
                  <a:pt x="37571" y="233363"/>
                  <a:pt x="39687" y="235347"/>
                  <a:pt x="39687" y="235347"/>
                </a:cubicBezTo>
                <a:cubicBezTo>
                  <a:pt x="39687" y="237332"/>
                  <a:pt x="39687" y="239316"/>
                  <a:pt x="39687" y="239316"/>
                </a:cubicBezTo>
                <a:cubicBezTo>
                  <a:pt x="39687" y="239316"/>
                  <a:pt x="35454" y="241300"/>
                  <a:pt x="35454" y="239316"/>
                </a:cubicBezTo>
                <a:cubicBezTo>
                  <a:pt x="33337" y="237332"/>
                  <a:pt x="33337" y="235347"/>
                  <a:pt x="35454" y="235347"/>
                </a:cubicBezTo>
                <a:close/>
                <a:moveTo>
                  <a:pt x="41275" y="223838"/>
                </a:moveTo>
                <a:cubicBezTo>
                  <a:pt x="43260" y="223838"/>
                  <a:pt x="43260" y="225879"/>
                  <a:pt x="43260" y="225879"/>
                </a:cubicBezTo>
                <a:cubicBezTo>
                  <a:pt x="43260" y="227920"/>
                  <a:pt x="43260" y="227920"/>
                  <a:pt x="43260" y="229961"/>
                </a:cubicBezTo>
                <a:cubicBezTo>
                  <a:pt x="45244" y="229961"/>
                  <a:pt x="49213" y="232002"/>
                  <a:pt x="49213" y="232002"/>
                </a:cubicBezTo>
                <a:cubicBezTo>
                  <a:pt x="47229" y="238125"/>
                  <a:pt x="41275" y="234043"/>
                  <a:pt x="41275" y="232002"/>
                </a:cubicBezTo>
                <a:cubicBezTo>
                  <a:pt x="41275" y="229961"/>
                  <a:pt x="41275" y="229961"/>
                  <a:pt x="41275" y="227920"/>
                </a:cubicBezTo>
                <a:cubicBezTo>
                  <a:pt x="41275" y="225879"/>
                  <a:pt x="41275" y="223838"/>
                  <a:pt x="41275" y="223838"/>
                </a:cubicBezTo>
                <a:close/>
                <a:moveTo>
                  <a:pt x="41275" y="198834"/>
                </a:moveTo>
                <a:cubicBezTo>
                  <a:pt x="43392" y="198834"/>
                  <a:pt x="45509" y="196850"/>
                  <a:pt x="45509" y="198834"/>
                </a:cubicBezTo>
                <a:cubicBezTo>
                  <a:pt x="45509" y="198834"/>
                  <a:pt x="47625" y="200819"/>
                  <a:pt x="47625" y="200819"/>
                </a:cubicBezTo>
                <a:cubicBezTo>
                  <a:pt x="47625" y="202803"/>
                  <a:pt x="45509" y="202803"/>
                  <a:pt x="45509" y="202803"/>
                </a:cubicBezTo>
                <a:cubicBezTo>
                  <a:pt x="45509" y="202803"/>
                  <a:pt x="43392" y="204787"/>
                  <a:pt x="43392" y="202803"/>
                </a:cubicBezTo>
                <a:cubicBezTo>
                  <a:pt x="43392" y="202803"/>
                  <a:pt x="43392" y="200819"/>
                  <a:pt x="43392" y="200819"/>
                </a:cubicBezTo>
                <a:cubicBezTo>
                  <a:pt x="41275" y="200819"/>
                  <a:pt x="41275" y="198834"/>
                  <a:pt x="41275" y="198834"/>
                </a:cubicBezTo>
                <a:close/>
                <a:moveTo>
                  <a:pt x="65768" y="198438"/>
                </a:moveTo>
                <a:cubicBezTo>
                  <a:pt x="65768" y="198438"/>
                  <a:pt x="67809" y="198438"/>
                  <a:pt x="67809" y="200423"/>
                </a:cubicBezTo>
                <a:cubicBezTo>
                  <a:pt x="69850" y="200423"/>
                  <a:pt x="69850" y="202407"/>
                  <a:pt x="69850" y="204391"/>
                </a:cubicBezTo>
                <a:cubicBezTo>
                  <a:pt x="67809" y="204391"/>
                  <a:pt x="65768" y="208360"/>
                  <a:pt x="65768" y="208360"/>
                </a:cubicBezTo>
                <a:cubicBezTo>
                  <a:pt x="65768" y="210344"/>
                  <a:pt x="65768" y="212329"/>
                  <a:pt x="63727" y="214313"/>
                </a:cubicBezTo>
                <a:cubicBezTo>
                  <a:pt x="63727" y="214313"/>
                  <a:pt x="63727" y="214313"/>
                  <a:pt x="61686" y="214313"/>
                </a:cubicBezTo>
                <a:cubicBezTo>
                  <a:pt x="61686" y="214313"/>
                  <a:pt x="59645" y="214313"/>
                  <a:pt x="59645" y="212329"/>
                </a:cubicBezTo>
                <a:cubicBezTo>
                  <a:pt x="57603" y="212329"/>
                  <a:pt x="57603" y="210344"/>
                  <a:pt x="57603" y="210344"/>
                </a:cubicBezTo>
                <a:cubicBezTo>
                  <a:pt x="55562" y="208360"/>
                  <a:pt x="57603" y="206376"/>
                  <a:pt x="57603" y="206376"/>
                </a:cubicBezTo>
                <a:cubicBezTo>
                  <a:pt x="57603" y="206376"/>
                  <a:pt x="57603" y="204391"/>
                  <a:pt x="59645" y="204391"/>
                </a:cubicBezTo>
                <a:cubicBezTo>
                  <a:pt x="59645" y="204391"/>
                  <a:pt x="61686" y="202407"/>
                  <a:pt x="61686" y="202407"/>
                </a:cubicBezTo>
                <a:cubicBezTo>
                  <a:pt x="63727" y="200423"/>
                  <a:pt x="63727" y="198438"/>
                  <a:pt x="65768" y="198438"/>
                </a:cubicBezTo>
                <a:close/>
                <a:moveTo>
                  <a:pt x="7144" y="198437"/>
                </a:moveTo>
                <a:cubicBezTo>
                  <a:pt x="7144" y="196850"/>
                  <a:pt x="9525" y="198437"/>
                  <a:pt x="9525" y="198437"/>
                </a:cubicBezTo>
                <a:cubicBezTo>
                  <a:pt x="9525" y="200025"/>
                  <a:pt x="9525" y="201612"/>
                  <a:pt x="9525" y="201612"/>
                </a:cubicBezTo>
                <a:cubicBezTo>
                  <a:pt x="9525" y="201612"/>
                  <a:pt x="7144" y="201612"/>
                  <a:pt x="7144" y="201612"/>
                </a:cubicBezTo>
                <a:cubicBezTo>
                  <a:pt x="4762" y="200025"/>
                  <a:pt x="4762" y="198437"/>
                  <a:pt x="7144" y="198437"/>
                </a:cubicBezTo>
                <a:close/>
                <a:moveTo>
                  <a:pt x="19579" y="192484"/>
                </a:moveTo>
                <a:cubicBezTo>
                  <a:pt x="21696" y="190500"/>
                  <a:pt x="23812" y="192484"/>
                  <a:pt x="23812" y="192484"/>
                </a:cubicBezTo>
                <a:cubicBezTo>
                  <a:pt x="23812" y="194469"/>
                  <a:pt x="17462" y="198437"/>
                  <a:pt x="17462" y="194469"/>
                </a:cubicBezTo>
                <a:cubicBezTo>
                  <a:pt x="17462" y="192484"/>
                  <a:pt x="19579" y="192484"/>
                  <a:pt x="19579" y="192484"/>
                </a:cubicBezTo>
                <a:close/>
                <a:moveTo>
                  <a:pt x="41956" y="184150"/>
                </a:moveTo>
                <a:cubicBezTo>
                  <a:pt x="43997" y="184150"/>
                  <a:pt x="46038" y="184150"/>
                  <a:pt x="46038" y="184150"/>
                </a:cubicBezTo>
                <a:cubicBezTo>
                  <a:pt x="46038" y="186055"/>
                  <a:pt x="46038" y="187960"/>
                  <a:pt x="43997" y="189865"/>
                </a:cubicBezTo>
                <a:cubicBezTo>
                  <a:pt x="43997" y="189865"/>
                  <a:pt x="41956" y="189865"/>
                  <a:pt x="41956" y="189865"/>
                </a:cubicBezTo>
                <a:cubicBezTo>
                  <a:pt x="39915" y="189865"/>
                  <a:pt x="39915" y="191770"/>
                  <a:pt x="37874" y="193675"/>
                </a:cubicBezTo>
                <a:cubicBezTo>
                  <a:pt x="37874" y="193675"/>
                  <a:pt x="35833" y="193675"/>
                  <a:pt x="33791" y="193675"/>
                </a:cubicBezTo>
                <a:cubicBezTo>
                  <a:pt x="33791" y="193675"/>
                  <a:pt x="31750" y="193675"/>
                  <a:pt x="31750" y="191770"/>
                </a:cubicBezTo>
                <a:cubicBezTo>
                  <a:pt x="31750" y="191770"/>
                  <a:pt x="31750" y="189865"/>
                  <a:pt x="33791" y="189865"/>
                </a:cubicBezTo>
                <a:cubicBezTo>
                  <a:pt x="35833" y="187960"/>
                  <a:pt x="37874" y="186055"/>
                  <a:pt x="39915" y="186055"/>
                </a:cubicBezTo>
                <a:cubicBezTo>
                  <a:pt x="39915" y="186055"/>
                  <a:pt x="41956" y="184150"/>
                  <a:pt x="41956" y="184150"/>
                </a:cubicBezTo>
                <a:close/>
                <a:moveTo>
                  <a:pt x="7144" y="182563"/>
                </a:moveTo>
                <a:cubicBezTo>
                  <a:pt x="9129" y="182563"/>
                  <a:pt x="11113" y="182563"/>
                  <a:pt x="11113" y="184547"/>
                </a:cubicBezTo>
                <a:cubicBezTo>
                  <a:pt x="11113" y="184547"/>
                  <a:pt x="9129" y="186532"/>
                  <a:pt x="9129" y="186532"/>
                </a:cubicBezTo>
                <a:cubicBezTo>
                  <a:pt x="9129" y="186532"/>
                  <a:pt x="9129" y="188516"/>
                  <a:pt x="9129" y="188516"/>
                </a:cubicBezTo>
                <a:cubicBezTo>
                  <a:pt x="9129" y="188516"/>
                  <a:pt x="7144" y="190500"/>
                  <a:pt x="5160" y="188516"/>
                </a:cubicBezTo>
                <a:cubicBezTo>
                  <a:pt x="5160" y="188516"/>
                  <a:pt x="3175" y="186532"/>
                  <a:pt x="3175" y="184547"/>
                </a:cubicBezTo>
                <a:cubicBezTo>
                  <a:pt x="5160" y="184547"/>
                  <a:pt x="5160" y="182563"/>
                  <a:pt x="7144" y="182563"/>
                </a:cubicBezTo>
                <a:close/>
                <a:moveTo>
                  <a:pt x="33338" y="179388"/>
                </a:moveTo>
                <a:cubicBezTo>
                  <a:pt x="33338" y="179388"/>
                  <a:pt x="34925" y="179388"/>
                  <a:pt x="34925" y="179388"/>
                </a:cubicBezTo>
                <a:cubicBezTo>
                  <a:pt x="34925" y="181769"/>
                  <a:pt x="34925" y="181769"/>
                  <a:pt x="34925" y="181769"/>
                </a:cubicBezTo>
                <a:cubicBezTo>
                  <a:pt x="34925" y="184150"/>
                  <a:pt x="33338" y="184150"/>
                  <a:pt x="31750" y="181769"/>
                </a:cubicBezTo>
                <a:cubicBezTo>
                  <a:pt x="31750" y="181769"/>
                  <a:pt x="31750" y="179388"/>
                  <a:pt x="33338" y="179388"/>
                </a:cubicBezTo>
                <a:close/>
                <a:moveTo>
                  <a:pt x="11112" y="178197"/>
                </a:moveTo>
                <a:cubicBezTo>
                  <a:pt x="13097" y="178197"/>
                  <a:pt x="15081" y="178197"/>
                  <a:pt x="15081" y="178197"/>
                </a:cubicBezTo>
                <a:cubicBezTo>
                  <a:pt x="17066" y="178197"/>
                  <a:pt x="19050" y="176213"/>
                  <a:pt x="19050" y="178197"/>
                </a:cubicBezTo>
                <a:cubicBezTo>
                  <a:pt x="19050" y="180182"/>
                  <a:pt x="19050" y="180182"/>
                  <a:pt x="17066" y="182166"/>
                </a:cubicBezTo>
                <a:cubicBezTo>
                  <a:pt x="17066" y="182166"/>
                  <a:pt x="15081" y="184150"/>
                  <a:pt x="15081" y="184150"/>
                </a:cubicBezTo>
                <a:cubicBezTo>
                  <a:pt x="15081" y="184150"/>
                  <a:pt x="13097" y="184150"/>
                  <a:pt x="13097" y="184150"/>
                </a:cubicBezTo>
                <a:cubicBezTo>
                  <a:pt x="13097" y="182166"/>
                  <a:pt x="11112" y="180182"/>
                  <a:pt x="11112" y="180182"/>
                </a:cubicBezTo>
                <a:cubicBezTo>
                  <a:pt x="11112" y="180182"/>
                  <a:pt x="11112" y="178197"/>
                  <a:pt x="11112" y="178197"/>
                </a:cubicBezTo>
                <a:close/>
                <a:moveTo>
                  <a:pt x="26987" y="173567"/>
                </a:moveTo>
                <a:cubicBezTo>
                  <a:pt x="26987" y="171450"/>
                  <a:pt x="29369" y="171450"/>
                  <a:pt x="29369" y="173567"/>
                </a:cubicBezTo>
                <a:cubicBezTo>
                  <a:pt x="29369" y="173567"/>
                  <a:pt x="31750" y="177800"/>
                  <a:pt x="29369" y="177800"/>
                </a:cubicBezTo>
                <a:cubicBezTo>
                  <a:pt x="29369" y="177800"/>
                  <a:pt x="26987" y="177800"/>
                  <a:pt x="26987" y="175683"/>
                </a:cubicBezTo>
                <a:cubicBezTo>
                  <a:pt x="26987" y="175683"/>
                  <a:pt x="26987" y="175683"/>
                  <a:pt x="26987" y="173567"/>
                </a:cubicBezTo>
                <a:close/>
                <a:moveTo>
                  <a:pt x="13891" y="152400"/>
                </a:moveTo>
                <a:cubicBezTo>
                  <a:pt x="15875" y="154517"/>
                  <a:pt x="15875" y="154517"/>
                  <a:pt x="15875" y="154517"/>
                </a:cubicBezTo>
                <a:cubicBezTo>
                  <a:pt x="15875" y="156633"/>
                  <a:pt x="15875" y="158750"/>
                  <a:pt x="15875" y="158750"/>
                </a:cubicBezTo>
                <a:lnTo>
                  <a:pt x="11906" y="158750"/>
                </a:lnTo>
                <a:cubicBezTo>
                  <a:pt x="7937" y="158750"/>
                  <a:pt x="7937" y="158750"/>
                  <a:pt x="7937" y="158750"/>
                </a:cubicBezTo>
                <a:cubicBezTo>
                  <a:pt x="7937" y="158750"/>
                  <a:pt x="7937" y="156633"/>
                  <a:pt x="7937" y="154517"/>
                </a:cubicBezTo>
                <a:cubicBezTo>
                  <a:pt x="9922" y="154517"/>
                  <a:pt x="9922" y="152400"/>
                  <a:pt x="13891" y="152400"/>
                </a:cubicBezTo>
                <a:close/>
                <a:moveTo>
                  <a:pt x="24871" y="149622"/>
                </a:moveTo>
                <a:cubicBezTo>
                  <a:pt x="26987" y="149622"/>
                  <a:pt x="26987" y="149622"/>
                  <a:pt x="29104" y="149622"/>
                </a:cubicBezTo>
                <a:cubicBezTo>
                  <a:pt x="31221" y="149622"/>
                  <a:pt x="33337" y="151607"/>
                  <a:pt x="31221" y="153591"/>
                </a:cubicBezTo>
                <a:cubicBezTo>
                  <a:pt x="29104" y="153591"/>
                  <a:pt x="29104" y="153591"/>
                  <a:pt x="29104" y="153591"/>
                </a:cubicBezTo>
                <a:cubicBezTo>
                  <a:pt x="29104" y="153591"/>
                  <a:pt x="26987" y="155575"/>
                  <a:pt x="24871" y="153591"/>
                </a:cubicBezTo>
                <a:cubicBezTo>
                  <a:pt x="22754" y="153591"/>
                  <a:pt x="20637" y="153591"/>
                  <a:pt x="20637" y="151607"/>
                </a:cubicBezTo>
                <a:cubicBezTo>
                  <a:pt x="20637" y="149622"/>
                  <a:pt x="22754" y="147638"/>
                  <a:pt x="24871" y="149622"/>
                </a:cubicBezTo>
                <a:close/>
                <a:moveTo>
                  <a:pt x="3572" y="122635"/>
                </a:moveTo>
                <a:cubicBezTo>
                  <a:pt x="5556" y="120650"/>
                  <a:pt x="9525" y="122635"/>
                  <a:pt x="9525" y="124619"/>
                </a:cubicBezTo>
                <a:cubicBezTo>
                  <a:pt x="9525" y="126603"/>
                  <a:pt x="9525" y="130572"/>
                  <a:pt x="7541" y="132556"/>
                </a:cubicBezTo>
                <a:cubicBezTo>
                  <a:pt x="7541" y="134541"/>
                  <a:pt x="5556" y="136525"/>
                  <a:pt x="5556" y="136525"/>
                </a:cubicBezTo>
                <a:cubicBezTo>
                  <a:pt x="5556" y="136525"/>
                  <a:pt x="3572" y="136525"/>
                  <a:pt x="3572" y="134541"/>
                </a:cubicBezTo>
                <a:cubicBezTo>
                  <a:pt x="3572" y="134541"/>
                  <a:pt x="5556" y="130572"/>
                  <a:pt x="3572" y="130572"/>
                </a:cubicBezTo>
                <a:cubicBezTo>
                  <a:pt x="3572" y="128588"/>
                  <a:pt x="3572" y="126603"/>
                  <a:pt x="3572" y="124619"/>
                </a:cubicBezTo>
                <a:cubicBezTo>
                  <a:pt x="3572" y="122635"/>
                  <a:pt x="1587" y="122635"/>
                  <a:pt x="3572" y="122635"/>
                </a:cubicBezTo>
                <a:close/>
                <a:moveTo>
                  <a:pt x="11430" y="95704"/>
                </a:moveTo>
                <a:cubicBezTo>
                  <a:pt x="13494" y="93663"/>
                  <a:pt x="15558" y="93663"/>
                  <a:pt x="17622" y="95704"/>
                </a:cubicBezTo>
                <a:cubicBezTo>
                  <a:pt x="17622" y="97745"/>
                  <a:pt x="17622" y="97745"/>
                  <a:pt x="19686" y="99786"/>
                </a:cubicBezTo>
                <a:cubicBezTo>
                  <a:pt x="21749" y="99786"/>
                  <a:pt x="23813" y="101827"/>
                  <a:pt x="23813" y="103868"/>
                </a:cubicBezTo>
                <a:cubicBezTo>
                  <a:pt x="23813" y="103868"/>
                  <a:pt x="19686" y="105909"/>
                  <a:pt x="17622" y="107950"/>
                </a:cubicBezTo>
                <a:cubicBezTo>
                  <a:pt x="15558" y="107950"/>
                  <a:pt x="15558" y="107950"/>
                  <a:pt x="13494" y="105909"/>
                </a:cubicBezTo>
                <a:cubicBezTo>
                  <a:pt x="13494" y="103868"/>
                  <a:pt x="13494" y="103868"/>
                  <a:pt x="13494" y="101827"/>
                </a:cubicBezTo>
                <a:cubicBezTo>
                  <a:pt x="13494" y="101827"/>
                  <a:pt x="11430" y="101827"/>
                  <a:pt x="11430" y="101827"/>
                </a:cubicBezTo>
                <a:cubicBezTo>
                  <a:pt x="11430" y="101827"/>
                  <a:pt x="7303" y="103868"/>
                  <a:pt x="5239" y="101827"/>
                </a:cubicBezTo>
                <a:cubicBezTo>
                  <a:pt x="3175" y="101827"/>
                  <a:pt x="3175" y="99786"/>
                  <a:pt x="3175" y="99786"/>
                </a:cubicBezTo>
                <a:cubicBezTo>
                  <a:pt x="5239" y="97745"/>
                  <a:pt x="9367" y="95704"/>
                  <a:pt x="11430" y="95704"/>
                </a:cubicBezTo>
                <a:close/>
                <a:moveTo>
                  <a:pt x="227182" y="0"/>
                </a:moveTo>
                <a:cubicBezTo>
                  <a:pt x="229175" y="0"/>
                  <a:pt x="231168" y="0"/>
                  <a:pt x="233160" y="0"/>
                </a:cubicBezTo>
                <a:cubicBezTo>
                  <a:pt x="235153" y="2000"/>
                  <a:pt x="233160" y="2000"/>
                  <a:pt x="237146" y="3999"/>
                </a:cubicBezTo>
                <a:cubicBezTo>
                  <a:pt x="239139" y="5999"/>
                  <a:pt x="243124" y="5999"/>
                  <a:pt x="241132" y="5999"/>
                </a:cubicBezTo>
                <a:cubicBezTo>
                  <a:pt x="239139" y="7999"/>
                  <a:pt x="239139" y="7999"/>
                  <a:pt x="239139" y="9998"/>
                </a:cubicBezTo>
                <a:cubicBezTo>
                  <a:pt x="239139" y="11998"/>
                  <a:pt x="241132" y="13998"/>
                  <a:pt x="243124" y="13998"/>
                </a:cubicBezTo>
                <a:cubicBezTo>
                  <a:pt x="243124" y="13998"/>
                  <a:pt x="249103" y="13998"/>
                  <a:pt x="251096" y="13998"/>
                </a:cubicBezTo>
                <a:cubicBezTo>
                  <a:pt x="251096" y="13998"/>
                  <a:pt x="257074" y="15997"/>
                  <a:pt x="259067" y="15997"/>
                </a:cubicBezTo>
                <a:cubicBezTo>
                  <a:pt x="259067" y="17997"/>
                  <a:pt x="259067" y="19996"/>
                  <a:pt x="261060" y="21996"/>
                </a:cubicBezTo>
                <a:cubicBezTo>
                  <a:pt x="261060" y="23996"/>
                  <a:pt x="261060" y="27995"/>
                  <a:pt x="263053" y="27995"/>
                </a:cubicBezTo>
                <a:cubicBezTo>
                  <a:pt x="265045" y="29995"/>
                  <a:pt x="267038" y="31994"/>
                  <a:pt x="269031" y="31994"/>
                </a:cubicBezTo>
                <a:cubicBezTo>
                  <a:pt x="271024" y="31994"/>
                  <a:pt x="273017" y="29995"/>
                  <a:pt x="277002" y="29995"/>
                </a:cubicBezTo>
                <a:cubicBezTo>
                  <a:pt x="278995" y="29995"/>
                  <a:pt x="286966" y="33994"/>
                  <a:pt x="288959" y="33994"/>
                </a:cubicBezTo>
                <a:cubicBezTo>
                  <a:pt x="290952" y="35994"/>
                  <a:pt x="292945" y="37993"/>
                  <a:pt x="294938" y="33994"/>
                </a:cubicBezTo>
                <a:cubicBezTo>
                  <a:pt x="294938" y="31994"/>
                  <a:pt x="292945" y="29995"/>
                  <a:pt x="296931" y="31994"/>
                </a:cubicBezTo>
                <a:cubicBezTo>
                  <a:pt x="298923" y="31994"/>
                  <a:pt x="300916" y="33994"/>
                  <a:pt x="300916" y="33994"/>
                </a:cubicBezTo>
                <a:cubicBezTo>
                  <a:pt x="300916" y="33994"/>
                  <a:pt x="302909" y="35994"/>
                  <a:pt x="306895" y="37993"/>
                </a:cubicBezTo>
                <a:cubicBezTo>
                  <a:pt x="306895" y="39993"/>
                  <a:pt x="306895" y="37993"/>
                  <a:pt x="310880" y="39993"/>
                </a:cubicBezTo>
                <a:cubicBezTo>
                  <a:pt x="314866" y="43992"/>
                  <a:pt x="320844" y="41992"/>
                  <a:pt x="320844" y="41992"/>
                </a:cubicBezTo>
                <a:cubicBezTo>
                  <a:pt x="322837" y="41992"/>
                  <a:pt x="328816" y="39993"/>
                  <a:pt x="330809" y="37993"/>
                </a:cubicBezTo>
                <a:cubicBezTo>
                  <a:pt x="332801" y="37993"/>
                  <a:pt x="340773" y="35994"/>
                  <a:pt x="340773" y="33994"/>
                </a:cubicBezTo>
                <a:cubicBezTo>
                  <a:pt x="342765" y="33994"/>
                  <a:pt x="346751" y="33994"/>
                  <a:pt x="348744" y="33994"/>
                </a:cubicBezTo>
                <a:cubicBezTo>
                  <a:pt x="348744" y="35994"/>
                  <a:pt x="356715" y="39993"/>
                  <a:pt x="358708" y="39993"/>
                </a:cubicBezTo>
                <a:cubicBezTo>
                  <a:pt x="362694" y="39993"/>
                  <a:pt x="368672" y="35994"/>
                  <a:pt x="370665" y="35994"/>
                </a:cubicBezTo>
                <a:cubicBezTo>
                  <a:pt x="372658" y="35994"/>
                  <a:pt x="378636" y="33994"/>
                  <a:pt x="380629" y="33994"/>
                </a:cubicBezTo>
                <a:cubicBezTo>
                  <a:pt x="382622" y="33994"/>
                  <a:pt x="388600" y="31994"/>
                  <a:pt x="390593" y="31994"/>
                </a:cubicBezTo>
                <a:cubicBezTo>
                  <a:pt x="394579" y="29995"/>
                  <a:pt x="398564" y="29995"/>
                  <a:pt x="400557" y="27995"/>
                </a:cubicBezTo>
                <a:cubicBezTo>
                  <a:pt x="400557" y="27995"/>
                  <a:pt x="402550" y="27995"/>
                  <a:pt x="406536" y="27995"/>
                </a:cubicBezTo>
                <a:cubicBezTo>
                  <a:pt x="410521" y="27995"/>
                  <a:pt x="416500" y="27995"/>
                  <a:pt x="420486" y="27995"/>
                </a:cubicBezTo>
                <a:cubicBezTo>
                  <a:pt x="422478" y="27995"/>
                  <a:pt x="428457" y="31994"/>
                  <a:pt x="430450" y="31994"/>
                </a:cubicBezTo>
                <a:cubicBezTo>
                  <a:pt x="434435" y="31994"/>
                  <a:pt x="436428" y="33994"/>
                  <a:pt x="436428" y="33994"/>
                </a:cubicBezTo>
                <a:cubicBezTo>
                  <a:pt x="436428" y="33994"/>
                  <a:pt x="434435" y="39993"/>
                  <a:pt x="434435" y="43992"/>
                </a:cubicBezTo>
                <a:cubicBezTo>
                  <a:pt x="434435" y="47991"/>
                  <a:pt x="434435" y="53990"/>
                  <a:pt x="436428" y="55990"/>
                </a:cubicBezTo>
                <a:cubicBezTo>
                  <a:pt x="436428" y="55990"/>
                  <a:pt x="438421" y="57990"/>
                  <a:pt x="438421" y="57990"/>
                </a:cubicBezTo>
                <a:cubicBezTo>
                  <a:pt x="438421" y="59989"/>
                  <a:pt x="434435" y="61989"/>
                  <a:pt x="436428" y="63988"/>
                </a:cubicBezTo>
                <a:cubicBezTo>
                  <a:pt x="438421" y="65988"/>
                  <a:pt x="442407" y="69987"/>
                  <a:pt x="446392" y="69987"/>
                </a:cubicBezTo>
                <a:cubicBezTo>
                  <a:pt x="448385" y="71987"/>
                  <a:pt x="462335" y="77986"/>
                  <a:pt x="462335" y="77986"/>
                </a:cubicBezTo>
                <a:cubicBezTo>
                  <a:pt x="468313" y="83985"/>
                  <a:pt x="468313" y="83985"/>
                  <a:pt x="468313" y="83985"/>
                </a:cubicBezTo>
                <a:cubicBezTo>
                  <a:pt x="468313" y="83985"/>
                  <a:pt x="468313" y="89984"/>
                  <a:pt x="468313" y="89984"/>
                </a:cubicBezTo>
                <a:cubicBezTo>
                  <a:pt x="466320" y="91983"/>
                  <a:pt x="462335" y="93983"/>
                  <a:pt x="462335" y="95983"/>
                </a:cubicBezTo>
                <a:cubicBezTo>
                  <a:pt x="462335" y="97982"/>
                  <a:pt x="464328" y="123977"/>
                  <a:pt x="464328" y="123977"/>
                </a:cubicBezTo>
                <a:cubicBezTo>
                  <a:pt x="464328" y="123977"/>
                  <a:pt x="464328" y="141974"/>
                  <a:pt x="464328" y="143974"/>
                </a:cubicBezTo>
                <a:cubicBezTo>
                  <a:pt x="466320" y="145973"/>
                  <a:pt x="466320" y="151972"/>
                  <a:pt x="466320" y="153972"/>
                </a:cubicBezTo>
                <a:cubicBezTo>
                  <a:pt x="464328" y="155972"/>
                  <a:pt x="458349" y="163970"/>
                  <a:pt x="458349" y="165970"/>
                </a:cubicBezTo>
                <a:cubicBezTo>
                  <a:pt x="456356" y="167969"/>
                  <a:pt x="450378" y="167969"/>
                  <a:pt x="450378" y="167969"/>
                </a:cubicBezTo>
                <a:cubicBezTo>
                  <a:pt x="450378" y="167969"/>
                  <a:pt x="442407" y="165970"/>
                  <a:pt x="440414" y="165970"/>
                </a:cubicBezTo>
                <a:cubicBezTo>
                  <a:pt x="438421" y="165970"/>
                  <a:pt x="430450" y="163970"/>
                  <a:pt x="430450" y="163970"/>
                </a:cubicBezTo>
                <a:cubicBezTo>
                  <a:pt x="430450" y="163970"/>
                  <a:pt x="426464" y="161971"/>
                  <a:pt x="424471" y="161971"/>
                </a:cubicBezTo>
                <a:cubicBezTo>
                  <a:pt x="424471" y="159971"/>
                  <a:pt x="418493" y="159971"/>
                  <a:pt x="418493" y="159971"/>
                </a:cubicBezTo>
                <a:cubicBezTo>
                  <a:pt x="416500" y="157971"/>
                  <a:pt x="412514" y="157971"/>
                  <a:pt x="412514" y="157971"/>
                </a:cubicBezTo>
                <a:cubicBezTo>
                  <a:pt x="412514" y="157971"/>
                  <a:pt x="406536" y="165970"/>
                  <a:pt x="404543" y="167969"/>
                </a:cubicBezTo>
                <a:cubicBezTo>
                  <a:pt x="402550" y="167969"/>
                  <a:pt x="394579" y="173968"/>
                  <a:pt x="392586" y="173968"/>
                </a:cubicBezTo>
                <a:cubicBezTo>
                  <a:pt x="392586" y="173968"/>
                  <a:pt x="382622" y="175968"/>
                  <a:pt x="380629" y="175968"/>
                </a:cubicBezTo>
                <a:cubicBezTo>
                  <a:pt x="378636" y="175968"/>
                  <a:pt x="366679" y="183967"/>
                  <a:pt x="366679" y="183967"/>
                </a:cubicBezTo>
                <a:cubicBezTo>
                  <a:pt x="366679" y="183967"/>
                  <a:pt x="352730" y="187966"/>
                  <a:pt x="350737" y="189965"/>
                </a:cubicBezTo>
                <a:cubicBezTo>
                  <a:pt x="348744" y="189965"/>
                  <a:pt x="340773" y="189965"/>
                  <a:pt x="336787" y="189965"/>
                </a:cubicBezTo>
                <a:cubicBezTo>
                  <a:pt x="334794" y="191965"/>
                  <a:pt x="328816" y="191965"/>
                  <a:pt x="326823" y="191965"/>
                </a:cubicBezTo>
                <a:cubicBezTo>
                  <a:pt x="324830" y="191965"/>
                  <a:pt x="316859" y="191965"/>
                  <a:pt x="316859" y="191965"/>
                </a:cubicBezTo>
                <a:cubicBezTo>
                  <a:pt x="314866" y="191965"/>
                  <a:pt x="306895" y="191965"/>
                  <a:pt x="306895" y="191965"/>
                </a:cubicBezTo>
                <a:cubicBezTo>
                  <a:pt x="294938" y="199964"/>
                  <a:pt x="294938" y="199964"/>
                  <a:pt x="294938" y="199964"/>
                </a:cubicBezTo>
                <a:cubicBezTo>
                  <a:pt x="294938" y="199964"/>
                  <a:pt x="290952" y="201963"/>
                  <a:pt x="286966" y="201963"/>
                </a:cubicBezTo>
                <a:cubicBezTo>
                  <a:pt x="284974" y="201963"/>
                  <a:pt x="278995" y="199964"/>
                  <a:pt x="277002" y="201963"/>
                </a:cubicBezTo>
                <a:cubicBezTo>
                  <a:pt x="275010" y="201963"/>
                  <a:pt x="271024" y="203963"/>
                  <a:pt x="269031" y="205962"/>
                </a:cubicBezTo>
                <a:cubicBezTo>
                  <a:pt x="267038" y="205962"/>
                  <a:pt x="265045" y="205962"/>
                  <a:pt x="265045" y="205962"/>
                </a:cubicBezTo>
                <a:cubicBezTo>
                  <a:pt x="263053" y="199964"/>
                  <a:pt x="265045" y="197964"/>
                  <a:pt x="267038" y="195964"/>
                </a:cubicBezTo>
                <a:cubicBezTo>
                  <a:pt x="269031" y="193965"/>
                  <a:pt x="271024" y="191965"/>
                  <a:pt x="271024" y="189965"/>
                </a:cubicBezTo>
                <a:cubicBezTo>
                  <a:pt x="271024" y="185966"/>
                  <a:pt x="265045" y="183967"/>
                  <a:pt x="261060" y="185966"/>
                </a:cubicBezTo>
                <a:cubicBezTo>
                  <a:pt x="257074" y="187966"/>
                  <a:pt x="261060" y="193965"/>
                  <a:pt x="257074" y="195964"/>
                </a:cubicBezTo>
                <a:cubicBezTo>
                  <a:pt x="255081" y="197964"/>
                  <a:pt x="249103" y="195964"/>
                  <a:pt x="249103" y="195964"/>
                </a:cubicBezTo>
                <a:cubicBezTo>
                  <a:pt x="249103" y="195964"/>
                  <a:pt x="243124" y="193965"/>
                  <a:pt x="239139" y="191965"/>
                </a:cubicBezTo>
                <a:cubicBezTo>
                  <a:pt x="235153" y="191965"/>
                  <a:pt x="231168" y="193965"/>
                  <a:pt x="227182" y="195964"/>
                </a:cubicBezTo>
                <a:cubicBezTo>
                  <a:pt x="225189" y="195964"/>
                  <a:pt x="221203" y="201963"/>
                  <a:pt x="219211" y="203963"/>
                </a:cubicBezTo>
                <a:cubicBezTo>
                  <a:pt x="219211" y="205962"/>
                  <a:pt x="211239" y="207962"/>
                  <a:pt x="201275" y="207962"/>
                </a:cubicBezTo>
                <a:cubicBezTo>
                  <a:pt x="189318" y="207962"/>
                  <a:pt x="185333" y="207962"/>
                  <a:pt x="181347" y="207962"/>
                </a:cubicBezTo>
                <a:cubicBezTo>
                  <a:pt x="177361" y="207962"/>
                  <a:pt x="177361" y="203963"/>
                  <a:pt x="175369" y="199964"/>
                </a:cubicBezTo>
                <a:cubicBezTo>
                  <a:pt x="171383" y="195964"/>
                  <a:pt x="161419" y="189965"/>
                  <a:pt x="161419" y="189965"/>
                </a:cubicBezTo>
                <a:cubicBezTo>
                  <a:pt x="161419" y="189965"/>
                  <a:pt x="153447" y="187966"/>
                  <a:pt x="149462" y="183967"/>
                </a:cubicBezTo>
                <a:cubicBezTo>
                  <a:pt x="145476" y="181967"/>
                  <a:pt x="141491" y="183967"/>
                  <a:pt x="137505" y="183967"/>
                </a:cubicBezTo>
                <a:cubicBezTo>
                  <a:pt x="133519" y="181967"/>
                  <a:pt x="133519" y="183967"/>
                  <a:pt x="133519" y="183967"/>
                </a:cubicBezTo>
                <a:cubicBezTo>
                  <a:pt x="133519" y="183967"/>
                  <a:pt x="127541" y="191965"/>
                  <a:pt x="127541" y="193965"/>
                </a:cubicBezTo>
                <a:cubicBezTo>
                  <a:pt x="125548" y="193965"/>
                  <a:pt x="125548" y="197964"/>
                  <a:pt x="125548" y="201963"/>
                </a:cubicBezTo>
                <a:cubicBezTo>
                  <a:pt x="127541" y="203963"/>
                  <a:pt x="125548" y="203963"/>
                  <a:pt x="123555" y="205962"/>
                </a:cubicBezTo>
                <a:cubicBezTo>
                  <a:pt x="121562" y="205962"/>
                  <a:pt x="121562" y="203963"/>
                  <a:pt x="119570" y="203963"/>
                </a:cubicBezTo>
                <a:cubicBezTo>
                  <a:pt x="117577" y="203963"/>
                  <a:pt x="117577" y="205962"/>
                  <a:pt x="117577" y="205962"/>
                </a:cubicBezTo>
                <a:cubicBezTo>
                  <a:pt x="117577" y="205962"/>
                  <a:pt x="111598" y="207962"/>
                  <a:pt x="107613" y="207962"/>
                </a:cubicBezTo>
                <a:cubicBezTo>
                  <a:pt x="105620" y="205962"/>
                  <a:pt x="101634" y="205962"/>
                  <a:pt x="99641" y="205962"/>
                </a:cubicBezTo>
                <a:cubicBezTo>
                  <a:pt x="95656" y="205962"/>
                  <a:pt x="91670" y="197964"/>
                  <a:pt x="91670" y="195964"/>
                </a:cubicBezTo>
                <a:cubicBezTo>
                  <a:pt x="91670" y="191965"/>
                  <a:pt x="87684" y="191965"/>
                  <a:pt x="87684" y="193965"/>
                </a:cubicBezTo>
                <a:cubicBezTo>
                  <a:pt x="87684" y="193965"/>
                  <a:pt x="85692" y="193965"/>
                  <a:pt x="85692" y="193965"/>
                </a:cubicBezTo>
                <a:cubicBezTo>
                  <a:pt x="83699" y="191965"/>
                  <a:pt x="83699" y="189965"/>
                  <a:pt x="79713" y="189965"/>
                </a:cubicBezTo>
                <a:cubicBezTo>
                  <a:pt x="75727" y="187966"/>
                  <a:pt x="73735" y="187966"/>
                  <a:pt x="69749" y="191965"/>
                </a:cubicBezTo>
                <a:cubicBezTo>
                  <a:pt x="67756" y="193965"/>
                  <a:pt x="65763" y="193965"/>
                  <a:pt x="63771" y="191965"/>
                </a:cubicBezTo>
                <a:cubicBezTo>
                  <a:pt x="61778" y="189965"/>
                  <a:pt x="57792" y="191965"/>
                  <a:pt x="55799" y="189965"/>
                </a:cubicBezTo>
                <a:cubicBezTo>
                  <a:pt x="53806" y="189965"/>
                  <a:pt x="57792" y="187966"/>
                  <a:pt x="59785" y="185966"/>
                </a:cubicBezTo>
                <a:cubicBezTo>
                  <a:pt x="61778" y="185966"/>
                  <a:pt x="61778" y="179967"/>
                  <a:pt x="59785" y="179967"/>
                </a:cubicBezTo>
                <a:cubicBezTo>
                  <a:pt x="59785" y="177968"/>
                  <a:pt x="55799" y="179967"/>
                  <a:pt x="53806" y="179967"/>
                </a:cubicBezTo>
                <a:cubicBezTo>
                  <a:pt x="49821" y="181967"/>
                  <a:pt x="49821" y="179967"/>
                  <a:pt x="45835" y="177968"/>
                </a:cubicBezTo>
                <a:cubicBezTo>
                  <a:pt x="43842" y="175968"/>
                  <a:pt x="45835" y="175968"/>
                  <a:pt x="49821" y="175968"/>
                </a:cubicBezTo>
                <a:cubicBezTo>
                  <a:pt x="55799" y="175968"/>
                  <a:pt x="53806" y="167969"/>
                  <a:pt x="53806" y="165970"/>
                </a:cubicBezTo>
                <a:cubicBezTo>
                  <a:pt x="53806" y="163970"/>
                  <a:pt x="45835" y="165970"/>
                  <a:pt x="43842" y="165970"/>
                </a:cubicBezTo>
                <a:cubicBezTo>
                  <a:pt x="41849" y="167969"/>
                  <a:pt x="39857" y="161971"/>
                  <a:pt x="39857" y="159971"/>
                </a:cubicBezTo>
                <a:cubicBezTo>
                  <a:pt x="37864" y="155972"/>
                  <a:pt x="43842" y="151972"/>
                  <a:pt x="43842" y="149973"/>
                </a:cubicBezTo>
                <a:cubicBezTo>
                  <a:pt x="45835" y="145973"/>
                  <a:pt x="43842" y="143974"/>
                  <a:pt x="41849" y="143974"/>
                </a:cubicBezTo>
                <a:cubicBezTo>
                  <a:pt x="41849" y="143974"/>
                  <a:pt x="37864" y="143974"/>
                  <a:pt x="31885" y="141974"/>
                </a:cubicBezTo>
                <a:cubicBezTo>
                  <a:pt x="27900" y="141974"/>
                  <a:pt x="23914" y="141974"/>
                  <a:pt x="23914" y="141974"/>
                </a:cubicBezTo>
                <a:cubicBezTo>
                  <a:pt x="23914" y="141974"/>
                  <a:pt x="19928" y="139975"/>
                  <a:pt x="17936" y="137975"/>
                </a:cubicBezTo>
                <a:cubicBezTo>
                  <a:pt x="15943" y="137975"/>
                  <a:pt x="15943" y="135975"/>
                  <a:pt x="15943" y="133976"/>
                </a:cubicBezTo>
                <a:cubicBezTo>
                  <a:pt x="15943" y="131976"/>
                  <a:pt x="15943" y="125977"/>
                  <a:pt x="15943" y="123977"/>
                </a:cubicBezTo>
                <a:cubicBezTo>
                  <a:pt x="13950" y="121978"/>
                  <a:pt x="19928" y="127977"/>
                  <a:pt x="21921" y="129976"/>
                </a:cubicBezTo>
                <a:cubicBezTo>
                  <a:pt x="23914" y="133976"/>
                  <a:pt x="23914" y="131976"/>
                  <a:pt x="25907" y="131976"/>
                </a:cubicBezTo>
                <a:cubicBezTo>
                  <a:pt x="25907" y="129976"/>
                  <a:pt x="29893" y="129976"/>
                  <a:pt x="29893" y="129976"/>
                </a:cubicBezTo>
                <a:cubicBezTo>
                  <a:pt x="33878" y="127977"/>
                  <a:pt x="33878" y="127977"/>
                  <a:pt x="33878" y="127977"/>
                </a:cubicBezTo>
                <a:cubicBezTo>
                  <a:pt x="33878" y="127977"/>
                  <a:pt x="29893" y="123977"/>
                  <a:pt x="27900" y="121978"/>
                </a:cubicBezTo>
                <a:cubicBezTo>
                  <a:pt x="27900" y="121978"/>
                  <a:pt x="31885" y="117979"/>
                  <a:pt x="31885" y="117979"/>
                </a:cubicBezTo>
                <a:cubicBezTo>
                  <a:pt x="31885" y="117979"/>
                  <a:pt x="35871" y="117979"/>
                  <a:pt x="35871" y="113979"/>
                </a:cubicBezTo>
                <a:cubicBezTo>
                  <a:pt x="35871" y="111980"/>
                  <a:pt x="33878" y="109980"/>
                  <a:pt x="31885" y="109980"/>
                </a:cubicBezTo>
                <a:cubicBezTo>
                  <a:pt x="29893" y="107980"/>
                  <a:pt x="29893" y="107980"/>
                  <a:pt x="31885" y="105981"/>
                </a:cubicBezTo>
                <a:cubicBezTo>
                  <a:pt x="31885" y="103981"/>
                  <a:pt x="31885" y="99982"/>
                  <a:pt x="29893" y="99982"/>
                </a:cubicBezTo>
                <a:cubicBezTo>
                  <a:pt x="27900" y="97982"/>
                  <a:pt x="27900" y="97982"/>
                  <a:pt x="27900" y="95983"/>
                </a:cubicBezTo>
                <a:cubicBezTo>
                  <a:pt x="27900" y="91983"/>
                  <a:pt x="27900" y="91983"/>
                  <a:pt x="29893" y="89984"/>
                </a:cubicBezTo>
                <a:cubicBezTo>
                  <a:pt x="31885" y="87984"/>
                  <a:pt x="29893" y="87984"/>
                  <a:pt x="27900" y="87984"/>
                </a:cubicBezTo>
                <a:cubicBezTo>
                  <a:pt x="23914" y="85984"/>
                  <a:pt x="15943" y="87984"/>
                  <a:pt x="15943" y="87984"/>
                </a:cubicBezTo>
                <a:cubicBezTo>
                  <a:pt x="15943" y="87984"/>
                  <a:pt x="9964" y="89984"/>
                  <a:pt x="7972" y="87984"/>
                </a:cubicBezTo>
                <a:cubicBezTo>
                  <a:pt x="7972" y="85984"/>
                  <a:pt x="5979" y="79986"/>
                  <a:pt x="7972" y="75986"/>
                </a:cubicBezTo>
                <a:cubicBezTo>
                  <a:pt x="9964" y="73987"/>
                  <a:pt x="11957" y="69987"/>
                  <a:pt x="15943" y="69987"/>
                </a:cubicBezTo>
                <a:cubicBezTo>
                  <a:pt x="17936" y="67988"/>
                  <a:pt x="17936" y="65988"/>
                  <a:pt x="15943" y="65988"/>
                </a:cubicBezTo>
                <a:cubicBezTo>
                  <a:pt x="13950" y="65988"/>
                  <a:pt x="9964" y="63988"/>
                  <a:pt x="11957" y="59989"/>
                </a:cubicBezTo>
                <a:cubicBezTo>
                  <a:pt x="11957" y="57990"/>
                  <a:pt x="19928" y="57990"/>
                  <a:pt x="19928" y="53990"/>
                </a:cubicBezTo>
                <a:cubicBezTo>
                  <a:pt x="21921" y="51991"/>
                  <a:pt x="15943" y="51991"/>
                  <a:pt x="11957" y="51991"/>
                </a:cubicBezTo>
                <a:cubicBezTo>
                  <a:pt x="5979" y="51991"/>
                  <a:pt x="3986" y="47991"/>
                  <a:pt x="3986" y="45992"/>
                </a:cubicBezTo>
                <a:cubicBezTo>
                  <a:pt x="1993" y="45992"/>
                  <a:pt x="1993" y="45992"/>
                  <a:pt x="1993" y="45992"/>
                </a:cubicBezTo>
                <a:cubicBezTo>
                  <a:pt x="1993" y="43992"/>
                  <a:pt x="1993" y="43992"/>
                  <a:pt x="1993" y="43992"/>
                </a:cubicBezTo>
                <a:cubicBezTo>
                  <a:pt x="3986" y="39993"/>
                  <a:pt x="3986" y="29995"/>
                  <a:pt x="3986" y="29995"/>
                </a:cubicBezTo>
                <a:cubicBezTo>
                  <a:pt x="0" y="23996"/>
                  <a:pt x="0" y="23996"/>
                  <a:pt x="0" y="23996"/>
                </a:cubicBezTo>
                <a:cubicBezTo>
                  <a:pt x="0" y="23996"/>
                  <a:pt x="0" y="17997"/>
                  <a:pt x="0" y="17997"/>
                </a:cubicBezTo>
                <a:cubicBezTo>
                  <a:pt x="0" y="15997"/>
                  <a:pt x="9964" y="11998"/>
                  <a:pt x="11957" y="11998"/>
                </a:cubicBezTo>
                <a:cubicBezTo>
                  <a:pt x="13950" y="11998"/>
                  <a:pt x="15943" y="11998"/>
                  <a:pt x="19928" y="11998"/>
                </a:cubicBezTo>
                <a:cubicBezTo>
                  <a:pt x="19928" y="9998"/>
                  <a:pt x="19928" y="7999"/>
                  <a:pt x="21921" y="7999"/>
                </a:cubicBezTo>
                <a:cubicBezTo>
                  <a:pt x="23914" y="7999"/>
                  <a:pt x="27900" y="9998"/>
                  <a:pt x="31885" y="7999"/>
                </a:cubicBezTo>
                <a:cubicBezTo>
                  <a:pt x="33878" y="7999"/>
                  <a:pt x="43842" y="5999"/>
                  <a:pt x="45835" y="5999"/>
                </a:cubicBezTo>
                <a:cubicBezTo>
                  <a:pt x="49821" y="5999"/>
                  <a:pt x="55799" y="3999"/>
                  <a:pt x="55799" y="3999"/>
                </a:cubicBezTo>
                <a:cubicBezTo>
                  <a:pt x="55799" y="3999"/>
                  <a:pt x="57792" y="7999"/>
                  <a:pt x="57792" y="9998"/>
                </a:cubicBezTo>
                <a:cubicBezTo>
                  <a:pt x="57792" y="11998"/>
                  <a:pt x="57792" y="11998"/>
                  <a:pt x="59785" y="13998"/>
                </a:cubicBezTo>
                <a:cubicBezTo>
                  <a:pt x="61778" y="15997"/>
                  <a:pt x="63771" y="15997"/>
                  <a:pt x="63771" y="15997"/>
                </a:cubicBezTo>
                <a:cubicBezTo>
                  <a:pt x="63771" y="15997"/>
                  <a:pt x="65763" y="21996"/>
                  <a:pt x="67756" y="23996"/>
                </a:cubicBezTo>
                <a:cubicBezTo>
                  <a:pt x="67756" y="23996"/>
                  <a:pt x="69749" y="25995"/>
                  <a:pt x="71742" y="25995"/>
                </a:cubicBezTo>
                <a:cubicBezTo>
                  <a:pt x="73735" y="27995"/>
                  <a:pt x="75727" y="29995"/>
                  <a:pt x="75727" y="29995"/>
                </a:cubicBezTo>
                <a:cubicBezTo>
                  <a:pt x="75727" y="29995"/>
                  <a:pt x="79713" y="29995"/>
                  <a:pt x="79713" y="29995"/>
                </a:cubicBezTo>
                <a:cubicBezTo>
                  <a:pt x="81706" y="29995"/>
                  <a:pt x="87684" y="27995"/>
                  <a:pt x="87684" y="27995"/>
                </a:cubicBezTo>
                <a:cubicBezTo>
                  <a:pt x="87684" y="27995"/>
                  <a:pt x="95656" y="31994"/>
                  <a:pt x="97648" y="31994"/>
                </a:cubicBezTo>
                <a:cubicBezTo>
                  <a:pt x="99641" y="31994"/>
                  <a:pt x="105620" y="31994"/>
                  <a:pt x="107613" y="31994"/>
                </a:cubicBezTo>
                <a:cubicBezTo>
                  <a:pt x="109605" y="31994"/>
                  <a:pt x="117577" y="31994"/>
                  <a:pt x="119570" y="31994"/>
                </a:cubicBezTo>
                <a:cubicBezTo>
                  <a:pt x="121562" y="31994"/>
                  <a:pt x="125548" y="33994"/>
                  <a:pt x="125548" y="33994"/>
                </a:cubicBezTo>
                <a:cubicBezTo>
                  <a:pt x="137505" y="31994"/>
                  <a:pt x="137505" y="31994"/>
                  <a:pt x="137505" y="31994"/>
                </a:cubicBezTo>
                <a:cubicBezTo>
                  <a:pt x="149462" y="21996"/>
                  <a:pt x="149462" y="21996"/>
                  <a:pt x="149462" y="21996"/>
                </a:cubicBezTo>
                <a:cubicBezTo>
                  <a:pt x="157433" y="15997"/>
                  <a:pt x="157433" y="15997"/>
                  <a:pt x="157433" y="15997"/>
                </a:cubicBezTo>
                <a:cubicBezTo>
                  <a:pt x="159426" y="11998"/>
                  <a:pt x="159426" y="11998"/>
                  <a:pt x="159426" y="11998"/>
                </a:cubicBezTo>
                <a:cubicBezTo>
                  <a:pt x="159426" y="11998"/>
                  <a:pt x="165404" y="9998"/>
                  <a:pt x="167397" y="9998"/>
                </a:cubicBezTo>
                <a:cubicBezTo>
                  <a:pt x="167397" y="9998"/>
                  <a:pt x="171383" y="7999"/>
                  <a:pt x="173376" y="7999"/>
                </a:cubicBezTo>
                <a:cubicBezTo>
                  <a:pt x="175369" y="5999"/>
                  <a:pt x="175369" y="3999"/>
                  <a:pt x="177361" y="3999"/>
                </a:cubicBezTo>
                <a:cubicBezTo>
                  <a:pt x="181347" y="2000"/>
                  <a:pt x="189318" y="3999"/>
                  <a:pt x="189318" y="3999"/>
                </a:cubicBezTo>
                <a:cubicBezTo>
                  <a:pt x="191311" y="3999"/>
                  <a:pt x="197290" y="2000"/>
                  <a:pt x="199282" y="2000"/>
                </a:cubicBezTo>
                <a:cubicBezTo>
                  <a:pt x="201275" y="2000"/>
                  <a:pt x="205261" y="3999"/>
                  <a:pt x="209246" y="3999"/>
                </a:cubicBezTo>
                <a:cubicBezTo>
                  <a:pt x="211239" y="5999"/>
                  <a:pt x="213232" y="5999"/>
                  <a:pt x="215225" y="5999"/>
                </a:cubicBezTo>
                <a:cubicBezTo>
                  <a:pt x="219211" y="5999"/>
                  <a:pt x="223196" y="5999"/>
                  <a:pt x="225189" y="3999"/>
                </a:cubicBezTo>
                <a:cubicBezTo>
                  <a:pt x="227182" y="2000"/>
                  <a:pt x="227182" y="0"/>
                  <a:pt x="227182"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4" name="Ukraine"/>
          <p:cNvSpPr>
            <a:spLocks/>
          </p:cNvSpPr>
          <p:nvPr/>
        </p:nvSpPr>
        <p:spPr bwMode="auto">
          <a:xfrm>
            <a:off x="6751471" y="2270761"/>
            <a:ext cx="454027" cy="307039"/>
          </a:xfrm>
          <a:custGeom>
            <a:avLst/>
            <a:gdLst>
              <a:gd name="T0" fmla="*/ 86 w 221"/>
              <a:gd name="T1" fmla="*/ 115 h 149"/>
              <a:gd name="T2" fmla="*/ 82 w 221"/>
              <a:gd name="T3" fmla="*/ 89 h 149"/>
              <a:gd name="T4" fmla="*/ 67 w 221"/>
              <a:gd name="T5" fmla="*/ 74 h 149"/>
              <a:gd name="T6" fmla="*/ 54 w 221"/>
              <a:gd name="T7" fmla="*/ 82 h 149"/>
              <a:gd name="T8" fmla="*/ 37 w 221"/>
              <a:gd name="T9" fmla="*/ 91 h 149"/>
              <a:gd name="T10" fmla="*/ 23 w 221"/>
              <a:gd name="T11" fmla="*/ 88 h 149"/>
              <a:gd name="T12" fmla="*/ 5 w 221"/>
              <a:gd name="T13" fmla="*/ 84 h 149"/>
              <a:gd name="T14" fmla="*/ 0 w 221"/>
              <a:gd name="T15" fmla="*/ 77 h 149"/>
              <a:gd name="T16" fmla="*/ 6 w 221"/>
              <a:gd name="T17" fmla="*/ 67 h 149"/>
              <a:gd name="T18" fmla="*/ 10 w 221"/>
              <a:gd name="T19" fmla="*/ 51 h 149"/>
              <a:gd name="T20" fmla="*/ 23 w 221"/>
              <a:gd name="T21" fmla="*/ 34 h 149"/>
              <a:gd name="T22" fmla="*/ 21 w 221"/>
              <a:gd name="T23" fmla="*/ 14 h 149"/>
              <a:gd name="T24" fmla="*/ 29 w 221"/>
              <a:gd name="T25" fmla="*/ 10 h 149"/>
              <a:gd name="T26" fmla="*/ 48 w 221"/>
              <a:gd name="T27" fmla="*/ 11 h 149"/>
              <a:gd name="T28" fmla="*/ 63 w 221"/>
              <a:gd name="T29" fmla="*/ 15 h 149"/>
              <a:gd name="T30" fmla="*/ 84 w 221"/>
              <a:gd name="T31" fmla="*/ 16 h 149"/>
              <a:gd name="T32" fmla="*/ 101 w 221"/>
              <a:gd name="T33" fmla="*/ 21 h 149"/>
              <a:gd name="T34" fmla="*/ 114 w 221"/>
              <a:gd name="T35" fmla="*/ 3 h 149"/>
              <a:gd name="T36" fmla="*/ 128 w 221"/>
              <a:gd name="T37" fmla="*/ 2 h 149"/>
              <a:gd name="T38" fmla="*/ 143 w 221"/>
              <a:gd name="T39" fmla="*/ 0 h 149"/>
              <a:gd name="T40" fmla="*/ 147 w 221"/>
              <a:gd name="T41" fmla="*/ 15 h 149"/>
              <a:gd name="T42" fmla="*/ 157 w 221"/>
              <a:gd name="T43" fmla="*/ 23 h 149"/>
              <a:gd name="T44" fmla="*/ 164 w 221"/>
              <a:gd name="T45" fmla="*/ 36 h 149"/>
              <a:gd name="T46" fmla="*/ 181 w 221"/>
              <a:gd name="T47" fmla="*/ 41 h 149"/>
              <a:gd name="T48" fmla="*/ 197 w 221"/>
              <a:gd name="T49" fmla="*/ 43 h 149"/>
              <a:gd name="T50" fmla="*/ 212 w 221"/>
              <a:gd name="T51" fmla="*/ 50 h 149"/>
              <a:gd name="T52" fmla="*/ 220 w 221"/>
              <a:gd name="T53" fmla="*/ 58 h 149"/>
              <a:gd name="T54" fmla="*/ 220 w 221"/>
              <a:gd name="T55" fmla="*/ 77 h 149"/>
              <a:gd name="T56" fmla="*/ 207 w 221"/>
              <a:gd name="T57" fmla="*/ 88 h 149"/>
              <a:gd name="T58" fmla="*/ 201 w 221"/>
              <a:gd name="T59" fmla="*/ 99 h 149"/>
              <a:gd name="T60" fmla="*/ 189 w 221"/>
              <a:gd name="T61" fmla="*/ 103 h 149"/>
              <a:gd name="T62" fmla="*/ 182 w 221"/>
              <a:gd name="T63" fmla="*/ 107 h 149"/>
              <a:gd name="T64" fmla="*/ 173 w 221"/>
              <a:gd name="T65" fmla="*/ 110 h 149"/>
              <a:gd name="T66" fmla="*/ 169 w 221"/>
              <a:gd name="T67" fmla="*/ 108 h 149"/>
              <a:gd name="T68" fmla="*/ 165 w 221"/>
              <a:gd name="T69" fmla="*/ 112 h 149"/>
              <a:gd name="T70" fmla="*/ 156 w 221"/>
              <a:gd name="T71" fmla="*/ 115 h 149"/>
              <a:gd name="T72" fmla="*/ 151 w 221"/>
              <a:gd name="T73" fmla="*/ 116 h 149"/>
              <a:gd name="T74" fmla="*/ 164 w 221"/>
              <a:gd name="T75" fmla="*/ 125 h 149"/>
              <a:gd name="T76" fmla="*/ 173 w 221"/>
              <a:gd name="T77" fmla="*/ 132 h 149"/>
              <a:gd name="T78" fmla="*/ 184 w 221"/>
              <a:gd name="T79" fmla="*/ 131 h 149"/>
              <a:gd name="T80" fmla="*/ 184 w 221"/>
              <a:gd name="T81" fmla="*/ 136 h 149"/>
              <a:gd name="T82" fmla="*/ 173 w 221"/>
              <a:gd name="T83" fmla="*/ 138 h 149"/>
              <a:gd name="T84" fmla="*/ 164 w 221"/>
              <a:gd name="T85" fmla="*/ 141 h 149"/>
              <a:gd name="T86" fmla="*/ 152 w 221"/>
              <a:gd name="T87" fmla="*/ 149 h 149"/>
              <a:gd name="T88" fmla="*/ 146 w 221"/>
              <a:gd name="T89" fmla="*/ 137 h 149"/>
              <a:gd name="T90" fmla="*/ 135 w 221"/>
              <a:gd name="T91" fmla="*/ 131 h 149"/>
              <a:gd name="T92" fmla="*/ 140 w 221"/>
              <a:gd name="T93" fmla="*/ 124 h 149"/>
              <a:gd name="T94" fmla="*/ 147 w 221"/>
              <a:gd name="T95" fmla="*/ 118 h 149"/>
              <a:gd name="T96" fmla="*/ 133 w 221"/>
              <a:gd name="T97" fmla="*/ 116 h 149"/>
              <a:gd name="T98" fmla="*/ 124 w 221"/>
              <a:gd name="T99" fmla="*/ 109 h 149"/>
              <a:gd name="T100" fmla="*/ 126 w 221"/>
              <a:gd name="T101" fmla="*/ 106 h 149"/>
              <a:gd name="T102" fmla="*/ 118 w 221"/>
              <a:gd name="T103" fmla="*/ 104 h 149"/>
              <a:gd name="T104" fmla="*/ 106 w 221"/>
              <a:gd name="T105" fmla="*/ 111 h 149"/>
              <a:gd name="T106" fmla="*/ 103 w 221"/>
              <a:gd name="T107" fmla="*/ 122 h 149"/>
              <a:gd name="T108" fmla="*/ 98 w 221"/>
              <a:gd name="T109" fmla="*/ 127 h 149"/>
              <a:gd name="T110" fmla="*/ 99 w 221"/>
              <a:gd name="T111" fmla="*/ 135 h 149"/>
              <a:gd name="T112" fmla="*/ 93 w 221"/>
              <a:gd name="T113" fmla="*/ 142 h 149"/>
              <a:gd name="T114" fmla="*/ 83 w 221"/>
              <a:gd name="T115" fmla="*/ 13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1" h="149">
                <a:moveTo>
                  <a:pt x="81" y="135"/>
                </a:moveTo>
                <a:cubicBezTo>
                  <a:pt x="82" y="134"/>
                  <a:pt x="82" y="128"/>
                  <a:pt x="82" y="126"/>
                </a:cubicBezTo>
                <a:cubicBezTo>
                  <a:pt x="82" y="125"/>
                  <a:pt x="84" y="120"/>
                  <a:pt x="84" y="118"/>
                </a:cubicBezTo>
                <a:cubicBezTo>
                  <a:pt x="85" y="117"/>
                  <a:pt x="85" y="116"/>
                  <a:pt x="86" y="115"/>
                </a:cubicBezTo>
                <a:cubicBezTo>
                  <a:pt x="88" y="114"/>
                  <a:pt x="90" y="113"/>
                  <a:pt x="90" y="112"/>
                </a:cubicBezTo>
                <a:cubicBezTo>
                  <a:pt x="90" y="111"/>
                  <a:pt x="88" y="104"/>
                  <a:pt x="88" y="102"/>
                </a:cubicBezTo>
                <a:cubicBezTo>
                  <a:pt x="87" y="101"/>
                  <a:pt x="85" y="96"/>
                  <a:pt x="85" y="95"/>
                </a:cubicBezTo>
                <a:cubicBezTo>
                  <a:pt x="84" y="94"/>
                  <a:pt x="83" y="91"/>
                  <a:pt x="82" y="89"/>
                </a:cubicBezTo>
                <a:cubicBezTo>
                  <a:pt x="82" y="88"/>
                  <a:pt x="81" y="86"/>
                  <a:pt x="81" y="85"/>
                </a:cubicBezTo>
                <a:cubicBezTo>
                  <a:pt x="80" y="84"/>
                  <a:pt x="76" y="80"/>
                  <a:pt x="75" y="80"/>
                </a:cubicBezTo>
                <a:cubicBezTo>
                  <a:pt x="74" y="80"/>
                  <a:pt x="71" y="78"/>
                  <a:pt x="70" y="77"/>
                </a:cubicBezTo>
                <a:cubicBezTo>
                  <a:pt x="69" y="76"/>
                  <a:pt x="69" y="75"/>
                  <a:pt x="67" y="74"/>
                </a:cubicBezTo>
                <a:cubicBezTo>
                  <a:pt x="65" y="74"/>
                  <a:pt x="64" y="74"/>
                  <a:pt x="63" y="74"/>
                </a:cubicBezTo>
                <a:cubicBezTo>
                  <a:pt x="62" y="75"/>
                  <a:pt x="61" y="77"/>
                  <a:pt x="61" y="77"/>
                </a:cubicBezTo>
                <a:cubicBezTo>
                  <a:pt x="60" y="78"/>
                  <a:pt x="58" y="80"/>
                  <a:pt x="58" y="80"/>
                </a:cubicBezTo>
                <a:cubicBezTo>
                  <a:pt x="54" y="82"/>
                  <a:pt x="54" y="82"/>
                  <a:pt x="54" y="82"/>
                </a:cubicBezTo>
                <a:cubicBezTo>
                  <a:pt x="54" y="82"/>
                  <a:pt x="51" y="84"/>
                  <a:pt x="50" y="84"/>
                </a:cubicBezTo>
                <a:cubicBezTo>
                  <a:pt x="49" y="85"/>
                  <a:pt x="48" y="87"/>
                  <a:pt x="48" y="87"/>
                </a:cubicBezTo>
                <a:cubicBezTo>
                  <a:pt x="41" y="87"/>
                  <a:pt x="41" y="87"/>
                  <a:pt x="41" y="87"/>
                </a:cubicBezTo>
                <a:cubicBezTo>
                  <a:pt x="41" y="87"/>
                  <a:pt x="38" y="90"/>
                  <a:pt x="37" y="91"/>
                </a:cubicBezTo>
                <a:cubicBezTo>
                  <a:pt x="37" y="92"/>
                  <a:pt x="35" y="92"/>
                  <a:pt x="34" y="91"/>
                </a:cubicBezTo>
                <a:cubicBezTo>
                  <a:pt x="33" y="91"/>
                  <a:pt x="31" y="89"/>
                  <a:pt x="31" y="89"/>
                </a:cubicBezTo>
                <a:cubicBezTo>
                  <a:pt x="26" y="89"/>
                  <a:pt x="26" y="89"/>
                  <a:pt x="26" y="89"/>
                </a:cubicBezTo>
                <a:cubicBezTo>
                  <a:pt x="23" y="88"/>
                  <a:pt x="23" y="88"/>
                  <a:pt x="23" y="88"/>
                </a:cubicBezTo>
                <a:cubicBezTo>
                  <a:pt x="19" y="87"/>
                  <a:pt x="19" y="87"/>
                  <a:pt x="19" y="87"/>
                </a:cubicBezTo>
                <a:cubicBezTo>
                  <a:pt x="19" y="87"/>
                  <a:pt x="12" y="86"/>
                  <a:pt x="12" y="86"/>
                </a:cubicBezTo>
                <a:cubicBezTo>
                  <a:pt x="11" y="86"/>
                  <a:pt x="8" y="84"/>
                  <a:pt x="8" y="84"/>
                </a:cubicBezTo>
                <a:cubicBezTo>
                  <a:pt x="5" y="84"/>
                  <a:pt x="5" y="84"/>
                  <a:pt x="5" y="84"/>
                </a:cubicBezTo>
                <a:cubicBezTo>
                  <a:pt x="4" y="81"/>
                  <a:pt x="4" y="81"/>
                  <a:pt x="4" y="81"/>
                </a:cubicBezTo>
                <a:cubicBezTo>
                  <a:pt x="3" y="80"/>
                  <a:pt x="3" y="80"/>
                  <a:pt x="3" y="80"/>
                </a:cubicBezTo>
                <a:cubicBezTo>
                  <a:pt x="2" y="78"/>
                  <a:pt x="2" y="78"/>
                  <a:pt x="2" y="78"/>
                </a:cubicBezTo>
                <a:cubicBezTo>
                  <a:pt x="2" y="78"/>
                  <a:pt x="0" y="78"/>
                  <a:pt x="0" y="77"/>
                </a:cubicBezTo>
                <a:cubicBezTo>
                  <a:pt x="0" y="76"/>
                  <a:pt x="1" y="73"/>
                  <a:pt x="1" y="73"/>
                </a:cubicBezTo>
                <a:cubicBezTo>
                  <a:pt x="1" y="73"/>
                  <a:pt x="2" y="72"/>
                  <a:pt x="2" y="71"/>
                </a:cubicBezTo>
                <a:cubicBezTo>
                  <a:pt x="2" y="70"/>
                  <a:pt x="3" y="67"/>
                  <a:pt x="3" y="67"/>
                </a:cubicBezTo>
                <a:cubicBezTo>
                  <a:pt x="3" y="67"/>
                  <a:pt x="5" y="67"/>
                  <a:pt x="6" y="67"/>
                </a:cubicBezTo>
                <a:cubicBezTo>
                  <a:pt x="7" y="67"/>
                  <a:pt x="8" y="66"/>
                  <a:pt x="8" y="66"/>
                </a:cubicBezTo>
                <a:cubicBezTo>
                  <a:pt x="8" y="66"/>
                  <a:pt x="7" y="65"/>
                  <a:pt x="7" y="63"/>
                </a:cubicBezTo>
                <a:cubicBezTo>
                  <a:pt x="8" y="61"/>
                  <a:pt x="8" y="55"/>
                  <a:pt x="8" y="54"/>
                </a:cubicBezTo>
                <a:cubicBezTo>
                  <a:pt x="9" y="53"/>
                  <a:pt x="9" y="51"/>
                  <a:pt x="10" y="51"/>
                </a:cubicBezTo>
                <a:cubicBezTo>
                  <a:pt x="12" y="50"/>
                  <a:pt x="15" y="48"/>
                  <a:pt x="16" y="47"/>
                </a:cubicBezTo>
                <a:cubicBezTo>
                  <a:pt x="16" y="46"/>
                  <a:pt x="21" y="43"/>
                  <a:pt x="22" y="42"/>
                </a:cubicBezTo>
                <a:cubicBezTo>
                  <a:pt x="23" y="42"/>
                  <a:pt x="24" y="40"/>
                  <a:pt x="24" y="40"/>
                </a:cubicBezTo>
                <a:cubicBezTo>
                  <a:pt x="24" y="40"/>
                  <a:pt x="23" y="35"/>
                  <a:pt x="23" y="34"/>
                </a:cubicBezTo>
                <a:cubicBezTo>
                  <a:pt x="22" y="32"/>
                  <a:pt x="20" y="29"/>
                  <a:pt x="20" y="28"/>
                </a:cubicBezTo>
                <a:cubicBezTo>
                  <a:pt x="19" y="27"/>
                  <a:pt x="19" y="25"/>
                  <a:pt x="19" y="23"/>
                </a:cubicBezTo>
                <a:cubicBezTo>
                  <a:pt x="19" y="22"/>
                  <a:pt x="20" y="17"/>
                  <a:pt x="20" y="16"/>
                </a:cubicBezTo>
                <a:cubicBezTo>
                  <a:pt x="20" y="14"/>
                  <a:pt x="19" y="14"/>
                  <a:pt x="21" y="14"/>
                </a:cubicBezTo>
                <a:cubicBezTo>
                  <a:pt x="22" y="14"/>
                  <a:pt x="22" y="15"/>
                  <a:pt x="23" y="15"/>
                </a:cubicBezTo>
                <a:cubicBezTo>
                  <a:pt x="24" y="15"/>
                  <a:pt x="27" y="15"/>
                  <a:pt x="27" y="14"/>
                </a:cubicBezTo>
                <a:cubicBezTo>
                  <a:pt x="28" y="14"/>
                  <a:pt x="28" y="13"/>
                  <a:pt x="28" y="12"/>
                </a:cubicBezTo>
                <a:cubicBezTo>
                  <a:pt x="28" y="11"/>
                  <a:pt x="28" y="10"/>
                  <a:pt x="29" y="10"/>
                </a:cubicBezTo>
                <a:cubicBezTo>
                  <a:pt x="31" y="10"/>
                  <a:pt x="32" y="10"/>
                  <a:pt x="34" y="10"/>
                </a:cubicBezTo>
                <a:cubicBezTo>
                  <a:pt x="36" y="10"/>
                  <a:pt x="36" y="9"/>
                  <a:pt x="37" y="9"/>
                </a:cubicBezTo>
                <a:cubicBezTo>
                  <a:pt x="38" y="9"/>
                  <a:pt x="39" y="8"/>
                  <a:pt x="41" y="8"/>
                </a:cubicBezTo>
                <a:cubicBezTo>
                  <a:pt x="43" y="9"/>
                  <a:pt x="48" y="11"/>
                  <a:pt x="48" y="11"/>
                </a:cubicBezTo>
                <a:cubicBezTo>
                  <a:pt x="49" y="12"/>
                  <a:pt x="53" y="11"/>
                  <a:pt x="54" y="12"/>
                </a:cubicBezTo>
                <a:cubicBezTo>
                  <a:pt x="55" y="13"/>
                  <a:pt x="56" y="13"/>
                  <a:pt x="57" y="13"/>
                </a:cubicBezTo>
                <a:cubicBezTo>
                  <a:pt x="57" y="12"/>
                  <a:pt x="59" y="12"/>
                  <a:pt x="60" y="12"/>
                </a:cubicBezTo>
                <a:cubicBezTo>
                  <a:pt x="61" y="13"/>
                  <a:pt x="62" y="14"/>
                  <a:pt x="63" y="15"/>
                </a:cubicBezTo>
                <a:cubicBezTo>
                  <a:pt x="64" y="16"/>
                  <a:pt x="66" y="16"/>
                  <a:pt x="67" y="17"/>
                </a:cubicBezTo>
                <a:cubicBezTo>
                  <a:pt x="68" y="17"/>
                  <a:pt x="71" y="19"/>
                  <a:pt x="72" y="18"/>
                </a:cubicBezTo>
                <a:cubicBezTo>
                  <a:pt x="73" y="18"/>
                  <a:pt x="81" y="18"/>
                  <a:pt x="81" y="18"/>
                </a:cubicBezTo>
                <a:cubicBezTo>
                  <a:pt x="81" y="18"/>
                  <a:pt x="82" y="16"/>
                  <a:pt x="84" y="16"/>
                </a:cubicBezTo>
                <a:cubicBezTo>
                  <a:pt x="85" y="15"/>
                  <a:pt x="87" y="16"/>
                  <a:pt x="88" y="17"/>
                </a:cubicBezTo>
                <a:cubicBezTo>
                  <a:pt x="90" y="17"/>
                  <a:pt x="91" y="18"/>
                  <a:pt x="92" y="19"/>
                </a:cubicBezTo>
                <a:cubicBezTo>
                  <a:pt x="93" y="19"/>
                  <a:pt x="96" y="21"/>
                  <a:pt x="97" y="22"/>
                </a:cubicBezTo>
                <a:cubicBezTo>
                  <a:pt x="99" y="22"/>
                  <a:pt x="101" y="21"/>
                  <a:pt x="101" y="21"/>
                </a:cubicBezTo>
                <a:cubicBezTo>
                  <a:pt x="102" y="20"/>
                  <a:pt x="102" y="15"/>
                  <a:pt x="103" y="14"/>
                </a:cubicBezTo>
                <a:cubicBezTo>
                  <a:pt x="104" y="12"/>
                  <a:pt x="105" y="9"/>
                  <a:pt x="107" y="7"/>
                </a:cubicBezTo>
                <a:cubicBezTo>
                  <a:pt x="108" y="6"/>
                  <a:pt x="110" y="5"/>
                  <a:pt x="111" y="4"/>
                </a:cubicBezTo>
                <a:cubicBezTo>
                  <a:pt x="112" y="4"/>
                  <a:pt x="113" y="3"/>
                  <a:pt x="114" y="3"/>
                </a:cubicBezTo>
                <a:cubicBezTo>
                  <a:pt x="115" y="4"/>
                  <a:pt x="115" y="5"/>
                  <a:pt x="116" y="5"/>
                </a:cubicBezTo>
                <a:cubicBezTo>
                  <a:pt x="118" y="5"/>
                  <a:pt x="121" y="6"/>
                  <a:pt x="121" y="6"/>
                </a:cubicBezTo>
                <a:cubicBezTo>
                  <a:pt x="124" y="3"/>
                  <a:pt x="124" y="3"/>
                  <a:pt x="124" y="3"/>
                </a:cubicBezTo>
                <a:cubicBezTo>
                  <a:pt x="128" y="2"/>
                  <a:pt x="128" y="2"/>
                  <a:pt x="128" y="2"/>
                </a:cubicBezTo>
                <a:cubicBezTo>
                  <a:pt x="132" y="2"/>
                  <a:pt x="132" y="2"/>
                  <a:pt x="132" y="2"/>
                </a:cubicBezTo>
                <a:cubicBezTo>
                  <a:pt x="135" y="1"/>
                  <a:pt x="135" y="1"/>
                  <a:pt x="135" y="1"/>
                </a:cubicBezTo>
                <a:cubicBezTo>
                  <a:pt x="135" y="1"/>
                  <a:pt x="138" y="1"/>
                  <a:pt x="139" y="1"/>
                </a:cubicBezTo>
                <a:cubicBezTo>
                  <a:pt x="140" y="1"/>
                  <a:pt x="143" y="0"/>
                  <a:pt x="143" y="0"/>
                </a:cubicBezTo>
                <a:cubicBezTo>
                  <a:pt x="143" y="0"/>
                  <a:pt x="144" y="3"/>
                  <a:pt x="145" y="4"/>
                </a:cubicBezTo>
                <a:cubicBezTo>
                  <a:pt x="146" y="4"/>
                  <a:pt x="147" y="7"/>
                  <a:pt x="148" y="8"/>
                </a:cubicBezTo>
                <a:cubicBezTo>
                  <a:pt x="148" y="8"/>
                  <a:pt x="149" y="12"/>
                  <a:pt x="149" y="12"/>
                </a:cubicBezTo>
                <a:cubicBezTo>
                  <a:pt x="147" y="15"/>
                  <a:pt x="147" y="15"/>
                  <a:pt x="147" y="15"/>
                </a:cubicBezTo>
                <a:cubicBezTo>
                  <a:pt x="147" y="15"/>
                  <a:pt x="147" y="16"/>
                  <a:pt x="147" y="18"/>
                </a:cubicBezTo>
                <a:cubicBezTo>
                  <a:pt x="147" y="19"/>
                  <a:pt x="147" y="21"/>
                  <a:pt x="149" y="22"/>
                </a:cubicBezTo>
                <a:cubicBezTo>
                  <a:pt x="151" y="23"/>
                  <a:pt x="150" y="23"/>
                  <a:pt x="152" y="23"/>
                </a:cubicBezTo>
                <a:cubicBezTo>
                  <a:pt x="154" y="23"/>
                  <a:pt x="157" y="23"/>
                  <a:pt x="157" y="23"/>
                </a:cubicBezTo>
                <a:cubicBezTo>
                  <a:pt x="160" y="25"/>
                  <a:pt x="160" y="25"/>
                  <a:pt x="160" y="25"/>
                </a:cubicBezTo>
                <a:cubicBezTo>
                  <a:pt x="161" y="29"/>
                  <a:pt x="161" y="29"/>
                  <a:pt x="161" y="29"/>
                </a:cubicBezTo>
                <a:cubicBezTo>
                  <a:pt x="161" y="29"/>
                  <a:pt x="161" y="32"/>
                  <a:pt x="161" y="33"/>
                </a:cubicBezTo>
                <a:cubicBezTo>
                  <a:pt x="162" y="34"/>
                  <a:pt x="163" y="35"/>
                  <a:pt x="164" y="36"/>
                </a:cubicBezTo>
                <a:cubicBezTo>
                  <a:pt x="164" y="36"/>
                  <a:pt x="168" y="37"/>
                  <a:pt x="169" y="37"/>
                </a:cubicBezTo>
                <a:cubicBezTo>
                  <a:pt x="170" y="38"/>
                  <a:pt x="173" y="39"/>
                  <a:pt x="174" y="39"/>
                </a:cubicBezTo>
                <a:cubicBezTo>
                  <a:pt x="174" y="39"/>
                  <a:pt x="176" y="40"/>
                  <a:pt x="177" y="40"/>
                </a:cubicBezTo>
                <a:cubicBezTo>
                  <a:pt x="178" y="40"/>
                  <a:pt x="181" y="41"/>
                  <a:pt x="181" y="41"/>
                </a:cubicBezTo>
                <a:cubicBezTo>
                  <a:pt x="182" y="41"/>
                  <a:pt x="186" y="42"/>
                  <a:pt x="186" y="42"/>
                </a:cubicBezTo>
                <a:cubicBezTo>
                  <a:pt x="187" y="42"/>
                  <a:pt x="189" y="42"/>
                  <a:pt x="189" y="42"/>
                </a:cubicBezTo>
                <a:cubicBezTo>
                  <a:pt x="189" y="42"/>
                  <a:pt x="192" y="42"/>
                  <a:pt x="192" y="42"/>
                </a:cubicBezTo>
                <a:cubicBezTo>
                  <a:pt x="192" y="42"/>
                  <a:pt x="196" y="43"/>
                  <a:pt x="197" y="43"/>
                </a:cubicBezTo>
                <a:cubicBezTo>
                  <a:pt x="198" y="44"/>
                  <a:pt x="199" y="44"/>
                  <a:pt x="200" y="45"/>
                </a:cubicBezTo>
                <a:cubicBezTo>
                  <a:pt x="201" y="45"/>
                  <a:pt x="206" y="45"/>
                  <a:pt x="206" y="45"/>
                </a:cubicBezTo>
                <a:cubicBezTo>
                  <a:pt x="207" y="46"/>
                  <a:pt x="207" y="46"/>
                  <a:pt x="208" y="47"/>
                </a:cubicBezTo>
                <a:cubicBezTo>
                  <a:pt x="209" y="48"/>
                  <a:pt x="212" y="50"/>
                  <a:pt x="212" y="50"/>
                </a:cubicBezTo>
                <a:cubicBezTo>
                  <a:pt x="212" y="50"/>
                  <a:pt x="214" y="51"/>
                  <a:pt x="215" y="52"/>
                </a:cubicBezTo>
                <a:cubicBezTo>
                  <a:pt x="216" y="53"/>
                  <a:pt x="217" y="53"/>
                  <a:pt x="218" y="54"/>
                </a:cubicBezTo>
                <a:cubicBezTo>
                  <a:pt x="219" y="55"/>
                  <a:pt x="221" y="55"/>
                  <a:pt x="221" y="56"/>
                </a:cubicBezTo>
                <a:cubicBezTo>
                  <a:pt x="221" y="57"/>
                  <a:pt x="220" y="58"/>
                  <a:pt x="220" y="58"/>
                </a:cubicBezTo>
                <a:cubicBezTo>
                  <a:pt x="220" y="59"/>
                  <a:pt x="217" y="63"/>
                  <a:pt x="216" y="65"/>
                </a:cubicBezTo>
                <a:cubicBezTo>
                  <a:pt x="216" y="67"/>
                  <a:pt x="216" y="69"/>
                  <a:pt x="216" y="69"/>
                </a:cubicBezTo>
                <a:cubicBezTo>
                  <a:pt x="219" y="74"/>
                  <a:pt x="219" y="74"/>
                  <a:pt x="219" y="74"/>
                </a:cubicBezTo>
                <a:cubicBezTo>
                  <a:pt x="219" y="74"/>
                  <a:pt x="220" y="76"/>
                  <a:pt x="220" y="77"/>
                </a:cubicBezTo>
                <a:cubicBezTo>
                  <a:pt x="220" y="79"/>
                  <a:pt x="220" y="82"/>
                  <a:pt x="220" y="82"/>
                </a:cubicBezTo>
                <a:cubicBezTo>
                  <a:pt x="216" y="85"/>
                  <a:pt x="216" y="85"/>
                  <a:pt x="216" y="85"/>
                </a:cubicBezTo>
                <a:cubicBezTo>
                  <a:pt x="211" y="87"/>
                  <a:pt x="211" y="87"/>
                  <a:pt x="211" y="87"/>
                </a:cubicBezTo>
                <a:cubicBezTo>
                  <a:pt x="211" y="87"/>
                  <a:pt x="209" y="88"/>
                  <a:pt x="207" y="88"/>
                </a:cubicBezTo>
                <a:cubicBezTo>
                  <a:pt x="207" y="89"/>
                  <a:pt x="205" y="89"/>
                  <a:pt x="203" y="90"/>
                </a:cubicBezTo>
                <a:cubicBezTo>
                  <a:pt x="202" y="91"/>
                  <a:pt x="201" y="92"/>
                  <a:pt x="202" y="93"/>
                </a:cubicBezTo>
                <a:cubicBezTo>
                  <a:pt x="202" y="95"/>
                  <a:pt x="202" y="98"/>
                  <a:pt x="202" y="98"/>
                </a:cubicBezTo>
                <a:cubicBezTo>
                  <a:pt x="201" y="99"/>
                  <a:pt x="201" y="99"/>
                  <a:pt x="201" y="99"/>
                </a:cubicBezTo>
                <a:cubicBezTo>
                  <a:pt x="201" y="99"/>
                  <a:pt x="199" y="99"/>
                  <a:pt x="198" y="99"/>
                </a:cubicBezTo>
                <a:cubicBezTo>
                  <a:pt x="198" y="99"/>
                  <a:pt x="195" y="99"/>
                  <a:pt x="195" y="100"/>
                </a:cubicBezTo>
                <a:cubicBezTo>
                  <a:pt x="195" y="101"/>
                  <a:pt x="194" y="102"/>
                  <a:pt x="192" y="103"/>
                </a:cubicBezTo>
                <a:cubicBezTo>
                  <a:pt x="191" y="103"/>
                  <a:pt x="190" y="103"/>
                  <a:pt x="189" y="103"/>
                </a:cubicBezTo>
                <a:cubicBezTo>
                  <a:pt x="188" y="104"/>
                  <a:pt x="186" y="105"/>
                  <a:pt x="186" y="105"/>
                </a:cubicBezTo>
                <a:cubicBezTo>
                  <a:pt x="186" y="105"/>
                  <a:pt x="186" y="107"/>
                  <a:pt x="186" y="107"/>
                </a:cubicBezTo>
                <a:cubicBezTo>
                  <a:pt x="185" y="107"/>
                  <a:pt x="185" y="106"/>
                  <a:pt x="184" y="106"/>
                </a:cubicBezTo>
                <a:cubicBezTo>
                  <a:pt x="184" y="106"/>
                  <a:pt x="183" y="107"/>
                  <a:pt x="182" y="107"/>
                </a:cubicBezTo>
                <a:cubicBezTo>
                  <a:pt x="181" y="107"/>
                  <a:pt x="180" y="106"/>
                  <a:pt x="180" y="106"/>
                </a:cubicBezTo>
                <a:cubicBezTo>
                  <a:pt x="179" y="106"/>
                  <a:pt x="175" y="108"/>
                  <a:pt x="175" y="108"/>
                </a:cubicBezTo>
                <a:cubicBezTo>
                  <a:pt x="175" y="108"/>
                  <a:pt x="175" y="108"/>
                  <a:pt x="174" y="108"/>
                </a:cubicBezTo>
                <a:cubicBezTo>
                  <a:pt x="174" y="108"/>
                  <a:pt x="173" y="110"/>
                  <a:pt x="173" y="110"/>
                </a:cubicBezTo>
                <a:cubicBezTo>
                  <a:pt x="172" y="110"/>
                  <a:pt x="171" y="108"/>
                  <a:pt x="171" y="108"/>
                </a:cubicBezTo>
                <a:cubicBezTo>
                  <a:pt x="171" y="107"/>
                  <a:pt x="171" y="107"/>
                  <a:pt x="171" y="107"/>
                </a:cubicBezTo>
                <a:cubicBezTo>
                  <a:pt x="171" y="107"/>
                  <a:pt x="170" y="106"/>
                  <a:pt x="169" y="106"/>
                </a:cubicBezTo>
                <a:cubicBezTo>
                  <a:pt x="169" y="106"/>
                  <a:pt x="169" y="107"/>
                  <a:pt x="169" y="108"/>
                </a:cubicBezTo>
                <a:cubicBezTo>
                  <a:pt x="169" y="108"/>
                  <a:pt x="170" y="109"/>
                  <a:pt x="170" y="110"/>
                </a:cubicBezTo>
                <a:cubicBezTo>
                  <a:pt x="170" y="111"/>
                  <a:pt x="169" y="112"/>
                  <a:pt x="169" y="112"/>
                </a:cubicBezTo>
                <a:cubicBezTo>
                  <a:pt x="169" y="112"/>
                  <a:pt x="167" y="111"/>
                  <a:pt x="167" y="111"/>
                </a:cubicBezTo>
                <a:cubicBezTo>
                  <a:pt x="166" y="111"/>
                  <a:pt x="165" y="112"/>
                  <a:pt x="165" y="112"/>
                </a:cubicBezTo>
                <a:cubicBezTo>
                  <a:pt x="165" y="112"/>
                  <a:pt x="165" y="114"/>
                  <a:pt x="164" y="114"/>
                </a:cubicBezTo>
                <a:cubicBezTo>
                  <a:pt x="163" y="114"/>
                  <a:pt x="159" y="116"/>
                  <a:pt x="158" y="116"/>
                </a:cubicBezTo>
                <a:cubicBezTo>
                  <a:pt x="158" y="116"/>
                  <a:pt x="156" y="117"/>
                  <a:pt x="156" y="116"/>
                </a:cubicBezTo>
                <a:cubicBezTo>
                  <a:pt x="156" y="116"/>
                  <a:pt x="157" y="115"/>
                  <a:pt x="156" y="115"/>
                </a:cubicBezTo>
                <a:cubicBezTo>
                  <a:pt x="156" y="114"/>
                  <a:pt x="154" y="114"/>
                  <a:pt x="154" y="115"/>
                </a:cubicBezTo>
                <a:cubicBezTo>
                  <a:pt x="154" y="115"/>
                  <a:pt x="154" y="116"/>
                  <a:pt x="154" y="116"/>
                </a:cubicBezTo>
                <a:cubicBezTo>
                  <a:pt x="153" y="116"/>
                  <a:pt x="153" y="115"/>
                  <a:pt x="152" y="115"/>
                </a:cubicBezTo>
                <a:cubicBezTo>
                  <a:pt x="152" y="115"/>
                  <a:pt x="151" y="115"/>
                  <a:pt x="151" y="116"/>
                </a:cubicBezTo>
                <a:cubicBezTo>
                  <a:pt x="151" y="117"/>
                  <a:pt x="152" y="118"/>
                  <a:pt x="153" y="118"/>
                </a:cubicBezTo>
                <a:cubicBezTo>
                  <a:pt x="153" y="118"/>
                  <a:pt x="156" y="120"/>
                  <a:pt x="157" y="120"/>
                </a:cubicBezTo>
                <a:cubicBezTo>
                  <a:pt x="159" y="120"/>
                  <a:pt x="158" y="120"/>
                  <a:pt x="160" y="120"/>
                </a:cubicBezTo>
                <a:cubicBezTo>
                  <a:pt x="161" y="122"/>
                  <a:pt x="164" y="125"/>
                  <a:pt x="164" y="125"/>
                </a:cubicBezTo>
                <a:cubicBezTo>
                  <a:pt x="164" y="125"/>
                  <a:pt x="166" y="127"/>
                  <a:pt x="167" y="129"/>
                </a:cubicBezTo>
                <a:cubicBezTo>
                  <a:pt x="167" y="129"/>
                  <a:pt x="167" y="131"/>
                  <a:pt x="167" y="131"/>
                </a:cubicBezTo>
                <a:cubicBezTo>
                  <a:pt x="169" y="132"/>
                  <a:pt x="171" y="132"/>
                  <a:pt x="171" y="132"/>
                </a:cubicBezTo>
                <a:cubicBezTo>
                  <a:pt x="171" y="131"/>
                  <a:pt x="172" y="132"/>
                  <a:pt x="173" y="132"/>
                </a:cubicBezTo>
                <a:cubicBezTo>
                  <a:pt x="174" y="132"/>
                  <a:pt x="174" y="131"/>
                  <a:pt x="175" y="131"/>
                </a:cubicBezTo>
                <a:cubicBezTo>
                  <a:pt x="175" y="130"/>
                  <a:pt x="176" y="130"/>
                  <a:pt x="177" y="130"/>
                </a:cubicBezTo>
                <a:cubicBezTo>
                  <a:pt x="177" y="131"/>
                  <a:pt x="178" y="131"/>
                  <a:pt x="180" y="131"/>
                </a:cubicBezTo>
                <a:cubicBezTo>
                  <a:pt x="181" y="131"/>
                  <a:pt x="183" y="131"/>
                  <a:pt x="184" y="131"/>
                </a:cubicBezTo>
                <a:cubicBezTo>
                  <a:pt x="185" y="131"/>
                  <a:pt x="185" y="133"/>
                  <a:pt x="186" y="134"/>
                </a:cubicBezTo>
                <a:cubicBezTo>
                  <a:pt x="186" y="135"/>
                  <a:pt x="187" y="135"/>
                  <a:pt x="187" y="136"/>
                </a:cubicBezTo>
                <a:cubicBezTo>
                  <a:pt x="187" y="136"/>
                  <a:pt x="186" y="136"/>
                  <a:pt x="186" y="136"/>
                </a:cubicBezTo>
                <a:cubicBezTo>
                  <a:pt x="186" y="136"/>
                  <a:pt x="184" y="136"/>
                  <a:pt x="184" y="136"/>
                </a:cubicBezTo>
                <a:cubicBezTo>
                  <a:pt x="184" y="137"/>
                  <a:pt x="181" y="137"/>
                  <a:pt x="181" y="137"/>
                </a:cubicBezTo>
                <a:cubicBezTo>
                  <a:pt x="180" y="137"/>
                  <a:pt x="178" y="137"/>
                  <a:pt x="178" y="137"/>
                </a:cubicBezTo>
                <a:cubicBezTo>
                  <a:pt x="177" y="137"/>
                  <a:pt x="177" y="139"/>
                  <a:pt x="176" y="139"/>
                </a:cubicBezTo>
                <a:cubicBezTo>
                  <a:pt x="176" y="139"/>
                  <a:pt x="174" y="138"/>
                  <a:pt x="173" y="138"/>
                </a:cubicBezTo>
                <a:cubicBezTo>
                  <a:pt x="173" y="138"/>
                  <a:pt x="173" y="137"/>
                  <a:pt x="172" y="137"/>
                </a:cubicBezTo>
                <a:cubicBezTo>
                  <a:pt x="171" y="137"/>
                  <a:pt x="170" y="138"/>
                  <a:pt x="170" y="139"/>
                </a:cubicBezTo>
                <a:cubicBezTo>
                  <a:pt x="170" y="139"/>
                  <a:pt x="170" y="141"/>
                  <a:pt x="169" y="141"/>
                </a:cubicBezTo>
                <a:cubicBezTo>
                  <a:pt x="168" y="141"/>
                  <a:pt x="165" y="141"/>
                  <a:pt x="164" y="141"/>
                </a:cubicBezTo>
                <a:cubicBezTo>
                  <a:pt x="163" y="141"/>
                  <a:pt x="160" y="142"/>
                  <a:pt x="159" y="142"/>
                </a:cubicBezTo>
                <a:cubicBezTo>
                  <a:pt x="159" y="142"/>
                  <a:pt x="158" y="145"/>
                  <a:pt x="158" y="145"/>
                </a:cubicBezTo>
                <a:cubicBezTo>
                  <a:pt x="158" y="145"/>
                  <a:pt x="157" y="147"/>
                  <a:pt x="156" y="148"/>
                </a:cubicBezTo>
                <a:cubicBezTo>
                  <a:pt x="155" y="148"/>
                  <a:pt x="154" y="149"/>
                  <a:pt x="152" y="149"/>
                </a:cubicBezTo>
                <a:cubicBezTo>
                  <a:pt x="152" y="149"/>
                  <a:pt x="149" y="149"/>
                  <a:pt x="148" y="149"/>
                </a:cubicBezTo>
                <a:cubicBezTo>
                  <a:pt x="148" y="148"/>
                  <a:pt x="148" y="146"/>
                  <a:pt x="147" y="145"/>
                </a:cubicBezTo>
                <a:cubicBezTo>
                  <a:pt x="147" y="144"/>
                  <a:pt x="147" y="140"/>
                  <a:pt x="147" y="140"/>
                </a:cubicBezTo>
                <a:cubicBezTo>
                  <a:pt x="147" y="139"/>
                  <a:pt x="147" y="137"/>
                  <a:pt x="146" y="137"/>
                </a:cubicBezTo>
                <a:cubicBezTo>
                  <a:pt x="146" y="136"/>
                  <a:pt x="144" y="134"/>
                  <a:pt x="144" y="134"/>
                </a:cubicBezTo>
                <a:cubicBezTo>
                  <a:pt x="143" y="133"/>
                  <a:pt x="141" y="133"/>
                  <a:pt x="140" y="133"/>
                </a:cubicBezTo>
                <a:cubicBezTo>
                  <a:pt x="140" y="132"/>
                  <a:pt x="139" y="132"/>
                  <a:pt x="139" y="132"/>
                </a:cubicBezTo>
                <a:cubicBezTo>
                  <a:pt x="138" y="132"/>
                  <a:pt x="135" y="131"/>
                  <a:pt x="135" y="131"/>
                </a:cubicBezTo>
                <a:cubicBezTo>
                  <a:pt x="134" y="131"/>
                  <a:pt x="133" y="131"/>
                  <a:pt x="132" y="131"/>
                </a:cubicBezTo>
                <a:cubicBezTo>
                  <a:pt x="132" y="131"/>
                  <a:pt x="133" y="129"/>
                  <a:pt x="133" y="128"/>
                </a:cubicBezTo>
                <a:cubicBezTo>
                  <a:pt x="133" y="127"/>
                  <a:pt x="136" y="125"/>
                  <a:pt x="137" y="125"/>
                </a:cubicBezTo>
                <a:cubicBezTo>
                  <a:pt x="138" y="124"/>
                  <a:pt x="140" y="125"/>
                  <a:pt x="140" y="124"/>
                </a:cubicBezTo>
                <a:cubicBezTo>
                  <a:pt x="141" y="123"/>
                  <a:pt x="141" y="122"/>
                  <a:pt x="141" y="122"/>
                </a:cubicBezTo>
                <a:cubicBezTo>
                  <a:pt x="142" y="122"/>
                  <a:pt x="145" y="122"/>
                  <a:pt x="146" y="122"/>
                </a:cubicBezTo>
                <a:cubicBezTo>
                  <a:pt x="147" y="122"/>
                  <a:pt x="148" y="121"/>
                  <a:pt x="148" y="120"/>
                </a:cubicBezTo>
                <a:cubicBezTo>
                  <a:pt x="148" y="120"/>
                  <a:pt x="148" y="118"/>
                  <a:pt x="147" y="118"/>
                </a:cubicBezTo>
                <a:cubicBezTo>
                  <a:pt x="147" y="117"/>
                  <a:pt x="145" y="116"/>
                  <a:pt x="144" y="116"/>
                </a:cubicBezTo>
                <a:cubicBezTo>
                  <a:pt x="144" y="116"/>
                  <a:pt x="139" y="117"/>
                  <a:pt x="139" y="118"/>
                </a:cubicBezTo>
                <a:cubicBezTo>
                  <a:pt x="138" y="118"/>
                  <a:pt x="135" y="118"/>
                  <a:pt x="134" y="118"/>
                </a:cubicBezTo>
                <a:cubicBezTo>
                  <a:pt x="134" y="118"/>
                  <a:pt x="133" y="116"/>
                  <a:pt x="133" y="116"/>
                </a:cubicBezTo>
                <a:cubicBezTo>
                  <a:pt x="132" y="115"/>
                  <a:pt x="129" y="114"/>
                  <a:pt x="128" y="114"/>
                </a:cubicBezTo>
                <a:cubicBezTo>
                  <a:pt x="127" y="113"/>
                  <a:pt x="124" y="112"/>
                  <a:pt x="123" y="112"/>
                </a:cubicBezTo>
                <a:cubicBezTo>
                  <a:pt x="122" y="111"/>
                  <a:pt x="122" y="110"/>
                  <a:pt x="122" y="110"/>
                </a:cubicBezTo>
                <a:cubicBezTo>
                  <a:pt x="122" y="109"/>
                  <a:pt x="123" y="108"/>
                  <a:pt x="124" y="109"/>
                </a:cubicBezTo>
                <a:cubicBezTo>
                  <a:pt x="124" y="109"/>
                  <a:pt x="127" y="110"/>
                  <a:pt x="128" y="110"/>
                </a:cubicBezTo>
                <a:cubicBezTo>
                  <a:pt x="129" y="110"/>
                  <a:pt x="130" y="110"/>
                  <a:pt x="130" y="109"/>
                </a:cubicBezTo>
                <a:cubicBezTo>
                  <a:pt x="130" y="109"/>
                  <a:pt x="128" y="108"/>
                  <a:pt x="128" y="108"/>
                </a:cubicBezTo>
                <a:cubicBezTo>
                  <a:pt x="126" y="106"/>
                  <a:pt x="126" y="106"/>
                  <a:pt x="126" y="106"/>
                </a:cubicBezTo>
                <a:cubicBezTo>
                  <a:pt x="126" y="106"/>
                  <a:pt x="123" y="106"/>
                  <a:pt x="122" y="106"/>
                </a:cubicBezTo>
                <a:cubicBezTo>
                  <a:pt x="122" y="106"/>
                  <a:pt x="121" y="106"/>
                  <a:pt x="120" y="106"/>
                </a:cubicBezTo>
                <a:cubicBezTo>
                  <a:pt x="120" y="106"/>
                  <a:pt x="120" y="104"/>
                  <a:pt x="120" y="104"/>
                </a:cubicBezTo>
                <a:cubicBezTo>
                  <a:pt x="119" y="104"/>
                  <a:pt x="118" y="104"/>
                  <a:pt x="118" y="104"/>
                </a:cubicBezTo>
                <a:cubicBezTo>
                  <a:pt x="117" y="105"/>
                  <a:pt x="117" y="106"/>
                  <a:pt x="116" y="106"/>
                </a:cubicBezTo>
                <a:cubicBezTo>
                  <a:pt x="115" y="106"/>
                  <a:pt x="113" y="106"/>
                  <a:pt x="112" y="107"/>
                </a:cubicBezTo>
                <a:cubicBezTo>
                  <a:pt x="112" y="107"/>
                  <a:pt x="110" y="108"/>
                  <a:pt x="110" y="109"/>
                </a:cubicBezTo>
                <a:cubicBezTo>
                  <a:pt x="110" y="109"/>
                  <a:pt x="106" y="110"/>
                  <a:pt x="106" y="111"/>
                </a:cubicBezTo>
                <a:cubicBezTo>
                  <a:pt x="105" y="112"/>
                  <a:pt x="105" y="113"/>
                  <a:pt x="105" y="114"/>
                </a:cubicBezTo>
                <a:cubicBezTo>
                  <a:pt x="105" y="114"/>
                  <a:pt x="106" y="116"/>
                  <a:pt x="106" y="116"/>
                </a:cubicBezTo>
                <a:cubicBezTo>
                  <a:pt x="106" y="117"/>
                  <a:pt x="105" y="119"/>
                  <a:pt x="104" y="120"/>
                </a:cubicBezTo>
                <a:cubicBezTo>
                  <a:pt x="104" y="120"/>
                  <a:pt x="103" y="122"/>
                  <a:pt x="103" y="122"/>
                </a:cubicBezTo>
                <a:cubicBezTo>
                  <a:pt x="103" y="123"/>
                  <a:pt x="101" y="127"/>
                  <a:pt x="101" y="127"/>
                </a:cubicBezTo>
                <a:cubicBezTo>
                  <a:pt x="101" y="126"/>
                  <a:pt x="101" y="125"/>
                  <a:pt x="100" y="125"/>
                </a:cubicBezTo>
                <a:cubicBezTo>
                  <a:pt x="99" y="125"/>
                  <a:pt x="99" y="124"/>
                  <a:pt x="98" y="125"/>
                </a:cubicBezTo>
                <a:cubicBezTo>
                  <a:pt x="98" y="125"/>
                  <a:pt x="98" y="127"/>
                  <a:pt x="98" y="127"/>
                </a:cubicBezTo>
                <a:cubicBezTo>
                  <a:pt x="99" y="129"/>
                  <a:pt x="99" y="129"/>
                  <a:pt x="99" y="129"/>
                </a:cubicBezTo>
                <a:cubicBezTo>
                  <a:pt x="100" y="129"/>
                  <a:pt x="101" y="129"/>
                  <a:pt x="101" y="130"/>
                </a:cubicBezTo>
                <a:cubicBezTo>
                  <a:pt x="101" y="131"/>
                  <a:pt x="100" y="132"/>
                  <a:pt x="100" y="133"/>
                </a:cubicBezTo>
                <a:cubicBezTo>
                  <a:pt x="99" y="133"/>
                  <a:pt x="99" y="135"/>
                  <a:pt x="99" y="135"/>
                </a:cubicBezTo>
                <a:cubicBezTo>
                  <a:pt x="99" y="136"/>
                  <a:pt x="100" y="141"/>
                  <a:pt x="100" y="141"/>
                </a:cubicBezTo>
                <a:cubicBezTo>
                  <a:pt x="99" y="142"/>
                  <a:pt x="97" y="143"/>
                  <a:pt x="97" y="144"/>
                </a:cubicBezTo>
                <a:cubicBezTo>
                  <a:pt x="97" y="144"/>
                  <a:pt x="95" y="144"/>
                  <a:pt x="94" y="144"/>
                </a:cubicBezTo>
                <a:cubicBezTo>
                  <a:pt x="93" y="144"/>
                  <a:pt x="93" y="143"/>
                  <a:pt x="93" y="142"/>
                </a:cubicBezTo>
                <a:cubicBezTo>
                  <a:pt x="93" y="142"/>
                  <a:pt x="92" y="139"/>
                  <a:pt x="92" y="139"/>
                </a:cubicBezTo>
                <a:cubicBezTo>
                  <a:pt x="92" y="139"/>
                  <a:pt x="92" y="138"/>
                  <a:pt x="92" y="137"/>
                </a:cubicBezTo>
                <a:cubicBezTo>
                  <a:pt x="92" y="137"/>
                  <a:pt x="89" y="136"/>
                  <a:pt x="88" y="136"/>
                </a:cubicBezTo>
                <a:cubicBezTo>
                  <a:pt x="87" y="136"/>
                  <a:pt x="83" y="136"/>
                  <a:pt x="83" y="136"/>
                </a:cubicBezTo>
                <a:cubicBezTo>
                  <a:pt x="83" y="136"/>
                  <a:pt x="82" y="135"/>
                  <a:pt x="81" y="135"/>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5" name="Norway"/>
          <p:cNvSpPr>
            <a:spLocks/>
          </p:cNvSpPr>
          <p:nvPr/>
        </p:nvSpPr>
        <p:spPr bwMode="auto">
          <a:xfrm>
            <a:off x="6310607" y="960587"/>
            <a:ext cx="704533" cy="1083160"/>
          </a:xfrm>
          <a:custGeom>
            <a:avLst/>
            <a:gdLst>
              <a:gd name="connsiteX0" fmla="*/ 191199 w 684823"/>
              <a:gd name="connsiteY0" fmla="*/ 619582 h 1052858"/>
              <a:gd name="connsiteX1" fmla="*/ 191992 w 684823"/>
              <a:gd name="connsiteY1" fmla="*/ 621765 h 1052858"/>
              <a:gd name="connsiteX2" fmla="*/ 187759 w 684823"/>
              <a:gd name="connsiteY2" fmla="*/ 623705 h 1052858"/>
              <a:gd name="connsiteX3" fmla="*/ 185642 w 684823"/>
              <a:gd name="connsiteY3" fmla="*/ 627585 h 1052858"/>
              <a:gd name="connsiteX4" fmla="*/ 185642 w 684823"/>
              <a:gd name="connsiteY4" fmla="*/ 631466 h 1052858"/>
              <a:gd name="connsiteX5" fmla="*/ 181409 w 684823"/>
              <a:gd name="connsiteY5" fmla="*/ 627585 h 1052858"/>
              <a:gd name="connsiteX6" fmla="*/ 185642 w 684823"/>
              <a:gd name="connsiteY6" fmla="*/ 621765 h 1052858"/>
              <a:gd name="connsiteX7" fmla="*/ 191199 w 684823"/>
              <a:gd name="connsiteY7" fmla="*/ 619582 h 1052858"/>
              <a:gd name="connsiteX8" fmla="*/ 202821 w 684823"/>
              <a:gd name="connsiteY8" fmla="*/ 605797 h 1052858"/>
              <a:gd name="connsiteX9" fmla="*/ 205373 w 684823"/>
              <a:gd name="connsiteY9" fmla="*/ 608070 h 1052858"/>
              <a:gd name="connsiteX10" fmla="*/ 207414 w 684823"/>
              <a:gd name="connsiteY10" fmla="*/ 610091 h 1052858"/>
              <a:gd name="connsiteX11" fmla="*/ 209455 w 684823"/>
              <a:gd name="connsiteY11" fmla="*/ 614132 h 1052858"/>
              <a:gd name="connsiteX12" fmla="*/ 207414 w 684823"/>
              <a:gd name="connsiteY12" fmla="*/ 616152 h 1052858"/>
              <a:gd name="connsiteX13" fmla="*/ 199250 w 684823"/>
              <a:gd name="connsiteY13" fmla="*/ 620193 h 1052858"/>
              <a:gd name="connsiteX14" fmla="*/ 195167 w 684823"/>
              <a:gd name="connsiteY14" fmla="*/ 616152 h 1052858"/>
              <a:gd name="connsiteX15" fmla="*/ 197208 w 684823"/>
              <a:gd name="connsiteY15" fmla="*/ 608070 h 1052858"/>
              <a:gd name="connsiteX16" fmla="*/ 202821 w 684823"/>
              <a:gd name="connsiteY16" fmla="*/ 605797 h 1052858"/>
              <a:gd name="connsiteX17" fmla="*/ 224457 w 684823"/>
              <a:gd name="connsiteY17" fmla="*/ 583108 h 1052858"/>
              <a:gd name="connsiteX18" fmla="*/ 226600 w 684823"/>
              <a:gd name="connsiteY18" fmla="*/ 583356 h 1052858"/>
              <a:gd name="connsiteX19" fmla="*/ 224695 w 684823"/>
              <a:gd name="connsiteY19" fmla="*/ 593278 h 1052858"/>
              <a:gd name="connsiteX20" fmla="*/ 220885 w 684823"/>
              <a:gd name="connsiteY20" fmla="*/ 587325 h 1052858"/>
              <a:gd name="connsiteX21" fmla="*/ 224457 w 684823"/>
              <a:gd name="connsiteY21" fmla="*/ 583108 h 1052858"/>
              <a:gd name="connsiteX22" fmla="*/ 251127 w 684823"/>
              <a:gd name="connsiteY22" fmla="*/ 561912 h 1052858"/>
              <a:gd name="connsiteX23" fmla="*/ 255719 w 684823"/>
              <a:gd name="connsiteY23" fmla="*/ 563169 h 1052858"/>
              <a:gd name="connsiteX24" fmla="*/ 255719 w 684823"/>
              <a:gd name="connsiteY24" fmla="*/ 575233 h 1052858"/>
              <a:gd name="connsiteX25" fmla="*/ 243473 w 684823"/>
              <a:gd name="connsiteY25" fmla="*/ 579255 h 1052858"/>
              <a:gd name="connsiteX26" fmla="*/ 237349 w 684823"/>
              <a:gd name="connsiteY26" fmla="*/ 579255 h 1052858"/>
              <a:gd name="connsiteX27" fmla="*/ 241432 w 684823"/>
              <a:gd name="connsiteY27" fmla="*/ 571212 h 1052858"/>
              <a:gd name="connsiteX28" fmla="*/ 249596 w 684823"/>
              <a:gd name="connsiteY28" fmla="*/ 565179 h 1052858"/>
              <a:gd name="connsiteX29" fmla="*/ 251127 w 684823"/>
              <a:gd name="connsiteY29" fmla="*/ 561912 h 1052858"/>
              <a:gd name="connsiteX30" fmla="*/ 325652 w 684823"/>
              <a:gd name="connsiteY30" fmla="*/ 533690 h 1052858"/>
              <a:gd name="connsiteX31" fmla="*/ 327107 w 684823"/>
              <a:gd name="connsiteY31" fmla="*/ 534200 h 1052858"/>
              <a:gd name="connsiteX32" fmla="*/ 330988 w 684823"/>
              <a:gd name="connsiteY32" fmla="*/ 534200 h 1052858"/>
              <a:gd name="connsiteX33" fmla="*/ 334868 w 684823"/>
              <a:gd name="connsiteY33" fmla="*/ 536241 h 1052858"/>
              <a:gd name="connsiteX34" fmla="*/ 327107 w 684823"/>
              <a:gd name="connsiteY34" fmla="*/ 544405 h 1052858"/>
              <a:gd name="connsiteX35" fmla="*/ 317405 w 684823"/>
              <a:gd name="connsiteY35" fmla="*/ 544405 h 1052858"/>
              <a:gd name="connsiteX36" fmla="*/ 321286 w 684823"/>
              <a:gd name="connsiteY36" fmla="*/ 536241 h 1052858"/>
              <a:gd name="connsiteX37" fmla="*/ 325652 w 684823"/>
              <a:gd name="connsiteY37" fmla="*/ 533690 h 1052858"/>
              <a:gd name="connsiteX38" fmla="*/ 332222 w 684823"/>
              <a:gd name="connsiteY38" fmla="*/ 523428 h 1052858"/>
              <a:gd name="connsiteX39" fmla="*/ 338572 w 684823"/>
              <a:gd name="connsiteY39" fmla="*/ 529381 h 1052858"/>
              <a:gd name="connsiteX40" fmla="*/ 340689 w 684823"/>
              <a:gd name="connsiteY40" fmla="*/ 531365 h 1052858"/>
              <a:gd name="connsiteX41" fmla="*/ 338572 w 684823"/>
              <a:gd name="connsiteY41" fmla="*/ 533350 h 1052858"/>
              <a:gd name="connsiteX42" fmla="*/ 332222 w 684823"/>
              <a:gd name="connsiteY42" fmla="*/ 527397 h 1052858"/>
              <a:gd name="connsiteX43" fmla="*/ 332222 w 684823"/>
              <a:gd name="connsiteY43" fmla="*/ 523428 h 1052858"/>
              <a:gd name="connsiteX44" fmla="*/ 356457 w 684823"/>
              <a:gd name="connsiteY44" fmla="*/ 522634 h 1052858"/>
              <a:gd name="connsiteX45" fmla="*/ 360267 w 684823"/>
              <a:gd name="connsiteY45" fmla="*/ 526603 h 1052858"/>
              <a:gd name="connsiteX46" fmla="*/ 356457 w 684823"/>
              <a:gd name="connsiteY46" fmla="*/ 530571 h 1052858"/>
              <a:gd name="connsiteX47" fmla="*/ 352647 w 684823"/>
              <a:gd name="connsiteY47" fmla="*/ 526603 h 1052858"/>
              <a:gd name="connsiteX48" fmla="*/ 356457 w 684823"/>
              <a:gd name="connsiteY48" fmla="*/ 522634 h 1052858"/>
              <a:gd name="connsiteX49" fmla="*/ 325342 w 684823"/>
              <a:gd name="connsiteY49" fmla="*/ 521443 h 1052858"/>
              <a:gd name="connsiteX50" fmla="*/ 325342 w 684823"/>
              <a:gd name="connsiteY50" fmla="*/ 529381 h 1052858"/>
              <a:gd name="connsiteX51" fmla="*/ 318992 w 684823"/>
              <a:gd name="connsiteY51" fmla="*/ 535334 h 1052858"/>
              <a:gd name="connsiteX52" fmla="*/ 314759 w 684823"/>
              <a:gd name="connsiteY52" fmla="*/ 535334 h 1052858"/>
              <a:gd name="connsiteX53" fmla="*/ 312642 w 684823"/>
              <a:gd name="connsiteY53" fmla="*/ 531365 h 1052858"/>
              <a:gd name="connsiteX54" fmla="*/ 318992 w 684823"/>
              <a:gd name="connsiteY54" fmla="*/ 525412 h 1052858"/>
              <a:gd name="connsiteX55" fmla="*/ 325342 w 684823"/>
              <a:gd name="connsiteY55" fmla="*/ 521443 h 1052858"/>
              <a:gd name="connsiteX56" fmla="*/ 346774 w 684823"/>
              <a:gd name="connsiteY56" fmla="*/ 521126 h 1052858"/>
              <a:gd name="connsiteX57" fmla="*/ 348759 w 684823"/>
              <a:gd name="connsiteY57" fmla="*/ 521681 h 1052858"/>
              <a:gd name="connsiteX58" fmla="*/ 346774 w 684823"/>
              <a:gd name="connsiteY58" fmla="*/ 528349 h 1052858"/>
              <a:gd name="connsiteX59" fmla="*/ 344790 w 684823"/>
              <a:gd name="connsiteY59" fmla="*/ 523904 h 1052858"/>
              <a:gd name="connsiteX60" fmla="*/ 346774 w 684823"/>
              <a:gd name="connsiteY60" fmla="*/ 521126 h 1052858"/>
              <a:gd name="connsiteX61" fmla="*/ 426942 w 684823"/>
              <a:gd name="connsiteY61" fmla="*/ 483343 h 1052858"/>
              <a:gd name="connsiteX62" fmla="*/ 432896 w 684823"/>
              <a:gd name="connsiteY62" fmla="*/ 483343 h 1052858"/>
              <a:gd name="connsiteX63" fmla="*/ 434880 w 684823"/>
              <a:gd name="connsiteY63" fmla="*/ 485328 h 1052858"/>
              <a:gd name="connsiteX64" fmla="*/ 428927 w 684823"/>
              <a:gd name="connsiteY64" fmla="*/ 489296 h 1052858"/>
              <a:gd name="connsiteX65" fmla="*/ 426942 w 684823"/>
              <a:gd name="connsiteY65" fmla="*/ 483343 h 1052858"/>
              <a:gd name="connsiteX66" fmla="*/ 446522 w 684823"/>
              <a:gd name="connsiteY66" fmla="*/ 476597 h 1052858"/>
              <a:gd name="connsiteX67" fmla="*/ 450755 w 684823"/>
              <a:gd name="connsiteY67" fmla="*/ 480566 h 1052858"/>
              <a:gd name="connsiteX68" fmla="*/ 444405 w 684823"/>
              <a:gd name="connsiteY68" fmla="*/ 480566 h 1052858"/>
              <a:gd name="connsiteX69" fmla="*/ 446522 w 684823"/>
              <a:gd name="connsiteY69" fmla="*/ 476597 h 1052858"/>
              <a:gd name="connsiteX70" fmla="*/ 470167 w 684823"/>
              <a:gd name="connsiteY70" fmla="*/ 470246 h 1052858"/>
              <a:gd name="connsiteX71" fmla="*/ 474149 w 684823"/>
              <a:gd name="connsiteY71" fmla="*/ 474237 h 1052858"/>
              <a:gd name="connsiteX72" fmla="*/ 474149 w 684823"/>
              <a:gd name="connsiteY72" fmla="*/ 480222 h 1052858"/>
              <a:gd name="connsiteX73" fmla="*/ 468176 w 684823"/>
              <a:gd name="connsiteY73" fmla="*/ 484213 h 1052858"/>
              <a:gd name="connsiteX74" fmla="*/ 466185 w 684823"/>
              <a:gd name="connsiteY74" fmla="*/ 492194 h 1052858"/>
              <a:gd name="connsiteX75" fmla="*/ 460213 w 684823"/>
              <a:gd name="connsiteY75" fmla="*/ 502170 h 1052858"/>
              <a:gd name="connsiteX76" fmla="*/ 458222 w 684823"/>
              <a:gd name="connsiteY76" fmla="*/ 512146 h 1052858"/>
              <a:gd name="connsiteX77" fmla="*/ 458222 w 684823"/>
              <a:gd name="connsiteY77" fmla="*/ 518132 h 1052858"/>
              <a:gd name="connsiteX78" fmla="*/ 454240 w 684823"/>
              <a:gd name="connsiteY78" fmla="*/ 526113 h 1052858"/>
              <a:gd name="connsiteX79" fmla="*/ 456231 w 684823"/>
              <a:gd name="connsiteY79" fmla="*/ 532099 h 1052858"/>
              <a:gd name="connsiteX80" fmla="*/ 458222 w 684823"/>
              <a:gd name="connsiteY80" fmla="*/ 534094 h 1052858"/>
              <a:gd name="connsiteX81" fmla="*/ 462204 w 684823"/>
              <a:gd name="connsiteY81" fmla="*/ 532099 h 1052858"/>
              <a:gd name="connsiteX82" fmla="*/ 464194 w 684823"/>
              <a:gd name="connsiteY82" fmla="*/ 530103 h 1052858"/>
              <a:gd name="connsiteX83" fmla="*/ 468176 w 684823"/>
              <a:gd name="connsiteY83" fmla="*/ 526113 h 1052858"/>
              <a:gd name="connsiteX84" fmla="*/ 466185 w 684823"/>
              <a:gd name="connsiteY84" fmla="*/ 522122 h 1052858"/>
              <a:gd name="connsiteX85" fmla="*/ 466185 w 684823"/>
              <a:gd name="connsiteY85" fmla="*/ 518132 h 1052858"/>
              <a:gd name="connsiteX86" fmla="*/ 470167 w 684823"/>
              <a:gd name="connsiteY86" fmla="*/ 510151 h 1052858"/>
              <a:gd name="connsiteX87" fmla="*/ 474149 w 684823"/>
              <a:gd name="connsiteY87" fmla="*/ 504165 h 1052858"/>
              <a:gd name="connsiteX88" fmla="*/ 478131 w 684823"/>
              <a:gd name="connsiteY88" fmla="*/ 498180 h 1052858"/>
              <a:gd name="connsiteX89" fmla="*/ 480122 w 684823"/>
              <a:gd name="connsiteY89" fmla="*/ 492194 h 1052858"/>
              <a:gd name="connsiteX90" fmla="*/ 486095 w 684823"/>
              <a:gd name="connsiteY90" fmla="*/ 488203 h 1052858"/>
              <a:gd name="connsiteX91" fmla="*/ 490076 w 684823"/>
              <a:gd name="connsiteY91" fmla="*/ 492194 h 1052858"/>
              <a:gd name="connsiteX92" fmla="*/ 490076 w 684823"/>
              <a:gd name="connsiteY92" fmla="*/ 498180 h 1052858"/>
              <a:gd name="connsiteX93" fmla="*/ 486095 w 684823"/>
              <a:gd name="connsiteY93" fmla="*/ 504165 h 1052858"/>
              <a:gd name="connsiteX94" fmla="*/ 490076 w 684823"/>
              <a:gd name="connsiteY94" fmla="*/ 508156 h 1052858"/>
              <a:gd name="connsiteX95" fmla="*/ 490076 w 684823"/>
              <a:gd name="connsiteY95" fmla="*/ 514141 h 1052858"/>
              <a:gd name="connsiteX96" fmla="*/ 492067 w 684823"/>
              <a:gd name="connsiteY96" fmla="*/ 516137 h 1052858"/>
              <a:gd name="connsiteX97" fmla="*/ 494058 w 684823"/>
              <a:gd name="connsiteY97" fmla="*/ 512146 h 1052858"/>
              <a:gd name="connsiteX98" fmla="*/ 498040 w 684823"/>
              <a:gd name="connsiteY98" fmla="*/ 508156 h 1052858"/>
              <a:gd name="connsiteX99" fmla="*/ 502022 w 684823"/>
              <a:gd name="connsiteY99" fmla="*/ 506161 h 1052858"/>
              <a:gd name="connsiteX100" fmla="*/ 506004 w 684823"/>
              <a:gd name="connsiteY100" fmla="*/ 500175 h 1052858"/>
              <a:gd name="connsiteX101" fmla="*/ 506004 w 684823"/>
              <a:gd name="connsiteY101" fmla="*/ 494189 h 1052858"/>
              <a:gd name="connsiteX102" fmla="*/ 504013 w 684823"/>
              <a:gd name="connsiteY102" fmla="*/ 488203 h 1052858"/>
              <a:gd name="connsiteX103" fmla="*/ 507995 w 684823"/>
              <a:gd name="connsiteY103" fmla="*/ 486208 h 1052858"/>
              <a:gd name="connsiteX104" fmla="*/ 507995 w 684823"/>
              <a:gd name="connsiteY104" fmla="*/ 482218 h 1052858"/>
              <a:gd name="connsiteX105" fmla="*/ 509986 w 684823"/>
              <a:gd name="connsiteY105" fmla="*/ 474237 h 1052858"/>
              <a:gd name="connsiteX106" fmla="*/ 517949 w 684823"/>
              <a:gd name="connsiteY106" fmla="*/ 478227 h 1052858"/>
              <a:gd name="connsiteX107" fmla="*/ 523922 w 684823"/>
              <a:gd name="connsiteY107" fmla="*/ 478227 h 1052858"/>
              <a:gd name="connsiteX108" fmla="*/ 529895 w 684823"/>
              <a:gd name="connsiteY108" fmla="*/ 484213 h 1052858"/>
              <a:gd name="connsiteX109" fmla="*/ 521931 w 684823"/>
              <a:gd name="connsiteY109" fmla="*/ 494189 h 1052858"/>
              <a:gd name="connsiteX110" fmla="*/ 523922 w 684823"/>
              <a:gd name="connsiteY110" fmla="*/ 500175 h 1052858"/>
              <a:gd name="connsiteX111" fmla="*/ 521931 w 684823"/>
              <a:gd name="connsiteY111" fmla="*/ 504165 h 1052858"/>
              <a:gd name="connsiteX112" fmla="*/ 521931 w 684823"/>
              <a:gd name="connsiteY112" fmla="*/ 508156 h 1052858"/>
              <a:gd name="connsiteX113" fmla="*/ 529895 w 684823"/>
              <a:gd name="connsiteY113" fmla="*/ 508156 h 1052858"/>
              <a:gd name="connsiteX114" fmla="*/ 531886 w 684823"/>
              <a:gd name="connsiteY114" fmla="*/ 504165 h 1052858"/>
              <a:gd name="connsiteX115" fmla="*/ 533877 w 684823"/>
              <a:gd name="connsiteY115" fmla="*/ 502170 h 1052858"/>
              <a:gd name="connsiteX116" fmla="*/ 537859 w 684823"/>
              <a:gd name="connsiteY116" fmla="*/ 496184 h 1052858"/>
              <a:gd name="connsiteX117" fmla="*/ 545822 w 684823"/>
              <a:gd name="connsiteY117" fmla="*/ 490199 h 1052858"/>
              <a:gd name="connsiteX118" fmla="*/ 557768 w 684823"/>
              <a:gd name="connsiteY118" fmla="*/ 492194 h 1052858"/>
              <a:gd name="connsiteX119" fmla="*/ 561750 w 684823"/>
              <a:gd name="connsiteY119" fmla="*/ 496184 h 1052858"/>
              <a:gd name="connsiteX120" fmla="*/ 567723 w 684823"/>
              <a:gd name="connsiteY120" fmla="*/ 504165 h 1052858"/>
              <a:gd name="connsiteX121" fmla="*/ 575686 w 684823"/>
              <a:gd name="connsiteY121" fmla="*/ 508156 h 1052858"/>
              <a:gd name="connsiteX122" fmla="*/ 581659 w 684823"/>
              <a:gd name="connsiteY122" fmla="*/ 510151 h 1052858"/>
              <a:gd name="connsiteX123" fmla="*/ 583650 w 684823"/>
              <a:gd name="connsiteY123" fmla="*/ 512146 h 1052858"/>
              <a:gd name="connsiteX124" fmla="*/ 589623 w 684823"/>
              <a:gd name="connsiteY124" fmla="*/ 512146 h 1052858"/>
              <a:gd name="connsiteX125" fmla="*/ 587632 w 684823"/>
              <a:gd name="connsiteY125" fmla="*/ 518132 h 1052858"/>
              <a:gd name="connsiteX126" fmla="*/ 575686 w 684823"/>
              <a:gd name="connsiteY126" fmla="*/ 526113 h 1052858"/>
              <a:gd name="connsiteX127" fmla="*/ 557768 w 684823"/>
              <a:gd name="connsiteY127" fmla="*/ 528108 h 1052858"/>
              <a:gd name="connsiteX128" fmla="*/ 541840 w 684823"/>
              <a:gd name="connsiteY128" fmla="*/ 524118 h 1052858"/>
              <a:gd name="connsiteX129" fmla="*/ 547813 w 684823"/>
              <a:gd name="connsiteY129" fmla="*/ 532099 h 1052858"/>
              <a:gd name="connsiteX130" fmla="*/ 561750 w 684823"/>
              <a:gd name="connsiteY130" fmla="*/ 536089 h 1052858"/>
              <a:gd name="connsiteX131" fmla="*/ 565732 w 684823"/>
              <a:gd name="connsiteY131" fmla="*/ 542075 h 1052858"/>
              <a:gd name="connsiteX132" fmla="*/ 567723 w 684823"/>
              <a:gd name="connsiteY132" fmla="*/ 546065 h 1052858"/>
              <a:gd name="connsiteX133" fmla="*/ 571704 w 684823"/>
              <a:gd name="connsiteY133" fmla="*/ 550056 h 1052858"/>
              <a:gd name="connsiteX134" fmla="*/ 577677 w 684823"/>
              <a:gd name="connsiteY134" fmla="*/ 550056 h 1052858"/>
              <a:gd name="connsiteX135" fmla="*/ 581659 w 684823"/>
              <a:gd name="connsiteY135" fmla="*/ 546065 h 1052858"/>
              <a:gd name="connsiteX136" fmla="*/ 595595 w 684823"/>
              <a:gd name="connsiteY136" fmla="*/ 550056 h 1052858"/>
              <a:gd name="connsiteX137" fmla="*/ 601568 w 684823"/>
              <a:gd name="connsiteY137" fmla="*/ 552051 h 1052858"/>
              <a:gd name="connsiteX138" fmla="*/ 599577 w 684823"/>
              <a:gd name="connsiteY138" fmla="*/ 554046 h 1052858"/>
              <a:gd name="connsiteX139" fmla="*/ 599577 w 684823"/>
              <a:gd name="connsiteY139" fmla="*/ 560032 h 1052858"/>
              <a:gd name="connsiteX140" fmla="*/ 597586 w 684823"/>
              <a:gd name="connsiteY140" fmla="*/ 570008 h 1052858"/>
              <a:gd name="connsiteX141" fmla="*/ 595595 w 684823"/>
              <a:gd name="connsiteY141" fmla="*/ 573999 h 1052858"/>
              <a:gd name="connsiteX142" fmla="*/ 595595 w 684823"/>
              <a:gd name="connsiteY142" fmla="*/ 579985 h 1052858"/>
              <a:gd name="connsiteX143" fmla="*/ 593605 w 684823"/>
              <a:gd name="connsiteY143" fmla="*/ 583975 h 1052858"/>
              <a:gd name="connsiteX144" fmla="*/ 583650 w 684823"/>
              <a:gd name="connsiteY144" fmla="*/ 581980 h 1052858"/>
              <a:gd name="connsiteX145" fmla="*/ 575686 w 684823"/>
              <a:gd name="connsiteY145" fmla="*/ 577989 h 1052858"/>
              <a:gd name="connsiteX146" fmla="*/ 567723 w 684823"/>
              <a:gd name="connsiteY146" fmla="*/ 575994 h 1052858"/>
              <a:gd name="connsiteX147" fmla="*/ 567723 w 684823"/>
              <a:gd name="connsiteY147" fmla="*/ 573999 h 1052858"/>
              <a:gd name="connsiteX148" fmla="*/ 565732 w 684823"/>
              <a:gd name="connsiteY148" fmla="*/ 575994 h 1052858"/>
              <a:gd name="connsiteX149" fmla="*/ 559759 w 684823"/>
              <a:gd name="connsiteY149" fmla="*/ 573999 h 1052858"/>
              <a:gd name="connsiteX150" fmla="*/ 551795 w 684823"/>
              <a:gd name="connsiteY150" fmla="*/ 566018 h 1052858"/>
              <a:gd name="connsiteX151" fmla="*/ 543831 w 684823"/>
              <a:gd name="connsiteY151" fmla="*/ 564023 h 1052858"/>
              <a:gd name="connsiteX152" fmla="*/ 539850 w 684823"/>
              <a:gd name="connsiteY152" fmla="*/ 558037 h 1052858"/>
              <a:gd name="connsiteX153" fmla="*/ 535868 w 684823"/>
              <a:gd name="connsiteY153" fmla="*/ 556042 h 1052858"/>
              <a:gd name="connsiteX154" fmla="*/ 529895 w 684823"/>
              <a:gd name="connsiteY154" fmla="*/ 558037 h 1052858"/>
              <a:gd name="connsiteX155" fmla="*/ 527904 w 684823"/>
              <a:gd name="connsiteY155" fmla="*/ 564023 h 1052858"/>
              <a:gd name="connsiteX156" fmla="*/ 523922 w 684823"/>
              <a:gd name="connsiteY156" fmla="*/ 568013 h 1052858"/>
              <a:gd name="connsiteX157" fmla="*/ 515958 w 684823"/>
              <a:gd name="connsiteY157" fmla="*/ 564023 h 1052858"/>
              <a:gd name="connsiteX158" fmla="*/ 509986 w 684823"/>
              <a:gd name="connsiteY158" fmla="*/ 566018 h 1052858"/>
              <a:gd name="connsiteX159" fmla="*/ 500031 w 684823"/>
              <a:gd name="connsiteY159" fmla="*/ 568013 h 1052858"/>
              <a:gd name="connsiteX160" fmla="*/ 498040 w 684823"/>
              <a:gd name="connsiteY160" fmla="*/ 572004 h 1052858"/>
              <a:gd name="connsiteX161" fmla="*/ 494058 w 684823"/>
              <a:gd name="connsiteY161" fmla="*/ 572004 h 1052858"/>
              <a:gd name="connsiteX162" fmla="*/ 492067 w 684823"/>
              <a:gd name="connsiteY162" fmla="*/ 575994 h 1052858"/>
              <a:gd name="connsiteX163" fmla="*/ 488086 w 684823"/>
              <a:gd name="connsiteY163" fmla="*/ 579985 h 1052858"/>
              <a:gd name="connsiteX164" fmla="*/ 484104 w 684823"/>
              <a:gd name="connsiteY164" fmla="*/ 585970 h 1052858"/>
              <a:gd name="connsiteX165" fmla="*/ 486095 w 684823"/>
              <a:gd name="connsiteY165" fmla="*/ 591956 h 1052858"/>
              <a:gd name="connsiteX166" fmla="*/ 488086 w 684823"/>
              <a:gd name="connsiteY166" fmla="*/ 597942 h 1052858"/>
              <a:gd name="connsiteX167" fmla="*/ 480122 w 684823"/>
              <a:gd name="connsiteY167" fmla="*/ 601932 h 1052858"/>
              <a:gd name="connsiteX168" fmla="*/ 474149 w 684823"/>
              <a:gd name="connsiteY168" fmla="*/ 607918 h 1052858"/>
              <a:gd name="connsiteX169" fmla="*/ 474149 w 684823"/>
              <a:gd name="connsiteY169" fmla="*/ 613904 h 1052858"/>
              <a:gd name="connsiteX170" fmla="*/ 470167 w 684823"/>
              <a:gd name="connsiteY170" fmla="*/ 617894 h 1052858"/>
              <a:gd name="connsiteX171" fmla="*/ 466185 w 684823"/>
              <a:gd name="connsiteY171" fmla="*/ 615899 h 1052858"/>
              <a:gd name="connsiteX172" fmla="*/ 460213 w 684823"/>
              <a:gd name="connsiteY172" fmla="*/ 613904 h 1052858"/>
              <a:gd name="connsiteX173" fmla="*/ 456231 w 684823"/>
              <a:gd name="connsiteY173" fmla="*/ 609913 h 1052858"/>
              <a:gd name="connsiteX174" fmla="*/ 444285 w 684823"/>
              <a:gd name="connsiteY174" fmla="*/ 607918 h 1052858"/>
              <a:gd name="connsiteX175" fmla="*/ 438312 w 684823"/>
              <a:gd name="connsiteY175" fmla="*/ 611909 h 1052858"/>
              <a:gd name="connsiteX176" fmla="*/ 432340 w 684823"/>
              <a:gd name="connsiteY176" fmla="*/ 613904 h 1052858"/>
              <a:gd name="connsiteX177" fmla="*/ 424376 w 684823"/>
              <a:gd name="connsiteY177" fmla="*/ 613904 h 1052858"/>
              <a:gd name="connsiteX178" fmla="*/ 420394 w 684823"/>
              <a:gd name="connsiteY178" fmla="*/ 611909 h 1052858"/>
              <a:gd name="connsiteX179" fmla="*/ 414421 w 684823"/>
              <a:gd name="connsiteY179" fmla="*/ 613904 h 1052858"/>
              <a:gd name="connsiteX180" fmla="*/ 408449 w 684823"/>
              <a:gd name="connsiteY180" fmla="*/ 609913 h 1052858"/>
              <a:gd name="connsiteX181" fmla="*/ 404467 w 684823"/>
              <a:gd name="connsiteY181" fmla="*/ 601932 h 1052858"/>
              <a:gd name="connsiteX182" fmla="*/ 400485 w 684823"/>
              <a:gd name="connsiteY182" fmla="*/ 593951 h 1052858"/>
              <a:gd name="connsiteX183" fmla="*/ 396503 w 684823"/>
              <a:gd name="connsiteY183" fmla="*/ 587966 h 1052858"/>
              <a:gd name="connsiteX184" fmla="*/ 394512 w 684823"/>
              <a:gd name="connsiteY184" fmla="*/ 579985 h 1052858"/>
              <a:gd name="connsiteX185" fmla="*/ 388539 w 684823"/>
              <a:gd name="connsiteY185" fmla="*/ 579985 h 1052858"/>
              <a:gd name="connsiteX186" fmla="*/ 384558 w 684823"/>
              <a:gd name="connsiteY186" fmla="*/ 579985 h 1052858"/>
              <a:gd name="connsiteX187" fmla="*/ 380576 w 684823"/>
              <a:gd name="connsiteY187" fmla="*/ 585970 h 1052858"/>
              <a:gd name="connsiteX188" fmla="*/ 378585 w 684823"/>
              <a:gd name="connsiteY188" fmla="*/ 589961 h 1052858"/>
              <a:gd name="connsiteX189" fmla="*/ 376594 w 684823"/>
              <a:gd name="connsiteY189" fmla="*/ 593951 h 1052858"/>
              <a:gd name="connsiteX190" fmla="*/ 372612 w 684823"/>
              <a:gd name="connsiteY190" fmla="*/ 593951 h 1052858"/>
              <a:gd name="connsiteX191" fmla="*/ 366639 w 684823"/>
              <a:gd name="connsiteY191" fmla="*/ 589961 h 1052858"/>
              <a:gd name="connsiteX192" fmla="*/ 362657 w 684823"/>
              <a:gd name="connsiteY192" fmla="*/ 593951 h 1052858"/>
              <a:gd name="connsiteX193" fmla="*/ 360666 w 684823"/>
              <a:gd name="connsiteY193" fmla="*/ 599937 h 1052858"/>
              <a:gd name="connsiteX194" fmla="*/ 360666 w 684823"/>
              <a:gd name="connsiteY194" fmla="*/ 609913 h 1052858"/>
              <a:gd name="connsiteX195" fmla="*/ 360666 w 684823"/>
              <a:gd name="connsiteY195" fmla="*/ 613904 h 1052858"/>
              <a:gd name="connsiteX196" fmla="*/ 360666 w 684823"/>
              <a:gd name="connsiteY196" fmla="*/ 621885 h 1052858"/>
              <a:gd name="connsiteX197" fmla="*/ 354694 w 684823"/>
              <a:gd name="connsiteY197" fmla="*/ 623880 h 1052858"/>
              <a:gd name="connsiteX198" fmla="*/ 344739 w 684823"/>
              <a:gd name="connsiteY198" fmla="*/ 619890 h 1052858"/>
              <a:gd name="connsiteX199" fmla="*/ 342748 w 684823"/>
              <a:gd name="connsiteY199" fmla="*/ 613904 h 1052858"/>
              <a:gd name="connsiteX200" fmla="*/ 338766 w 684823"/>
              <a:gd name="connsiteY200" fmla="*/ 613904 h 1052858"/>
              <a:gd name="connsiteX201" fmla="*/ 332793 w 684823"/>
              <a:gd name="connsiteY201" fmla="*/ 613904 h 1052858"/>
              <a:gd name="connsiteX202" fmla="*/ 322839 w 684823"/>
              <a:gd name="connsiteY202" fmla="*/ 613904 h 1052858"/>
              <a:gd name="connsiteX203" fmla="*/ 314875 w 684823"/>
              <a:gd name="connsiteY203" fmla="*/ 615899 h 1052858"/>
              <a:gd name="connsiteX204" fmla="*/ 316866 w 684823"/>
              <a:gd name="connsiteY204" fmla="*/ 621885 h 1052858"/>
              <a:gd name="connsiteX205" fmla="*/ 318857 w 684823"/>
              <a:gd name="connsiteY205" fmla="*/ 627871 h 1052858"/>
              <a:gd name="connsiteX206" fmla="*/ 316866 w 684823"/>
              <a:gd name="connsiteY206" fmla="*/ 635852 h 1052858"/>
              <a:gd name="connsiteX207" fmla="*/ 310893 w 684823"/>
              <a:gd name="connsiteY207" fmla="*/ 637847 h 1052858"/>
              <a:gd name="connsiteX208" fmla="*/ 302930 w 684823"/>
              <a:gd name="connsiteY208" fmla="*/ 633856 h 1052858"/>
              <a:gd name="connsiteX209" fmla="*/ 294966 w 684823"/>
              <a:gd name="connsiteY209" fmla="*/ 635852 h 1052858"/>
              <a:gd name="connsiteX210" fmla="*/ 294966 w 684823"/>
              <a:gd name="connsiteY210" fmla="*/ 641837 h 1052858"/>
              <a:gd name="connsiteX211" fmla="*/ 290984 w 684823"/>
              <a:gd name="connsiteY211" fmla="*/ 643833 h 1052858"/>
              <a:gd name="connsiteX212" fmla="*/ 287002 w 684823"/>
              <a:gd name="connsiteY212" fmla="*/ 647823 h 1052858"/>
              <a:gd name="connsiteX213" fmla="*/ 283020 w 684823"/>
              <a:gd name="connsiteY213" fmla="*/ 653809 h 1052858"/>
              <a:gd name="connsiteX214" fmla="*/ 275057 w 684823"/>
              <a:gd name="connsiteY214" fmla="*/ 661790 h 1052858"/>
              <a:gd name="connsiteX215" fmla="*/ 273066 w 684823"/>
              <a:gd name="connsiteY215" fmla="*/ 671766 h 1052858"/>
              <a:gd name="connsiteX216" fmla="*/ 275057 w 684823"/>
              <a:gd name="connsiteY216" fmla="*/ 679747 h 1052858"/>
              <a:gd name="connsiteX217" fmla="*/ 271075 w 684823"/>
              <a:gd name="connsiteY217" fmla="*/ 687728 h 1052858"/>
              <a:gd name="connsiteX218" fmla="*/ 263111 w 684823"/>
              <a:gd name="connsiteY218" fmla="*/ 697704 h 1052858"/>
              <a:gd name="connsiteX219" fmla="*/ 259129 w 684823"/>
              <a:gd name="connsiteY219" fmla="*/ 705685 h 1052858"/>
              <a:gd name="connsiteX220" fmla="*/ 255147 w 684823"/>
              <a:gd name="connsiteY220" fmla="*/ 715661 h 1052858"/>
              <a:gd name="connsiteX221" fmla="*/ 247184 w 684823"/>
              <a:gd name="connsiteY221" fmla="*/ 717657 h 1052858"/>
              <a:gd name="connsiteX222" fmla="*/ 241211 w 684823"/>
              <a:gd name="connsiteY222" fmla="*/ 719652 h 1052858"/>
              <a:gd name="connsiteX223" fmla="*/ 237229 w 684823"/>
              <a:gd name="connsiteY223" fmla="*/ 723642 h 1052858"/>
              <a:gd name="connsiteX224" fmla="*/ 237229 w 684823"/>
              <a:gd name="connsiteY224" fmla="*/ 737609 h 1052858"/>
              <a:gd name="connsiteX225" fmla="*/ 233247 w 684823"/>
              <a:gd name="connsiteY225" fmla="*/ 747585 h 1052858"/>
              <a:gd name="connsiteX226" fmla="*/ 229265 w 684823"/>
              <a:gd name="connsiteY226" fmla="*/ 757562 h 1052858"/>
              <a:gd name="connsiteX227" fmla="*/ 225284 w 684823"/>
              <a:gd name="connsiteY227" fmla="*/ 771528 h 1052858"/>
              <a:gd name="connsiteX228" fmla="*/ 221302 w 684823"/>
              <a:gd name="connsiteY228" fmla="*/ 785495 h 1052858"/>
              <a:gd name="connsiteX229" fmla="*/ 223293 w 684823"/>
              <a:gd name="connsiteY229" fmla="*/ 791481 h 1052858"/>
              <a:gd name="connsiteX230" fmla="*/ 231256 w 684823"/>
              <a:gd name="connsiteY230" fmla="*/ 799462 h 1052858"/>
              <a:gd name="connsiteX231" fmla="*/ 227275 w 684823"/>
              <a:gd name="connsiteY231" fmla="*/ 805448 h 1052858"/>
              <a:gd name="connsiteX232" fmla="*/ 219311 w 684823"/>
              <a:gd name="connsiteY232" fmla="*/ 811433 h 1052858"/>
              <a:gd name="connsiteX233" fmla="*/ 211347 w 684823"/>
              <a:gd name="connsiteY233" fmla="*/ 809438 h 1052858"/>
              <a:gd name="connsiteX234" fmla="*/ 201392 w 684823"/>
              <a:gd name="connsiteY234" fmla="*/ 807443 h 1052858"/>
              <a:gd name="connsiteX235" fmla="*/ 191438 w 684823"/>
              <a:gd name="connsiteY235" fmla="*/ 813429 h 1052858"/>
              <a:gd name="connsiteX236" fmla="*/ 187456 w 684823"/>
              <a:gd name="connsiteY236" fmla="*/ 821410 h 1052858"/>
              <a:gd name="connsiteX237" fmla="*/ 185465 w 684823"/>
              <a:gd name="connsiteY237" fmla="*/ 835376 h 1052858"/>
              <a:gd name="connsiteX238" fmla="*/ 185465 w 684823"/>
              <a:gd name="connsiteY238" fmla="*/ 851338 h 1052858"/>
              <a:gd name="connsiteX239" fmla="*/ 185465 w 684823"/>
              <a:gd name="connsiteY239" fmla="*/ 859319 h 1052858"/>
              <a:gd name="connsiteX240" fmla="*/ 187456 w 684823"/>
              <a:gd name="connsiteY240" fmla="*/ 867300 h 1052858"/>
              <a:gd name="connsiteX241" fmla="*/ 185465 w 684823"/>
              <a:gd name="connsiteY241" fmla="*/ 877276 h 1052858"/>
              <a:gd name="connsiteX242" fmla="*/ 181483 w 684823"/>
              <a:gd name="connsiteY242" fmla="*/ 893238 h 1052858"/>
              <a:gd name="connsiteX243" fmla="*/ 183474 w 684823"/>
              <a:gd name="connsiteY243" fmla="*/ 905210 h 1052858"/>
              <a:gd name="connsiteX244" fmla="*/ 189447 w 684823"/>
              <a:gd name="connsiteY244" fmla="*/ 909200 h 1052858"/>
              <a:gd name="connsiteX245" fmla="*/ 195420 w 684823"/>
              <a:gd name="connsiteY245" fmla="*/ 917181 h 1052858"/>
              <a:gd name="connsiteX246" fmla="*/ 197411 w 684823"/>
              <a:gd name="connsiteY246" fmla="*/ 927158 h 1052858"/>
              <a:gd name="connsiteX247" fmla="*/ 189447 w 684823"/>
              <a:gd name="connsiteY247" fmla="*/ 933143 h 1052858"/>
              <a:gd name="connsiteX248" fmla="*/ 187456 w 684823"/>
              <a:gd name="connsiteY248" fmla="*/ 941124 h 1052858"/>
              <a:gd name="connsiteX249" fmla="*/ 187456 w 684823"/>
              <a:gd name="connsiteY249" fmla="*/ 955091 h 1052858"/>
              <a:gd name="connsiteX250" fmla="*/ 183474 w 684823"/>
              <a:gd name="connsiteY250" fmla="*/ 965067 h 1052858"/>
              <a:gd name="connsiteX251" fmla="*/ 181483 w 684823"/>
              <a:gd name="connsiteY251" fmla="*/ 969058 h 1052858"/>
              <a:gd name="connsiteX252" fmla="*/ 177501 w 684823"/>
              <a:gd name="connsiteY252" fmla="*/ 977039 h 1052858"/>
              <a:gd name="connsiteX253" fmla="*/ 169538 w 684823"/>
              <a:gd name="connsiteY253" fmla="*/ 987015 h 1052858"/>
              <a:gd name="connsiteX254" fmla="*/ 163565 w 684823"/>
              <a:gd name="connsiteY254" fmla="*/ 993001 h 1052858"/>
              <a:gd name="connsiteX255" fmla="*/ 159583 w 684823"/>
              <a:gd name="connsiteY255" fmla="*/ 996991 h 1052858"/>
              <a:gd name="connsiteX256" fmla="*/ 157592 w 684823"/>
              <a:gd name="connsiteY256" fmla="*/ 1000982 h 1052858"/>
              <a:gd name="connsiteX257" fmla="*/ 155601 w 684823"/>
              <a:gd name="connsiteY257" fmla="*/ 1008963 h 1052858"/>
              <a:gd name="connsiteX258" fmla="*/ 149628 w 684823"/>
              <a:gd name="connsiteY258" fmla="*/ 1002977 h 1052858"/>
              <a:gd name="connsiteX259" fmla="*/ 147638 w 684823"/>
              <a:gd name="connsiteY259" fmla="*/ 998986 h 1052858"/>
              <a:gd name="connsiteX260" fmla="*/ 147638 w 684823"/>
              <a:gd name="connsiteY260" fmla="*/ 994996 h 1052858"/>
              <a:gd name="connsiteX261" fmla="*/ 145647 w 684823"/>
              <a:gd name="connsiteY261" fmla="*/ 991005 h 1052858"/>
              <a:gd name="connsiteX262" fmla="*/ 141665 w 684823"/>
              <a:gd name="connsiteY262" fmla="*/ 989010 h 1052858"/>
              <a:gd name="connsiteX263" fmla="*/ 137683 w 684823"/>
              <a:gd name="connsiteY263" fmla="*/ 993001 h 1052858"/>
              <a:gd name="connsiteX264" fmla="*/ 139674 w 684823"/>
              <a:gd name="connsiteY264" fmla="*/ 1000982 h 1052858"/>
              <a:gd name="connsiteX265" fmla="*/ 135692 w 684823"/>
              <a:gd name="connsiteY265" fmla="*/ 1008963 h 1052858"/>
              <a:gd name="connsiteX266" fmla="*/ 127728 w 684823"/>
              <a:gd name="connsiteY266" fmla="*/ 1012953 h 1052858"/>
              <a:gd name="connsiteX267" fmla="*/ 121756 w 684823"/>
              <a:gd name="connsiteY267" fmla="*/ 1014948 h 1052858"/>
              <a:gd name="connsiteX268" fmla="*/ 117774 w 684823"/>
              <a:gd name="connsiteY268" fmla="*/ 1012953 h 1052858"/>
              <a:gd name="connsiteX269" fmla="*/ 109810 w 684823"/>
              <a:gd name="connsiteY269" fmla="*/ 1014948 h 1052858"/>
              <a:gd name="connsiteX270" fmla="*/ 109810 w 684823"/>
              <a:gd name="connsiteY270" fmla="*/ 1020934 h 1052858"/>
              <a:gd name="connsiteX271" fmla="*/ 97864 w 684823"/>
              <a:gd name="connsiteY271" fmla="*/ 1032906 h 1052858"/>
              <a:gd name="connsiteX272" fmla="*/ 93883 w 684823"/>
              <a:gd name="connsiteY272" fmla="*/ 1040887 h 1052858"/>
              <a:gd name="connsiteX273" fmla="*/ 77955 w 684823"/>
              <a:gd name="connsiteY273" fmla="*/ 1050863 h 1052858"/>
              <a:gd name="connsiteX274" fmla="*/ 56055 w 684823"/>
              <a:gd name="connsiteY274" fmla="*/ 1052858 h 1052858"/>
              <a:gd name="connsiteX275" fmla="*/ 46100 w 684823"/>
              <a:gd name="connsiteY275" fmla="*/ 1046872 h 1052858"/>
              <a:gd name="connsiteX276" fmla="*/ 40128 w 684823"/>
              <a:gd name="connsiteY276" fmla="*/ 1040887 h 1052858"/>
              <a:gd name="connsiteX277" fmla="*/ 36146 w 684823"/>
              <a:gd name="connsiteY277" fmla="*/ 1036896 h 1052858"/>
              <a:gd name="connsiteX278" fmla="*/ 26191 w 684823"/>
              <a:gd name="connsiteY278" fmla="*/ 1030910 h 1052858"/>
              <a:gd name="connsiteX279" fmla="*/ 20218 w 684823"/>
              <a:gd name="connsiteY279" fmla="*/ 1028915 h 1052858"/>
              <a:gd name="connsiteX280" fmla="*/ 20218 w 684823"/>
              <a:gd name="connsiteY280" fmla="*/ 1020934 h 1052858"/>
              <a:gd name="connsiteX281" fmla="*/ 18227 w 684823"/>
              <a:gd name="connsiteY281" fmla="*/ 1010958 h 1052858"/>
              <a:gd name="connsiteX282" fmla="*/ 22209 w 684823"/>
              <a:gd name="connsiteY282" fmla="*/ 1004972 h 1052858"/>
              <a:gd name="connsiteX283" fmla="*/ 24200 w 684823"/>
              <a:gd name="connsiteY283" fmla="*/ 1008963 h 1052858"/>
              <a:gd name="connsiteX284" fmla="*/ 30173 w 684823"/>
              <a:gd name="connsiteY284" fmla="*/ 1014948 h 1052858"/>
              <a:gd name="connsiteX285" fmla="*/ 30173 w 684823"/>
              <a:gd name="connsiteY285" fmla="*/ 1008963 h 1052858"/>
              <a:gd name="connsiteX286" fmla="*/ 26191 w 684823"/>
              <a:gd name="connsiteY286" fmla="*/ 1002977 h 1052858"/>
              <a:gd name="connsiteX287" fmla="*/ 32164 w 684823"/>
              <a:gd name="connsiteY287" fmla="*/ 1000982 h 1052858"/>
              <a:gd name="connsiteX288" fmla="*/ 36146 w 684823"/>
              <a:gd name="connsiteY288" fmla="*/ 998986 h 1052858"/>
              <a:gd name="connsiteX289" fmla="*/ 32164 w 684823"/>
              <a:gd name="connsiteY289" fmla="*/ 994996 h 1052858"/>
              <a:gd name="connsiteX290" fmla="*/ 30173 w 684823"/>
              <a:gd name="connsiteY290" fmla="*/ 991005 h 1052858"/>
              <a:gd name="connsiteX291" fmla="*/ 28182 w 684823"/>
              <a:gd name="connsiteY291" fmla="*/ 993001 h 1052858"/>
              <a:gd name="connsiteX292" fmla="*/ 26191 w 684823"/>
              <a:gd name="connsiteY292" fmla="*/ 994996 h 1052858"/>
              <a:gd name="connsiteX293" fmla="*/ 22209 w 684823"/>
              <a:gd name="connsiteY293" fmla="*/ 993001 h 1052858"/>
              <a:gd name="connsiteX294" fmla="*/ 18227 w 684823"/>
              <a:gd name="connsiteY294" fmla="*/ 994996 h 1052858"/>
              <a:gd name="connsiteX295" fmla="*/ 16237 w 684823"/>
              <a:gd name="connsiteY295" fmla="*/ 996991 h 1052858"/>
              <a:gd name="connsiteX296" fmla="*/ 16237 w 684823"/>
              <a:gd name="connsiteY296" fmla="*/ 1004972 h 1052858"/>
              <a:gd name="connsiteX297" fmla="*/ 8273 w 684823"/>
              <a:gd name="connsiteY297" fmla="*/ 1002977 h 1052858"/>
              <a:gd name="connsiteX298" fmla="*/ 12255 w 684823"/>
              <a:gd name="connsiteY298" fmla="*/ 996991 h 1052858"/>
              <a:gd name="connsiteX299" fmla="*/ 12255 w 684823"/>
              <a:gd name="connsiteY299" fmla="*/ 991005 h 1052858"/>
              <a:gd name="connsiteX300" fmla="*/ 22209 w 684823"/>
              <a:gd name="connsiteY300" fmla="*/ 983025 h 1052858"/>
              <a:gd name="connsiteX301" fmla="*/ 26191 w 684823"/>
              <a:gd name="connsiteY301" fmla="*/ 977039 h 1052858"/>
              <a:gd name="connsiteX302" fmla="*/ 30173 w 684823"/>
              <a:gd name="connsiteY302" fmla="*/ 973048 h 1052858"/>
              <a:gd name="connsiteX303" fmla="*/ 32164 w 684823"/>
              <a:gd name="connsiteY303" fmla="*/ 965067 h 1052858"/>
              <a:gd name="connsiteX304" fmla="*/ 30173 w 684823"/>
              <a:gd name="connsiteY304" fmla="*/ 965067 h 1052858"/>
              <a:gd name="connsiteX305" fmla="*/ 28182 w 684823"/>
              <a:gd name="connsiteY305" fmla="*/ 971053 h 1052858"/>
              <a:gd name="connsiteX306" fmla="*/ 22209 w 684823"/>
              <a:gd name="connsiteY306" fmla="*/ 973048 h 1052858"/>
              <a:gd name="connsiteX307" fmla="*/ 20218 w 684823"/>
              <a:gd name="connsiteY307" fmla="*/ 975044 h 1052858"/>
              <a:gd name="connsiteX308" fmla="*/ 14246 w 684823"/>
              <a:gd name="connsiteY308" fmla="*/ 979034 h 1052858"/>
              <a:gd name="connsiteX309" fmla="*/ 12255 w 684823"/>
              <a:gd name="connsiteY309" fmla="*/ 973048 h 1052858"/>
              <a:gd name="connsiteX310" fmla="*/ 16237 w 684823"/>
              <a:gd name="connsiteY310" fmla="*/ 967063 h 1052858"/>
              <a:gd name="connsiteX311" fmla="*/ 14246 w 684823"/>
              <a:gd name="connsiteY311" fmla="*/ 961077 h 1052858"/>
              <a:gd name="connsiteX312" fmla="*/ 4291 w 684823"/>
              <a:gd name="connsiteY312" fmla="*/ 965067 h 1052858"/>
              <a:gd name="connsiteX313" fmla="*/ 2300 w 684823"/>
              <a:gd name="connsiteY313" fmla="*/ 957086 h 1052858"/>
              <a:gd name="connsiteX314" fmla="*/ 2300 w 684823"/>
              <a:gd name="connsiteY314" fmla="*/ 949105 h 1052858"/>
              <a:gd name="connsiteX315" fmla="*/ 2300 w 684823"/>
              <a:gd name="connsiteY315" fmla="*/ 943120 h 1052858"/>
              <a:gd name="connsiteX316" fmla="*/ 10264 w 684823"/>
              <a:gd name="connsiteY316" fmla="*/ 939129 h 1052858"/>
              <a:gd name="connsiteX317" fmla="*/ 6282 w 684823"/>
              <a:gd name="connsiteY317" fmla="*/ 933143 h 1052858"/>
              <a:gd name="connsiteX318" fmla="*/ 2300 w 684823"/>
              <a:gd name="connsiteY318" fmla="*/ 929153 h 1052858"/>
              <a:gd name="connsiteX319" fmla="*/ 2300 w 684823"/>
              <a:gd name="connsiteY319" fmla="*/ 923167 h 1052858"/>
              <a:gd name="connsiteX320" fmla="*/ 4291 w 684823"/>
              <a:gd name="connsiteY320" fmla="*/ 923167 h 1052858"/>
              <a:gd name="connsiteX321" fmla="*/ 10264 w 684823"/>
              <a:gd name="connsiteY321" fmla="*/ 925162 h 1052858"/>
              <a:gd name="connsiteX322" fmla="*/ 8273 w 684823"/>
              <a:gd name="connsiteY322" fmla="*/ 919177 h 1052858"/>
              <a:gd name="connsiteX323" fmla="*/ 12255 w 684823"/>
              <a:gd name="connsiteY323" fmla="*/ 915186 h 1052858"/>
              <a:gd name="connsiteX324" fmla="*/ 12255 w 684823"/>
              <a:gd name="connsiteY324" fmla="*/ 913191 h 1052858"/>
              <a:gd name="connsiteX325" fmla="*/ 6282 w 684823"/>
              <a:gd name="connsiteY325" fmla="*/ 907205 h 1052858"/>
              <a:gd name="connsiteX326" fmla="*/ 8273 w 684823"/>
              <a:gd name="connsiteY326" fmla="*/ 903215 h 1052858"/>
              <a:gd name="connsiteX327" fmla="*/ 14246 w 684823"/>
              <a:gd name="connsiteY327" fmla="*/ 901219 h 1052858"/>
              <a:gd name="connsiteX328" fmla="*/ 14246 w 684823"/>
              <a:gd name="connsiteY328" fmla="*/ 897229 h 1052858"/>
              <a:gd name="connsiteX329" fmla="*/ 24200 w 684823"/>
              <a:gd name="connsiteY329" fmla="*/ 897229 h 1052858"/>
              <a:gd name="connsiteX330" fmla="*/ 26191 w 684823"/>
              <a:gd name="connsiteY330" fmla="*/ 893238 h 1052858"/>
              <a:gd name="connsiteX331" fmla="*/ 18227 w 684823"/>
              <a:gd name="connsiteY331" fmla="*/ 893238 h 1052858"/>
              <a:gd name="connsiteX332" fmla="*/ 6282 w 684823"/>
              <a:gd name="connsiteY332" fmla="*/ 893238 h 1052858"/>
              <a:gd name="connsiteX333" fmla="*/ 6282 w 684823"/>
              <a:gd name="connsiteY333" fmla="*/ 889248 h 1052858"/>
              <a:gd name="connsiteX334" fmla="*/ 10264 w 684823"/>
              <a:gd name="connsiteY334" fmla="*/ 887253 h 1052858"/>
              <a:gd name="connsiteX335" fmla="*/ 6282 w 684823"/>
              <a:gd name="connsiteY335" fmla="*/ 883262 h 1052858"/>
              <a:gd name="connsiteX336" fmla="*/ 14246 w 684823"/>
              <a:gd name="connsiteY336" fmla="*/ 881267 h 1052858"/>
              <a:gd name="connsiteX337" fmla="*/ 16237 w 684823"/>
              <a:gd name="connsiteY337" fmla="*/ 875281 h 1052858"/>
              <a:gd name="connsiteX338" fmla="*/ 22209 w 684823"/>
              <a:gd name="connsiteY338" fmla="*/ 875281 h 1052858"/>
              <a:gd name="connsiteX339" fmla="*/ 30173 w 684823"/>
              <a:gd name="connsiteY339" fmla="*/ 881267 h 1052858"/>
              <a:gd name="connsiteX340" fmla="*/ 34155 w 684823"/>
              <a:gd name="connsiteY340" fmla="*/ 877276 h 1052858"/>
              <a:gd name="connsiteX341" fmla="*/ 42119 w 684823"/>
              <a:gd name="connsiteY341" fmla="*/ 877276 h 1052858"/>
              <a:gd name="connsiteX342" fmla="*/ 50082 w 684823"/>
              <a:gd name="connsiteY342" fmla="*/ 881267 h 1052858"/>
              <a:gd name="connsiteX343" fmla="*/ 54064 w 684823"/>
              <a:gd name="connsiteY343" fmla="*/ 881267 h 1052858"/>
              <a:gd name="connsiteX344" fmla="*/ 50082 w 684823"/>
              <a:gd name="connsiteY344" fmla="*/ 875281 h 1052858"/>
              <a:gd name="connsiteX345" fmla="*/ 46100 w 684823"/>
              <a:gd name="connsiteY345" fmla="*/ 873286 h 1052858"/>
              <a:gd name="connsiteX346" fmla="*/ 40128 w 684823"/>
              <a:gd name="connsiteY346" fmla="*/ 871291 h 1052858"/>
              <a:gd name="connsiteX347" fmla="*/ 36146 w 684823"/>
              <a:gd name="connsiteY347" fmla="*/ 867300 h 1052858"/>
              <a:gd name="connsiteX348" fmla="*/ 38137 w 684823"/>
              <a:gd name="connsiteY348" fmla="*/ 865305 h 1052858"/>
              <a:gd name="connsiteX349" fmla="*/ 40128 w 684823"/>
              <a:gd name="connsiteY349" fmla="*/ 863310 h 1052858"/>
              <a:gd name="connsiteX350" fmla="*/ 46100 w 684823"/>
              <a:gd name="connsiteY350" fmla="*/ 859319 h 1052858"/>
              <a:gd name="connsiteX351" fmla="*/ 50082 w 684823"/>
              <a:gd name="connsiteY351" fmla="*/ 861314 h 1052858"/>
              <a:gd name="connsiteX352" fmla="*/ 56055 w 684823"/>
              <a:gd name="connsiteY352" fmla="*/ 861314 h 1052858"/>
              <a:gd name="connsiteX353" fmla="*/ 64019 w 684823"/>
              <a:gd name="connsiteY353" fmla="*/ 861314 h 1052858"/>
              <a:gd name="connsiteX354" fmla="*/ 58046 w 684823"/>
              <a:gd name="connsiteY354" fmla="*/ 859319 h 1052858"/>
              <a:gd name="connsiteX355" fmla="*/ 50082 w 684823"/>
              <a:gd name="connsiteY355" fmla="*/ 859319 h 1052858"/>
              <a:gd name="connsiteX356" fmla="*/ 52073 w 684823"/>
              <a:gd name="connsiteY356" fmla="*/ 853333 h 1052858"/>
              <a:gd name="connsiteX357" fmla="*/ 54064 w 684823"/>
              <a:gd name="connsiteY357" fmla="*/ 851338 h 1052858"/>
              <a:gd name="connsiteX358" fmla="*/ 56055 w 684823"/>
              <a:gd name="connsiteY358" fmla="*/ 849343 h 1052858"/>
              <a:gd name="connsiteX359" fmla="*/ 60037 w 684823"/>
              <a:gd name="connsiteY359" fmla="*/ 849343 h 1052858"/>
              <a:gd name="connsiteX360" fmla="*/ 68001 w 684823"/>
              <a:gd name="connsiteY360" fmla="*/ 851338 h 1052858"/>
              <a:gd name="connsiteX361" fmla="*/ 71982 w 684823"/>
              <a:gd name="connsiteY361" fmla="*/ 857324 h 1052858"/>
              <a:gd name="connsiteX362" fmla="*/ 77955 w 684823"/>
              <a:gd name="connsiteY362" fmla="*/ 859319 h 1052858"/>
              <a:gd name="connsiteX363" fmla="*/ 73973 w 684823"/>
              <a:gd name="connsiteY363" fmla="*/ 853333 h 1052858"/>
              <a:gd name="connsiteX364" fmla="*/ 73973 w 684823"/>
              <a:gd name="connsiteY364" fmla="*/ 847348 h 1052858"/>
              <a:gd name="connsiteX365" fmla="*/ 77955 w 684823"/>
              <a:gd name="connsiteY365" fmla="*/ 851338 h 1052858"/>
              <a:gd name="connsiteX366" fmla="*/ 81937 w 684823"/>
              <a:gd name="connsiteY366" fmla="*/ 855329 h 1052858"/>
              <a:gd name="connsiteX367" fmla="*/ 89901 w 684823"/>
              <a:gd name="connsiteY367" fmla="*/ 851338 h 1052858"/>
              <a:gd name="connsiteX368" fmla="*/ 81937 w 684823"/>
              <a:gd name="connsiteY368" fmla="*/ 847348 h 1052858"/>
              <a:gd name="connsiteX369" fmla="*/ 79946 w 684823"/>
              <a:gd name="connsiteY369" fmla="*/ 841362 h 1052858"/>
              <a:gd name="connsiteX370" fmla="*/ 85919 w 684823"/>
              <a:gd name="connsiteY370" fmla="*/ 839367 h 1052858"/>
              <a:gd name="connsiteX371" fmla="*/ 93883 w 684823"/>
              <a:gd name="connsiteY371" fmla="*/ 843357 h 1052858"/>
              <a:gd name="connsiteX372" fmla="*/ 93883 w 684823"/>
              <a:gd name="connsiteY372" fmla="*/ 837372 h 1052858"/>
              <a:gd name="connsiteX373" fmla="*/ 91892 w 684823"/>
              <a:gd name="connsiteY373" fmla="*/ 831386 h 1052858"/>
              <a:gd name="connsiteX374" fmla="*/ 91892 w 684823"/>
              <a:gd name="connsiteY374" fmla="*/ 827395 h 1052858"/>
              <a:gd name="connsiteX375" fmla="*/ 83928 w 684823"/>
              <a:gd name="connsiteY375" fmla="*/ 829391 h 1052858"/>
              <a:gd name="connsiteX376" fmla="*/ 81937 w 684823"/>
              <a:gd name="connsiteY376" fmla="*/ 825400 h 1052858"/>
              <a:gd name="connsiteX377" fmla="*/ 89901 w 684823"/>
              <a:gd name="connsiteY377" fmla="*/ 819414 h 1052858"/>
              <a:gd name="connsiteX378" fmla="*/ 91892 w 684823"/>
              <a:gd name="connsiteY378" fmla="*/ 817419 h 1052858"/>
              <a:gd name="connsiteX379" fmla="*/ 95874 w 684823"/>
              <a:gd name="connsiteY379" fmla="*/ 815424 h 1052858"/>
              <a:gd name="connsiteX380" fmla="*/ 99855 w 684823"/>
              <a:gd name="connsiteY380" fmla="*/ 815424 h 1052858"/>
              <a:gd name="connsiteX381" fmla="*/ 101846 w 684823"/>
              <a:gd name="connsiteY381" fmla="*/ 823405 h 1052858"/>
              <a:gd name="connsiteX382" fmla="*/ 103837 w 684823"/>
              <a:gd name="connsiteY382" fmla="*/ 825400 h 1052858"/>
              <a:gd name="connsiteX383" fmla="*/ 111801 w 684823"/>
              <a:gd name="connsiteY383" fmla="*/ 825400 h 1052858"/>
              <a:gd name="connsiteX384" fmla="*/ 115783 w 684823"/>
              <a:gd name="connsiteY384" fmla="*/ 827395 h 1052858"/>
              <a:gd name="connsiteX385" fmla="*/ 117774 w 684823"/>
              <a:gd name="connsiteY385" fmla="*/ 821410 h 1052858"/>
              <a:gd name="connsiteX386" fmla="*/ 115783 w 684823"/>
              <a:gd name="connsiteY386" fmla="*/ 819414 h 1052858"/>
              <a:gd name="connsiteX387" fmla="*/ 111801 w 684823"/>
              <a:gd name="connsiteY387" fmla="*/ 813429 h 1052858"/>
              <a:gd name="connsiteX388" fmla="*/ 115783 w 684823"/>
              <a:gd name="connsiteY388" fmla="*/ 811433 h 1052858"/>
              <a:gd name="connsiteX389" fmla="*/ 115783 w 684823"/>
              <a:gd name="connsiteY389" fmla="*/ 805448 h 1052858"/>
              <a:gd name="connsiteX390" fmla="*/ 117774 w 684823"/>
              <a:gd name="connsiteY390" fmla="*/ 801457 h 1052858"/>
              <a:gd name="connsiteX391" fmla="*/ 119765 w 684823"/>
              <a:gd name="connsiteY391" fmla="*/ 799462 h 1052858"/>
              <a:gd name="connsiteX392" fmla="*/ 123746 w 684823"/>
              <a:gd name="connsiteY392" fmla="*/ 793476 h 1052858"/>
              <a:gd name="connsiteX393" fmla="*/ 129719 w 684823"/>
              <a:gd name="connsiteY393" fmla="*/ 791481 h 1052858"/>
              <a:gd name="connsiteX394" fmla="*/ 131710 w 684823"/>
              <a:gd name="connsiteY394" fmla="*/ 791481 h 1052858"/>
              <a:gd name="connsiteX395" fmla="*/ 133701 w 684823"/>
              <a:gd name="connsiteY395" fmla="*/ 783500 h 1052858"/>
              <a:gd name="connsiteX396" fmla="*/ 139674 w 684823"/>
              <a:gd name="connsiteY396" fmla="*/ 781505 h 1052858"/>
              <a:gd name="connsiteX397" fmla="*/ 145647 w 684823"/>
              <a:gd name="connsiteY397" fmla="*/ 775519 h 1052858"/>
              <a:gd name="connsiteX398" fmla="*/ 149628 w 684823"/>
              <a:gd name="connsiteY398" fmla="*/ 775519 h 1052858"/>
              <a:gd name="connsiteX399" fmla="*/ 155601 w 684823"/>
              <a:gd name="connsiteY399" fmla="*/ 781505 h 1052858"/>
              <a:gd name="connsiteX400" fmla="*/ 157592 w 684823"/>
              <a:gd name="connsiteY400" fmla="*/ 783500 h 1052858"/>
              <a:gd name="connsiteX401" fmla="*/ 161574 w 684823"/>
              <a:gd name="connsiteY401" fmla="*/ 783500 h 1052858"/>
              <a:gd name="connsiteX402" fmla="*/ 159583 w 684823"/>
              <a:gd name="connsiteY402" fmla="*/ 779509 h 1052858"/>
              <a:gd name="connsiteX403" fmla="*/ 157592 w 684823"/>
              <a:gd name="connsiteY403" fmla="*/ 775519 h 1052858"/>
              <a:gd name="connsiteX404" fmla="*/ 159583 w 684823"/>
              <a:gd name="connsiteY404" fmla="*/ 773524 h 1052858"/>
              <a:gd name="connsiteX405" fmla="*/ 155601 w 684823"/>
              <a:gd name="connsiteY405" fmla="*/ 771528 h 1052858"/>
              <a:gd name="connsiteX406" fmla="*/ 155601 w 684823"/>
              <a:gd name="connsiteY406" fmla="*/ 763547 h 1052858"/>
              <a:gd name="connsiteX407" fmla="*/ 161574 w 684823"/>
              <a:gd name="connsiteY407" fmla="*/ 755566 h 1052858"/>
              <a:gd name="connsiteX408" fmla="*/ 169538 w 684823"/>
              <a:gd name="connsiteY408" fmla="*/ 755566 h 1052858"/>
              <a:gd name="connsiteX409" fmla="*/ 175510 w 684823"/>
              <a:gd name="connsiteY409" fmla="*/ 755566 h 1052858"/>
              <a:gd name="connsiteX410" fmla="*/ 173520 w 684823"/>
              <a:gd name="connsiteY410" fmla="*/ 751576 h 1052858"/>
              <a:gd name="connsiteX411" fmla="*/ 169538 w 684823"/>
              <a:gd name="connsiteY411" fmla="*/ 747585 h 1052858"/>
              <a:gd name="connsiteX412" fmla="*/ 169538 w 684823"/>
              <a:gd name="connsiteY412" fmla="*/ 741600 h 1052858"/>
              <a:gd name="connsiteX413" fmla="*/ 173520 w 684823"/>
              <a:gd name="connsiteY413" fmla="*/ 739604 h 1052858"/>
              <a:gd name="connsiteX414" fmla="*/ 179492 w 684823"/>
              <a:gd name="connsiteY414" fmla="*/ 739604 h 1052858"/>
              <a:gd name="connsiteX415" fmla="*/ 183474 w 684823"/>
              <a:gd name="connsiteY415" fmla="*/ 731623 h 1052858"/>
              <a:gd name="connsiteX416" fmla="*/ 187456 w 684823"/>
              <a:gd name="connsiteY416" fmla="*/ 721647 h 1052858"/>
              <a:gd name="connsiteX417" fmla="*/ 187456 w 684823"/>
              <a:gd name="connsiteY417" fmla="*/ 715661 h 1052858"/>
              <a:gd name="connsiteX418" fmla="*/ 189447 w 684823"/>
              <a:gd name="connsiteY418" fmla="*/ 711671 h 1052858"/>
              <a:gd name="connsiteX419" fmla="*/ 195420 w 684823"/>
              <a:gd name="connsiteY419" fmla="*/ 709676 h 1052858"/>
              <a:gd name="connsiteX420" fmla="*/ 201392 w 684823"/>
              <a:gd name="connsiteY420" fmla="*/ 707680 h 1052858"/>
              <a:gd name="connsiteX421" fmla="*/ 207365 w 684823"/>
              <a:gd name="connsiteY421" fmla="*/ 707680 h 1052858"/>
              <a:gd name="connsiteX422" fmla="*/ 211347 w 684823"/>
              <a:gd name="connsiteY422" fmla="*/ 701695 h 1052858"/>
              <a:gd name="connsiteX423" fmla="*/ 203383 w 684823"/>
              <a:gd name="connsiteY423" fmla="*/ 703690 h 1052858"/>
              <a:gd name="connsiteX424" fmla="*/ 195420 w 684823"/>
              <a:gd name="connsiteY424" fmla="*/ 703690 h 1052858"/>
              <a:gd name="connsiteX425" fmla="*/ 189447 w 684823"/>
              <a:gd name="connsiteY425" fmla="*/ 695709 h 1052858"/>
              <a:gd name="connsiteX426" fmla="*/ 189447 w 684823"/>
              <a:gd name="connsiteY426" fmla="*/ 689723 h 1052858"/>
              <a:gd name="connsiteX427" fmla="*/ 193429 w 684823"/>
              <a:gd name="connsiteY427" fmla="*/ 689723 h 1052858"/>
              <a:gd name="connsiteX428" fmla="*/ 195420 w 684823"/>
              <a:gd name="connsiteY428" fmla="*/ 693714 h 1052858"/>
              <a:gd name="connsiteX429" fmla="*/ 201392 w 684823"/>
              <a:gd name="connsiteY429" fmla="*/ 695709 h 1052858"/>
              <a:gd name="connsiteX430" fmla="*/ 199402 w 684823"/>
              <a:gd name="connsiteY430" fmla="*/ 691718 h 1052858"/>
              <a:gd name="connsiteX431" fmla="*/ 199402 w 684823"/>
              <a:gd name="connsiteY431" fmla="*/ 685733 h 1052858"/>
              <a:gd name="connsiteX432" fmla="*/ 203383 w 684823"/>
              <a:gd name="connsiteY432" fmla="*/ 681742 h 1052858"/>
              <a:gd name="connsiteX433" fmla="*/ 207365 w 684823"/>
              <a:gd name="connsiteY433" fmla="*/ 677752 h 1052858"/>
              <a:gd name="connsiteX434" fmla="*/ 211347 w 684823"/>
              <a:gd name="connsiteY434" fmla="*/ 671766 h 1052858"/>
              <a:gd name="connsiteX435" fmla="*/ 215329 w 684823"/>
              <a:gd name="connsiteY435" fmla="*/ 667775 h 1052858"/>
              <a:gd name="connsiteX436" fmla="*/ 225284 w 684823"/>
              <a:gd name="connsiteY436" fmla="*/ 669771 h 1052858"/>
              <a:gd name="connsiteX437" fmla="*/ 231256 w 684823"/>
              <a:gd name="connsiteY437" fmla="*/ 669771 h 1052858"/>
              <a:gd name="connsiteX438" fmla="*/ 235238 w 684823"/>
              <a:gd name="connsiteY438" fmla="*/ 665780 h 1052858"/>
              <a:gd name="connsiteX439" fmla="*/ 229265 w 684823"/>
              <a:gd name="connsiteY439" fmla="*/ 665780 h 1052858"/>
              <a:gd name="connsiteX440" fmla="*/ 225284 w 684823"/>
              <a:gd name="connsiteY440" fmla="*/ 661790 h 1052858"/>
              <a:gd name="connsiteX441" fmla="*/ 233247 w 684823"/>
              <a:gd name="connsiteY441" fmla="*/ 653809 h 1052858"/>
              <a:gd name="connsiteX442" fmla="*/ 243202 w 684823"/>
              <a:gd name="connsiteY442" fmla="*/ 655804 h 1052858"/>
              <a:gd name="connsiteX443" fmla="*/ 249175 w 684823"/>
              <a:gd name="connsiteY443" fmla="*/ 655804 h 1052858"/>
              <a:gd name="connsiteX444" fmla="*/ 243202 w 684823"/>
              <a:gd name="connsiteY444" fmla="*/ 649818 h 1052858"/>
              <a:gd name="connsiteX445" fmla="*/ 245193 w 684823"/>
              <a:gd name="connsiteY445" fmla="*/ 645828 h 1052858"/>
              <a:gd name="connsiteX446" fmla="*/ 249175 w 684823"/>
              <a:gd name="connsiteY446" fmla="*/ 641837 h 1052858"/>
              <a:gd name="connsiteX447" fmla="*/ 237229 w 684823"/>
              <a:gd name="connsiteY447" fmla="*/ 641837 h 1052858"/>
              <a:gd name="connsiteX448" fmla="*/ 233247 w 684823"/>
              <a:gd name="connsiteY448" fmla="*/ 639842 h 1052858"/>
              <a:gd name="connsiteX449" fmla="*/ 243202 w 684823"/>
              <a:gd name="connsiteY449" fmla="*/ 631861 h 1052858"/>
              <a:gd name="connsiteX450" fmla="*/ 249175 w 684823"/>
              <a:gd name="connsiteY450" fmla="*/ 627871 h 1052858"/>
              <a:gd name="connsiteX451" fmla="*/ 245193 w 684823"/>
              <a:gd name="connsiteY451" fmla="*/ 625875 h 1052858"/>
              <a:gd name="connsiteX452" fmla="*/ 239220 w 684823"/>
              <a:gd name="connsiteY452" fmla="*/ 623880 h 1052858"/>
              <a:gd name="connsiteX453" fmla="*/ 245193 w 684823"/>
              <a:gd name="connsiteY453" fmla="*/ 619890 h 1052858"/>
              <a:gd name="connsiteX454" fmla="*/ 249175 w 684823"/>
              <a:gd name="connsiteY454" fmla="*/ 613904 h 1052858"/>
              <a:gd name="connsiteX455" fmla="*/ 243202 w 684823"/>
              <a:gd name="connsiteY455" fmla="*/ 611909 h 1052858"/>
              <a:gd name="connsiteX456" fmla="*/ 241211 w 684823"/>
              <a:gd name="connsiteY456" fmla="*/ 609913 h 1052858"/>
              <a:gd name="connsiteX457" fmla="*/ 233247 w 684823"/>
              <a:gd name="connsiteY457" fmla="*/ 611909 h 1052858"/>
              <a:gd name="connsiteX458" fmla="*/ 223293 w 684823"/>
              <a:gd name="connsiteY458" fmla="*/ 615899 h 1052858"/>
              <a:gd name="connsiteX459" fmla="*/ 213338 w 684823"/>
              <a:gd name="connsiteY459" fmla="*/ 609913 h 1052858"/>
              <a:gd name="connsiteX460" fmla="*/ 217320 w 684823"/>
              <a:gd name="connsiteY460" fmla="*/ 605923 h 1052858"/>
              <a:gd name="connsiteX461" fmla="*/ 219311 w 684823"/>
              <a:gd name="connsiteY461" fmla="*/ 601932 h 1052858"/>
              <a:gd name="connsiteX462" fmla="*/ 223293 w 684823"/>
              <a:gd name="connsiteY462" fmla="*/ 599937 h 1052858"/>
              <a:gd name="connsiteX463" fmla="*/ 229265 w 684823"/>
              <a:gd name="connsiteY463" fmla="*/ 605923 h 1052858"/>
              <a:gd name="connsiteX464" fmla="*/ 233247 w 684823"/>
              <a:gd name="connsiteY464" fmla="*/ 603928 h 1052858"/>
              <a:gd name="connsiteX465" fmla="*/ 239220 w 684823"/>
              <a:gd name="connsiteY465" fmla="*/ 597942 h 1052858"/>
              <a:gd name="connsiteX466" fmla="*/ 241211 w 684823"/>
              <a:gd name="connsiteY466" fmla="*/ 589961 h 1052858"/>
              <a:gd name="connsiteX467" fmla="*/ 247184 w 684823"/>
              <a:gd name="connsiteY467" fmla="*/ 583975 h 1052858"/>
              <a:gd name="connsiteX468" fmla="*/ 251166 w 684823"/>
              <a:gd name="connsiteY468" fmla="*/ 583975 h 1052858"/>
              <a:gd name="connsiteX469" fmla="*/ 251166 w 684823"/>
              <a:gd name="connsiteY469" fmla="*/ 589961 h 1052858"/>
              <a:gd name="connsiteX470" fmla="*/ 251166 w 684823"/>
              <a:gd name="connsiteY470" fmla="*/ 593951 h 1052858"/>
              <a:gd name="connsiteX471" fmla="*/ 255147 w 684823"/>
              <a:gd name="connsiteY471" fmla="*/ 591956 h 1052858"/>
              <a:gd name="connsiteX472" fmla="*/ 259129 w 684823"/>
              <a:gd name="connsiteY472" fmla="*/ 589961 h 1052858"/>
              <a:gd name="connsiteX473" fmla="*/ 263111 w 684823"/>
              <a:gd name="connsiteY473" fmla="*/ 585970 h 1052858"/>
              <a:gd name="connsiteX474" fmla="*/ 267093 w 684823"/>
              <a:gd name="connsiteY474" fmla="*/ 583975 h 1052858"/>
              <a:gd name="connsiteX475" fmla="*/ 267093 w 684823"/>
              <a:gd name="connsiteY475" fmla="*/ 595947 h 1052858"/>
              <a:gd name="connsiteX476" fmla="*/ 267093 w 684823"/>
              <a:gd name="connsiteY476" fmla="*/ 603928 h 1052858"/>
              <a:gd name="connsiteX477" fmla="*/ 269084 w 684823"/>
              <a:gd name="connsiteY477" fmla="*/ 601932 h 1052858"/>
              <a:gd name="connsiteX478" fmla="*/ 271075 w 684823"/>
              <a:gd name="connsiteY478" fmla="*/ 599937 h 1052858"/>
              <a:gd name="connsiteX479" fmla="*/ 279039 w 684823"/>
              <a:gd name="connsiteY479" fmla="*/ 597942 h 1052858"/>
              <a:gd name="connsiteX480" fmla="*/ 285011 w 684823"/>
              <a:gd name="connsiteY480" fmla="*/ 597942 h 1052858"/>
              <a:gd name="connsiteX481" fmla="*/ 288993 w 684823"/>
              <a:gd name="connsiteY481" fmla="*/ 593951 h 1052858"/>
              <a:gd name="connsiteX482" fmla="*/ 290984 w 684823"/>
              <a:gd name="connsiteY482" fmla="*/ 587966 h 1052858"/>
              <a:gd name="connsiteX483" fmla="*/ 287002 w 684823"/>
              <a:gd name="connsiteY483" fmla="*/ 585970 h 1052858"/>
              <a:gd name="connsiteX484" fmla="*/ 285011 w 684823"/>
              <a:gd name="connsiteY484" fmla="*/ 581980 h 1052858"/>
              <a:gd name="connsiteX485" fmla="*/ 285011 w 684823"/>
              <a:gd name="connsiteY485" fmla="*/ 575994 h 1052858"/>
              <a:gd name="connsiteX486" fmla="*/ 283020 w 684823"/>
              <a:gd name="connsiteY486" fmla="*/ 575994 h 1052858"/>
              <a:gd name="connsiteX487" fmla="*/ 279039 w 684823"/>
              <a:gd name="connsiteY487" fmla="*/ 575994 h 1052858"/>
              <a:gd name="connsiteX488" fmla="*/ 275057 w 684823"/>
              <a:gd name="connsiteY488" fmla="*/ 579985 h 1052858"/>
              <a:gd name="connsiteX489" fmla="*/ 275057 w 684823"/>
              <a:gd name="connsiteY489" fmla="*/ 570008 h 1052858"/>
              <a:gd name="connsiteX490" fmla="*/ 273066 w 684823"/>
              <a:gd name="connsiteY490" fmla="*/ 564023 h 1052858"/>
              <a:gd name="connsiteX491" fmla="*/ 277048 w 684823"/>
              <a:gd name="connsiteY491" fmla="*/ 558037 h 1052858"/>
              <a:gd name="connsiteX492" fmla="*/ 279039 w 684823"/>
              <a:gd name="connsiteY492" fmla="*/ 558037 h 1052858"/>
              <a:gd name="connsiteX493" fmla="*/ 283020 w 684823"/>
              <a:gd name="connsiteY493" fmla="*/ 556042 h 1052858"/>
              <a:gd name="connsiteX494" fmla="*/ 285011 w 684823"/>
              <a:gd name="connsiteY494" fmla="*/ 556042 h 1052858"/>
              <a:gd name="connsiteX495" fmla="*/ 285011 w 684823"/>
              <a:gd name="connsiteY495" fmla="*/ 552051 h 1052858"/>
              <a:gd name="connsiteX496" fmla="*/ 287002 w 684823"/>
              <a:gd name="connsiteY496" fmla="*/ 552051 h 1052858"/>
              <a:gd name="connsiteX497" fmla="*/ 292975 w 684823"/>
              <a:gd name="connsiteY497" fmla="*/ 552051 h 1052858"/>
              <a:gd name="connsiteX498" fmla="*/ 296957 w 684823"/>
              <a:gd name="connsiteY498" fmla="*/ 560032 h 1052858"/>
              <a:gd name="connsiteX499" fmla="*/ 296957 w 684823"/>
              <a:gd name="connsiteY499" fmla="*/ 573999 h 1052858"/>
              <a:gd name="connsiteX500" fmla="*/ 298948 w 684823"/>
              <a:gd name="connsiteY500" fmla="*/ 568013 h 1052858"/>
              <a:gd name="connsiteX501" fmla="*/ 300939 w 684823"/>
              <a:gd name="connsiteY501" fmla="*/ 560032 h 1052858"/>
              <a:gd name="connsiteX502" fmla="*/ 306911 w 684823"/>
              <a:gd name="connsiteY502" fmla="*/ 564023 h 1052858"/>
              <a:gd name="connsiteX503" fmla="*/ 312884 w 684823"/>
              <a:gd name="connsiteY503" fmla="*/ 572004 h 1052858"/>
              <a:gd name="connsiteX504" fmla="*/ 312884 w 684823"/>
              <a:gd name="connsiteY504" fmla="*/ 564023 h 1052858"/>
              <a:gd name="connsiteX505" fmla="*/ 312884 w 684823"/>
              <a:gd name="connsiteY505" fmla="*/ 556042 h 1052858"/>
              <a:gd name="connsiteX506" fmla="*/ 316866 w 684823"/>
              <a:gd name="connsiteY506" fmla="*/ 558037 h 1052858"/>
              <a:gd name="connsiteX507" fmla="*/ 320848 w 684823"/>
              <a:gd name="connsiteY507" fmla="*/ 564023 h 1052858"/>
              <a:gd name="connsiteX508" fmla="*/ 326821 w 684823"/>
              <a:gd name="connsiteY508" fmla="*/ 568013 h 1052858"/>
              <a:gd name="connsiteX509" fmla="*/ 332793 w 684823"/>
              <a:gd name="connsiteY509" fmla="*/ 573999 h 1052858"/>
              <a:gd name="connsiteX510" fmla="*/ 332793 w 684823"/>
              <a:gd name="connsiteY510" fmla="*/ 568013 h 1052858"/>
              <a:gd name="connsiteX511" fmla="*/ 326821 w 684823"/>
              <a:gd name="connsiteY511" fmla="*/ 558037 h 1052858"/>
              <a:gd name="connsiteX512" fmla="*/ 332793 w 684823"/>
              <a:gd name="connsiteY512" fmla="*/ 546065 h 1052858"/>
              <a:gd name="connsiteX513" fmla="*/ 334784 w 684823"/>
              <a:gd name="connsiteY513" fmla="*/ 554046 h 1052858"/>
              <a:gd name="connsiteX514" fmla="*/ 336775 w 684823"/>
              <a:gd name="connsiteY514" fmla="*/ 560032 h 1052858"/>
              <a:gd name="connsiteX515" fmla="*/ 342748 w 684823"/>
              <a:gd name="connsiteY515" fmla="*/ 544070 h 1052858"/>
              <a:gd name="connsiteX516" fmla="*/ 346730 w 684823"/>
              <a:gd name="connsiteY516" fmla="*/ 538084 h 1052858"/>
              <a:gd name="connsiteX517" fmla="*/ 350712 w 684823"/>
              <a:gd name="connsiteY517" fmla="*/ 542075 h 1052858"/>
              <a:gd name="connsiteX518" fmla="*/ 346730 w 684823"/>
              <a:gd name="connsiteY518" fmla="*/ 552051 h 1052858"/>
              <a:gd name="connsiteX519" fmla="*/ 348721 w 684823"/>
              <a:gd name="connsiteY519" fmla="*/ 558037 h 1052858"/>
              <a:gd name="connsiteX520" fmla="*/ 352703 w 684823"/>
              <a:gd name="connsiteY520" fmla="*/ 552051 h 1052858"/>
              <a:gd name="connsiteX521" fmla="*/ 350712 w 684823"/>
              <a:gd name="connsiteY521" fmla="*/ 548061 h 1052858"/>
              <a:gd name="connsiteX522" fmla="*/ 352703 w 684823"/>
              <a:gd name="connsiteY522" fmla="*/ 544070 h 1052858"/>
              <a:gd name="connsiteX523" fmla="*/ 358675 w 684823"/>
              <a:gd name="connsiteY523" fmla="*/ 546065 h 1052858"/>
              <a:gd name="connsiteX524" fmla="*/ 360666 w 684823"/>
              <a:gd name="connsiteY524" fmla="*/ 548061 h 1052858"/>
              <a:gd name="connsiteX525" fmla="*/ 364648 w 684823"/>
              <a:gd name="connsiteY525" fmla="*/ 546065 h 1052858"/>
              <a:gd name="connsiteX526" fmla="*/ 368630 w 684823"/>
              <a:gd name="connsiteY526" fmla="*/ 546065 h 1052858"/>
              <a:gd name="connsiteX527" fmla="*/ 370621 w 684823"/>
              <a:gd name="connsiteY527" fmla="*/ 542075 h 1052858"/>
              <a:gd name="connsiteX528" fmla="*/ 368630 w 684823"/>
              <a:gd name="connsiteY528" fmla="*/ 538084 h 1052858"/>
              <a:gd name="connsiteX529" fmla="*/ 372612 w 684823"/>
              <a:gd name="connsiteY529" fmla="*/ 534094 h 1052858"/>
              <a:gd name="connsiteX530" fmla="*/ 376594 w 684823"/>
              <a:gd name="connsiteY530" fmla="*/ 538084 h 1052858"/>
              <a:gd name="connsiteX531" fmla="*/ 380576 w 684823"/>
              <a:gd name="connsiteY531" fmla="*/ 542075 h 1052858"/>
              <a:gd name="connsiteX532" fmla="*/ 382567 w 684823"/>
              <a:gd name="connsiteY532" fmla="*/ 548061 h 1052858"/>
              <a:gd name="connsiteX533" fmla="*/ 384558 w 684823"/>
              <a:gd name="connsiteY533" fmla="*/ 554046 h 1052858"/>
              <a:gd name="connsiteX534" fmla="*/ 386548 w 684823"/>
              <a:gd name="connsiteY534" fmla="*/ 546065 h 1052858"/>
              <a:gd name="connsiteX535" fmla="*/ 386548 w 684823"/>
              <a:gd name="connsiteY535" fmla="*/ 538084 h 1052858"/>
              <a:gd name="connsiteX536" fmla="*/ 378585 w 684823"/>
              <a:gd name="connsiteY536" fmla="*/ 532099 h 1052858"/>
              <a:gd name="connsiteX537" fmla="*/ 376594 w 684823"/>
              <a:gd name="connsiteY537" fmla="*/ 530103 h 1052858"/>
              <a:gd name="connsiteX538" fmla="*/ 374603 w 684823"/>
              <a:gd name="connsiteY538" fmla="*/ 526113 h 1052858"/>
              <a:gd name="connsiteX539" fmla="*/ 370621 w 684823"/>
              <a:gd name="connsiteY539" fmla="*/ 522122 h 1052858"/>
              <a:gd name="connsiteX540" fmla="*/ 370621 w 684823"/>
              <a:gd name="connsiteY540" fmla="*/ 512146 h 1052858"/>
              <a:gd name="connsiteX541" fmla="*/ 376594 w 684823"/>
              <a:gd name="connsiteY541" fmla="*/ 516137 h 1052858"/>
              <a:gd name="connsiteX542" fmla="*/ 378585 w 684823"/>
              <a:gd name="connsiteY542" fmla="*/ 518132 h 1052858"/>
              <a:gd name="connsiteX543" fmla="*/ 384558 w 684823"/>
              <a:gd name="connsiteY543" fmla="*/ 516137 h 1052858"/>
              <a:gd name="connsiteX544" fmla="*/ 388539 w 684823"/>
              <a:gd name="connsiteY544" fmla="*/ 512146 h 1052858"/>
              <a:gd name="connsiteX545" fmla="*/ 390530 w 684823"/>
              <a:gd name="connsiteY545" fmla="*/ 510151 h 1052858"/>
              <a:gd name="connsiteX546" fmla="*/ 390530 w 684823"/>
              <a:gd name="connsiteY546" fmla="*/ 504165 h 1052858"/>
              <a:gd name="connsiteX547" fmla="*/ 386548 w 684823"/>
              <a:gd name="connsiteY547" fmla="*/ 498180 h 1052858"/>
              <a:gd name="connsiteX548" fmla="*/ 390530 w 684823"/>
              <a:gd name="connsiteY548" fmla="*/ 494189 h 1052858"/>
              <a:gd name="connsiteX549" fmla="*/ 408449 w 684823"/>
              <a:gd name="connsiteY549" fmla="*/ 496184 h 1052858"/>
              <a:gd name="connsiteX550" fmla="*/ 412430 w 684823"/>
              <a:gd name="connsiteY550" fmla="*/ 502170 h 1052858"/>
              <a:gd name="connsiteX551" fmla="*/ 398494 w 684823"/>
              <a:gd name="connsiteY551" fmla="*/ 508156 h 1052858"/>
              <a:gd name="connsiteX552" fmla="*/ 394512 w 684823"/>
              <a:gd name="connsiteY552" fmla="*/ 512146 h 1052858"/>
              <a:gd name="connsiteX553" fmla="*/ 396503 w 684823"/>
              <a:gd name="connsiteY553" fmla="*/ 516137 h 1052858"/>
              <a:gd name="connsiteX554" fmla="*/ 404467 w 684823"/>
              <a:gd name="connsiteY554" fmla="*/ 518132 h 1052858"/>
              <a:gd name="connsiteX555" fmla="*/ 408449 w 684823"/>
              <a:gd name="connsiteY555" fmla="*/ 522122 h 1052858"/>
              <a:gd name="connsiteX556" fmla="*/ 404467 w 684823"/>
              <a:gd name="connsiteY556" fmla="*/ 528108 h 1052858"/>
              <a:gd name="connsiteX557" fmla="*/ 400485 w 684823"/>
              <a:gd name="connsiteY557" fmla="*/ 532099 h 1052858"/>
              <a:gd name="connsiteX558" fmla="*/ 406458 w 684823"/>
              <a:gd name="connsiteY558" fmla="*/ 534094 h 1052858"/>
              <a:gd name="connsiteX559" fmla="*/ 408449 w 684823"/>
              <a:gd name="connsiteY559" fmla="*/ 530103 h 1052858"/>
              <a:gd name="connsiteX560" fmla="*/ 414421 w 684823"/>
              <a:gd name="connsiteY560" fmla="*/ 534094 h 1052858"/>
              <a:gd name="connsiteX561" fmla="*/ 418403 w 684823"/>
              <a:gd name="connsiteY561" fmla="*/ 536089 h 1052858"/>
              <a:gd name="connsiteX562" fmla="*/ 424376 w 684823"/>
              <a:gd name="connsiteY562" fmla="*/ 538084 h 1052858"/>
              <a:gd name="connsiteX563" fmla="*/ 426367 w 684823"/>
              <a:gd name="connsiteY563" fmla="*/ 536089 h 1052858"/>
              <a:gd name="connsiteX564" fmla="*/ 424376 w 684823"/>
              <a:gd name="connsiteY564" fmla="*/ 534094 h 1052858"/>
              <a:gd name="connsiteX565" fmla="*/ 422385 w 684823"/>
              <a:gd name="connsiteY565" fmla="*/ 530103 h 1052858"/>
              <a:gd name="connsiteX566" fmla="*/ 422385 w 684823"/>
              <a:gd name="connsiteY566" fmla="*/ 526113 h 1052858"/>
              <a:gd name="connsiteX567" fmla="*/ 424376 w 684823"/>
              <a:gd name="connsiteY567" fmla="*/ 520127 h 1052858"/>
              <a:gd name="connsiteX568" fmla="*/ 426367 w 684823"/>
              <a:gd name="connsiteY568" fmla="*/ 514141 h 1052858"/>
              <a:gd name="connsiteX569" fmla="*/ 420394 w 684823"/>
              <a:gd name="connsiteY569" fmla="*/ 516137 h 1052858"/>
              <a:gd name="connsiteX570" fmla="*/ 416412 w 684823"/>
              <a:gd name="connsiteY570" fmla="*/ 518132 h 1052858"/>
              <a:gd name="connsiteX571" fmla="*/ 414421 w 684823"/>
              <a:gd name="connsiteY571" fmla="*/ 516137 h 1052858"/>
              <a:gd name="connsiteX572" fmla="*/ 410440 w 684823"/>
              <a:gd name="connsiteY572" fmla="*/ 510151 h 1052858"/>
              <a:gd name="connsiteX573" fmla="*/ 414421 w 684823"/>
              <a:gd name="connsiteY573" fmla="*/ 508156 h 1052858"/>
              <a:gd name="connsiteX574" fmla="*/ 418403 w 684823"/>
              <a:gd name="connsiteY574" fmla="*/ 506161 h 1052858"/>
              <a:gd name="connsiteX575" fmla="*/ 424376 w 684823"/>
              <a:gd name="connsiteY575" fmla="*/ 508156 h 1052858"/>
              <a:gd name="connsiteX576" fmla="*/ 430349 w 684823"/>
              <a:gd name="connsiteY576" fmla="*/ 510151 h 1052858"/>
              <a:gd name="connsiteX577" fmla="*/ 438312 w 684823"/>
              <a:gd name="connsiteY577" fmla="*/ 508156 h 1052858"/>
              <a:gd name="connsiteX578" fmla="*/ 440303 w 684823"/>
              <a:gd name="connsiteY578" fmla="*/ 504165 h 1052858"/>
              <a:gd name="connsiteX579" fmla="*/ 440303 w 684823"/>
              <a:gd name="connsiteY579" fmla="*/ 502170 h 1052858"/>
              <a:gd name="connsiteX580" fmla="*/ 438312 w 684823"/>
              <a:gd name="connsiteY580" fmla="*/ 498180 h 1052858"/>
              <a:gd name="connsiteX581" fmla="*/ 442294 w 684823"/>
              <a:gd name="connsiteY581" fmla="*/ 496184 h 1052858"/>
              <a:gd name="connsiteX582" fmla="*/ 444285 w 684823"/>
              <a:gd name="connsiteY582" fmla="*/ 494189 h 1052858"/>
              <a:gd name="connsiteX583" fmla="*/ 444285 w 684823"/>
              <a:gd name="connsiteY583" fmla="*/ 490199 h 1052858"/>
              <a:gd name="connsiteX584" fmla="*/ 452249 w 684823"/>
              <a:gd name="connsiteY584" fmla="*/ 492194 h 1052858"/>
              <a:gd name="connsiteX585" fmla="*/ 458222 w 684823"/>
              <a:gd name="connsiteY585" fmla="*/ 492194 h 1052858"/>
              <a:gd name="connsiteX586" fmla="*/ 460213 w 684823"/>
              <a:gd name="connsiteY586" fmla="*/ 486208 h 1052858"/>
              <a:gd name="connsiteX587" fmla="*/ 464194 w 684823"/>
              <a:gd name="connsiteY587" fmla="*/ 484213 h 1052858"/>
              <a:gd name="connsiteX588" fmla="*/ 466185 w 684823"/>
              <a:gd name="connsiteY588" fmla="*/ 484213 h 1052858"/>
              <a:gd name="connsiteX589" fmla="*/ 466185 w 684823"/>
              <a:gd name="connsiteY589" fmla="*/ 480222 h 1052858"/>
              <a:gd name="connsiteX590" fmla="*/ 460213 w 684823"/>
              <a:gd name="connsiteY590" fmla="*/ 480222 h 1052858"/>
              <a:gd name="connsiteX591" fmla="*/ 458222 w 684823"/>
              <a:gd name="connsiteY591" fmla="*/ 476232 h 1052858"/>
              <a:gd name="connsiteX592" fmla="*/ 462204 w 684823"/>
              <a:gd name="connsiteY592" fmla="*/ 476232 h 1052858"/>
              <a:gd name="connsiteX593" fmla="*/ 466185 w 684823"/>
              <a:gd name="connsiteY593" fmla="*/ 474237 h 1052858"/>
              <a:gd name="connsiteX594" fmla="*/ 470167 w 684823"/>
              <a:gd name="connsiteY594" fmla="*/ 470246 h 1052858"/>
              <a:gd name="connsiteX595" fmla="*/ 293064 w 684823"/>
              <a:gd name="connsiteY595" fmla="*/ 332134 h 1052858"/>
              <a:gd name="connsiteX596" fmla="*/ 301530 w 684823"/>
              <a:gd name="connsiteY596" fmla="*/ 334251 h 1052858"/>
              <a:gd name="connsiteX597" fmla="*/ 290947 w 684823"/>
              <a:gd name="connsiteY597" fmla="*/ 336367 h 1052858"/>
              <a:gd name="connsiteX598" fmla="*/ 293064 w 684823"/>
              <a:gd name="connsiteY598" fmla="*/ 332134 h 1052858"/>
              <a:gd name="connsiteX599" fmla="*/ 480600 w 684823"/>
              <a:gd name="connsiteY599" fmla="*/ 262284 h 1052858"/>
              <a:gd name="connsiteX600" fmla="*/ 485046 w 684823"/>
              <a:gd name="connsiteY600" fmla="*/ 266517 h 1052858"/>
              <a:gd name="connsiteX601" fmla="*/ 478378 w 684823"/>
              <a:gd name="connsiteY601" fmla="*/ 266517 h 1052858"/>
              <a:gd name="connsiteX602" fmla="*/ 476155 w 684823"/>
              <a:gd name="connsiteY602" fmla="*/ 264401 h 1052858"/>
              <a:gd name="connsiteX603" fmla="*/ 480600 w 684823"/>
              <a:gd name="connsiteY603" fmla="*/ 262284 h 1052858"/>
              <a:gd name="connsiteX604" fmla="*/ 381117 w 684823"/>
              <a:gd name="connsiteY604" fmla="*/ 128934 h 1052858"/>
              <a:gd name="connsiteX605" fmla="*/ 390995 w 684823"/>
              <a:gd name="connsiteY605" fmla="*/ 134851 h 1052858"/>
              <a:gd name="connsiteX606" fmla="*/ 389019 w 684823"/>
              <a:gd name="connsiteY606" fmla="*/ 140768 h 1052858"/>
              <a:gd name="connsiteX607" fmla="*/ 385068 w 684823"/>
              <a:gd name="connsiteY607" fmla="*/ 148658 h 1052858"/>
              <a:gd name="connsiteX608" fmla="*/ 394946 w 684823"/>
              <a:gd name="connsiteY608" fmla="*/ 154575 h 1052858"/>
              <a:gd name="connsiteX609" fmla="*/ 402848 w 684823"/>
              <a:gd name="connsiteY609" fmla="*/ 158519 h 1052858"/>
              <a:gd name="connsiteX610" fmla="*/ 402848 w 684823"/>
              <a:gd name="connsiteY610" fmla="*/ 160492 h 1052858"/>
              <a:gd name="connsiteX611" fmla="*/ 408775 w 684823"/>
              <a:gd name="connsiteY611" fmla="*/ 158519 h 1052858"/>
              <a:gd name="connsiteX612" fmla="*/ 418652 w 684823"/>
              <a:gd name="connsiteY612" fmla="*/ 156547 h 1052858"/>
              <a:gd name="connsiteX613" fmla="*/ 428530 w 684823"/>
              <a:gd name="connsiteY613" fmla="*/ 160492 h 1052858"/>
              <a:gd name="connsiteX614" fmla="*/ 422604 w 684823"/>
              <a:gd name="connsiteY614" fmla="*/ 166409 h 1052858"/>
              <a:gd name="connsiteX615" fmla="*/ 414701 w 684823"/>
              <a:gd name="connsiteY615" fmla="*/ 170354 h 1052858"/>
              <a:gd name="connsiteX616" fmla="*/ 404824 w 684823"/>
              <a:gd name="connsiteY616" fmla="*/ 180215 h 1052858"/>
              <a:gd name="connsiteX617" fmla="*/ 398897 w 684823"/>
              <a:gd name="connsiteY617" fmla="*/ 184160 h 1052858"/>
              <a:gd name="connsiteX618" fmla="*/ 392970 w 684823"/>
              <a:gd name="connsiteY618" fmla="*/ 182188 h 1052858"/>
              <a:gd name="connsiteX619" fmla="*/ 389019 w 684823"/>
              <a:gd name="connsiteY619" fmla="*/ 186132 h 1052858"/>
              <a:gd name="connsiteX620" fmla="*/ 385068 w 684823"/>
              <a:gd name="connsiteY620" fmla="*/ 194022 h 1052858"/>
              <a:gd name="connsiteX621" fmla="*/ 381117 w 684823"/>
              <a:gd name="connsiteY621" fmla="*/ 186132 h 1052858"/>
              <a:gd name="connsiteX622" fmla="*/ 385068 w 684823"/>
              <a:gd name="connsiteY622" fmla="*/ 178243 h 1052858"/>
              <a:gd name="connsiteX623" fmla="*/ 379141 w 684823"/>
              <a:gd name="connsiteY623" fmla="*/ 178243 h 1052858"/>
              <a:gd name="connsiteX624" fmla="*/ 365312 w 684823"/>
              <a:gd name="connsiteY624" fmla="*/ 180215 h 1052858"/>
              <a:gd name="connsiteX625" fmla="*/ 353459 w 684823"/>
              <a:gd name="connsiteY625" fmla="*/ 180215 h 1052858"/>
              <a:gd name="connsiteX626" fmla="*/ 347532 w 684823"/>
              <a:gd name="connsiteY626" fmla="*/ 184160 h 1052858"/>
              <a:gd name="connsiteX627" fmla="*/ 339630 w 684823"/>
              <a:gd name="connsiteY627" fmla="*/ 178243 h 1052858"/>
              <a:gd name="connsiteX628" fmla="*/ 345557 w 684823"/>
              <a:gd name="connsiteY628" fmla="*/ 164436 h 1052858"/>
              <a:gd name="connsiteX629" fmla="*/ 347532 w 684823"/>
              <a:gd name="connsiteY629" fmla="*/ 150630 h 1052858"/>
              <a:gd name="connsiteX630" fmla="*/ 343581 w 684823"/>
              <a:gd name="connsiteY630" fmla="*/ 146685 h 1052858"/>
              <a:gd name="connsiteX631" fmla="*/ 351484 w 684823"/>
              <a:gd name="connsiteY631" fmla="*/ 142740 h 1052858"/>
              <a:gd name="connsiteX632" fmla="*/ 365312 w 684823"/>
              <a:gd name="connsiteY632" fmla="*/ 140768 h 1052858"/>
              <a:gd name="connsiteX633" fmla="*/ 369264 w 684823"/>
              <a:gd name="connsiteY633" fmla="*/ 134851 h 1052858"/>
              <a:gd name="connsiteX634" fmla="*/ 373215 w 684823"/>
              <a:gd name="connsiteY634" fmla="*/ 132879 h 1052858"/>
              <a:gd name="connsiteX635" fmla="*/ 381117 w 684823"/>
              <a:gd name="connsiteY635" fmla="*/ 128934 h 1052858"/>
              <a:gd name="connsiteX636" fmla="*/ 365284 w 684823"/>
              <a:gd name="connsiteY636" fmla="*/ 113059 h 1052858"/>
              <a:gd name="connsiteX637" fmla="*/ 369348 w 684823"/>
              <a:gd name="connsiteY637" fmla="*/ 116981 h 1052858"/>
              <a:gd name="connsiteX638" fmla="*/ 371380 w 684823"/>
              <a:gd name="connsiteY638" fmla="*/ 120903 h 1052858"/>
              <a:gd name="connsiteX639" fmla="*/ 369348 w 684823"/>
              <a:gd name="connsiteY639" fmla="*/ 126786 h 1052858"/>
              <a:gd name="connsiteX640" fmla="*/ 367316 w 684823"/>
              <a:gd name="connsiteY640" fmla="*/ 132670 h 1052858"/>
              <a:gd name="connsiteX641" fmla="*/ 365284 w 684823"/>
              <a:gd name="connsiteY641" fmla="*/ 136592 h 1052858"/>
              <a:gd name="connsiteX642" fmla="*/ 351060 w 684823"/>
              <a:gd name="connsiteY642" fmla="*/ 138553 h 1052858"/>
              <a:gd name="connsiteX643" fmla="*/ 340900 w 684823"/>
              <a:gd name="connsiteY643" fmla="*/ 140514 h 1052858"/>
              <a:gd name="connsiteX644" fmla="*/ 334804 w 684823"/>
              <a:gd name="connsiteY644" fmla="*/ 140514 h 1052858"/>
              <a:gd name="connsiteX645" fmla="*/ 330740 w 684823"/>
              <a:gd name="connsiteY645" fmla="*/ 130708 h 1052858"/>
              <a:gd name="connsiteX646" fmla="*/ 324644 w 684823"/>
              <a:gd name="connsiteY646" fmla="*/ 124825 h 1052858"/>
              <a:gd name="connsiteX647" fmla="*/ 324644 w 684823"/>
              <a:gd name="connsiteY647" fmla="*/ 122864 h 1052858"/>
              <a:gd name="connsiteX648" fmla="*/ 330740 w 684823"/>
              <a:gd name="connsiteY648" fmla="*/ 122864 h 1052858"/>
              <a:gd name="connsiteX649" fmla="*/ 334804 w 684823"/>
              <a:gd name="connsiteY649" fmla="*/ 122864 h 1052858"/>
              <a:gd name="connsiteX650" fmla="*/ 336836 w 684823"/>
              <a:gd name="connsiteY650" fmla="*/ 122864 h 1052858"/>
              <a:gd name="connsiteX651" fmla="*/ 338868 w 684823"/>
              <a:gd name="connsiteY651" fmla="*/ 120903 h 1052858"/>
              <a:gd name="connsiteX652" fmla="*/ 342932 w 684823"/>
              <a:gd name="connsiteY652" fmla="*/ 120903 h 1052858"/>
              <a:gd name="connsiteX653" fmla="*/ 346996 w 684823"/>
              <a:gd name="connsiteY653" fmla="*/ 120903 h 1052858"/>
              <a:gd name="connsiteX654" fmla="*/ 351060 w 684823"/>
              <a:gd name="connsiteY654" fmla="*/ 115020 h 1052858"/>
              <a:gd name="connsiteX655" fmla="*/ 357156 w 684823"/>
              <a:gd name="connsiteY655" fmla="*/ 116981 h 1052858"/>
              <a:gd name="connsiteX656" fmla="*/ 361220 w 684823"/>
              <a:gd name="connsiteY656" fmla="*/ 118942 h 1052858"/>
              <a:gd name="connsiteX657" fmla="*/ 365284 w 684823"/>
              <a:gd name="connsiteY657" fmla="*/ 113059 h 1052858"/>
              <a:gd name="connsiteX658" fmla="*/ 466631 w 684823"/>
              <a:gd name="connsiteY658" fmla="*/ 109091 h 1052858"/>
              <a:gd name="connsiteX659" fmla="*/ 468218 w 684823"/>
              <a:gd name="connsiteY659" fmla="*/ 113059 h 1052858"/>
              <a:gd name="connsiteX660" fmla="*/ 463985 w 684823"/>
              <a:gd name="connsiteY660" fmla="*/ 119013 h 1052858"/>
              <a:gd name="connsiteX661" fmla="*/ 461868 w 684823"/>
              <a:gd name="connsiteY661" fmla="*/ 111075 h 1052858"/>
              <a:gd name="connsiteX662" fmla="*/ 466631 w 684823"/>
              <a:gd name="connsiteY662" fmla="*/ 109091 h 1052858"/>
              <a:gd name="connsiteX663" fmla="*/ 500648 w 684823"/>
              <a:gd name="connsiteY663" fmla="*/ 98772 h 1052858"/>
              <a:gd name="connsiteX664" fmla="*/ 506545 w 684823"/>
              <a:gd name="connsiteY664" fmla="*/ 100889 h 1052858"/>
              <a:gd name="connsiteX665" fmla="*/ 514406 w 684823"/>
              <a:gd name="connsiteY665" fmla="*/ 98772 h 1052858"/>
              <a:gd name="connsiteX666" fmla="*/ 520303 w 684823"/>
              <a:gd name="connsiteY666" fmla="*/ 103005 h 1052858"/>
              <a:gd name="connsiteX667" fmla="*/ 526199 w 684823"/>
              <a:gd name="connsiteY667" fmla="*/ 100889 h 1052858"/>
              <a:gd name="connsiteX668" fmla="*/ 528165 w 684823"/>
              <a:gd name="connsiteY668" fmla="*/ 103005 h 1052858"/>
              <a:gd name="connsiteX669" fmla="*/ 526199 w 684823"/>
              <a:gd name="connsiteY669" fmla="*/ 109355 h 1052858"/>
              <a:gd name="connsiteX670" fmla="*/ 518337 w 684823"/>
              <a:gd name="connsiteY670" fmla="*/ 109355 h 1052858"/>
              <a:gd name="connsiteX671" fmla="*/ 506545 w 684823"/>
              <a:gd name="connsiteY671" fmla="*/ 103005 h 1052858"/>
              <a:gd name="connsiteX672" fmla="*/ 494752 w 684823"/>
              <a:gd name="connsiteY672" fmla="*/ 107239 h 1052858"/>
              <a:gd name="connsiteX673" fmla="*/ 488855 w 684823"/>
              <a:gd name="connsiteY673" fmla="*/ 103005 h 1052858"/>
              <a:gd name="connsiteX674" fmla="*/ 490821 w 684823"/>
              <a:gd name="connsiteY674" fmla="*/ 103005 h 1052858"/>
              <a:gd name="connsiteX675" fmla="*/ 494752 w 684823"/>
              <a:gd name="connsiteY675" fmla="*/ 100889 h 1052858"/>
              <a:gd name="connsiteX676" fmla="*/ 500648 w 684823"/>
              <a:gd name="connsiteY676" fmla="*/ 98772 h 1052858"/>
              <a:gd name="connsiteX677" fmla="*/ 234672 w 684823"/>
              <a:gd name="connsiteY677" fmla="*/ 36859 h 1052858"/>
              <a:gd name="connsiteX678" fmla="*/ 238660 w 684823"/>
              <a:gd name="connsiteY678" fmla="*/ 44846 h 1052858"/>
              <a:gd name="connsiteX679" fmla="*/ 244643 w 684823"/>
              <a:gd name="connsiteY679" fmla="*/ 50835 h 1052858"/>
              <a:gd name="connsiteX680" fmla="*/ 250625 w 684823"/>
              <a:gd name="connsiteY680" fmla="*/ 52832 h 1052858"/>
              <a:gd name="connsiteX681" fmla="*/ 266579 w 684823"/>
              <a:gd name="connsiteY681" fmla="*/ 52832 h 1052858"/>
              <a:gd name="connsiteX682" fmla="*/ 268573 w 684823"/>
              <a:gd name="connsiteY682" fmla="*/ 62815 h 1052858"/>
              <a:gd name="connsiteX683" fmla="*/ 268573 w 684823"/>
              <a:gd name="connsiteY683" fmla="*/ 66809 h 1052858"/>
              <a:gd name="connsiteX684" fmla="*/ 270567 w 684823"/>
              <a:gd name="connsiteY684" fmla="*/ 72799 h 1052858"/>
              <a:gd name="connsiteX685" fmla="*/ 270567 w 684823"/>
              <a:gd name="connsiteY685" fmla="*/ 78789 h 1052858"/>
              <a:gd name="connsiteX686" fmla="*/ 274556 w 684823"/>
              <a:gd name="connsiteY686" fmla="*/ 72799 h 1052858"/>
              <a:gd name="connsiteX687" fmla="*/ 276550 w 684823"/>
              <a:gd name="connsiteY687" fmla="*/ 64812 h 1052858"/>
              <a:gd name="connsiteX688" fmla="*/ 286521 w 684823"/>
              <a:gd name="connsiteY688" fmla="*/ 66809 h 1052858"/>
              <a:gd name="connsiteX689" fmla="*/ 288515 w 684823"/>
              <a:gd name="connsiteY689" fmla="*/ 70802 h 1052858"/>
              <a:gd name="connsiteX690" fmla="*/ 290510 w 684823"/>
              <a:gd name="connsiteY690" fmla="*/ 76792 h 1052858"/>
              <a:gd name="connsiteX691" fmla="*/ 292504 w 684823"/>
              <a:gd name="connsiteY691" fmla="*/ 80785 h 1052858"/>
              <a:gd name="connsiteX692" fmla="*/ 308458 w 684823"/>
              <a:gd name="connsiteY692" fmla="*/ 86775 h 1052858"/>
              <a:gd name="connsiteX693" fmla="*/ 318429 w 684823"/>
              <a:gd name="connsiteY693" fmla="*/ 88772 h 1052858"/>
              <a:gd name="connsiteX694" fmla="*/ 330394 w 684823"/>
              <a:gd name="connsiteY694" fmla="*/ 86775 h 1052858"/>
              <a:gd name="connsiteX695" fmla="*/ 332388 w 684823"/>
              <a:gd name="connsiteY695" fmla="*/ 88772 h 1052858"/>
              <a:gd name="connsiteX696" fmla="*/ 334382 w 684823"/>
              <a:gd name="connsiteY696" fmla="*/ 96758 h 1052858"/>
              <a:gd name="connsiteX697" fmla="*/ 346348 w 684823"/>
              <a:gd name="connsiteY697" fmla="*/ 100752 h 1052858"/>
              <a:gd name="connsiteX698" fmla="*/ 350336 w 684823"/>
              <a:gd name="connsiteY698" fmla="*/ 100752 h 1052858"/>
              <a:gd name="connsiteX699" fmla="*/ 350336 w 684823"/>
              <a:gd name="connsiteY699" fmla="*/ 106742 h 1052858"/>
              <a:gd name="connsiteX700" fmla="*/ 350336 w 684823"/>
              <a:gd name="connsiteY700" fmla="*/ 110735 h 1052858"/>
              <a:gd name="connsiteX701" fmla="*/ 344353 w 684823"/>
              <a:gd name="connsiteY701" fmla="*/ 112732 h 1052858"/>
              <a:gd name="connsiteX702" fmla="*/ 340365 w 684823"/>
              <a:gd name="connsiteY702" fmla="*/ 112732 h 1052858"/>
              <a:gd name="connsiteX703" fmla="*/ 334382 w 684823"/>
              <a:gd name="connsiteY703" fmla="*/ 110735 h 1052858"/>
              <a:gd name="connsiteX704" fmla="*/ 328400 w 684823"/>
              <a:gd name="connsiteY704" fmla="*/ 114728 h 1052858"/>
              <a:gd name="connsiteX705" fmla="*/ 320423 w 684823"/>
              <a:gd name="connsiteY705" fmla="*/ 116725 h 1052858"/>
              <a:gd name="connsiteX706" fmla="*/ 308458 w 684823"/>
              <a:gd name="connsiteY706" fmla="*/ 120718 h 1052858"/>
              <a:gd name="connsiteX707" fmla="*/ 300481 w 684823"/>
              <a:gd name="connsiteY707" fmla="*/ 124712 h 1052858"/>
              <a:gd name="connsiteX708" fmla="*/ 296492 w 684823"/>
              <a:gd name="connsiteY708" fmla="*/ 130701 h 1052858"/>
              <a:gd name="connsiteX709" fmla="*/ 300481 w 684823"/>
              <a:gd name="connsiteY709" fmla="*/ 140685 h 1052858"/>
              <a:gd name="connsiteX710" fmla="*/ 298486 w 684823"/>
              <a:gd name="connsiteY710" fmla="*/ 144678 h 1052858"/>
              <a:gd name="connsiteX711" fmla="*/ 294498 w 684823"/>
              <a:gd name="connsiteY711" fmla="*/ 148671 h 1052858"/>
              <a:gd name="connsiteX712" fmla="*/ 286521 w 684823"/>
              <a:gd name="connsiteY712" fmla="*/ 148671 h 1052858"/>
              <a:gd name="connsiteX713" fmla="*/ 284527 w 684823"/>
              <a:gd name="connsiteY713" fmla="*/ 158655 h 1052858"/>
              <a:gd name="connsiteX714" fmla="*/ 284527 w 684823"/>
              <a:gd name="connsiteY714" fmla="*/ 162648 h 1052858"/>
              <a:gd name="connsiteX715" fmla="*/ 284527 w 684823"/>
              <a:gd name="connsiteY715" fmla="*/ 170634 h 1052858"/>
              <a:gd name="connsiteX716" fmla="*/ 278544 w 684823"/>
              <a:gd name="connsiteY716" fmla="*/ 176624 h 1052858"/>
              <a:gd name="connsiteX717" fmla="*/ 268573 w 684823"/>
              <a:gd name="connsiteY717" fmla="*/ 182614 h 1052858"/>
              <a:gd name="connsiteX718" fmla="*/ 262591 w 684823"/>
              <a:gd name="connsiteY718" fmla="*/ 200584 h 1052858"/>
              <a:gd name="connsiteX719" fmla="*/ 262591 w 684823"/>
              <a:gd name="connsiteY719" fmla="*/ 216557 h 1052858"/>
              <a:gd name="connsiteX720" fmla="*/ 254614 w 684823"/>
              <a:gd name="connsiteY720" fmla="*/ 228537 h 1052858"/>
              <a:gd name="connsiteX721" fmla="*/ 250625 w 684823"/>
              <a:gd name="connsiteY721" fmla="*/ 228537 h 1052858"/>
              <a:gd name="connsiteX722" fmla="*/ 248631 w 684823"/>
              <a:gd name="connsiteY722" fmla="*/ 226541 h 1052858"/>
              <a:gd name="connsiteX723" fmla="*/ 244643 w 684823"/>
              <a:gd name="connsiteY723" fmla="*/ 228537 h 1052858"/>
              <a:gd name="connsiteX724" fmla="*/ 240654 w 684823"/>
              <a:gd name="connsiteY724" fmla="*/ 230534 h 1052858"/>
              <a:gd name="connsiteX725" fmla="*/ 238660 w 684823"/>
              <a:gd name="connsiteY725" fmla="*/ 228537 h 1052858"/>
              <a:gd name="connsiteX726" fmla="*/ 238660 w 684823"/>
              <a:gd name="connsiteY726" fmla="*/ 224544 h 1052858"/>
              <a:gd name="connsiteX727" fmla="*/ 238660 w 684823"/>
              <a:gd name="connsiteY727" fmla="*/ 216557 h 1052858"/>
              <a:gd name="connsiteX728" fmla="*/ 236666 w 684823"/>
              <a:gd name="connsiteY728" fmla="*/ 214561 h 1052858"/>
              <a:gd name="connsiteX729" fmla="*/ 228689 w 684823"/>
              <a:gd name="connsiteY729" fmla="*/ 208571 h 1052858"/>
              <a:gd name="connsiteX730" fmla="*/ 232677 w 684823"/>
              <a:gd name="connsiteY730" fmla="*/ 204577 h 1052858"/>
              <a:gd name="connsiteX731" fmla="*/ 244643 w 684823"/>
              <a:gd name="connsiteY731" fmla="*/ 202581 h 1052858"/>
              <a:gd name="connsiteX732" fmla="*/ 236666 w 684823"/>
              <a:gd name="connsiteY732" fmla="*/ 196591 h 1052858"/>
              <a:gd name="connsiteX733" fmla="*/ 230683 w 684823"/>
              <a:gd name="connsiteY733" fmla="*/ 196591 h 1052858"/>
              <a:gd name="connsiteX734" fmla="*/ 222706 w 684823"/>
              <a:gd name="connsiteY734" fmla="*/ 198588 h 1052858"/>
              <a:gd name="connsiteX735" fmla="*/ 206753 w 684823"/>
              <a:gd name="connsiteY735" fmla="*/ 196591 h 1052858"/>
              <a:gd name="connsiteX736" fmla="*/ 198776 w 684823"/>
              <a:gd name="connsiteY736" fmla="*/ 192598 h 1052858"/>
              <a:gd name="connsiteX737" fmla="*/ 192793 w 684823"/>
              <a:gd name="connsiteY737" fmla="*/ 188604 h 1052858"/>
              <a:gd name="connsiteX738" fmla="*/ 186810 w 684823"/>
              <a:gd name="connsiteY738" fmla="*/ 182614 h 1052858"/>
              <a:gd name="connsiteX739" fmla="*/ 188805 w 684823"/>
              <a:gd name="connsiteY739" fmla="*/ 174628 h 1052858"/>
              <a:gd name="connsiteX740" fmla="*/ 192793 w 684823"/>
              <a:gd name="connsiteY740" fmla="*/ 172631 h 1052858"/>
              <a:gd name="connsiteX741" fmla="*/ 198776 w 684823"/>
              <a:gd name="connsiteY741" fmla="*/ 176624 h 1052858"/>
              <a:gd name="connsiteX742" fmla="*/ 200770 w 684823"/>
              <a:gd name="connsiteY742" fmla="*/ 178621 h 1052858"/>
              <a:gd name="connsiteX743" fmla="*/ 204758 w 684823"/>
              <a:gd name="connsiteY743" fmla="*/ 176624 h 1052858"/>
              <a:gd name="connsiteX744" fmla="*/ 212735 w 684823"/>
              <a:gd name="connsiteY744" fmla="*/ 174628 h 1052858"/>
              <a:gd name="connsiteX745" fmla="*/ 220712 w 684823"/>
              <a:gd name="connsiteY745" fmla="*/ 176624 h 1052858"/>
              <a:gd name="connsiteX746" fmla="*/ 234672 w 684823"/>
              <a:gd name="connsiteY746" fmla="*/ 178621 h 1052858"/>
              <a:gd name="connsiteX747" fmla="*/ 232677 w 684823"/>
              <a:gd name="connsiteY747" fmla="*/ 174628 h 1052858"/>
              <a:gd name="connsiteX748" fmla="*/ 222706 w 684823"/>
              <a:gd name="connsiteY748" fmla="*/ 172631 h 1052858"/>
              <a:gd name="connsiteX749" fmla="*/ 220712 w 684823"/>
              <a:gd name="connsiteY749" fmla="*/ 168638 h 1052858"/>
              <a:gd name="connsiteX750" fmla="*/ 232677 w 684823"/>
              <a:gd name="connsiteY750" fmla="*/ 166641 h 1052858"/>
              <a:gd name="connsiteX751" fmla="*/ 238660 w 684823"/>
              <a:gd name="connsiteY751" fmla="*/ 166641 h 1052858"/>
              <a:gd name="connsiteX752" fmla="*/ 244643 w 684823"/>
              <a:gd name="connsiteY752" fmla="*/ 164645 h 1052858"/>
              <a:gd name="connsiteX753" fmla="*/ 252619 w 684823"/>
              <a:gd name="connsiteY753" fmla="*/ 164645 h 1052858"/>
              <a:gd name="connsiteX754" fmla="*/ 256608 w 684823"/>
              <a:gd name="connsiteY754" fmla="*/ 162648 h 1052858"/>
              <a:gd name="connsiteX755" fmla="*/ 256608 w 684823"/>
              <a:gd name="connsiteY755" fmla="*/ 154661 h 1052858"/>
              <a:gd name="connsiteX756" fmla="*/ 250625 w 684823"/>
              <a:gd name="connsiteY756" fmla="*/ 156658 h 1052858"/>
              <a:gd name="connsiteX757" fmla="*/ 244643 w 684823"/>
              <a:gd name="connsiteY757" fmla="*/ 160651 h 1052858"/>
              <a:gd name="connsiteX758" fmla="*/ 228689 w 684823"/>
              <a:gd name="connsiteY758" fmla="*/ 162648 h 1052858"/>
              <a:gd name="connsiteX759" fmla="*/ 220712 w 684823"/>
              <a:gd name="connsiteY759" fmla="*/ 164645 h 1052858"/>
              <a:gd name="connsiteX760" fmla="*/ 202764 w 684823"/>
              <a:gd name="connsiteY760" fmla="*/ 168638 h 1052858"/>
              <a:gd name="connsiteX761" fmla="*/ 192793 w 684823"/>
              <a:gd name="connsiteY761" fmla="*/ 170634 h 1052858"/>
              <a:gd name="connsiteX762" fmla="*/ 180828 w 684823"/>
              <a:gd name="connsiteY762" fmla="*/ 168638 h 1052858"/>
              <a:gd name="connsiteX763" fmla="*/ 180828 w 684823"/>
              <a:gd name="connsiteY763" fmla="*/ 160651 h 1052858"/>
              <a:gd name="connsiteX764" fmla="*/ 180828 w 684823"/>
              <a:gd name="connsiteY764" fmla="*/ 156658 h 1052858"/>
              <a:gd name="connsiteX765" fmla="*/ 182822 w 684823"/>
              <a:gd name="connsiteY765" fmla="*/ 146675 h 1052858"/>
              <a:gd name="connsiteX766" fmla="*/ 188805 w 684823"/>
              <a:gd name="connsiteY766" fmla="*/ 150668 h 1052858"/>
              <a:gd name="connsiteX767" fmla="*/ 192793 w 684823"/>
              <a:gd name="connsiteY767" fmla="*/ 152665 h 1052858"/>
              <a:gd name="connsiteX768" fmla="*/ 198776 w 684823"/>
              <a:gd name="connsiteY768" fmla="*/ 146675 h 1052858"/>
              <a:gd name="connsiteX769" fmla="*/ 210741 w 684823"/>
              <a:gd name="connsiteY769" fmla="*/ 144678 h 1052858"/>
              <a:gd name="connsiteX770" fmla="*/ 216724 w 684823"/>
              <a:gd name="connsiteY770" fmla="*/ 142681 h 1052858"/>
              <a:gd name="connsiteX771" fmla="*/ 222706 w 684823"/>
              <a:gd name="connsiteY771" fmla="*/ 136691 h 1052858"/>
              <a:gd name="connsiteX772" fmla="*/ 228689 w 684823"/>
              <a:gd name="connsiteY772" fmla="*/ 134695 h 1052858"/>
              <a:gd name="connsiteX773" fmla="*/ 234672 w 684823"/>
              <a:gd name="connsiteY773" fmla="*/ 132698 h 1052858"/>
              <a:gd name="connsiteX774" fmla="*/ 240654 w 684823"/>
              <a:gd name="connsiteY774" fmla="*/ 134695 h 1052858"/>
              <a:gd name="connsiteX775" fmla="*/ 246637 w 684823"/>
              <a:gd name="connsiteY775" fmla="*/ 136691 h 1052858"/>
              <a:gd name="connsiteX776" fmla="*/ 254614 w 684823"/>
              <a:gd name="connsiteY776" fmla="*/ 132698 h 1052858"/>
              <a:gd name="connsiteX777" fmla="*/ 248631 w 684823"/>
              <a:gd name="connsiteY777" fmla="*/ 130701 h 1052858"/>
              <a:gd name="connsiteX778" fmla="*/ 240654 w 684823"/>
              <a:gd name="connsiteY778" fmla="*/ 126708 h 1052858"/>
              <a:gd name="connsiteX779" fmla="*/ 246637 w 684823"/>
              <a:gd name="connsiteY779" fmla="*/ 112732 h 1052858"/>
              <a:gd name="connsiteX780" fmla="*/ 250625 w 684823"/>
              <a:gd name="connsiteY780" fmla="*/ 104745 h 1052858"/>
              <a:gd name="connsiteX781" fmla="*/ 242648 w 684823"/>
              <a:gd name="connsiteY781" fmla="*/ 108738 h 1052858"/>
              <a:gd name="connsiteX782" fmla="*/ 240654 w 684823"/>
              <a:gd name="connsiteY782" fmla="*/ 114728 h 1052858"/>
              <a:gd name="connsiteX783" fmla="*/ 236666 w 684823"/>
              <a:gd name="connsiteY783" fmla="*/ 118722 h 1052858"/>
              <a:gd name="connsiteX784" fmla="*/ 232677 w 684823"/>
              <a:gd name="connsiteY784" fmla="*/ 126708 h 1052858"/>
              <a:gd name="connsiteX785" fmla="*/ 226695 w 684823"/>
              <a:gd name="connsiteY785" fmla="*/ 130701 h 1052858"/>
              <a:gd name="connsiteX786" fmla="*/ 218718 w 684823"/>
              <a:gd name="connsiteY786" fmla="*/ 120718 h 1052858"/>
              <a:gd name="connsiteX787" fmla="*/ 220712 w 684823"/>
              <a:gd name="connsiteY787" fmla="*/ 108738 h 1052858"/>
              <a:gd name="connsiteX788" fmla="*/ 216724 w 684823"/>
              <a:gd name="connsiteY788" fmla="*/ 104745 h 1052858"/>
              <a:gd name="connsiteX789" fmla="*/ 208747 w 684823"/>
              <a:gd name="connsiteY789" fmla="*/ 108738 h 1052858"/>
              <a:gd name="connsiteX790" fmla="*/ 202764 w 684823"/>
              <a:gd name="connsiteY790" fmla="*/ 112732 h 1052858"/>
              <a:gd name="connsiteX791" fmla="*/ 206753 w 684823"/>
              <a:gd name="connsiteY791" fmla="*/ 122715 h 1052858"/>
              <a:gd name="connsiteX792" fmla="*/ 204758 w 684823"/>
              <a:gd name="connsiteY792" fmla="*/ 128705 h 1052858"/>
              <a:gd name="connsiteX793" fmla="*/ 202764 w 684823"/>
              <a:gd name="connsiteY793" fmla="*/ 128705 h 1052858"/>
              <a:gd name="connsiteX794" fmla="*/ 198776 w 684823"/>
              <a:gd name="connsiteY794" fmla="*/ 130701 h 1052858"/>
              <a:gd name="connsiteX795" fmla="*/ 192793 w 684823"/>
              <a:gd name="connsiteY795" fmla="*/ 138688 h 1052858"/>
              <a:gd name="connsiteX796" fmla="*/ 178834 w 684823"/>
              <a:gd name="connsiteY796" fmla="*/ 136691 h 1052858"/>
              <a:gd name="connsiteX797" fmla="*/ 168862 w 684823"/>
              <a:gd name="connsiteY797" fmla="*/ 136691 h 1052858"/>
              <a:gd name="connsiteX798" fmla="*/ 160886 w 684823"/>
              <a:gd name="connsiteY798" fmla="*/ 128705 h 1052858"/>
              <a:gd name="connsiteX799" fmla="*/ 154903 w 684823"/>
              <a:gd name="connsiteY799" fmla="*/ 126708 h 1052858"/>
              <a:gd name="connsiteX800" fmla="*/ 152909 w 684823"/>
              <a:gd name="connsiteY800" fmla="*/ 122715 h 1052858"/>
              <a:gd name="connsiteX801" fmla="*/ 156897 w 684823"/>
              <a:gd name="connsiteY801" fmla="*/ 120718 h 1052858"/>
              <a:gd name="connsiteX802" fmla="*/ 148920 w 684823"/>
              <a:gd name="connsiteY802" fmla="*/ 118722 h 1052858"/>
              <a:gd name="connsiteX803" fmla="*/ 144932 w 684823"/>
              <a:gd name="connsiteY803" fmla="*/ 114728 h 1052858"/>
              <a:gd name="connsiteX804" fmla="*/ 138949 w 684823"/>
              <a:gd name="connsiteY804" fmla="*/ 114728 h 1052858"/>
              <a:gd name="connsiteX805" fmla="*/ 134961 w 684823"/>
              <a:gd name="connsiteY805" fmla="*/ 110735 h 1052858"/>
              <a:gd name="connsiteX806" fmla="*/ 138949 w 684823"/>
              <a:gd name="connsiteY806" fmla="*/ 108738 h 1052858"/>
              <a:gd name="connsiteX807" fmla="*/ 138949 w 684823"/>
              <a:gd name="connsiteY807" fmla="*/ 106742 h 1052858"/>
              <a:gd name="connsiteX808" fmla="*/ 134961 w 684823"/>
              <a:gd name="connsiteY808" fmla="*/ 96758 h 1052858"/>
              <a:gd name="connsiteX809" fmla="*/ 140943 w 684823"/>
              <a:gd name="connsiteY809" fmla="*/ 98755 h 1052858"/>
              <a:gd name="connsiteX810" fmla="*/ 146926 w 684823"/>
              <a:gd name="connsiteY810" fmla="*/ 100752 h 1052858"/>
              <a:gd name="connsiteX811" fmla="*/ 150915 w 684823"/>
              <a:gd name="connsiteY811" fmla="*/ 96758 h 1052858"/>
              <a:gd name="connsiteX812" fmla="*/ 144932 w 684823"/>
              <a:gd name="connsiteY812" fmla="*/ 94762 h 1052858"/>
              <a:gd name="connsiteX813" fmla="*/ 138949 w 684823"/>
              <a:gd name="connsiteY813" fmla="*/ 90768 h 1052858"/>
              <a:gd name="connsiteX814" fmla="*/ 142938 w 684823"/>
              <a:gd name="connsiteY814" fmla="*/ 84779 h 1052858"/>
              <a:gd name="connsiteX815" fmla="*/ 138949 w 684823"/>
              <a:gd name="connsiteY815" fmla="*/ 80785 h 1052858"/>
              <a:gd name="connsiteX816" fmla="*/ 132967 w 684823"/>
              <a:gd name="connsiteY816" fmla="*/ 86775 h 1052858"/>
              <a:gd name="connsiteX817" fmla="*/ 126984 w 684823"/>
              <a:gd name="connsiteY817" fmla="*/ 92765 h 1052858"/>
              <a:gd name="connsiteX818" fmla="*/ 122996 w 684823"/>
              <a:gd name="connsiteY818" fmla="*/ 86775 h 1052858"/>
              <a:gd name="connsiteX819" fmla="*/ 121001 w 684823"/>
              <a:gd name="connsiteY819" fmla="*/ 82782 h 1052858"/>
              <a:gd name="connsiteX820" fmla="*/ 115019 w 684823"/>
              <a:gd name="connsiteY820" fmla="*/ 70802 h 1052858"/>
              <a:gd name="connsiteX821" fmla="*/ 117013 w 684823"/>
              <a:gd name="connsiteY821" fmla="*/ 60819 h 1052858"/>
              <a:gd name="connsiteX822" fmla="*/ 121001 w 684823"/>
              <a:gd name="connsiteY822" fmla="*/ 56825 h 1052858"/>
              <a:gd name="connsiteX823" fmla="*/ 126984 w 684823"/>
              <a:gd name="connsiteY823" fmla="*/ 60819 h 1052858"/>
              <a:gd name="connsiteX824" fmla="*/ 128978 w 684823"/>
              <a:gd name="connsiteY824" fmla="*/ 54829 h 1052858"/>
              <a:gd name="connsiteX825" fmla="*/ 136955 w 684823"/>
              <a:gd name="connsiteY825" fmla="*/ 54829 h 1052858"/>
              <a:gd name="connsiteX826" fmla="*/ 142938 w 684823"/>
              <a:gd name="connsiteY826" fmla="*/ 58822 h 1052858"/>
              <a:gd name="connsiteX827" fmla="*/ 144932 w 684823"/>
              <a:gd name="connsiteY827" fmla="*/ 62815 h 1052858"/>
              <a:gd name="connsiteX828" fmla="*/ 148920 w 684823"/>
              <a:gd name="connsiteY828" fmla="*/ 60819 h 1052858"/>
              <a:gd name="connsiteX829" fmla="*/ 144932 w 684823"/>
              <a:gd name="connsiteY829" fmla="*/ 50835 h 1052858"/>
              <a:gd name="connsiteX830" fmla="*/ 152909 w 684823"/>
              <a:gd name="connsiteY830" fmla="*/ 50835 h 1052858"/>
              <a:gd name="connsiteX831" fmla="*/ 158891 w 684823"/>
              <a:gd name="connsiteY831" fmla="*/ 54829 h 1052858"/>
              <a:gd name="connsiteX832" fmla="*/ 166868 w 684823"/>
              <a:gd name="connsiteY832" fmla="*/ 52832 h 1052858"/>
              <a:gd name="connsiteX833" fmla="*/ 170857 w 684823"/>
              <a:gd name="connsiteY833" fmla="*/ 50835 h 1052858"/>
              <a:gd name="connsiteX834" fmla="*/ 176839 w 684823"/>
              <a:gd name="connsiteY834" fmla="*/ 48839 h 1052858"/>
              <a:gd name="connsiteX835" fmla="*/ 182822 w 684823"/>
              <a:gd name="connsiteY835" fmla="*/ 50835 h 1052858"/>
              <a:gd name="connsiteX836" fmla="*/ 182822 w 684823"/>
              <a:gd name="connsiteY836" fmla="*/ 56825 h 1052858"/>
              <a:gd name="connsiteX837" fmla="*/ 174845 w 684823"/>
              <a:gd name="connsiteY837" fmla="*/ 54829 h 1052858"/>
              <a:gd name="connsiteX838" fmla="*/ 168862 w 684823"/>
              <a:gd name="connsiteY838" fmla="*/ 54829 h 1052858"/>
              <a:gd name="connsiteX839" fmla="*/ 160886 w 684823"/>
              <a:gd name="connsiteY839" fmla="*/ 54829 h 1052858"/>
              <a:gd name="connsiteX840" fmla="*/ 152909 w 684823"/>
              <a:gd name="connsiteY840" fmla="*/ 56825 h 1052858"/>
              <a:gd name="connsiteX841" fmla="*/ 158891 w 684823"/>
              <a:gd name="connsiteY841" fmla="*/ 60819 h 1052858"/>
              <a:gd name="connsiteX842" fmla="*/ 166868 w 684823"/>
              <a:gd name="connsiteY842" fmla="*/ 62815 h 1052858"/>
              <a:gd name="connsiteX843" fmla="*/ 170857 w 684823"/>
              <a:gd name="connsiteY843" fmla="*/ 64812 h 1052858"/>
              <a:gd name="connsiteX844" fmla="*/ 170857 w 684823"/>
              <a:gd name="connsiteY844" fmla="*/ 68805 h 1052858"/>
              <a:gd name="connsiteX845" fmla="*/ 178834 w 684823"/>
              <a:gd name="connsiteY845" fmla="*/ 72799 h 1052858"/>
              <a:gd name="connsiteX846" fmla="*/ 184816 w 684823"/>
              <a:gd name="connsiteY846" fmla="*/ 84779 h 1052858"/>
              <a:gd name="connsiteX847" fmla="*/ 186810 w 684823"/>
              <a:gd name="connsiteY847" fmla="*/ 84779 h 1052858"/>
              <a:gd name="connsiteX848" fmla="*/ 186810 w 684823"/>
              <a:gd name="connsiteY848" fmla="*/ 70802 h 1052858"/>
              <a:gd name="connsiteX849" fmla="*/ 192793 w 684823"/>
              <a:gd name="connsiteY849" fmla="*/ 60819 h 1052858"/>
              <a:gd name="connsiteX850" fmla="*/ 196781 w 684823"/>
              <a:gd name="connsiteY850" fmla="*/ 54829 h 1052858"/>
              <a:gd name="connsiteX851" fmla="*/ 202764 w 684823"/>
              <a:gd name="connsiteY851" fmla="*/ 56825 h 1052858"/>
              <a:gd name="connsiteX852" fmla="*/ 208747 w 684823"/>
              <a:gd name="connsiteY852" fmla="*/ 60819 h 1052858"/>
              <a:gd name="connsiteX853" fmla="*/ 210741 w 684823"/>
              <a:gd name="connsiteY853" fmla="*/ 72799 h 1052858"/>
              <a:gd name="connsiteX854" fmla="*/ 216724 w 684823"/>
              <a:gd name="connsiteY854" fmla="*/ 80785 h 1052858"/>
              <a:gd name="connsiteX855" fmla="*/ 218718 w 684823"/>
              <a:gd name="connsiteY855" fmla="*/ 88772 h 1052858"/>
              <a:gd name="connsiteX856" fmla="*/ 228689 w 684823"/>
              <a:gd name="connsiteY856" fmla="*/ 90768 h 1052858"/>
              <a:gd name="connsiteX857" fmla="*/ 234672 w 684823"/>
              <a:gd name="connsiteY857" fmla="*/ 98755 h 1052858"/>
              <a:gd name="connsiteX858" fmla="*/ 234672 w 684823"/>
              <a:gd name="connsiteY858" fmla="*/ 90768 h 1052858"/>
              <a:gd name="connsiteX859" fmla="*/ 224700 w 684823"/>
              <a:gd name="connsiteY859" fmla="*/ 78789 h 1052858"/>
              <a:gd name="connsiteX860" fmla="*/ 228689 w 684823"/>
              <a:gd name="connsiteY860" fmla="*/ 70802 h 1052858"/>
              <a:gd name="connsiteX861" fmla="*/ 226695 w 684823"/>
              <a:gd name="connsiteY861" fmla="*/ 58822 h 1052858"/>
              <a:gd name="connsiteX862" fmla="*/ 224700 w 684823"/>
              <a:gd name="connsiteY862" fmla="*/ 46842 h 1052858"/>
              <a:gd name="connsiteX863" fmla="*/ 228689 w 684823"/>
              <a:gd name="connsiteY863" fmla="*/ 38856 h 1052858"/>
              <a:gd name="connsiteX864" fmla="*/ 234672 w 684823"/>
              <a:gd name="connsiteY864" fmla="*/ 36859 h 1052858"/>
              <a:gd name="connsiteX865" fmla="*/ 586398 w 684823"/>
              <a:gd name="connsiteY865" fmla="*/ 32550 h 1052858"/>
              <a:gd name="connsiteX866" fmla="*/ 594159 w 684823"/>
              <a:gd name="connsiteY866" fmla="*/ 32550 h 1052858"/>
              <a:gd name="connsiteX867" fmla="*/ 599980 w 684823"/>
              <a:gd name="connsiteY867" fmla="*/ 34591 h 1052858"/>
              <a:gd name="connsiteX868" fmla="*/ 598040 w 684823"/>
              <a:gd name="connsiteY868" fmla="*/ 36632 h 1052858"/>
              <a:gd name="connsiteX869" fmla="*/ 592219 w 684823"/>
              <a:gd name="connsiteY869" fmla="*/ 38674 h 1052858"/>
              <a:gd name="connsiteX870" fmla="*/ 584458 w 684823"/>
              <a:gd name="connsiteY870" fmla="*/ 40715 h 1052858"/>
              <a:gd name="connsiteX871" fmla="*/ 576697 w 684823"/>
              <a:gd name="connsiteY871" fmla="*/ 42756 h 1052858"/>
              <a:gd name="connsiteX872" fmla="*/ 565055 w 684823"/>
              <a:gd name="connsiteY872" fmla="*/ 38674 h 1052858"/>
              <a:gd name="connsiteX873" fmla="*/ 572816 w 684823"/>
              <a:gd name="connsiteY873" fmla="*/ 34591 h 1052858"/>
              <a:gd name="connsiteX874" fmla="*/ 574757 w 684823"/>
              <a:gd name="connsiteY874" fmla="*/ 34591 h 1052858"/>
              <a:gd name="connsiteX875" fmla="*/ 580577 w 684823"/>
              <a:gd name="connsiteY875" fmla="*/ 34591 h 1052858"/>
              <a:gd name="connsiteX876" fmla="*/ 586398 w 684823"/>
              <a:gd name="connsiteY876" fmla="*/ 32550 h 1052858"/>
              <a:gd name="connsiteX877" fmla="*/ 678222 w 684823"/>
              <a:gd name="connsiteY877" fmla="*/ 28922 h 1052858"/>
              <a:gd name="connsiteX878" fmla="*/ 681850 w 684823"/>
              <a:gd name="connsiteY878" fmla="*/ 35272 h 1052858"/>
              <a:gd name="connsiteX879" fmla="*/ 674593 w 684823"/>
              <a:gd name="connsiteY879" fmla="*/ 33155 h 1052858"/>
              <a:gd name="connsiteX880" fmla="*/ 678222 w 684823"/>
              <a:gd name="connsiteY880" fmla="*/ 28922 h 1052858"/>
              <a:gd name="connsiteX881" fmla="*/ 404195 w 684823"/>
              <a:gd name="connsiteY881" fmla="*/ 16639 h 1052858"/>
              <a:gd name="connsiteX882" fmla="*/ 410159 w 684823"/>
              <a:gd name="connsiteY882" fmla="*/ 24660 h 1052858"/>
              <a:gd name="connsiteX883" fmla="*/ 416124 w 684823"/>
              <a:gd name="connsiteY883" fmla="*/ 28671 h 1052858"/>
              <a:gd name="connsiteX884" fmla="*/ 422089 w 684823"/>
              <a:gd name="connsiteY884" fmla="*/ 26666 h 1052858"/>
              <a:gd name="connsiteX885" fmla="*/ 428053 w 684823"/>
              <a:gd name="connsiteY885" fmla="*/ 28671 h 1052858"/>
              <a:gd name="connsiteX886" fmla="*/ 430042 w 684823"/>
              <a:gd name="connsiteY886" fmla="*/ 28671 h 1052858"/>
              <a:gd name="connsiteX887" fmla="*/ 434018 w 684823"/>
              <a:gd name="connsiteY887" fmla="*/ 30676 h 1052858"/>
              <a:gd name="connsiteX888" fmla="*/ 437995 w 684823"/>
              <a:gd name="connsiteY888" fmla="*/ 34687 h 1052858"/>
              <a:gd name="connsiteX889" fmla="*/ 447936 w 684823"/>
              <a:gd name="connsiteY889" fmla="*/ 34687 h 1052858"/>
              <a:gd name="connsiteX890" fmla="*/ 453900 w 684823"/>
              <a:gd name="connsiteY890" fmla="*/ 34687 h 1052858"/>
              <a:gd name="connsiteX891" fmla="*/ 463842 w 684823"/>
              <a:gd name="connsiteY891" fmla="*/ 36692 h 1052858"/>
              <a:gd name="connsiteX892" fmla="*/ 469806 w 684823"/>
              <a:gd name="connsiteY892" fmla="*/ 42708 h 1052858"/>
              <a:gd name="connsiteX893" fmla="*/ 463842 w 684823"/>
              <a:gd name="connsiteY893" fmla="*/ 52734 h 1052858"/>
              <a:gd name="connsiteX894" fmla="*/ 453900 w 684823"/>
              <a:gd name="connsiteY894" fmla="*/ 56744 h 1052858"/>
              <a:gd name="connsiteX895" fmla="*/ 441971 w 684823"/>
              <a:gd name="connsiteY895" fmla="*/ 60755 h 1052858"/>
              <a:gd name="connsiteX896" fmla="*/ 439983 w 684823"/>
              <a:gd name="connsiteY896" fmla="*/ 74792 h 1052858"/>
              <a:gd name="connsiteX897" fmla="*/ 428053 w 684823"/>
              <a:gd name="connsiteY897" fmla="*/ 78802 h 1052858"/>
              <a:gd name="connsiteX898" fmla="*/ 408171 w 684823"/>
              <a:gd name="connsiteY898" fmla="*/ 80808 h 1052858"/>
              <a:gd name="connsiteX899" fmla="*/ 402206 w 684823"/>
              <a:gd name="connsiteY899" fmla="*/ 90834 h 1052858"/>
              <a:gd name="connsiteX900" fmla="*/ 388289 w 684823"/>
              <a:gd name="connsiteY900" fmla="*/ 90834 h 1052858"/>
              <a:gd name="connsiteX901" fmla="*/ 376359 w 684823"/>
              <a:gd name="connsiteY901" fmla="*/ 86823 h 1052858"/>
              <a:gd name="connsiteX902" fmla="*/ 372383 w 684823"/>
              <a:gd name="connsiteY902" fmla="*/ 78802 h 1052858"/>
              <a:gd name="connsiteX903" fmla="*/ 360453 w 684823"/>
              <a:gd name="connsiteY903" fmla="*/ 78802 h 1052858"/>
              <a:gd name="connsiteX904" fmla="*/ 350512 w 684823"/>
              <a:gd name="connsiteY904" fmla="*/ 78802 h 1052858"/>
              <a:gd name="connsiteX905" fmla="*/ 344548 w 684823"/>
              <a:gd name="connsiteY905" fmla="*/ 78802 h 1052858"/>
              <a:gd name="connsiteX906" fmla="*/ 336595 w 684823"/>
              <a:gd name="connsiteY906" fmla="*/ 80808 h 1052858"/>
              <a:gd name="connsiteX907" fmla="*/ 332618 w 684823"/>
              <a:gd name="connsiteY907" fmla="*/ 76797 h 1052858"/>
              <a:gd name="connsiteX908" fmla="*/ 330630 w 684823"/>
              <a:gd name="connsiteY908" fmla="*/ 72787 h 1052858"/>
              <a:gd name="connsiteX909" fmla="*/ 318701 w 684823"/>
              <a:gd name="connsiteY909" fmla="*/ 68776 h 1052858"/>
              <a:gd name="connsiteX910" fmla="*/ 318701 w 684823"/>
              <a:gd name="connsiteY910" fmla="*/ 64766 h 1052858"/>
              <a:gd name="connsiteX911" fmla="*/ 324665 w 684823"/>
              <a:gd name="connsiteY911" fmla="*/ 64766 h 1052858"/>
              <a:gd name="connsiteX912" fmla="*/ 328642 w 684823"/>
              <a:gd name="connsiteY912" fmla="*/ 66771 h 1052858"/>
              <a:gd name="connsiteX913" fmla="*/ 334606 w 684823"/>
              <a:gd name="connsiteY913" fmla="*/ 66771 h 1052858"/>
              <a:gd name="connsiteX914" fmla="*/ 336595 w 684823"/>
              <a:gd name="connsiteY914" fmla="*/ 60755 h 1052858"/>
              <a:gd name="connsiteX915" fmla="*/ 348524 w 684823"/>
              <a:gd name="connsiteY915" fmla="*/ 60755 h 1052858"/>
              <a:gd name="connsiteX916" fmla="*/ 358465 w 684823"/>
              <a:gd name="connsiteY916" fmla="*/ 62760 h 1052858"/>
              <a:gd name="connsiteX917" fmla="*/ 356477 w 684823"/>
              <a:gd name="connsiteY917" fmla="*/ 56744 h 1052858"/>
              <a:gd name="connsiteX918" fmla="*/ 348524 w 684823"/>
              <a:gd name="connsiteY918" fmla="*/ 56744 h 1052858"/>
              <a:gd name="connsiteX919" fmla="*/ 340571 w 684823"/>
              <a:gd name="connsiteY919" fmla="*/ 54739 h 1052858"/>
              <a:gd name="connsiteX920" fmla="*/ 338583 w 684823"/>
              <a:gd name="connsiteY920" fmla="*/ 56744 h 1052858"/>
              <a:gd name="connsiteX921" fmla="*/ 330630 w 684823"/>
              <a:gd name="connsiteY921" fmla="*/ 58750 h 1052858"/>
              <a:gd name="connsiteX922" fmla="*/ 316712 w 684823"/>
              <a:gd name="connsiteY922" fmla="*/ 58750 h 1052858"/>
              <a:gd name="connsiteX923" fmla="*/ 304783 w 684823"/>
              <a:gd name="connsiteY923" fmla="*/ 60755 h 1052858"/>
              <a:gd name="connsiteX924" fmla="*/ 298818 w 684823"/>
              <a:gd name="connsiteY924" fmla="*/ 58750 h 1052858"/>
              <a:gd name="connsiteX925" fmla="*/ 288877 w 684823"/>
              <a:gd name="connsiteY925" fmla="*/ 56744 h 1052858"/>
              <a:gd name="connsiteX926" fmla="*/ 278936 w 684823"/>
              <a:gd name="connsiteY926" fmla="*/ 52734 h 1052858"/>
              <a:gd name="connsiteX927" fmla="*/ 280924 w 684823"/>
              <a:gd name="connsiteY927" fmla="*/ 46718 h 1052858"/>
              <a:gd name="connsiteX928" fmla="*/ 284901 w 684823"/>
              <a:gd name="connsiteY928" fmla="*/ 48723 h 1052858"/>
              <a:gd name="connsiteX929" fmla="*/ 288877 w 684823"/>
              <a:gd name="connsiteY929" fmla="*/ 50729 h 1052858"/>
              <a:gd name="connsiteX930" fmla="*/ 292854 w 684823"/>
              <a:gd name="connsiteY930" fmla="*/ 46718 h 1052858"/>
              <a:gd name="connsiteX931" fmla="*/ 288877 w 684823"/>
              <a:gd name="connsiteY931" fmla="*/ 44713 h 1052858"/>
              <a:gd name="connsiteX932" fmla="*/ 284901 w 684823"/>
              <a:gd name="connsiteY932" fmla="*/ 44713 h 1052858"/>
              <a:gd name="connsiteX933" fmla="*/ 280924 w 684823"/>
              <a:gd name="connsiteY933" fmla="*/ 44713 h 1052858"/>
              <a:gd name="connsiteX934" fmla="*/ 274959 w 684823"/>
              <a:gd name="connsiteY934" fmla="*/ 42708 h 1052858"/>
              <a:gd name="connsiteX935" fmla="*/ 276948 w 684823"/>
              <a:gd name="connsiteY935" fmla="*/ 38697 h 1052858"/>
              <a:gd name="connsiteX936" fmla="*/ 278936 w 684823"/>
              <a:gd name="connsiteY936" fmla="*/ 36692 h 1052858"/>
              <a:gd name="connsiteX937" fmla="*/ 268995 w 684823"/>
              <a:gd name="connsiteY937" fmla="*/ 34687 h 1052858"/>
              <a:gd name="connsiteX938" fmla="*/ 265018 w 684823"/>
              <a:gd name="connsiteY938" fmla="*/ 26666 h 1052858"/>
              <a:gd name="connsiteX939" fmla="*/ 274959 w 684823"/>
              <a:gd name="connsiteY939" fmla="*/ 26666 h 1052858"/>
              <a:gd name="connsiteX940" fmla="*/ 278936 w 684823"/>
              <a:gd name="connsiteY940" fmla="*/ 32681 h 1052858"/>
              <a:gd name="connsiteX941" fmla="*/ 288877 w 684823"/>
              <a:gd name="connsiteY941" fmla="*/ 34687 h 1052858"/>
              <a:gd name="connsiteX942" fmla="*/ 292854 w 684823"/>
              <a:gd name="connsiteY942" fmla="*/ 38697 h 1052858"/>
              <a:gd name="connsiteX943" fmla="*/ 292854 w 684823"/>
              <a:gd name="connsiteY943" fmla="*/ 34687 h 1052858"/>
              <a:gd name="connsiteX944" fmla="*/ 292854 w 684823"/>
              <a:gd name="connsiteY944" fmla="*/ 24660 h 1052858"/>
              <a:gd name="connsiteX945" fmla="*/ 298818 w 684823"/>
              <a:gd name="connsiteY945" fmla="*/ 30676 h 1052858"/>
              <a:gd name="connsiteX946" fmla="*/ 306771 w 684823"/>
              <a:gd name="connsiteY946" fmla="*/ 34687 h 1052858"/>
              <a:gd name="connsiteX947" fmla="*/ 310748 w 684823"/>
              <a:gd name="connsiteY947" fmla="*/ 28671 h 1052858"/>
              <a:gd name="connsiteX948" fmla="*/ 306771 w 684823"/>
              <a:gd name="connsiteY948" fmla="*/ 20650 h 1052858"/>
              <a:gd name="connsiteX949" fmla="*/ 310748 w 684823"/>
              <a:gd name="connsiteY949" fmla="*/ 18644 h 1052858"/>
              <a:gd name="connsiteX950" fmla="*/ 320689 w 684823"/>
              <a:gd name="connsiteY950" fmla="*/ 20650 h 1052858"/>
              <a:gd name="connsiteX951" fmla="*/ 328642 w 684823"/>
              <a:gd name="connsiteY951" fmla="*/ 24660 h 1052858"/>
              <a:gd name="connsiteX952" fmla="*/ 336595 w 684823"/>
              <a:gd name="connsiteY952" fmla="*/ 30676 h 1052858"/>
              <a:gd name="connsiteX953" fmla="*/ 348524 w 684823"/>
              <a:gd name="connsiteY953" fmla="*/ 30676 h 1052858"/>
              <a:gd name="connsiteX954" fmla="*/ 350512 w 684823"/>
              <a:gd name="connsiteY954" fmla="*/ 30676 h 1052858"/>
              <a:gd name="connsiteX955" fmla="*/ 356477 w 684823"/>
              <a:gd name="connsiteY955" fmla="*/ 34687 h 1052858"/>
              <a:gd name="connsiteX956" fmla="*/ 360453 w 684823"/>
              <a:gd name="connsiteY956" fmla="*/ 42708 h 1052858"/>
              <a:gd name="connsiteX957" fmla="*/ 362442 w 684823"/>
              <a:gd name="connsiteY957" fmla="*/ 46718 h 1052858"/>
              <a:gd name="connsiteX958" fmla="*/ 366418 w 684823"/>
              <a:gd name="connsiteY958" fmla="*/ 46718 h 1052858"/>
              <a:gd name="connsiteX959" fmla="*/ 368406 w 684823"/>
              <a:gd name="connsiteY959" fmla="*/ 48723 h 1052858"/>
              <a:gd name="connsiteX960" fmla="*/ 370395 w 684823"/>
              <a:gd name="connsiteY960" fmla="*/ 38697 h 1052858"/>
              <a:gd name="connsiteX961" fmla="*/ 368406 w 684823"/>
              <a:gd name="connsiteY961" fmla="*/ 24660 h 1052858"/>
              <a:gd name="connsiteX962" fmla="*/ 372383 w 684823"/>
              <a:gd name="connsiteY962" fmla="*/ 22655 h 1052858"/>
              <a:gd name="connsiteX963" fmla="*/ 374371 w 684823"/>
              <a:gd name="connsiteY963" fmla="*/ 18644 h 1052858"/>
              <a:gd name="connsiteX964" fmla="*/ 378348 w 684823"/>
              <a:gd name="connsiteY964" fmla="*/ 20650 h 1052858"/>
              <a:gd name="connsiteX965" fmla="*/ 380336 w 684823"/>
              <a:gd name="connsiteY965" fmla="*/ 24660 h 1052858"/>
              <a:gd name="connsiteX966" fmla="*/ 378348 w 684823"/>
              <a:gd name="connsiteY966" fmla="*/ 30676 h 1052858"/>
              <a:gd name="connsiteX967" fmla="*/ 382324 w 684823"/>
              <a:gd name="connsiteY967" fmla="*/ 34687 h 1052858"/>
              <a:gd name="connsiteX968" fmla="*/ 384312 w 684823"/>
              <a:gd name="connsiteY968" fmla="*/ 34687 h 1052858"/>
              <a:gd name="connsiteX969" fmla="*/ 388289 w 684823"/>
              <a:gd name="connsiteY969" fmla="*/ 34687 h 1052858"/>
              <a:gd name="connsiteX970" fmla="*/ 392265 w 684823"/>
              <a:gd name="connsiteY970" fmla="*/ 38697 h 1052858"/>
              <a:gd name="connsiteX971" fmla="*/ 398230 w 684823"/>
              <a:gd name="connsiteY971" fmla="*/ 36692 h 1052858"/>
              <a:gd name="connsiteX972" fmla="*/ 398230 w 684823"/>
              <a:gd name="connsiteY972" fmla="*/ 30676 h 1052858"/>
              <a:gd name="connsiteX973" fmla="*/ 402206 w 684823"/>
              <a:gd name="connsiteY973" fmla="*/ 28671 h 1052858"/>
              <a:gd name="connsiteX974" fmla="*/ 404195 w 684823"/>
              <a:gd name="connsiteY974" fmla="*/ 16639 h 1052858"/>
              <a:gd name="connsiteX975" fmla="*/ 328662 w 684823"/>
              <a:gd name="connsiteY975" fmla="*/ 876 h 1052858"/>
              <a:gd name="connsiteX976" fmla="*/ 336744 w 684823"/>
              <a:gd name="connsiteY976" fmla="*/ 7226 h 1052858"/>
              <a:gd name="connsiteX977" fmla="*/ 338764 w 684823"/>
              <a:gd name="connsiteY977" fmla="*/ 9342 h 1052858"/>
              <a:gd name="connsiteX978" fmla="*/ 332703 w 684823"/>
              <a:gd name="connsiteY978" fmla="*/ 9342 h 1052858"/>
              <a:gd name="connsiteX979" fmla="*/ 326642 w 684823"/>
              <a:gd name="connsiteY979" fmla="*/ 7226 h 1052858"/>
              <a:gd name="connsiteX980" fmla="*/ 322601 w 684823"/>
              <a:gd name="connsiteY980" fmla="*/ 11459 h 1052858"/>
              <a:gd name="connsiteX981" fmla="*/ 322601 w 684823"/>
              <a:gd name="connsiteY981" fmla="*/ 7226 h 1052858"/>
              <a:gd name="connsiteX982" fmla="*/ 324621 w 684823"/>
              <a:gd name="connsiteY982" fmla="*/ 2992 h 1052858"/>
              <a:gd name="connsiteX983" fmla="*/ 328662 w 684823"/>
              <a:gd name="connsiteY983" fmla="*/ 876 h 105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Lst>
            <a:rect l="l" t="t" r="r" b="b"/>
            <a:pathLst>
              <a:path w="684823" h="1052858">
                <a:moveTo>
                  <a:pt x="191199" y="619582"/>
                </a:moveTo>
                <a:cubicBezTo>
                  <a:pt x="191992" y="619824"/>
                  <a:pt x="191992" y="620794"/>
                  <a:pt x="191992" y="621765"/>
                </a:cubicBezTo>
                <a:cubicBezTo>
                  <a:pt x="191992" y="623705"/>
                  <a:pt x="187759" y="623705"/>
                  <a:pt x="187759" y="623705"/>
                </a:cubicBezTo>
                <a:cubicBezTo>
                  <a:pt x="185642" y="623705"/>
                  <a:pt x="185642" y="627585"/>
                  <a:pt x="185642" y="627585"/>
                </a:cubicBezTo>
                <a:cubicBezTo>
                  <a:pt x="187759" y="627585"/>
                  <a:pt x="187759" y="629525"/>
                  <a:pt x="185642" y="631466"/>
                </a:cubicBezTo>
                <a:cubicBezTo>
                  <a:pt x="183526" y="635346"/>
                  <a:pt x="179292" y="633406"/>
                  <a:pt x="181409" y="627585"/>
                </a:cubicBezTo>
                <a:cubicBezTo>
                  <a:pt x="181409" y="623705"/>
                  <a:pt x="185642" y="621765"/>
                  <a:pt x="185642" y="621765"/>
                </a:cubicBezTo>
                <a:cubicBezTo>
                  <a:pt x="188817" y="619824"/>
                  <a:pt x="190405" y="619339"/>
                  <a:pt x="191199" y="619582"/>
                </a:cubicBezTo>
                <a:close/>
                <a:moveTo>
                  <a:pt x="202821" y="605797"/>
                </a:moveTo>
                <a:cubicBezTo>
                  <a:pt x="204352" y="606555"/>
                  <a:pt x="205373" y="608070"/>
                  <a:pt x="205373" y="608070"/>
                </a:cubicBezTo>
                <a:cubicBezTo>
                  <a:pt x="205373" y="608070"/>
                  <a:pt x="205373" y="610091"/>
                  <a:pt x="207414" y="610091"/>
                </a:cubicBezTo>
                <a:cubicBezTo>
                  <a:pt x="209455" y="610091"/>
                  <a:pt x="209455" y="610091"/>
                  <a:pt x="209455" y="614132"/>
                </a:cubicBezTo>
                <a:cubicBezTo>
                  <a:pt x="209455" y="618173"/>
                  <a:pt x="207414" y="616152"/>
                  <a:pt x="207414" y="616152"/>
                </a:cubicBezTo>
                <a:cubicBezTo>
                  <a:pt x="207414" y="616152"/>
                  <a:pt x="199250" y="618173"/>
                  <a:pt x="199250" y="620193"/>
                </a:cubicBezTo>
                <a:cubicBezTo>
                  <a:pt x="199250" y="624234"/>
                  <a:pt x="195167" y="622214"/>
                  <a:pt x="195167" y="616152"/>
                </a:cubicBezTo>
                <a:cubicBezTo>
                  <a:pt x="195167" y="612111"/>
                  <a:pt x="197208" y="608070"/>
                  <a:pt x="197208" y="608070"/>
                </a:cubicBezTo>
                <a:cubicBezTo>
                  <a:pt x="199250" y="605040"/>
                  <a:pt x="201291" y="605040"/>
                  <a:pt x="202821" y="605797"/>
                </a:cubicBezTo>
                <a:close/>
                <a:moveTo>
                  <a:pt x="224457" y="583108"/>
                </a:moveTo>
                <a:cubicBezTo>
                  <a:pt x="225648" y="582860"/>
                  <a:pt x="226600" y="583356"/>
                  <a:pt x="226600" y="583356"/>
                </a:cubicBezTo>
                <a:cubicBezTo>
                  <a:pt x="228505" y="583356"/>
                  <a:pt x="228505" y="589310"/>
                  <a:pt x="224695" y="593278"/>
                </a:cubicBezTo>
                <a:cubicBezTo>
                  <a:pt x="222790" y="597247"/>
                  <a:pt x="218980" y="593278"/>
                  <a:pt x="220885" y="587325"/>
                </a:cubicBezTo>
                <a:cubicBezTo>
                  <a:pt x="221838" y="584349"/>
                  <a:pt x="223267" y="583356"/>
                  <a:pt x="224457" y="583108"/>
                </a:cubicBezTo>
                <a:close/>
                <a:moveTo>
                  <a:pt x="251127" y="561912"/>
                </a:moveTo>
                <a:cubicBezTo>
                  <a:pt x="252147" y="561158"/>
                  <a:pt x="253678" y="561158"/>
                  <a:pt x="255719" y="563169"/>
                </a:cubicBezTo>
                <a:cubicBezTo>
                  <a:pt x="261842" y="565179"/>
                  <a:pt x="259801" y="571212"/>
                  <a:pt x="255719" y="575233"/>
                </a:cubicBezTo>
                <a:cubicBezTo>
                  <a:pt x="253678" y="577244"/>
                  <a:pt x="245514" y="575233"/>
                  <a:pt x="243473" y="579255"/>
                </a:cubicBezTo>
                <a:cubicBezTo>
                  <a:pt x="241432" y="581266"/>
                  <a:pt x="233267" y="589309"/>
                  <a:pt x="237349" y="579255"/>
                </a:cubicBezTo>
                <a:cubicBezTo>
                  <a:pt x="237349" y="579255"/>
                  <a:pt x="237349" y="573223"/>
                  <a:pt x="241432" y="571212"/>
                </a:cubicBezTo>
                <a:cubicBezTo>
                  <a:pt x="247555" y="571212"/>
                  <a:pt x="249596" y="569201"/>
                  <a:pt x="249596" y="565179"/>
                </a:cubicBezTo>
                <a:cubicBezTo>
                  <a:pt x="249596" y="564174"/>
                  <a:pt x="250106" y="562666"/>
                  <a:pt x="251127" y="561912"/>
                </a:cubicBezTo>
                <a:close/>
                <a:moveTo>
                  <a:pt x="325652" y="533690"/>
                </a:moveTo>
                <a:cubicBezTo>
                  <a:pt x="326622" y="533690"/>
                  <a:pt x="327107" y="534200"/>
                  <a:pt x="327107" y="534200"/>
                </a:cubicBezTo>
                <a:cubicBezTo>
                  <a:pt x="327107" y="534200"/>
                  <a:pt x="330988" y="534200"/>
                  <a:pt x="330988" y="534200"/>
                </a:cubicBezTo>
                <a:cubicBezTo>
                  <a:pt x="334868" y="534200"/>
                  <a:pt x="334868" y="536241"/>
                  <a:pt x="334868" y="536241"/>
                </a:cubicBezTo>
                <a:cubicBezTo>
                  <a:pt x="334868" y="538282"/>
                  <a:pt x="332928" y="542364"/>
                  <a:pt x="327107" y="544405"/>
                </a:cubicBezTo>
                <a:cubicBezTo>
                  <a:pt x="323226" y="546446"/>
                  <a:pt x="317405" y="546446"/>
                  <a:pt x="317405" y="544405"/>
                </a:cubicBezTo>
                <a:cubicBezTo>
                  <a:pt x="317405" y="542364"/>
                  <a:pt x="321286" y="536241"/>
                  <a:pt x="321286" y="536241"/>
                </a:cubicBezTo>
                <a:cubicBezTo>
                  <a:pt x="323226" y="534200"/>
                  <a:pt x="324681" y="533690"/>
                  <a:pt x="325652" y="533690"/>
                </a:cubicBezTo>
                <a:close/>
                <a:moveTo>
                  <a:pt x="332222" y="523428"/>
                </a:moveTo>
                <a:cubicBezTo>
                  <a:pt x="334339" y="519459"/>
                  <a:pt x="338572" y="529381"/>
                  <a:pt x="338572" y="529381"/>
                </a:cubicBezTo>
                <a:cubicBezTo>
                  <a:pt x="338572" y="529381"/>
                  <a:pt x="338572" y="529381"/>
                  <a:pt x="340689" y="531365"/>
                </a:cubicBezTo>
                <a:cubicBezTo>
                  <a:pt x="342805" y="533350"/>
                  <a:pt x="342805" y="533350"/>
                  <a:pt x="338572" y="533350"/>
                </a:cubicBezTo>
                <a:cubicBezTo>
                  <a:pt x="336455" y="535334"/>
                  <a:pt x="332222" y="529381"/>
                  <a:pt x="332222" y="527397"/>
                </a:cubicBezTo>
                <a:cubicBezTo>
                  <a:pt x="330105" y="523428"/>
                  <a:pt x="332222" y="523428"/>
                  <a:pt x="332222" y="523428"/>
                </a:cubicBezTo>
                <a:close/>
                <a:moveTo>
                  <a:pt x="356457" y="522634"/>
                </a:moveTo>
                <a:cubicBezTo>
                  <a:pt x="356457" y="522634"/>
                  <a:pt x="360267" y="524618"/>
                  <a:pt x="360267" y="526603"/>
                </a:cubicBezTo>
                <a:cubicBezTo>
                  <a:pt x="360267" y="530571"/>
                  <a:pt x="358362" y="530571"/>
                  <a:pt x="356457" y="530571"/>
                </a:cubicBezTo>
                <a:cubicBezTo>
                  <a:pt x="352647" y="530571"/>
                  <a:pt x="350742" y="530571"/>
                  <a:pt x="352647" y="526603"/>
                </a:cubicBezTo>
                <a:cubicBezTo>
                  <a:pt x="354552" y="522634"/>
                  <a:pt x="356457" y="522634"/>
                  <a:pt x="356457" y="522634"/>
                </a:cubicBezTo>
                <a:close/>
                <a:moveTo>
                  <a:pt x="325342" y="521443"/>
                </a:moveTo>
                <a:cubicBezTo>
                  <a:pt x="325342" y="523428"/>
                  <a:pt x="325342" y="529381"/>
                  <a:pt x="325342" y="529381"/>
                </a:cubicBezTo>
                <a:cubicBezTo>
                  <a:pt x="325342" y="529381"/>
                  <a:pt x="323226" y="533350"/>
                  <a:pt x="318992" y="535334"/>
                </a:cubicBezTo>
                <a:cubicBezTo>
                  <a:pt x="314759" y="535334"/>
                  <a:pt x="314759" y="535334"/>
                  <a:pt x="314759" y="535334"/>
                </a:cubicBezTo>
                <a:cubicBezTo>
                  <a:pt x="312642" y="531365"/>
                  <a:pt x="312642" y="531365"/>
                  <a:pt x="312642" y="531365"/>
                </a:cubicBezTo>
                <a:cubicBezTo>
                  <a:pt x="312642" y="531365"/>
                  <a:pt x="316876" y="529381"/>
                  <a:pt x="318992" y="525412"/>
                </a:cubicBezTo>
                <a:cubicBezTo>
                  <a:pt x="321109" y="523428"/>
                  <a:pt x="325342" y="519459"/>
                  <a:pt x="325342" y="521443"/>
                </a:cubicBezTo>
                <a:close/>
                <a:moveTo>
                  <a:pt x="346774" y="521126"/>
                </a:moveTo>
                <a:cubicBezTo>
                  <a:pt x="347766" y="521126"/>
                  <a:pt x="348759" y="521681"/>
                  <a:pt x="348759" y="521681"/>
                </a:cubicBezTo>
                <a:cubicBezTo>
                  <a:pt x="350743" y="523904"/>
                  <a:pt x="348759" y="526126"/>
                  <a:pt x="346774" y="528349"/>
                </a:cubicBezTo>
                <a:cubicBezTo>
                  <a:pt x="344790" y="530571"/>
                  <a:pt x="342805" y="528349"/>
                  <a:pt x="344790" y="523904"/>
                </a:cubicBezTo>
                <a:cubicBezTo>
                  <a:pt x="344790" y="521681"/>
                  <a:pt x="345782" y="521126"/>
                  <a:pt x="346774" y="521126"/>
                </a:cubicBezTo>
                <a:close/>
                <a:moveTo>
                  <a:pt x="426942" y="483343"/>
                </a:moveTo>
                <a:cubicBezTo>
                  <a:pt x="428927" y="481359"/>
                  <a:pt x="432896" y="483343"/>
                  <a:pt x="432896" y="483343"/>
                </a:cubicBezTo>
                <a:cubicBezTo>
                  <a:pt x="432896" y="483343"/>
                  <a:pt x="434880" y="483343"/>
                  <a:pt x="434880" y="485328"/>
                </a:cubicBezTo>
                <a:cubicBezTo>
                  <a:pt x="434880" y="487312"/>
                  <a:pt x="430911" y="489296"/>
                  <a:pt x="428927" y="489296"/>
                </a:cubicBezTo>
                <a:cubicBezTo>
                  <a:pt x="428927" y="489296"/>
                  <a:pt x="426942" y="487312"/>
                  <a:pt x="426942" y="483343"/>
                </a:cubicBezTo>
                <a:close/>
                <a:moveTo>
                  <a:pt x="446522" y="476597"/>
                </a:moveTo>
                <a:cubicBezTo>
                  <a:pt x="446522" y="476597"/>
                  <a:pt x="450755" y="476597"/>
                  <a:pt x="450755" y="480566"/>
                </a:cubicBezTo>
                <a:cubicBezTo>
                  <a:pt x="450755" y="482550"/>
                  <a:pt x="444405" y="484534"/>
                  <a:pt x="444405" y="480566"/>
                </a:cubicBezTo>
                <a:cubicBezTo>
                  <a:pt x="444405" y="476597"/>
                  <a:pt x="446522" y="476597"/>
                  <a:pt x="446522" y="476597"/>
                </a:cubicBezTo>
                <a:close/>
                <a:moveTo>
                  <a:pt x="470167" y="470246"/>
                </a:moveTo>
                <a:cubicBezTo>
                  <a:pt x="470167" y="470246"/>
                  <a:pt x="470167" y="474237"/>
                  <a:pt x="474149" y="474237"/>
                </a:cubicBezTo>
                <a:cubicBezTo>
                  <a:pt x="476140" y="478227"/>
                  <a:pt x="474149" y="478227"/>
                  <a:pt x="474149" y="480222"/>
                </a:cubicBezTo>
                <a:cubicBezTo>
                  <a:pt x="474149" y="480222"/>
                  <a:pt x="470167" y="484213"/>
                  <a:pt x="468176" y="484213"/>
                </a:cubicBezTo>
                <a:cubicBezTo>
                  <a:pt x="464194" y="486208"/>
                  <a:pt x="466185" y="490199"/>
                  <a:pt x="466185" y="492194"/>
                </a:cubicBezTo>
                <a:cubicBezTo>
                  <a:pt x="466185" y="494189"/>
                  <a:pt x="464194" y="496184"/>
                  <a:pt x="460213" y="502170"/>
                </a:cubicBezTo>
                <a:cubicBezTo>
                  <a:pt x="454240" y="506161"/>
                  <a:pt x="456231" y="510151"/>
                  <a:pt x="458222" y="512146"/>
                </a:cubicBezTo>
                <a:cubicBezTo>
                  <a:pt x="460213" y="512146"/>
                  <a:pt x="460213" y="518132"/>
                  <a:pt x="458222" y="518132"/>
                </a:cubicBezTo>
                <a:cubicBezTo>
                  <a:pt x="458222" y="520127"/>
                  <a:pt x="458222" y="522122"/>
                  <a:pt x="454240" y="526113"/>
                </a:cubicBezTo>
                <a:cubicBezTo>
                  <a:pt x="450258" y="530103"/>
                  <a:pt x="456231" y="532099"/>
                  <a:pt x="456231" y="532099"/>
                </a:cubicBezTo>
                <a:cubicBezTo>
                  <a:pt x="456231" y="532099"/>
                  <a:pt x="458222" y="528108"/>
                  <a:pt x="458222" y="534094"/>
                </a:cubicBezTo>
                <a:cubicBezTo>
                  <a:pt x="458222" y="538084"/>
                  <a:pt x="462204" y="532099"/>
                  <a:pt x="462204" y="532099"/>
                </a:cubicBezTo>
                <a:cubicBezTo>
                  <a:pt x="462204" y="532099"/>
                  <a:pt x="462204" y="532099"/>
                  <a:pt x="464194" y="530103"/>
                </a:cubicBezTo>
                <a:cubicBezTo>
                  <a:pt x="464194" y="530103"/>
                  <a:pt x="464194" y="530103"/>
                  <a:pt x="468176" y="526113"/>
                </a:cubicBezTo>
                <a:cubicBezTo>
                  <a:pt x="468176" y="526113"/>
                  <a:pt x="470167" y="522122"/>
                  <a:pt x="466185" y="522122"/>
                </a:cubicBezTo>
                <a:cubicBezTo>
                  <a:pt x="466185" y="522122"/>
                  <a:pt x="466185" y="518132"/>
                  <a:pt x="466185" y="518132"/>
                </a:cubicBezTo>
                <a:cubicBezTo>
                  <a:pt x="466185" y="518132"/>
                  <a:pt x="468176" y="510151"/>
                  <a:pt x="470167" y="510151"/>
                </a:cubicBezTo>
                <a:cubicBezTo>
                  <a:pt x="472158" y="510151"/>
                  <a:pt x="472158" y="508156"/>
                  <a:pt x="474149" y="504165"/>
                </a:cubicBezTo>
                <a:cubicBezTo>
                  <a:pt x="474149" y="498180"/>
                  <a:pt x="478131" y="498180"/>
                  <a:pt x="478131" y="498180"/>
                </a:cubicBezTo>
                <a:cubicBezTo>
                  <a:pt x="478131" y="498180"/>
                  <a:pt x="480122" y="496184"/>
                  <a:pt x="480122" y="492194"/>
                </a:cubicBezTo>
                <a:cubicBezTo>
                  <a:pt x="480122" y="488203"/>
                  <a:pt x="482113" y="490199"/>
                  <a:pt x="486095" y="488203"/>
                </a:cubicBezTo>
                <a:cubicBezTo>
                  <a:pt x="490076" y="486208"/>
                  <a:pt x="490076" y="488203"/>
                  <a:pt x="490076" y="492194"/>
                </a:cubicBezTo>
                <a:cubicBezTo>
                  <a:pt x="490076" y="496184"/>
                  <a:pt x="490076" y="498180"/>
                  <a:pt x="490076" y="498180"/>
                </a:cubicBezTo>
                <a:cubicBezTo>
                  <a:pt x="490076" y="498180"/>
                  <a:pt x="482113" y="502170"/>
                  <a:pt x="486095" y="504165"/>
                </a:cubicBezTo>
                <a:cubicBezTo>
                  <a:pt x="492067" y="504165"/>
                  <a:pt x="490076" y="508156"/>
                  <a:pt x="490076" y="508156"/>
                </a:cubicBezTo>
                <a:cubicBezTo>
                  <a:pt x="490076" y="508156"/>
                  <a:pt x="490076" y="508156"/>
                  <a:pt x="490076" y="514141"/>
                </a:cubicBezTo>
                <a:cubicBezTo>
                  <a:pt x="490076" y="518132"/>
                  <a:pt x="492067" y="516137"/>
                  <a:pt x="492067" y="516137"/>
                </a:cubicBezTo>
                <a:cubicBezTo>
                  <a:pt x="492067" y="516137"/>
                  <a:pt x="492067" y="516137"/>
                  <a:pt x="494058" y="512146"/>
                </a:cubicBezTo>
                <a:cubicBezTo>
                  <a:pt x="494058" y="512146"/>
                  <a:pt x="494058" y="508156"/>
                  <a:pt x="498040" y="508156"/>
                </a:cubicBezTo>
                <a:cubicBezTo>
                  <a:pt x="502022" y="510151"/>
                  <a:pt x="500031" y="508156"/>
                  <a:pt x="502022" y="506161"/>
                </a:cubicBezTo>
                <a:cubicBezTo>
                  <a:pt x="502022" y="504165"/>
                  <a:pt x="506004" y="502170"/>
                  <a:pt x="506004" y="500175"/>
                </a:cubicBezTo>
                <a:cubicBezTo>
                  <a:pt x="507995" y="498180"/>
                  <a:pt x="506004" y="494189"/>
                  <a:pt x="506004" y="494189"/>
                </a:cubicBezTo>
                <a:cubicBezTo>
                  <a:pt x="506004" y="494189"/>
                  <a:pt x="504013" y="490199"/>
                  <a:pt x="504013" y="488203"/>
                </a:cubicBezTo>
                <a:cubicBezTo>
                  <a:pt x="504013" y="486208"/>
                  <a:pt x="506004" y="484213"/>
                  <a:pt x="507995" y="486208"/>
                </a:cubicBezTo>
                <a:cubicBezTo>
                  <a:pt x="509986" y="488203"/>
                  <a:pt x="509986" y="486208"/>
                  <a:pt x="507995" y="482218"/>
                </a:cubicBezTo>
                <a:cubicBezTo>
                  <a:pt x="507995" y="478227"/>
                  <a:pt x="509986" y="474237"/>
                  <a:pt x="509986" y="474237"/>
                </a:cubicBezTo>
                <a:cubicBezTo>
                  <a:pt x="509986" y="474237"/>
                  <a:pt x="513968" y="472241"/>
                  <a:pt x="517949" y="478227"/>
                </a:cubicBezTo>
                <a:cubicBezTo>
                  <a:pt x="519940" y="482218"/>
                  <a:pt x="521931" y="480222"/>
                  <a:pt x="523922" y="478227"/>
                </a:cubicBezTo>
                <a:cubicBezTo>
                  <a:pt x="525913" y="478227"/>
                  <a:pt x="527904" y="480222"/>
                  <a:pt x="529895" y="484213"/>
                </a:cubicBezTo>
                <a:cubicBezTo>
                  <a:pt x="531886" y="488203"/>
                  <a:pt x="527904" y="488203"/>
                  <a:pt x="521931" y="494189"/>
                </a:cubicBezTo>
                <a:cubicBezTo>
                  <a:pt x="515958" y="498180"/>
                  <a:pt x="519940" y="500175"/>
                  <a:pt x="523922" y="500175"/>
                </a:cubicBezTo>
                <a:cubicBezTo>
                  <a:pt x="527904" y="500175"/>
                  <a:pt x="525913" y="504165"/>
                  <a:pt x="521931" y="504165"/>
                </a:cubicBezTo>
                <a:cubicBezTo>
                  <a:pt x="519940" y="506161"/>
                  <a:pt x="519940" y="508156"/>
                  <a:pt x="521931" y="508156"/>
                </a:cubicBezTo>
                <a:cubicBezTo>
                  <a:pt x="523922" y="512146"/>
                  <a:pt x="529895" y="508156"/>
                  <a:pt x="529895" y="508156"/>
                </a:cubicBezTo>
                <a:cubicBezTo>
                  <a:pt x="529895" y="508156"/>
                  <a:pt x="531886" y="508156"/>
                  <a:pt x="531886" y="504165"/>
                </a:cubicBezTo>
                <a:cubicBezTo>
                  <a:pt x="531886" y="502170"/>
                  <a:pt x="533877" y="502170"/>
                  <a:pt x="533877" y="502170"/>
                </a:cubicBezTo>
                <a:cubicBezTo>
                  <a:pt x="533877" y="502170"/>
                  <a:pt x="535868" y="500175"/>
                  <a:pt x="537859" y="496184"/>
                </a:cubicBezTo>
                <a:cubicBezTo>
                  <a:pt x="537859" y="492194"/>
                  <a:pt x="541840" y="490199"/>
                  <a:pt x="545822" y="490199"/>
                </a:cubicBezTo>
                <a:cubicBezTo>
                  <a:pt x="549804" y="488203"/>
                  <a:pt x="557768" y="492194"/>
                  <a:pt x="557768" y="492194"/>
                </a:cubicBezTo>
                <a:cubicBezTo>
                  <a:pt x="557768" y="492194"/>
                  <a:pt x="559759" y="496184"/>
                  <a:pt x="561750" y="496184"/>
                </a:cubicBezTo>
                <a:cubicBezTo>
                  <a:pt x="565732" y="496184"/>
                  <a:pt x="565732" y="498180"/>
                  <a:pt x="567723" y="504165"/>
                </a:cubicBezTo>
                <a:cubicBezTo>
                  <a:pt x="567723" y="512146"/>
                  <a:pt x="575686" y="508156"/>
                  <a:pt x="575686" y="508156"/>
                </a:cubicBezTo>
                <a:cubicBezTo>
                  <a:pt x="575686" y="508156"/>
                  <a:pt x="581659" y="506161"/>
                  <a:pt x="581659" y="510151"/>
                </a:cubicBezTo>
                <a:cubicBezTo>
                  <a:pt x="581659" y="512146"/>
                  <a:pt x="583650" y="512146"/>
                  <a:pt x="583650" y="512146"/>
                </a:cubicBezTo>
                <a:cubicBezTo>
                  <a:pt x="583650" y="512146"/>
                  <a:pt x="583650" y="510151"/>
                  <a:pt x="589623" y="512146"/>
                </a:cubicBezTo>
                <a:cubicBezTo>
                  <a:pt x="595595" y="514141"/>
                  <a:pt x="589623" y="518132"/>
                  <a:pt x="587632" y="518132"/>
                </a:cubicBezTo>
                <a:cubicBezTo>
                  <a:pt x="585641" y="518132"/>
                  <a:pt x="579668" y="522122"/>
                  <a:pt x="575686" y="526113"/>
                </a:cubicBezTo>
                <a:cubicBezTo>
                  <a:pt x="573695" y="530103"/>
                  <a:pt x="567723" y="528108"/>
                  <a:pt x="557768" y="528108"/>
                </a:cubicBezTo>
                <a:cubicBezTo>
                  <a:pt x="547813" y="526113"/>
                  <a:pt x="545822" y="522122"/>
                  <a:pt x="541840" y="524118"/>
                </a:cubicBezTo>
                <a:cubicBezTo>
                  <a:pt x="537859" y="526113"/>
                  <a:pt x="547813" y="532099"/>
                  <a:pt x="547813" y="532099"/>
                </a:cubicBezTo>
                <a:cubicBezTo>
                  <a:pt x="547813" y="532099"/>
                  <a:pt x="551795" y="534094"/>
                  <a:pt x="561750" y="536089"/>
                </a:cubicBezTo>
                <a:cubicBezTo>
                  <a:pt x="569713" y="540080"/>
                  <a:pt x="567723" y="540080"/>
                  <a:pt x="565732" y="542075"/>
                </a:cubicBezTo>
                <a:cubicBezTo>
                  <a:pt x="563741" y="544070"/>
                  <a:pt x="567723" y="546065"/>
                  <a:pt x="567723" y="546065"/>
                </a:cubicBezTo>
                <a:cubicBezTo>
                  <a:pt x="567723" y="546065"/>
                  <a:pt x="571704" y="546065"/>
                  <a:pt x="571704" y="550056"/>
                </a:cubicBezTo>
                <a:cubicBezTo>
                  <a:pt x="573695" y="554046"/>
                  <a:pt x="577677" y="550056"/>
                  <a:pt x="577677" y="550056"/>
                </a:cubicBezTo>
                <a:cubicBezTo>
                  <a:pt x="577677" y="550056"/>
                  <a:pt x="577677" y="548061"/>
                  <a:pt x="581659" y="546065"/>
                </a:cubicBezTo>
                <a:cubicBezTo>
                  <a:pt x="585641" y="544070"/>
                  <a:pt x="595595" y="550056"/>
                  <a:pt x="595595" y="550056"/>
                </a:cubicBezTo>
                <a:cubicBezTo>
                  <a:pt x="595595" y="550056"/>
                  <a:pt x="597586" y="550056"/>
                  <a:pt x="601568" y="552051"/>
                </a:cubicBezTo>
                <a:cubicBezTo>
                  <a:pt x="601568" y="552051"/>
                  <a:pt x="599577" y="552051"/>
                  <a:pt x="599577" y="554046"/>
                </a:cubicBezTo>
                <a:cubicBezTo>
                  <a:pt x="599577" y="556042"/>
                  <a:pt x="599577" y="558037"/>
                  <a:pt x="599577" y="560032"/>
                </a:cubicBezTo>
                <a:cubicBezTo>
                  <a:pt x="599577" y="564023"/>
                  <a:pt x="599577" y="568013"/>
                  <a:pt x="597586" y="570008"/>
                </a:cubicBezTo>
                <a:cubicBezTo>
                  <a:pt x="597586" y="572004"/>
                  <a:pt x="595595" y="572004"/>
                  <a:pt x="595595" y="573999"/>
                </a:cubicBezTo>
                <a:cubicBezTo>
                  <a:pt x="595595" y="575994"/>
                  <a:pt x="595595" y="577989"/>
                  <a:pt x="595595" y="579985"/>
                </a:cubicBezTo>
                <a:cubicBezTo>
                  <a:pt x="597586" y="583975"/>
                  <a:pt x="595595" y="583975"/>
                  <a:pt x="593605" y="583975"/>
                </a:cubicBezTo>
                <a:cubicBezTo>
                  <a:pt x="589623" y="583975"/>
                  <a:pt x="585641" y="581980"/>
                  <a:pt x="583650" y="581980"/>
                </a:cubicBezTo>
                <a:cubicBezTo>
                  <a:pt x="581659" y="579985"/>
                  <a:pt x="577677" y="577989"/>
                  <a:pt x="575686" y="577989"/>
                </a:cubicBezTo>
                <a:cubicBezTo>
                  <a:pt x="575686" y="577989"/>
                  <a:pt x="571704" y="577989"/>
                  <a:pt x="567723" y="575994"/>
                </a:cubicBezTo>
                <a:cubicBezTo>
                  <a:pt x="565732" y="575994"/>
                  <a:pt x="569713" y="573999"/>
                  <a:pt x="567723" y="573999"/>
                </a:cubicBezTo>
                <a:cubicBezTo>
                  <a:pt x="565732" y="572004"/>
                  <a:pt x="565732" y="573999"/>
                  <a:pt x="565732" y="575994"/>
                </a:cubicBezTo>
                <a:cubicBezTo>
                  <a:pt x="563741" y="575994"/>
                  <a:pt x="561750" y="575994"/>
                  <a:pt x="559759" y="573999"/>
                </a:cubicBezTo>
                <a:cubicBezTo>
                  <a:pt x="559759" y="573999"/>
                  <a:pt x="555777" y="568013"/>
                  <a:pt x="551795" y="566018"/>
                </a:cubicBezTo>
                <a:cubicBezTo>
                  <a:pt x="547813" y="564023"/>
                  <a:pt x="545822" y="564023"/>
                  <a:pt x="543831" y="564023"/>
                </a:cubicBezTo>
                <a:cubicBezTo>
                  <a:pt x="541840" y="564023"/>
                  <a:pt x="541840" y="558037"/>
                  <a:pt x="539850" y="558037"/>
                </a:cubicBezTo>
                <a:cubicBezTo>
                  <a:pt x="539850" y="556042"/>
                  <a:pt x="537859" y="556042"/>
                  <a:pt x="535868" y="556042"/>
                </a:cubicBezTo>
                <a:cubicBezTo>
                  <a:pt x="533877" y="556042"/>
                  <a:pt x="529895" y="556042"/>
                  <a:pt x="529895" y="558037"/>
                </a:cubicBezTo>
                <a:cubicBezTo>
                  <a:pt x="529895" y="560032"/>
                  <a:pt x="529895" y="562027"/>
                  <a:pt x="527904" y="564023"/>
                </a:cubicBezTo>
                <a:cubicBezTo>
                  <a:pt x="527904" y="566018"/>
                  <a:pt x="525913" y="566018"/>
                  <a:pt x="523922" y="568013"/>
                </a:cubicBezTo>
                <a:cubicBezTo>
                  <a:pt x="521931" y="568013"/>
                  <a:pt x="517949" y="564023"/>
                  <a:pt x="515958" y="564023"/>
                </a:cubicBezTo>
                <a:cubicBezTo>
                  <a:pt x="515958" y="564023"/>
                  <a:pt x="509986" y="566018"/>
                  <a:pt x="509986" y="566018"/>
                </a:cubicBezTo>
                <a:cubicBezTo>
                  <a:pt x="507995" y="568013"/>
                  <a:pt x="502022" y="566018"/>
                  <a:pt x="500031" y="568013"/>
                </a:cubicBezTo>
                <a:cubicBezTo>
                  <a:pt x="498040" y="568013"/>
                  <a:pt x="498040" y="572004"/>
                  <a:pt x="498040" y="572004"/>
                </a:cubicBezTo>
                <a:cubicBezTo>
                  <a:pt x="498040" y="572004"/>
                  <a:pt x="494058" y="572004"/>
                  <a:pt x="494058" y="572004"/>
                </a:cubicBezTo>
                <a:cubicBezTo>
                  <a:pt x="492067" y="573999"/>
                  <a:pt x="494058" y="573999"/>
                  <a:pt x="492067" y="575994"/>
                </a:cubicBezTo>
                <a:cubicBezTo>
                  <a:pt x="492067" y="577989"/>
                  <a:pt x="488086" y="577989"/>
                  <a:pt x="488086" y="579985"/>
                </a:cubicBezTo>
                <a:cubicBezTo>
                  <a:pt x="486095" y="579985"/>
                  <a:pt x="486095" y="583975"/>
                  <a:pt x="484104" y="585970"/>
                </a:cubicBezTo>
                <a:cubicBezTo>
                  <a:pt x="484104" y="587966"/>
                  <a:pt x="484104" y="589961"/>
                  <a:pt x="486095" y="591956"/>
                </a:cubicBezTo>
                <a:cubicBezTo>
                  <a:pt x="486095" y="593951"/>
                  <a:pt x="488086" y="595947"/>
                  <a:pt x="488086" y="597942"/>
                </a:cubicBezTo>
                <a:cubicBezTo>
                  <a:pt x="486095" y="599937"/>
                  <a:pt x="482113" y="599937"/>
                  <a:pt x="480122" y="601932"/>
                </a:cubicBezTo>
                <a:cubicBezTo>
                  <a:pt x="478131" y="601932"/>
                  <a:pt x="476140" y="605923"/>
                  <a:pt x="474149" y="607918"/>
                </a:cubicBezTo>
                <a:cubicBezTo>
                  <a:pt x="474149" y="609913"/>
                  <a:pt x="474149" y="611909"/>
                  <a:pt x="474149" y="613904"/>
                </a:cubicBezTo>
                <a:cubicBezTo>
                  <a:pt x="474149" y="617894"/>
                  <a:pt x="470167" y="617894"/>
                  <a:pt x="470167" y="617894"/>
                </a:cubicBezTo>
                <a:cubicBezTo>
                  <a:pt x="470167" y="617894"/>
                  <a:pt x="470167" y="617894"/>
                  <a:pt x="466185" y="615899"/>
                </a:cubicBezTo>
                <a:cubicBezTo>
                  <a:pt x="466185" y="615899"/>
                  <a:pt x="464194" y="615899"/>
                  <a:pt x="460213" y="613904"/>
                </a:cubicBezTo>
                <a:cubicBezTo>
                  <a:pt x="458222" y="609913"/>
                  <a:pt x="456231" y="609913"/>
                  <a:pt x="456231" y="609913"/>
                </a:cubicBezTo>
                <a:cubicBezTo>
                  <a:pt x="454240" y="607918"/>
                  <a:pt x="448267" y="605923"/>
                  <a:pt x="444285" y="607918"/>
                </a:cubicBezTo>
                <a:cubicBezTo>
                  <a:pt x="442294" y="607918"/>
                  <a:pt x="440303" y="609913"/>
                  <a:pt x="438312" y="611909"/>
                </a:cubicBezTo>
                <a:cubicBezTo>
                  <a:pt x="438312" y="611909"/>
                  <a:pt x="434331" y="613904"/>
                  <a:pt x="432340" y="613904"/>
                </a:cubicBezTo>
                <a:cubicBezTo>
                  <a:pt x="430349" y="615899"/>
                  <a:pt x="426367" y="615899"/>
                  <a:pt x="424376" y="613904"/>
                </a:cubicBezTo>
                <a:cubicBezTo>
                  <a:pt x="422385" y="611909"/>
                  <a:pt x="422385" y="609913"/>
                  <a:pt x="420394" y="611909"/>
                </a:cubicBezTo>
                <a:cubicBezTo>
                  <a:pt x="418403" y="611909"/>
                  <a:pt x="416412" y="613904"/>
                  <a:pt x="414421" y="613904"/>
                </a:cubicBezTo>
                <a:cubicBezTo>
                  <a:pt x="414421" y="613904"/>
                  <a:pt x="410440" y="609913"/>
                  <a:pt x="408449" y="609913"/>
                </a:cubicBezTo>
                <a:cubicBezTo>
                  <a:pt x="406458" y="605923"/>
                  <a:pt x="406458" y="603928"/>
                  <a:pt x="404467" y="601932"/>
                </a:cubicBezTo>
                <a:cubicBezTo>
                  <a:pt x="402476" y="597942"/>
                  <a:pt x="400485" y="595947"/>
                  <a:pt x="400485" y="593951"/>
                </a:cubicBezTo>
                <a:cubicBezTo>
                  <a:pt x="398494" y="591956"/>
                  <a:pt x="398494" y="589961"/>
                  <a:pt x="396503" y="587966"/>
                </a:cubicBezTo>
                <a:cubicBezTo>
                  <a:pt x="396503" y="583975"/>
                  <a:pt x="394512" y="581980"/>
                  <a:pt x="394512" y="579985"/>
                </a:cubicBezTo>
                <a:cubicBezTo>
                  <a:pt x="392521" y="579985"/>
                  <a:pt x="390530" y="579985"/>
                  <a:pt x="388539" y="579985"/>
                </a:cubicBezTo>
                <a:cubicBezTo>
                  <a:pt x="388539" y="579985"/>
                  <a:pt x="384558" y="579985"/>
                  <a:pt x="384558" y="579985"/>
                </a:cubicBezTo>
                <a:cubicBezTo>
                  <a:pt x="384558" y="579985"/>
                  <a:pt x="382567" y="583975"/>
                  <a:pt x="380576" y="585970"/>
                </a:cubicBezTo>
                <a:cubicBezTo>
                  <a:pt x="380576" y="589961"/>
                  <a:pt x="380576" y="587966"/>
                  <a:pt x="378585" y="589961"/>
                </a:cubicBezTo>
                <a:cubicBezTo>
                  <a:pt x="378585" y="591956"/>
                  <a:pt x="378585" y="591956"/>
                  <a:pt x="376594" y="593951"/>
                </a:cubicBezTo>
                <a:cubicBezTo>
                  <a:pt x="374603" y="595947"/>
                  <a:pt x="372612" y="595947"/>
                  <a:pt x="372612" y="593951"/>
                </a:cubicBezTo>
                <a:cubicBezTo>
                  <a:pt x="370621" y="591956"/>
                  <a:pt x="368630" y="591956"/>
                  <a:pt x="366639" y="589961"/>
                </a:cubicBezTo>
                <a:cubicBezTo>
                  <a:pt x="364648" y="589961"/>
                  <a:pt x="364648" y="591956"/>
                  <a:pt x="362657" y="593951"/>
                </a:cubicBezTo>
                <a:cubicBezTo>
                  <a:pt x="360666" y="595947"/>
                  <a:pt x="360666" y="597942"/>
                  <a:pt x="360666" y="599937"/>
                </a:cubicBezTo>
                <a:cubicBezTo>
                  <a:pt x="362657" y="601932"/>
                  <a:pt x="360666" y="605923"/>
                  <a:pt x="360666" y="609913"/>
                </a:cubicBezTo>
                <a:cubicBezTo>
                  <a:pt x="360666" y="611909"/>
                  <a:pt x="360666" y="611909"/>
                  <a:pt x="360666" y="613904"/>
                </a:cubicBezTo>
                <a:cubicBezTo>
                  <a:pt x="362657" y="615899"/>
                  <a:pt x="360666" y="619890"/>
                  <a:pt x="360666" y="621885"/>
                </a:cubicBezTo>
                <a:cubicBezTo>
                  <a:pt x="360666" y="623880"/>
                  <a:pt x="356685" y="623880"/>
                  <a:pt x="354694" y="623880"/>
                </a:cubicBezTo>
                <a:cubicBezTo>
                  <a:pt x="350712" y="623880"/>
                  <a:pt x="346730" y="621885"/>
                  <a:pt x="344739" y="619890"/>
                </a:cubicBezTo>
                <a:cubicBezTo>
                  <a:pt x="342748" y="617894"/>
                  <a:pt x="344739" y="615899"/>
                  <a:pt x="342748" y="613904"/>
                </a:cubicBezTo>
                <a:cubicBezTo>
                  <a:pt x="342748" y="611909"/>
                  <a:pt x="340757" y="613904"/>
                  <a:pt x="338766" y="613904"/>
                </a:cubicBezTo>
                <a:cubicBezTo>
                  <a:pt x="334784" y="613904"/>
                  <a:pt x="332793" y="613904"/>
                  <a:pt x="332793" y="613904"/>
                </a:cubicBezTo>
                <a:cubicBezTo>
                  <a:pt x="330803" y="613904"/>
                  <a:pt x="324830" y="613904"/>
                  <a:pt x="322839" y="613904"/>
                </a:cubicBezTo>
                <a:cubicBezTo>
                  <a:pt x="318857" y="613904"/>
                  <a:pt x="314875" y="613904"/>
                  <a:pt x="314875" y="615899"/>
                </a:cubicBezTo>
                <a:cubicBezTo>
                  <a:pt x="314875" y="617894"/>
                  <a:pt x="316866" y="619890"/>
                  <a:pt x="316866" y="621885"/>
                </a:cubicBezTo>
                <a:cubicBezTo>
                  <a:pt x="316866" y="623880"/>
                  <a:pt x="318857" y="627871"/>
                  <a:pt x="318857" y="627871"/>
                </a:cubicBezTo>
                <a:cubicBezTo>
                  <a:pt x="318857" y="631861"/>
                  <a:pt x="316866" y="633856"/>
                  <a:pt x="316866" y="635852"/>
                </a:cubicBezTo>
                <a:cubicBezTo>
                  <a:pt x="314875" y="635852"/>
                  <a:pt x="312884" y="639842"/>
                  <a:pt x="310893" y="637847"/>
                </a:cubicBezTo>
                <a:cubicBezTo>
                  <a:pt x="306911" y="637847"/>
                  <a:pt x="304921" y="633856"/>
                  <a:pt x="302930" y="633856"/>
                </a:cubicBezTo>
                <a:cubicBezTo>
                  <a:pt x="298948" y="633856"/>
                  <a:pt x="296957" y="635852"/>
                  <a:pt x="294966" y="635852"/>
                </a:cubicBezTo>
                <a:cubicBezTo>
                  <a:pt x="294966" y="637847"/>
                  <a:pt x="294966" y="641837"/>
                  <a:pt x="294966" y="641837"/>
                </a:cubicBezTo>
                <a:cubicBezTo>
                  <a:pt x="294966" y="641837"/>
                  <a:pt x="294966" y="641837"/>
                  <a:pt x="290984" y="643833"/>
                </a:cubicBezTo>
                <a:cubicBezTo>
                  <a:pt x="290984" y="643833"/>
                  <a:pt x="290984" y="643833"/>
                  <a:pt x="287002" y="647823"/>
                </a:cubicBezTo>
                <a:cubicBezTo>
                  <a:pt x="287002" y="647823"/>
                  <a:pt x="285011" y="651814"/>
                  <a:pt x="283020" y="653809"/>
                </a:cubicBezTo>
                <a:cubicBezTo>
                  <a:pt x="281029" y="655804"/>
                  <a:pt x="275057" y="659794"/>
                  <a:pt x="275057" y="661790"/>
                </a:cubicBezTo>
                <a:cubicBezTo>
                  <a:pt x="273066" y="665780"/>
                  <a:pt x="271075" y="669771"/>
                  <a:pt x="273066" y="671766"/>
                </a:cubicBezTo>
                <a:cubicBezTo>
                  <a:pt x="273066" y="671766"/>
                  <a:pt x="275057" y="677752"/>
                  <a:pt x="275057" y="679747"/>
                </a:cubicBezTo>
                <a:cubicBezTo>
                  <a:pt x="273066" y="681742"/>
                  <a:pt x="271075" y="685733"/>
                  <a:pt x="271075" y="687728"/>
                </a:cubicBezTo>
                <a:cubicBezTo>
                  <a:pt x="269084" y="689723"/>
                  <a:pt x="265102" y="695709"/>
                  <a:pt x="263111" y="697704"/>
                </a:cubicBezTo>
                <a:cubicBezTo>
                  <a:pt x="263111" y="699699"/>
                  <a:pt x="259129" y="705685"/>
                  <a:pt x="259129" y="705685"/>
                </a:cubicBezTo>
                <a:cubicBezTo>
                  <a:pt x="257138" y="707680"/>
                  <a:pt x="257138" y="713666"/>
                  <a:pt x="255147" y="715661"/>
                </a:cubicBezTo>
                <a:cubicBezTo>
                  <a:pt x="255147" y="715661"/>
                  <a:pt x="251166" y="717657"/>
                  <a:pt x="247184" y="717657"/>
                </a:cubicBezTo>
                <a:cubicBezTo>
                  <a:pt x="245193" y="717657"/>
                  <a:pt x="243202" y="717657"/>
                  <a:pt x="241211" y="719652"/>
                </a:cubicBezTo>
                <a:cubicBezTo>
                  <a:pt x="237229" y="719652"/>
                  <a:pt x="237229" y="721647"/>
                  <a:pt x="237229" y="723642"/>
                </a:cubicBezTo>
                <a:cubicBezTo>
                  <a:pt x="235238" y="727633"/>
                  <a:pt x="237229" y="735614"/>
                  <a:pt x="237229" y="737609"/>
                </a:cubicBezTo>
                <a:cubicBezTo>
                  <a:pt x="237229" y="741600"/>
                  <a:pt x="235238" y="745590"/>
                  <a:pt x="233247" y="747585"/>
                </a:cubicBezTo>
                <a:cubicBezTo>
                  <a:pt x="231256" y="749581"/>
                  <a:pt x="231256" y="753571"/>
                  <a:pt x="229265" y="757562"/>
                </a:cubicBezTo>
                <a:cubicBezTo>
                  <a:pt x="227275" y="759557"/>
                  <a:pt x="227275" y="767538"/>
                  <a:pt x="225284" y="771528"/>
                </a:cubicBezTo>
                <a:cubicBezTo>
                  <a:pt x="223293" y="773524"/>
                  <a:pt x="221302" y="783500"/>
                  <a:pt x="221302" y="785495"/>
                </a:cubicBezTo>
                <a:cubicBezTo>
                  <a:pt x="221302" y="787490"/>
                  <a:pt x="223293" y="789486"/>
                  <a:pt x="223293" y="791481"/>
                </a:cubicBezTo>
                <a:cubicBezTo>
                  <a:pt x="225284" y="793476"/>
                  <a:pt x="231256" y="799462"/>
                  <a:pt x="231256" y="799462"/>
                </a:cubicBezTo>
                <a:cubicBezTo>
                  <a:pt x="231256" y="799462"/>
                  <a:pt x="231256" y="805448"/>
                  <a:pt x="227275" y="805448"/>
                </a:cubicBezTo>
                <a:cubicBezTo>
                  <a:pt x="225284" y="809438"/>
                  <a:pt x="221302" y="809438"/>
                  <a:pt x="219311" y="811433"/>
                </a:cubicBezTo>
                <a:cubicBezTo>
                  <a:pt x="215329" y="811433"/>
                  <a:pt x="215329" y="811433"/>
                  <a:pt x="211347" y="809438"/>
                </a:cubicBezTo>
                <a:cubicBezTo>
                  <a:pt x="209356" y="809438"/>
                  <a:pt x="205374" y="807443"/>
                  <a:pt x="201392" y="807443"/>
                </a:cubicBezTo>
                <a:cubicBezTo>
                  <a:pt x="199402" y="807443"/>
                  <a:pt x="195420" y="811433"/>
                  <a:pt x="191438" y="813429"/>
                </a:cubicBezTo>
                <a:cubicBezTo>
                  <a:pt x="189447" y="815424"/>
                  <a:pt x="187456" y="819414"/>
                  <a:pt x="187456" y="821410"/>
                </a:cubicBezTo>
                <a:cubicBezTo>
                  <a:pt x="187456" y="823405"/>
                  <a:pt x="185465" y="831386"/>
                  <a:pt x="185465" y="835376"/>
                </a:cubicBezTo>
                <a:cubicBezTo>
                  <a:pt x="187456" y="839367"/>
                  <a:pt x="185465" y="849343"/>
                  <a:pt x="185465" y="851338"/>
                </a:cubicBezTo>
                <a:cubicBezTo>
                  <a:pt x="183474" y="853333"/>
                  <a:pt x="185465" y="859319"/>
                  <a:pt x="185465" y="859319"/>
                </a:cubicBezTo>
                <a:cubicBezTo>
                  <a:pt x="185465" y="859319"/>
                  <a:pt x="187456" y="865305"/>
                  <a:pt x="187456" y="867300"/>
                </a:cubicBezTo>
                <a:cubicBezTo>
                  <a:pt x="187456" y="871291"/>
                  <a:pt x="187456" y="875281"/>
                  <a:pt x="185465" y="877276"/>
                </a:cubicBezTo>
                <a:cubicBezTo>
                  <a:pt x="183474" y="877276"/>
                  <a:pt x="181483" y="891243"/>
                  <a:pt x="181483" y="893238"/>
                </a:cubicBezTo>
                <a:cubicBezTo>
                  <a:pt x="179492" y="897229"/>
                  <a:pt x="183474" y="903215"/>
                  <a:pt x="183474" y="905210"/>
                </a:cubicBezTo>
                <a:cubicBezTo>
                  <a:pt x="183474" y="909200"/>
                  <a:pt x="187456" y="909200"/>
                  <a:pt x="189447" y="909200"/>
                </a:cubicBezTo>
                <a:cubicBezTo>
                  <a:pt x="191438" y="911196"/>
                  <a:pt x="193429" y="915186"/>
                  <a:pt x="195420" y="917181"/>
                </a:cubicBezTo>
                <a:cubicBezTo>
                  <a:pt x="197411" y="919177"/>
                  <a:pt x="197411" y="925162"/>
                  <a:pt x="197411" y="927158"/>
                </a:cubicBezTo>
                <a:cubicBezTo>
                  <a:pt x="197411" y="929153"/>
                  <a:pt x="189447" y="933143"/>
                  <a:pt x="189447" y="933143"/>
                </a:cubicBezTo>
                <a:cubicBezTo>
                  <a:pt x="187456" y="935139"/>
                  <a:pt x="187456" y="939129"/>
                  <a:pt x="187456" y="941124"/>
                </a:cubicBezTo>
                <a:cubicBezTo>
                  <a:pt x="189447" y="945115"/>
                  <a:pt x="187456" y="953096"/>
                  <a:pt x="187456" y="955091"/>
                </a:cubicBezTo>
                <a:cubicBezTo>
                  <a:pt x="187456" y="957086"/>
                  <a:pt x="185465" y="963072"/>
                  <a:pt x="183474" y="965067"/>
                </a:cubicBezTo>
                <a:cubicBezTo>
                  <a:pt x="183474" y="969058"/>
                  <a:pt x="183474" y="969058"/>
                  <a:pt x="181483" y="969058"/>
                </a:cubicBezTo>
                <a:cubicBezTo>
                  <a:pt x="181483" y="971053"/>
                  <a:pt x="179492" y="975044"/>
                  <a:pt x="177501" y="977039"/>
                </a:cubicBezTo>
                <a:cubicBezTo>
                  <a:pt x="175510" y="979034"/>
                  <a:pt x="171529" y="985020"/>
                  <a:pt x="169538" y="987015"/>
                </a:cubicBezTo>
                <a:cubicBezTo>
                  <a:pt x="169538" y="987015"/>
                  <a:pt x="165556" y="991005"/>
                  <a:pt x="163565" y="993001"/>
                </a:cubicBezTo>
                <a:cubicBezTo>
                  <a:pt x="163565" y="993001"/>
                  <a:pt x="159583" y="994996"/>
                  <a:pt x="159583" y="996991"/>
                </a:cubicBezTo>
                <a:cubicBezTo>
                  <a:pt x="159583" y="996991"/>
                  <a:pt x="157592" y="1000982"/>
                  <a:pt x="157592" y="1000982"/>
                </a:cubicBezTo>
                <a:cubicBezTo>
                  <a:pt x="157592" y="1002977"/>
                  <a:pt x="153610" y="1012953"/>
                  <a:pt x="155601" y="1008963"/>
                </a:cubicBezTo>
                <a:cubicBezTo>
                  <a:pt x="155601" y="1004972"/>
                  <a:pt x="153610" y="1004972"/>
                  <a:pt x="149628" y="1002977"/>
                </a:cubicBezTo>
                <a:cubicBezTo>
                  <a:pt x="147638" y="1000982"/>
                  <a:pt x="147638" y="1000982"/>
                  <a:pt x="147638" y="998986"/>
                </a:cubicBezTo>
                <a:cubicBezTo>
                  <a:pt x="149628" y="996991"/>
                  <a:pt x="147638" y="994996"/>
                  <a:pt x="147638" y="994996"/>
                </a:cubicBezTo>
                <a:cubicBezTo>
                  <a:pt x="147638" y="994996"/>
                  <a:pt x="145647" y="993001"/>
                  <a:pt x="145647" y="991005"/>
                </a:cubicBezTo>
                <a:cubicBezTo>
                  <a:pt x="143656" y="987015"/>
                  <a:pt x="141665" y="989010"/>
                  <a:pt x="141665" y="989010"/>
                </a:cubicBezTo>
                <a:cubicBezTo>
                  <a:pt x="141665" y="989010"/>
                  <a:pt x="141665" y="991005"/>
                  <a:pt x="137683" y="993001"/>
                </a:cubicBezTo>
                <a:cubicBezTo>
                  <a:pt x="133701" y="994996"/>
                  <a:pt x="139674" y="998986"/>
                  <a:pt x="139674" y="1000982"/>
                </a:cubicBezTo>
                <a:cubicBezTo>
                  <a:pt x="141665" y="1002977"/>
                  <a:pt x="135692" y="1008963"/>
                  <a:pt x="135692" y="1008963"/>
                </a:cubicBezTo>
                <a:cubicBezTo>
                  <a:pt x="135692" y="1008963"/>
                  <a:pt x="127728" y="1010958"/>
                  <a:pt x="127728" y="1012953"/>
                </a:cubicBezTo>
                <a:cubicBezTo>
                  <a:pt x="127728" y="1016944"/>
                  <a:pt x="123746" y="1014948"/>
                  <a:pt x="121756" y="1014948"/>
                </a:cubicBezTo>
                <a:cubicBezTo>
                  <a:pt x="121756" y="1012953"/>
                  <a:pt x="117774" y="1010958"/>
                  <a:pt x="117774" y="1012953"/>
                </a:cubicBezTo>
                <a:cubicBezTo>
                  <a:pt x="117774" y="1012953"/>
                  <a:pt x="113792" y="1012953"/>
                  <a:pt x="109810" y="1014948"/>
                </a:cubicBezTo>
                <a:cubicBezTo>
                  <a:pt x="107819" y="1014948"/>
                  <a:pt x="109810" y="1016944"/>
                  <a:pt x="109810" y="1020934"/>
                </a:cubicBezTo>
                <a:cubicBezTo>
                  <a:pt x="109810" y="1022929"/>
                  <a:pt x="99855" y="1028915"/>
                  <a:pt x="97864" y="1032906"/>
                </a:cubicBezTo>
                <a:cubicBezTo>
                  <a:pt x="95874" y="1034901"/>
                  <a:pt x="93883" y="1038891"/>
                  <a:pt x="93883" y="1040887"/>
                </a:cubicBezTo>
                <a:cubicBezTo>
                  <a:pt x="93883" y="1044877"/>
                  <a:pt x="81937" y="1048868"/>
                  <a:pt x="77955" y="1050863"/>
                </a:cubicBezTo>
                <a:cubicBezTo>
                  <a:pt x="71982" y="1052858"/>
                  <a:pt x="64019" y="1052858"/>
                  <a:pt x="56055" y="1052858"/>
                </a:cubicBezTo>
                <a:cubicBezTo>
                  <a:pt x="48091" y="1050863"/>
                  <a:pt x="46100" y="1046872"/>
                  <a:pt x="46100" y="1046872"/>
                </a:cubicBezTo>
                <a:cubicBezTo>
                  <a:pt x="46100" y="1046872"/>
                  <a:pt x="42119" y="1042882"/>
                  <a:pt x="40128" y="1040887"/>
                </a:cubicBezTo>
                <a:cubicBezTo>
                  <a:pt x="36146" y="1040887"/>
                  <a:pt x="36146" y="1040887"/>
                  <a:pt x="36146" y="1036896"/>
                </a:cubicBezTo>
                <a:cubicBezTo>
                  <a:pt x="34155" y="1034901"/>
                  <a:pt x="26191" y="1030910"/>
                  <a:pt x="26191" y="1030910"/>
                </a:cubicBezTo>
                <a:cubicBezTo>
                  <a:pt x="26191" y="1030910"/>
                  <a:pt x="22209" y="1028915"/>
                  <a:pt x="20218" y="1028915"/>
                </a:cubicBezTo>
                <a:cubicBezTo>
                  <a:pt x="18227" y="1024925"/>
                  <a:pt x="18227" y="1022929"/>
                  <a:pt x="20218" y="1020934"/>
                </a:cubicBezTo>
                <a:cubicBezTo>
                  <a:pt x="20218" y="1018939"/>
                  <a:pt x="20218" y="1014948"/>
                  <a:pt x="18227" y="1010958"/>
                </a:cubicBezTo>
                <a:cubicBezTo>
                  <a:pt x="18227" y="1008963"/>
                  <a:pt x="18227" y="1004972"/>
                  <a:pt x="22209" y="1004972"/>
                </a:cubicBezTo>
                <a:cubicBezTo>
                  <a:pt x="24200" y="1004972"/>
                  <a:pt x="24200" y="1006967"/>
                  <a:pt x="24200" y="1008963"/>
                </a:cubicBezTo>
                <a:cubicBezTo>
                  <a:pt x="24200" y="1010958"/>
                  <a:pt x="26191" y="1014948"/>
                  <a:pt x="30173" y="1014948"/>
                </a:cubicBezTo>
                <a:cubicBezTo>
                  <a:pt x="34155" y="1012953"/>
                  <a:pt x="30173" y="1008963"/>
                  <a:pt x="30173" y="1008963"/>
                </a:cubicBezTo>
                <a:cubicBezTo>
                  <a:pt x="30173" y="1008963"/>
                  <a:pt x="26191" y="1006967"/>
                  <a:pt x="26191" y="1002977"/>
                </a:cubicBezTo>
                <a:cubicBezTo>
                  <a:pt x="24200" y="1000982"/>
                  <a:pt x="30173" y="1000982"/>
                  <a:pt x="32164" y="1000982"/>
                </a:cubicBezTo>
                <a:cubicBezTo>
                  <a:pt x="34155" y="1002977"/>
                  <a:pt x="36146" y="1000982"/>
                  <a:pt x="36146" y="998986"/>
                </a:cubicBezTo>
                <a:cubicBezTo>
                  <a:pt x="36146" y="996991"/>
                  <a:pt x="34155" y="996991"/>
                  <a:pt x="32164" y="994996"/>
                </a:cubicBezTo>
                <a:cubicBezTo>
                  <a:pt x="28182" y="993001"/>
                  <a:pt x="30173" y="991005"/>
                  <a:pt x="30173" y="991005"/>
                </a:cubicBezTo>
                <a:cubicBezTo>
                  <a:pt x="28182" y="991005"/>
                  <a:pt x="28182" y="993001"/>
                  <a:pt x="28182" y="993001"/>
                </a:cubicBezTo>
                <a:cubicBezTo>
                  <a:pt x="28182" y="993001"/>
                  <a:pt x="28182" y="993001"/>
                  <a:pt x="26191" y="994996"/>
                </a:cubicBezTo>
                <a:cubicBezTo>
                  <a:pt x="24200" y="994996"/>
                  <a:pt x="22209" y="993001"/>
                  <a:pt x="22209" y="993001"/>
                </a:cubicBezTo>
                <a:cubicBezTo>
                  <a:pt x="20218" y="991005"/>
                  <a:pt x="20218" y="993001"/>
                  <a:pt x="18227" y="994996"/>
                </a:cubicBezTo>
                <a:cubicBezTo>
                  <a:pt x="18227" y="996991"/>
                  <a:pt x="16237" y="996991"/>
                  <a:pt x="16237" y="996991"/>
                </a:cubicBezTo>
                <a:cubicBezTo>
                  <a:pt x="16237" y="996991"/>
                  <a:pt x="18227" y="1002977"/>
                  <a:pt x="16237" y="1004972"/>
                </a:cubicBezTo>
                <a:cubicBezTo>
                  <a:pt x="14246" y="1006967"/>
                  <a:pt x="10264" y="1008963"/>
                  <a:pt x="8273" y="1002977"/>
                </a:cubicBezTo>
                <a:cubicBezTo>
                  <a:pt x="8273" y="998986"/>
                  <a:pt x="10264" y="998986"/>
                  <a:pt x="12255" y="996991"/>
                </a:cubicBezTo>
                <a:cubicBezTo>
                  <a:pt x="14246" y="996991"/>
                  <a:pt x="10264" y="994996"/>
                  <a:pt x="12255" y="991005"/>
                </a:cubicBezTo>
                <a:cubicBezTo>
                  <a:pt x="12255" y="985020"/>
                  <a:pt x="16237" y="983025"/>
                  <a:pt x="22209" y="983025"/>
                </a:cubicBezTo>
                <a:cubicBezTo>
                  <a:pt x="26191" y="983025"/>
                  <a:pt x="24200" y="979034"/>
                  <a:pt x="26191" y="977039"/>
                </a:cubicBezTo>
                <a:cubicBezTo>
                  <a:pt x="26191" y="973048"/>
                  <a:pt x="30173" y="973048"/>
                  <a:pt x="30173" y="973048"/>
                </a:cubicBezTo>
                <a:cubicBezTo>
                  <a:pt x="30173" y="973048"/>
                  <a:pt x="34155" y="969058"/>
                  <a:pt x="32164" y="965067"/>
                </a:cubicBezTo>
                <a:cubicBezTo>
                  <a:pt x="30173" y="961077"/>
                  <a:pt x="30173" y="965067"/>
                  <a:pt x="30173" y="965067"/>
                </a:cubicBezTo>
                <a:cubicBezTo>
                  <a:pt x="30173" y="965067"/>
                  <a:pt x="28182" y="969058"/>
                  <a:pt x="28182" y="971053"/>
                </a:cubicBezTo>
                <a:cubicBezTo>
                  <a:pt x="26191" y="973048"/>
                  <a:pt x="24200" y="973048"/>
                  <a:pt x="22209" y="973048"/>
                </a:cubicBezTo>
                <a:cubicBezTo>
                  <a:pt x="22209" y="973048"/>
                  <a:pt x="20218" y="975044"/>
                  <a:pt x="20218" y="975044"/>
                </a:cubicBezTo>
                <a:cubicBezTo>
                  <a:pt x="20218" y="977039"/>
                  <a:pt x="16237" y="977039"/>
                  <a:pt x="14246" y="979034"/>
                </a:cubicBezTo>
                <a:cubicBezTo>
                  <a:pt x="12255" y="981029"/>
                  <a:pt x="12255" y="975044"/>
                  <a:pt x="12255" y="973048"/>
                </a:cubicBezTo>
                <a:cubicBezTo>
                  <a:pt x="12255" y="971053"/>
                  <a:pt x="16237" y="971053"/>
                  <a:pt x="16237" y="967063"/>
                </a:cubicBezTo>
                <a:cubicBezTo>
                  <a:pt x="18227" y="963072"/>
                  <a:pt x="14246" y="961077"/>
                  <a:pt x="14246" y="961077"/>
                </a:cubicBezTo>
                <a:cubicBezTo>
                  <a:pt x="12255" y="961077"/>
                  <a:pt x="8273" y="965067"/>
                  <a:pt x="4291" y="965067"/>
                </a:cubicBezTo>
                <a:cubicBezTo>
                  <a:pt x="309" y="965067"/>
                  <a:pt x="2300" y="961077"/>
                  <a:pt x="2300" y="957086"/>
                </a:cubicBezTo>
                <a:cubicBezTo>
                  <a:pt x="2300" y="953096"/>
                  <a:pt x="2300" y="953096"/>
                  <a:pt x="2300" y="949105"/>
                </a:cubicBezTo>
                <a:cubicBezTo>
                  <a:pt x="309" y="947110"/>
                  <a:pt x="309" y="945115"/>
                  <a:pt x="2300" y="943120"/>
                </a:cubicBezTo>
                <a:cubicBezTo>
                  <a:pt x="4291" y="939129"/>
                  <a:pt x="8273" y="939129"/>
                  <a:pt x="10264" y="939129"/>
                </a:cubicBezTo>
                <a:cubicBezTo>
                  <a:pt x="14246" y="939129"/>
                  <a:pt x="8273" y="935139"/>
                  <a:pt x="6282" y="933143"/>
                </a:cubicBezTo>
                <a:cubicBezTo>
                  <a:pt x="6282" y="931148"/>
                  <a:pt x="4291" y="931148"/>
                  <a:pt x="2300" y="929153"/>
                </a:cubicBezTo>
                <a:cubicBezTo>
                  <a:pt x="-1682" y="929153"/>
                  <a:pt x="309" y="925162"/>
                  <a:pt x="2300" y="923167"/>
                </a:cubicBezTo>
                <a:cubicBezTo>
                  <a:pt x="2300" y="921172"/>
                  <a:pt x="4291" y="921172"/>
                  <a:pt x="4291" y="923167"/>
                </a:cubicBezTo>
                <a:cubicBezTo>
                  <a:pt x="6282" y="925162"/>
                  <a:pt x="6282" y="925162"/>
                  <a:pt x="10264" y="925162"/>
                </a:cubicBezTo>
                <a:cubicBezTo>
                  <a:pt x="12255" y="925162"/>
                  <a:pt x="10264" y="921172"/>
                  <a:pt x="8273" y="919177"/>
                </a:cubicBezTo>
                <a:cubicBezTo>
                  <a:pt x="6282" y="919177"/>
                  <a:pt x="8273" y="917181"/>
                  <a:pt x="12255" y="915186"/>
                </a:cubicBezTo>
                <a:cubicBezTo>
                  <a:pt x="14246" y="915186"/>
                  <a:pt x="14246" y="913191"/>
                  <a:pt x="12255" y="913191"/>
                </a:cubicBezTo>
                <a:cubicBezTo>
                  <a:pt x="10264" y="911196"/>
                  <a:pt x="6282" y="911196"/>
                  <a:pt x="6282" y="907205"/>
                </a:cubicBezTo>
                <a:cubicBezTo>
                  <a:pt x="4291" y="905210"/>
                  <a:pt x="8273" y="903215"/>
                  <a:pt x="8273" y="903215"/>
                </a:cubicBezTo>
                <a:cubicBezTo>
                  <a:pt x="8273" y="903215"/>
                  <a:pt x="14246" y="903215"/>
                  <a:pt x="14246" y="901219"/>
                </a:cubicBezTo>
                <a:cubicBezTo>
                  <a:pt x="14246" y="897229"/>
                  <a:pt x="14246" y="897229"/>
                  <a:pt x="14246" y="897229"/>
                </a:cubicBezTo>
                <a:cubicBezTo>
                  <a:pt x="14246" y="897229"/>
                  <a:pt x="22209" y="897229"/>
                  <a:pt x="24200" y="897229"/>
                </a:cubicBezTo>
                <a:cubicBezTo>
                  <a:pt x="28182" y="897229"/>
                  <a:pt x="26191" y="895234"/>
                  <a:pt x="26191" y="893238"/>
                </a:cubicBezTo>
                <a:cubicBezTo>
                  <a:pt x="24200" y="893238"/>
                  <a:pt x="20218" y="893238"/>
                  <a:pt x="18227" y="893238"/>
                </a:cubicBezTo>
                <a:cubicBezTo>
                  <a:pt x="16237" y="895234"/>
                  <a:pt x="8273" y="895234"/>
                  <a:pt x="6282" y="893238"/>
                </a:cubicBezTo>
                <a:cubicBezTo>
                  <a:pt x="4291" y="893238"/>
                  <a:pt x="2300" y="889248"/>
                  <a:pt x="6282" y="889248"/>
                </a:cubicBezTo>
                <a:cubicBezTo>
                  <a:pt x="6282" y="889248"/>
                  <a:pt x="10264" y="887253"/>
                  <a:pt x="10264" y="887253"/>
                </a:cubicBezTo>
                <a:cubicBezTo>
                  <a:pt x="8273" y="887253"/>
                  <a:pt x="6282" y="885257"/>
                  <a:pt x="6282" y="883262"/>
                </a:cubicBezTo>
                <a:cubicBezTo>
                  <a:pt x="6282" y="881267"/>
                  <a:pt x="10264" y="881267"/>
                  <a:pt x="14246" y="881267"/>
                </a:cubicBezTo>
                <a:cubicBezTo>
                  <a:pt x="18227" y="881267"/>
                  <a:pt x="14246" y="879272"/>
                  <a:pt x="16237" y="875281"/>
                </a:cubicBezTo>
                <a:cubicBezTo>
                  <a:pt x="20218" y="871291"/>
                  <a:pt x="22209" y="875281"/>
                  <a:pt x="22209" y="875281"/>
                </a:cubicBezTo>
                <a:cubicBezTo>
                  <a:pt x="22209" y="875281"/>
                  <a:pt x="26191" y="879272"/>
                  <a:pt x="30173" y="881267"/>
                </a:cubicBezTo>
                <a:cubicBezTo>
                  <a:pt x="32164" y="881267"/>
                  <a:pt x="34155" y="877276"/>
                  <a:pt x="34155" y="877276"/>
                </a:cubicBezTo>
                <a:cubicBezTo>
                  <a:pt x="34155" y="877276"/>
                  <a:pt x="38137" y="877276"/>
                  <a:pt x="42119" y="877276"/>
                </a:cubicBezTo>
                <a:cubicBezTo>
                  <a:pt x="46100" y="877276"/>
                  <a:pt x="48091" y="879272"/>
                  <a:pt x="50082" y="881267"/>
                </a:cubicBezTo>
                <a:cubicBezTo>
                  <a:pt x="52073" y="883262"/>
                  <a:pt x="54064" y="881267"/>
                  <a:pt x="54064" y="881267"/>
                </a:cubicBezTo>
                <a:cubicBezTo>
                  <a:pt x="54064" y="881267"/>
                  <a:pt x="52073" y="877276"/>
                  <a:pt x="50082" y="875281"/>
                </a:cubicBezTo>
                <a:cubicBezTo>
                  <a:pt x="50082" y="873286"/>
                  <a:pt x="48091" y="873286"/>
                  <a:pt x="46100" y="873286"/>
                </a:cubicBezTo>
                <a:cubicBezTo>
                  <a:pt x="44110" y="873286"/>
                  <a:pt x="40128" y="873286"/>
                  <a:pt x="40128" y="871291"/>
                </a:cubicBezTo>
                <a:cubicBezTo>
                  <a:pt x="38137" y="871291"/>
                  <a:pt x="36146" y="869295"/>
                  <a:pt x="36146" y="867300"/>
                </a:cubicBezTo>
                <a:cubicBezTo>
                  <a:pt x="34155" y="865305"/>
                  <a:pt x="38137" y="865305"/>
                  <a:pt x="38137" y="865305"/>
                </a:cubicBezTo>
                <a:cubicBezTo>
                  <a:pt x="38137" y="865305"/>
                  <a:pt x="38137" y="863310"/>
                  <a:pt x="40128" y="863310"/>
                </a:cubicBezTo>
                <a:cubicBezTo>
                  <a:pt x="44110" y="863310"/>
                  <a:pt x="46100" y="861314"/>
                  <a:pt x="46100" y="859319"/>
                </a:cubicBezTo>
                <a:cubicBezTo>
                  <a:pt x="46100" y="859319"/>
                  <a:pt x="48091" y="859319"/>
                  <a:pt x="50082" y="861314"/>
                </a:cubicBezTo>
                <a:cubicBezTo>
                  <a:pt x="50082" y="863310"/>
                  <a:pt x="56055" y="861314"/>
                  <a:pt x="56055" y="861314"/>
                </a:cubicBezTo>
                <a:cubicBezTo>
                  <a:pt x="56055" y="861314"/>
                  <a:pt x="62028" y="861314"/>
                  <a:pt x="64019" y="861314"/>
                </a:cubicBezTo>
                <a:cubicBezTo>
                  <a:pt x="64019" y="859319"/>
                  <a:pt x="62028" y="857324"/>
                  <a:pt x="58046" y="859319"/>
                </a:cubicBezTo>
                <a:cubicBezTo>
                  <a:pt x="56055" y="859319"/>
                  <a:pt x="52073" y="859319"/>
                  <a:pt x="50082" y="859319"/>
                </a:cubicBezTo>
                <a:cubicBezTo>
                  <a:pt x="48091" y="857324"/>
                  <a:pt x="50082" y="853333"/>
                  <a:pt x="52073" y="853333"/>
                </a:cubicBezTo>
                <a:cubicBezTo>
                  <a:pt x="54064" y="853333"/>
                  <a:pt x="54064" y="851338"/>
                  <a:pt x="54064" y="851338"/>
                </a:cubicBezTo>
                <a:cubicBezTo>
                  <a:pt x="54064" y="851338"/>
                  <a:pt x="54064" y="851338"/>
                  <a:pt x="56055" y="849343"/>
                </a:cubicBezTo>
                <a:cubicBezTo>
                  <a:pt x="58046" y="845352"/>
                  <a:pt x="60037" y="849343"/>
                  <a:pt x="60037" y="849343"/>
                </a:cubicBezTo>
                <a:cubicBezTo>
                  <a:pt x="60037" y="849343"/>
                  <a:pt x="64019" y="849343"/>
                  <a:pt x="68001" y="851338"/>
                </a:cubicBezTo>
                <a:cubicBezTo>
                  <a:pt x="73973" y="853333"/>
                  <a:pt x="71982" y="855329"/>
                  <a:pt x="71982" y="857324"/>
                </a:cubicBezTo>
                <a:cubicBezTo>
                  <a:pt x="73973" y="859319"/>
                  <a:pt x="75964" y="859319"/>
                  <a:pt x="77955" y="859319"/>
                </a:cubicBezTo>
                <a:cubicBezTo>
                  <a:pt x="79946" y="857324"/>
                  <a:pt x="77955" y="855329"/>
                  <a:pt x="73973" y="853333"/>
                </a:cubicBezTo>
                <a:cubicBezTo>
                  <a:pt x="71982" y="851338"/>
                  <a:pt x="71982" y="851338"/>
                  <a:pt x="73973" y="847348"/>
                </a:cubicBezTo>
                <a:cubicBezTo>
                  <a:pt x="73973" y="845352"/>
                  <a:pt x="77955" y="851338"/>
                  <a:pt x="77955" y="851338"/>
                </a:cubicBezTo>
                <a:cubicBezTo>
                  <a:pt x="77955" y="851338"/>
                  <a:pt x="77955" y="851338"/>
                  <a:pt x="81937" y="855329"/>
                </a:cubicBezTo>
                <a:cubicBezTo>
                  <a:pt x="81937" y="855329"/>
                  <a:pt x="89901" y="855329"/>
                  <a:pt x="89901" y="851338"/>
                </a:cubicBezTo>
                <a:cubicBezTo>
                  <a:pt x="89901" y="847348"/>
                  <a:pt x="83928" y="847348"/>
                  <a:pt x="81937" y="847348"/>
                </a:cubicBezTo>
                <a:cubicBezTo>
                  <a:pt x="81937" y="847348"/>
                  <a:pt x="77955" y="845352"/>
                  <a:pt x="79946" y="841362"/>
                </a:cubicBezTo>
                <a:cubicBezTo>
                  <a:pt x="79946" y="839367"/>
                  <a:pt x="85919" y="839367"/>
                  <a:pt x="85919" y="839367"/>
                </a:cubicBezTo>
                <a:cubicBezTo>
                  <a:pt x="85919" y="839367"/>
                  <a:pt x="89901" y="841362"/>
                  <a:pt x="93883" y="843357"/>
                </a:cubicBezTo>
                <a:cubicBezTo>
                  <a:pt x="95874" y="843357"/>
                  <a:pt x="95874" y="839367"/>
                  <a:pt x="93883" y="837372"/>
                </a:cubicBezTo>
                <a:cubicBezTo>
                  <a:pt x="89901" y="835376"/>
                  <a:pt x="91892" y="833381"/>
                  <a:pt x="91892" y="831386"/>
                </a:cubicBezTo>
                <a:cubicBezTo>
                  <a:pt x="91892" y="829391"/>
                  <a:pt x="91892" y="827395"/>
                  <a:pt x="91892" y="827395"/>
                </a:cubicBezTo>
                <a:cubicBezTo>
                  <a:pt x="91892" y="827395"/>
                  <a:pt x="87910" y="829391"/>
                  <a:pt x="83928" y="829391"/>
                </a:cubicBezTo>
                <a:cubicBezTo>
                  <a:pt x="81937" y="829391"/>
                  <a:pt x="81937" y="825400"/>
                  <a:pt x="81937" y="825400"/>
                </a:cubicBezTo>
                <a:cubicBezTo>
                  <a:pt x="81937" y="823405"/>
                  <a:pt x="85919" y="821410"/>
                  <a:pt x="89901" y="819414"/>
                </a:cubicBezTo>
                <a:cubicBezTo>
                  <a:pt x="91892" y="819414"/>
                  <a:pt x="91892" y="817419"/>
                  <a:pt x="91892" y="817419"/>
                </a:cubicBezTo>
                <a:cubicBezTo>
                  <a:pt x="91892" y="815424"/>
                  <a:pt x="95874" y="815424"/>
                  <a:pt x="95874" y="815424"/>
                </a:cubicBezTo>
                <a:cubicBezTo>
                  <a:pt x="95874" y="815424"/>
                  <a:pt x="97864" y="815424"/>
                  <a:pt x="99855" y="815424"/>
                </a:cubicBezTo>
                <a:cubicBezTo>
                  <a:pt x="101846" y="815424"/>
                  <a:pt x="103837" y="821410"/>
                  <a:pt x="101846" y="823405"/>
                </a:cubicBezTo>
                <a:cubicBezTo>
                  <a:pt x="99855" y="825400"/>
                  <a:pt x="101846" y="825400"/>
                  <a:pt x="103837" y="825400"/>
                </a:cubicBezTo>
                <a:cubicBezTo>
                  <a:pt x="105828" y="827395"/>
                  <a:pt x="109810" y="825400"/>
                  <a:pt x="111801" y="825400"/>
                </a:cubicBezTo>
                <a:cubicBezTo>
                  <a:pt x="113792" y="825400"/>
                  <a:pt x="115783" y="827395"/>
                  <a:pt x="115783" y="827395"/>
                </a:cubicBezTo>
                <a:cubicBezTo>
                  <a:pt x="117774" y="829391"/>
                  <a:pt x="117774" y="821410"/>
                  <a:pt x="117774" y="821410"/>
                </a:cubicBezTo>
                <a:cubicBezTo>
                  <a:pt x="117774" y="821410"/>
                  <a:pt x="119765" y="819414"/>
                  <a:pt x="115783" y="819414"/>
                </a:cubicBezTo>
                <a:cubicBezTo>
                  <a:pt x="113792" y="819414"/>
                  <a:pt x="111801" y="817419"/>
                  <a:pt x="111801" y="813429"/>
                </a:cubicBezTo>
                <a:cubicBezTo>
                  <a:pt x="111801" y="811433"/>
                  <a:pt x="113792" y="811433"/>
                  <a:pt x="115783" y="811433"/>
                </a:cubicBezTo>
                <a:cubicBezTo>
                  <a:pt x="117774" y="811433"/>
                  <a:pt x="115783" y="805448"/>
                  <a:pt x="115783" y="805448"/>
                </a:cubicBezTo>
                <a:cubicBezTo>
                  <a:pt x="115783" y="805448"/>
                  <a:pt x="117774" y="801457"/>
                  <a:pt x="117774" y="801457"/>
                </a:cubicBezTo>
                <a:cubicBezTo>
                  <a:pt x="119765" y="801457"/>
                  <a:pt x="119765" y="799462"/>
                  <a:pt x="119765" y="799462"/>
                </a:cubicBezTo>
                <a:cubicBezTo>
                  <a:pt x="119765" y="799462"/>
                  <a:pt x="121756" y="795471"/>
                  <a:pt x="123746" y="793476"/>
                </a:cubicBezTo>
                <a:cubicBezTo>
                  <a:pt x="123746" y="793476"/>
                  <a:pt x="125737" y="791481"/>
                  <a:pt x="129719" y="791481"/>
                </a:cubicBezTo>
                <a:cubicBezTo>
                  <a:pt x="131710" y="793476"/>
                  <a:pt x="131710" y="791481"/>
                  <a:pt x="131710" y="791481"/>
                </a:cubicBezTo>
                <a:cubicBezTo>
                  <a:pt x="131710" y="791481"/>
                  <a:pt x="131710" y="785495"/>
                  <a:pt x="133701" y="783500"/>
                </a:cubicBezTo>
                <a:cubicBezTo>
                  <a:pt x="133701" y="781505"/>
                  <a:pt x="137683" y="779509"/>
                  <a:pt x="139674" y="781505"/>
                </a:cubicBezTo>
                <a:cubicBezTo>
                  <a:pt x="143656" y="781505"/>
                  <a:pt x="143656" y="777514"/>
                  <a:pt x="145647" y="775519"/>
                </a:cubicBezTo>
                <a:cubicBezTo>
                  <a:pt x="145647" y="775519"/>
                  <a:pt x="149628" y="775519"/>
                  <a:pt x="149628" y="775519"/>
                </a:cubicBezTo>
                <a:cubicBezTo>
                  <a:pt x="149628" y="775519"/>
                  <a:pt x="157592" y="779509"/>
                  <a:pt x="155601" y="781505"/>
                </a:cubicBezTo>
                <a:cubicBezTo>
                  <a:pt x="153610" y="783500"/>
                  <a:pt x="155601" y="783500"/>
                  <a:pt x="157592" y="783500"/>
                </a:cubicBezTo>
                <a:cubicBezTo>
                  <a:pt x="159583" y="785495"/>
                  <a:pt x="159583" y="785495"/>
                  <a:pt x="161574" y="783500"/>
                </a:cubicBezTo>
                <a:cubicBezTo>
                  <a:pt x="165556" y="779509"/>
                  <a:pt x="161574" y="779509"/>
                  <a:pt x="159583" y="779509"/>
                </a:cubicBezTo>
                <a:cubicBezTo>
                  <a:pt x="155601" y="779509"/>
                  <a:pt x="157592" y="775519"/>
                  <a:pt x="157592" y="775519"/>
                </a:cubicBezTo>
                <a:cubicBezTo>
                  <a:pt x="157592" y="775519"/>
                  <a:pt x="159583" y="775519"/>
                  <a:pt x="159583" y="773524"/>
                </a:cubicBezTo>
                <a:cubicBezTo>
                  <a:pt x="159583" y="771528"/>
                  <a:pt x="157592" y="771528"/>
                  <a:pt x="155601" y="771528"/>
                </a:cubicBezTo>
                <a:cubicBezTo>
                  <a:pt x="155601" y="771528"/>
                  <a:pt x="153610" y="767538"/>
                  <a:pt x="155601" y="763547"/>
                </a:cubicBezTo>
                <a:cubicBezTo>
                  <a:pt x="155601" y="761552"/>
                  <a:pt x="159583" y="757562"/>
                  <a:pt x="161574" y="755566"/>
                </a:cubicBezTo>
                <a:cubicBezTo>
                  <a:pt x="163565" y="753571"/>
                  <a:pt x="167547" y="755566"/>
                  <a:pt x="169538" y="755566"/>
                </a:cubicBezTo>
                <a:cubicBezTo>
                  <a:pt x="173520" y="757562"/>
                  <a:pt x="173520" y="757562"/>
                  <a:pt x="175510" y="755566"/>
                </a:cubicBezTo>
                <a:cubicBezTo>
                  <a:pt x="175510" y="753571"/>
                  <a:pt x="173520" y="751576"/>
                  <a:pt x="173520" y="751576"/>
                </a:cubicBezTo>
                <a:cubicBezTo>
                  <a:pt x="173520" y="751576"/>
                  <a:pt x="169538" y="749581"/>
                  <a:pt x="169538" y="747585"/>
                </a:cubicBezTo>
                <a:cubicBezTo>
                  <a:pt x="167547" y="745590"/>
                  <a:pt x="167547" y="741600"/>
                  <a:pt x="169538" y="741600"/>
                </a:cubicBezTo>
                <a:cubicBezTo>
                  <a:pt x="173520" y="741600"/>
                  <a:pt x="173520" y="741600"/>
                  <a:pt x="173520" y="739604"/>
                </a:cubicBezTo>
                <a:cubicBezTo>
                  <a:pt x="175510" y="737609"/>
                  <a:pt x="177501" y="739604"/>
                  <a:pt x="179492" y="739604"/>
                </a:cubicBezTo>
                <a:cubicBezTo>
                  <a:pt x="183474" y="739604"/>
                  <a:pt x="183474" y="735614"/>
                  <a:pt x="183474" y="731623"/>
                </a:cubicBezTo>
                <a:cubicBezTo>
                  <a:pt x="183474" y="727633"/>
                  <a:pt x="185465" y="723642"/>
                  <a:pt x="187456" y="721647"/>
                </a:cubicBezTo>
                <a:cubicBezTo>
                  <a:pt x="189447" y="719652"/>
                  <a:pt x="187456" y="719652"/>
                  <a:pt x="187456" y="715661"/>
                </a:cubicBezTo>
                <a:cubicBezTo>
                  <a:pt x="187456" y="713666"/>
                  <a:pt x="187456" y="713666"/>
                  <a:pt x="189447" y="711671"/>
                </a:cubicBezTo>
                <a:cubicBezTo>
                  <a:pt x="191438" y="707680"/>
                  <a:pt x="193429" y="709676"/>
                  <a:pt x="195420" y="709676"/>
                </a:cubicBezTo>
                <a:cubicBezTo>
                  <a:pt x="197411" y="711671"/>
                  <a:pt x="199402" y="709676"/>
                  <a:pt x="201392" y="707680"/>
                </a:cubicBezTo>
                <a:cubicBezTo>
                  <a:pt x="201392" y="705685"/>
                  <a:pt x="203383" y="707680"/>
                  <a:pt x="207365" y="707680"/>
                </a:cubicBezTo>
                <a:cubicBezTo>
                  <a:pt x="213338" y="707680"/>
                  <a:pt x="213338" y="703690"/>
                  <a:pt x="211347" y="701695"/>
                </a:cubicBezTo>
                <a:cubicBezTo>
                  <a:pt x="209356" y="699699"/>
                  <a:pt x="203383" y="703690"/>
                  <a:pt x="203383" y="703690"/>
                </a:cubicBezTo>
                <a:cubicBezTo>
                  <a:pt x="203383" y="703690"/>
                  <a:pt x="195420" y="705685"/>
                  <a:pt x="195420" y="703690"/>
                </a:cubicBezTo>
                <a:cubicBezTo>
                  <a:pt x="193429" y="703690"/>
                  <a:pt x="191438" y="699699"/>
                  <a:pt x="189447" y="695709"/>
                </a:cubicBezTo>
                <a:cubicBezTo>
                  <a:pt x="187456" y="691718"/>
                  <a:pt x="189447" y="691718"/>
                  <a:pt x="189447" y="689723"/>
                </a:cubicBezTo>
                <a:cubicBezTo>
                  <a:pt x="191438" y="687728"/>
                  <a:pt x="191438" y="689723"/>
                  <a:pt x="193429" y="689723"/>
                </a:cubicBezTo>
                <a:cubicBezTo>
                  <a:pt x="195420" y="691718"/>
                  <a:pt x="195420" y="693714"/>
                  <a:pt x="195420" y="693714"/>
                </a:cubicBezTo>
                <a:cubicBezTo>
                  <a:pt x="195420" y="693714"/>
                  <a:pt x="199402" y="695709"/>
                  <a:pt x="201392" y="695709"/>
                </a:cubicBezTo>
                <a:cubicBezTo>
                  <a:pt x="203383" y="695709"/>
                  <a:pt x="203383" y="693714"/>
                  <a:pt x="199402" y="691718"/>
                </a:cubicBezTo>
                <a:cubicBezTo>
                  <a:pt x="199402" y="689723"/>
                  <a:pt x="199402" y="689723"/>
                  <a:pt x="199402" y="685733"/>
                </a:cubicBezTo>
                <a:cubicBezTo>
                  <a:pt x="199402" y="683737"/>
                  <a:pt x="203383" y="681742"/>
                  <a:pt x="203383" y="681742"/>
                </a:cubicBezTo>
                <a:cubicBezTo>
                  <a:pt x="203383" y="681742"/>
                  <a:pt x="207365" y="679747"/>
                  <a:pt x="207365" y="677752"/>
                </a:cubicBezTo>
                <a:cubicBezTo>
                  <a:pt x="207365" y="673761"/>
                  <a:pt x="211347" y="671766"/>
                  <a:pt x="211347" y="671766"/>
                </a:cubicBezTo>
                <a:cubicBezTo>
                  <a:pt x="211347" y="671766"/>
                  <a:pt x="215329" y="669771"/>
                  <a:pt x="215329" y="667775"/>
                </a:cubicBezTo>
                <a:cubicBezTo>
                  <a:pt x="217320" y="665780"/>
                  <a:pt x="223293" y="667775"/>
                  <a:pt x="225284" y="669771"/>
                </a:cubicBezTo>
                <a:cubicBezTo>
                  <a:pt x="229265" y="671766"/>
                  <a:pt x="231256" y="669771"/>
                  <a:pt x="231256" y="669771"/>
                </a:cubicBezTo>
                <a:cubicBezTo>
                  <a:pt x="231256" y="669771"/>
                  <a:pt x="235238" y="667775"/>
                  <a:pt x="235238" y="665780"/>
                </a:cubicBezTo>
                <a:cubicBezTo>
                  <a:pt x="235238" y="665780"/>
                  <a:pt x="231256" y="665780"/>
                  <a:pt x="229265" y="665780"/>
                </a:cubicBezTo>
                <a:cubicBezTo>
                  <a:pt x="225284" y="663785"/>
                  <a:pt x="225284" y="663785"/>
                  <a:pt x="225284" y="661790"/>
                </a:cubicBezTo>
                <a:cubicBezTo>
                  <a:pt x="225284" y="657799"/>
                  <a:pt x="229265" y="655804"/>
                  <a:pt x="233247" y="653809"/>
                </a:cubicBezTo>
                <a:cubicBezTo>
                  <a:pt x="237229" y="651814"/>
                  <a:pt x="241211" y="653809"/>
                  <a:pt x="243202" y="655804"/>
                </a:cubicBezTo>
                <a:cubicBezTo>
                  <a:pt x="245193" y="659794"/>
                  <a:pt x="249175" y="657799"/>
                  <a:pt x="249175" y="655804"/>
                </a:cubicBezTo>
                <a:cubicBezTo>
                  <a:pt x="249175" y="651814"/>
                  <a:pt x="245193" y="651814"/>
                  <a:pt x="243202" y="649818"/>
                </a:cubicBezTo>
                <a:cubicBezTo>
                  <a:pt x="239220" y="647823"/>
                  <a:pt x="245193" y="645828"/>
                  <a:pt x="245193" y="645828"/>
                </a:cubicBezTo>
                <a:cubicBezTo>
                  <a:pt x="245193" y="645828"/>
                  <a:pt x="249175" y="643833"/>
                  <a:pt x="249175" y="641837"/>
                </a:cubicBezTo>
                <a:cubicBezTo>
                  <a:pt x="247184" y="637847"/>
                  <a:pt x="241211" y="639842"/>
                  <a:pt x="237229" y="641837"/>
                </a:cubicBezTo>
                <a:cubicBezTo>
                  <a:pt x="233247" y="643833"/>
                  <a:pt x="233247" y="641837"/>
                  <a:pt x="233247" y="639842"/>
                </a:cubicBezTo>
                <a:cubicBezTo>
                  <a:pt x="235238" y="635852"/>
                  <a:pt x="239220" y="633856"/>
                  <a:pt x="243202" y="631861"/>
                </a:cubicBezTo>
                <a:cubicBezTo>
                  <a:pt x="247184" y="631861"/>
                  <a:pt x="249175" y="631861"/>
                  <a:pt x="249175" y="627871"/>
                </a:cubicBezTo>
                <a:cubicBezTo>
                  <a:pt x="247184" y="625875"/>
                  <a:pt x="245193" y="625875"/>
                  <a:pt x="245193" y="625875"/>
                </a:cubicBezTo>
                <a:cubicBezTo>
                  <a:pt x="245193" y="625875"/>
                  <a:pt x="241211" y="625875"/>
                  <a:pt x="239220" y="623880"/>
                </a:cubicBezTo>
                <a:cubicBezTo>
                  <a:pt x="237229" y="619890"/>
                  <a:pt x="241211" y="619890"/>
                  <a:pt x="245193" y="619890"/>
                </a:cubicBezTo>
                <a:cubicBezTo>
                  <a:pt x="249175" y="617894"/>
                  <a:pt x="249175" y="617894"/>
                  <a:pt x="249175" y="613904"/>
                </a:cubicBezTo>
                <a:cubicBezTo>
                  <a:pt x="251166" y="611909"/>
                  <a:pt x="247184" y="611909"/>
                  <a:pt x="243202" y="611909"/>
                </a:cubicBezTo>
                <a:cubicBezTo>
                  <a:pt x="241211" y="611909"/>
                  <a:pt x="241211" y="609913"/>
                  <a:pt x="241211" y="609913"/>
                </a:cubicBezTo>
                <a:cubicBezTo>
                  <a:pt x="241211" y="609913"/>
                  <a:pt x="237229" y="609913"/>
                  <a:pt x="233247" y="611909"/>
                </a:cubicBezTo>
                <a:cubicBezTo>
                  <a:pt x="229265" y="611909"/>
                  <a:pt x="229265" y="615899"/>
                  <a:pt x="223293" y="615899"/>
                </a:cubicBezTo>
                <a:cubicBezTo>
                  <a:pt x="217320" y="615899"/>
                  <a:pt x="215329" y="611909"/>
                  <a:pt x="213338" y="609913"/>
                </a:cubicBezTo>
                <a:cubicBezTo>
                  <a:pt x="211347" y="607918"/>
                  <a:pt x="213338" y="607918"/>
                  <a:pt x="217320" y="605923"/>
                </a:cubicBezTo>
                <a:cubicBezTo>
                  <a:pt x="219311" y="605923"/>
                  <a:pt x="219311" y="601932"/>
                  <a:pt x="219311" y="601932"/>
                </a:cubicBezTo>
                <a:cubicBezTo>
                  <a:pt x="219311" y="601932"/>
                  <a:pt x="219311" y="601932"/>
                  <a:pt x="223293" y="599937"/>
                </a:cubicBezTo>
                <a:cubicBezTo>
                  <a:pt x="227275" y="599937"/>
                  <a:pt x="227275" y="601932"/>
                  <a:pt x="229265" y="605923"/>
                </a:cubicBezTo>
                <a:cubicBezTo>
                  <a:pt x="233247" y="607918"/>
                  <a:pt x="233247" y="603928"/>
                  <a:pt x="233247" y="603928"/>
                </a:cubicBezTo>
                <a:cubicBezTo>
                  <a:pt x="233247" y="603928"/>
                  <a:pt x="239220" y="599937"/>
                  <a:pt x="239220" y="597942"/>
                </a:cubicBezTo>
                <a:cubicBezTo>
                  <a:pt x="241211" y="595947"/>
                  <a:pt x="239220" y="591956"/>
                  <a:pt x="241211" y="589961"/>
                </a:cubicBezTo>
                <a:cubicBezTo>
                  <a:pt x="241211" y="585970"/>
                  <a:pt x="245193" y="583975"/>
                  <a:pt x="247184" y="583975"/>
                </a:cubicBezTo>
                <a:cubicBezTo>
                  <a:pt x="251166" y="581980"/>
                  <a:pt x="251166" y="583975"/>
                  <a:pt x="251166" y="583975"/>
                </a:cubicBezTo>
                <a:cubicBezTo>
                  <a:pt x="253157" y="583975"/>
                  <a:pt x="253157" y="587966"/>
                  <a:pt x="251166" y="589961"/>
                </a:cubicBezTo>
                <a:cubicBezTo>
                  <a:pt x="249175" y="591956"/>
                  <a:pt x="249175" y="593951"/>
                  <a:pt x="251166" y="593951"/>
                </a:cubicBezTo>
                <a:cubicBezTo>
                  <a:pt x="255147" y="595947"/>
                  <a:pt x="255147" y="593951"/>
                  <a:pt x="255147" y="591956"/>
                </a:cubicBezTo>
                <a:cubicBezTo>
                  <a:pt x="255147" y="587966"/>
                  <a:pt x="257138" y="587966"/>
                  <a:pt x="259129" y="589961"/>
                </a:cubicBezTo>
                <a:cubicBezTo>
                  <a:pt x="263111" y="589961"/>
                  <a:pt x="261120" y="587966"/>
                  <a:pt x="263111" y="585970"/>
                </a:cubicBezTo>
                <a:cubicBezTo>
                  <a:pt x="263111" y="585970"/>
                  <a:pt x="265102" y="583975"/>
                  <a:pt x="267093" y="583975"/>
                </a:cubicBezTo>
                <a:cubicBezTo>
                  <a:pt x="269084" y="583975"/>
                  <a:pt x="269084" y="593951"/>
                  <a:pt x="267093" y="595947"/>
                </a:cubicBezTo>
                <a:cubicBezTo>
                  <a:pt x="263111" y="597942"/>
                  <a:pt x="263111" y="599937"/>
                  <a:pt x="267093" y="603928"/>
                </a:cubicBezTo>
                <a:cubicBezTo>
                  <a:pt x="269084" y="607918"/>
                  <a:pt x="269084" y="603928"/>
                  <a:pt x="269084" y="601932"/>
                </a:cubicBezTo>
                <a:cubicBezTo>
                  <a:pt x="269084" y="601932"/>
                  <a:pt x="271075" y="599937"/>
                  <a:pt x="271075" y="599937"/>
                </a:cubicBezTo>
                <a:cubicBezTo>
                  <a:pt x="271075" y="599937"/>
                  <a:pt x="275057" y="597942"/>
                  <a:pt x="279039" y="597942"/>
                </a:cubicBezTo>
                <a:cubicBezTo>
                  <a:pt x="281029" y="595947"/>
                  <a:pt x="283020" y="597942"/>
                  <a:pt x="285011" y="597942"/>
                </a:cubicBezTo>
                <a:cubicBezTo>
                  <a:pt x="288993" y="597942"/>
                  <a:pt x="288993" y="593951"/>
                  <a:pt x="288993" y="593951"/>
                </a:cubicBezTo>
                <a:cubicBezTo>
                  <a:pt x="288993" y="593951"/>
                  <a:pt x="288993" y="591956"/>
                  <a:pt x="290984" y="587966"/>
                </a:cubicBezTo>
                <a:cubicBezTo>
                  <a:pt x="292975" y="583975"/>
                  <a:pt x="288993" y="585970"/>
                  <a:pt x="287002" y="585970"/>
                </a:cubicBezTo>
                <a:cubicBezTo>
                  <a:pt x="285011" y="585970"/>
                  <a:pt x="283020" y="583975"/>
                  <a:pt x="285011" y="581980"/>
                </a:cubicBezTo>
                <a:cubicBezTo>
                  <a:pt x="285011" y="579985"/>
                  <a:pt x="285011" y="577989"/>
                  <a:pt x="285011" y="575994"/>
                </a:cubicBezTo>
                <a:cubicBezTo>
                  <a:pt x="285011" y="573999"/>
                  <a:pt x="285011" y="575994"/>
                  <a:pt x="283020" y="575994"/>
                </a:cubicBezTo>
                <a:cubicBezTo>
                  <a:pt x="281029" y="575994"/>
                  <a:pt x="279039" y="575994"/>
                  <a:pt x="279039" y="575994"/>
                </a:cubicBezTo>
                <a:cubicBezTo>
                  <a:pt x="279039" y="575994"/>
                  <a:pt x="279039" y="579985"/>
                  <a:pt x="275057" y="579985"/>
                </a:cubicBezTo>
                <a:cubicBezTo>
                  <a:pt x="275057" y="579985"/>
                  <a:pt x="275057" y="573999"/>
                  <a:pt x="275057" y="570008"/>
                </a:cubicBezTo>
                <a:cubicBezTo>
                  <a:pt x="275057" y="566018"/>
                  <a:pt x="275057" y="566018"/>
                  <a:pt x="273066" y="564023"/>
                </a:cubicBezTo>
                <a:cubicBezTo>
                  <a:pt x="273066" y="562027"/>
                  <a:pt x="275057" y="556042"/>
                  <a:pt x="277048" y="558037"/>
                </a:cubicBezTo>
                <a:cubicBezTo>
                  <a:pt x="277048" y="560032"/>
                  <a:pt x="279039" y="560032"/>
                  <a:pt x="279039" y="558037"/>
                </a:cubicBezTo>
                <a:cubicBezTo>
                  <a:pt x="279039" y="556042"/>
                  <a:pt x="283020" y="556042"/>
                  <a:pt x="283020" y="556042"/>
                </a:cubicBezTo>
                <a:cubicBezTo>
                  <a:pt x="283020" y="556042"/>
                  <a:pt x="285011" y="556042"/>
                  <a:pt x="285011" y="556042"/>
                </a:cubicBezTo>
                <a:cubicBezTo>
                  <a:pt x="283020" y="554046"/>
                  <a:pt x="285011" y="552051"/>
                  <a:pt x="285011" y="552051"/>
                </a:cubicBezTo>
                <a:cubicBezTo>
                  <a:pt x="285011" y="552051"/>
                  <a:pt x="285011" y="552051"/>
                  <a:pt x="287002" y="552051"/>
                </a:cubicBezTo>
                <a:cubicBezTo>
                  <a:pt x="287002" y="552051"/>
                  <a:pt x="288993" y="552051"/>
                  <a:pt x="292975" y="552051"/>
                </a:cubicBezTo>
                <a:cubicBezTo>
                  <a:pt x="296957" y="552051"/>
                  <a:pt x="296957" y="558037"/>
                  <a:pt x="296957" y="560032"/>
                </a:cubicBezTo>
                <a:cubicBezTo>
                  <a:pt x="296957" y="564023"/>
                  <a:pt x="294966" y="572004"/>
                  <a:pt x="296957" y="573999"/>
                </a:cubicBezTo>
                <a:cubicBezTo>
                  <a:pt x="300939" y="573999"/>
                  <a:pt x="298948" y="568013"/>
                  <a:pt x="298948" y="568013"/>
                </a:cubicBezTo>
                <a:cubicBezTo>
                  <a:pt x="298948" y="568013"/>
                  <a:pt x="298948" y="558037"/>
                  <a:pt x="300939" y="560032"/>
                </a:cubicBezTo>
                <a:cubicBezTo>
                  <a:pt x="304921" y="560032"/>
                  <a:pt x="306911" y="564023"/>
                  <a:pt x="306911" y="564023"/>
                </a:cubicBezTo>
                <a:cubicBezTo>
                  <a:pt x="306911" y="564023"/>
                  <a:pt x="308902" y="570008"/>
                  <a:pt x="312884" y="572004"/>
                </a:cubicBezTo>
                <a:cubicBezTo>
                  <a:pt x="316866" y="572004"/>
                  <a:pt x="314875" y="568013"/>
                  <a:pt x="312884" y="564023"/>
                </a:cubicBezTo>
                <a:cubicBezTo>
                  <a:pt x="312884" y="562027"/>
                  <a:pt x="312884" y="558037"/>
                  <a:pt x="312884" y="556042"/>
                </a:cubicBezTo>
                <a:cubicBezTo>
                  <a:pt x="312884" y="554046"/>
                  <a:pt x="316866" y="558037"/>
                  <a:pt x="316866" y="558037"/>
                </a:cubicBezTo>
                <a:cubicBezTo>
                  <a:pt x="316866" y="558037"/>
                  <a:pt x="320848" y="564023"/>
                  <a:pt x="320848" y="564023"/>
                </a:cubicBezTo>
                <a:cubicBezTo>
                  <a:pt x="322839" y="562027"/>
                  <a:pt x="326821" y="568013"/>
                  <a:pt x="326821" y="568013"/>
                </a:cubicBezTo>
                <a:cubicBezTo>
                  <a:pt x="326821" y="568013"/>
                  <a:pt x="328812" y="573999"/>
                  <a:pt x="332793" y="573999"/>
                </a:cubicBezTo>
                <a:cubicBezTo>
                  <a:pt x="334784" y="572004"/>
                  <a:pt x="332793" y="568013"/>
                  <a:pt x="332793" y="568013"/>
                </a:cubicBezTo>
                <a:cubicBezTo>
                  <a:pt x="332793" y="568013"/>
                  <a:pt x="330803" y="564023"/>
                  <a:pt x="326821" y="558037"/>
                </a:cubicBezTo>
                <a:cubicBezTo>
                  <a:pt x="326821" y="552051"/>
                  <a:pt x="330803" y="546065"/>
                  <a:pt x="332793" y="546065"/>
                </a:cubicBezTo>
                <a:cubicBezTo>
                  <a:pt x="334784" y="546065"/>
                  <a:pt x="336775" y="548061"/>
                  <a:pt x="334784" y="554046"/>
                </a:cubicBezTo>
                <a:cubicBezTo>
                  <a:pt x="334784" y="560032"/>
                  <a:pt x="336775" y="560032"/>
                  <a:pt x="336775" y="560032"/>
                </a:cubicBezTo>
                <a:cubicBezTo>
                  <a:pt x="336775" y="560032"/>
                  <a:pt x="336775" y="560032"/>
                  <a:pt x="342748" y="544070"/>
                </a:cubicBezTo>
                <a:cubicBezTo>
                  <a:pt x="342748" y="544070"/>
                  <a:pt x="344739" y="538084"/>
                  <a:pt x="346730" y="538084"/>
                </a:cubicBezTo>
                <a:cubicBezTo>
                  <a:pt x="350712" y="538084"/>
                  <a:pt x="352703" y="540080"/>
                  <a:pt x="350712" y="542075"/>
                </a:cubicBezTo>
                <a:cubicBezTo>
                  <a:pt x="348721" y="546065"/>
                  <a:pt x="348721" y="550056"/>
                  <a:pt x="346730" y="552051"/>
                </a:cubicBezTo>
                <a:cubicBezTo>
                  <a:pt x="344739" y="556042"/>
                  <a:pt x="344739" y="560032"/>
                  <a:pt x="348721" y="558037"/>
                </a:cubicBezTo>
                <a:cubicBezTo>
                  <a:pt x="352703" y="558037"/>
                  <a:pt x="352703" y="554046"/>
                  <a:pt x="352703" y="552051"/>
                </a:cubicBezTo>
                <a:cubicBezTo>
                  <a:pt x="352703" y="550056"/>
                  <a:pt x="350712" y="548061"/>
                  <a:pt x="350712" y="548061"/>
                </a:cubicBezTo>
                <a:cubicBezTo>
                  <a:pt x="350712" y="548061"/>
                  <a:pt x="350712" y="548061"/>
                  <a:pt x="352703" y="544070"/>
                </a:cubicBezTo>
                <a:cubicBezTo>
                  <a:pt x="354694" y="542075"/>
                  <a:pt x="358675" y="546065"/>
                  <a:pt x="358675" y="546065"/>
                </a:cubicBezTo>
                <a:cubicBezTo>
                  <a:pt x="358675" y="546065"/>
                  <a:pt x="360666" y="546065"/>
                  <a:pt x="360666" y="548061"/>
                </a:cubicBezTo>
                <a:cubicBezTo>
                  <a:pt x="362657" y="550056"/>
                  <a:pt x="364648" y="546065"/>
                  <a:pt x="364648" y="546065"/>
                </a:cubicBezTo>
                <a:cubicBezTo>
                  <a:pt x="364648" y="544070"/>
                  <a:pt x="366639" y="544070"/>
                  <a:pt x="368630" y="546065"/>
                </a:cubicBezTo>
                <a:cubicBezTo>
                  <a:pt x="370621" y="546065"/>
                  <a:pt x="370621" y="542075"/>
                  <a:pt x="370621" y="542075"/>
                </a:cubicBezTo>
                <a:cubicBezTo>
                  <a:pt x="370621" y="542075"/>
                  <a:pt x="368630" y="542075"/>
                  <a:pt x="368630" y="538084"/>
                </a:cubicBezTo>
                <a:cubicBezTo>
                  <a:pt x="366639" y="534094"/>
                  <a:pt x="372612" y="534094"/>
                  <a:pt x="372612" y="534094"/>
                </a:cubicBezTo>
                <a:cubicBezTo>
                  <a:pt x="372612" y="534094"/>
                  <a:pt x="378585" y="534094"/>
                  <a:pt x="376594" y="538084"/>
                </a:cubicBezTo>
                <a:cubicBezTo>
                  <a:pt x="376594" y="540080"/>
                  <a:pt x="380576" y="542075"/>
                  <a:pt x="380576" y="542075"/>
                </a:cubicBezTo>
                <a:cubicBezTo>
                  <a:pt x="380576" y="542075"/>
                  <a:pt x="384558" y="546065"/>
                  <a:pt x="382567" y="548061"/>
                </a:cubicBezTo>
                <a:cubicBezTo>
                  <a:pt x="382567" y="550056"/>
                  <a:pt x="382567" y="554046"/>
                  <a:pt x="384558" y="554046"/>
                </a:cubicBezTo>
                <a:cubicBezTo>
                  <a:pt x="388539" y="554046"/>
                  <a:pt x="386548" y="546065"/>
                  <a:pt x="386548" y="546065"/>
                </a:cubicBezTo>
                <a:cubicBezTo>
                  <a:pt x="386548" y="546065"/>
                  <a:pt x="386548" y="544070"/>
                  <a:pt x="386548" y="538084"/>
                </a:cubicBezTo>
                <a:cubicBezTo>
                  <a:pt x="386548" y="532099"/>
                  <a:pt x="382567" y="532099"/>
                  <a:pt x="378585" y="532099"/>
                </a:cubicBezTo>
                <a:cubicBezTo>
                  <a:pt x="376594" y="530103"/>
                  <a:pt x="376594" y="530103"/>
                  <a:pt x="376594" y="530103"/>
                </a:cubicBezTo>
                <a:cubicBezTo>
                  <a:pt x="376594" y="530103"/>
                  <a:pt x="376594" y="526113"/>
                  <a:pt x="374603" y="526113"/>
                </a:cubicBezTo>
                <a:cubicBezTo>
                  <a:pt x="372612" y="526113"/>
                  <a:pt x="372612" y="526113"/>
                  <a:pt x="370621" y="522122"/>
                </a:cubicBezTo>
                <a:cubicBezTo>
                  <a:pt x="368630" y="518132"/>
                  <a:pt x="370621" y="514141"/>
                  <a:pt x="370621" y="512146"/>
                </a:cubicBezTo>
                <a:cubicBezTo>
                  <a:pt x="370621" y="512146"/>
                  <a:pt x="376594" y="514141"/>
                  <a:pt x="376594" y="516137"/>
                </a:cubicBezTo>
                <a:cubicBezTo>
                  <a:pt x="376594" y="518132"/>
                  <a:pt x="376594" y="518132"/>
                  <a:pt x="378585" y="518132"/>
                </a:cubicBezTo>
                <a:cubicBezTo>
                  <a:pt x="380576" y="518132"/>
                  <a:pt x="384558" y="518132"/>
                  <a:pt x="384558" y="516137"/>
                </a:cubicBezTo>
                <a:cubicBezTo>
                  <a:pt x="384558" y="514141"/>
                  <a:pt x="388539" y="512146"/>
                  <a:pt x="388539" y="512146"/>
                </a:cubicBezTo>
                <a:cubicBezTo>
                  <a:pt x="388539" y="512146"/>
                  <a:pt x="388539" y="512146"/>
                  <a:pt x="390530" y="510151"/>
                </a:cubicBezTo>
                <a:cubicBezTo>
                  <a:pt x="392521" y="508156"/>
                  <a:pt x="390530" y="504165"/>
                  <a:pt x="390530" y="504165"/>
                </a:cubicBezTo>
                <a:cubicBezTo>
                  <a:pt x="390530" y="504165"/>
                  <a:pt x="386548" y="502170"/>
                  <a:pt x="386548" y="498180"/>
                </a:cubicBezTo>
                <a:cubicBezTo>
                  <a:pt x="384558" y="494189"/>
                  <a:pt x="390530" y="494189"/>
                  <a:pt x="390530" y="494189"/>
                </a:cubicBezTo>
                <a:cubicBezTo>
                  <a:pt x="390530" y="494189"/>
                  <a:pt x="402476" y="496184"/>
                  <a:pt x="408449" y="496184"/>
                </a:cubicBezTo>
                <a:cubicBezTo>
                  <a:pt x="412430" y="494189"/>
                  <a:pt x="414421" y="500175"/>
                  <a:pt x="412430" y="502170"/>
                </a:cubicBezTo>
                <a:cubicBezTo>
                  <a:pt x="410440" y="506161"/>
                  <a:pt x="400485" y="508156"/>
                  <a:pt x="398494" y="508156"/>
                </a:cubicBezTo>
                <a:cubicBezTo>
                  <a:pt x="394512" y="508156"/>
                  <a:pt x="394512" y="508156"/>
                  <a:pt x="394512" y="512146"/>
                </a:cubicBezTo>
                <a:cubicBezTo>
                  <a:pt x="394512" y="516137"/>
                  <a:pt x="396503" y="516137"/>
                  <a:pt x="396503" y="516137"/>
                </a:cubicBezTo>
                <a:cubicBezTo>
                  <a:pt x="396503" y="516137"/>
                  <a:pt x="396503" y="516137"/>
                  <a:pt x="404467" y="518132"/>
                </a:cubicBezTo>
                <a:cubicBezTo>
                  <a:pt x="404467" y="518132"/>
                  <a:pt x="408449" y="518132"/>
                  <a:pt x="408449" y="522122"/>
                </a:cubicBezTo>
                <a:cubicBezTo>
                  <a:pt x="408449" y="526113"/>
                  <a:pt x="404467" y="528108"/>
                  <a:pt x="404467" y="528108"/>
                </a:cubicBezTo>
                <a:cubicBezTo>
                  <a:pt x="404467" y="528108"/>
                  <a:pt x="400485" y="528108"/>
                  <a:pt x="400485" y="532099"/>
                </a:cubicBezTo>
                <a:cubicBezTo>
                  <a:pt x="402476" y="534094"/>
                  <a:pt x="406458" y="534094"/>
                  <a:pt x="406458" y="534094"/>
                </a:cubicBezTo>
                <a:cubicBezTo>
                  <a:pt x="406458" y="534094"/>
                  <a:pt x="406458" y="532099"/>
                  <a:pt x="408449" y="530103"/>
                </a:cubicBezTo>
                <a:cubicBezTo>
                  <a:pt x="410440" y="530103"/>
                  <a:pt x="412430" y="534094"/>
                  <a:pt x="414421" y="534094"/>
                </a:cubicBezTo>
                <a:cubicBezTo>
                  <a:pt x="414421" y="536089"/>
                  <a:pt x="418403" y="536089"/>
                  <a:pt x="418403" y="536089"/>
                </a:cubicBezTo>
                <a:cubicBezTo>
                  <a:pt x="418403" y="536089"/>
                  <a:pt x="422385" y="538084"/>
                  <a:pt x="424376" y="538084"/>
                </a:cubicBezTo>
                <a:cubicBezTo>
                  <a:pt x="428358" y="540080"/>
                  <a:pt x="426367" y="536089"/>
                  <a:pt x="426367" y="536089"/>
                </a:cubicBezTo>
                <a:cubicBezTo>
                  <a:pt x="426367" y="536089"/>
                  <a:pt x="426367" y="534094"/>
                  <a:pt x="424376" y="534094"/>
                </a:cubicBezTo>
                <a:cubicBezTo>
                  <a:pt x="422385" y="534094"/>
                  <a:pt x="422385" y="530103"/>
                  <a:pt x="422385" y="530103"/>
                </a:cubicBezTo>
                <a:cubicBezTo>
                  <a:pt x="422385" y="530103"/>
                  <a:pt x="422385" y="526113"/>
                  <a:pt x="422385" y="526113"/>
                </a:cubicBezTo>
                <a:cubicBezTo>
                  <a:pt x="422385" y="524118"/>
                  <a:pt x="422385" y="522122"/>
                  <a:pt x="424376" y="520127"/>
                </a:cubicBezTo>
                <a:cubicBezTo>
                  <a:pt x="426367" y="518132"/>
                  <a:pt x="426367" y="516137"/>
                  <a:pt x="426367" y="514141"/>
                </a:cubicBezTo>
                <a:cubicBezTo>
                  <a:pt x="426367" y="512146"/>
                  <a:pt x="422385" y="514141"/>
                  <a:pt x="420394" y="516137"/>
                </a:cubicBezTo>
                <a:cubicBezTo>
                  <a:pt x="418403" y="518132"/>
                  <a:pt x="416412" y="518132"/>
                  <a:pt x="416412" y="518132"/>
                </a:cubicBezTo>
                <a:cubicBezTo>
                  <a:pt x="416412" y="518132"/>
                  <a:pt x="416412" y="516137"/>
                  <a:pt x="414421" y="516137"/>
                </a:cubicBezTo>
                <a:cubicBezTo>
                  <a:pt x="410440" y="516137"/>
                  <a:pt x="410440" y="512146"/>
                  <a:pt x="410440" y="510151"/>
                </a:cubicBezTo>
                <a:cubicBezTo>
                  <a:pt x="410440" y="508156"/>
                  <a:pt x="414421" y="508156"/>
                  <a:pt x="414421" y="508156"/>
                </a:cubicBezTo>
                <a:cubicBezTo>
                  <a:pt x="414421" y="508156"/>
                  <a:pt x="418403" y="508156"/>
                  <a:pt x="418403" y="506161"/>
                </a:cubicBezTo>
                <a:cubicBezTo>
                  <a:pt x="420394" y="506161"/>
                  <a:pt x="422385" y="506161"/>
                  <a:pt x="424376" y="508156"/>
                </a:cubicBezTo>
                <a:cubicBezTo>
                  <a:pt x="424376" y="510151"/>
                  <a:pt x="428358" y="508156"/>
                  <a:pt x="430349" y="510151"/>
                </a:cubicBezTo>
                <a:cubicBezTo>
                  <a:pt x="432340" y="510151"/>
                  <a:pt x="438312" y="508156"/>
                  <a:pt x="438312" y="508156"/>
                </a:cubicBezTo>
                <a:cubicBezTo>
                  <a:pt x="438312" y="508156"/>
                  <a:pt x="438312" y="508156"/>
                  <a:pt x="440303" y="504165"/>
                </a:cubicBezTo>
                <a:cubicBezTo>
                  <a:pt x="440303" y="504165"/>
                  <a:pt x="440303" y="502170"/>
                  <a:pt x="440303" y="502170"/>
                </a:cubicBezTo>
                <a:cubicBezTo>
                  <a:pt x="438312" y="502170"/>
                  <a:pt x="438312" y="498180"/>
                  <a:pt x="438312" y="498180"/>
                </a:cubicBezTo>
                <a:cubicBezTo>
                  <a:pt x="438312" y="496184"/>
                  <a:pt x="440303" y="496184"/>
                  <a:pt x="442294" y="496184"/>
                </a:cubicBezTo>
                <a:cubicBezTo>
                  <a:pt x="444285" y="496184"/>
                  <a:pt x="444285" y="494189"/>
                  <a:pt x="444285" y="494189"/>
                </a:cubicBezTo>
                <a:cubicBezTo>
                  <a:pt x="444285" y="494189"/>
                  <a:pt x="444285" y="492194"/>
                  <a:pt x="444285" y="490199"/>
                </a:cubicBezTo>
                <a:cubicBezTo>
                  <a:pt x="446276" y="488203"/>
                  <a:pt x="452249" y="490199"/>
                  <a:pt x="452249" y="492194"/>
                </a:cubicBezTo>
                <a:cubicBezTo>
                  <a:pt x="454240" y="494189"/>
                  <a:pt x="456231" y="492194"/>
                  <a:pt x="458222" y="492194"/>
                </a:cubicBezTo>
                <a:cubicBezTo>
                  <a:pt x="460213" y="492194"/>
                  <a:pt x="460213" y="490199"/>
                  <a:pt x="460213" y="486208"/>
                </a:cubicBezTo>
                <a:cubicBezTo>
                  <a:pt x="460213" y="484213"/>
                  <a:pt x="462204" y="484213"/>
                  <a:pt x="464194" y="484213"/>
                </a:cubicBezTo>
                <a:cubicBezTo>
                  <a:pt x="466185" y="486208"/>
                  <a:pt x="466185" y="484213"/>
                  <a:pt x="466185" y="484213"/>
                </a:cubicBezTo>
                <a:cubicBezTo>
                  <a:pt x="466185" y="484213"/>
                  <a:pt x="466185" y="482218"/>
                  <a:pt x="466185" y="480222"/>
                </a:cubicBezTo>
                <a:cubicBezTo>
                  <a:pt x="466185" y="478227"/>
                  <a:pt x="462204" y="480222"/>
                  <a:pt x="460213" y="480222"/>
                </a:cubicBezTo>
                <a:cubicBezTo>
                  <a:pt x="458222" y="478227"/>
                  <a:pt x="456231" y="478227"/>
                  <a:pt x="458222" y="476232"/>
                </a:cubicBezTo>
                <a:cubicBezTo>
                  <a:pt x="458222" y="474237"/>
                  <a:pt x="460213" y="474237"/>
                  <a:pt x="462204" y="476232"/>
                </a:cubicBezTo>
                <a:cubicBezTo>
                  <a:pt x="464194" y="476232"/>
                  <a:pt x="466185" y="476232"/>
                  <a:pt x="466185" y="474237"/>
                </a:cubicBezTo>
                <a:cubicBezTo>
                  <a:pt x="466185" y="472241"/>
                  <a:pt x="470167" y="470246"/>
                  <a:pt x="470167" y="470246"/>
                </a:cubicBezTo>
                <a:close/>
                <a:moveTo>
                  <a:pt x="293064" y="332134"/>
                </a:moveTo>
                <a:cubicBezTo>
                  <a:pt x="293064" y="332134"/>
                  <a:pt x="301530" y="334251"/>
                  <a:pt x="301530" y="334251"/>
                </a:cubicBezTo>
                <a:cubicBezTo>
                  <a:pt x="301530" y="338484"/>
                  <a:pt x="293064" y="338484"/>
                  <a:pt x="290947" y="336367"/>
                </a:cubicBezTo>
                <a:cubicBezTo>
                  <a:pt x="288830" y="332134"/>
                  <a:pt x="293064" y="332134"/>
                  <a:pt x="293064" y="332134"/>
                </a:cubicBezTo>
                <a:close/>
                <a:moveTo>
                  <a:pt x="480600" y="262284"/>
                </a:moveTo>
                <a:cubicBezTo>
                  <a:pt x="487268" y="262284"/>
                  <a:pt x="487268" y="266517"/>
                  <a:pt x="485046" y="266517"/>
                </a:cubicBezTo>
                <a:cubicBezTo>
                  <a:pt x="482823" y="268634"/>
                  <a:pt x="478378" y="266517"/>
                  <a:pt x="478378" y="266517"/>
                </a:cubicBezTo>
                <a:cubicBezTo>
                  <a:pt x="478378" y="266517"/>
                  <a:pt x="476155" y="266517"/>
                  <a:pt x="476155" y="264401"/>
                </a:cubicBezTo>
                <a:cubicBezTo>
                  <a:pt x="476155" y="262284"/>
                  <a:pt x="480600" y="262284"/>
                  <a:pt x="480600" y="262284"/>
                </a:cubicBezTo>
                <a:close/>
                <a:moveTo>
                  <a:pt x="381117" y="128934"/>
                </a:moveTo>
                <a:cubicBezTo>
                  <a:pt x="383092" y="130906"/>
                  <a:pt x="390995" y="130906"/>
                  <a:pt x="390995" y="134851"/>
                </a:cubicBezTo>
                <a:cubicBezTo>
                  <a:pt x="390995" y="138796"/>
                  <a:pt x="390995" y="140768"/>
                  <a:pt x="389019" y="140768"/>
                </a:cubicBezTo>
                <a:cubicBezTo>
                  <a:pt x="385068" y="140768"/>
                  <a:pt x="385068" y="146685"/>
                  <a:pt x="385068" y="148658"/>
                </a:cubicBezTo>
                <a:cubicBezTo>
                  <a:pt x="387044" y="150630"/>
                  <a:pt x="389019" y="152602"/>
                  <a:pt x="394946" y="154575"/>
                </a:cubicBezTo>
                <a:cubicBezTo>
                  <a:pt x="398897" y="156547"/>
                  <a:pt x="402848" y="156547"/>
                  <a:pt x="402848" y="158519"/>
                </a:cubicBezTo>
                <a:cubicBezTo>
                  <a:pt x="400872" y="160492"/>
                  <a:pt x="400872" y="160492"/>
                  <a:pt x="402848" y="160492"/>
                </a:cubicBezTo>
                <a:cubicBezTo>
                  <a:pt x="404824" y="160492"/>
                  <a:pt x="406799" y="160492"/>
                  <a:pt x="408775" y="158519"/>
                </a:cubicBezTo>
                <a:cubicBezTo>
                  <a:pt x="410750" y="156547"/>
                  <a:pt x="414701" y="154575"/>
                  <a:pt x="418652" y="156547"/>
                </a:cubicBezTo>
                <a:cubicBezTo>
                  <a:pt x="420628" y="156547"/>
                  <a:pt x="428530" y="158519"/>
                  <a:pt x="428530" y="160492"/>
                </a:cubicBezTo>
                <a:cubicBezTo>
                  <a:pt x="428530" y="162464"/>
                  <a:pt x="428530" y="166409"/>
                  <a:pt x="422604" y="166409"/>
                </a:cubicBezTo>
                <a:cubicBezTo>
                  <a:pt x="418652" y="168381"/>
                  <a:pt x="416677" y="168381"/>
                  <a:pt x="414701" y="170354"/>
                </a:cubicBezTo>
                <a:cubicBezTo>
                  <a:pt x="412726" y="174298"/>
                  <a:pt x="406799" y="178243"/>
                  <a:pt x="404824" y="180215"/>
                </a:cubicBezTo>
                <a:cubicBezTo>
                  <a:pt x="402848" y="184160"/>
                  <a:pt x="400872" y="186132"/>
                  <a:pt x="398897" y="184160"/>
                </a:cubicBezTo>
                <a:cubicBezTo>
                  <a:pt x="398897" y="182188"/>
                  <a:pt x="394946" y="182188"/>
                  <a:pt x="392970" y="182188"/>
                </a:cubicBezTo>
                <a:cubicBezTo>
                  <a:pt x="390995" y="182188"/>
                  <a:pt x="389019" y="186132"/>
                  <a:pt x="389019" y="186132"/>
                </a:cubicBezTo>
                <a:cubicBezTo>
                  <a:pt x="389019" y="186132"/>
                  <a:pt x="389019" y="192050"/>
                  <a:pt x="385068" y="194022"/>
                </a:cubicBezTo>
                <a:cubicBezTo>
                  <a:pt x="381117" y="194022"/>
                  <a:pt x="379141" y="190077"/>
                  <a:pt x="381117" y="186132"/>
                </a:cubicBezTo>
                <a:cubicBezTo>
                  <a:pt x="381117" y="184160"/>
                  <a:pt x="385068" y="178243"/>
                  <a:pt x="385068" y="178243"/>
                </a:cubicBezTo>
                <a:cubicBezTo>
                  <a:pt x="385068" y="174298"/>
                  <a:pt x="383092" y="176271"/>
                  <a:pt x="379141" y="178243"/>
                </a:cubicBezTo>
                <a:cubicBezTo>
                  <a:pt x="375190" y="178243"/>
                  <a:pt x="367288" y="182188"/>
                  <a:pt x="365312" y="180215"/>
                </a:cubicBezTo>
                <a:cubicBezTo>
                  <a:pt x="361361" y="180215"/>
                  <a:pt x="355435" y="178243"/>
                  <a:pt x="353459" y="180215"/>
                </a:cubicBezTo>
                <a:cubicBezTo>
                  <a:pt x="351484" y="182188"/>
                  <a:pt x="351484" y="184160"/>
                  <a:pt x="347532" y="184160"/>
                </a:cubicBezTo>
                <a:cubicBezTo>
                  <a:pt x="343581" y="182188"/>
                  <a:pt x="339630" y="184160"/>
                  <a:pt x="339630" y="178243"/>
                </a:cubicBezTo>
                <a:cubicBezTo>
                  <a:pt x="339630" y="172326"/>
                  <a:pt x="345557" y="166409"/>
                  <a:pt x="345557" y="164436"/>
                </a:cubicBezTo>
                <a:cubicBezTo>
                  <a:pt x="347532" y="160492"/>
                  <a:pt x="351484" y="152602"/>
                  <a:pt x="347532" y="150630"/>
                </a:cubicBezTo>
                <a:cubicBezTo>
                  <a:pt x="347532" y="150630"/>
                  <a:pt x="343581" y="150630"/>
                  <a:pt x="343581" y="146685"/>
                </a:cubicBezTo>
                <a:cubicBezTo>
                  <a:pt x="345557" y="144713"/>
                  <a:pt x="349508" y="142740"/>
                  <a:pt x="351484" y="142740"/>
                </a:cubicBezTo>
                <a:cubicBezTo>
                  <a:pt x="353459" y="142740"/>
                  <a:pt x="361361" y="144713"/>
                  <a:pt x="365312" y="140768"/>
                </a:cubicBezTo>
                <a:cubicBezTo>
                  <a:pt x="365312" y="138796"/>
                  <a:pt x="367288" y="136823"/>
                  <a:pt x="369264" y="134851"/>
                </a:cubicBezTo>
                <a:cubicBezTo>
                  <a:pt x="373215" y="132879"/>
                  <a:pt x="373215" y="132879"/>
                  <a:pt x="373215" y="132879"/>
                </a:cubicBezTo>
                <a:cubicBezTo>
                  <a:pt x="375190" y="128934"/>
                  <a:pt x="377166" y="128934"/>
                  <a:pt x="381117" y="128934"/>
                </a:cubicBezTo>
                <a:close/>
                <a:moveTo>
                  <a:pt x="365284" y="113059"/>
                </a:moveTo>
                <a:cubicBezTo>
                  <a:pt x="367316" y="113059"/>
                  <a:pt x="369348" y="115020"/>
                  <a:pt x="369348" y="116981"/>
                </a:cubicBezTo>
                <a:cubicBezTo>
                  <a:pt x="369348" y="118942"/>
                  <a:pt x="369348" y="120903"/>
                  <a:pt x="371380" y="120903"/>
                </a:cubicBezTo>
                <a:cubicBezTo>
                  <a:pt x="371380" y="122864"/>
                  <a:pt x="371380" y="124825"/>
                  <a:pt x="369348" y="126786"/>
                </a:cubicBezTo>
                <a:cubicBezTo>
                  <a:pt x="367316" y="126786"/>
                  <a:pt x="367316" y="132670"/>
                  <a:pt x="367316" y="132670"/>
                </a:cubicBezTo>
                <a:cubicBezTo>
                  <a:pt x="367316" y="132670"/>
                  <a:pt x="369348" y="134631"/>
                  <a:pt x="365284" y="136592"/>
                </a:cubicBezTo>
                <a:cubicBezTo>
                  <a:pt x="363252" y="138553"/>
                  <a:pt x="357156" y="138553"/>
                  <a:pt x="351060" y="138553"/>
                </a:cubicBezTo>
                <a:cubicBezTo>
                  <a:pt x="346996" y="140514"/>
                  <a:pt x="342932" y="140514"/>
                  <a:pt x="340900" y="140514"/>
                </a:cubicBezTo>
                <a:cubicBezTo>
                  <a:pt x="338868" y="142475"/>
                  <a:pt x="334804" y="146397"/>
                  <a:pt x="334804" y="140514"/>
                </a:cubicBezTo>
                <a:cubicBezTo>
                  <a:pt x="334804" y="136592"/>
                  <a:pt x="334804" y="134631"/>
                  <a:pt x="330740" y="130708"/>
                </a:cubicBezTo>
                <a:cubicBezTo>
                  <a:pt x="326676" y="126786"/>
                  <a:pt x="324644" y="124825"/>
                  <a:pt x="324644" y="124825"/>
                </a:cubicBezTo>
                <a:cubicBezTo>
                  <a:pt x="324644" y="124825"/>
                  <a:pt x="320580" y="124825"/>
                  <a:pt x="324644" y="122864"/>
                </a:cubicBezTo>
                <a:cubicBezTo>
                  <a:pt x="326676" y="120903"/>
                  <a:pt x="328708" y="122864"/>
                  <a:pt x="330740" y="122864"/>
                </a:cubicBezTo>
                <a:cubicBezTo>
                  <a:pt x="330740" y="124825"/>
                  <a:pt x="334804" y="124825"/>
                  <a:pt x="334804" y="122864"/>
                </a:cubicBezTo>
                <a:cubicBezTo>
                  <a:pt x="334804" y="120903"/>
                  <a:pt x="336836" y="122864"/>
                  <a:pt x="336836" y="122864"/>
                </a:cubicBezTo>
                <a:cubicBezTo>
                  <a:pt x="336836" y="122864"/>
                  <a:pt x="338868" y="120903"/>
                  <a:pt x="338868" y="120903"/>
                </a:cubicBezTo>
                <a:cubicBezTo>
                  <a:pt x="338868" y="120903"/>
                  <a:pt x="342932" y="120903"/>
                  <a:pt x="342932" y="120903"/>
                </a:cubicBezTo>
                <a:cubicBezTo>
                  <a:pt x="342932" y="120903"/>
                  <a:pt x="344964" y="122864"/>
                  <a:pt x="346996" y="120903"/>
                </a:cubicBezTo>
                <a:cubicBezTo>
                  <a:pt x="346996" y="118942"/>
                  <a:pt x="349028" y="115020"/>
                  <a:pt x="351060" y="115020"/>
                </a:cubicBezTo>
                <a:cubicBezTo>
                  <a:pt x="355124" y="115020"/>
                  <a:pt x="357156" y="116981"/>
                  <a:pt x="357156" y="116981"/>
                </a:cubicBezTo>
                <a:cubicBezTo>
                  <a:pt x="357156" y="118942"/>
                  <a:pt x="361220" y="118942"/>
                  <a:pt x="361220" y="118942"/>
                </a:cubicBezTo>
                <a:cubicBezTo>
                  <a:pt x="363252" y="116981"/>
                  <a:pt x="363252" y="113059"/>
                  <a:pt x="365284" y="113059"/>
                </a:cubicBezTo>
                <a:close/>
                <a:moveTo>
                  <a:pt x="466631" y="109091"/>
                </a:moveTo>
                <a:cubicBezTo>
                  <a:pt x="467689" y="110083"/>
                  <a:pt x="468218" y="112067"/>
                  <a:pt x="468218" y="113059"/>
                </a:cubicBezTo>
                <a:cubicBezTo>
                  <a:pt x="468218" y="117028"/>
                  <a:pt x="466102" y="120997"/>
                  <a:pt x="463985" y="119013"/>
                </a:cubicBezTo>
                <a:cubicBezTo>
                  <a:pt x="461868" y="115044"/>
                  <a:pt x="461868" y="111075"/>
                  <a:pt x="461868" y="111075"/>
                </a:cubicBezTo>
                <a:cubicBezTo>
                  <a:pt x="463985" y="108099"/>
                  <a:pt x="465573" y="108099"/>
                  <a:pt x="466631" y="109091"/>
                </a:cubicBezTo>
                <a:close/>
                <a:moveTo>
                  <a:pt x="500648" y="98772"/>
                </a:moveTo>
                <a:cubicBezTo>
                  <a:pt x="502614" y="98772"/>
                  <a:pt x="504579" y="98772"/>
                  <a:pt x="506545" y="100889"/>
                </a:cubicBezTo>
                <a:cubicBezTo>
                  <a:pt x="508510" y="103005"/>
                  <a:pt x="510475" y="98772"/>
                  <a:pt x="514406" y="98772"/>
                </a:cubicBezTo>
                <a:cubicBezTo>
                  <a:pt x="518337" y="98772"/>
                  <a:pt x="518337" y="98772"/>
                  <a:pt x="520303" y="103005"/>
                </a:cubicBezTo>
                <a:cubicBezTo>
                  <a:pt x="520303" y="103005"/>
                  <a:pt x="524234" y="103005"/>
                  <a:pt x="526199" y="100889"/>
                </a:cubicBezTo>
                <a:cubicBezTo>
                  <a:pt x="530130" y="98772"/>
                  <a:pt x="528165" y="103005"/>
                  <a:pt x="528165" y="103005"/>
                </a:cubicBezTo>
                <a:cubicBezTo>
                  <a:pt x="528165" y="103005"/>
                  <a:pt x="528165" y="107239"/>
                  <a:pt x="526199" y="109355"/>
                </a:cubicBezTo>
                <a:cubicBezTo>
                  <a:pt x="522268" y="111472"/>
                  <a:pt x="518337" y="111472"/>
                  <a:pt x="518337" y="109355"/>
                </a:cubicBezTo>
                <a:cubicBezTo>
                  <a:pt x="516372" y="107239"/>
                  <a:pt x="510475" y="105122"/>
                  <a:pt x="506545" y="103005"/>
                </a:cubicBezTo>
                <a:cubicBezTo>
                  <a:pt x="500648" y="103005"/>
                  <a:pt x="496717" y="105122"/>
                  <a:pt x="494752" y="107239"/>
                </a:cubicBezTo>
                <a:cubicBezTo>
                  <a:pt x="492786" y="107239"/>
                  <a:pt x="488855" y="107239"/>
                  <a:pt x="488855" y="103005"/>
                </a:cubicBezTo>
                <a:cubicBezTo>
                  <a:pt x="488855" y="100889"/>
                  <a:pt x="490821" y="103005"/>
                  <a:pt x="490821" y="103005"/>
                </a:cubicBezTo>
                <a:cubicBezTo>
                  <a:pt x="490821" y="103005"/>
                  <a:pt x="494752" y="100889"/>
                  <a:pt x="494752" y="100889"/>
                </a:cubicBezTo>
                <a:cubicBezTo>
                  <a:pt x="494752" y="100889"/>
                  <a:pt x="496717" y="98772"/>
                  <a:pt x="500648" y="98772"/>
                </a:cubicBezTo>
                <a:close/>
                <a:moveTo>
                  <a:pt x="234672" y="36859"/>
                </a:moveTo>
                <a:cubicBezTo>
                  <a:pt x="236666" y="38856"/>
                  <a:pt x="236666" y="42849"/>
                  <a:pt x="238660" y="44846"/>
                </a:cubicBezTo>
                <a:cubicBezTo>
                  <a:pt x="240654" y="46842"/>
                  <a:pt x="244643" y="50835"/>
                  <a:pt x="244643" y="50835"/>
                </a:cubicBezTo>
                <a:cubicBezTo>
                  <a:pt x="244643" y="50835"/>
                  <a:pt x="246637" y="52832"/>
                  <a:pt x="250625" y="52832"/>
                </a:cubicBezTo>
                <a:cubicBezTo>
                  <a:pt x="254614" y="50835"/>
                  <a:pt x="262591" y="48839"/>
                  <a:pt x="266579" y="52832"/>
                </a:cubicBezTo>
                <a:cubicBezTo>
                  <a:pt x="268573" y="54829"/>
                  <a:pt x="270567" y="60819"/>
                  <a:pt x="268573" y="62815"/>
                </a:cubicBezTo>
                <a:cubicBezTo>
                  <a:pt x="266579" y="64812"/>
                  <a:pt x="266579" y="64812"/>
                  <a:pt x="268573" y="66809"/>
                </a:cubicBezTo>
                <a:cubicBezTo>
                  <a:pt x="270567" y="68805"/>
                  <a:pt x="270567" y="72799"/>
                  <a:pt x="270567" y="72799"/>
                </a:cubicBezTo>
                <a:cubicBezTo>
                  <a:pt x="270567" y="72799"/>
                  <a:pt x="266579" y="80785"/>
                  <a:pt x="270567" y="78789"/>
                </a:cubicBezTo>
                <a:cubicBezTo>
                  <a:pt x="274556" y="78789"/>
                  <a:pt x="274556" y="76792"/>
                  <a:pt x="274556" y="72799"/>
                </a:cubicBezTo>
                <a:cubicBezTo>
                  <a:pt x="274556" y="70802"/>
                  <a:pt x="274556" y="64812"/>
                  <a:pt x="276550" y="64812"/>
                </a:cubicBezTo>
                <a:cubicBezTo>
                  <a:pt x="278544" y="64812"/>
                  <a:pt x="286521" y="64812"/>
                  <a:pt x="286521" y="66809"/>
                </a:cubicBezTo>
                <a:cubicBezTo>
                  <a:pt x="286521" y="68805"/>
                  <a:pt x="286521" y="68805"/>
                  <a:pt x="288515" y="70802"/>
                </a:cubicBezTo>
                <a:cubicBezTo>
                  <a:pt x="290510" y="72799"/>
                  <a:pt x="290510" y="72799"/>
                  <a:pt x="290510" y="76792"/>
                </a:cubicBezTo>
                <a:cubicBezTo>
                  <a:pt x="292504" y="78789"/>
                  <a:pt x="290510" y="80785"/>
                  <a:pt x="292504" y="80785"/>
                </a:cubicBezTo>
                <a:cubicBezTo>
                  <a:pt x="296492" y="82782"/>
                  <a:pt x="306463" y="82782"/>
                  <a:pt x="308458" y="86775"/>
                </a:cubicBezTo>
                <a:cubicBezTo>
                  <a:pt x="310452" y="88772"/>
                  <a:pt x="314440" y="90768"/>
                  <a:pt x="318429" y="88772"/>
                </a:cubicBezTo>
                <a:cubicBezTo>
                  <a:pt x="322417" y="86775"/>
                  <a:pt x="330394" y="86775"/>
                  <a:pt x="330394" y="86775"/>
                </a:cubicBezTo>
                <a:cubicBezTo>
                  <a:pt x="330394" y="86775"/>
                  <a:pt x="332388" y="86775"/>
                  <a:pt x="332388" y="88772"/>
                </a:cubicBezTo>
                <a:cubicBezTo>
                  <a:pt x="332388" y="92765"/>
                  <a:pt x="332388" y="94762"/>
                  <a:pt x="334382" y="96758"/>
                </a:cubicBezTo>
                <a:cubicBezTo>
                  <a:pt x="338371" y="98755"/>
                  <a:pt x="346348" y="100752"/>
                  <a:pt x="346348" y="100752"/>
                </a:cubicBezTo>
                <a:cubicBezTo>
                  <a:pt x="350336" y="100752"/>
                  <a:pt x="350336" y="100752"/>
                  <a:pt x="350336" y="100752"/>
                </a:cubicBezTo>
                <a:cubicBezTo>
                  <a:pt x="350336" y="106742"/>
                  <a:pt x="350336" y="106742"/>
                  <a:pt x="350336" y="106742"/>
                </a:cubicBezTo>
                <a:cubicBezTo>
                  <a:pt x="350336" y="106742"/>
                  <a:pt x="352330" y="110735"/>
                  <a:pt x="350336" y="110735"/>
                </a:cubicBezTo>
                <a:cubicBezTo>
                  <a:pt x="348342" y="110735"/>
                  <a:pt x="344353" y="112732"/>
                  <a:pt x="344353" y="112732"/>
                </a:cubicBezTo>
                <a:cubicBezTo>
                  <a:pt x="344353" y="112732"/>
                  <a:pt x="340365" y="112732"/>
                  <a:pt x="340365" y="112732"/>
                </a:cubicBezTo>
                <a:cubicBezTo>
                  <a:pt x="340365" y="110735"/>
                  <a:pt x="336377" y="110735"/>
                  <a:pt x="334382" y="110735"/>
                </a:cubicBezTo>
                <a:cubicBezTo>
                  <a:pt x="332388" y="112732"/>
                  <a:pt x="328400" y="114728"/>
                  <a:pt x="328400" y="114728"/>
                </a:cubicBezTo>
                <a:cubicBezTo>
                  <a:pt x="328400" y="114728"/>
                  <a:pt x="326405" y="114728"/>
                  <a:pt x="320423" y="116725"/>
                </a:cubicBezTo>
                <a:cubicBezTo>
                  <a:pt x="316434" y="116725"/>
                  <a:pt x="308458" y="120718"/>
                  <a:pt x="308458" y="120718"/>
                </a:cubicBezTo>
                <a:cubicBezTo>
                  <a:pt x="308458" y="120718"/>
                  <a:pt x="304469" y="124712"/>
                  <a:pt x="300481" y="124712"/>
                </a:cubicBezTo>
                <a:cubicBezTo>
                  <a:pt x="298486" y="126708"/>
                  <a:pt x="296492" y="126708"/>
                  <a:pt x="296492" y="130701"/>
                </a:cubicBezTo>
                <a:cubicBezTo>
                  <a:pt x="298486" y="132698"/>
                  <a:pt x="300481" y="140685"/>
                  <a:pt x="300481" y="140685"/>
                </a:cubicBezTo>
                <a:cubicBezTo>
                  <a:pt x="300481" y="140685"/>
                  <a:pt x="300481" y="144678"/>
                  <a:pt x="298486" y="144678"/>
                </a:cubicBezTo>
                <a:cubicBezTo>
                  <a:pt x="298486" y="148671"/>
                  <a:pt x="296492" y="148671"/>
                  <a:pt x="294498" y="148671"/>
                </a:cubicBezTo>
                <a:cubicBezTo>
                  <a:pt x="292504" y="148671"/>
                  <a:pt x="288515" y="146675"/>
                  <a:pt x="286521" y="148671"/>
                </a:cubicBezTo>
                <a:cubicBezTo>
                  <a:pt x="284527" y="152665"/>
                  <a:pt x="286521" y="154661"/>
                  <a:pt x="284527" y="158655"/>
                </a:cubicBezTo>
                <a:cubicBezTo>
                  <a:pt x="282533" y="160651"/>
                  <a:pt x="282533" y="160651"/>
                  <a:pt x="284527" y="162648"/>
                </a:cubicBezTo>
                <a:cubicBezTo>
                  <a:pt x="286521" y="166641"/>
                  <a:pt x="284527" y="170634"/>
                  <a:pt x="284527" y="170634"/>
                </a:cubicBezTo>
                <a:cubicBezTo>
                  <a:pt x="284527" y="170634"/>
                  <a:pt x="280539" y="174628"/>
                  <a:pt x="278544" y="176624"/>
                </a:cubicBezTo>
                <a:cubicBezTo>
                  <a:pt x="274556" y="178621"/>
                  <a:pt x="270567" y="176624"/>
                  <a:pt x="268573" y="182614"/>
                </a:cubicBezTo>
                <a:cubicBezTo>
                  <a:pt x="266579" y="188604"/>
                  <a:pt x="262591" y="192598"/>
                  <a:pt x="262591" y="200584"/>
                </a:cubicBezTo>
                <a:cubicBezTo>
                  <a:pt x="262591" y="206574"/>
                  <a:pt x="262591" y="216557"/>
                  <a:pt x="262591" y="216557"/>
                </a:cubicBezTo>
                <a:cubicBezTo>
                  <a:pt x="262591" y="216557"/>
                  <a:pt x="258602" y="228537"/>
                  <a:pt x="254614" y="228537"/>
                </a:cubicBezTo>
                <a:cubicBezTo>
                  <a:pt x="250625" y="228537"/>
                  <a:pt x="250625" y="228537"/>
                  <a:pt x="250625" y="228537"/>
                </a:cubicBezTo>
                <a:cubicBezTo>
                  <a:pt x="248631" y="226541"/>
                  <a:pt x="248631" y="226541"/>
                  <a:pt x="248631" y="226541"/>
                </a:cubicBezTo>
                <a:cubicBezTo>
                  <a:pt x="248631" y="226541"/>
                  <a:pt x="244643" y="224544"/>
                  <a:pt x="244643" y="228537"/>
                </a:cubicBezTo>
                <a:cubicBezTo>
                  <a:pt x="244643" y="230534"/>
                  <a:pt x="240654" y="230534"/>
                  <a:pt x="240654" y="230534"/>
                </a:cubicBezTo>
                <a:cubicBezTo>
                  <a:pt x="238660" y="228537"/>
                  <a:pt x="238660" y="228537"/>
                  <a:pt x="238660" y="228537"/>
                </a:cubicBezTo>
                <a:cubicBezTo>
                  <a:pt x="238660" y="228537"/>
                  <a:pt x="236666" y="226541"/>
                  <a:pt x="238660" y="224544"/>
                </a:cubicBezTo>
                <a:cubicBezTo>
                  <a:pt x="238660" y="222547"/>
                  <a:pt x="238660" y="216557"/>
                  <a:pt x="238660" y="216557"/>
                </a:cubicBezTo>
                <a:cubicBezTo>
                  <a:pt x="238660" y="216557"/>
                  <a:pt x="240654" y="214561"/>
                  <a:pt x="236666" y="214561"/>
                </a:cubicBezTo>
                <a:cubicBezTo>
                  <a:pt x="230683" y="212564"/>
                  <a:pt x="228689" y="210567"/>
                  <a:pt x="228689" y="208571"/>
                </a:cubicBezTo>
                <a:cubicBezTo>
                  <a:pt x="228689" y="204577"/>
                  <a:pt x="230683" y="204577"/>
                  <a:pt x="232677" y="204577"/>
                </a:cubicBezTo>
                <a:cubicBezTo>
                  <a:pt x="236666" y="204577"/>
                  <a:pt x="244643" y="202581"/>
                  <a:pt x="244643" y="202581"/>
                </a:cubicBezTo>
                <a:cubicBezTo>
                  <a:pt x="244643" y="200584"/>
                  <a:pt x="242648" y="196591"/>
                  <a:pt x="236666" y="196591"/>
                </a:cubicBezTo>
                <a:cubicBezTo>
                  <a:pt x="230683" y="194594"/>
                  <a:pt x="230683" y="196591"/>
                  <a:pt x="230683" y="196591"/>
                </a:cubicBezTo>
                <a:cubicBezTo>
                  <a:pt x="230683" y="196591"/>
                  <a:pt x="228689" y="198588"/>
                  <a:pt x="222706" y="198588"/>
                </a:cubicBezTo>
                <a:cubicBezTo>
                  <a:pt x="216724" y="198588"/>
                  <a:pt x="208747" y="198588"/>
                  <a:pt x="206753" y="196591"/>
                </a:cubicBezTo>
                <a:cubicBezTo>
                  <a:pt x="206753" y="196591"/>
                  <a:pt x="200770" y="194594"/>
                  <a:pt x="198776" y="192598"/>
                </a:cubicBezTo>
                <a:cubicBezTo>
                  <a:pt x="198776" y="190601"/>
                  <a:pt x="196781" y="190601"/>
                  <a:pt x="192793" y="188604"/>
                </a:cubicBezTo>
                <a:cubicBezTo>
                  <a:pt x="188805" y="188604"/>
                  <a:pt x="186810" y="186608"/>
                  <a:pt x="186810" y="182614"/>
                </a:cubicBezTo>
                <a:cubicBezTo>
                  <a:pt x="186810" y="178621"/>
                  <a:pt x="188805" y="174628"/>
                  <a:pt x="188805" y="174628"/>
                </a:cubicBezTo>
                <a:cubicBezTo>
                  <a:pt x="188805" y="174628"/>
                  <a:pt x="190799" y="170634"/>
                  <a:pt x="192793" y="172631"/>
                </a:cubicBezTo>
                <a:cubicBezTo>
                  <a:pt x="194787" y="174628"/>
                  <a:pt x="196781" y="174628"/>
                  <a:pt x="198776" y="176624"/>
                </a:cubicBezTo>
                <a:cubicBezTo>
                  <a:pt x="200770" y="176624"/>
                  <a:pt x="200770" y="178621"/>
                  <a:pt x="200770" y="178621"/>
                </a:cubicBezTo>
                <a:cubicBezTo>
                  <a:pt x="200770" y="178621"/>
                  <a:pt x="202764" y="178621"/>
                  <a:pt x="204758" y="176624"/>
                </a:cubicBezTo>
                <a:cubicBezTo>
                  <a:pt x="206753" y="174628"/>
                  <a:pt x="212735" y="174628"/>
                  <a:pt x="212735" y="174628"/>
                </a:cubicBezTo>
                <a:cubicBezTo>
                  <a:pt x="212735" y="174628"/>
                  <a:pt x="216724" y="174628"/>
                  <a:pt x="220712" y="176624"/>
                </a:cubicBezTo>
                <a:cubicBezTo>
                  <a:pt x="224700" y="178621"/>
                  <a:pt x="234672" y="180618"/>
                  <a:pt x="234672" y="178621"/>
                </a:cubicBezTo>
                <a:cubicBezTo>
                  <a:pt x="234672" y="176624"/>
                  <a:pt x="236666" y="174628"/>
                  <a:pt x="232677" y="174628"/>
                </a:cubicBezTo>
                <a:cubicBezTo>
                  <a:pt x="230683" y="174628"/>
                  <a:pt x="222706" y="172631"/>
                  <a:pt x="222706" y="172631"/>
                </a:cubicBezTo>
                <a:cubicBezTo>
                  <a:pt x="222706" y="172631"/>
                  <a:pt x="216724" y="172631"/>
                  <a:pt x="220712" y="168638"/>
                </a:cubicBezTo>
                <a:cubicBezTo>
                  <a:pt x="224700" y="166641"/>
                  <a:pt x="228689" y="166641"/>
                  <a:pt x="232677" y="166641"/>
                </a:cubicBezTo>
                <a:cubicBezTo>
                  <a:pt x="234672" y="168638"/>
                  <a:pt x="238660" y="166641"/>
                  <a:pt x="238660" y="166641"/>
                </a:cubicBezTo>
                <a:cubicBezTo>
                  <a:pt x="238660" y="166641"/>
                  <a:pt x="240654" y="162648"/>
                  <a:pt x="244643" y="164645"/>
                </a:cubicBezTo>
                <a:cubicBezTo>
                  <a:pt x="246637" y="164645"/>
                  <a:pt x="252619" y="164645"/>
                  <a:pt x="252619" y="164645"/>
                </a:cubicBezTo>
                <a:cubicBezTo>
                  <a:pt x="252619" y="164645"/>
                  <a:pt x="256608" y="164645"/>
                  <a:pt x="256608" y="162648"/>
                </a:cubicBezTo>
                <a:cubicBezTo>
                  <a:pt x="258602" y="158655"/>
                  <a:pt x="258602" y="154661"/>
                  <a:pt x="256608" y="154661"/>
                </a:cubicBezTo>
                <a:cubicBezTo>
                  <a:pt x="252619" y="154661"/>
                  <a:pt x="252619" y="154661"/>
                  <a:pt x="250625" y="156658"/>
                </a:cubicBezTo>
                <a:cubicBezTo>
                  <a:pt x="250625" y="158655"/>
                  <a:pt x="248631" y="160651"/>
                  <a:pt x="244643" y="160651"/>
                </a:cubicBezTo>
                <a:cubicBezTo>
                  <a:pt x="242648" y="160651"/>
                  <a:pt x="236666" y="160651"/>
                  <a:pt x="228689" y="162648"/>
                </a:cubicBezTo>
                <a:cubicBezTo>
                  <a:pt x="222706" y="166641"/>
                  <a:pt x="220712" y="164645"/>
                  <a:pt x="220712" y="164645"/>
                </a:cubicBezTo>
                <a:cubicBezTo>
                  <a:pt x="220712" y="164645"/>
                  <a:pt x="204758" y="168638"/>
                  <a:pt x="202764" y="168638"/>
                </a:cubicBezTo>
                <a:cubicBezTo>
                  <a:pt x="198776" y="170634"/>
                  <a:pt x="192793" y="170634"/>
                  <a:pt x="192793" y="170634"/>
                </a:cubicBezTo>
                <a:cubicBezTo>
                  <a:pt x="192793" y="170634"/>
                  <a:pt x="180828" y="170634"/>
                  <a:pt x="180828" y="168638"/>
                </a:cubicBezTo>
                <a:cubicBezTo>
                  <a:pt x="180828" y="166641"/>
                  <a:pt x="180828" y="162648"/>
                  <a:pt x="180828" y="160651"/>
                </a:cubicBezTo>
                <a:cubicBezTo>
                  <a:pt x="182822" y="160651"/>
                  <a:pt x="180828" y="156658"/>
                  <a:pt x="180828" y="156658"/>
                </a:cubicBezTo>
                <a:cubicBezTo>
                  <a:pt x="180828" y="156658"/>
                  <a:pt x="180828" y="144678"/>
                  <a:pt x="182822" y="146675"/>
                </a:cubicBezTo>
                <a:cubicBezTo>
                  <a:pt x="186810" y="146675"/>
                  <a:pt x="188805" y="150668"/>
                  <a:pt x="188805" y="150668"/>
                </a:cubicBezTo>
                <a:cubicBezTo>
                  <a:pt x="188805" y="150668"/>
                  <a:pt x="192793" y="156658"/>
                  <a:pt x="192793" y="152665"/>
                </a:cubicBezTo>
                <a:cubicBezTo>
                  <a:pt x="194787" y="148671"/>
                  <a:pt x="194787" y="144678"/>
                  <a:pt x="198776" y="146675"/>
                </a:cubicBezTo>
                <a:cubicBezTo>
                  <a:pt x="202764" y="146675"/>
                  <a:pt x="206753" y="146675"/>
                  <a:pt x="210741" y="144678"/>
                </a:cubicBezTo>
                <a:cubicBezTo>
                  <a:pt x="214729" y="142681"/>
                  <a:pt x="216724" y="142681"/>
                  <a:pt x="216724" y="142681"/>
                </a:cubicBezTo>
                <a:cubicBezTo>
                  <a:pt x="216724" y="142681"/>
                  <a:pt x="218718" y="136691"/>
                  <a:pt x="222706" y="136691"/>
                </a:cubicBezTo>
                <a:cubicBezTo>
                  <a:pt x="226695" y="136691"/>
                  <a:pt x="228689" y="136691"/>
                  <a:pt x="228689" y="134695"/>
                </a:cubicBezTo>
                <a:cubicBezTo>
                  <a:pt x="228689" y="132698"/>
                  <a:pt x="232677" y="132698"/>
                  <a:pt x="234672" y="132698"/>
                </a:cubicBezTo>
                <a:cubicBezTo>
                  <a:pt x="238660" y="132698"/>
                  <a:pt x="240654" y="134695"/>
                  <a:pt x="240654" y="134695"/>
                </a:cubicBezTo>
                <a:cubicBezTo>
                  <a:pt x="240654" y="134695"/>
                  <a:pt x="240654" y="136691"/>
                  <a:pt x="246637" y="136691"/>
                </a:cubicBezTo>
                <a:cubicBezTo>
                  <a:pt x="250625" y="134695"/>
                  <a:pt x="254614" y="134695"/>
                  <a:pt x="254614" y="132698"/>
                </a:cubicBezTo>
                <a:cubicBezTo>
                  <a:pt x="254614" y="130701"/>
                  <a:pt x="250625" y="130701"/>
                  <a:pt x="248631" y="130701"/>
                </a:cubicBezTo>
                <a:cubicBezTo>
                  <a:pt x="244643" y="130701"/>
                  <a:pt x="240654" y="132698"/>
                  <a:pt x="240654" y="126708"/>
                </a:cubicBezTo>
                <a:cubicBezTo>
                  <a:pt x="240654" y="122715"/>
                  <a:pt x="244643" y="114728"/>
                  <a:pt x="246637" y="112732"/>
                </a:cubicBezTo>
                <a:cubicBezTo>
                  <a:pt x="250625" y="110735"/>
                  <a:pt x="254614" y="106742"/>
                  <a:pt x="250625" y="104745"/>
                </a:cubicBezTo>
                <a:cubicBezTo>
                  <a:pt x="248631" y="104745"/>
                  <a:pt x="244643" y="106742"/>
                  <a:pt x="242648" y="108738"/>
                </a:cubicBezTo>
                <a:cubicBezTo>
                  <a:pt x="242648" y="110735"/>
                  <a:pt x="240654" y="112732"/>
                  <a:pt x="240654" y="114728"/>
                </a:cubicBezTo>
                <a:cubicBezTo>
                  <a:pt x="240654" y="116725"/>
                  <a:pt x="238660" y="118722"/>
                  <a:pt x="236666" y="118722"/>
                </a:cubicBezTo>
                <a:cubicBezTo>
                  <a:pt x="232677" y="120718"/>
                  <a:pt x="232677" y="122715"/>
                  <a:pt x="232677" y="126708"/>
                </a:cubicBezTo>
                <a:cubicBezTo>
                  <a:pt x="232677" y="130701"/>
                  <a:pt x="230683" y="134695"/>
                  <a:pt x="226695" y="130701"/>
                </a:cubicBezTo>
                <a:cubicBezTo>
                  <a:pt x="222706" y="126708"/>
                  <a:pt x="218718" y="124712"/>
                  <a:pt x="218718" y="120718"/>
                </a:cubicBezTo>
                <a:cubicBezTo>
                  <a:pt x="220712" y="116725"/>
                  <a:pt x="218718" y="108738"/>
                  <a:pt x="220712" y="108738"/>
                </a:cubicBezTo>
                <a:cubicBezTo>
                  <a:pt x="220712" y="106742"/>
                  <a:pt x="220712" y="102748"/>
                  <a:pt x="216724" y="104745"/>
                </a:cubicBezTo>
                <a:cubicBezTo>
                  <a:pt x="214729" y="104745"/>
                  <a:pt x="212735" y="108738"/>
                  <a:pt x="208747" y="108738"/>
                </a:cubicBezTo>
                <a:cubicBezTo>
                  <a:pt x="206753" y="108738"/>
                  <a:pt x="202764" y="106742"/>
                  <a:pt x="202764" y="112732"/>
                </a:cubicBezTo>
                <a:cubicBezTo>
                  <a:pt x="202764" y="116725"/>
                  <a:pt x="202764" y="118722"/>
                  <a:pt x="206753" y="122715"/>
                </a:cubicBezTo>
                <a:cubicBezTo>
                  <a:pt x="210741" y="124712"/>
                  <a:pt x="204758" y="128705"/>
                  <a:pt x="204758" y="128705"/>
                </a:cubicBezTo>
                <a:cubicBezTo>
                  <a:pt x="204758" y="128705"/>
                  <a:pt x="204758" y="128705"/>
                  <a:pt x="202764" y="128705"/>
                </a:cubicBezTo>
                <a:cubicBezTo>
                  <a:pt x="198776" y="128705"/>
                  <a:pt x="198776" y="128705"/>
                  <a:pt x="198776" y="130701"/>
                </a:cubicBezTo>
                <a:cubicBezTo>
                  <a:pt x="198776" y="132698"/>
                  <a:pt x="196781" y="140685"/>
                  <a:pt x="192793" y="138688"/>
                </a:cubicBezTo>
                <a:cubicBezTo>
                  <a:pt x="186810" y="136691"/>
                  <a:pt x="182822" y="134695"/>
                  <a:pt x="178834" y="136691"/>
                </a:cubicBezTo>
                <a:cubicBezTo>
                  <a:pt x="172851" y="136691"/>
                  <a:pt x="168862" y="138688"/>
                  <a:pt x="168862" y="136691"/>
                </a:cubicBezTo>
                <a:cubicBezTo>
                  <a:pt x="164874" y="132698"/>
                  <a:pt x="166868" y="128705"/>
                  <a:pt x="160886" y="128705"/>
                </a:cubicBezTo>
                <a:cubicBezTo>
                  <a:pt x="154903" y="128705"/>
                  <a:pt x="154903" y="126708"/>
                  <a:pt x="154903" y="126708"/>
                </a:cubicBezTo>
                <a:cubicBezTo>
                  <a:pt x="154903" y="126708"/>
                  <a:pt x="150915" y="122715"/>
                  <a:pt x="152909" y="122715"/>
                </a:cubicBezTo>
                <a:cubicBezTo>
                  <a:pt x="154903" y="122715"/>
                  <a:pt x="156897" y="120718"/>
                  <a:pt x="156897" y="120718"/>
                </a:cubicBezTo>
                <a:cubicBezTo>
                  <a:pt x="156897" y="120718"/>
                  <a:pt x="148920" y="118722"/>
                  <a:pt x="148920" y="118722"/>
                </a:cubicBezTo>
                <a:cubicBezTo>
                  <a:pt x="146926" y="118722"/>
                  <a:pt x="146926" y="116725"/>
                  <a:pt x="144932" y="114728"/>
                </a:cubicBezTo>
                <a:cubicBezTo>
                  <a:pt x="144932" y="114728"/>
                  <a:pt x="138949" y="114728"/>
                  <a:pt x="138949" y="114728"/>
                </a:cubicBezTo>
                <a:cubicBezTo>
                  <a:pt x="138949" y="114728"/>
                  <a:pt x="132967" y="114728"/>
                  <a:pt x="134961" y="110735"/>
                </a:cubicBezTo>
                <a:cubicBezTo>
                  <a:pt x="134961" y="108738"/>
                  <a:pt x="138949" y="108738"/>
                  <a:pt x="138949" y="108738"/>
                </a:cubicBezTo>
                <a:cubicBezTo>
                  <a:pt x="138949" y="108738"/>
                  <a:pt x="142938" y="106742"/>
                  <a:pt x="138949" y="106742"/>
                </a:cubicBezTo>
                <a:cubicBezTo>
                  <a:pt x="134961" y="104745"/>
                  <a:pt x="134961" y="100752"/>
                  <a:pt x="134961" y="96758"/>
                </a:cubicBezTo>
                <a:cubicBezTo>
                  <a:pt x="134961" y="94762"/>
                  <a:pt x="140943" y="98755"/>
                  <a:pt x="140943" y="98755"/>
                </a:cubicBezTo>
                <a:cubicBezTo>
                  <a:pt x="140943" y="98755"/>
                  <a:pt x="140943" y="100752"/>
                  <a:pt x="146926" y="100752"/>
                </a:cubicBezTo>
                <a:cubicBezTo>
                  <a:pt x="150915" y="100752"/>
                  <a:pt x="150915" y="100752"/>
                  <a:pt x="150915" y="96758"/>
                </a:cubicBezTo>
                <a:cubicBezTo>
                  <a:pt x="150915" y="94762"/>
                  <a:pt x="148920" y="98755"/>
                  <a:pt x="144932" y="94762"/>
                </a:cubicBezTo>
                <a:cubicBezTo>
                  <a:pt x="138949" y="90768"/>
                  <a:pt x="136955" y="94762"/>
                  <a:pt x="138949" y="90768"/>
                </a:cubicBezTo>
                <a:cubicBezTo>
                  <a:pt x="140943" y="86775"/>
                  <a:pt x="142938" y="84779"/>
                  <a:pt x="142938" y="84779"/>
                </a:cubicBezTo>
                <a:cubicBezTo>
                  <a:pt x="142938" y="84779"/>
                  <a:pt x="140943" y="80785"/>
                  <a:pt x="138949" y="80785"/>
                </a:cubicBezTo>
                <a:cubicBezTo>
                  <a:pt x="136955" y="80785"/>
                  <a:pt x="132967" y="86775"/>
                  <a:pt x="132967" y="86775"/>
                </a:cubicBezTo>
                <a:cubicBezTo>
                  <a:pt x="126984" y="92765"/>
                  <a:pt x="126984" y="92765"/>
                  <a:pt x="126984" y="92765"/>
                </a:cubicBezTo>
                <a:cubicBezTo>
                  <a:pt x="126984" y="92765"/>
                  <a:pt x="122996" y="88772"/>
                  <a:pt x="122996" y="86775"/>
                </a:cubicBezTo>
                <a:cubicBezTo>
                  <a:pt x="122996" y="84779"/>
                  <a:pt x="124990" y="82782"/>
                  <a:pt x="121001" y="82782"/>
                </a:cubicBezTo>
                <a:cubicBezTo>
                  <a:pt x="115019" y="80785"/>
                  <a:pt x="111030" y="76792"/>
                  <a:pt x="115019" y="70802"/>
                </a:cubicBezTo>
                <a:cubicBezTo>
                  <a:pt x="119007" y="64812"/>
                  <a:pt x="117013" y="62815"/>
                  <a:pt x="117013" y="60819"/>
                </a:cubicBezTo>
                <a:cubicBezTo>
                  <a:pt x="117013" y="58822"/>
                  <a:pt x="119007" y="52832"/>
                  <a:pt x="121001" y="56825"/>
                </a:cubicBezTo>
                <a:cubicBezTo>
                  <a:pt x="122996" y="60819"/>
                  <a:pt x="126984" y="68805"/>
                  <a:pt x="126984" y="60819"/>
                </a:cubicBezTo>
                <a:cubicBezTo>
                  <a:pt x="126984" y="60819"/>
                  <a:pt x="124990" y="54829"/>
                  <a:pt x="128978" y="54829"/>
                </a:cubicBezTo>
                <a:cubicBezTo>
                  <a:pt x="130972" y="54829"/>
                  <a:pt x="134961" y="52832"/>
                  <a:pt x="136955" y="54829"/>
                </a:cubicBezTo>
                <a:cubicBezTo>
                  <a:pt x="140943" y="56825"/>
                  <a:pt x="142938" y="58822"/>
                  <a:pt x="142938" y="58822"/>
                </a:cubicBezTo>
                <a:cubicBezTo>
                  <a:pt x="142938" y="58822"/>
                  <a:pt x="140943" y="60819"/>
                  <a:pt x="144932" y="62815"/>
                </a:cubicBezTo>
                <a:cubicBezTo>
                  <a:pt x="148920" y="62815"/>
                  <a:pt x="148920" y="62815"/>
                  <a:pt x="148920" y="60819"/>
                </a:cubicBezTo>
                <a:cubicBezTo>
                  <a:pt x="146926" y="58822"/>
                  <a:pt x="140943" y="52832"/>
                  <a:pt x="144932" y="50835"/>
                </a:cubicBezTo>
                <a:cubicBezTo>
                  <a:pt x="146926" y="46842"/>
                  <a:pt x="152909" y="48839"/>
                  <a:pt x="152909" y="50835"/>
                </a:cubicBezTo>
                <a:cubicBezTo>
                  <a:pt x="152909" y="52832"/>
                  <a:pt x="156897" y="54829"/>
                  <a:pt x="158891" y="54829"/>
                </a:cubicBezTo>
                <a:cubicBezTo>
                  <a:pt x="160886" y="54829"/>
                  <a:pt x="166868" y="52832"/>
                  <a:pt x="166868" y="52832"/>
                </a:cubicBezTo>
                <a:cubicBezTo>
                  <a:pt x="166868" y="52832"/>
                  <a:pt x="166868" y="50835"/>
                  <a:pt x="170857" y="50835"/>
                </a:cubicBezTo>
                <a:cubicBezTo>
                  <a:pt x="172851" y="50835"/>
                  <a:pt x="176839" y="48839"/>
                  <a:pt x="176839" y="48839"/>
                </a:cubicBezTo>
                <a:cubicBezTo>
                  <a:pt x="176839" y="48839"/>
                  <a:pt x="180828" y="46842"/>
                  <a:pt x="182822" y="50835"/>
                </a:cubicBezTo>
                <a:cubicBezTo>
                  <a:pt x="184816" y="54829"/>
                  <a:pt x="186810" y="56825"/>
                  <a:pt x="182822" y="56825"/>
                </a:cubicBezTo>
                <a:cubicBezTo>
                  <a:pt x="180828" y="58822"/>
                  <a:pt x="174845" y="54829"/>
                  <a:pt x="174845" y="54829"/>
                </a:cubicBezTo>
                <a:cubicBezTo>
                  <a:pt x="174845" y="54829"/>
                  <a:pt x="170857" y="54829"/>
                  <a:pt x="168862" y="54829"/>
                </a:cubicBezTo>
                <a:cubicBezTo>
                  <a:pt x="164874" y="56825"/>
                  <a:pt x="160886" y="54829"/>
                  <a:pt x="160886" y="54829"/>
                </a:cubicBezTo>
                <a:cubicBezTo>
                  <a:pt x="160886" y="54829"/>
                  <a:pt x="154903" y="54829"/>
                  <a:pt x="152909" y="56825"/>
                </a:cubicBezTo>
                <a:cubicBezTo>
                  <a:pt x="152909" y="58822"/>
                  <a:pt x="156897" y="58822"/>
                  <a:pt x="158891" y="60819"/>
                </a:cubicBezTo>
                <a:cubicBezTo>
                  <a:pt x="158891" y="62815"/>
                  <a:pt x="162880" y="64812"/>
                  <a:pt x="166868" y="62815"/>
                </a:cubicBezTo>
                <a:cubicBezTo>
                  <a:pt x="168862" y="62815"/>
                  <a:pt x="170857" y="62815"/>
                  <a:pt x="170857" y="64812"/>
                </a:cubicBezTo>
                <a:cubicBezTo>
                  <a:pt x="170857" y="66809"/>
                  <a:pt x="168862" y="68805"/>
                  <a:pt x="170857" y="68805"/>
                </a:cubicBezTo>
                <a:cubicBezTo>
                  <a:pt x="172851" y="70802"/>
                  <a:pt x="176839" y="68805"/>
                  <a:pt x="178834" y="72799"/>
                </a:cubicBezTo>
                <a:cubicBezTo>
                  <a:pt x="178834" y="78789"/>
                  <a:pt x="184816" y="84779"/>
                  <a:pt x="184816" y="84779"/>
                </a:cubicBezTo>
                <a:cubicBezTo>
                  <a:pt x="184816" y="84779"/>
                  <a:pt x="188805" y="88772"/>
                  <a:pt x="186810" y="84779"/>
                </a:cubicBezTo>
                <a:cubicBezTo>
                  <a:pt x="184816" y="78789"/>
                  <a:pt x="182822" y="72799"/>
                  <a:pt x="186810" y="70802"/>
                </a:cubicBezTo>
                <a:cubicBezTo>
                  <a:pt x="190799" y="68805"/>
                  <a:pt x="192793" y="62815"/>
                  <a:pt x="192793" y="60819"/>
                </a:cubicBezTo>
                <a:cubicBezTo>
                  <a:pt x="192793" y="56825"/>
                  <a:pt x="194787" y="52832"/>
                  <a:pt x="196781" y="54829"/>
                </a:cubicBezTo>
                <a:cubicBezTo>
                  <a:pt x="198776" y="56825"/>
                  <a:pt x="198776" y="56825"/>
                  <a:pt x="202764" y="56825"/>
                </a:cubicBezTo>
                <a:cubicBezTo>
                  <a:pt x="208747" y="56825"/>
                  <a:pt x="208747" y="60819"/>
                  <a:pt x="208747" y="60819"/>
                </a:cubicBezTo>
                <a:cubicBezTo>
                  <a:pt x="208747" y="62815"/>
                  <a:pt x="208747" y="72799"/>
                  <a:pt x="210741" y="72799"/>
                </a:cubicBezTo>
                <a:cubicBezTo>
                  <a:pt x="214729" y="74795"/>
                  <a:pt x="216724" y="76792"/>
                  <a:pt x="216724" y="80785"/>
                </a:cubicBezTo>
                <a:cubicBezTo>
                  <a:pt x="218718" y="82782"/>
                  <a:pt x="216724" y="88772"/>
                  <a:pt x="218718" y="88772"/>
                </a:cubicBezTo>
                <a:cubicBezTo>
                  <a:pt x="220712" y="88772"/>
                  <a:pt x="226695" y="86775"/>
                  <a:pt x="228689" y="90768"/>
                </a:cubicBezTo>
                <a:cubicBezTo>
                  <a:pt x="230683" y="92765"/>
                  <a:pt x="230683" y="98755"/>
                  <a:pt x="234672" y="98755"/>
                </a:cubicBezTo>
                <a:cubicBezTo>
                  <a:pt x="236666" y="98755"/>
                  <a:pt x="236666" y="94762"/>
                  <a:pt x="234672" y="90768"/>
                </a:cubicBezTo>
                <a:cubicBezTo>
                  <a:pt x="232677" y="88772"/>
                  <a:pt x="224700" y="80785"/>
                  <a:pt x="224700" y="78789"/>
                </a:cubicBezTo>
                <a:cubicBezTo>
                  <a:pt x="224700" y="74795"/>
                  <a:pt x="228689" y="72799"/>
                  <a:pt x="228689" y="70802"/>
                </a:cubicBezTo>
                <a:cubicBezTo>
                  <a:pt x="224700" y="66809"/>
                  <a:pt x="224700" y="62815"/>
                  <a:pt x="226695" y="58822"/>
                </a:cubicBezTo>
                <a:cubicBezTo>
                  <a:pt x="228689" y="54829"/>
                  <a:pt x="226695" y="50835"/>
                  <a:pt x="224700" y="46842"/>
                </a:cubicBezTo>
                <a:cubicBezTo>
                  <a:pt x="224700" y="44846"/>
                  <a:pt x="226695" y="42849"/>
                  <a:pt x="228689" y="38856"/>
                </a:cubicBezTo>
                <a:cubicBezTo>
                  <a:pt x="230683" y="36859"/>
                  <a:pt x="232677" y="36859"/>
                  <a:pt x="234672" y="36859"/>
                </a:cubicBezTo>
                <a:close/>
                <a:moveTo>
                  <a:pt x="586398" y="32550"/>
                </a:moveTo>
                <a:cubicBezTo>
                  <a:pt x="590279" y="30509"/>
                  <a:pt x="594159" y="32550"/>
                  <a:pt x="594159" y="32550"/>
                </a:cubicBezTo>
                <a:cubicBezTo>
                  <a:pt x="594159" y="32550"/>
                  <a:pt x="599980" y="32550"/>
                  <a:pt x="599980" y="34591"/>
                </a:cubicBezTo>
                <a:cubicBezTo>
                  <a:pt x="599980" y="34591"/>
                  <a:pt x="598040" y="36632"/>
                  <a:pt x="598040" y="36632"/>
                </a:cubicBezTo>
                <a:cubicBezTo>
                  <a:pt x="598040" y="36632"/>
                  <a:pt x="592219" y="36632"/>
                  <a:pt x="592219" y="38674"/>
                </a:cubicBezTo>
                <a:cubicBezTo>
                  <a:pt x="590279" y="40715"/>
                  <a:pt x="586398" y="40715"/>
                  <a:pt x="584458" y="40715"/>
                </a:cubicBezTo>
                <a:cubicBezTo>
                  <a:pt x="582518" y="40715"/>
                  <a:pt x="578637" y="40715"/>
                  <a:pt x="576697" y="42756"/>
                </a:cubicBezTo>
                <a:cubicBezTo>
                  <a:pt x="576697" y="42756"/>
                  <a:pt x="565055" y="44797"/>
                  <a:pt x="565055" y="38674"/>
                </a:cubicBezTo>
                <a:cubicBezTo>
                  <a:pt x="566996" y="34591"/>
                  <a:pt x="572816" y="34591"/>
                  <a:pt x="572816" y="34591"/>
                </a:cubicBezTo>
                <a:cubicBezTo>
                  <a:pt x="572816" y="34591"/>
                  <a:pt x="572816" y="34591"/>
                  <a:pt x="574757" y="34591"/>
                </a:cubicBezTo>
                <a:cubicBezTo>
                  <a:pt x="578637" y="34591"/>
                  <a:pt x="580577" y="34591"/>
                  <a:pt x="580577" y="34591"/>
                </a:cubicBezTo>
                <a:cubicBezTo>
                  <a:pt x="580577" y="34591"/>
                  <a:pt x="582518" y="32550"/>
                  <a:pt x="586398" y="32550"/>
                </a:cubicBezTo>
                <a:close/>
                <a:moveTo>
                  <a:pt x="678222" y="28922"/>
                </a:moveTo>
                <a:cubicBezTo>
                  <a:pt x="687293" y="31039"/>
                  <a:pt x="685479" y="33155"/>
                  <a:pt x="681850" y="35272"/>
                </a:cubicBezTo>
                <a:cubicBezTo>
                  <a:pt x="678222" y="35272"/>
                  <a:pt x="674593" y="35272"/>
                  <a:pt x="674593" y="33155"/>
                </a:cubicBezTo>
                <a:cubicBezTo>
                  <a:pt x="674593" y="28922"/>
                  <a:pt x="678222" y="28922"/>
                  <a:pt x="678222" y="28922"/>
                </a:cubicBezTo>
                <a:close/>
                <a:moveTo>
                  <a:pt x="404195" y="16639"/>
                </a:moveTo>
                <a:cubicBezTo>
                  <a:pt x="406183" y="18644"/>
                  <a:pt x="410159" y="24660"/>
                  <a:pt x="410159" y="24660"/>
                </a:cubicBezTo>
                <a:cubicBezTo>
                  <a:pt x="410159" y="24660"/>
                  <a:pt x="414136" y="30676"/>
                  <a:pt x="416124" y="28671"/>
                </a:cubicBezTo>
                <a:cubicBezTo>
                  <a:pt x="420100" y="26666"/>
                  <a:pt x="422089" y="26666"/>
                  <a:pt x="422089" y="26666"/>
                </a:cubicBezTo>
                <a:cubicBezTo>
                  <a:pt x="426065" y="26666"/>
                  <a:pt x="428053" y="28671"/>
                  <a:pt x="428053" y="28671"/>
                </a:cubicBezTo>
                <a:cubicBezTo>
                  <a:pt x="428053" y="28671"/>
                  <a:pt x="430042" y="28671"/>
                  <a:pt x="430042" y="28671"/>
                </a:cubicBezTo>
                <a:cubicBezTo>
                  <a:pt x="432030" y="26666"/>
                  <a:pt x="434018" y="26666"/>
                  <a:pt x="434018" y="30676"/>
                </a:cubicBezTo>
                <a:cubicBezTo>
                  <a:pt x="434018" y="30676"/>
                  <a:pt x="436006" y="32681"/>
                  <a:pt x="437995" y="34687"/>
                </a:cubicBezTo>
                <a:cubicBezTo>
                  <a:pt x="439983" y="34687"/>
                  <a:pt x="447936" y="34687"/>
                  <a:pt x="447936" y="34687"/>
                </a:cubicBezTo>
                <a:cubicBezTo>
                  <a:pt x="453900" y="34687"/>
                  <a:pt x="453900" y="34687"/>
                  <a:pt x="453900" y="34687"/>
                </a:cubicBezTo>
                <a:cubicBezTo>
                  <a:pt x="453900" y="34687"/>
                  <a:pt x="461853" y="34687"/>
                  <a:pt x="463842" y="36692"/>
                </a:cubicBezTo>
                <a:cubicBezTo>
                  <a:pt x="467818" y="38697"/>
                  <a:pt x="469806" y="40702"/>
                  <a:pt x="469806" y="42708"/>
                </a:cubicBezTo>
                <a:cubicBezTo>
                  <a:pt x="467818" y="46718"/>
                  <a:pt x="467818" y="50729"/>
                  <a:pt x="463842" y="52734"/>
                </a:cubicBezTo>
                <a:cubicBezTo>
                  <a:pt x="461853" y="54739"/>
                  <a:pt x="453900" y="56744"/>
                  <a:pt x="453900" y="56744"/>
                </a:cubicBezTo>
                <a:cubicBezTo>
                  <a:pt x="453900" y="56744"/>
                  <a:pt x="443959" y="58750"/>
                  <a:pt x="441971" y="60755"/>
                </a:cubicBezTo>
                <a:cubicBezTo>
                  <a:pt x="441971" y="64766"/>
                  <a:pt x="443959" y="70781"/>
                  <a:pt x="439983" y="74792"/>
                </a:cubicBezTo>
                <a:cubicBezTo>
                  <a:pt x="436006" y="80808"/>
                  <a:pt x="428053" y="78802"/>
                  <a:pt x="428053" y="78802"/>
                </a:cubicBezTo>
                <a:cubicBezTo>
                  <a:pt x="428053" y="78802"/>
                  <a:pt x="410159" y="78802"/>
                  <a:pt x="408171" y="80808"/>
                </a:cubicBezTo>
                <a:cubicBezTo>
                  <a:pt x="406183" y="82813"/>
                  <a:pt x="406183" y="90834"/>
                  <a:pt x="402206" y="90834"/>
                </a:cubicBezTo>
                <a:cubicBezTo>
                  <a:pt x="398230" y="90834"/>
                  <a:pt x="388289" y="90834"/>
                  <a:pt x="388289" y="90834"/>
                </a:cubicBezTo>
                <a:cubicBezTo>
                  <a:pt x="388289" y="90834"/>
                  <a:pt x="376359" y="90834"/>
                  <a:pt x="376359" y="86823"/>
                </a:cubicBezTo>
                <a:cubicBezTo>
                  <a:pt x="376359" y="84818"/>
                  <a:pt x="376359" y="80808"/>
                  <a:pt x="372383" y="78802"/>
                </a:cubicBezTo>
                <a:cubicBezTo>
                  <a:pt x="366418" y="78802"/>
                  <a:pt x="364430" y="76797"/>
                  <a:pt x="360453" y="78802"/>
                </a:cubicBezTo>
                <a:cubicBezTo>
                  <a:pt x="354489" y="80808"/>
                  <a:pt x="352500" y="80808"/>
                  <a:pt x="350512" y="78802"/>
                </a:cubicBezTo>
                <a:cubicBezTo>
                  <a:pt x="348524" y="76797"/>
                  <a:pt x="346536" y="76797"/>
                  <a:pt x="344548" y="78802"/>
                </a:cubicBezTo>
                <a:cubicBezTo>
                  <a:pt x="342559" y="80808"/>
                  <a:pt x="338583" y="82813"/>
                  <a:pt x="336595" y="80808"/>
                </a:cubicBezTo>
                <a:cubicBezTo>
                  <a:pt x="334606" y="80808"/>
                  <a:pt x="332618" y="80808"/>
                  <a:pt x="332618" y="76797"/>
                </a:cubicBezTo>
                <a:cubicBezTo>
                  <a:pt x="332618" y="74792"/>
                  <a:pt x="332618" y="72787"/>
                  <a:pt x="330630" y="72787"/>
                </a:cubicBezTo>
                <a:cubicBezTo>
                  <a:pt x="326653" y="72787"/>
                  <a:pt x="322677" y="72787"/>
                  <a:pt x="318701" y="68776"/>
                </a:cubicBezTo>
                <a:cubicBezTo>
                  <a:pt x="316712" y="66771"/>
                  <a:pt x="314724" y="62760"/>
                  <a:pt x="318701" y="64766"/>
                </a:cubicBezTo>
                <a:cubicBezTo>
                  <a:pt x="320689" y="64766"/>
                  <a:pt x="322677" y="64766"/>
                  <a:pt x="324665" y="64766"/>
                </a:cubicBezTo>
                <a:cubicBezTo>
                  <a:pt x="326653" y="64766"/>
                  <a:pt x="328642" y="64766"/>
                  <a:pt x="328642" y="66771"/>
                </a:cubicBezTo>
                <a:cubicBezTo>
                  <a:pt x="330630" y="68776"/>
                  <a:pt x="332618" y="68776"/>
                  <a:pt x="334606" y="66771"/>
                </a:cubicBezTo>
                <a:cubicBezTo>
                  <a:pt x="334606" y="62760"/>
                  <a:pt x="332618" y="60755"/>
                  <a:pt x="336595" y="60755"/>
                </a:cubicBezTo>
                <a:cubicBezTo>
                  <a:pt x="338583" y="60755"/>
                  <a:pt x="346536" y="56744"/>
                  <a:pt x="348524" y="60755"/>
                </a:cubicBezTo>
                <a:cubicBezTo>
                  <a:pt x="350512" y="62760"/>
                  <a:pt x="356477" y="62760"/>
                  <a:pt x="358465" y="62760"/>
                </a:cubicBezTo>
                <a:cubicBezTo>
                  <a:pt x="358465" y="62760"/>
                  <a:pt x="360453" y="58750"/>
                  <a:pt x="356477" y="56744"/>
                </a:cubicBezTo>
                <a:cubicBezTo>
                  <a:pt x="354489" y="56744"/>
                  <a:pt x="352500" y="56744"/>
                  <a:pt x="348524" y="56744"/>
                </a:cubicBezTo>
                <a:cubicBezTo>
                  <a:pt x="344548" y="56744"/>
                  <a:pt x="342559" y="54739"/>
                  <a:pt x="340571" y="54739"/>
                </a:cubicBezTo>
                <a:cubicBezTo>
                  <a:pt x="338583" y="52734"/>
                  <a:pt x="340571" y="54739"/>
                  <a:pt x="338583" y="56744"/>
                </a:cubicBezTo>
                <a:cubicBezTo>
                  <a:pt x="334606" y="56744"/>
                  <a:pt x="332618" y="58750"/>
                  <a:pt x="330630" y="58750"/>
                </a:cubicBezTo>
                <a:cubicBezTo>
                  <a:pt x="326653" y="56744"/>
                  <a:pt x="320689" y="56744"/>
                  <a:pt x="316712" y="58750"/>
                </a:cubicBezTo>
                <a:cubicBezTo>
                  <a:pt x="312736" y="60755"/>
                  <a:pt x="306771" y="62760"/>
                  <a:pt x="304783" y="60755"/>
                </a:cubicBezTo>
                <a:cubicBezTo>
                  <a:pt x="302795" y="60755"/>
                  <a:pt x="302795" y="58750"/>
                  <a:pt x="298818" y="58750"/>
                </a:cubicBezTo>
                <a:cubicBezTo>
                  <a:pt x="296830" y="58750"/>
                  <a:pt x="288877" y="58750"/>
                  <a:pt x="288877" y="56744"/>
                </a:cubicBezTo>
                <a:cubicBezTo>
                  <a:pt x="288877" y="54739"/>
                  <a:pt x="280924" y="56744"/>
                  <a:pt x="278936" y="52734"/>
                </a:cubicBezTo>
                <a:cubicBezTo>
                  <a:pt x="276948" y="46718"/>
                  <a:pt x="278936" y="46718"/>
                  <a:pt x="280924" y="46718"/>
                </a:cubicBezTo>
                <a:cubicBezTo>
                  <a:pt x="282912" y="46718"/>
                  <a:pt x="284901" y="46718"/>
                  <a:pt x="284901" y="48723"/>
                </a:cubicBezTo>
                <a:cubicBezTo>
                  <a:pt x="284901" y="50729"/>
                  <a:pt x="286889" y="50729"/>
                  <a:pt x="288877" y="50729"/>
                </a:cubicBezTo>
                <a:cubicBezTo>
                  <a:pt x="290865" y="48723"/>
                  <a:pt x="292854" y="46718"/>
                  <a:pt x="292854" y="46718"/>
                </a:cubicBezTo>
                <a:cubicBezTo>
                  <a:pt x="292854" y="44713"/>
                  <a:pt x="288877" y="44713"/>
                  <a:pt x="288877" y="44713"/>
                </a:cubicBezTo>
                <a:cubicBezTo>
                  <a:pt x="288877" y="44713"/>
                  <a:pt x="286889" y="46718"/>
                  <a:pt x="284901" y="44713"/>
                </a:cubicBezTo>
                <a:cubicBezTo>
                  <a:pt x="284901" y="42708"/>
                  <a:pt x="280924" y="44713"/>
                  <a:pt x="280924" y="44713"/>
                </a:cubicBezTo>
                <a:cubicBezTo>
                  <a:pt x="280924" y="44713"/>
                  <a:pt x="274959" y="44713"/>
                  <a:pt x="274959" y="42708"/>
                </a:cubicBezTo>
                <a:cubicBezTo>
                  <a:pt x="274959" y="40702"/>
                  <a:pt x="274959" y="38697"/>
                  <a:pt x="276948" y="38697"/>
                </a:cubicBezTo>
                <a:cubicBezTo>
                  <a:pt x="278936" y="38697"/>
                  <a:pt x="280924" y="38697"/>
                  <a:pt x="278936" y="36692"/>
                </a:cubicBezTo>
                <a:cubicBezTo>
                  <a:pt x="278936" y="36692"/>
                  <a:pt x="272971" y="38697"/>
                  <a:pt x="268995" y="34687"/>
                </a:cubicBezTo>
                <a:cubicBezTo>
                  <a:pt x="267006" y="30676"/>
                  <a:pt x="265018" y="30676"/>
                  <a:pt x="265018" y="26666"/>
                </a:cubicBezTo>
                <a:cubicBezTo>
                  <a:pt x="265018" y="26666"/>
                  <a:pt x="270983" y="24660"/>
                  <a:pt x="274959" y="26666"/>
                </a:cubicBezTo>
                <a:cubicBezTo>
                  <a:pt x="276948" y="30676"/>
                  <a:pt x="276948" y="32681"/>
                  <a:pt x="278936" y="32681"/>
                </a:cubicBezTo>
                <a:cubicBezTo>
                  <a:pt x="282912" y="32681"/>
                  <a:pt x="288877" y="32681"/>
                  <a:pt x="288877" y="34687"/>
                </a:cubicBezTo>
                <a:cubicBezTo>
                  <a:pt x="290865" y="38697"/>
                  <a:pt x="292854" y="40702"/>
                  <a:pt x="292854" y="38697"/>
                </a:cubicBezTo>
                <a:cubicBezTo>
                  <a:pt x="292854" y="36692"/>
                  <a:pt x="292854" y="38697"/>
                  <a:pt x="292854" y="34687"/>
                </a:cubicBezTo>
                <a:cubicBezTo>
                  <a:pt x="290865" y="28671"/>
                  <a:pt x="290865" y="24660"/>
                  <a:pt x="292854" y="24660"/>
                </a:cubicBezTo>
                <a:cubicBezTo>
                  <a:pt x="294842" y="24660"/>
                  <a:pt x="298818" y="30676"/>
                  <a:pt x="298818" y="30676"/>
                </a:cubicBezTo>
                <a:cubicBezTo>
                  <a:pt x="300806" y="30676"/>
                  <a:pt x="304783" y="34687"/>
                  <a:pt x="306771" y="34687"/>
                </a:cubicBezTo>
                <a:cubicBezTo>
                  <a:pt x="310748" y="32681"/>
                  <a:pt x="312736" y="30676"/>
                  <a:pt x="310748" y="28671"/>
                </a:cubicBezTo>
                <a:cubicBezTo>
                  <a:pt x="308759" y="26666"/>
                  <a:pt x="304783" y="24660"/>
                  <a:pt x="306771" y="20650"/>
                </a:cubicBezTo>
                <a:cubicBezTo>
                  <a:pt x="308759" y="16639"/>
                  <a:pt x="308759" y="18644"/>
                  <a:pt x="310748" y="18644"/>
                </a:cubicBezTo>
                <a:cubicBezTo>
                  <a:pt x="314724" y="18644"/>
                  <a:pt x="318701" y="20650"/>
                  <a:pt x="320689" y="20650"/>
                </a:cubicBezTo>
                <a:cubicBezTo>
                  <a:pt x="322677" y="20650"/>
                  <a:pt x="326653" y="18644"/>
                  <a:pt x="328642" y="24660"/>
                </a:cubicBezTo>
                <a:cubicBezTo>
                  <a:pt x="330630" y="30676"/>
                  <a:pt x="332618" y="30676"/>
                  <a:pt x="336595" y="30676"/>
                </a:cubicBezTo>
                <a:cubicBezTo>
                  <a:pt x="342559" y="30676"/>
                  <a:pt x="346536" y="28671"/>
                  <a:pt x="348524" y="30676"/>
                </a:cubicBezTo>
                <a:cubicBezTo>
                  <a:pt x="348524" y="32681"/>
                  <a:pt x="348524" y="32681"/>
                  <a:pt x="350512" y="30676"/>
                </a:cubicBezTo>
                <a:cubicBezTo>
                  <a:pt x="354489" y="30676"/>
                  <a:pt x="356477" y="32681"/>
                  <a:pt x="356477" y="34687"/>
                </a:cubicBezTo>
                <a:cubicBezTo>
                  <a:pt x="358465" y="38697"/>
                  <a:pt x="360453" y="40702"/>
                  <a:pt x="360453" y="42708"/>
                </a:cubicBezTo>
                <a:cubicBezTo>
                  <a:pt x="360453" y="46718"/>
                  <a:pt x="360453" y="50729"/>
                  <a:pt x="362442" y="46718"/>
                </a:cubicBezTo>
                <a:cubicBezTo>
                  <a:pt x="364430" y="44713"/>
                  <a:pt x="364430" y="42708"/>
                  <a:pt x="366418" y="46718"/>
                </a:cubicBezTo>
                <a:cubicBezTo>
                  <a:pt x="366418" y="52734"/>
                  <a:pt x="368406" y="50729"/>
                  <a:pt x="368406" y="48723"/>
                </a:cubicBezTo>
                <a:cubicBezTo>
                  <a:pt x="370395" y="44713"/>
                  <a:pt x="370395" y="42708"/>
                  <a:pt x="370395" y="38697"/>
                </a:cubicBezTo>
                <a:cubicBezTo>
                  <a:pt x="368406" y="34687"/>
                  <a:pt x="368406" y="26666"/>
                  <a:pt x="368406" y="24660"/>
                </a:cubicBezTo>
                <a:cubicBezTo>
                  <a:pt x="370395" y="20650"/>
                  <a:pt x="372383" y="22655"/>
                  <a:pt x="372383" y="22655"/>
                </a:cubicBezTo>
                <a:cubicBezTo>
                  <a:pt x="372383" y="22655"/>
                  <a:pt x="372383" y="16639"/>
                  <a:pt x="374371" y="18644"/>
                </a:cubicBezTo>
                <a:cubicBezTo>
                  <a:pt x="376359" y="18644"/>
                  <a:pt x="376359" y="20650"/>
                  <a:pt x="378348" y="20650"/>
                </a:cubicBezTo>
                <a:cubicBezTo>
                  <a:pt x="378348" y="20650"/>
                  <a:pt x="380336" y="22655"/>
                  <a:pt x="380336" y="24660"/>
                </a:cubicBezTo>
                <a:cubicBezTo>
                  <a:pt x="378348" y="26666"/>
                  <a:pt x="380336" y="30676"/>
                  <a:pt x="378348" y="30676"/>
                </a:cubicBezTo>
                <a:cubicBezTo>
                  <a:pt x="378348" y="32681"/>
                  <a:pt x="382324" y="34687"/>
                  <a:pt x="382324" y="34687"/>
                </a:cubicBezTo>
                <a:cubicBezTo>
                  <a:pt x="382324" y="36692"/>
                  <a:pt x="382324" y="36692"/>
                  <a:pt x="384312" y="34687"/>
                </a:cubicBezTo>
                <a:cubicBezTo>
                  <a:pt x="388289" y="34687"/>
                  <a:pt x="388289" y="32681"/>
                  <a:pt x="388289" y="34687"/>
                </a:cubicBezTo>
                <a:cubicBezTo>
                  <a:pt x="388289" y="38697"/>
                  <a:pt x="390277" y="38697"/>
                  <a:pt x="392265" y="38697"/>
                </a:cubicBezTo>
                <a:cubicBezTo>
                  <a:pt x="394253" y="38697"/>
                  <a:pt x="398230" y="38697"/>
                  <a:pt x="398230" y="36692"/>
                </a:cubicBezTo>
                <a:cubicBezTo>
                  <a:pt x="398230" y="34687"/>
                  <a:pt x="398230" y="30676"/>
                  <a:pt x="398230" y="30676"/>
                </a:cubicBezTo>
                <a:cubicBezTo>
                  <a:pt x="400218" y="30676"/>
                  <a:pt x="402206" y="30676"/>
                  <a:pt x="402206" y="28671"/>
                </a:cubicBezTo>
                <a:cubicBezTo>
                  <a:pt x="402206" y="24660"/>
                  <a:pt x="402206" y="14634"/>
                  <a:pt x="404195" y="16639"/>
                </a:cubicBezTo>
                <a:close/>
                <a:moveTo>
                  <a:pt x="328662" y="876"/>
                </a:moveTo>
                <a:cubicBezTo>
                  <a:pt x="332703" y="5109"/>
                  <a:pt x="334723" y="7226"/>
                  <a:pt x="336744" y="7226"/>
                </a:cubicBezTo>
                <a:cubicBezTo>
                  <a:pt x="340785" y="5109"/>
                  <a:pt x="342805" y="7226"/>
                  <a:pt x="338764" y="9342"/>
                </a:cubicBezTo>
                <a:cubicBezTo>
                  <a:pt x="336744" y="11459"/>
                  <a:pt x="334723" y="11459"/>
                  <a:pt x="332703" y="9342"/>
                </a:cubicBezTo>
                <a:cubicBezTo>
                  <a:pt x="328662" y="9342"/>
                  <a:pt x="326642" y="9342"/>
                  <a:pt x="326642" y="7226"/>
                </a:cubicBezTo>
                <a:cubicBezTo>
                  <a:pt x="326642" y="7226"/>
                  <a:pt x="324621" y="17809"/>
                  <a:pt x="322601" y="11459"/>
                </a:cubicBezTo>
                <a:cubicBezTo>
                  <a:pt x="320580" y="5109"/>
                  <a:pt x="322601" y="7226"/>
                  <a:pt x="322601" y="7226"/>
                </a:cubicBezTo>
                <a:cubicBezTo>
                  <a:pt x="322601" y="7226"/>
                  <a:pt x="324621" y="5109"/>
                  <a:pt x="324621" y="2992"/>
                </a:cubicBezTo>
                <a:cubicBezTo>
                  <a:pt x="324621" y="876"/>
                  <a:pt x="324621" y="-1241"/>
                  <a:pt x="328662" y="87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6" name="luxembourg"/>
          <p:cNvSpPr>
            <a:spLocks/>
          </p:cNvSpPr>
          <p:nvPr/>
        </p:nvSpPr>
        <p:spPr bwMode="auto">
          <a:xfrm>
            <a:off x="6349707" y="2362221"/>
            <a:ext cx="26131" cy="26131"/>
          </a:xfrm>
          <a:custGeom>
            <a:avLst/>
            <a:gdLst>
              <a:gd name="T0" fmla="*/ 13 w 13"/>
              <a:gd name="T1" fmla="*/ 12 h 13"/>
              <a:gd name="T2" fmla="*/ 11 w 13"/>
              <a:gd name="T3" fmla="*/ 10 h 13"/>
              <a:gd name="T4" fmla="*/ 11 w 13"/>
              <a:gd name="T5" fmla="*/ 6 h 13"/>
              <a:gd name="T6" fmla="*/ 11 w 13"/>
              <a:gd name="T7" fmla="*/ 2 h 13"/>
              <a:gd name="T8" fmla="*/ 9 w 13"/>
              <a:gd name="T9" fmla="*/ 0 h 13"/>
              <a:gd name="T10" fmla="*/ 6 w 13"/>
              <a:gd name="T11" fmla="*/ 0 h 13"/>
              <a:gd name="T12" fmla="*/ 3 w 13"/>
              <a:gd name="T13" fmla="*/ 2 h 13"/>
              <a:gd name="T14" fmla="*/ 3 w 13"/>
              <a:gd name="T15" fmla="*/ 4 h 13"/>
              <a:gd name="T16" fmla="*/ 3 w 13"/>
              <a:gd name="T17" fmla="*/ 7 h 13"/>
              <a:gd name="T18" fmla="*/ 0 w 13"/>
              <a:gd name="T19" fmla="*/ 10 h 13"/>
              <a:gd name="T20" fmla="*/ 1 w 13"/>
              <a:gd name="T21" fmla="*/ 11 h 13"/>
              <a:gd name="T22" fmla="*/ 3 w 13"/>
              <a:gd name="T23" fmla="*/ 11 h 13"/>
              <a:gd name="T24" fmla="*/ 5 w 13"/>
              <a:gd name="T25" fmla="*/ 12 h 13"/>
              <a:gd name="T26" fmla="*/ 7 w 13"/>
              <a:gd name="T27" fmla="*/ 13 h 13"/>
              <a:gd name="T28" fmla="*/ 9 w 13"/>
              <a:gd name="T29" fmla="*/ 12 h 13"/>
              <a:gd name="T30" fmla="*/ 10 w 13"/>
              <a:gd name="T31" fmla="*/ 13 h 13"/>
              <a:gd name="T32" fmla="*/ 13 w 13"/>
              <a:gd name="T3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13" y="12"/>
                </a:moveTo>
                <a:cubicBezTo>
                  <a:pt x="13" y="12"/>
                  <a:pt x="12" y="11"/>
                  <a:pt x="11" y="10"/>
                </a:cubicBezTo>
                <a:cubicBezTo>
                  <a:pt x="11" y="9"/>
                  <a:pt x="11" y="7"/>
                  <a:pt x="11" y="6"/>
                </a:cubicBezTo>
                <a:cubicBezTo>
                  <a:pt x="11" y="4"/>
                  <a:pt x="11" y="3"/>
                  <a:pt x="11" y="2"/>
                </a:cubicBezTo>
                <a:cubicBezTo>
                  <a:pt x="11" y="0"/>
                  <a:pt x="9" y="0"/>
                  <a:pt x="9" y="0"/>
                </a:cubicBezTo>
                <a:cubicBezTo>
                  <a:pt x="8" y="0"/>
                  <a:pt x="7" y="0"/>
                  <a:pt x="6" y="0"/>
                </a:cubicBezTo>
                <a:cubicBezTo>
                  <a:pt x="5" y="1"/>
                  <a:pt x="4" y="1"/>
                  <a:pt x="3" y="2"/>
                </a:cubicBezTo>
                <a:cubicBezTo>
                  <a:pt x="3" y="2"/>
                  <a:pt x="3" y="3"/>
                  <a:pt x="3" y="4"/>
                </a:cubicBezTo>
                <a:cubicBezTo>
                  <a:pt x="4" y="5"/>
                  <a:pt x="3" y="7"/>
                  <a:pt x="3" y="7"/>
                </a:cubicBezTo>
                <a:cubicBezTo>
                  <a:pt x="2" y="8"/>
                  <a:pt x="0" y="10"/>
                  <a:pt x="0" y="10"/>
                </a:cubicBezTo>
                <a:cubicBezTo>
                  <a:pt x="1" y="11"/>
                  <a:pt x="1" y="11"/>
                  <a:pt x="1" y="11"/>
                </a:cubicBezTo>
                <a:cubicBezTo>
                  <a:pt x="3" y="11"/>
                  <a:pt x="3" y="11"/>
                  <a:pt x="3" y="11"/>
                </a:cubicBezTo>
                <a:cubicBezTo>
                  <a:pt x="5" y="12"/>
                  <a:pt x="5" y="12"/>
                  <a:pt x="5" y="12"/>
                </a:cubicBezTo>
                <a:cubicBezTo>
                  <a:pt x="7" y="13"/>
                  <a:pt x="7" y="13"/>
                  <a:pt x="7" y="13"/>
                </a:cubicBezTo>
                <a:cubicBezTo>
                  <a:pt x="9" y="12"/>
                  <a:pt x="9" y="12"/>
                  <a:pt x="9" y="12"/>
                </a:cubicBezTo>
                <a:cubicBezTo>
                  <a:pt x="10" y="12"/>
                  <a:pt x="10" y="13"/>
                  <a:pt x="10" y="13"/>
                </a:cubicBezTo>
                <a:lnTo>
                  <a:pt x="13" y="12"/>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7" name="Finland"/>
          <p:cNvSpPr>
            <a:spLocks/>
          </p:cNvSpPr>
          <p:nvPr/>
        </p:nvSpPr>
        <p:spPr bwMode="auto">
          <a:xfrm>
            <a:off x="6673078" y="1532559"/>
            <a:ext cx="280909" cy="440962"/>
          </a:xfrm>
          <a:custGeom>
            <a:avLst/>
            <a:gdLst>
              <a:gd name="connsiteX0" fmla="*/ 82551 w 273050"/>
              <a:gd name="connsiteY0" fmla="*/ 427038 h 428625"/>
              <a:gd name="connsiteX1" fmla="*/ 85726 w 273050"/>
              <a:gd name="connsiteY1" fmla="*/ 427038 h 428625"/>
              <a:gd name="connsiteX2" fmla="*/ 84139 w 273050"/>
              <a:gd name="connsiteY2" fmla="*/ 428625 h 428625"/>
              <a:gd name="connsiteX3" fmla="*/ 80963 w 273050"/>
              <a:gd name="connsiteY3" fmla="*/ 428625 h 428625"/>
              <a:gd name="connsiteX4" fmla="*/ 82551 w 273050"/>
              <a:gd name="connsiteY4" fmla="*/ 427038 h 428625"/>
              <a:gd name="connsiteX5" fmla="*/ 14932 w 273050"/>
              <a:gd name="connsiteY5" fmla="*/ 413015 h 428625"/>
              <a:gd name="connsiteX6" fmla="*/ 16669 w 273050"/>
              <a:gd name="connsiteY6" fmla="*/ 413280 h 428625"/>
              <a:gd name="connsiteX7" fmla="*/ 20638 w 273050"/>
              <a:gd name="connsiteY7" fmla="*/ 413280 h 428625"/>
              <a:gd name="connsiteX8" fmla="*/ 20638 w 273050"/>
              <a:gd name="connsiteY8" fmla="*/ 417513 h 428625"/>
              <a:gd name="connsiteX9" fmla="*/ 16669 w 273050"/>
              <a:gd name="connsiteY9" fmla="*/ 417513 h 428625"/>
              <a:gd name="connsiteX10" fmla="*/ 14684 w 273050"/>
              <a:gd name="connsiteY10" fmla="*/ 417513 h 428625"/>
              <a:gd name="connsiteX11" fmla="*/ 14932 w 273050"/>
              <a:gd name="connsiteY11" fmla="*/ 413015 h 428625"/>
              <a:gd name="connsiteX12" fmla="*/ 26194 w 273050"/>
              <a:gd name="connsiteY12" fmla="*/ 412750 h 428625"/>
              <a:gd name="connsiteX13" fmla="*/ 30163 w 273050"/>
              <a:gd name="connsiteY13" fmla="*/ 414734 h 428625"/>
              <a:gd name="connsiteX14" fmla="*/ 28179 w 273050"/>
              <a:gd name="connsiteY14" fmla="*/ 418703 h 428625"/>
              <a:gd name="connsiteX15" fmla="*/ 26194 w 273050"/>
              <a:gd name="connsiteY15" fmla="*/ 420687 h 428625"/>
              <a:gd name="connsiteX16" fmla="*/ 22225 w 273050"/>
              <a:gd name="connsiteY16" fmla="*/ 418703 h 428625"/>
              <a:gd name="connsiteX17" fmla="*/ 24210 w 273050"/>
              <a:gd name="connsiteY17" fmla="*/ 414734 h 428625"/>
              <a:gd name="connsiteX18" fmla="*/ 26194 w 273050"/>
              <a:gd name="connsiteY18" fmla="*/ 412750 h 428625"/>
              <a:gd name="connsiteX19" fmla="*/ 51859 w 273050"/>
              <a:gd name="connsiteY19" fmla="*/ 411163 h 428625"/>
              <a:gd name="connsiteX20" fmla="*/ 53975 w 273050"/>
              <a:gd name="connsiteY20" fmla="*/ 413280 h 428625"/>
              <a:gd name="connsiteX21" fmla="*/ 53975 w 273050"/>
              <a:gd name="connsiteY21" fmla="*/ 415396 h 428625"/>
              <a:gd name="connsiteX22" fmla="*/ 49742 w 273050"/>
              <a:gd name="connsiteY22" fmla="*/ 415396 h 428625"/>
              <a:gd name="connsiteX23" fmla="*/ 49742 w 273050"/>
              <a:gd name="connsiteY23" fmla="*/ 413280 h 428625"/>
              <a:gd name="connsiteX24" fmla="*/ 51859 w 273050"/>
              <a:gd name="connsiteY24" fmla="*/ 411163 h 428625"/>
              <a:gd name="connsiteX25" fmla="*/ 46038 w 273050"/>
              <a:gd name="connsiteY25" fmla="*/ 411163 h 428625"/>
              <a:gd name="connsiteX26" fmla="*/ 48420 w 273050"/>
              <a:gd name="connsiteY26" fmla="*/ 411163 h 428625"/>
              <a:gd name="connsiteX27" fmla="*/ 48420 w 273050"/>
              <a:gd name="connsiteY27" fmla="*/ 412750 h 428625"/>
              <a:gd name="connsiteX28" fmla="*/ 46038 w 273050"/>
              <a:gd name="connsiteY28" fmla="*/ 412750 h 428625"/>
              <a:gd name="connsiteX29" fmla="*/ 46038 w 273050"/>
              <a:gd name="connsiteY29" fmla="*/ 411163 h 428625"/>
              <a:gd name="connsiteX30" fmla="*/ 10583 w 273050"/>
              <a:gd name="connsiteY30" fmla="*/ 409575 h 428625"/>
              <a:gd name="connsiteX31" fmla="*/ 12700 w 273050"/>
              <a:gd name="connsiteY31" fmla="*/ 411162 h 428625"/>
              <a:gd name="connsiteX32" fmla="*/ 12700 w 273050"/>
              <a:gd name="connsiteY32" fmla="*/ 412750 h 428625"/>
              <a:gd name="connsiteX33" fmla="*/ 8466 w 273050"/>
              <a:gd name="connsiteY33" fmla="*/ 414337 h 428625"/>
              <a:gd name="connsiteX34" fmla="*/ 6350 w 273050"/>
              <a:gd name="connsiteY34" fmla="*/ 414337 h 428625"/>
              <a:gd name="connsiteX35" fmla="*/ 6350 w 273050"/>
              <a:gd name="connsiteY35" fmla="*/ 411162 h 428625"/>
              <a:gd name="connsiteX36" fmla="*/ 10583 w 273050"/>
              <a:gd name="connsiteY36" fmla="*/ 409575 h 428625"/>
              <a:gd name="connsiteX37" fmla="*/ 55563 w 273050"/>
              <a:gd name="connsiteY37" fmla="*/ 408517 h 428625"/>
              <a:gd name="connsiteX38" fmla="*/ 59797 w 273050"/>
              <a:gd name="connsiteY38" fmla="*/ 408517 h 428625"/>
              <a:gd name="connsiteX39" fmla="*/ 59797 w 273050"/>
              <a:gd name="connsiteY39" fmla="*/ 410633 h 428625"/>
              <a:gd name="connsiteX40" fmla="*/ 57680 w 273050"/>
              <a:gd name="connsiteY40" fmla="*/ 412750 h 428625"/>
              <a:gd name="connsiteX41" fmla="*/ 55563 w 273050"/>
              <a:gd name="connsiteY41" fmla="*/ 408517 h 428625"/>
              <a:gd name="connsiteX42" fmla="*/ 41805 w 273050"/>
              <a:gd name="connsiteY42" fmla="*/ 406930 h 428625"/>
              <a:gd name="connsiteX43" fmla="*/ 43922 w 273050"/>
              <a:gd name="connsiteY43" fmla="*/ 406930 h 428625"/>
              <a:gd name="connsiteX44" fmla="*/ 46038 w 273050"/>
              <a:gd name="connsiteY44" fmla="*/ 409046 h 428625"/>
              <a:gd name="connsiteX45" fmla="*/ 43922 w 273050"/>
              <a:gd name="connsiteY45" fmla="*/ 411163 h 428625"/>
              <a:gd name="connsiteX46" fmla="*/ 39688 w 273050"/>
              <a:gd name="connsiteY46" fmla="*/ 411163 h 428625"/>
              <a:gd name="connsiteX47" fmla="*/ 41805 w 273050"/>
              <a:gd name="connsiteY47" fmla="*/ 406930 h 428625"/>
              <a:gd name="connsiteX48" fmla="*/ 30692 w 273050"/>
              <a:gd name="connsiteY48" fmla="*/ 406797 h 428625"/>
              <a:gd name="connsiteX49" fmla="*/ 32809 w 273050"/>
              <a:gd name="connsiteY49" fmla="*/ 406797 h 428625"/>
              <a:gd name="connsiteX50" fmla="*/ 34925 w 273050"/>
              <a:gd name="connsiteY50" fmla="*/ 408781 h 428625"/>
              <a:gd name="connsiteX51" fmla="*/ 32809 w 273050"/>
              <a:gd name="connsiteY51" fmla="*/ 410766 h 428625"/>
              <a:gd name="connsiteX52" fmla="*/ 32809 w 273050"/>
              <a:gd name="connsiteY52" fmla="*/ 412750 h 428625"/>
              <a:gd name="connsiteX53" fmla="*/ 30692 w 273050"/>
              <a:gd name="connsiteY53" fmla="*/ 410766 h 428625"/>
              <a:gd name="connsiteX54" fmla="*/ 30692 w 273050"/>
              <a:gd name="connsiteY54" fmla="*/ 406797 h 428625"/>
              <a:gd name="connsiteX55" fmla="*/ 2116 w 273050"/>
              <a:gd name="connsiteY55" fmla="*/ 406797 h 428625"/>
              <a:gd name="connsiteX56" fmla="*/ 4233 w 273050"/>
              <a:gd name="connsiteY56" fmla="*/ 406797 h 428625"/>
              <a:gd name="connsiteX57" fmla="*/ 6350 w 273050"/>
              <a:gd name="connsiteY57" fmla="*/ 408781 h 428625"/>
              <a:gd name="connsiteX58" fmla="*/ 4233 w 273050"/>
              <a:gd name="connsiteY58" fmla="*/ 410766 h 428625"/>
              <a:gd name="connsiteX59" fmla="*/ 0 w 273050"/>
              <a:gd name="connsiteY59" fmla="*/ 412750 h 428625"/>
              <a:gd name="connsiteX60" fmla="*/ 0 w 273050"/>
              <a:gd name="connsiteY60" fmla="*/ 408781 h 428625"/>
              <a:gd name="connsiteX61" fmla="*/ 2116 w 273050"/>
              <a:gd name="connsiteY61" fmla="*/ 406797 h 428625"/>
              <a:gd name="connsiteX62" fmla="*/ 62442 w 273050"/>
              <a:gd name="connsiteY62" fmla="*/ 404813 h 428625"/>
              <a:gd name="connsiteX63" fmla="*/ 62442 w 273050"/>
              <a:gd name="connsiteY63" fmla="*/ 407194 h 428625"/>
              <a:gd name="connsiteX64" fmla="*/ 60325 w 273050"/>
              <a:gd name="connsiteY64" fmla="*/ 407194 h 428625"/>
              <a:gd name="connsiteX65" fmla="*/ 62442 w 273050"/>
              <a:gd name="connsiteY65" fmla="*/ 404813 h 428625"/>
              <a:gd name="connsiteX66" fmla="*/ 53976 w 273050"/>
              <a:gd name="connsiteY66" fmla="*/ 404813 h 428625"/>
              <a:gd name="connsiteX67" fmla="*/ 55563 w 273050"/>
              <a:gd name="connsiteY67" fmla="*/ 409046 h 428625"/>
              <a:gd name="connsiteX68" fmla="*/ 50800 w 273050"/>
              <a:gd name="connsiteY68" fmla="*/ 409046 h 428625"/>
              <a:gd name="connsiteX69" fmla="*/ 50800 w 273050"/>
              <a:gd name="connsiteY69" fmla="*/ 406930 h 428625"/>
              <a:gd name="connsiteX70" fmla="*/ 53976 w 273050"/>
              <a:gd name="connsiteY70" fmla="*/ 404813 h 428625"/>
              <a:gd name="connsiteX71" fmla="*/ 22226 w 273050"/>
              <a:gd name="connsiteY71" fmla="*/ 404813 h 428625"/>
              <a:gd name="connsiteX72" fmla="*/ 23813 w 273050"/>
              <a:gd name="connsiteY72" fmla="*/ 406930 h 428625"/>
              <a:gd name="connsiteX73" fmla="*/ 22226 w 273050"/>
              <a:gd name="connsiteY73" fmla="*/ 409046 h 428625"/>
              <a:gd name="connsiteX74" fmla="*/ 20638 w 273050"/>
              <a:gd name="connsiteY74" fmla="*/ 409046 h 428625"/>
              <a:gd name="connsiteX75" fmla="*/ 20638 w 273050"/>
              <a:gd name="connsiteY75" fmla="*/ 406930 h 428625"/>
              <a:gd name="connsiteX76" fmla="*/ 22226 w 273050"/>
              <a:gd name="connsiteY76" fmla="*/ 404813 h 428625"/>
              <a:gd name="connsiteX77" fmla="*/ 14816 w 273050"/>
              <a:gd name="connsiteY77" fmla="*/ 404813 h 428625"/>
              <a:gd name="connsiteX78" fmla="*/ 16933 w 273050"/>
              <a:gd name="connsiteY78" fmla="*/ 404813 h 428625"/>
              <a:gd name="connsiteX79" fmla="*/ 19050 w 273050"/>
              <a:gd name="connsiteY79" fmla="*/ 407194 h 428625"/>
              <a:gd name="connsiteX80" fmla="*/ 16933 w 273050"/>
              <a:gd name="connsiteY80" fmla="*/ 409575 h 428625"/>
              <a:gd name="connsiteX81" fmla="*/ 14816 w 273050"/>
              <a:gd name="connsiteY81" fmla="*/ 409575 h 428625"/>
              <a:gd name="connsiteX82" fmla="*/ 14816 w 273050"/>
              <a:gd name="connsiteY82" fmla="*/ 404813 h 428625"/>
              <a:gd name="connsiteX83" fmla="*/ 6350 w 273050"/>
              <a:gd name="connsiteY83" fmla="*/ 403225 h 428625"/>
              <a:gd name="connsiteX84" fmla="*/ 10583 w 273050"/>
              <a:gd name="connsiteY84" fmla="*/ 405342 h 428625"/>
              <a:gd name="connsiteX85" fmla="*/ 12700 w 273050"/>
              <a:gd name="connsiteY85" fmla="*/ 407458 h 428625"/>
              <a:gd name="connsiteX86" fmla="*/ 8466 w 273050"/>
              <a:gd name="connsiteY86" fmla="*/ 407458 h 428625"/>
              <a:gd name="connsiteX87" fmla="*/ 6350 w 273050"/>
              <a:gd name="connsiteY87" fmla="*/ 405342 h 428625"/>
              <a:gd name="connsiteX88" fmla="*/ 6350 w 273050"/>
              <a:gd name="connsiteY88" fmla="*/ 403225 h 428625"/>
              <a:gd name="connsiteX89" fmla="*/ 48817 w 273050"/>
              <a:gd name="connsiteY89" fmla="*/ 398463 h 428625"/>
              <a:gd name="connsiteX90" fmla="*/ 50801 w 273050"/>
              <a:gd name="connsiteY90" fmla="*/ 400844 h 428625"/>
              <a:gd name="connsiteX91" fmla="*/ 50801 w 273050"/>
              <a:gd name="connsiteY91" fmla="*/ 403225 h 428625"/>
              <a:gd name="connsiteX92" fmla="*/ 46832 w 273050"/>
              <a:gd name="connsiteY92" fmla="*/ 403225 h 428625"/>
              <a:gd name="connsiteX93" fmla="*/ 44848 w 273050"/>
              <a:gd name="connsiteY93" fmla="*/ 400844 h 428625"/>
              <a:gd name="connsiteX94" fmla="*/ 48817 w 273050"/>
              <a:gd name="connsiteY94" fmla="*/ 398463 h 428625"/>
              <a:gd name="connsiteX95" fmla="*/ 56622 w 273050"/>
              <a:gd name="connsiteY95" fmla="*/ 396875 h 428625"/>
              <a:gd name="connsiteX96" fmla="*/ 58738 w 273050"/>
              <a:gd name="connsiteY96" fmla="*/ 401108 h 428625"/>
              <a:gd name="connsiteX97" fmla="*/ 56622 w 273050"/>
              <a:gd name="connsiteY97" fmla="*/ 403225 h 428625"/>
              <a:gd name="connsiteX98" fmla="*/ 54505 w 273050"/>
              <a:gd name="connsiteY98" fmla="*/ 401108 h 428625"/>
              <a:gd name="connsiteX99" fmla="*/ 52388 w 273050"/>
              <a:gd name="connsiteY99" fmla="*/ 401108 h 428625"/>
              <a:gd name="connsiteX100" fmla="*/ 56622 w 273050"/>
              <a:gd name="connsiteY100" fmla="*/ 396875 h 428625"/>
              <a:gd name="connsiteX101" fmla="*/ 183470 w 273050"/>
              <a:gd name="connsiteY101" fmla="*/ 0 h 428625"/>
              <a:gd name="connsiteX102" fmla="*/ 187451 w 273050"/>
              <a:gd name="connsiteY102" fmla="*/ 1995 h 428625"/>
              <a:gd name="connsiteX103" fmla="*/ 191433 w 273050"/>
              <a:gd name="connsiteY103" fmla="*/ 7982 h 428625"/>
              <a:gd name="connsiteX104" fmla="*/ 199395 w 273050"/>
              <a:gd name="connsiteY104" fmla="*/ 9977 h 428625"/>
              <a:gd name="connsiteX105" fmla="*/ 207358 w 273050"/>
              <a:gd name="connsiteY105" fmla="*/ 15964 h 428625"/>
              <a:gd name="connsiteX106" fmla="*/ 205367 w 273050"/>
              <a:gd name="connsiteY106" fmla="*/ 19955 h 428625"/>
              <a:gd name="connsiteX107" fmla="*/ 205367 w 273050"/>
              <a:gd name="connsiteY107" fmla="*/ 23946 h 428625"/>
              <a:gd name="connsiteX108" fmla="*/ 201386 w 273050"/>
              <a:gd name="connsiteY108" fmla="*/ 27937 h 428625"/>
              <a:gd name="connsiteX109" fmla="*/ 201386 w 273050"/>
              <a:gd name="connsiteY109" fmla="*/ 35919 h 428625"/>
              <a:gd name="connsiteX110" fmla="*/ 201386 w 273050"/>
              <a:gd name="connsiteY110" fmla="*/ 47892 h 428625"/>
              <a:gd name="connsiteX111" fmla="*/ 203377 w 273050"/>
              <a:gd name="connsiteY111" fmla="*/ 57869 h 428625"/>
              <a:gd name="connsiteX112" fmla="*/ 201386 w 273050"/>
              <a:gd name="connsiteY112" fmla="*/ 63856 h 428625"/>
              <a:gd name="connsiteX113" fmla="*/ 201386 w 273050"/>
              <a:gd name="connsiteY113" fmla="*/ 69842 h 428625"/>
              <a:gd name="connsiteX114" fmla="*/ 199395 w 273050"/>
              <a:gd name="connsiteY114" fmla="*/ 71838 h 428625"/>
              <a:gd name="connsiteX115" fmla="*/ 201386 w 273050"/>
              <a:gd name="connsiteY115" fmla="*/ 77824 h 428625"/>
              <a:gd name="connsiteX116" fmla="*/ 207358 w 273050"/>
              <a:gd name="connsiteY116" fmla="*/ 83811 h 428625"/>
              <a:gd name="connsiteX117" fmla="*/ 211339 w 273050"/>
              <a:gd name="connsiteY117" fmla="*/ 87802 h 428625"/>
              <a:gd name="connsiteX118" fmla="*/ 219302 w 273050"/>
              <a:gd name="connsiteY118" fmla="*/ 91793 h 428625"/>
              <a:gd name="connsiteX119" fmla="*/ 223283 w 273050"/>
              <a:gd name="connsiteY119" fmla="*/ 97779 h 428625"/>
              <a:gd name="connsiteX120" fmla="*/ 227265 w 273050"/>
              <a:gd name="connsiteY120" fmla="*/ 99775 h 428625"/>
              <a:gd name="connsiteX121" fmla="*/ 233237 w 273050"/>
              <a:gd name="connsiteY121" fmla="*/ 103766 h 428625"/>
              <a:gd name="connsiteX122" fmla="*/ 225274 w 273050"/>
              <a:gd name="connsiteY122" fmla="*/ 109752 h 428625"/>
              <a:gd name="connsiteX123" fmla="*/ 223283 w 273050"/>
              <a:gd name="connsiteY123" fmla="*/ 115739 h 428625"/>
              <a:gd name="connsiteX124" fmla="*/ 217311 w 273050"/>
              <a:gd name="connsiteY124" fmla="*/ 117734 h 428625"/>
              <a:gd name="connsiteX125" fmla="*/ 213330 w 273050"/>
              <a:gd name="connsiteY125" fmla="*/ 123721 h 428625"/>
              <a:gd name="connsiteX126" fmla="*/ 213330 w 273050"/>
              <a:gd name="connsiteY126" fmla="*/ 131703 h 428625"/>
              <a:gd name="connsiteX127" fmla="*/ 217311 w 273050"/>
              <a:gd name="connsiteY127" fmla="*/ 139685 h 428625"/>
              <a:gd name="connsiteX128" fmla="*/ 221293 w 273050"/>
              <a:gd name="connsiteY128" fmla="*/ 141680 h 428625"/>
              <a:gd name="connsiteX129" fmla="*/ 225274 w 273050"/>
              <a:gd name="connsiteY129" fmla="*/ 147667 h 428625"/>
              <a:gd name="connsiteX130" fmla="*/ 227265 w 273050"/>
              <a:gd name="connsiteY130" fmla="*/ 153653 h 428625"/>
              <a:gd name="connsiteX131" fmla="*/ 229255 w 273050"/>
              <a:gd name="connsiteY131" fmla="*/ 159640 h 428625"/>
              <a:gd name="connsiteX132" fmla="*/ 235227 w 273050"/>
              <a:gd name="connsiteY132" fmla="*/ 163631 h 428625"/>
              <a:gd name="connsiteX133" fmla="*/ 237218 w 273050"/>
              <a:gd name="connsiteY133" fmla="*/ 169617 h 428625"/>
              <a:gd name="connsiteX134" fmla="*/ 239209 w 273050"/>
              <a:gd name="connsiteY134" fmla="*/ 175604 h 428625"/>
              <a:gd name="connsiteX135" fmla="*/ 239209 w 273050"/>
              <a:gd name="connsiteY135" fmla="*/ 179595 h 428625"/>
              <a:gd name="connsiteX136" fmla="*/ 239209 w 273050"/>
              <a:gd name="connsiteY136" fmla="*/ 185581 h 428625"/>
              <a:gd name="connsiteX137" fmla="*/ 235227 w 273050"/>
              <a:gd name="connsiteY137" fmla="*/ 191568 h 428625"/>
              <a:gd name="connsiteX138" fmla="*/ 229255 w 273050"/>
              <a:gd name="connsiteY138" fmla="*/ 199550 h 428625"/>
              <a:gd name="connsiteX139" fmla="*/ 229255 w 273050"/>
              <a:gd name="connsiteY139" fmla="*/ 205536 h 428625"/>
              <a:gd name="connsiteX140" fmla="*/ 235227 w 273050"/>
              <a:gd name="connsiteY140" fmla="*/ 211523 h 428625"/>
              <a:gd name="connsiteX141" fmla="*/ 233237 w 273050"/>
              <a:gd name="connsiteY141" fmla="*/ 217509 h 428625"/>
              <a:gd name="connsiteX142" fmla="*/ 231246 w 273050"/>
              <a:gd name="connsiteY142" fmla="*/ 219505 h 428625"/>
              <a:gd name="connsiteX143" fmla="*/ 233237 w 273050"/>
              <a:gd name="connsiteY143" fmla="*/ 225491 h 428625"/>
              <a:gd name="connsiteX144" fmla="*/ 237218 w 273050"/>
              <a:gd name="connsiteY144" fmla="*/ 231478 h 428625"/>
              <a:gd name="connsiteX145" fmla="*/ 239209 w 273050"/>
              <a:gd name="connsiteY145" fmla="*/ 239460 h 428625"/>
              <a:gd name="connsiteX146" fmla="*/ 239209 w 273050"/>
              <a:gd name="connsiteY146" fmla="*/ 245446 h 428625"/>
              <a:gd name="connsiteX147" fmla="*/ 245181 w 273050"/>
              <a:gd name="connsiteY147" fmla="*/ 251433 h 428625"/>
              <a:gd name="connsiteX148" fmla="*/ 249162 w 273050"/>
              <a:gd name="connsiteY148" fmla="*/ 257419 h 428625"/>
              <a:gd name="connsiteX149" fmla="*/ 247171 w 273050"/>
              <a:gd name="connsiteY149" fmla="*/ 269392 h 428625"/>
              <a:gd name="connsiteX150" fmla="*/ 245181 w 273050"/>
              <a:gd name="connsiteY150" fmla="*/ 277374 h 428625"/>
              <a:gd name="connsiteX151" fmla="*/ 251153 w 273050"/>
              <a:gd name="connsiteY151" fmla="*/ 283361 h 428625"/>
              <a:gd name="connsiteX152" fmla="*/ 257125 w 273050"/>
              <a:gd name="connsiteY152" fmla="*/ 287352 h 428625"/>
              <a:gd name="connsiteX153" fmla="*/ 263097 w 273050"/>
              <a:gd name="connsiteY153" fmla="*/ 293338 h 428625"/>
              <a:gd name="connsiteX154" fmla="*/ 269069 w 273050"/>
              <a:gd name="connsiteY154" fmla="*/ 299325 h 428625"/>
              <a:gd name="connsiteX155" fmla="*/ 273050 w 273050"/>
              <a:gd name="connsiteY155" fmla="*/ 307307 h 428625"/>
              <a:gd name="connsiteX156" fmla="*/ 269069 w 273050"/>
              <a:gd name="connsiteY156" fmla="*/ 313293 h 428625"/>
              <a:gd name="connsiteX157" fmla="*/ 269069 w 273050"/>
              <a:gd name="connsiteY157" fmla="*/ 323271 h 428625"/>
              <a:gd name="connsiteX158" fmla="*/ 265088 w 273050"/>
              <a:gd name="connsiteY158" fmla="*/ 325266 h 428625"/>
              <a:gd name="connsiteX159" fmla="*/ 261106 w 273050"/>
              <a:gd name="connsiteY159" fmla="*/ 329257 h 428625"/>
              <a:gd name="connsiteX160" fmla="*/ 251153 w 273050"/>
              <a:gd name="connsiteY160" fmla="*/ 341230 h 428625"/>
              <a:gd name="connsiteX161" fmla="*/ 245181 w 273050"/>
              <a:gd name="connsiteY161" fmla="*/ 349212 h 428625"/>
              <a:gd name="connsiteX162" fmla="*/ 243190 w 273050"/>
              <a:gd name="connsiteY162" fmla="*/ 353203 h 428625"/>
              <a:gd name="connsiteX163" fmla="*/ 241199 w 273050"/>
              <a:gd name="connsiteY163" fmla="*/ 357194 h 428625"/>
              <a:gd name="connsiteX164" fmla="*/ 235227 w 273050"/>
              <a:gd name="connsiteY164" fmla="*/ 365176 h 428625"/>
              <a:gd name="connsiteX165" fmla="*/ 227265 w 273050"/>
              <a:gd name="connsiteY165" fmla="*/ 379145 h 428625"/>
              <a:gd name="connsiteX166" fmla="*/ 225274 w 273050"/>
              <a:gd name="connsiteY166" fmla="*/ 385131 h 428625"/>
              <a:gd name="connsiteX167" fmla="*/ 221293 w 273050"/>
              <a:gd name="connsiteY167" fmla="*/ 395109 h 428625"/>
              <a:gd name="connsiteX168" fmla="*/ 215321 w 273050"/>
              <a:gd name="connsiteY168" fmla="*/ 393113 h 428625"/>
              <a:gd name="connsiteX169" fmla="*/ 213330 w 273050"/>
              <a:gd name="connsiteY169" fmla="*/ 397104 h 428625"/>
              <a:gd name="connsiteX170" fmla="*/ 209349 w 273050"/>
              <a:gd name="connsiteY170" fmla="*/ 397104 h 428625"/>
              <a:gd name="connsiteX171" fmla="*/ 195414 w 273050"/>
              <a:gd name="connsiteY171" fmla="*/ 399100 h 428625"/>
              <a:gd name="connsiteX172" fmla="*/ 183470 w 273050"/>
              <a:gd name="connsiteY172" fmla="*/ 399100 h 428625"/>
              <a:gd name="connsiteX173" fmla="*/ 175507 w 273050"/>
              <a:gd name="connsiteY173" fmla="*/ 399100 h 428625"/>
              <a:gd name="connsiteX174" fmla="*/ 167544 w 273050"/>
              <a:gd name="connsiteY174" fmla="*/ 399100 h 428625"/>
              <a:gd name="connsiteX175" fmla="*/ 163563 w 273050"/>
              <a:gd name="connsiteY175" fmla="*/ 401095 h 428625"/>
              <a:gd name="connsiteX176" fmla="*/ 161572 w 273050"/>
              <a:gd name="connsiteY176" fmla="*/ 405086 h 428625"/>
              <a:gd name="connsiteX177" fmla="*/ 147638 w 273050"/>
              <a:gd name="connsiteY177" fmla="*/ 403091 h 428625"/>
              <a:gd name="connsiteX178" fmla="*/ 137684 w 273050"/>
              <a:gd name="connsiteY178" fmla="*/ 405086 h 428625"/>
              <a:gd name="connsiteX179" fmla="*/ 127731 w 273050"/>
              <a:gd name="connsiteY179" fmla="*/ 409077 h 428625"/>
              <a:gd name="connsiteX180" fmla="*/ 121759 w 273050"/>
              <a:gd name="connsiteY180" fmla="*/ 413069 h 428625"/>
              <a:gd name="connsiteX181" fmla="*/ 119768 w 273050"/>
              <a:gd name="connsiteY181" fmla="*/ 417060 h 428625"/>
              <a:gd name="connsiteX182" fmla="*/ 115787 w 273050"/>
              <a:gd name="connsiteY182" fmla="*/ 417060 h 428625"/>
              <a:gd name="connsiteX183" fmla="*/ 113796 w 273050"/>
              <a:gd name="connsiteY183" fmla="*/ 415064 h 428625"/>
              <a:gd name="connsiteX184" fmla="*/ 105834 w 273050"/>
              <a:gd name="connsiteY184" fmla="*/ 415064 h 428625"/>
              <a:gd name="connsiteX185" fmla="*/ 101852 w 273050"/>
              <a:gd name="connsiteY185" fmla="*/ 415064 h 428625"/>
              <a:gd name="connsiteX186" fmla="*/ 99862 w 273050"/>
              <a:gd name="connsiteY186" fmla="*/ 421051 h 428625"/>
              <a:gd name="connsiteX187" fmla="*/ 95880 w 273050"/>
              <a:gd name="connsiteY187" fmla="*/ 425042 h 428625"/>
              <a:gd name="connsiteX188" fmla="*/ 87918 w 273050"/>
              <a:gd name="connsiteY188" fmla="*/ 425042 h 428625"/>
              <a:gd name="connsiteX189" fmla="*/ 79955 w 273050"/>
              <a:gd name="connsiteY189" fmla="*/ 421051 h 428625"/>
              <a:gd name="connsiteX190" fmla="*/ 71992 w 273050"/>
              <a:gd name="connsiteY190" fmla="*/ 417060 h 428625"/>
              <a:gd name="connsiteX191" fmla="*/ 66020 w 273050"/>
              <a:gd name="connsiteY191" fmla="*/ 415064 h 428625"/>
              <a:gd name="connsiteX192" fmla="*/ 68011 w 273050"/>
              <a:gd name="connsiteY192" fmla="*/ 411073 h 428625"/>
              <a:gd name="connsiteX193" fmla="*/ 73983 w 273050"/>
              <a:gd name="connsiteY193" fmla="*/ 409077 h 428625"/>
              <a:gd name="connsiteX194" fmla="*/ 77964 w 273050"/>
              <a:gd name="connsiteY194" fmla="*/ 411073 h 428625"/>
              <a:gd name="connsiteX195" fmla="*/ 79955 w 273050"/>
              <a:gd name="connsiteY195" fmla="*/ 415064 h 428625"/>
              <a:gd name="connsiteX196" fmla="*/ 83936 w 273050"/>
              <a:gd name="connsiteY196" fmla="*/ 411073 h 428625"/>
              <a:gd name="connsiteX197" fmla="*/ 81945 w 273050"/>
              <a:gd name="connsiteY197" fmla="*/ 405086 h 428625"/>
              <a:gd name="connsiteX198" fmla="*/ 79955 w 273050"/>
              <a:gd name="connsiteY198" fmla="*/ 401095 h 428625"/>
              <a:gd name="connsiteX199" fmla="*/ 73983 w 273050"/>
              <a:gd name="connsiteY199" fmla="*/ 405086 h 428625"/>
              <a:gd name="connsiteX200" fmla="*/ 70001 w 273050"/>
              <a:gd name="connsiteY200" fmla="*/ 403091 h 428625"/>
              <a:gd name="connsiteX201" fmla="*/ 66020 w 273050"/>
              <a:gd name="connsiteY201" fmla="*/ 401095 h 428625"/>
              <a:gd name="connsiteX202" fmla="*/ 60048 w 273050"/>
              <a:gd name="connsiteY202" fmla="*/ 395109 h 428625"/>
              <a:gd name="connsiteX203" fmla="*/ 46113 w 273050"/>
              <a:gd name="connsiteY203" fmla="*/ 395109 h 428625"/>
              <a:gd name="connsiteX204" fmla="*/ 42132 w 273050"/>
              <a:gd name="connsiteY204" fmla="*/ 393113 h 428625"/>
              <a:gd name="connsiteX205" fmla="*/ 44123 w 273050"/>
              <a:gd name="connsiteY205" fmla="*/ 385131 h 428625"/>
              <a:gd name="connsiteX206" fmla="*/ 42132 w 273050"/>
              <a:gd name="connsiteY206" fmla="*/ 381140 h 428625"/>
              <a:gd name="connsiteX207" fmla="*/ 40141 w 273050"/>
              <a:gd name="connsiteY207" fmla="*/ 371163 h 428625"/>
              <a:gd name="connsiteX208" fmla="*/ 36160 w 273050"/>
              <a:gd name="connsiteY208" fmla="*/ 361185 h 428625"/>
              <a:gd name="connsiteX209" fmla="*/ 36160 w 273050"/>
              <a:gd name="connsiteY209" fmla="*/ 353203 h 428625"/>
              <a:gd name="connsiteX210" fmla="*/ 34169 w 273050"/>
              <a:gd name="connsiteY210" fmla="*/ 337239 h 428625"/>
              <a:gd name="connsiteX211" fmla="*/ 36160 w 273050"/>
              <a:gd name="connsiteY211" fmla="*/ 329257 h 428625"/>
              <a:gd name="connsiteX212" fmla="*/ 36160 w 273050"/>
              <a:gd name="connsiteY212" fmla="*/ 319280 h 428625"/>
              <a:gd name="connsiteX213" fmla="*/ 32179 w 273050"/>
              <a:gd name="connsiteY213" fmla="*/ 311298 h 428625"/>
              <a:gd name="connsiteX214" fmla="*/ 30188 w 273050"/>
              <a:gd name="connsiteY214" fmla="*/ 305311 h 428625"/>
              <a:gd name="connsiteX215" fmla="*/ 30188 w 273050"/>
              <a:gd name="connsiteY215" fmla="*/ 301320 h 428625"/>
              <a:gd name="connsiteX216" fmla="*/ 32179 w 273050"/>
              <a:gd name="connsiteY216" fmla="*/ 291343 h 428625"/>
              <a:gd name="connsiteX217" fmla="*/ 36160 w 273050"/>
              <a:gd name="connsiteY217" fmla="*/ 285356 h 428625"/>
              <a:gd name="connsiteX218" fmla="*/ 44123 w 273050"/>
              <a:gd name="connsiteY218" fmla="*/ 279370 h 428625"/>
              <a:gd name="connsiteX219" fmla="*/ 50095 w 273050"/>
              <a:gd name="connsiteY219" fmla="*/ 275379 h 428625"/>
              <a:gd name="connsiteX220" fmla="*/ 56067 w 273050"/>
              <a:gd name="connsiteY220" fmla="*/ 269392 h 428625"/>
              <a:gd name="connsiteX221" fmla="*/ 60048 w 273050"/>
              <a:gd name="connsiteY221" fmla="*/ 263406 h 428625"/>
              <a:gd name="connsiteX222" fmla="*/ 62039 w 273050"/>
              <a:gd name="connsiteY222" fmla="*/ 259415 h 428625"/>
              <a:gd name="connsiteX223" fmla="*/ 64029 w 273050"/>
              <a:gd name="connsiteY223" fmla="*/ 253428 h 428625"/>
              <a:gd name="connsiteX224" fmla="*/ 71992 w 273050"/>
              <a:gd name="connsiteY224" fmla="*/ 255424 h 428625"/>
              <a:gd name="connsiteX225" fmla="*/ 77964 w 273050"/>
              <a:gd name="connsiteY225" fmla="*/ 251433 h 428625"/>
              <a:gd name="connsiteX226" fmla="*/ 83936 w 273050"/>
              <a:gd name="connsiteY226" fmla="*/ 245446 h 428625"/>
              <a:gd name="connsiteX227" fmla="*/ 89908 w 273050"/>
              <a:gd name="connsiteY227" fmla="*/ 235469 h 428625"/>
              <a:gd name="connsiteX228" fmla="*/ 99862 w 273050"/>
              <a:gd name="connsiteY228" fmla="*/ 227487 h 428625"/>
              <a:gd name="connsiteX229" fmla="*/ 101852 w 273050"/>
              <a:gd name="connsiteY229" fmla="*/ 221500 h 428625"/>
              <a:gd name="connsiteX230" fmla="*/ 107824 w 273050"/>
              <a:gd name="connsiteY230" fmla="*/ 209527 h 428625"/>
              <a:gd name="connsiteX231" fmla="*/ 121759 w 273050"/>
              <a:gd name="connsiteY231" fmla="*/ 205536 h 428625"/>
              <a:gd name="connsiteX232" fmla="*/ 121759 w 273050"/>
              <a:gd name="connsiteY232" fmla="*/ 197554 h 428625"/>
              <a:gd name="connsiteX233" fmla="*/ 121759 w 273050"/>
              <a:gd name="connsiteY233" fmla="*/ 193563 h 428625"/>
              <a:gd name="connsiteX234" fmla="*/ 123750 w 273050"/>
              <a:gd name="connsiteY234" fmla="*/ 189572 h 428625"/>
              <a:gd name="connsiteX235" fmla="*/ 121759 w 273050"/>
              <a:gd name="connsiteY235" fmla="*/ 181590 h 428625"/>
              <a:gd name="connsiteX236" fmla="*/ 117778 w 273050"/>
              <a:gd name="connsiteY236" fmla="*/ 173608 h 428625"/>
              <a:gd name="connsiteX237" fmla="*/ 111806 w 273050"/>
              <a:gd name="connsiteY237" fmla="*/ 171613 h 428625"/>
              <a:gd name="connsiteX238" fmla="*/ 107824 w 273050"/>
              <a:gd name="connsiteY238" fmla="*/ 165626 h 428625"/>
              <a:gd name="connsiteX239" fmla="*/ 99862 w 273050"/>
              <a:gd name="connsiteY239" fmla="*/ 165626 h 428625"/>
              <a:gd name="connsiteX240" fmla="*/ 91899 w 273050"/>
              <a:gd name="connsiteY240" fmla="*/ 165626 h 428625"/>
              <a:gd name="connsiteX241" fmla="*/ 89908 w 273050"/>
              <a:gd name="connsiteY241" fmla="*/ 163631 h 428625"/>
              <a:gd name="connsiteX242" fmla="*/ 87918 w 273050"/>
              <a:gd name="connsiteY242" fmla="*/ 139685 h 428625"/>
              <a:gd name="connsiteX243" fmla="*/ 83936 w 273050"/>
              <a:gd name="connsiteY243" fmla="*/ 125716 h 428625"/>
              <a:gd name="connsiteX244" fmla="*/ 83936 w 273050"/>
              <a:gd name="connsiteY244" fmla="*/ 113743 h 428625"/>
              <a:gd name="connsiteX245" fmla="*/ 79955 w 273050"/>
              <a:gd name="connsiteY245" fmla="*/ 101770 h 428625"/>
              <a:gd name="connsiteX246" fmla="*/ 77964 w 273050"/>
              <a:gd name="connsiteY246" fmla="*/ 81815 h 428625"/>
              <a:gd name="connsiteX247" fmla="*/ 48104 w 273050"/>
              <a:gd name="connsiteY247" fmla="*/ 61860 h 428625"/>
              <a:gd name="connsiteX248" fmla="*/ 36160 w 273050"/>
              <a:gd name="connsiteY248" fmla="*/ 53878 h 428625"/>
              <a:gd name="connsiteX249" fmla="*/ 22225 w 273050"/>
              <a:gd name="connsiteY249" fmla="*/ 47892 h 428625"/>
              <a:gd name="connsiteX250" fmla="*/ 22225 w 273050"/>
              <a:gd name="connsiteY250" fmla="*/ 39910 h 428625"/>
              <a:gd name="connsiteX251" fmla="*/ 24216 w 273050"/>
              <a:gd name="connsiteY251" fmla="*/ 37914 h 428625"/>
              <a:gd name="connsiteX252" fmla="*/ 26207 w 273050"/>
              <a:gd name="connsiteY252" fmla="*/ 33923 h 428625"/>
              <a:gd name="connsiteX253" fmla="*/ 28197 w 273050"/>
              <a:gd name="connsiteY253" fmla="*/ 29932 h 428625"/>
              <a:gd name="connsiteX254" fmla="*/ 32179 w 273050"/>
              <a:gd name="connsiteY254" fmla="*/ 23946 h 428625"/>
              <a:gd name="connsiteX255" fmla="*/ 36160 w 273050"/>
              <a:gd name="connsiteY255" fmla="*/ 23946 h 428625"/>
              <a:gd name="connsiteX256" fmla="*/ 42132 w 273050"/>
              <a:gd name="connsiteY256" fmla="*/ 23946 h 428625"/>
              <a:gd name="connsiteX257" fmla="*/ 44123 w 273050"/>
              <a:gd name="connsiteY257" fmla="*/ 31928 h 428625"/>
              <a:gd name="connsiteX258" fmla="*/ 48104 w 273050"/>
              <a:gd name="connsiteY258" fmla="*/ 37914 h 428625"/>
              <a:gd name="connsiteX259" fmla="*/ 52085 w 273050"/>
              <a:gd name="connsiteY259" fmla="*/ 45896 h 428625"/>
              <a:gd name="connsiteX260" fmla="*/ 56067 w 273050"/>
              <a:gd name="connsiteY260" fmla="*/ 53878 h 428625"/>
              <a:gd name="connsiteX261" fmla="*/ 62039 w 273050"/>
              <a:gd name="connsiteY261" fmla="*/ 57869 h 428625"/>
              <a:gd name="connsiteX262" fmla="*/ 68011 w 273050"/>
              <a:gd name="connsiteY262" fmla="*/ 55874 h 428625"/>
              <a:gd name="connsiteX263" fmla="*/ 71992 w 273050"/>
              <a:gd name="connsiteY263" fmla="*/ 57869 h 428625"/>
              <a:gd name="connsiteX264" fmla="*/ 79955 w 273050"/>
              <a:gd name="connsiteY264" fmla="*/ 57869 h 428625"/>
              <a:gd name="connsiteX265" fmla="*/ 85927 w 273050"/>
              <a:gd name="connsiteY265" fmla="*/ 55874 h 428625"/>
              <a:gd name="connsiteX266" fmla="*/ 91899 w 273050"/>
              <a:gd name="connsiteY266" fmla="*/ 51883 h 428625"/>
              <a:gd name="connsiteX267" fmla="*/ 103843 w 273050"/>
              <a:gd name="connsiteY267" fmla="*/ 53878 h 428625"/>
              <a:gd name="connsiteX268" fmla="*/ 107824 w 273050"/>
              <a:gd name="connsiteY268" fmla="*/ 57869 h 428625"/>
              <a:gd name="connsiteX269" fmla="*/ 113796 w 273050"/>
              <a:gd name="connsiteY269" fmla="*/ 59865 h 428625"/>
              <a:gd name="connsiteX270" fmla="*/ 117778 w 273050"/>
              <a:gd name="connsiteY270" fmla="*/ 61860 h 428625"/>
              <a:gd name="connsiteX271" fmla="*/ 121759 w 273050"/>
              <a:gd name="connsiteY271" fmla="*/ 57869 h 428625"/>
              <a:gd name="connsiteX272" fmla="*/ 121759 w 273050"/>
              <a:gd name="connsiteY272" fmla="*/ 51883 h 428625"/>
              <a:gd name="connsiteX273" fmla="*/ 127731 w 273050"/>
              <a:gd name="connsiteY273" fmla="*/ 45896 h 428625"/>
              <a:gd name="connsiteX274" fmla="*/ 135694 w 273050"/>
              <a:gd name="connsiteY274" fmla="*/ 41905 h 428625"/>
              <a:gd name="connsiteX275" fmla="*/ 133703 w 273050"/>
              <a:gd name="connsiteY275" fmla="*/ 35919 h 428625"/>
              <a:gd name="connsiteX276" fmla="*/ 131712 w 273050"/>
              <a:gd name="connsiteY276" fmla="*/ 29932 h 428625"/>
              <a:gd name="connsiteX277" fmla="*/ 135694 w 273050"/>
              <a:gd name="connsiteY277" fmla="*/ 23946 h 428625"/>
              <a:gd name="connsiteX278" fmla="*/ 139675 w 273050"/>
              <a:gd name="connsiteY278" fmla="*/ 19955 h 428625"/>
              <a:gd name="connsiteX279" fmla="*/ 141666 w 273050"/>
              <a:gd name="connsiteY279" fmla="*/ 15964 h 428625"/>
              <a:gd name="connsiteX280" fmla="*/ 145647 w 273050"/>
              <a:gd name="connsiteY280" fmla="*/ 15964 h 428625"/>
              <a:gd name="connsiteX281" fmla="*/ 147638 w 273050"/>
              <a:gd name="connsiteY281" fmla="*/ 11973 h 428625"/>
              <a:gd name="connsiteX282" fmla="*/ 157591 w 273050"/>
              <a:gd name="connsiteY282" fmla="*/ 9977 h 428625"/>
              <a:gd name="connsiteX283" fmla="*/ 163563 w 273050"/>
              <a:gd name="connsiteY283" fmla="*/ 7982 h 428625"/>
              <a:gd name="connsiteX284" fmla="*/ 171526 w 273050"/>
              <a:gd name="connsiteY284" fmla="*/ 11973 h 428625"/>
              <a:gd name="connsiteX285" fmla="*/ 175507 w 273050"/>
              <a:gd name="connsiteY285" fmla="*/ 7982 h 428625"/>
              <a:gd name="connsiteX286" fmla="*/ 177498 w 273050"/>
              <a:gd name="connsiteY286" fmla="*/ 1995 h 428625"/>
              <a:gd name="connsiteX287" fmla="*/ 183470 w 273050"/>
              <a:gd name="connsiteY287"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273050" h="428625">
                <a:moveTo>
                  <a:pt x="82551" y="427038"/>
                </a:moveTo>
                <a:cubicBezTo>
                  <a:pt x="84139" y="427038"/>
                  <a:pt x="84139" y="427038"/>
                  <a:pt x="85726" y="427038"/>
                </a:cubicBezTo>
                <a:cubicBezTo>
                  <a:pt x="85726" y="428625"/>
                  <a:pt x="84139" y="428625"/>
                  <a:pt x="84139" y="428625"/>
                </a:cubicBezTo>
                <a:cubicBezTo>
                  <a:pt x="84139" y="428625"/>
                  <a:pt x="80963" y="428625"/>
                  <a:pt x="80963" y="428625"/>
                </a:cubicBezTo>
                <a:cubicBezTo>
                  <a:pt x="80963" y="427038"/>
                  <a:pt x="80963" y="427038"/>
                  <a:pt x="82551" y="427038"/>
                </a:cubicBezTo>
                <a:close/>
                <a:moveTo>
                  <a:pt x="14932" y="413015"/>
                </a:moveTo>
                <a:cubicBezTo>
                  <a:pt x="15677" y="412751"/>
                  <a:pt x="16669" y="413280"/>
                  <a:pt x="16669" y="413280"/>
                </a:cubicBezTo>
                <a:cubicBezTo>
                  <a:pt x="18653" y="411163"/>
                  <a:pt x="20638" y="411163"/>
                  <a:pt x="20638" y="413280"/>
                </a:cubicBezTo>
                <a:cubicBezTo>
                  <a:pt x="20638" y="413280"/>
                  <a:pt x="20638" y="415396"/>
                  <a:pt x="20638" y="417513"/>
                </a:cubicBezTo>
                <a:cubicBezTo>
                  <a:pt x="20638" y="417513"/>
                  <a:pt x="18653" y="417513"/>
                  <a:pt x="16669" y="417513"/>
                </a:cubicBezTo>
                <a:cubicBezTo>
                  <a:pt x="16669" y="417513"/>
                  <a:pt x="14684" y="417513"/>
                  <a:pt x="14684" y="417513"/>
                </a:cubicBezTo>
                <a:cubicBezTo>
                  <a:pt x="13692" y="414338"/>
                  <a:pt x="14188" y="413280"/>
                  <a:pt x="14932" y="413015"/>
                </a:cubicBezTo>
                <a:close/>
                <a:moveTo>
                  <a:pt x="26194" y="412750"/>
                </a:moveTo>
                <a:cubicBezTo>
                  <a:pt x="28179" y="414734"/>
                  <a:pt x="30163" y="414734"/>
                  <a:pt x="30163" y="414734"/>
                </a:cubicBezTo>
                <a:cubicBezTo>
                  <a:pt x="30163" y="416719"/>
                  <a:pt x="28179" y="418703"/>
                  <a:pt x="28179" y="418703"/>
                </a:cubicBezTo>
                <a:cubicBezTo>
                  <a:pt x="28179" y="418703"/>
                  <a:pt x="26194" y="420687"/>
                  <a:pt x="26194" y="420687"/>
                </a:cubicBezTo>
                <a:cubicBezTo>
                  <a:pt x="26194" y="420687"/>
                  <a:pt x="24210" y="420687"/>
                  <a:pt x="22225" y="418703"/>
                </a:cubicBezTo>
                <a:cubicBezTo>
                  <a:pt x="22225" y="416719"/>
                  <a:pt x="22225" y="416719"/>
                  <a:pt x="24210" y="414734"/>
                </a:cubicBezTo>
                <a:cubicBezTo>
                  <a:pt x="24210" y="414734"/>
                  <a:pt x="24210" y="412750"/>
                  <a:pt x="26194" y="412750"/>
                </a:cubicBezTo>
                <a:close/>
                <a:moveTo>
                  <a:pt x="51859" y="411163"/>
                </a:moveTo>
                <a:cubicBezTo>
                  <a:pt x="53975" y="413280"/>
                  <a:pt x="53975" y="413280"/>
                  <a:pt x="53975" y="413280"/>
                </a:cubicBezTo>
                <a:cubicBezTo>
                  <a:pt x="53975" y="415396"/>
                  <a:pt x="53975" y="415396"/>
                  <a:pt x="53975" y="415396"/>
                </a:cubicBezTo>
                <a:cubicBezTo>
                  <a:pt x="53975" y="415396"/>
                  <a:pt x="49742" y="417513"/>
                  <a:pt x="49742" y="415396"/>
                </a:cubicBezTo>
                <a:cubicBezTo>
                  <a:pt x="49742" y="413280"/>
                  <a:pt x="47625" y="413280"/>
                  <a:pt x="49742" y="413280"/>
                </a:cubicBezTo>
                <a:cubicBezTo>
                  <a:pt x="49742" y="411163"/>
                  <a:pt x="51859" y="411163"/>
                  <a:pt x="51859" y="411163"/>
                </a:cubicBezTo>
                <a:close/>
                <a:moveTo>
                  <a:pt x="46038" y="411163"/>
                </a:moveTo>
                <a:cubicBezTo>
                  <a:pt x="48420" y="411163"/>
                  <a:pt x="50801" y="411163"/>
                  <a:pt x="48420" y="411163"/>
                </a:cubicBezTo>
                <a:cubicBezTo>
                  <a:pt x="48420" y="412750"/>
                  <a:pt x="48420" y="412750"/>
                  <a:pt x="48420" y="412750"/>
                </a:cubicBezTo>
                <a:cubicBezTo>
                  <a:pt x="46038" y="412750"/>
                  <a:pt x="46038" y="412750"/>
                  <a:pt x="46038" y="412750"/>
                </a:cubicBezTo>
                <a:cubicBezTo>
                  <a:pt x="46038" y="411163"/>
                  <a:pt x="46038" y="411163"/>
                  <a:pt x="46038" y="411163"/>
                </a:cubicBezTo>
                <a:close/>
                <a:moveTo>
                  <a:pt x="10583" y="409575"/>
                </a:moveTo>
                <a:cubicBezTo>
                  <a:pt x="12700" y="411162"/>
                  <a:pt x="12700" y="409575"/>
                  <a:pt x="12700" y="411162"/>
                </a:cubicBezTo>
                <a:cubicBezTo>
                  <a:pt x="12700" y="412750"/>
                  <a:pt x="12700" y="412750"/>
                  <a:pt x="12700" y="412750"/>
                </a:cubicBezTo>
                <a:cubicBezTo>
                  <a:pt x="12700" y="412750"/>
                  <a:pt x="8466" y="412750"/>
                  <a:pt x="8466" y="414337"/>
                </a:cubicBezTo>
                <a:cubicBezTo>
                  <a:pt x="8466" y="414337"/>
                  <a:pt x="6350" y="414337"/>
                  <a:pt x="6350" y="414337"/>
                </a:cubicBezTo>
                <a:cubicBezTo>
                  <a:pt x="6350" y="412750"/>
                  <a:pt x="6350" y="412750"/>
                  <a:pt x="6350" y="411162"/>
                </a:cubicBezTo>
                <a:cubicBezTo>
                  <a:pt x="8466" y="409575"/>
                  <a:pt x="8466" y="409575"/>
                  <a:pt x="10583" y="409575"/>
                </a:cubicBezTo>
                <a:close/>
                <a:moveTo>
                  <a:pt x="55563" y="408517"/>
                </a:moveTo>
                <a:cubicBezTo>
                  <a:pt x="57680" y="406400"/>
                  <a:pt x="59797" y="406400"/>
                  <a:pt x="59797" y="408517"/>
                </a:cubicBezTo>
                <a:cubicBezTo>
                  <a:pt x="61913" y="408517"/>
                  <a:pt x="59797" y="410633"/>
                  <a:pt x="59797" y="410633"/>
                </a:cubicBezTo>
                <a:cubicBezTo>
                  <a:pt x="59797" y="410633"/>
                  <a:pt x="57680" y="412750"/>
                  <a:pt x="57680" y="412750"/>
                </a:cubicBezTo>
                <a:cubicBezTo>
                  <a:pt x="55563" y="410633"/>
                  <a:pt x="55563" y="408517"/>
                  <a:pt x="55563" y="408517"/>
                </a:cubicBezTo>
                <a:close/>
                <a:moveTo>
                  <a:pt x="41805" y="406930"/>
                </a:moveTo>
                <a:cubicBezTo>
                  <a:pt x="41805" y="404813"/>
                  <a:pt x="43922" y="406930"/>
                  <a:pt x="43922" y="406930"/>
                </a:cubicBezTo>
                <a:cubicBezTo>
                  <a:pt x="46038" y="409046"/>
                  <a:pt x="46038" y="409046"/>
                  <a:pt x="46038" y="409046"/>
                </a:cubicBezTo>
                <a:cubicBezTo>
                  <a:pt x="43922" y="411163"/>
                  <a:pt x="43922" y="411163"/>
                  <a:pt x="43922" y="411163"/>
                </a:cubicBezTo>
                <a:cubicBezTo>
                  <a:pt x="41805" y="411163"/>
                  <a:pt x="39688" y="411163"/>
                  <a:pt x="39688" y="411163"/>
                </a:cubicBezTo>
                <a:cubicBezTo>
                  <a:pt x="39688" y="409046"/>
                  <a:pt x="39688" y="406930"/>
                  <a:pt x="41805" y="406930"/>
                </a:cubicBezTo>
                <a:close/>
                <a:moveTo>
                  <a:pt x="30692" y="406797"/>
                </a:moveTo>
                <a:cubicBezTo>
                  <a:pt x="30692" y="406797"/>
                  <a:pt x="32809" y="404813"/>
                  <a:pt x="32809" y="406797"/>
                </a:cubicBezTo>
                <a:cubicBezTo>
                  <a:pt x="32809" y="406797"/>
                  <a:pt x="34925" y="406797"/>
                  <a:pt x="34925" y="408781"/>
                </a:cubicBezTo>
                <a:cubicBezTo>
                  <a:pt x="34925" y="408781"/>
                  <a:pt x="34925" y="410766"/>
                  <a:pt x="32809" y="410766"/>
                </a:cubicBezTo>
                <a:cubicBezTo>
                  <a:pt x="32809" y="412750"/>
                  <a:pt x="32809" y="412750"/>
                  <a:pt x="32809" y="412750"/>
                </a:cubicBezTo>
                <a:cubicBezTo>
                  <a:pt x="32809" y="412750"/>
                  <a:pt x="30692" y="412750"/>
                  <a:pt x="30692" y="410766"/>
                </a:cubicBezTo>
                <a:cubicBezTo>
                  <a:pt x="28575" y="408781"/>
                  <a:pt x="28575" y="408781"/>
                  <a:pt x="30692" y="406797"/>
                </a:cubicBezTo>
                <a:close/>
                <a:moveTo>
                  <a:pt x="2116" y="406797"/>
                </a:moveTo>
                <a:cubicBezTo>
                  <a:pt x="2116" y="404813"/>
                  <a:pt x="4233" y="404813"/>
                  <a:pt x="4233" y="406797"/>
                </a:cubicBezTo>
                <a:cubicBezTo>
                  <a:pt x="6350" y="406797"/>
                  <a:pt x="6350" y="408781"/>
                  <a:pt x="6350" y="408781"/>
                </a:cubicBezTo>
                <a:cubicBezTo>
                  <a:pt x="6350" y="408781"/>
                  <a:pt x="4233" y="410766"/>
                  <a:pt x="4233" y="410766"/>
                </a:cubicBezTo>
                <a:cubicBezTo>
                  <a:pt x="4233" y="410766"/>
                  <a:pt x="2116" y="412750"/>
                  <a:pt x="0" y="412750"/>
                </a:cubicBezTo>
                <a:cubicBezTo>
                  <a:pt x="0" y="410766"/>
                  <a:pt x="0" y="410766"/>
                  <a:pt x="0" y="408781"/>
                </a:cubicBezTo>
                <a:cubicBezTo>
                  <a:pt x="0" y="408781"/>
                  <a:pt x="0" y="406797"/>
                  <a:pt x="2116" y="406797"/>
                </a:cubicBezTo>
                <a:close/>
                <a:moveTo>
                  <a:pt x="62442" y="404813"/>
                </a:moveTo>
                <a:cubicBezTo>
                  <a:pt x="66675" y="404813"/>
                  <a:pt x="64559" y="409575"/>
                  <a:pt x="62442" y="407194"/>
                </a:cubicBezTo>
                <a:cubicBezTo>
                  <a:pt x="62442" y="407194"/>
                  <a:pt x="60325" y="407194"/>
                  <a:pt x="60325" y="407194"/>
                </a:cubicBezTo>
                <a:cubicBezTo>
                  <a:pt x="60325" y="404813"/>
                  <a:pt x="60325" y="404813"/>
                  <a:pt x="62442" y="404813"/>
                </a:cubicBezTo>
                <a:close/>
                <a:moveTo>
                  <a:pt x="53976" y="404813"/>
                </a:moveTo>
                <a:cubicBezTo>
                  <a:pt x="55563" y="406930"/>
                  <a:pt x="55563" y="406930"/>
                  <a:pt x="55563" y="409046"/>
                </a:cubicBezTo>
                <a:cubicBezTo>
                  <a:pt x="53976" y="411163"/>
                  <a:pt x="53976" y="411163"/>
                  <a:pt x="50800" y="409046"/>
                </a:cubicBezTo>
                <a:cubicBezTo>
                  <a:pt x="50800" y="409046"/>
                  <a:pt x="50800" y="406930"/>
                  <a:pt x="50800" y="406930"/>
                </a:cubicBezTo>
                <a:cubicBezTo>
                  <a:pt x="52388" y="404813"/>
                  <a:pt x="53976" y="404813"/>
                  <a:pt x="53976" y="404813"/>
                </a:cubicBezTo>
                <a:close/>
                <a:moveTo>
                  <a:pt x="22226" y="404813"/>
                </a:moveTo>
                <a:cubicBezTo>
                  <a:pt x="22226" y="404813"/>
                  <a:pt x="23813" y="404813"/>
                  <a:pt x="23813" y="406930"/>
                </a:cubicBezTo>
                <a:cubicBezTo>
                  <a:pt x="23813" y="409046"/>
                  <a:pt x="22226" y="409046"/>
                  <a:pt x="22226" y="409046"/>
                </a:cubicBezTo>
                <a:cubicBezTo>
                  <a:pt x="22226" y="411163"/>
                  <a:pt x="20638" y="411163"/>
                  <a:pt x="20638" y="409046"/>
                </a:cubicBezTo>
                <a:cubicBezTo>
                  <a:pt x="20638" y="409046"/>
                  <a:pt x="20638" y="406930"/>
                  <a:pt x="20638" y="406930"/>
                </a:cubicBezTo>
                <a:cubicBezTo>
                  <a:pt x="20638" y="404813"/>
                  <a:pt x="20638" y="404813"/>
                  <a:pt x="22226" y="404813"/>
                </a:cubicBezTo>
                <a:close/>
                <a:moveTo>
                  <a:pt x="14816" y="404813"/>
                </a:moveTo>
                <a:cubicBezTo>
                  <a:pt x="14816" y="404813"/>
                  <a:pt x="16933" y="404813"/>
                  <a:pt x="16933" y="404813"/>
                </a:cubicBezTo>
                <a:cubicBezTo>
                  <a:pt x="16933" y="404813"/>
                  <a:pt x="19050" y="404813"/>
                  <a:pt x="19050" y="407194"/>
                </a:cubicBezTo>
                <a:cubicBezTo>
                  <a:pt x="19050" y="407194"/>
                  <a:pt x="16933" y="409575"/>
                  <a:pt x="16933" y="409575"/>
                </a:cubicBezTo>
                <a:cubicBezTo>
                  <a:pt x="16933" y="409575"/>
                  <a:pt x="14816" y="409575"/>
                  <a:pt x="14816" y="409575"/>
                </a:cubicBezTo>
                <a:cubicBezTo>
                  <a:pt x="14816" y="407194"/>
                  <a:pt x="12700" y="407194"/>
                  <a:pt x="14816" y="404813"/>
                </a:cubicBezTo>
                <a:close/>
                <a:moveTo>
                  <a:pt x="6350" y="403225"/>
                </a:moveTo>
                <a:cubicBezTo>
                  <a:pt x="8466" y="403225"/>
                  <a:pt x="10583" y="405342"/>
                  <a:pt x="10583" y="405342"/>
                </a:cubicBezTo>
                <a:cubicBezTo>
                  <a:pt x="12700" y="405342"/>
                  <a:pt x="12700" y="405342"/>
                  <a:pt x="12700" y="407458"/>
                </a:cubicBezTo>
                <a:cubicBezTo>
                  <a:pt x="12700" y="409575"/>
                  <a:pt x="8466" y="407458"/>
                  <a:pt x="8466" y="407458"/>
                </a:cubicBezTo>
                <a:cubicBezTo>
                  <a:pt x="8466" y="407458"/>
                  <a:pt x="8466" y="407458"/>
                  <a:pt x="6350" y="405342"/>
                </a:cubicBezTo>
                <a:cubicBezTo>
                  <a:pt x="6350" y="405342"/>
                  <a:pt x="6350" y="403225"/>
                  <a:pt x="6350" y="403225"/>
                </a:cubicBezTo>
                <a:close/>
                <a:moveTo>
                  <a:pt x="48817" y="398463"/>
                </a:moveTo>
                <a:cubicBezTo>
                  <a:pt x="48817" y="398463"/>
                  <a:pt x="50801" y="400844"/>
                  <a:pt x="50801" y="400844"/>
                </a:cubicBezTo>
                <a:cubicBezTo>
                  <a:pt x="50801" y="400844"/>
                  <a:pt x="50801" y="403225"/>
                  <a:pt x="50801" y="403225"/>
                </a:cubicBezTo>
                <a:cubicBezTo>
                  <a:pt x="48817" y="403225"/>
                  <a:pt x="46832" y="403225"/>
                  <a:pt x="46832" y="403225"/>
                </a:cubicBezTo>
                <a:cubicBezTo>
                  <a:pt x="44848" y="403225"/>
                  <a:pt x="42863" y="400844"/>
                  <a:pt x="44848" y="400844"/>
                </a:cubicBezTo>
                <a:cubicBezTo>
                  <a:pt x="44848" y="398463"/>
                  <a:pt x="46832" y="398463"/>
                  <a:pt x="48817" y="398463"/>
                </a:cubicBezTo>
                <a:close/>
                <a:moveTo>
                  <a:pt x="56622" y="396875"/>
                </a:moveTo>
                <a:cubicBezTo>
                  <a:pt x="56622" y="398992"/>
                  <a:pt x="58738" y="398992"/>
                  <a:pt x="58738" y="401108"/>
                </a:cubicBezTo>
                <a:cubicBezTo>
                  <a:pt x="58738" y="401108"/>
                  <a:pt x="56622" y="403225"/>
                  <a:pt x="56622" y="403225"/>
                </a:cubicBezTo>
                <a:cubicBezTo>
                  <a:pt x="56622" y="403225"/>
                  <a:pt x="54505" y="401108"/>
                  <a:pt x="54505" y="401108"/>
                </a:cubicBezTo>
                <a:cubicBezTo>
                  <a:pt x="54505" y="401108"/>
                  <a:pt x="52388" y="401108"/>
                  <a:pt x="52388" y="401108"/>
                </a:cubicBezTo>
                <a:cubicBezTo>
                  <a:pt x="52388" y="398992"/>
                  <a:pt x="54505" y="396875"/>
                  <a:pt x="56622" y="396875"/>
                </a:cubicBezTo>
                <a:close/>
                <a:moveTo>
                  <a:pt x="183470" y="0"/>
                </a:moveTo>
                <a:cubicBezTo>
                  <a:pt x="185461" y="0"/>
                  <a:pt x="187451" y="0"/>
                  <a:pt x="187451" y="1995"/>
                </a:cubicBezTo>
                <a:cubicBezTo>
                  <a:pt x="189442" y="1995"/>
                  <a:pt x="189442" y="7982"/>
                  <a:pt x="191433" y="7982"/>
                </a:cubicBezTo>
                <a:cubicBezTo>
                  <a:pt x="193423" y="7982"/>
                  <a:pt x="195414" y="7982"/>
                  <a:pt x="199395" y="9977"/>
                </a:cubicBezTo>
                <a:cubicBezTo>
                  <a:pt x="201386" y="11973"/>
                  <a:pt x="205367" y="15964"/>
                  <a:pt x="207358" y="15964"/>
                </a:cubicBezTo>
                <a:cubicBezTo>
                  <a:pt x="209349" y="19955"/>
                  <a:pt x="205367" y="19955"/>
                  <a:pt x="205367" y="19955"/>
                </a:cubicBezTo>
                <a:cubicBezTo>
                  <a:pt x="205367" y="21950"/>
                  <a:pt x="205367" y="23946"/>
                  <a:pt x="205367" y="23946"/>
                </a:cubicBezTo>
                <a:cubicBezTo>
                  <a:pt x="205367" y="23946"/>
                  <a:pt x="201386" y="25941"/>
                  <a:pt x="201386" y="27937"/>
                </a:cubicBezTo>
                <a:cubicBezTo>
                  <a:pt x="201386" y="27937"/>
                  <a:pt x="201386" y="35919"/>
                  <a:pt x="201386" y="35919"/>
                </a:cubicBezTo>
                <a:cubicBezTo>
                  <a:pt x="201386" y="37914"/>
                  <a:pt x="199395" y="43901"/>
                  <a:pt x="201386" y="47892"/>
                </a:cubicBezTo>
                <a:cubicBezTo>
                  <a:pt x="201386" y="51883"/>
                  <a:pt x="203377" y="55874"/>
                  <a:pt x="203377" y="57869"/>
                </a:cubicBezTo>
                <a:cubicBezTo>
                  <a:pt x="201386" y="59865"/>
                  <a:pt x="201386" y="61860"/>
                  <a:pt x="201386" y="63856"/>
                </a:cubicBezTo>
                <a:cubicBezTo>
                  <a:pt x="201386" y="65851"/>
                  <a:pt x="201386" y="67847"/>
                  <a:pt x="201386" y="69842"/>
                </a:cubicBezTo>
                <a:cubicBezTo>
                  <a:pt x="201386" y="71838"/>
                  <a:pt x="199395" y="71838"/>
                  <a:pt x="199395" y="71838"/>
                </a:cubicBezTo>
                <a:cubicBezTo>
                  <a:pt x="199395" y="71838"/>
                  <a:pt x="201386" y="75829"/>
                  <a:pt x="201386" y="77824"/>
                </a:cubicBezTo>
                <a:cubicBezTo>
                  <a:pt x="203377" y="79820"/>
                  <a:pt x="205367" y="81815"/>
                  <a:pt x="207358" y="83811"/>
                </a:cubicBezTo>
                <a:cubicBezTo>
                  <a:pt x="209349" y="85806"/>
                  <a:pt x="209349" y="85806"/>
                  <a:pt x="211339" y="87802"/>
                </a:cubicBezTo>
                <a:cubicBezTo>
                  <a:pt x="213330" y="89797"/>
                  <a:pt x="217311" y="89797"/>
                  <a:pt x="219302" y="91793"/>
                </a:cubicBezTo>
                <a:cubicBezTo>
                  <a:pt x="221293" y="93788"/>
                  <a:pt x="221293" y="95784"/>
                  <a:pt x="223283" y="97779"/>
                </a:cubicBezTo>
                <a:cubicBezTo>
                  <a:pt x="223283" y="99775"/>
                  <a:pt x="225274" y="99775"/>
                  <a:pt x="227265" y="99775"/>
                </a:cubicBezTo>
                <a:cubicBezTo>
                  <a:pt x="229255" y="99775"/>
                  <a:pt x="233237" y="101770"/>
                  <a:pt x="233237" y="103766"/>
                </a:cubicBezTo>
                <a:cubicBezTo>
                  <a:pt x="233237" y="105761"/>
                  <a:pt x="225274" y="109752"/>
                  <a:pt x="225274" y="109752"/>
                </a:cubicBezTo>
                <a:cubicBezTo>
                  <a:pt x="223283" y="115739"/>
                  <a:pt x="223283" y="115739"/>
                  <a:pt x="223283" y="115739"/>
                </a:cubicBezTo>
                <a:cubicBezTo>
                  <a:pt x="223283" y="115739"/>
                  <a:pt x="219302" y="117734"/>
                  <a:pt x="217311" y="117734"/>
                </a:cubicBezTo>
                <a:cubicBezTo>
                  <a:pt x="215321" y="119730"/>
                  <a:pt x="213330" y="121725"/>
                  <a:pt x="213330" y="123721"/>
                </a:cubicBezTo>
                <a:cubicBezTo>
                  <a:pt x="211339" y="125716"/>
                  <a:pt x="211339" y="129707"/>
                  <a:pt x="213330" y="131703"/>
                </a:cubicBezTo>
                <a:cubicBezTo>
                  <a:pt x="215321" y="133698"/>
                  <a:pt x="217311" y="137689"/>
                  <a:pt x="217311" y="139685"/>
                </a:cubicBezTo>
                <a:cubicBezTo>
                  <a:pt x="217311" y="139685"/>
                  <a:pt x="219302" y="139685"/>
                  <a:pt x="221293" y="141680"/>
                </a:cubicBezTo>
                <a:cubicBezTo>
                  <a:pt x="221293" y="143676"/>
                  <a:pt x="223283" y="145671"/>
                  <a:pt x="225274" y="147667"/>
                </a:cubicBezTo>
                <a:cubicBezTo>
                  <a:pt x="225274" y="151658"/>
                  <a:pt x="227265" y="151658"/>
                  <a:pt x="227265" y="153653"/>
                </a:cubicBezTo>
                <a:cubicBezTo>
                  <a:pt x="227265" y="155649"/>
                  <a:pt x="227265" y="157644"/>
                  <a:pt x="229255" y="159640"/>
                </a:cubicBezTo>
                <a:cubicBezTo>
                  <a:pt x="231246" y="161635"/>
                  <a:pt x="233237" y="161635"/>
                  <a:pt x="235227" y="163631"/>
                </a:cubicBezTo>
                <a:cubicBezTo>
                  <a:pt x="235227" y="165626"/>
                  <a:pt x="237218" y="165626"/>
                  <a:pt x="237218" y="169617"/>
                </a:cubicBezTo>
                <a:cubicBezTo>
                  <a:pt x="239209" y="171613"/>
                  <a:pt x="237218" y="173608"/>
                  <a:pt x="239209" y="175604"/>
                </a:cubicBezTo>
                <a:cubicBezTo>
                  <a:pt x="239209" y="177599"/>
                  <a:pt x="239209" y="179595"/>
                  <a:pt x="239209" y="179595"/>
                </a:cubicBezTo>
                <a:cubicBezTo>
                  <a:pt x="239209" y="181590"/>
                  <a:pt x="239209" y="183586"/>
                  <a:pt x="239209" y="185581"/>
                </a:cubicBezTo>
                <a:cubicBezTo>
                  <a:pt x="237218" y="185581"/>
                  <a:pt x="235227" y="189572"/>
                  <a:pt x="235227" y="191568"/>
                </a:cubicBezTo>
                <a:cubicBezTo>
                  <a:pt x="233237" y="193563"/>
                  <a:pt x="229255" y="197554"/>
                  <a:pt x="229255" y="199550"/>
                </a:cubicBezTo>
                <a:cubicBezTo>
                  <a:pt x="229255" y="201545"/>
                  <a:pt x="229255" y="205536"/>
                  <a:pt x="229255" y="205536"/>
                </a:cubicBezTo>
                <a:cubicBezTo>
                  <a:pt x="231246" y="207532"/>
                  <a:pt x="235227" y="209527"/>
                  <a:pt x="235227" y="211523"/>
                </a:cubicBezTo>
                <a:cubicBezTo>
                  <a:pt x="235227" y="213518"/>
                  <a:pt x="233237" y="215514"/>
                  <a:pt x="233237" y="217509"/>
                </a:cubicBezTo>
                <a:cubicBezTo>
                  <a:pt x="231246" y="217509"/>
                  <a:pt x="231246" y="217509"/>
                  <a:pt x="231246" y="219505"/>
                </a:cubicBezTo>
                <a:cubicBezTo>
                  <a:pt x="231246" y="223496"/>
                  <a:pt x="231246" y="223496"/>
                  <a:pt x="233237" y="225491"/>
                </a:cubicBezTo>
                <a:cubicBezTo>
                  <a:pt x="235227" y="227487"/>
                  <a:pt x="235227" y="229482"/>
                  <a:pt x="237218" y="231478"/>
                </a:cubicBezTo>
                <a:cubicBezTo>
                  <a:pt x="237218" y="233473"/>
                  <a:pt x="239209" y="237464"/>
                  <a:pt x="239209" y="239460"/>
                </a:cubicBezTo>
                <a:cubicBezTo>
                  <a:pt x="239209" y="243451"/>
                  <a:pt x="239209" y="243451"/>
                  <a:pt x="239209" y="245446"/>
                </a:cubicBezTo>
                <a:cubicBezTo>
                  <a:pt x="239209" y="247442"/>
                  <a:pt x="243190" y="249437"/>
                  <a:pt x="245181" y="251433"/>
                </a:cubicBezTo>
                <a:cubicBezTo>
                  <a:pt x="247171" y="251433"/>
                  <a:pt x="249162" y="255424"/>
                  <a:pt x="249162" y="257419"/>
                </a:cubicBezTo>
                <a:cubicBezTo>
                  <a:pt x="251153" y="261410"/>
                  <a:pt x="249162" y="267397"/>
                  <a:pt x="247171" y="269392"/>
                </a:cubicBezTo>
                <a:cubicBezTo>
                  <a:pt x="247171" y="269392"/>
                  <a:pt x="243190" y="275379"/>
                  <a:pt x="245181" y="277374"/>
                </a:cubicBezTo>
                <a:cubicBezTo>
                  <a:pt x="247171" y="279370"/>
                  <a:pt x="249162" y="283361"/>
                  <a:pt x="251153" y="283361"/>
                </a:cubicBezTo>
                <a:cubicBezTo>
                  <a:pt x="251153" y="283361"/>
                  <a:pt x="253143" y="285356"/>
                  <a:pt x="257125" y="287352"/>
                </a:cubicBezTo>
                <a:cubicBezTo>
                  <a:pt x="259116" y="289347"/>
                  <a:pt x="259116" y="291343"/>
                  <a:pt x="263097" y="293338"/>
                </a:cubicBezTo>
                <a:cubicBezTo>
                  <a:pt x="265088" y="295334"/>
                  <a:pt x="267078" y="299325"/>
                  <a:pt x="269069" y="299325"/>
                </a:cubicBezTo>
                <a:cubicBezTo>
                  <a:pt x="271060" y="301320"/>
                  <a:pt x="273050" y="307307"/>
                  <a:pt x="273050" y="307307"/>
                </a:cubicBezTo>
                <a:cubicBezTo>
                  <a:pt x="273050" y="307307"/>
                  <a:pt x="269069" y="311298"/>
                  <a:pt x="269069" y="313293"/>
                </a:cubicBezTo>
                <a:cubicBezTo>
                  <a:pt x="269069" y="315289"/>
                  <a:pt x="271060" y="321275"/>
                  <a:pt x="269069" y="323271"/>
                </a:cubicBezTo>
                <a:cubicBezTo>
                  <a:pt x="269069" y="325266"/>
                  <a:pt x="267078" y="323271"/>
                  <a:pt x="265088" y="325266"/>
                </a:cubicBezTo>
                <a:cubicBezTo>
                  <a:pt x="263097" y="327262"/>
                  <a:pt x="263097" y="329257"/>
                  <a:pt x="261106" y="329257"/>
                </a:cubicBezTo>
                <a:cubicBezTo>
                  <a:pt x="261106" y="331253"/>
                  <a:pt x="251153" y="337239"/>
                  <a:pt x="251153" y="341230"/>
                </a:cubicBezTo>
                <a:cubicBezTo>
                  <a:pt x="249162" y="341230"/>
                  <a:pt x="247171" y="347217"/>
                  <a:pt x="245181" y="349212"/>
                </a:cubicBezTo>
                <a:cubicBezTo>
                  <a:pt x="245181" y="349212"/>
                  <a:pt x="243190" y="351208"/>
                  <a:pt x="243190" y="353203"/>
                </a:cubicBezTo>
                <a:cubicBezTo>
                  <a:pt x="243190" y="355199"/>
                  <a:pt x="241199" y="357194"/>
                  <a:pt x="241199" y="357194"/>
                </a:cubicBezTo>
                <a:cubicBezTo>
                  <a:pt x="239209" y="359190"/>
                  <a:pt x="235227" y="365176"/>
                  <a:pt x="235227" y="365176"/>
                </a:cubicBezTo>
                <a:cubicBezTo>
                  <a:pt x="235227" y="365176"/>
                  <a:pt x="229255" y="379145"/>
                  <a:pt x="227265" y="379145"/>
                </a:cubicBezTo>
                <a:cubicBezTo>
                  <a:pt x="227265" y="381140"/>
                  <a:pt x="225274" y="383136"/>
                  <a:pt x="225274" y="385131"/>
                </a:cubicBezTo>
                <a:cubicBezTo>
                  <a:pt x="223283" y="387127"/>
                  <a:pt x="223283" y="393113"/>
                  <a:pt x="221293" y="395109"/>
                </a:cubicBezTo>
                <a:cubicBezTo>
                  <a:pt x="219302" y="395109"/>
                  <a:pt x="215321" y="393113"/>
                  <a:pt x="215321" y="393113"/>
                </a:cubicBezTo>
                <a:lnTo>
                  <a:pt x="213330" y="397104"/>
                </a:lnTo>
                <a:cubicBezTo>
                  <a:pt x="211339" y="393113"/>
                  <a:pt x="209349" y="397104"/>
                  <a:pt x="209349" y="397104"/>
                </a:cubicBezTo>
                <a:cubicBezTo>
                  <a:pt x="209349" y="397104"/>
                  <a:pt x="201386" y="397104"/>
                  <a:pt x="195414" y="399100"/>
                </a:cubicBezTo>
                <a:cubicBezTo>
                  <a:pt x="189442" y="401095"/>
                  <a:pt x="183470" y="399100"/>
                  <a:pt x="183470" y="399100"/>
                </a:cubicBezTo>
                <a:cubicBezTo>
                  <a:pt x="183470" y="399100"/>
                  <a:pt x="177498" y="397104"/>
                  <a:pt x="175507" y="399100"/>
                </a:cubicBezTo>
                <a:cubicBezTo>
                  <a:pt x="173517" y="401095"/>
                  <a:pt x="171526" y="399100"/>
                  <a:pt x="167544" y="399100"/>
                </a:cubicBezTo>
                <a:cubicBezTo>
                  <a:pt x="161572" y="399100"/>
                  <a:pt x="161572" y="399100"/>
                  <a:pt x="163563" y="401095"/>
                </a:cubicBezTo>
                <a:cubicBezTo>
                  <a:pt x="167544" y="405086"/>
                  <a:pt x="161572" y="405086"/>
                  <a:pt x="161572" y="405086"/>
                </a:cubicBezTo>
                <a:cubicBezTo>
                  <a:pt x="161572" y="405086"/>
                  <a:pt x="153610" y="405086"/>
                  <a:pt x="147638" y="403091"/>
                </a:cubicBezTo>
                <a:cubicBezTo>
                  <a:pt x="139675" y="399100"/>
                  <a:pt x="137684" y="405086"/>
                  <a:pt x="137684" y="405086"/>
                </a:cubicBezTo>
                <a:cubicBezTo>
                  <a:pt x="137684" y="405086"/>
                  <a:pt x="133703" y="409077"/>
                  <a:pt x="127731" y="409077"/>
                </a:cubicBezTo>
                <a:cubicBezTo>
                  <a:pt x="121759" y="411073"/>
                  <a:pt x="121759" y="413069"/>
                  <a:pt x="121759" y="413069"/>
                </a:cubicBezTo>
                <a:cubicBezTo>
                  <a:pt x="121759" y="413069"/>
                  <a:pt x="121759" y="415064"/>
                  <a:pt x="119768" y="417060"/>
                </a:cubicBezTo>
                <a:cubicBezTo>
                  <a:pt x="117778" y="419055"/>
                  <a:pt x="115787" y="417060"/>
                  <a:pt x="115787" y="417060"/>
                </a:cubicBezTo>
                <a:cubicBezTo>
                  <a:pt x="115787" y="417060"/>
                  <a:pt x="115787" y="413069"/>
                  <a:pt x="113796" y="415064"/>
                </a:cubicBezTo>
                <a:cubicBezTo>
                  <a:pt x="111806" y="417060"/>
                  <a:pt x="107824" y="417060"/>
                  <a:pt x="105834" y="415064"/>
                </a:cubicBezTo>
                <a:cubicBezTo>
                  <a:pt x="105834" y="413069"/>
                  <a:pt x="103843" y="413069"/>
                  <a:pt x="101852" y="415064"/>
                </a:cubicBezTo>
                <a:cubicBezTo>
                  <a:pt x="99862" y="415064"/>
                  <a:pt x="99862" y="419055"/>
                  <a:pt x="99862" y="421051"/>
                </a:cubicBezTo>
                <a:cubicBezTo>
                  <a:pt x="99862" y="425042"/>
                  <a:pt x="97871" y="427037"/>
                  <a:pt x="95880" y="425042"/>
                </a:cubicBezTo>
                <a:cubicBezTo>
                  <a:pt x="91899" y="423046"/>
                  <a:pt x="89908" y="425042"/>
                  <a:pt x="87918" y="425042"/>
                </a:cubicBezTo>
                <a:cubicBezTo>
                  <a:pt x="87918" y="425042"/>
                  <a:pt x="81945" y="423046"/>
                  <a:pt x="79955" y="421051"/>
                </a:cubicBezTo>
                <a:cubicBezTo>
                  <a:pt x="77964" y="419055"/>
                  <a:pt x="71992" y="417060"/>
                  <a:pt x="71992" y="417060"/>
                </a:cubicBezTo>
                <a:cubicBezTo>
                  <a:pt x="71992" y="417060"/>
                  <a:pt x="66020" y="417060"/>
                  <a:pt x="66020" y="415064"/>
                </a:cubicBezTo>
                <a:cubicBezTo>
                  <a:pt x="66020" y="413069"/>
                  <a:pt x="68011" y="411073"/>
                  <a:pt x="68011" y="411073"/>
                </a:cubicBezTo>
                <a:cubicBezTo>
                  <a:pt x="68011" y="411073"/>
                  <a:pt x="70001" y="411073"/>
                  <a:pt x="73983" y="409077"/>
                </a:cubicBezTo>
                <a:cubicBezTo>
                  <a:pt x="77964" y="407082"/>
                  <a:pt x="77964" y="411073"/>
                  <a:pt x="77964" y="411073"/>
                </a:cubicBezTo>
                <a:cubicBezTo>
                  <a:pt x="77964" y="411073"/>
                  <a:pt x="77964" y="415064"/>
                  <a:pt x="79955" y="415064"/>
                </a:cubicBezTo>
                <a:cubicBezTo>
                  <a:pt x="83936" y="417060"/>
                  <a:pt x="83936" y="413069"/>
                  <a:pt x="83936" y="411073"/>
                </a:cubicBezTo>
                <a:cubicBezTo>
                  <a:pt x="83936" y="409077"/>
                  <a:pt x="81945" y="407082"/>
                  <a:pt x="81945" y="405086"/>
                </a:cubicBezTo>
                <a:cubicBezTo>
                  <a:pt x="79955" y="405086"/>
                  <a:pt x="83936" y="401095"/>
                  <a:pt x="79955" y="401095"/>
                </a:cubicBezTo>
                <a:cubicBezTo>
                  <a:pt x="75973" y="401095"/>
                  <a:pt x="77964" y="405086"/>
                  <a:pt x="73983" y="405086"/>
                </a:cubicBezTo>
                <a:cubicBezTo>
                  <a:pt x="70001" y="405086"/>
                  <a:pt x="70001" y="405086"/>
                  <a:pt x="70001" y="403091"/>
                </a:cubicBezTo>
                <a:cubicBezTo>
                  <a:pt x="70001" y="401095"/>
                  <a:pt x="66020" y="401095"/>
                  <a:pt x="66020" y="401095"/>
                </a:cubicBezTo>
                <a:cubicBezTo>
                  <a:pt x="66020" y="401095"/>
                  <a:pt x="62039" y="397104"/>
                  <a:pt x="60048" y="395109"/>
                </a:cubicBezTo>
                <a:cubicBezTo>
                  <a:pt x="56067" y="393113"/>
                  <a:pt x="46113" y="395109"/>
                  <a:pt x="46113" y="395109"/>
                </a:cubicBezTo>
                <a:cubicBezTo>
                  <a:pt x="46113" y="395109"/>
                  <a:pt x="42132" y="397104"/>
                  <a:pt x="42132" y="393113"/>
                </a:cubicBezTo>
                <a:cubicBezTo>
                  <a:pt x="40141" y="389122"/>
                  <a:pt x="42132" y="387127"/>
                  <a:pt x="44123" y="385131"/>
                </a:cubicBezTo>
                <a:cubicBezTo>
                  <a:pt x="46113" y="383136"/>
                  <a:pt x="42132" y="383136"/>
                  <a:pt x="42132" y="381140"/>
                </a:cubicBezTo>
                <a:cubicBezTo>
                  <a:pt x="40141" y="381140"/>
                  <a:pt x="40141" y="377149"/>
                  <a:pt x="40141" y="371163"/>
                </a:cubicBezTo>
                <a:cubicBezTo>
                  <a:pt x="40141" y="367172"/>
                  <a:pt x="38151" y="363181"/>
                  <a:pt x="36160" y="361185"/>
                </a:cubicBezTo>
                <a:cubicBezTo>
                  <a:pt x="32179" y="359190"/>
                  <a:pt x="36160" y="355199"/>
                  <a:pt x="36160" y="353203"/>
                </a:cubicBezTo>
                <a:cubicBezTo>
                  <a:pt x="38151" y="349212"/>
                  <a:pt x="36160" y="343226"/>
                  <a:pt x="34169" y="337239"/>
                </a:cubicBezTo>
                <a:cubicBezTo>
                  <a:pt x="32179" y="331253"/>
                  <a:pt x="32179" y="329257"/>
                  <a:pt x="36160" y="329257"/>
                </a:cubicBezTo>
                <a:cubicBezTo>
                  <a:pt x="38151" y="329257"/>
                  <a:pt x="36160" y="323271"/>
                  <a:pt x="36160" y="319280"/>
                </a:cubicBezTo>
                <a:cubicBezTo>
                  <a:pt x="36160" y="317284"/>
                  <a:pt x="34169" y="313293"/>
                  <a:pt x="32179" y="311298"/>
                </a:cubicBezTo>
                <a:cubicBezTo>
                  <a:pt x="30188" y="309302"/>
                  <a:pt x="30188" y="309302"/>
                  <a:pt x="30188" y="305311"/>
                </a:cubicBezTo>
                <a:cubicBezTo>
                  <a:pt x="30188" y="303316"/>
                  <a:pt x="30188" y="303316"/>
                  <a:pt x="30188" y="301320"/>
                </a:cubicBezTo>
                <a:cubicBezTo>
                  <a:pt x="30188" y="299325"/>
                  <a:pt x="30188" y="291343"/>
                  <a:pt x="32179" y="291343"/>
                </a:cubicBezTo>
                <a:cubicBezTo>
                  <a:pt x="36160" y="291343"/>
                  <a:pt x="36160" y="287352"/>
                  <a:pt x="36160" y="285356"/>
                </a:cubicBezTo>
                <a:cubicBezTo>
                  <a:pt x="34169" y="283361"/>
                  <a:pt x="38151" y="279370"/>
                  <a:pt x="44123" y="279370"/>
                </a:cubicBezTo>
                <a:cubicBezTo>
                  <a:pt x="50095" y="279370"/>
                  <a:pt x="50095" y="275379"/>
                  <a:pt x="50095" y="275379"/>
                </a:cubicBezTo>
                <a:cubicBezTo>
                  <a:pt x="50095" y="275379"/>
                  <a:pt x="50095" y="269392"/>
                  <a:pt x="56067" y="269392"/>
                </a:cubicBezTo>
                <a:cubicBezTo>
                  <a:pt x="60048" y="269392"/>
                  <a:pt x="58057" y="263406"/>
                  <a:pt x="60048" y="263406"/>
                </a:cubicBezTo>
                <a:cubicBezTo>
                  <a:pt x="62039" y="263406"/>
                  <a:pt x="62039" y="259415"/>
                  <a:pt x="62039" y="259415"/>
                </a:cubicBezTo>
                <a:cubicBezTo>
                  <a:pt x="62039" y="259415"/>
                  <a:pt x="62039" y="253428"/>
                  <a:pt x="64029" y="253428"/>
                </a:cubicBezTo>
                <a:cubicBezTo>
                  <a:pt x="66020" y="251433"/>
                  <a:pt x="70001" y="253428"/>
                  <a:pt x="71992" y="255424"/>
                </a:cubicBezTo>
                <a:cubicBezTo>
                  <a:pt x="73983" y="257419"/>
                  <a:pt x="77964" y="251433"/>
                  <a:pt x="77964" y="251433"/>
                </a:cubicBezTo>
                <a:cubicBezTo>
                  <a:pt x="77964" y="251433"/>
                  <a:pt x="79955" y="249437"/>
                  <a:pt x="83936" y="245446"/>
                </a:cubicBezTo>
                <a:cubicBezTo>
                  <a:pt x="87918" y="241455"/>
                  <a:pt x="87918" y="241455"/>
                  <a:pt x="89908" y="235469"/>
                </a:cubicBezTo>
                <a:cubicBezTo>
                  <a:pt x="91899" y="229482"/>
                  <a:pt x="95880" y="229482"/>
                  <a:pt x="99862" y="227487"/>
                </a:cubicBezTo>
                <a:cubicBezTo>
                  <a:pt x="103843" y="227487"/>
                  <a:pt x="103843" y="225491"/>
                  <a:pt x="101852" y="221500"/>
                </a:cubicBezTo>
                <a:cubicBezTo>
                  <a:pt x="101852" y="215514"/>
                  <a:pt x="105834" y="211523"/>
                  <a:pt x="107824" y="209527"/>
                </a:cubicBezTo>
                <a:cubicBezTo>
                  <a:pt x="107824" y="205536"/>
                  <a:pt x="117778" y="205536"/>
                  <a:pt x="121759" y="205536"/>
                </a:cubicBezTo>
                <a:cubicBezTo>
                  <a:pt x="125740" y="205536"/>
                  <a:pt x="123750" y="201545"/>
                  <a:pt x="121759" y="197554"/>
                </a:cubicBezTo>
                <a:cubicBezTo>
                  <a:pt x="119768" y="193563"/>
                  <a:pt x="121759" y="193563"/>
                  <a:pt x="121759" y="193563"/>
                </a:cubicBezTo>
                <a:cubicBezTo>
                  <a:pt x="121759" y="193563"/>
                  <a:pt x="125740" y="191568"/>
                  <a:pt x="123750" y="189572"/>
                </a:cubicBezTo>
                <a:cubicBezTo>
                  <a:pt x="121759" y="189572"/>
                  <a:pt x="121759" y="181590"/>
                  <a:pt x="121759" y="181590"/>
                </a:cubicBezTo>
                <a:cubicBezTo>
                  <a:pt x="121759" y="181590"/>
                  <a:pt x="117778" y="177599"/>
                  <a:pt x="117778" y="173608"/>
                </a:cubicBezTo>
                <a:cubicBezTo>
                  <a:pt x="115787" y="169617"/>
                  <a:pt x="111806" y="171613"/>
                  <a:pt x="111806" y="171613"/>
                </a:cubicBezTo>
                <a:cubicBezTo>
                  <a:pt x="111806" y="171613"/>
                  <a:pt x="107824" y="169617"/>
                  <a:pt x="107824" y="165626"/>
                </a:cubicBezTo>
                <a:cubicBezTo>
                  <a:pt x="103843" y="163631"/>
                  <a:pt x="99862" y="165626"/>
                  <a:pt x="99862" y="165626"/>
                </a:cubicBezTo>
                <a:cubicBezTo>
                  <a:pt x="99862" y="165626"/>
                  <a:pt x="91899" y="169617"/>
                  <a:pt x="91899" y="165626"/>
                </a:cubicBezTo>
                <a:cubicBezTo>
                  <a:pt x="91899" y="165626"/>
                  <a:pt x="89908" y="165626"/>
                  <a:pt x="89908" y="163631"/>
                </a:cubicBezTo>
                <a:cubicBezTo>
                  <a:pt x="89908" y="163631"/>
                  <a:pt x="87918" y="141680"/>
                  <a:pt x="87918" y="139685"/>
                </a:cubicBezTo>
                <a:cubicBezTo>
                  <a:pt x="87918" y="139685"/>
                  <a:pt x="83936" y="125716"/>
                  <a:pt x="83936" y="125716"/>
                </a:cubicBezTo>
                <a:cubicBezTo>
                  <a:pt x="83936" y="123721"/>
                  <a:pt x="83936" y="115739"/>
                  <a:pt x="83936" y="113743"/>
                </a:cubicBezTo>
                <a:cubicBezTo>
                  <a:pt x="83936" y="109752"/>
                  <a:pt x="81945" y="105761"/>
                  <a:pt x="79955" y="101770"/>
                </a:cubicBezTo>
                <a:cubicBezTo>
                  <a:pt x="79955" y="99775"/>
                  <a:pt x="77964" y="81815"/>
                  <a:pt x="77964" y="81815"/>
                </a:cubicBezTo>
                <a:cubicBezTo>
                  <a:pt x="77964" y="81815"/>
                  <a:pt x="50095" y="63856"/>
                  <a:pt x="48104" y="61860"/>
                </a:cubicBezTo>
                <a:cubicBezTo>
                  <a:pt x="46113" y="61860"/>
                  <a:pt x="36160" y="53878"/>
                  <a:pt x="36160" y="53878"/>
                </a:cubicBezTo>
                <a:cubicBezTo>
                  <a:pt x="22225" y="47892"/>
                  <a:pt x="22225" y="47892"/>
                  <a:pt x="22225" y="47892"/>
                </a:cubicBezTo>
                <a:cubicBezTo>
                  <a:pt x="22225" y="47892"/>
                  <a:pt x="22225" y="41905"/>
                  <a:pt x="22225" y="39910"/>
                </a:cubicBezTo>
                <a:cubicBezTo>
                  <a:pt x="22225" y="39910"/>
                  <a:pt x="24216" y="39910"/>
                  <a:pt x="24216" y="37914"/>
                </a:cubicBezTo>
                <a:cubicBezTo>
                  <a:pt x="26207" y="35919"/>
                  <a:pt x="26207" y="35919"/>
                  <a:pt x="26207" y="33923"/>
                </a:cubicBezTo>
                <a:cubicBezTo>
                  <a:pt x="28197" y="31928"/>
                  <a:pt x="28197" y="33923"/>
                  <a:pt x="28197" y="29932"/>
                </a:cubicBezTo>
                <a:cubicBezTo>
                  <a:pt x="30188" y="27937"/>
                  <a:pt x="32179" y="23946"/>
                  <a:pt x="32179" y="23946"/>
                </a:cubicBezTo>
                <a:cubicBezTo>
                  <a:pt x="32179" y="23946"/>
                  <a:pt x="36160" y="23946"/>
                  <a:pt x="36160" y="23946"/>
                </a:cubicBezTo>
                <a:cubicBezTo>
                  <a:pt x="38151" y="23946"/>
                  <a:pt x="40141" y="23946"/>
                  <a:pt x="42132" y="23946"/>
                </a:cubicBezTo>
                <a:cubicBezTo>
                  <a:pt x="42132" y="25941"/>
                  <a:pt x="44123" y="27937"/>
                  <a:pt x="44123" y="31928"/>
                </a:cubicBezTo>
                <a:cubicBezTo>
                  <a:pt x="46113" y="33923"/>
                  <a:pt x="46113" y="35919"/>
                  <a:pt x="48104" y="37914"/>
                </a:cubicBezTo>
                <a:cubicBezTo>
                  <a:pt x="48104" y="39910"/>
                  <a:pt x="50095" y="41905"/>
                  <a:pt x="52085" y="45896"/>
                </a:cubicBezTo>
                <a:cubicBezTo>
                  <a:pt x="54076" y="47892"/>
                  <a:pt x="54076" y="49887"/>
                  <a:pt x="56067" y="53878"/>
                </a:cubicBezTo>
                <a:cubicBezTo>
                  <a:pt x="58057" y="53878"/>
                  <a:pt x="62039" y="57869"/>
                  <a:pt x="62039" y="57869"/>
                </a:cubicBezTo>
                <a:cubicBezTo>
                  <a:pt x="64029" y="57869"/>
                  <a:pt x="66020" y="55874"/>
                  <a:pt x="68011" y="55874"/>
                </a:cubicBezTo>
                <a:cubicBezTo>
                  <a:pt x="70001" y="53878"/>
                  <a:pt x="70001" y="55874"/>
                  <a:pt x="71992" y="57869"/>
                </a:cubicBezTo>
                <a:cubicBezTo>
                  <a:pt x="73983" y="59865"/>
                  <a:pt x="77964" y="59865"/>
                  <a:pt x="79955" y="57869"/>
                </a:cubicBezTo>
                <a:cubicBezTo>
                  <a:pt x="81945" y="57869"/>
                  <a:pt x="85927" y="55874"/>
                  <a:pt x="85927" y="55874"/>
                </a:cubicBezTo>
                <a:cubicBezTo>
                  <a:pt x="87918" y="53878"/>
                  <a:pt x="89908" y="51883"/>
                  <a:pt x="91899" y="51883"/>
                </a:cubicBezTo>
                <a:cubicBezTo>
                  <a:pt x="95880" y="49887"/>
                  <a:pt x="101852" y="51883"/>
                  <a:pt x="103843" y="53878"/>
                </a:cubicBezTo>
                <a:cubicBezTo>
                  <a:pt x="103843" y="53878"/>
                  <a:pt x="105834" y="53878"/>
                  <a:pt x="107824" y="57869"/>
                </a:cubicBezTo>
                <a:cubicBezTo>
                  <a:pt x="111806" y="59865"/>
                  <a:pt x="113796" y="59865"/>
                  <a:pt x="113796" y="59865"/>
                </a:cubicBezTo>
                <a:cubicBezTo>
                  <a:pt x="117778" y="61860"/>
                  <a:pt x="117778" y="61860"/>
                  <a:pt x="117778" y="61860"/>
                </a:cubicBezTo>
                <a:cubicBezTo>
                  <a:pt x="117778" y="61860"/>
                  <a:pt x="121759" y="61860"/>
                  <a:pt x="121759" y="57869"/>
                </a:cubicBezTo>
                <a:cubicBezTo>
                  <a:pt x="121759" y="55874"/>
                  <a:pt x="121759" y="53878"/>
                  <a:pt x="121759" y="51883"/>
                </a:cubicBezTo>
                <a:cubicBezTo>
                  <a:pt x="123750" y="49887"/>
                  <a:pt x="125740" y="45896"/>
                  <a:pt x="127731" y="45896"/>
                </a:cubicBezTo>
                <a:cubicBezTo>
                  <a:pt x="129722" y="43901"/>
                  <a:pt x="133703" y="43901"/>
                  <a:pt x="135694" y="41905"/>
                </a:cubicBezTo>
                <a:cubicBezTo>
                  <a:pt x="135694" y="39910"/>
                  <a:pt x="133703" y="37914"/>
                  <a:pt x="133703" y="35919"/>
                </a:cubicBezTo>
                <a:cubicBezTo>
                  <a:pt x="131712" y="33923"/>
                  <a:pt x="131712" y="31928"/>
                  <a:pt x="131712" y="29932"/>
                </a:cubicBezTo>
                <a:cubicBezTo>
                  <a:pt x="133703" y="27937"/>
                  <a:pt x="133703" y="23946"/>
                  <a:pt x="135694" y="23946"/>
                </a:cubicBezTo>
                <a:cubicBezTo>
                  <a:pt x="135694" y="21950"/>
                  <a:pt x="139675" y="21950"/>
                  <a:pt x="139675" y="19955"/>
                </a:cubicBezTo>
                <a:cubicBezTo>
                  <a:pt x="141666" y="17959"/>
                  <a:pt x="139675" y="17959"/>
                  <a:pt x="141666" y="15964"/>
                </a:cubicBezTo>
                <a:cubicBezTo>
                  <a:pt x="141666" y="15964"/>
                  <a:pt x="145647" y="15964"/>
                  <a:pt x="145647" y="15964"/>
                </a:cubicBezTo>
                <a:cubicBezTo>
                  <a:pt x="145647" y="15964"/>
                  <a:pt x="145647" y="11973"/>
                  <a:pt x="147638" y="11973"/>
                </a:cubicBezTo>
                <a:cubicBezTo>
                  <a:pt x="149628" y="9977"/>
                  <a:pt x="155600" y="11973"/>
                  <a:pt x="157591" y="9977"/>
                </a:cubicBezTo>
                <a:cubicBezTo>
                  <a:pt x="157591" y="9977"/>
                  <a:pt x="163563" y="7982"/>
                  <a:pt x="163563" y="7982"/>
                </a:cubicBezTo>
                <a:cubicBezTo>
                  <a:pt x="165554" y="7982"/>
                  <a:pt x="169535" y="11973"/>
                  <a:pt x="171526" y="11973"/>
                </a:cubicBezTo>
                <a:cubicBezTo>
                  <a:pt x="173517" y="9977"/>
                  <a:pt x="175507" y="9977"/>
                  <a:pt x="175507" y="7982"/>
                </a:cubicBezTo>
                <a:cubicBezTo>
                  <a:pt x="177498" y="5986"/>
                  <a:pt x="177498" y="3991"/>
                  <a:pt x="177498" y="1995"/>
                </a:cubicBezTo>
                <a:cubicBezTo>
                  <a:pt x="177498" y="0"/>
                  <a:pt x="181479" y="0"/>
                  <a:pt x="183470"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8" name="Sweden"/>
          <p:cNvSpPr>
            <a:spLocks/>
          </p:cNvSpPr>
          <p:nvPr/>
        </p:nvSpPr>
        <p:spPr bwMode="auto">
          <a:xfrm>
            <a:off x="6470563" y="1566857"/>
            <a:ext cx="295608" cy="589581"/>
          </a:xfrm>
          <a:custGeom>
            <a:avLst/>
            <a:gdLst>
              <a:gd name="connsiteX0" fmla="*/ 141289 w 287338"/>
              <a:gd name="connsiteY0" fmla="*/ 485775 h 573087"/>
              <a:gd name="connsiteX1" fmla="*/ 141289 w 287338"/>
              <a:gd name="connsiteY1" fmla="*/ 491331 h 573087"/>
              <a:gd name="connsiteX2" fmla="*/ 141289 w 287338"/>
              <a:gd name="connsiteY2" fmla="*/ 495035 h 573087"/>
              <a:gd name="connsiteX3" fmla="*/ 138113 w 287338"/>
              <a:gd name="connsiteY3" fmla="*/ 495035 h 573087"/>
              <a:gd name="connsiteX4" fmla="*/ 138113 w 287338"/>
              <a:gd name="connsiteY4" fmla="*/ 489479 h 573087"/>
              <a:gd name="connsiteX5" fmla="*/ 141289 w 287338"/>
              <a:gd name="connsiteY5" fmla="*/ 485775 h 573087"/>
              <a:gd name="connsiteX6" fmla="*/ 179632 w 287338"/>
              <a:gd name="connsiteY6" fmla="*/ 467102 h 573087"/>
              <a:gd name="connsiteX7" fmla="*/ 187936 w 287338"/>
              <a:gd name="connsiteY7" fmla="*/ 467102 h 573087"/>
              <a:gd name="connsiteX8" fmla="*/ 192088 w 287338"/>
              <a:gd name="connsiteY8" fmla="*/ 471033 h 573087"/>
              <a:gd name="connsiteX9" fmla="*/ 187936 w 287338"/>
              <a:gd name="connsiteY9" fmla="*/ 474964 h 573087"/>
              <a:gd name="connsiteX10" fmla="*/ 183784 w 287338"/>
              <a:gd name="connsiteY10" fmla="*/ 478895 h 573087"/>
              <a:gd name="connsiteX11" fmla="*/ 183784 w 287338"/>
              <a:gd name="connsiteY11" fmla="*/ 482826 h 573087"/>
              <a:gd name="connsiteX12" fmla="*/ 185860 w 287338"/>
              <a:gd name="connsiteY12" fmla="*/ 488723 h 573087"/>
              <a:gd name="connsiteX13" fmla="*/ 183784 w 287338"/>
              <a:gd name="connsiteY13" fmla="*/ 494619 h 573087"/>
              <a:gd name="connsiteX14" fmla="*/ 177556 w 287338"/>
              <a:gd name="connsiteY14" fmla="*/ 502481 h 573087"/>
              <a:gd name="connsiteX15" fmla="*/ 173404 w 287338"/>
              <a:gd name="connsiteY15" fmla="*/ 504447 h 573087"/>
              <a:gd name="connsiteX16" fmla="*/ 171328 w 287338"/>
              <a:gd name="connsiteY16" fmla="*/ 500516 h 573087"/>
              <a:gd name="connsiteX17" fmla="*/ 173404 w 287338"/>
              <a:gd name="connsiteY17" fmla="*/ 496585 h 573087"/>
              <a:gd name="connsiteX18" fmla="*/ 169252 w 287338"/>
              <a:gd name="connsiteY18" fmla="*/ 494619 h 573087"/>
              <a:gd name="connsiteX19" fmla="*/ 167176 w 287338"/>
              <a:gd name="connsiteY19" fmla="*/ 488723 h 573087"/>
              <a:gd name="connsiteX20" fmla="*/ 165100 w 287338"/>
              <a:gd name="connsiteY20" fmla="*/ 480861 h 573087"/>
              <a:gd name="connsiteX21" fmla="*/ 167176 w 287338"/>
              <a:gd name="connsiteY21" fmla="*/ 478895 h 573087"/>
              <a:gd name="connsiteX22" fmla="*/ 171328 w 287338"/>
              <a:gd name="connsiteY22" fmla="*/ 476930 h 573087"/>
              <a:gd name="connsiteX23" fmla="*/ 173404 w 287338"/>
              <a:gd name="connsiteY23" fmla="*/ 471033 h 573087"/>
              <a:gd name="connsiteX24" fmla="*/ 179632 w 287338"/>
              <a:gd name="connsiteY24" fmla="*/ 467102 h 573087"/>
              <a:gd name="connsiteX25" fmla="*/ 195264 w 287338"/>
              <a:gd name="connsiteY25" fmla="*/ 461962 h 573087"/>
              <a:gd name="connsiteX26" fmla="*/ 196851 w 287338"/>
              <a:gd name="connsiteY26" fmla="*/ 465930 h 573087"/>
              <a:gd name="connsiteX27" fmla="*/ 192088 w 287338"/>
              <a:gd name="connsiteY27" fmla="*/ 463946 h 573087"/>
              <a:gd name="connsiteX28" fmla="*/ 195264 w 287338"/>
              <a:gd name="connsiteY28" fmla="*/ 461962 h 573087"/>
              <a:gd name="connsiteX29" fmla="*/ 211513 w 287338"/>
              <a:gd name="connsiteY29" fmla="*/ 0 h 573087"/>
              <a:gd name="connsiteX30" fmla="*/ 217499 w 287338"/>
              <a:gd name="connsiteY30" fmla="*/ 3994 h 573087"/>
              <a:gd name="connsiteX31" fmla="*/ 219495 w 287338"/>
              <a:gd name="connsiteY31" fmla="*/ 5990 h 573087"/>
              <a:gd name="connsiteX32" fmla="*/ 219495 w 287338"/>
              <a:gd name="connsiteY32" fmla="*/ 13978 h 573087"/>
              <a:gd name="connsiteX33" fmla="*/ 233462 w 287338"/>
              <a:gd name="connsiteY33" fmla="*/ 19968 h 573087"/>
              <a:gd name="connsiteX34" fmla="*/ 245435 w 287338"/>
              <a:gd name="connsiteY34" fmla="*/ 27955 h 573087"/>
              <a:gd name="connsiteX35" fmla="*/ 275366 w 287338"/>
              <a:gd name="connsiteY35" fmla="*/ 47924 h 573087"/>
              <a:gd name="connsiteX36" fmla="*/ 277361 w 287338"/>
              <a:gd name="connsiteY36" fmla="*/ 67892 h 573087"/>
              <a:gd name="connsiteX37" fmla="*/ 281352 w 287338"/>
              <a:gd name="connsiteY37" fmla="*/ 79873 h 573087"/>
              <a:gd name="connsiteX38" fmla="*/ 281352 w 287338"/>
              <a:gd name="connsiteY38" fmla="*/ 91854 h 573087"/>
              <a:gd name="connsiteX39" fmla="*/ 285343 w 287338"/>
              <a:gd name="connsiteY39" fmla="*/ 105831 h 573087"/>
              <a:gd name="connsiteX40" fmla="*/ 287338 w 287338"/>
              <a:gd name="connsiteY40" fmla="*/ 129793 h 573087"/>
              <a:gd name="connsiteX41" fmla="*/ 281352 w 287338"/>
              <a:gd name="connsiteY41" fmla="*/ 131790 h 573087"/>
              <a:gd name="connsiteX42" fmla="*/ 275366 w 287338"/>
              <a:gd name="connsiteY42" fmla="*/ 133787 h 573087"/>
              <a:gd name="connsiteX43" fmla="*/ 269380 w 287338"/>
              <a:gd name="connsiteY43" fmla="*/ 133787 h 573087"/>
              <a:gd name="connsiteX44" fmla="*/ 265389 w 287338"/>
              <a:gd name="connsiteY44" fmla="*/ 133787 h 573087"/>
              <a:gd name="connsiteX45" fmla="*/ 261398 w 287338"/>
              <a:gd name="connsiteY45" fmla="*/ 135784 h 573087"/>
              <a:gd name="connsiteX46" fmla="*/ 257407 w 287338"/>
              <a:gd name="connsiteY46" fmla="*/ 135784 h 573087"/>
              <a:gd name="connsiteX47" fmla="*/ 253416 w 287338"/>
              <a:gd name="connsiteY47" fmla="*/ 133787 h 573087"/>
              <a:gd name="connsiteX48" fmla="*/ 255412 w 287338"/>
              <a:gd name="connsiteY48" fmla="*/ 141774 h 573087"/>
              <a:gd name="connsiteX49" fmla="*/ 251421 w 287338"/>
              <a:gd name="connsiteY49" fmla="*/ 145768 h 573087"/>
              <a:gd name="connsiteX50" fmla="*/ 247430 w 287338"/>
              <a:gd name="connsiteY50" fmla="*/ 149761 h 573087"/>
              <a:gd name="connsiteX51" fmla="*/ 239449 w 287338"/>
              <a:gd name="connsiteY51" fmla="*/ 153755 h 573087"/>
              <a:gd name="connsiteX52" fmla="*/ 241444 w 287338"/>
              <a:gd name="connsiteY52" fmla="*/ 159745 h 573087"/>
              <a:gd name="connsiteX53" fmla="*/ 241444 w 287338"/>
              <a:gd name="connsiteY53" fmla="*/ 163739 h 573087"/>
              <a:gd name="connsiteX54" fmla="*/ 235458 w 287338"/>
              <a:gd name="connsiteY54" fmla="*/ 167733 h 573087"/>
              <a:gd name="connsiteX55" fmla="*/ 231467 w 287338"/>
              <a:gd name="connsiteY55" fmla="*/ 173723 h 573087"/>
              <a:gd name="connsiteX56" fmla="*/ 233462 w 287338"/>
              <a:gd name="connsiteY56" fmla="*/ 185704 h 573087"/>
              <a:gd name="connsiteX57" fmla="*/ 233462 w 287338"/>
              <a:gd name="connsiteY57" fmla="*/ 191694 h 573087"/>
              <a:gd name="connsiteX58" fmla="*/ 225481 w 287338"/>
              <a:gd name="connsiteY58" fmla="*/ 201679 h 573087"/>
              <a:gd name="connsiteX59" fmla="*/ 221490 w 287338"/>
              <a:gd name="connsiteY59" fmla="*/ 207669 h 573087"/>
              <a:gd name="connsiteX60" fmla="*/ 217499 w 287338"/>
              <a:gd name="connsiteY60" fmla="*/ 215656 h 573087"/>
              <a:gd name="connsiteX61" fmla="*/ 213508 w 287338"/>
              <a:gd name="connsiteY61" fmla="*/ 221647 h 573087"/>
              <a:gd name="connsiteX62" fmla="*/ 207522 w 287338"/>
              <a:gd name="connsiteY62" fmla="*/ 227637 h 573087"/>
              <a:gd name="connsiteX63" fmla="*/ 201536 w 287338"/>
              <a:gd name="connsiteY63" fmla="*/ 231631 h 573087"/>
              <a:gd name="connsiteX64" fmla="*/ 197545 w 287338"/>
              <a:gd name="connsiteY64" fmla="*/ 235624 h 573087"/>
              <a:gd name="connsiteX65" fmla="*/ 193554 w 287338"/>
              <a:gd name="connsiteY65" fmla="*/ 237621 h 573087"/>
              <a:gd name="connsiteX66" fmla="*/ 191559 w 287338"/>
              <a:gd name="connsiteY66" fmla="*/ 235624 h 573087"/>
              <a:gd name="connsiteX67" fmla="*/ 187568 w 287338"/>
              <a:gd name="connsiteY67" fmla="*/ 235624 h 573087"/>
              <a:gd name="connsiteX68" fmla="*/ 185573 w 287338"/>
              <a:gd name="connsiteY68" fmla="*/ 237621 h 573087"/>
              <a:gd name="connsiteX69" fmla="*/ 183577 w 287338"/>
              <a:gd name="connsiteY69" fmla="*/ 237621 h 573087"/>
              <a:gd name="connsiteX70" fmla="*/ 181582 w 287338"/>
              <a:gd name="connsiteY70" fmla="*/ 239618 h 573087"/>
              <a:gd name="connsiteX71" fmla="*/ 179586 w 287338"/>
              <a:gd name="connsiteY71" fmla="*/ 243612 h 573087"/>
              <a:gd name="connsiteX72" fmla="*/ 179586 w 287338"/>
              <a:gd name="connsiteY72" fmla="*/ 245609 h 573087"/>
              <a:gd name="connsiteX73" fmla="*/ 173600 w 287338"/>
              <a:gd name="connsiteY73" fmla="*/ 243612 h 573087"/>
              <a:gd name="connsiteX74" fmla="*/ 165619 w 287338"/>
              <a:gd name="connsiteY74" fmla="*/ 249602 h 573087"/>
              <a:gd name="connsiteX75" fmla="*/ 159632 w 287338"/>
              <a:gd name="connsiteY75" fmla="*/ 253596 h 573087"/>
              <a:gd name="connsiteX76" fmla="*/ 161628 w 287338"/>
              <a:gd name="connsiteY76" fmla="*/ 259586 h 573087"/>
              <a:gd name="connsiteX77" fmla="*/ 159632 w 287338"/>
              <a:gd name="connsiteY77" fmla="*/ 265577 h 573087"/>
              <a:gd name="connsiteX78" fmla="*/ 157637 w 287338"/>
              <a:gd name="connsiteY78" fmla="*/ 269570 h 573087"/>
              <a:gd name="connsiteX79" fmla="*/ 149655 w 287338"/>
              <a:gd name="connsiteY79" fmla="*/ 273564 h 573087"/>
              <a:gd name="connsiteX80" fmla="*/ 143669 w 287338"/>
              <a:gd name="connsiteY80" fmla="*/ 277558 h 573087"/>
              <a:gd name="connsiteX81" fmla="*/ 151651 w 287338"/>
              <a:gd name="connsiteY81" fmla="*/ 287542 h 573087"/>
              <a:gd name="connsiteX82" fmla="*/ 145665 w 287338"/>
              <a:gd name="connsiteY82" fmla="*/ 295529 h 573087"/>
              <a:gd name="connsiteX83" fmla="*/ 145665 w 287338"/>
              <a:gd name="connsiteY83" fmla="*/ 311504 h 573087"/>
              <a:gd name="connsiteX84" fmla="*/ 141674 w 287338"/>
              <a:gd name="connsiteY84" fmla="*/ 315497 h 573087"/>
              <a:gd name="connsiteX85" fmla="*/ 137683 w 287338"/>
              <a:gd name="connsiteY85" fmla="*/ 321488 h 573087"/>
              <a:gd name="connsiteX86" fmla="*/ 137683 w 287338"/>
              <a:gd name="connsiteY86" fmla="*/ 329475 h 573087"/>
              <a:gd name="connsiteX87" fmla="*/ 139678 w 287338"/>
              <a:gd name="connsiteY87" fmla="*/ 337462 h 573087"/>
              <a:gd name="connsiteX88" fmla="*/ 143669 w 287338"/>
              <a:gd name="connsiteY88" fmla="*/ 343453 h 573087"/>
              <a:gd name="connsiteX89" fmla="*/ 143669 w 287338"/>
              <a:gd name="connsiteY89" fmla="*/ 349443 h 573087"/>
              <a:gd name="connsiteX90" fmla="*/ 149655 w 287338"/>
              <a:gd name="connsiteY90" fmla="*/ 359427 h 573087"/>
              <a:gd name="connsiteX91" fmla="*/ 157637 w 287338"/>
              <a:gd name="connsiteY91" fmla="*/ 367415 h 573087"/>
              <a:gd name="connsiteX92" fmla="*/ 167614 w 287338"/>
              <a:gd name="connsiteY92" fmla="*/ 369411 h 573087"/>
              <a:gd name="connsiteX93" fmla="*/ 173600 w 287338"/>
              <a:gd name="connsiteY93" fmla="*/ 373405 h 573087"/>
              <a:gd name="connsiteX94" fmla="*/ 177591 w 287338"/>
              <a:gd name="connsiteY94" fmla="*/ 375402 h 573087"/>
              <a:gd name="connsiteX95" fmla="*/ 183577 w 287338"/>
              <a:gd name="connsiteY95" fmla="*/ 377399 h 573087"/>
              <a:gd name="connsiteX96" fmla="*/ 185573 w 287338"/>
              <a:gd name="connsiteY96" fmla="*/ 383389 h 573087"/>
              <a:gd name="connsiteX97" fmla="*/ 187568 w 287338"/>
              <a:gd name="connsiteY97" fmla="*/ 391376 h 573087"/>
              <a:gd name="connsiteX98" fmla="*/ 177591 w 287338"/>
              <a:gd name="connsiteY98" fmla="*/ 397367 h 573087"/>
              <a:gd name="connsiteX99" fmla="*/ 175596 w 287338"/>
              <a:gd name="connsiteY99" fmla="*/ 411345 h 573087"/>
              <a:gd name="connsiteX100" fmla="*/ 171605 w 287338"/>
              <a:gd name="connsiteY100" fmla="*/ 419332 h 573087"/>
              <a:gd name="connsiteX101" fmla="*/ 167614 w 287338"/>
              <a:gd name="connsiteY101" fmla="*/ 423325 h 573087"/>
              <a:gd name="connsiteX102" fmla="*/ 153646 w 287338"/>
              <a:gd name="connsiteY102" fmla="*/ 429316 h 573087"/>
              <a:gd name="connsiteX103" fmla="*/ 147660 w 287338"/>
              <a:gd name="connsiteY103" fmla="*/ 435306 h 573087"/>
              <a:gd name="connsiteX104" fmla="*/ 141674 w 287338"/>
              <a:gd name="connsiteY104" fmla="*/ 435306 h 573087"/>
              <a:gd name="connsiteX105" fmla="*/ 137683 w 287338"/>
              <a:gd name="connsiteY105" fmla="*/ 437303 h 573087"/>
              <a:gd name="connsiteX106" fmla="*/ 135688 w 287338"/>
              <a:gd name="connsiteY106" fmla="*/ 443294 h 573087"/>
              <a:gd name="connsiteX107" fmla="*/ 137683 w 287338"/>
              <a:gd name="connsiteY107" fmla="*/ 451281 h 573087"/>
              <a:gd name="connsiteX108" fmla="*/ 137683 w 287338"/>
              <a:gd name="connsiteY108" fmla="*/ 465259 h 573087"/>
              <a:gd name="connsiteX109" fmla="*/ 135688 w 287338"/>
              <a:gd name="connsiteY109" fmla="*/ 473246 h 573087"/>
              <a:gd name="connsiteX110" fmla="*/ 133692 w 287338"/>
              <a:gd name="connsiteY110" fmla="*/ 477240 h 573087"/>
              <a:gd name="connsiteX111" fmla="*/ 133692 w 287338"/>
              <a:gd name="connsiteY111" fmla="*/ 485227 h 573087"/>
              <a:gd name="connsiteX112" fmla="*/ 131697 w 287338"/>
              <a:gd name="connsiteY112" fmla="*/ 495211 h 573087"/>
              <a:gd name="connsiteX113" fmla="*/ 127706 w 287338"/>
              <a:gd name="connsiteY113" fmla="*/ 511186 h 573087"/>
              <a:gd name="connsiteX114" fmla="*/ 129038 w 287338"/>
              <a:gd name="connsiteY114" fmla="*/ 511186 h 573087"/>
              <a:gd name="connsiteX115" fmla="*/ 129041 w 287338"/>
              <a:gd name="connsiteY115" fmla="*/ 511176 h 573087"/>
              <a:gd name="connsiteX116" fmla="*/ 131083 w 287338"/>
              <a:gd name="connsiteY116" fmla="*/ 509192 h 573087"/>
              <a:gd name="connsiteX117" fmla="*/ 135165 w 287338"/>
              <a:gd name="connsiteY117" fmla="*/ 503239 h 573087"/>
              <a:gd name="connsiteX118" fmla="*/ 139247 w 287338"/>
              <a:gd name="connsiteY118" fmla="*/ 499270 h 573087"/>
              <a:gd name="connsiteX119" fmla="*/ 137206 w 287338"/>
              <a:gd name="connsiteY119" fmla="*/ 507207 h 573087"/>
              <a:gd name="connsiteX120" fmla="*/ 135165 w 287338"/>
              <a:gd name="connsiteY120" fmla="*/ 517129 h 573087"/>
              <a:gd name="connsiteX121" fmla="*/ 131083 w 287338"/>
              <a:gd name="connsiteY121" fmla="*/ 525067 h 573087"/>
              <a:gd name="connsiteX122" fmla="*/ 127000 w 287338"/>
              <a:gd name="connsiteY122" fmla="*/ 517129 h 573087"/>
              <a:gd name="connsiteX123" fmla="*/ 128692 w 287338"/>
              <a:gd name="connsiteY123" fmla="*/ 512196 h 573087"/>
              <a:gd name="connsiteX124" fmla="*/ 121719 w 287338"/>
              <a:gd name="connsiteY124" fmla="*/ 519173 h 573087"/>
              <a:gd name="connsiteX125" fmla="*/ 117729 w 287338"/>
              <a:gd name="connsiteY125" fmla="*/ 533151 h 573087"/>
              <a:gd name="connsiteX126" fmla="*/ 111742 w 287338"/>
              <a:gd name="connsiteY126" fmla="*/ 537144 h 573087"/>
              <a:gd name="connsiteX127" fmla="*/ 103761 w 287338"/>
              <a:gd name="connsiteY127" fmla="*/ 535148 h 573087"/>
              <a:gd name="connsiteX128" fmla="*/ 97774 w 287338"/>
              <a:gd name="connsiteY128" fmla="*/ 533151 h 573087"/>
              <a:gd name="connsiteX129" fmla="*/ 89793 w 287338"/>
              <a:gd name="connsiteY129" fmla="*/ 533151 h 573087"/>
              <a:gd name="connsiteX130" fmla="*/ 89793 w 287338"/>
              <a:gd name="connsiteY130" fmla="*/ 539141 h 573087"/>
              <a:gd name="connsiteX131" fmla="*/ 81811 w 287338"/>
              <a:gd name="connsiteY131" fmla="*/ 545132 h 573087"/>
              <a:gd name="connsiteX132" fmla="*/ 81811 w 287338"/>
              <a:gd name="connsiteY132" fmla="*/ 551122 h 573087"/>
              <a:gd name="connsiteX133" fmla="*/ 83807 w 287338"/>
              <a:gd name="connsiteY133" fmla="*/ 563103 h 573087"/>
              <a:gd name="connsiteX134" fmla="*/ 73830 w 287338"/>
              <a:gd name="connsiteY134" fmla="*/ 565100 h 573087"/>
              <a:gd name="connsiteX135" fmla="*/ 65848 w 287338"/>
              <a:gd name="connsiteY135" fmla="*/ 567097 h 573087"/>
              <a:gd name="connsiteX136" fmla="*/ 55871 w 287338"/>
              <a:gd name="connsiteY136" fmla="*/ 569094 h 573087"/>
              <a:gd name="connsiteX137" fmla="*/ 43899 w 287338"/>
              <a:gd name="connsiteY137" fmla="*/ 573087 h 573087"/>
              <a:gd name="connsiteX138" fmla="*/ 43899 w 287338"/>
              <a:gd name="connsiteY138" fmla="*/ 567097 h 573087"/>
              <a:gd name="connsiteX139" fmla="*/ 43899 w 287338"/>
              <a:gd name="connsiteY139" fmla="*/ 553119 h 573087"/>
              <a:gd name="connsiteX140" fmla="*/ 37912 w 287338"/>
              <a:gd name="connsiteY140" fmla="*/ 543135 h 573087"/>
              <a:gd name="connsiteX141" fmla="*/ 33922 w 287338"/>
              <a:gd name="connsiteY141" fmla="*/ 535148 h 573087"/>
              <a:gd name="connsiteX142" fmla="*/ 39908 w 287338"/>
              <a:gd name="connsiteY142" fmla="*/ 535148 h 573087"/>
              <a:gd name="connsiteX143" fmla="*/ 41903 w 287338"/>
              <a:gd name="connsiteY143" fmla="*/ 531154 h 573087"/>
              <a:gd name="connsiteX144" fmla="*/ 37912 w 287338"/>
              <a:gd name="connsiteY144" fmla="*/ 525164 h 573087"/>
              <a:gd name="connsiteX145" fmla="*/ 41903 w 287338"/>
              <a:gd name="connsiteY145" fmla="*/ 521170 h 573087"/>
              <a:gd name="connsiteX146" fmla="*/ 39908 w 287338"/>
              <a:gd name="connsiteY146" fmla="*/ 515179 h 573087"/>
              <a:gd name="connsiteX147" fmla="*/ 33922 w 287338"/>
              <a:gd name="connsiteY147" fmla="*/ 509189 h 573087"/>
              <a:gd name="connsiteX148" fmla="*/ 29931 w 287338"/>
              <a:gd name="connsiteY148" fmla="*/ 503198 h 573087"/>
              <a:gd name="connsiteX149" fmla="*/ 27935 w 287338"/>
              <a:gd name="connsiteY149" fmla="*/ 499205 h 573087"/>
              <a:gd name="connsiteX150" fmla="*/ 23945 w 287338"/>
              <a:gd name="connsiteY150" fmla="*/ 491217 h 573087"/>
              <a:gd name="connsiteX151" fmla="*/ 21949 w 287338"/>
              <a:gd name="connsiteY151" fmla="*/ 489220 h 573087"/>
              <a:gd name="connsiteX152" fmla="*/ 17958 w 287338"/>
              <a:gd name="connsiteY152" fmla="*/ 491217 h 573087"/>
              <a:gd name="connsiteX153" fmla="*/ 15963 w 287338"/>
              <a:gd name="connsiteY153" fmla="*/ 487224 h 573087"/>
              <a:gd name="connsiteX154" fmla="*/ 13968 w 287338"/>
              <a:gd name="connsiteY154" fmla="*/ 481233 h 573087"/>
              <a:gd name="connsiteX155" fmla="*/ 11972 w 287338"/>
              <a:gd name="connsiteY155" fmla="*/ 475243 h 573087"/>
              <a:gd name="connsiteX156" fmla="*/ 13968 w 287338"/>
              <a:gd name="connsiteY156" fmla="*/ 469252 h 573087"/>
              <a:gd name="connsiteX157" fmla="*/ 15963 w 287338"/>
              <a:gd name="connsiteY157" fmla="*/ 461265 h 573087"/>
              <a:gd name="connsiteX158" fmla="*/ 15963 w 287338"/>
              <a:gd name="connsiteY158" fmla="*/ 451281 h 573087"/>
              <a:gd name="connsiteX159" fmla="*/ 7981 w 287338"/>
              <a:gd name="connsiteY159" fmla="*/ 447287 h 573087"/>
              <a:gd name="connsiteX160" fmla="*/ 1995 w 287338"/>
              <a:gd name="connsiteY160" fmla="*/ 441297 h 573087"/>
              <a:gd name="connsiteX161" fmla="*/ 1995 w 287338"/>
              <a:gd name="connsiteY161" fmla="*/ 433310 h 573087"/>
              <a:gd name="connsiteX162" fmla="*/ 0 w 287338"/>
              <a:gd name="connsiteY162" fmla="*/ 427319 h 573087"/>
              <a:gd name="connsiteX163" fmla="*/ 0 w 287338"/>
              <a:gd name="connsiteY163" fmla="*/ 419332 h 573087"/>
              <a:gd name="connsiteX164" fmla="*/ 1995 w 287338"/>
              <a:gd name="connsiteY164" fmla="*/ 411345 h 573087"/>
              <a:gd name="connsiteX165" fmla="*/ 3991 w 287338"/>
              <a:gd name="connsiteY165" fmla="*/ 407351 h 573087"/>
              <a:gd name="connsiteX166" fmla="*/ 7981 w 287338"/>
              <a:gd name="connsiteY166" fmla="*/ 403357 h 573087"/>
              <a:gd name="connsiteX167" fmla="*/ 13968 w 287338"/>
              <a:gd name="connsiteY167" fmla="*/ 397367 h 573087"/>
              <a:gd name="connsiteX168" fmla="*/ 21949 w 287338"/>
              <a:gd name="connsiteY168" fmla="*/ 387383 h 573087"/>
              <a:gd name="connsiteX169" fmla="*/ 25940 w 287338"/>
              <a:gd name="connsiteY169" fmla="*/ 379395 h 573087"/>
              <a:gd name="connsiteX170" fmla="*/ 27935 w 287338"/>
              <a:gd name="connsiteY170" fmla="*/ 375402 h 573087"/>
              <a:gd name="connsiteX171" fmla="*/ 31926 w 287338"/>
              <a:gd name="connsiteY171" fmla="*/ 365418 h 573087"/>
              <a:gd name="connsiteX172" fmla="*/ 31926 w 287338"/>
              <a:gd name="connsiteY172" fmla="*/ 351440 h 573087"/>
              <a:gd name="connsiteX173" fmla="*/ 33922 w 287338"/>
              <a:gd name="connsiteY173" fmla="*/ 343453 h 573087"/>
              <a:gd name="connsiteX174" fmla="*/ 41903 w 287338"/>
              <a:gd name="connsiteY174" fmla="*/ 337462 h 573087"/>
              <a:gd name="connsiteX175" fmla="*/ 39908 w 287338"/>
              <a:gd name="connsiteY175" fmla="*/ 327478 h 573087"/>
              <a:gd name="connsiteX176" fmla="*/ 33922 w 287338"/>
              <a:gd name="connsiteY176" fmla="*/ 319491 h 573087"/>
              <a:gd name="connsiteX177" fmla="*/ 27935 w 287338"/>
              <a:gd name="connsiteY177" fmla="*/ 315497 h 573087"/>
              <a:gd name="connsiteX178" fmla="*/ 25940 w 287338"/>
              <a:gd name="connsiteY178" fmla="*/ 303516 h 573087"/>
              <a:gd name="connsiteX179" fmla="*/ 29931 w 287338"/>
              <a:gd name="connsiteY179" fmla="*/ 287542 h 573087"/>
              <a:gd name="connsiteX180" fmla="*/ 31926 w 287338"/>
              <a:gd name="connsiteY180" fmla="*/ 277558 h 573087"/>
              <a:gd name="connsiteX181" fmla="*/ 29931 w 287338"/>
              <a:gd name="connsiteY181" fmla="*/ 269570 h 573087"/>
              <a:gd name="connsiteX182" fmla="*/ 29931 w 287338"/>
              <a:gd name="connsiteY182" fmla="*/ 261583 h 573087"/>
              <a:gd name="connsiteX183" fmla="*/ 29931 w 287338"/>
              <a:gd name="connsiteY183" fmla="*/ 245609 h 573087"/>
              <a:gd name="connsiteX184" fmla="*/ 31926 w 287338"/>
              <a:gd name="connsiteY184" fmla="*/ 231631 h 573087"/>
              <a:gd name="connsiteX185" fmla="*/ 35917 w 287338"/>
              <a:gd name="connsiteY185" fmla="*/ 223644 h 573087"/>
              <a:gd name="connsiteX186" fmla="*/ 45894 w 287338"/>
              <a:gd name="connsiteY186" fmla="*/ 217653 h 573087"/>
              <a:gd name="connsiteX187" fmla="*/ 55871 w 287338"/>
              <a:gd name="connsiteY187" fmla="*/ 219650 h 573087"/>
              <a:gd name="connsiteX188" fmla="*/ 63853 w 287338"/>
              <a:gd name="connsiteY188" fmla="*/ 221647 h 573087"/>
              <a:gd name="connsiteX189" fmla="*/ 71834 w 287338"/>
              <a:gd name="connsiteY189" fmla="*/ 215656 h 573087"/>
              <a:gd name="connsiteX190" fmla="*/ 75825 w 287338"/>
              <a:gd name="connsiteY190" fmla="*/ 209666 h 573087"/>
              <a:gd name="connsiteX191" fmla="*/ 67843 w 287338"/>
              <a:gd name="connsiteY191" fmla="*/ 201679 h 573087"/>
              <a:gd name="connsiteX192" fmla="*/ 65848 w 287338"/>
              <a:gd name="connsiteY192" fmla="*/ 195688 h 573087"/>
              <a:gd name="connsiteX193" fmla="*/ 69839 w 287338"/>
              <a:gd name="connsiteY193" fmla="*/ 181710 h 573087"/>
              <a:gd name="connsiteX194" fmla="*/ 73830 w 287338"/>
              <a:gd name="connsiteY194" fmla="*/ 167733 h 573087"/>
              <a:gd name="connsiteX195" fmla="*/ 77820 w 287338"/>
              <a:gd name="connsiteY195" fmla="*/ 157749 h 573087"/>
              <a:gd name="connsiteX196" fmla="*/ 81811 w 287338"/>
              <a:gd name="connsiteY196" fmla="*/ 147764 h 573087"/>
              <a:gd name="connsiteX197" fmla="*/ 81811 w 287338"/>
              <a:gd name="connsiteY197" fmla="*/ 133787 h 573087"/>
              <a:gd name="connsiteX198" fmla="*/ 85802 w 287338"/>
              <a:gd name="connsiteY198" fmla="*/ 129793 h 573087"/>
              <a:gd name="connsiteX199" fmla="*/ 91788 w 287338"/>
              <a:gd name="connsiteY199" fmla="*/ 127796 h 573087"/>
              <a:gd name="connsiteX200" fmla="*/ 99770 w 287338"/>
              <a:gd name="connsiteY200" fmla="*/ 125799 h 573087"/>
              <a:gd name="connsiteX201" fmla="*/ 103761 w 287338"/>
              <a:gd name="connsiteY201" fmla="*/ 115815 h 573087"/>
              <a:gd name="connsiteX202" fmla="*/ 107752 w 287338"/>
              <a:gd name="connsiteY202" fmla="*/ 107828 h 573087"/>
              <a:gd name="connsiteX203" fmla="*/ 115733 w 287338"/>
              <a:gd name="connsiteY203" fmla="*/ 97844 h 573087"/>
              <a:gd name="connsiteX204" fmla="*/ 119724 w 287338"/>
              <a:gd name="connsiteY204" fmla="*/ 89857 h 573087"/>
              <a:gd name="connsiteX205" fmla="*/ 117729 w 287338"/>
              <a:gd name="connsiteY205" fmla="*/ 81870 h 573087"/>
              <a:gd name="connsiteX206" fmla="*/ 119724 w 287338"/>
              <a:gd name="connsiteY206" fmla="*/ 71885 h 573087"/>
              <a:gd name="connsiteX207" fmla="*/ 127706 w 287338"/>
              <a:gd name="connsiteY207" fmla="*/ 63898 h 573087"/>
              <a:gd name="connsiteX208" fmla="*/ 131697 w 287338"/>
              <a:gd name="connsiteY208" fmla="*/ 57908 h 573087"/>
              <a:gd name="connsiteX209" fmla="*/ 135688 w 287338"/>
              <a:gd name="connsiteY209" fmla="*/ 53914 h 573087"/>
              <a:gd name="connsiteX210" fmla="*/ 139678 w 287338"/>
              <a:gd name="connsiteY210" fmla="*/ 51917 h 573087"/>
              <a:gd name="connsiteX211" fmla="*/ 139678 w 287338"/>
              <a:gd name="connsiteY211" fmla="*/ 45927 h 573087"/>
              <a:gd name="connsiteX212" fmla="*/ 147660 w 287338"/>
              <a:gd name="connsiteY212" fmla="*/ 43930 h 573087"/>
              <a:gd name="connsiteX213" fmla="*/ 155642 w 287338"/>
              <a:gd name="connsiteY213" fmla="*/ 47924 h 573087"/>
              <a:gd name="connsiteX214" fmla="*/ 161628 w 287338"/>
              <a:gd name="connsiteY214" fmla="*/ 45927 h 573087"/>
              <a:gd name="connsiteX215" fmla="*/ 163623 w 287338"/>
              <a:gd name="connsiteY215" fmla="*/ 37939 h 573087"/>
              <a:gd name="connsiteX216" fmla="*/ 161628 w 287338"/>
              <a:gd name="connsiteY216" fmla="*/ 31949 h 573087"/>
              <a:gd name="connsiteX217" fmla="*/ 159632 w 287338"/>
              <a:gd name="connsiteY217" fmla="*/ 25959 h 573087"/>
              <a:gd name="connsiteX218" fmla="*/ 167614 w 287338"/>
              <a:gd name="connsiteY218" fmla="*/ 23962 h 573087"/>
              <a:gd name="connsiteX219" fmla="*/ 177591 w 287338"/>
              <a:gd name="connsiteY219" fmla="*/ 23962 h 573087"/>
              <a:gd name="connsiteX220" fmla="*/ 183577 w 287338"/>
              <a:gd name="connsiteY220" fmla="*/ 23962 h 573087"/>
              <a:gd name="connsiteX221" fmla="*/ 187568 w 287338"/>
              <a:gd name="connsiteY221" fmla="*/ 23962 h 573087"/>
              <a:gd name="connsiteX222" fmla="*/ 189564 w 287338"/>
              <a:gd name="connsiteY222" fmla="*/ 29952 h 573087"/>
              <a:gd name="connsiteX223" fmla="*/ 199541 w 287338"/>
              <a:gd name="connsiteY223" fmla="*/ 33946 h 573087"/>
              <a:gd name="connsiteX224" fmla="*/ 205527 w 287338"/>
              <a:gd name="connsiteY224" fmla="*/ 31949 h 573087"/>
              <a:gd name="connsiteX225" fmla="*/ 205527 w 287338"/>
              <a:gd name="connsiteY225" fmla="*/ 23962 h 573087"/>
              <a:gd name="connsiteX226" fmla="*/ 205527 w 287338"/>
              <a:gd name="connsiteY226" fmla="*/ 19968 h 573087"/>
              <a:gd name="connsiteX227" fmla="*/ 205527 w 287338"/>
              <a:gd name="connsiteY227" fmla="*/ 9984 h 573087"/>
              <a:gd name="connsiteX228" fmla="*/ 207522 w 287338"/>
              <a:gd name="connsiteY228" fmla="*/ 3994 h 573087"/>
              <a:gd name="connsiteX229" fmla="*/ 211513 w 287338"/>
              <a:gd name="connsiteY229" fmla="*/ 0 h 57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287338" h="573087">
                <a:moveTo>
                  <a:pt x="141289" y="485775"/>
                </a:moveTo>
                <a:cubicBezTo>
                  <a:pt x="142876" y="485775"/>
                  <a:pt x="142876" y="489479"/>
                  <a:pt x="141289" y="491331"/>
                </a:cubicBezTo>
                <a:cubicBezTo>
                  <a:pt x="141289" y="493183"/>
                  <a:pt x="141289" y="495035"/>
                  <a:pt x="141289" y="495035"/>
                </a:cubicBezTo>
                <a:cubicBezTo>
                  <a:pt x="141289" y="495035"/>
                  <a:pt x="138113" y="496887"/>
                  <a:pt x="138113" y="495035"/>
                </a:cubicBezTo>
                <a:cubicBezTo>
                  <a:pt x="138113" y="493183"/>
                  <a:pt x="138113" y="489479"/>
                  <a:pt x="138113" y="489479"/>
                </a:cubicBezTo>
                <a:cubicBezTo>
                  <a:pt x="138113" y="487627"/>
                  <a:pt x="139701" y="487627"/>
                  <a:pt x="141289" y="485775"/>
                </a:cubicBezTo>
                <a:close/>
                <a:moveTo>
                  <a:pt x="179632" y="467102"/>
                </a:moveTo>
                <a:cubicBezTo>
                  <a:pt x="181708" y="467102"/>
                  <a:pt x="185860" y="465137"/>
                  <a:pt x="187936" y="467102"/>
                </a:cubicBezTo>
                <a:cubicBezTo>
                  <a:pt x="190012" y="467102"/>
                  <a:pt x="192088" y="469068"/>
                  <a:pt x="192088" y="471033"/>
                </a:cubicBezTo>
                <a:cubicBezTo>
                  <a:pt x="192088" y="471033"/>
                  <a:pt x="187936" y="474964"/>
                  <a:pt x="187936" y="474964"/>
                </a:cubicBezTo>
                <a:cubicBezTo>
                  <a:pt x="187936" y="476930"/>
                  <a:pt x="183784" y="476930"/>
                  <a:pt x="183784" y="478895"/>
                </a:cubicBezTo>
                <a:cubicBezTo>
                  <a:pt x="181708" y="478895"/>
                  <a:pt x="181708" y="482826"/>
                  <a:pt x="183784" y="482826"/>
                </a:cubicBezTo>
                <a:cubicBezTo>
                  <a:pt x="183784" y="484792"/>
                  <a:pt x="185860" y="486757"/>
                  <a:pt x="185860" y="488723"/>
                </a:cubicBezTo>
                <a:cubicBezTo>
                  <a:pt x="185860" y="490688"/>
                  <a:pt x="183784" y="494619"/>
                  <a:pt x="183784" y="494619"/>
                </a:cubicBezTo>
                <a:cubicBezTo>
                  <a:pt x="181708" y="496585"/>
                  <a:pt x="177556" y="500516"/>
                  <a:pt x="177556" y="502481"/>
                </a:cubicBezTo>
                <a:cubicBezTo>
                  <a:pt x="175480" y="502481"/>
                  <a:pt x="175480" y="506412"/>
                  <a:pt x="173404" y="504447"/>
                </a:cubicBezTo>
                <a:cubicBezTo>
                  <a:pt x="171328" y="504447"/>
                  <a:pt x="171328" y="502481"/>
                  <a:pt x="171328" y="500516"/>
                </a:cubicBezTo>
                <a:cubicBezTo>
                  <a:pt x="171328" y="498550"/>
                  <a:pt x="173404" y="496585"/>
                  <a:pt x="173404" y="496585"/>
                </a:cubicBezTo>
                <a:cubicBezTo>
                  <a:pt x="171328" y="496585"/>
                  <a:pt x="169252" y="496585"/>
                  <a:pt x="169252" y="494619"/>
                </a:cubicBezTo>
                <a:cubicBezTo>
                  <a:pt x="167176" y="494619"/>
                  <a:pt x="167176" y="490688"/>
                  <a:pt x="167176" y="488723"/>
                </a:cubicBezTo>
                <a:cubicBezTo>
                  <a:pt x="167176" y="486757"/>
                  <a:pt x="165100" y="482826"/>
                  <a:pt x="165100" y="480861"/>
                </a:cubicBezTo>
                <a:cubicBezTo>
                  <a:pt x="165100" y="480861"/>
                  <a:pt x="167176" y="478895"/>
                  <a:pt x="167176" y="478895"/>
                </a:cubicBezTo>
                <a:cubicBezTo>
                  <a:pt x="169252" y="478895"/>
                  <a:pt x="171328" y="476930"/>
                  <a:pt x="171328" y="476930"/>
                </a:cubicBezTo>
                <a:cubicBezTo>
                  <a:pt x="171328" y="474964"/>
                  <a:pt x="173404" y="472999"/>
                  <a:pt x="173404" y="471033"/>
                </a:cubicBezTo>
                <a:cubicBezTo>
                  <a:pt x="175480" y="469068"/>
                  <a:pt x="177556" y="469068"/>
                  <a:pt x="179632" y="467102"/>
                </a:cubicBezTo>
                <a:close/>
                <a:moveTo>
                  <a:pt x="195264" y="461962"/>
                </a:moveTo>
                <a:cubicBezTo>
                  <a:pt x="195264" y="461962"/>
                  <a:pt x="196851" y="463946"/>
                  <a:pt x="196851" y="465930"/>
                </a:cubicBezTo>
                <a:cubicBezTo>
                  <a:pt x="196851" y="469899"/>
                  <a:pt x="192088" y="469899"/>
                  <a:pt x="192088" y="463946"/>
                </a:cubicBezTo>
                <a:cubicBezTo>
                  <a:pt x="192088" y="463946"/>
                  <a:pt x="193676" y="461962"/>
                  <a:pt x="195264" y="461962"/>
                </a:cubicBezTo>
                <a:close/>
                <a:moveTo>
                  <a:pt x="211513" y="0"/>
                </a:moveTo>
                <a:cubicBezTo>
                  <a:pt x="213508" y="1997"/>
                  <a:pt x="215504" y="1997"/>
                  <a:pt x="217499" y="3994"/>
                </a:cubicBezTo>
                <a:cubicBezTo>
                  <a:pt x="217499" y="3994"/>
                  <a:pt x="217499" y="5990"/>
                  <a:pt x="219495" y="5990"/>
                </a:cubicBezTo>
                <a:cubicBezTo>
                  <a:pt x="219495" y="5990"/>
                  <a:pt x="219495" y="13978"/>
                  <a:pt x="219495" y="13978"/>
                </a:cubicBezTo>
                <a:cubicBezTo>
                  <a:pt x="233462" y="19968"/>
                  <a:pt x="233462" y="19968"/>
                  <a:pt x="233462" y="19968"/>
                </a:cubicBezTo>
                <a:cubicBezTo>
                  <a:pt x="233462" y="19968"/>
                  <a:pt x="243439" y="27955"/>
                  <a:pt x="245435" y="27955"/>
                </a:cubicBezTo>
                <a:cubicBezTo>
                  <a:pt x="247430" y="29952"/>
                  <a:pt x="275366" y="47924"/>
                  <a:pt x="275366" y="47924"/>
                </a:cubicBezTo>
                <a:cubicBezTo>
                  <a:pt x="275366" y="47924"/>
                  <a:pt x="277361" y="65895"/>
                  <a:pt x="277361" y="67892"/>
                </a:cubicBezTo>
                <a:cubicBezTo>
                  <a:pt x="279357" y="71885"/>
                  <a:pt x="281352" y="75879"/>
                  <a:pt x="281352" y="79873"/>
                </a:cubicBezTo>
                <a:cubicBezTo>
                  <a:pt x="281352" y="81870"/>
                  <a:pt x="281352" y="89857"/>
                  <a:pt x="281352" y="91854"/>
                </a:cubicBezTo>
                <a:cubicBezTo>
                  <a:pt x="281352" y="91854"/>
                  <a:pt x="285343" y="105831"/>
                  <a:pt x="285343" y="105831"/>
                </a:cubicBezTo>
                <a:cubicBezTo>
                  <a:pt x="285343" y="107828"/>
                  <a:pt x="287338" y="129793"/>
                  <a:pt x="287338" y="129793"/>
                </a:cubicBezTo>
                <a:cubicBezTo>
                  <a:pt x="285343" y="129793"/>
                  <a:pt x="281352" y="131790"/>
                  <a:pt x="281352" y="131790"/>
                </a:cubicBezTo>
                <a:cubicBezTo>
                  <a:pt x="281352" y="131790"/>
                  <a:pt x="277361" y="133787"/>
                  <a:pt x="275366" y="133787"/>
                </a:cubicBezTo>
                <a:cubicBezTo>
                  <a:pt x="273370" y="131790"/>
                  <a:pt x="269380" y="133787"/>
                  <a:pt x="269380" y="133787"/>
                </a:cubicBezTo>
                <a:cubicBezTo>
                  <a:pt x="269380" y="135784"/>
                  <a:pt x="265389" y="135784"/>
                  <a:pt x="265389" y="133787"/>
                </a:cubicBezTo>
                <a:cubicBezTo>
                  <a:pt x="265389" y="131790"/>
                  <a:pt x="263393" y="133787"/>
                  <a:pt x="261398" y="135784"/>
                </a:cubicBezTo>
                <a:cubicBezTo>
                  <a:pt x="261398" y="137780"/>
                  <a:pt x="257407" y="135784"/>
                  <a:pt x="257407" y="135784"/>
                </a:cubicBezTo>
                <a:cubicBezTo>
                  <a:pt x="257407" y="135784"/>
                  <a:pt x="257407" y="133787"/>
                  <a:pt x="253416" y="133787"/>
                </a:cubicBezTo>
                <a:cubicBezTo>
                  <a:pt x="251421" y="137780"/>
                  <a:pt x="255412" y="139777"/>
                  <a:pt x="255412" y="141774"/>
                </a:cubicBezTo>
                <a:cubicBezTo>
                  <a:pt x="257407" y="145768"/>
                  <a:pt x="253416" y="147764"/>
                  <a:pt x="251421" y="145768"/>
                </a:cubicBezTo>
                <a:cubicBezTo>
                  <a:pt x="247430" y="145768"/>
                  <a:pt x="247430" y="147764"/>
                  <a:pt x="247430" y="149761"/>
                </a:cubicBezTo>
                <a:cubicBezTo>
                  <a:pt x="247430" y="151758"/>
                  <a:pt x="245435" y="153755"/>
                  <a:pt x="239449" y="153755"/>
                </a:cubicBezTo>
                <a:cubicBezTo>
                  <a:pt x="235458" y="155752"/>
                  <a:pt x="237453" y="157749"/>
                  <a:pt x="241444" y="159745"/>
                </a:cubicBezTo>
                <a:cubicBezTo>
                  <a:pt x="243439" y="159745"/>
                  <a:pt x="241444" y="163739"/>
                  <a:pt x="241444" y="163739"/>
                </a:cubicBezTo>
                <a:cubicBezTo>
                  <a:pt x="239449" y="163739"/>
                  <a:pt x="235458" y="167733"/>
                  <a:pt x="235458" y="167733"/>
                </a:cubicBezTo>
                <a:cubicBezTo>
                  <a:pt x="235458" y="171726"/>
                  <a:pt x="235458" y="169729"/>
                  <a:pt x="231467" y="173723"/>
                </a:cubicBezTo>
                <a:cubicBezTo>
                  <a:pt x="227476" y="179714"/>
                  <a:pt x="229472" y="183707"/>
                  <a:pt x="233462" y="185704"/>
                </a:cubicBezTo>
                <a:cubicBezTo>
                  <a:pt x="233462" y="187701"/>
                  <a:pt x="235458" y="191694"/>
                  <a:pt x="233462" y="191694"/>
                </a:cubicBezTo>
                <a:cubicBezTo>
                  <a:pt x="229472" y="193691"/>
                  <a:pt x="225481" y="199682"/>
                  <a:pt x="225481" y="201679"/>
                </a:cubicBezTo>
                <a:cubicBezTo>
                  <a:pt x="225481" y="203675"/>
                  <a:pt x="225481" y="207669"/>
                  <a:pt x="221490" y="207669"/>
                </a:cubicBezTo>
                <a:cubicBezTo>
                  <a:pt x="217499" y="209666"/>
                  <a:pt x="217499" y="215656"/>
                  <a:pt x="217499" y="215656"/>
                </a:cubicBezTo>
                <a:cubicBezTo>
                  <a:pt x="217499" y="219650"/>
                  <a:pt x="215504" y="221647"/>
                  <a:pt x="213508" y="221647"/>
                </a:cubicBezTo>
                <a:cubicBezTo>
                  <a:pt x="211513" y="221647"/>
                  <a:pt x="209518" y="225640"/>
                  <a:pt x="207522" y="227637"/>
                </a:cubicBezTo>
                <a:cubicBezTo>
                  <a:pt x="207522" y="229634"/>
                  <a:pt x="205527" y="231631"/>
                  <a:pt x="201536" y="231631"/>
                </a:cubicBezTo>
                <a:cubicBezTo>
                  <a:pt x="197545" y="231631"/>
                  <a:pt x="197545" y="231631"/>
                  <a:pt x="197545" y="235624"/>
                </a:cubicBezTo>
                <a:cubicBezTo>
                  <a:pt x="197545" y="235624"/>
                  <a:pt x="195550" y="237621"/>
                  <a:pt x="193554" y="237621"/>
                </a:cubicBezTo>
                <a:cubicBezTo>
                  <a:pt x="191559" y="237621"/>
                  <a:pt x="191559" y="237621"/>
                  <a:pt x="191559" y="235624"/>
                </a:cubicBezTo>
                <a:cubicBezTo>
                  <a:pt x="191559" y="231631"/>
                  <a:pt x="187568" y="235624"/>
                  <a:pt x="187568" y="235624"/>
                </a:cubicBezTo>
                <a:cubicBezTo>
                  <a:pt x="187568" y="235624"/>
                  <a:pt x="187568" y="237621"/>
                  <a:pt x="185573" y="237621"/>
                </a:cubicBezTo>
                <a:cubicBezTo>
                  <a:pt x="185573" y="237621"/>
                  <a:pt x="183577" y="237621"/>
                  <a:pt x="183577" y="237621"/>
                </a:cubicBezTo>
                <a:cubicBezTo>
                  <a:pt x="183577" y="237621"/>
                  <a:pt x="183577" y="239618"/>
                  <a:pt x="181582" y="239618"/>
                </a:cubicBezTo>
                <a:cubicBezTo>
                  <a:pt x="179586" y="239618"/>
                  <a:pt x="179586" y="243612"/>
                  <a:pt x="179586" y="243612"/>
                </a:cubicBezTo>
                <a:cubicBezTo>
                  <a:pt x="179586" y="243612"/>
                  <a:pt x="181582" y="245609"/>
                  <a:pt x="179586" y="245609"/>
                </a:cubicBezTo>
                <a:cubicBezTo>
                  <a:pt x="179586" y="245609"/>
                  <a:pt x="177591" y="247605"/>
                  <a:pt x="173600" y="243612"/>
                </a:cubicBezTo>
                <a:cubicBezTo>
                  <a:pt x="169609" y="241615"/>
                  <a:pt x="167614" y="247605"/>
                  <a:pt x="165619" y="249602"/>
                </a:cubicBezTo>
                <a:cubicBezTo>
                  <a:pt x="165619" y="249602"/>
                  <a:pt x="161628" y="251599"/>
                  <a:pt x="159632" y="253596"/>
                </a:cubicBezTo>
                <a:cubicBezTo>
                  <a:pt x="157637" y="253596"/>
                  <a:pt x="159632" y="257589"/>
                  <a:pt x="161628" y="259586"/>
                </a:cubicBezTo>
                <a:cubicBezTo>
                  <a:pt x="161628" y="259586"/>
                  <a:pt x="161628" y="263580"/>
                  <a:pt x="159632" y="265577"/>
                </a:cubicBezTo>
                <a:cubicBezTo>
                  <a:pt x="157637" y="265577"/>
                  <a:pt x="157637" y="267574"/>
                  <a:pt x="157637" y="269570"/>
                </a:cubicBezTo>
                <a:cubicBezTo>
                  <a:pt x="157637" y="273564"/>
                  <a:pt x="153646" y="273564"/>
                  <a:pt x="149655" y="273564"/>
                </a:cubicBezTo>
                <a:cubicBezTo>
                  <a:pt x="145665" y="273564"/>
                  <a:pt x="145665" y="273564"/>
                  <a:pt x="143669" y="277558"/>
                </a:cubicBezTo>
                <a:cubicBezTo>
                  <a:pt x="143669" y="281551"/>
                  <a:pt x="149655" y="285545"/>
                  <a:pt x="151651" y="287542"/>
                </a:cubicBezTo>
                <a:cubicBezTo>
                  <a:pt x="151651" y="289539"/>
                  <a:pt x="147660" y="293532"/>
                  <a:pt x="145665" y="295529"/>
                </a:cubicBezTo>
                <a:cubicBezTo>
                  <a:pt x="145665" y="297526"/>
                  <a:pt x="145665" y="309507"/>
                  <a:pt x="145665" y="311504"/>
                </a:cubicBezTo>
                <a:cubicBezTo>
                  <a:pt x="145665" y="313500"/>
                  <a:pt x="145665" y="315497"/>
                  <a:pt x="141674" y="315497"/>
                </a:cubicBezTo>
                <a:cubicBezTo>
                  <a:pt x="139678" y="315497"/>
                  <a:pt x="137683" y="317494"/>
                  <a:pt x="137683" y="321488"/>
                </a:cubicBezTo>
                <a:cubicBezTo>
                  <a:pt x="137683" y="323485"/>
                  <a:pt x="137683" y="327478"/>
                  <a:pt x="137683" y="329475"/>
                </a:cubicBezTo>
                <a:cubicBezTo>
                  <a:pt x="135688" y="333469"/>
                  <a:pt x="137683" y="337462"/>
                  <a:pt x="139678" y="337462"/>
                </a:cubicBezTo>
                <a:cubicBezTo>
                  <a:pt x="143669" y="337462"/>
                  <a:pt x="143669" y="341456"/>
                  <a:pt x="143669" y="343453"/>
                </a:cubicBezTo>
                <a:cubicBezTo>
                  <a:pt x="141674" y="345450"/>
                  <a:pt x="143669" y="347446"/>
                  <a:pt x="143669" y="349443"/>
                </a:cubicBezTo>
                <a:cubicBezTo>
                  <a:pt x="145665" y="349443"/>
                  <a:pt x="145665" y="355434"/>
                  <a:pt x="149655" y="359427"/>
                </a:cubicBezTo>
                <a:cubicBezTo>
                  <a:pt x="153646" y="363421"/>
                  <a:pt x="157637" y="367415"/>
                  <a:pt x="157637" y="367415"/>
                </a:cubicBezTo>
                <a:cubicBezTo>
                  <a:pt x="167614" y="369411"/>
                  <a:pt x="167614" y="369411"/>
                  <a:pt x="167614" y="369411"/>
                </a:cubicBezTo>
                <a:cubicBezTo>
                  <a:pt x="167614" y="369411"/>
                  <a:pt x="173600" y="369411"/>
                  <a:pt x="173600" y="373405"/>
                </a:cubicBezTo>
                <a:cubicBezTo>
                  <a:pt x="173600" y="377399"/>
                  <a:pt x="177591" y="375402"/>
                  <a:pt x="177591" y="375402"/>
                </a:cubicBezTo>
                <a:cubicBezTo>
                  <a:pt x="179586" y="373405"/>
                  <a:pt x="183577" y="373405"/>
                  <a:pt x="183577" y="377399"/>
                </a:cubicBezTo>
                <a:cubicBezTo>
                  <a:pt x="183577" y="379395"/>
                  <a:pt x="183577" y="379395"/>
                  <a:pt x="185573" y="383389"/>
                </a:cubicBezTo>
                <a:cubicBezTo>
                  <a:pt x="187568" y="387383"/>
                  <a:pt x="187568" y="389380"/>
                  <a:pt x="187568" y="391376"/>
                </a:cubicBezTo>
                <a:cubicBezTo>
                  <a:pt x="187568" y="393373"/>
                  <a:pt x="183577" y="393373"/>
                  <a:pt x="177591" y="397367"/>
                </a:cubicBezTo>
                <a:cubicBezTo>
                  <a:pt x="171605" y="399364"/>
                  <a:pt x="173600" y="409348"/>
                  <a:pt x="175596" y="411345"/>
                </a:cubicBezTo>
                <a:cubicBezTo>
                  <a:pt x="175596" y="413341"/>
                  <a:pt x="175596" y="417335"/>
                  <a:pt x="171605" y="419332"/>
                </a:cubicBezTo>
                <a:cubicBezTo>
                  <a:pt x="169609" y="421329"/>
                  <a:pt x="169609" y="421329"/>
                  <a:pt x="167614" y="423325"/>
                </a:cubicBezTo>
                <a:cubicBezTo>
                  <a:pt x="165619" y="425322"/>
                  <a:pt x="155642" y="427319"/>
                  <a:pt x="153646" y="429316"/>
                </a:cubicBezTo>
                <a:cubicBezTo>
                  <a:pt x="151651" y="429316"/>
                  <a:pt x="147660" y="433310"/>
                  <a:pt x="147660" y="435306"/>
                </a:cubicBezTo>
                <a:cubicBezTo>
                  <a:pt x="147660" y="435306"/>
                  <a:pt x="143669" y="437303"/>
                  <a:pt x="141674" y="435306"/>
                </a:cubicBezTo>
                <a:cubicBezTo>
                  <a:pt x="139678" y="435306"/>
                  <a:pt x="137683" y="437303"/>
                  <a:pt x="137683" y="437303"/>
                </a:cubicBezTo>
                <a:cubicBezTo>
                  <a:pt x="137683" y="437303"/>
                  <a:pt x="137683" y="441297"/>
                  <a:pt x="135688" y="443294"/>
                </a:cubicBezTo>
                <a:cubicBezTo>
                  <a:pt x="133692" y="443294"/>
                  <a:pt x="137683" y="447287"/>
                  <a:pt x="137683" y="451281"/>
                </a:cubicBezTo>
                <a:cubicBezTo>
                  <a:pt x="137683" y="453278"/>
                  <a:pt x="137683" y="461265"/>
                  <a:pt x="137683" y="465259"/>
                </a:cubicBezTo>
                <a:cubicBezTo>
                  <a:pt x="137683" y="469252"/>
                  <a:pt x="137683" y="471249"/>
                  <a:pt x="135688" y="473246"/>
                </a:cubicBezTo>
                <a:cubicBezTo>
                  <a:pt x="133692" y="473246"/>
                  <a:pt x="133692" y="473246"/>
                  <a:pt x="133692" y="477240"/>
                </a:cubicBezTo>
                <a:cubicBezTo>
                  <a:pt x="131697" y="481233"/>
                  <a:pt x="135688" y="481233"/>
                  <a:pt x="133692" y="485227"/>
                </a:cubicBezTo>
                <a:cubicBezTo>
                  <a:pt x="131697" y="489220"/>
                  <a:pt x="131697" y="491217"/>
                  <a:pt x="131697" y="495211"/>
                </a:cubicBezTo>
                <a:cubicBezTo>
                  <a:pt x="131697" y="499205"/>
                  <a:pt x="127706" y="505195"/>
                  <a:pt x="127706" y="511186"/>
                </a:cubicBezTo>
                <a:lnTo>
                  <a:pt x="129038" y="511186"/>
                </a:lnTo>
                <a:lnTo>
                  <a:pt x="129041" y="511176"/>
                </a:lnTo>
                <a:cubicBezTo>
                  <a:pt x="129041" y="513161"/>
                  <a:pt x="129041" y="509192"/>
                  <a:pt x="131083" y="509192"/>
                </a:cubicBezTo>
                <a:cubicBezTo>
                  <a:pt x="133124" y="507207"/>
                  <a:pt x="135165" y="503239"/>
                  <a:pt x="135165" y="503239"/>
                </a:cubicBezTo>
                <a:cubicBezTo>
                  <a:pt x="135165" y="503239"/>
                  <a:pt x="139247" y="495301"/>
                  <a:pt x="139247" y="499270"/>
                </a:cubicBezTo>
                <a:cubicBezTo>
                  <a:pt x="141288" y="503239"/>
                  <a:pt x="137206" y="507207"/>
                  <a:pt x="137206" y="507207"/>
                </a:cubicBezTo>
                <a:cubicBezTo>
                  <a:pt x="137206" y="507207"/>
                  <a:pt x="137206" y="515145"/>
                  <a:pt x="135165" y="517129"/>
                </a:cubicBezTo>
                <a:cubicBezTo>
                  <a:pt x="133124" y="521098"/>
                  <a:pt x="133124" y="523082"/>
                  <a:pt x="131083" y="525067"/>
                </a:cubicBezTo>
                <a:cubicBezTo>
                  <a:pt x="127000" y="527051"/>
                  <a:pt x="127000" y="523082"/>
                  <a:pt x="127000" y="517129"/>
                </a:cubicBezTo>
                <a:lnTo>
                  <a:pt x="128692" y="512196"/>
                </a:lnTo>
                <a:lnTo>
                  <a:pt x="121719" y="519173"/>
                </a:lnTo>
                <a:cubicBezTo>
                  <a:pt x="119724" y="521170"/>
                  <a:pt x="115733" y="527160"/>
                  <a:pt x="117729" y="533151"/>
                </a:cubicBezTo>
                <a:cubicBezTo>
                  <a:pt x="117729" y="541138"/>
                  <a:pt x="111742" y="537144"/>
                  <a:pt x="111742" y="537144"/>
                </a:cubicBezTo>
                <a:cubicBezTo>
                  <a:pt x="111742" y="537144"/>
                  <a:pt x="105756" y="535148"/>
                  <a:pt x="103761" y="535148"/>
                </a:cubicBezTo>
                <a:cubicBezTo>
                  <a:pt x="101765" y="537144"/>
                  <a:pt x="99770" y="535148"/>
                  <a:pt x="97774" y="533151"/>
                </a:cubicBezTo>
                <a:cubicBezTo>
                  <a:pt x="95779" y="531154"/>
                  <a:pt x="95779" y="533151"/>
                  <a:pt x="89793" y="533151"/>
                </a:cubicBezTo>
                <a:cubicBezTo>
                  <a:pt x="83807" y="535148"/>
                  <a:pt x="89793" y="537144"/>
                  <a:pt x="89793" y="539141"/>
                </a:cubicBezTo>
                <a:cubicBezTo>
                  <a:pt x="91788" y="541138"/>
                  <a:pt x="87797" y="543135"/>
                  <a:pt x="81811" y="545132"/>
                </a:cubicBezTo>
                <a:cubicBezTo>
                  <a:pt x="77820" y="545132"/>
                  <a:pt x="81811" y="551122"/>
                  <a:pt x="81811" y="551122"/>
                </a:cubicBezTo>
                <a:cubicBezTo>
                  <a:pt x="81811" y="551122"/>
                  <a:pt x="85802" y="557113"/>
                  <a:pt x="83807" y="563103"/>
                </a:cubicBezTo>
                <a:cubicBezTo>
                  <a:pt x="81811" y="569094"/>
                  <a:pt x="77820" y="569094"/>
                  <a:pt x="73830" y="565100"/>
                </a:cubicBezTo>
                <a:cubicBezTo>
                  <a:pt x="69839" y="565100"/>
                  <a:pt x="67843" y="565100"/>
                  <a:pt x="65848" y="567097"/>
                </a:cubicBezTo>
                <a:cubicBezTo>
                  <a:pt x="61857" y="569094"/>
                  <a:pt x="55871" y="569094"/>
                  <a:pt x="55871" y="569094"/>
                </a:cubicBezTo>
                <a:cubicBezTo>
                  <a:pt x="55871" y="569094"/>
                  <a:pt x="45894" y="573087"/>
                  <a:pt x="43899" y="573087"/>
                </a:cubicBezTo>
                <a:cubicBezTo>
                  <a:pt x="39908" y="573087"/>
                  <a:pt x="43899" y="567097"/>
                  <a:pt x="43899" y="567097"/>
                </a:cubicBezTo>
                <a:cubicBezTo>
                  <a:pt x="43899" y="567097"/>
                  <a:pt x="43899" y="557113"/>
                  <a:pt x="43899" y="553119"/>
                </a:cubicBezTo>
                <a:cubicBezTo>
                  <a:pt x="43899" y="549125"/>
                  <a:pt x="37912" y="543135"/>
                  <a:pt x="37912" y="543135"/>
                </a:cubicBezTo>
                <a:cubicBezTo>
                  <a:pt x="37912" y="543135"/>
                  <a:pt x="35917" y="537144"/>
                  <a:pt x="33922" y="535148"/>
                </a:cubicBezTo>
                <a:cubicBezTo>
                  <a:pt x="31926" y="531154"/>
                  <a:pt x="35917" y="535148"/>
                  <a:pt x="39908" y="535148"/>
                </a:cubicBezTo>
                <a:cubicBezTo>
                  <a:pt x="41903" y="535148"/>
                  <a:pt x="41903" y="531154"/>
                  <a:pt x="41903" y="531154"/>
                </a:cubicBezTo>
                <a:cubicBezTo>
                  <a:pt x="41903" y="531154"/>
                  <a:pt x="39908" y="529157"/>
                  <a:pt x="37912" y="525164"/>
                </a:cubicBezTo>
                <a:cubicBezTo>
                  <a:pt x="37912" y="523167"/>
                  <a:pt x="39908" y="523167"/>
                  <a:pt x="41903" y="521170"/>
                </a:cubicBezTo>
                <a:cubicBezTo>
                  <a:pt x="43899" y="519173"/>
                  <a:pt x="39908" y="515179"/>
                  <a:pt x="39908" y="515179"/>
                </a:cubicBezTo>
                <a:cubicBezTo>
                  <a:pt x="33922" y="509189"/>
                  <a:pt x="33922" y="509189"/>
                  <a:pt x="33922" y="509189"/>
                </a:cubicBezTo>
                <a:cubicBezTo>
                  <a:pt x="33922" y="509189"/>
                  <a:pt x="29931" y="507192"/>
                  <a:pt x="29931" y="503198"/>
                </a:cubicBezTo>
                <a:cubicBezTo>
                  <a:pt x="29931" y="499205"/>
                  <a:pt x="27935" y="499205"/>
                  <a:pt x="27935" y="499205"/>
                </a:cubicBezTo>
                <a:cubicBezTo>
                  <a:pt x="27935" y="499205"/>
                  <a:pt x="23945" y="495211"/>
                  <a:pt x="23945" y="491217"/>
                </a:cubicBezTo>
                <a:cubicBezTo>
                  <a:pt x="21949" y="489220"/>
                  <a:pt x="21949" y="489220"/>
                  <a:pt x="21949" y="489220"/>
                </a:cubicBezTo>
                <a:cubicBezTo>
                  <a:pt x="21949" y="489220"/>
                  <a:pt x="19954" y="491217"/>
                  <a:pt x="17958" y="491217"/>
                </a:cubicBezTo>
                <a:cubicBezTo>
                  <a:pt x="15963" y="491217"/>
                  <a:pt x="15963" y="487224"/>
                  <a:pt x="15963" y="487224"/>
                </a:cubicBezTo>
                <a:cubicBezTo>
                  <a:pt x="15963" y="487224"/>
                  <a:pt x="15963" y="483230"/>
                  <a:pt x="13968" y="481233"/>
                </a:cubicBezTo>
                <a:cubicBezTo>
                  <a:pt x="11972" y="481233"/>
                  <a:pt x="11972" y="475243"/>
                  <a:pt x="11972" y="475243"/>
                </a:cubicBezTo>
                <a:cubicBezTo>
                  <a:pt x="11972" y="475243"/>
                  <a:pt x="9977" y="469252"/>
                  <a:pt x="13968" y="469252"/>
                </a:cubicBezTo>
                <a:cubicBezTo>
                  <a:pt x="17958" y="469252"/>
                  <a:pt x="15963" y="461265"/>
                  <a:pt x="15963" y="461265"/>
                </a:cubicBezTo>
                <a:cubicBezTo>
                  <a:pt x="15963" y="461265"/>
                  <a:pt x="15963" y="457271"/>
                  <a:pt x="15963" y="451281"/>
                </a:cubicBezTo>
                <a:cubicBezTo>
                  <a:pt x="15963" y="445290"/>
                  <a:pt x="11972" y="451281"/>
                  <a:pt x="7981" y="447287"/>
                </a:cubicBezTo>
                <a:cubicBezTo>
                  <a:pt x="5986" y="445290"/>
                  <a:pt x="5986" y="443294"/>
                  <a:pt x="1995" y="441297"/>
                </a:cubicBezTo>
                <a:cubicBezTo>
                  <a:pt x="0" y="437303"/>
                  <a:pt x="1995" y="435306"/>
                  <a:pt x="1995" y="433310"/>
                </a:cubicBezTo>
                <a:cubicBezTo>
                  <a:pt x="3991" y="431313"/>
                  <a:pt x="0" y="427319"/>
                  <a:pt x="0" y="427319"/>
                </a:cubicBezTo>
                <a:cubicBezTo>
                  <a:pt x="0" y="427319"/>
                  <a:pt x="0" y="423325"/>
                  <a:pt x="0" y="419332"/>
                </a:cubicBezTo>
                <a:cubicBezTo>
                  <a:pt x="0" y="417335"/>
                  <a:pt x="1995" y="413341"/>
                  <a:pt x="1995" y="411345"/>
                </a:cubicBezTo>
                <a:cubicBezTo>
                  <a:pt x="1995" y="411345"/>
                  <a:pt x="3991" y="407351"/>
                  <a:pt x="3991" y="407351"/>
                </a:cubicBezTo>
                <a:cubicBezTo>
                  <a:pt x="3991" y="405354"/>
                  <a:pt x="7981" y="403357"/>
                  <a:pt x="7981" y="403357"/>
                </a:cubicBezTo>
                <a:cubicBezTo>
                  <a:pt x="9977" y="401360"/>
                  <a:pt x="13968" y="397367"/>
                  <a:pt x="13968" y="397367"/>
                </a:cubicBezTo>
                <a:cubicBezTo>
                  <a:pt x="15963" y="395370"/>
                  <a:pt x="19954" y="389380"/>
                  <a:pt x="21949" y="387383"/>
                </a:cubicBezTo>
                <a:cubicBezTo>
                  <a:pt x="23945" y="385386"/>
                  <a:pt x="25940" y="381392"/>
                  <a:pt x="25940" y="379395"/>
                </a:cubicBezTo>
                <a:cubicBezTo>
                  <a:pt x="27935" y="379395"/>
                  <a:pt x="27935" y="379395"/>
                  <a:pt x="27935" y="375402"/>
                </a:cubicBezTo>
                <a:cubicBezTo>
                  <a:pt x="29931" y="373405"/>
                  <a:pt x="31926" y="367415"/>
                  <a:pt x="31926" y="365418"/>
                </a:cubicBezTo>
                <a:cubicBezTo>
                  <a:pt x="31926" y="363421"/>
                  <a:pt x="33922" y="355434"/>
                  <a:pt x="31926" y="351440"/>
                </a:cubicBezTo>
                <a:cubicBezTo>
                  <a:pt x="31926" y="349443"/>
                  <a:pt x="31926" y="345450"/>
                  <a:pt x="33922" y="343453"/>
                </a:cubicBezTo>
                <a:cubicBezTo>
                  <a:pt x="33922" y="343453"/>
                  <a:pt x="41903" y="339459"/>
                  <a:pt x="41903" y="337462"/>
                </a:cubicBezTo>
                <a:cubicBezTo>
                  <a:pt x="41903" y="335465"/>
                  <a:pt x="41903" y="329475"/>
                  <a:pt x="39908" y="327478"/>
                </a:cubicBezTo>
                <a:cubicBezTo>
                  <a:pt x="37912" y="325481"/>
                  <a:pt x="35917" y="321488"/>
                  <a:pt x="33922" y="319491"/>
                </a:cubicBezTo>
                <a:cubicBezTo>
                  <a:pt x="31926" y="319491"/>
                  <a:pt x="27935" y="319491"/>
                  <a:pt x="27935" y="315497"/>
                </a:cubicBezTo>
                <a:cubicBezTo>
                  <a:pt x="27935" y="313500"/>
                  <a:pt x="23945" y="307510"/>
                  <a:pt x="25940" y="303516"/>
                </a:cubicBezTo>
                <a:cubicBezTo>
                  <a:pt x="25940" y="301520"/>
                  <a:pt x="27935" y="287542"/>
                  <a:pt x="29931" y="287542"/>
                </a:cubicBezTo>
                <a:cubicBezTo>
                  <a:pt x="31926" y="285545"/>
                  <a:pt x="31926" y="281551"/>
                  <a:pt x="31926" y="277558"/>
                </a:cubicBezTo>
                <a:cubicBezTo>
                  <a:pt x="31926" y="275561"/>
                  <a:pt x="29931" y="269570"/>
                  <a:pt x="29931" y="269570"/>
                </a:cubicBezTo>
                <a:cubicBezTo>
                  <a:pt x="29931" y="269570"/>
                  <a:pt x="27935" y="263580"/>
                  <a:pt x="29931" y="261583"/>
                </a:cubicBezTo>
                <a:cubicBezTo>
                  <a:pt x="29931" y="259586"/>
                  <a:pt x="31926" y="249602"/>
                  <a:pt x="29931" y="245609"/>
                </a:cubicBezTo>
                <a:cubicBezTo>
                  <a:pt x="29931" y="241615"/>
                  <a:pt x="31926" y="233628"/>
                  <a:pt x="31926" y="231631"/>
                </a:cubicBezTo>
                <a:cubicBezTo>
                  <a:pt x="31926" y="229634"/>
                  <a:pt x="33922" y="225640"/>
                  <a:pt x="35917" y="223644"/>
                </a:cubicBezTo>
                <a:cubicBezTo>
                  <a:pt x="39908" y="221647"/>
                  <a:pt x="43899" y="217653"/>
                  <a:pt x="45894" y="217653"/>
                </a:cubicBezTo>
                <a:cubicBezTo>
                  <a:pt x="49885" y="217653"/>
                  <a:pt x="53876" y="219650"/>
                  <a:pt x="55871" y="219650"/>
                </a:cubicBezTo>
                <a:cubicBezTo>
                  <a:pt x="59862" y="221647"/>
                  <a:pt x="59862" y="221647"/>
                  <a:pt x="63853" y="221647"/>
                </a:cubicBezTo>
                <a:cubicBezTo>
                  <a:pt x="65848" y="219650"/>
                  <a:pt x="69839" y="219650"/>
                  <a:pt x="71834" y="215656"/>
                </a:cubicBezTo>
                <a:cubicBezTo>
                  <a:pt x="75825" y="215656"/>
                  <a:pt x="75825" y="209666"/>
                  <a:pt x="75825" y="209666"/>
                </a:cubicBezTo>
                <a:cubicBezTo>
                  <a:pt x="75825" y="209666"/>
                  <a:pt x="69839" y="203675"/>
                  <a:pt x="67843" y="201679"/>
                </a:cubicBezTo>
                <a:cubicBezTo>
                  <a:pt x="67843" y="199682"/>
                  <a:pt x="65848" y="197685"/>
                  <a:pt x="65848" y="195688"/>
                </a:cubicBezTo>
                <a:cubicBezTo>
                  <a:pt x="65848" y="193691"/>
                  <a:pt x="67843" y="183707"/>
                  <a:pt x="69839" y="181710"/>
                </a:cubicBezTo>
                <a:cubicBezTo>
                  <a:pt x="71834" y="177717"/>
                  <a:pt x="71834" y="169729"/>
                  <a:pt x="73830" y="167733"/>
                </a:cubicBezTo>
                <a:cubicBezTo>
                  <a:pt x="75825" y="163739"/>
                  <a:pt x="75825" y="159745"/>
                  <a:pt x="77820" y="157749"/>
                </a:cubicBezTo>
                <a:cubicBezTo>
                  <a:pt x="79816" y="155752"/>
                  <a:pt x="81811" y="151758"/>
                  <a:pt x="81811" y="147764"/>
                </a:cubicBezTo>
                <a:cubicBezTo>
                  <a:pt x="81811" y="145768"/>
                  <a:pt x="79816" y="137780"/>
                  <a:pt x="81811" y="133787"/>
                </a:cubicBezTo>
                <a:cubicBezTo>
                  <a:pt x="81811" y="131790"/>
                  <a:pt x="81811" y="129793"/>
                  <a:pt x="85802" y="129793"/>
                </a:cubicBezTo>
                <a:cubicBezTo>
                  <a:pt x="87797" y="127796"/>
                  <a:pt x="89793" y="127796"/>
                  <a:pt x="91788" y="127796"/>
                </a:cubicBezTo>
                <a:cubicBezTo>
                  <a:pt x="95779" y="127796"/>
                  <a:pt x="99770" y="125799"/>
                  <a:pt x="99770" y="125799"/>
                </a:cubicBezTo>
                <a:cubicBezTo>
                  <a:pt x="101765" y="123803"/>
                  <a:pt x="101765" y="117812"/>
                  <a:pt x="103761" y="115815"/>
                </a:cubicBezTo>
                <a:cubicBezTo>
                  <a:pt x="103761" y="115815"/>
                  <a:pt x="107752" y="109825"/>
                  <a:pt x="107752" y="107828"/>
                </a:cubicBezTo>
                <a:cubicBezTo>
                  <a:pt x="109747" y="105831"/>
                  <a:pt x="113738" y="99841"/>
                  <a:pt x="115733" y="97844"/>
                </a:cubicBezTo>
                <a:cubicBezTo>
                  <a:pt x="115733" y="95847"/>
                  <a:pt x="117729" y="91854"/>
                  <a:pt x="119724" y="89857"/>
                </a:cubicBezTo>
                <a:cubicBezTo>
                  <a:pt x="119724" y="87860"/>
                  <a:pt x="117729" y="81870"/>
                  <a:pt x="117729" y="81870"/>
                </a:cubicBezTo>
                <a:cubicBezTo>
                  <a:pt x="115733" y="79873"/>
                  <a:pt x="117729" y="75879"/>
                  <a:pt x="119724" y="71885"/>
                </a:cubicBezTo>
                <a:cubicBezTo>
                  <a:pt x="119724" y="69889"/>
                  <a:pt x="125710" y="65895"/>
                  <a:pt x="127706" y="63898"/>
                </a:cubicBezTo>
                <a:cubicBezTo>
                  <a:pt x="129701" y="61901"/>
                  <a:pt x="131697" y="57908"/>
                  <a:pt x="131697" y="57908"/>
                </a:cubicBezTo>
                <a:cubicBezTo>
                  <a:pt x="135688" y="53914"/>
                  <a:pt x="135688" y="53914"/>
                  <a:pt x="135688" y="53914"/>
                </a:cubicBezTo>
                <a:cubicBezTo>
                  <a:pt x="139678" y="51917"/>
                  <a:pt x="139678" y="51917"/>
                  <a:pt x="139678" y="51917"/>
                </a:cubicBezTo>
                <a:cubicBezTo>
                  <a:pt x="139678" y="51917"/>
                  <a:pt x="139678" y="47924"/>
                  <a:pt x="139678" y="45927"/>
                </a:cubicBezTo>
                <a:cubicBezTo>
                  <a:pt x="141674" y="45927"/>
                  <a:pt x="143669" y="43930"/>
                  <a:pt x="147660" y="43930"/>
                </a:cubicBezTo>
                <a:cubicBezTo>
                  <a:pt x="149655" y="43930"/>
                  <a:pt x="151651" y="47924"/>
                  <a:pt x="155642" y="47924"/>
                </a:cubicBezTo>
                <a:cubicBezTo>
                  <a:pt x="157637" y="49920"/>
                  <a:pt x="159632" y="45927"/>
                  <a:pt x="161628" y="45927"/>
                </a:cubicBezTo>
                <a:cubicBezTo>
                  <a:pt x="161628" y="43930"/>
                  <a:pt x="163623" y="41933"/>
                  <a:pt x="163623" y="37939"/>
                </a:cubicBezTo>
                <a:cubicBezTo>
                  <a:pt x="163623" y="37939"/>
                  <a:pt x="161628" y="33946"/>
                  <a:pt x="161628" y="31949"/>
                </a:cubicBezTo>
                <a:cubicBezTo>
                  <a:pt x="161628" y="29952"/>
                  <a:pt x="159632" y="27955"/>
                  <a:pt x="159632" y="25959"/>
                </a:cubicBezTo>
                <a:cubicBezTo>
                  <a:pt x="159632" y="23962"/>
                  <a:pt x="163623" y="23962"/>
                  <a:pt x="167614" y="23962"/>
                </a:cubicBezTo>
                <a:cubicBezTo>
                  <a:pt x="169609" y="23962"/>
                  <a:pt x="175596" y="23962"/>
                  <a:pt x="177591" y="23962"/>
                </a:cubicBezTo>
                <a:cubicBezTo>
                  <a:pt x="177591" y="23962"/>
                  <a:pt x="179586" y="23962"/>
                  <a:pt x="183577" y="23962"/>
                </a:cubicBezTo>
                <a:cubicBezTo>
                  <a:pt x="185573" y="23962"/>
                  <a:pt x="187568" y="21965"/>
                  <a:pt x="187568" y="23962"/>
                </a:cubicBezTo>
                <a:cubicBezTo>
                  <a:pt x="189564" y="25959"/>
                  <a:pt x="187568" y="27955"/>
                  <a:pt x="189564" y="29952"/>
                </a:cubicBezTo>
                <a:cubicBezTo>
                  <a:pt x="191559" y="31949"/>
                  <a:pt x="195550" y="33946"/>
                  <a:pt x="199541" y="33946"/>
                </a:cubicBezTo>
                <a:cubicBezTo>
                  <a:pt x="201536" y="33946"/>
                  <a:pt x="205527" y="33946"/>
                  <a:pt x="205527" y="31949"/>
                </a:cubicBezTo>
                <a:cubicBezTo>
                  <a:pt x="205527" y="29952"/>
                  <a:pt x="207522" y="25959"/>
                  <a:pt x="205527" y="23962"/>
                </a:cubicBezTo>
                <a:cubicBezTo>
                  <a:pt x="205527" y="21965"/>
                  <a:pt x="205527" y="21965"/>
                  <a:pt x="205527" y="19968"/>
                </a:cubicBezTo>
                <a:cubicBezTo>
                  <a:pt x="205527" y="15974"/>
                  <a:pt x="207522" y="11981"/>
                  <a:pt x="205527" y="9984"/>
                </a:cubicBezTo>
                <a:cubicBezTo>
                  <a:pt x="205527" y="7987"/>
                  <a:pt x="205527" y="5990"/>
                  <a:pt x="207522" y="3994"/>
                </a:cubicBezTo>
                <a:cubicBezTo>
                  <a:pt x="209518" y="1997"/>
                  <a:pt x="209518" y="0"/>
                  <a:pt x="21151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39" name="Ireland"/>
          <p:cNvSpPr>
            <a:spLocks/>
          </p:cNvSpPr>
          <p:nvPr/>
        </p:nvSpPr>
        <p:spPr bwMode="auto">
          <a:xfrm>
            <a:off x="5925077" y="2149906"/>
            <a:ext cx="115957" cy="153520"/>
          </a:xfrm>
          <a:custGeom>
            <a:avLst/>
            <a:gdLst>
              <a:gd name="T0" fmla="*/ 25 w 57"/>
              <a:gd name="T1" fmla="*/ 12 h 75"/>
              <a:gd name="T2" fmla="*/ 31 w 57"/>
              <a:gd name="T3" fmla="*/ 7 h 75"/>
              <a:gd name="T4" fmla="*/ 43 w 57"/>
              <a:gd name="T5" fmla="*/ 0 h 75"/>
              <a:gd name="T6" fmla="*/ 44 w 57"/>
              <a:gd name="T7" fmla="*/ 8 h 75"/>
              <a:gd name="T8" fmla="*/ 37 w 57"/>
              <a:gd name="T9" fmla="*/ 13 h 75"/>
              <a:gd name="T10" fmla="*/ 45 w 57"/>
              <a:gd name="T11" fmla="*/ 24 h 75"/>
              <a:gd name="T12" fmla="*/ 51 w 57"/>
              <a:gd name="T13" fmla="*/ 23 h 75"/>
              <a:gd name="T14" fmla="*/ 56 w 57"/>
              <a:gd name="T15" fmla="*/ 35 h 75"/>
              <a:gd name="T16" fmla="*/ 57 w 57"/>
              <a:gd name="T17" fmla="*/ 47 h 75"/>
              <a:gd name="T18" fmla="*/ 54 w 57"/>
              <a:gd name="T19" fmla="*/ 55 h 75"/>
              <a:gd name="T20" fmla="*/ 54 w 57"/>
              <a:gd name="T21" fmla="*/ 63 h 75"/>
              <a:gd name="T22" fmla="*/ 47 w 57"/>
              <a:gd name="T23" fmla="*/ 65 h 75"/>
              <a:gd name="T24" fmla="*/ 38 w 57"/>
              <a:gd name="T25" fmla="*/ 66 h 75"/>
              <a:gd name="T26" fmla="*/ 31 w 57"/>
              <a:gd name="T27" fmla="*/ 69 h 75"/>
              <a:gd name="T28" fmla="*/ 26 w 57"/>
              <a:gd name="T29" fmla="*/ 71 h 75"/>
              <a:gd name="T30" fmla="*/ 17 w 57"/>
              <a:gd name="T31" fmla="*/ 73 h 75"/>
              <a:gd name="T32" fmla="*/ 9 w 57"/>
              <a:gd name="T33" fmla="*/ 74 h 75"/>
              <a:gd name="T34" fmla="*/ 4 w 57"/>
              <a:gd name="T35" fmla="*/ 68 h 75"/>
              <a:gd name="T36" fmla="*/ 6 w 57"/>
              <a:gd name="T37" fmla="*/ 65 h 75"/>
              <a:gd name="T38" fmla="*/ 6 w 57"/>
              <a:gd name="T39" fmla="*/ 62 h 75"/>
              <a:gd name="T40" fmla="*/ 2 w 57"/>
              <a:gd name="T41" fmla="*/ 63 h 75"/>
              <a:gd name="T42" fmla="*/ 4 w 57"/>
              <a:gd name="T43" fmla="*/ 59 h 75"/>
              <a:gd name="T44" fmla="*/ 9 w 57"/>
              <a:gd name="T45" fmla="*/ 57 h 75"/>
              <a:gd name="T46" fmla="*/ 12 w 57"/>
              <a:gd name="T47" fmla="*/ 55 h 75"/>
              <a:gd name="T48" fmla="*/ 15 w 57"/>
              <a:gd name="T49" fmla="*/ 53 h 75"/>
              <a:gd name="T50" fmla="*/ 10 w 57"/>
              <a:gd name="T51" fmla="*/ 54 h 75"/>
              <a:gd name="T52" fmla="*/ 12 w 57"/>
              <a:gd name="T53" fmla="*/ 51 h 75"/>
              <a:gd name="T54" fmla="*/ 15 w 57"/>
              <a:gd name="T55" fmla="*/ 46 h 75"/>
              <a:gd name="T56" fmla="*/ 18 w 57"/>
              <a:gd name="T57" fmla="*/ 42 h 75"/>
              <a:gd name="T58" fmla="*/ 14 w 57"/>
              <a:gd name="T59" fmla="*/ 42 h 75"/>
              <a:gd name="T60" fmla="*/ 11 w 57"/>
              <a:gd name="T61" fmla="*/ 41 h 75"/>
              <a:gd name="T62" fmla="*/ 9 w 57"/>
              <a:gd name="T63" fmla="*/ 40 h 75"/>
              <a:gd name="T64" fmla="*/ 6 w 57"/>
              <a:gd name="T65" fmla="*/ 38 h 75"/>
              <a:gd name="T66" fmla="*/ 6 w 57"/>
              <a:gd name="T67" fmla="*/ 36 h 75"/>
              <a:gd name="T68" fmla="*/ 7 w 57"/>
              <a:gd name="T69" fmla="*/ 34 h 75"/>
              <a:gd name="T70" fmla="*/ 9 w 57"/>
              <a:gd name="T71" fmla="*/ 33 h 75"/>
              <a:gd name="T72" fmla="*/ 10 w 57"/>
              <a:gd name="T73" fmla="*/ 32 h 75"/>
              <a:gd name="T74" fmla="*/ 11 w 57"/>
              <a:gd name="T75" fmla="*/ 31 h 75"/>
              <a:gd name="T76" fmla="*/ 9 w 57"/>
              <a:gd name="T77" fmla="*/ 30 h 75"/>
              <a:gd name="T78" fmla="*/ 7 w 57"/>
              <a:gd name="T79" fmla="*/ 28 h 75"/>
              <a:gd name="T80" fmla="*/ 6 w 57"/>
              <a:gd name="T81" fmla="*/ 26 h 75"/>
              <a:gd name="T82" fmla="*/ 6 w 57"/>
              <a:gd name="T83" fmla="*/ 23 h 75"/>
              <a:gd name="T84" fmla="*/ 7 w 57"/>
              <a:gd name="T85" fmla="*/ 21 h 75"/>
              <a:gd name="T86" fmla="*/ 13 w 57"/>
              <a:gd name="T87" fmla="*/ 21 h 75"/>
              <a:gd name="T88" fmla="*/ 18 w 57"/>
              <a:gd name="T89" fmla="*/ 21 h 75"/>
              <a:gd name="T90" fmla="*/ 20 w 57"/>
              <a:gd name="T91" fmla="*/ 23 h 75"/>
              <a:gd name="T92" fmla="*/ 22 w 57"/>
              <a:gd name="T93" fmla="*/ 21 h 75"/>
              <a:gd name="T94" fmla="*/ 25 w 57"/>
              <a:gd name="T95" fmla="*/ 22 h 75"/>
              <a:gd name="T96" fmla="*/ 26 w 57"/>
              <a:gd name="T97" fmla="*/ 18 h 75"/>
              <a:gd name="T98" fmla="*/ 29 w 57"/>
              <a:gd name="T99" fmla="*/ 18 h 75"/>
              <a:gd name="T100" fmla="*/ 30 w 57"/>
              <a:gd name="T101"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75">
                <a:moveTo>
                  <a:pt x="30" y="16"/>
                </a:moveTo>
                <a:cubicBezTo>
                  <a:pt x="30" y="16"/>
                  <a:pt x="27" y="15"/>
                  <a:pt x="27" y="14"/>
                </a:cubicBezTo>
                <a:cubicBezTo>
                  <a:pt x="26" y="14"/>
                  <a:pt x="25" y="13"/>
                  <a:pt x="25" y="12"/>
                </a:cubicBezTo>
                <a:cubicBezTo>
                  <a:pt x="25" y="11"/>
                  <a:pt x="26" y="11"/>
                  <a:pt x="27" y="11"/>
                </a:cubicBezTo>
                <a:cubicBezTo>
                  <a:pt x="28" y="10"/>
                  <a:pt x="29" y="9"/>
                  <a:pt x="29" y="8"/>
                </a:cubicBezTo>
                <a:cubicBezTo>
                  <a:pt x="30" y="7"/>
                  <a:pt x="28" y="7"/>
                  <a:pt x="31" y="7"/>
                </a:cubicBezTo>
                <a:cubicBezTo>
                  <a:pt x="33" y="7"/>
                  <a:pt x="36" y="8"/>
                  <a:pt x="37" y="6"/>
                </a:cubicBezTo>
                <a:cubicBezTo>
                  <a:pt x="38" y="5"/>
                  <a:pt x="38" y="3"/>
                  <a:pt x="39" y="2"/>
                </a:cubicBezTo>
                <a:cubicBezTo>
                  <a:pt x="40" y="1"/>
                  <a:pt x="41" y="1"/>
                  <a:pt x="43" y="0"/>
                </a:cubicBezTo>
                <a:cubicBezTo>
                  <a:pt x="44" y="0"/>
                  <a:pt x="45" y="0"/>
                  <a:pt x="45" y="2"/>
                </a:cubicBezTo>
                <a:cubicBezTo>
                  <a:pt x="45" y="3"/>
                  <a:pt x="43" y="5"/>
                  <a:pt x="43" y="6"/>
                </a:cubicBezTo>
                <a:cubicBezTo>
                  <a:pt x="43" y="7"/>
                  <a:pt x="43" y="8"/>
                  <a:pt x="44" y="8"/>
                </a:cubicBezTo>
                <a:cubicBezTo>
                  <a:pt x="44" y="8"/>
                  <a:pt x="45" y="8"/>
                  <a:pt x="45" y="8"/>
                </a:cubicBezTo>
                <a:cubicBezTo>
                  <a:pt x="45" y="8"/>
                  <a:pt x="45" y="9"/>
                  <a:pt x="44" y="10"/>
                </a:cubicBezTo>
                <a:cubicBezTo>
                  <a:pt x="44" y="10"/>
                  <a:pt x="38" y="12"/>
                  <a:pt x="37" y="13"/>
                </a:cubicBezTo>
                <a:cubicBezTo>
                  <a:pt x="37" y="14"/>
                  <a:pt x="36" y="17"/>
                  <a:pt x="37" y="19"/>
                </a:cubicBezTo>
                <a:cubicBezTo>
                  <a:pt x="37" y="21"/>
                  <a:pt x="39" y="24"/>
                  <a:pt x="40" y="24"/>
                </a:cubicBezTo>
                <a:cubicBezTo>
                  <a:pt x="40" y="25"/>
                  <a:pt x="45" y="24"/>
                  <a:pt x="45" y="24"/>
                </a:cubicBezTo>
                <a:cubicBezTo>
                  <a:pt x="45" y="24"/>
                  <a:pt x="46" y="23"/>
                  <a:pt x="47" y="22"/>
                </a:cubicBezTo>
                <a:cubicBezTo>
                  <a:pt x="48" y="21"/>
                  <a:pt x="47" y="21"/>
                  <a:pt x="49" y="21"/>
                </a:cubicBezTo>
                <a:cubicBezTo>
                  <a:pt x="51" y="21"/>
                  <a:pt x="52" y="21"/>
                  <a:pt x="51" y="23"/>
                </a:cubicBezTo>
                <a:cubicBezTo>
                  <a:pt x="51" y="26"/>
                  <a:pt x="53" y="28"/>
                  <a:pt x="53" y="28"/>
                </a:cubicBezTo>
                <a:cubicBezTo>
                  <a:pt x="53" y="28"/>
                  <a:pt x="55" y="30"/>
                  <a:pt x="55" y="32"/>
                </a:cubicBezTo>
                <a:cubicBezTo>
                  <a:pt x="57" y="33"/>
                  <a:pt x="56" y="35"/>
                  <a:pt x="56" y="35"/>
                </a:cubicBezTo>
                <a:cubicBezTo>
                  <a:pt x="56" y="36"/>
                  <a:pt x="55" y="39"/>
                  <a:pt x="55" y="40"/>
                </a:cubicBezTo>
                <a:cubicBezTo>
                  <a:pt x="56" y="41"/>
                  <a:pt x="55" y="42"/>
                  <a:pt x="55" y="43"/>
                </a:cubicBezTo>
                <a:cubicBezTo>
                  <a:pt x="56" y="44"/>
                  <a:pt x="56" y="46"/>
                  <a:pt x="57" y="47"/>
                </a:cubicBezTo>
                <a:cubicBezTo>
                  <a:pt x="57" y="48"/>
                  <a:pt x="57" y="48"/>
                  <a:pt x="57" y="49"/>
                </a:cubicBezTo>
                <a:cubicBezTo>
                  <a:pt x="57" y="50"/>
                  <a:pt x="55" y="51"/>
                  <a:pt x="55" y="52"/>
                </a:cubicBezTo>
                <a:cubicBezTo>
                  <a:pt x="55" y="52"/>
                  <a:pt x="54" y="54"/>
                  <a:pt x="54" y="55"/>
                </a:cubicBezTo>
                <a:cubicBezTo>
                  <a:pt x="54" y="56"/>
                  <a:pt x="53" y="57"/>
                  <a:pt x="53" y="57"/>
                </a:cubicBezTo>
                <a:cubicBezTo>
                  <a:pt x="53" y="58"/>
                  <a:pt x="52" y="59"/>
                  <a:pt x="52" y="60"/>
                </a:cubicBezTo>
                <a:cubicBezTo>
                  <a:pt x="52" y="61"/>
                  <a:pt x="54" y="62"/>
                  <a:pt x="54" y="63"/>
                </a:cubicBezTo>
                <a:cubicBezTo>
                  <a:pt x="54" y="63"/>
                  <a:pt x="53" y="64"/>
                  <a:pt x="53" y="64"/>
                </a:cubicBezTo>
                <a:cubicBezTo>
                  <a:pt x="52" y="64"/>
                  <a:pt x="51" y="64"/>
                  <a:pt x="50" y="64"/>
                </a:cubicBezTo>
                <a:cubicBezTo>
                  <a:pt x="49" y="65"/>
                  <a:pt x="47" y="65"/>
                  <a:pt x="47" y="65"/>
                </a:cubicBezTo>
                <a:cubicBezTo>
                  <a:pt x="46" y="65"/>
                  <a:pt x="45" y="65"/>
                  <a:pt x="44" y="66"/>
                </a:cubicBezTo>
                <a:cubicBezTo>
                  <a:pt x="43" y="66"/>
                  <a:pt x="42" y="66"/>
                  <a:pt x="41" y="66"/>
                </a:cubicBezTo>
                <a:cubicBezTo>
                  <a:pt x="40" y="66"/>
                  <a:pt x="39" y="66"/>
                  <a:pt x="38" y="66"/>
                </a:cubicBezTo>
                <a:cubicBezTo>
                  <a:pt x="38" y="66"/>
                  <a:pt x="36" y="66"/>
                  <a:pt x="35" y="67"/>
                </a:cubicBezTo>
                <a:cubicBezTo>
                  <a:pt x="35" y="67"/>
                  <a:pt x="33" y="68"/>
                  <a:pt x="32" y="68"/>
                </a:cubicBezTo>
                <a:cubicBezTo>
                  <a:pt x="32" y="69"/>
                  <a:pt x="31" y="69"/>
                  <a:pt x="31" y="69"/>
                </a:cubicBezTo>
                <a:cubicBezTo>
                  <a:pt x="31" y="70"/>
                  <a:pt x="31" y="71"/>
                  <a:pt x="30" y="71"/>
                </a:cubicBezTo>
                <a:cubicBezTo>
                  <a:pt x="29" y="71"/>
                  <a:pt x="28" y="70"/>
                  <a:pt x="28" y="70"/>
                </a:cubicBezTo>
                <a:cubicBezTo>
                  <a:pt x="28" y="69"/>
                  <a:pt x="27" y="70"/>
                  <a:pt x="26" y="71"/>
                </a:cubicBezTo>
                <a:cubicBezTo>
                  <a:pt x="26" y="72"/>
                  <a:pt x="24" y="73"/>
                  <a:pt x="23" y="73"/>
                </a:cubicBezTo>
                <a:cubicBezTo>
                  <a:pt x="22" y="73"/>
                  <a:pt x="20" y="73"/>
                  <a:pt x="20" y="73"/>
                </a:cubicBezTo>
                <a:cubicBezTo>
                  <a:pt x="19" y="73"/>
                  <a:pt x="18" y="73"/>
                  <a:pt x="17" y="73"/>
                </a:cubicBezTo>
                <a:cubicBezTo>
                  <a:pt x="16" y="74"/>
                  <a:pt x="14" y="74"/>
                  <a:pt x="14" y="74"/>
                </a:cubicBezTo>
                <a:cubicBezTo>
                  <a:pt x="13" y="74"/>
                  <a:pt x="12" y="73"/>
                  <a:pt x="12" y="73"/>
                </a:cubicBezTo>
                <a:cubicBezTo>
                  <a:pt x="11" y="73"/>
                  <a:pt x="10" y="74"/>
                  <a:pt x="9" y="74"/>
                </a:cubicBezTo>
                <a:cubicBezTo>
                  <a:pt x="9" y="75"/>
                  <a:pt x="7" y="75"/>
                  <a:pt x="6" y="74"/>
                </a:cubicBezTo>
                <a:cubicBezTo>
                  <a:pt x="5" y="74"/>
                  <a:pt x="4" y="71"/>
                  <a:pt x="4" y="71"/>
                </a:cubicBezTo>
                <a:cubicBezTo>
                  <a:pt x="4" y="70"/>
                  <a:pt x="4" y="69"/>
                  <a:pt x="4" y="68"/>
                </a:cubicBezTo>
                <a:cubicBezTo>
                  <a:pt x="3" y="68"/>
                  <a:pt x="1" y="68"/>
                  <a:pt x="1" y="67"/>
                </a:cubicBezTo>
                <a:cubicBezTo>
                  <a:pt x="0" y="67"/>
                  <a:pt x="0" y="66"/>
                  <a:pt x="1" y="66"/>
                </a:cubicBezTo>
                <a:cubicBezTo>
                  <a:pt x="1" y="65"/>
                  <a:pt x="4" y="65"/>
                  <a:pt x="6" y="65"/>
                </a:cubicBezTo>
                <a:cubicBezTo>
                  <a:pt x="9" y="65"/>
                  <a:pt x="9" y="64"/>
                  <a:pt x="9" y="63"/>
                </a:cubicBezTo>
                <a:cubicBezTo>
                  <a:pt x="9" y="62"/>
                  <a:pt x="8" y="61"/>
                  <a:pt x="8" y="61"/>
                </a:cubicBezTo>
                <a:cubicBezTo>
                  <a:pt x="7" y="61"/>
                  <a:pt x="6" y="62"/>
                  <a:pt x="6" y="62"/>
                </a:cubicBezTo>
                <a:cubicBezTo>
                  <a:pt x="5" y="63"/>
                  <a:pt x="5" y="63"/>
                  <a:pt x="5" y="63"/>
                </a:cubicBezTo>
                <a:cubicBezTo>
                  <a:pt x="5" y="63"/>
                  <a:pt x="4" y="63"/>
                  <a:pt x="4" y="63"/>
                </a:cubicBezTo>
                <a:cubicBezTo>
                  <a:pt x="3" y="63"/>
                  <a:pt x="2" y="63"/>
                  <a:pt x="2" y="63"/>
                </a:cubicBezTo>
                <a:cubicBezTo>
                  <a:pt x="1" y="62"/>
                  <a:pt x="1" y="61"/>
                  <a:pt x="2" y="61"/>
                </a:cubicBezTo>
                <a:cubicBezTo>
                  <a:pt x="2" y="60"/>
                  <a:pt x="2" y="60"/>
                  <a:pt x="2" y="60"/>
                </a:cubicBezTo>
                <a:cubicBezTo>
                  <a:pt x="3" y="59"/>
                  <a:pt x="3" y="59"/>
                  <a:pt x="4" y="59"/>
                </a:cubicBezTo>
                <a:cubicBezTo>
                  <a:pt x="6" y="59"/>
                  <a:pt x="5" y="60"/>
                  <a:pt x="6" y="60"/>
                </a:cubicBezTo>
                <a:cubicBezTo>
                  <a:pt x="7" y="61"/>
                  <a:pt x="8" y="60"/>
                  <a:pt x="8" y="60"/>
                </a:cubicBezTo>
                <a:cubicBezTo>
                  <a:pt x="8" y="60"/>
                  <a:pt x="9" y="58"/>
                  <a:pt x="9" y="57"/>
                </a:cubicBezTo>
                <a:cubicBezTo>
                  <a:pt x="10" y="57"/>
                  <a:pt x="10" y="56"/>
                  <a:pt x="10" y="56"/>
                </a:cubicBezTo>
                <a:cubicBezTo>
                  <a:pt x="11" y="56"/>
                  <a:pt x="11" y="56"/>
                  <a:pt x="11" y="55"/>
                </a:cubicBezTo>
                <a:cubicBezTo>
                  <a:pt x="11" y="55"/>
                  <a:pt x="11" y="55"/>
                  <a:pt x="12" y="55"/>
                </a:cubicBezTo>
                <a:cubicBezTo>
                  <a:pt x="13" y="55"/>
                  <a:pt x="14" y="55"/>
                  <a:pt x="15" y="55"/>
                </a:cubicBezTo>
                <a:cubicBezTo>
                  <a:pt x="15" y="55"/>
                  <a:pt x="17" y="55"/>
                  <a:pt x="17" y="54"/>
                </a:cubicBezTo>
                <a:cubicBezTo>
                  <a:pt x="17" y="54"/>
                  <a:pt x="16" y="53"/>
                  <a:pt x="15" y="53"/>
                </a:cubicBezTo>
                <a:cubicBezTo>
                  <a:pt x="15" y="54"/>
                  <a:pt x="13" y="54"/>
                  <a:pt x="13" y="54"/>
                </a:cubicBezTo>
                <a:cubicBezTo>
                  <a:pt x="13" y="54"/>
                  <a:pt x="12" y="53"/>
                  <a:pt x="11" y="53"/>
                </a:cubicBezTo>
                <a:cubicBezTo>
                  <a:pt x="11" y="53"/>
                  <a:pt x="11" y="54"/>
                  <a:pt x="10" y="54"/>
                </a:cubicBezTo>
                <a:cubicBezTo>
                  <a:pt x="9" y="54"/>
                  <a:pt x="9" y="54"/>
                  <a:pt x="9" y="53"/>
                </a:cubicBezTo>
                <a:cubicBezTo>
                  <a:pt x="9" y="53"/>
                  <a:pt x="9" y="52"/>
                  <a:pt x="10" y="52"/>
                </a:cubicBezTo>
                <a:cubicBezTo>
                  <a:pt x="10" y="52"/>
                  <a:pt x="12" y="51"/>
                  <a:pt x="12" y="51"/>
                </a:cubicBezTo>
                <a:cubicBezTo>
                  <a:pt x="13" y="51"/>
                  <a:pt x="13" y="51"/>
                  <a:pt x="13" y="50"/>
                </a:cubicBezTo>
                <a:cubicBezTo>
                  <a:pt x="13" y="50"/>
                  <a:pt x="13" y="49"/>
                  <a:pt x="13" y="48"/>
                </a:cubicBezTo>
                <a:cubicBezTo>
                  <a:pt x="14" y="48"/>
                  <a:pt x="14" y="46"/>
                  <a:pt x="15" y="46"/>
                </a:cubicBezTo>
                <a:cubicBezTo>
                  <a:pt x="15" y="45"/>
                  <a:pt x="16" y="45"/>
                  <a:pt x="17" y="44"/>
                </a:cubicBezTo>
                <a:cubicBezTo>
                  <a:pt x="17" y="44"/>
                  <a:pt x="17" y="44"/>
                  <a:pt x="18" y="43"/>
                </a:cubicBezTo>
                <a:cubicBezTo>
                  <a:pt x="18" y="43"/>
                  <a:pt x="18" y="42"/>
                  <a:pt x="18" y="42"/>
                </a:cubicBezTo>
                <a:cubicBezTo>
                  <a:pt x="17" y="42"/>
                  <a:pt x="17" y="42"/>
                  <a:pt x="17" y="42"/>
                </a:cubicBezTo>
                <a:cubicBezTo>
                  <a:pt x="17" y="42"/>
                  <a:pt x="15" y="42"/>
                  <a:pt x="15" y="43"/>
                </a:cubicBezTo>
                <a:cubicBezTo>
                  <a:pt x="15" y="43"/>
                  <a:pt x="14" y="43"/>
                  <a:pt x="14" y="42"/>
                </a:cubicBezTo>
                <a:cubicBezTo>
                  <a:pt x="14" y="42"/>
                  <a:pt x="14" y="40"/>
                  <a:pt x="14" y="40"/>
                </a:cubicBezTo>
                <a:cubicBezTo>
                  <a:pt x="14" y="40"/>
                  <a:pt x="13" y="40"/>
                  <a:pt x="13" y="40"/>
                </a:cubicBezTo>
                <a:cubicBezTo>
                  <a:pt x="12" y="40"/>
                  <a:pt x="11" y="41"/>
                  <a:pt x="11" y="41"/>
                </a:cubicBezTo>
                <a:cubicBezTo>
                  <a:pt x="11" y="41"/>
                  <a:pt x="11" y="42"/>
                  <a:pt x="11" y="41"/>
                </a:cubicBezTo>
                <a:cubicBezTo>
                  <a:pt x="11" y="41"/>
                  <a:pt x="10" y="40"/>
                  <a:pt x="10" y="40"/>
                </a:cubicBezTo>
                <a:cubicBezTo>
                  <a:pt x="10" y="40"/>
                  <a:pt x="9" y="40"/>
                  <a:pt x="9" y="40"/>
                </a:cubicBezTo>
                <a:cubicBezTo>
                  <a:pt x="9" y="40"/>
                  <a:pt x="8" y="41"/>
                  <a:pt x="7" y="41"/>
                </a:cubicBezTo>
                <a:cubicBezTo>
                  <a:pt x="7" y="41"/>
                  <a:pt x="7" y="40"/>
                  <a:pt x="7" y="40"/>
                </a:cubicBezTo>
                <a:cubicBezTo>
                  <a:pt x="7" y="40"/>
                  <a:pt x="6" y="39"/>
                  <a:pt x="6" y="38"/>
                </a:cubicBezTo>
                <a:cubicBezTo>
                  <a:pt x="6" y="38"/>
                  <a:pt x="6" y="37"/>
                  <a:pt x="6" y="37"/>
                </a:cubicBezTo>
                <a:cubicBezTo>
                  <a:pt x="6" y="37"/>
                  <a:pt x="6" y="36"/>
                  <a:pt x="6" y="36"/>
                </a:cubicBezTo>
                <a:cubicBezTo>
                  <a:pt x="6" y="36"/>
                  <a:pt x="6" y="36"/>
                  <a:pt x="6" y="36"/>
                </a:cubicBezTo>
                <a:cubicBezTo>
                  <a:pt x="6" y="35"/>
                  <a:pt x="6" y="35"/>
                  <a:pt x="6" y="35"/>
                </a:cubicBezTo>
                <a:cubicBezTo>
                  <a:pt x="6" y="35"/>
                  <a:pt x="7" y="35"/>
                  <a:pt x="7" y="34"/>
                </a:cubicBezTo>
                <a:cubicBezTo>
                  <a:pt x="7" y="34"/>
                  <a:pt x="7" y="34"/>
                  <a:pt x="7" y="34"/>
                </a:cubicBezTo>
                <a:cubicBezTo>
                  <a:pt x="8" y="34"/>
                  <a:pt x="8" y="34"/>
                  <a:pt x="8" y="34"/>
                </a:cubicBezTo>
                <a:cubicBezTo>
                  <a:pt x="8" y="33"/>
                  <a:pt x="8" y="33"/>
                  <a:pt x="8" y="33"/>
                </a:cubicBezTo>
                <a:cubicBezTo>
                  <a:pt x="9" y="33"/>
                  <a:pt x="9" y="33"/>
                  <a:pt x="9" y="33"/>
                </a:cubicBezTo>
                <a:cubicBezTo>
                  <a:pt x="9" y="33"/>
                  <a:pt x="9" y="33"/>
                  <a:pt x="9" y="33"/>
                </a:cubicBezTo>
                <a:cubicBezTo>
                  <a:pt x="10" y="33"/>
                  <a:pt x="10" y="33"/>
                  <a:pt x="10" y="33"/>
                </a:cubicBezTo>
                <a:cubicBezTo>
                  <a:pt x="10" y="33"/>
                  <a:pt x="10" y="32"/>
                  <a:pt x="10" y="32"/>
                </a:cubicBezTo>
                <a:cubicBezTo>
                  <a:pt x="11" y="32"/>
                  <a:pt x="11" y="31"/>
                  <a:pt x="11" y="31"/>
                </a:cubicBezTo>
                <a:cubicBezTo>
                  <a:pt x="11" y="31"/>
                  <a:pt x="11" y="31"/>
                  <a:pt x="11" y="31"/>
                </a:cubicBezTo>
                <a:cubicBezTo>
                  <a:pt x="11" y="31"/>
                  <a:pt x="11" y="31"/>
                  <a:pt x="11" y="31"/>
                </a:cubicBezTo>
                <a:cubicBezTo>
                  <a:pt x="11" y="31"/>
                  <a:pt x="11" y="31"/>
                  <a:pt x="11" y="31"/>
                </a:cubicBezTo>
                <a:cubicBezTo>
                  <a:pt x="11" y="31"/>
                  <a:pt x="10" y="31"/>
                  <a:pt x="10" y="31"/>
                </a:cubicBezTo>
                <a:cubicBezTo>
                  <a:pt x="10" y="31"/>
                  <a:pt x="9" y="31"/>
                  <a:pt x="9" y="30"/>
                </a:cubicBezTo>
                <a:cubicBezTo>
                  <a:pt x="9" y="30"/>
                  <a:pt x="8" y="30"/>
                  <a:pt x="8" y="30"/>
                </a:cubicBezTo>
                <a:cubicBezTo>
                  <a:pt x="8" y="29"/>
                  <a:pt x="8" y="29"/>
                  <a:pt x="8" y="29"/>
                </a:cubicBezTo>
                <a:cubicBezTo>
                  <a:pt x="7" y="28"/>
                  <a:pt x="7" y="28"/>
                  <a:pt x="7" y="28"/>
                </a:cubicBezTo>
                <a:cubicBezTo>
                  <a:pt x="6" y="28"/>
                  <a:pt x="6" y="28"/>
                  <a:pt x="6" y="28"/>
                </a:cubicBezTo>
                <a:cubicBezTo>
                  <a:pt x="6" y="28"/>
                  <a:pt x="5" y="28"/>
                  <a:pt x="5" y="28"/>
                </a:cubicBezTo>
                <a:cubicBezTo>
                  <a:pt x="5" y="27"/>
                  <a:pt x="6" y="26"/>
                  <a:pt x="6" y="26"/>
                </a:cubicBezTo>
                <a:cubicBezTo>
                  <a:pt x="6" y="26"/>
                  <a:pt x="6" y="25"/>
                  <a:pt x="6" y="25"/>
                </a:cubicBezTo>
                <a:cubicBezTo>
                  <a:pt x="6" y="25"/>
                  <a:pt x="6" y="25"/>
                  <a:pt x="6" y="25"/>
                </a:cubicBezTo>
                <a:cubicBezTo>
                  <a:pt x="6" y="25"/>
                  <a:pt x="6" y="24"/>
                  <a:pt x="6" y="23"/>
                </a:cubicBezTo>
                <a:cubicBezTo>
                  <a:pt x="6" y="23"/>
                  <a:pt x="6" y="22"/>
                  <a:pt x="6" y="22"/>
                </a:cubicBezTo>
                <a:cubicBezTo>
                  <a:pt x="6" y="22"/>
                  <a:pt x="7" y="22"/>
                  <a:pt x="7" y="21"/>
                </a:cubicBezTo>
                <a:cubicBezTo>
                  <a:pt x="7" y="21"/>
                  <a:pt x="7" y="21"/>
                  <a:pt x="7" y="21"/>
                </a:cubicBezTo>
                <a:cubicBezTo>
                  <a:pt x="8" y="21"/>
                  <a:pt x="10" y="21"/>
                  <a:pt x="10" y="21"/>
                </a:cubicBezTo>
                <a:cubicBezTo>
                  <a:pt x="11" y="21"/>
                  <a:pt x="11" y="22"/>
                  <a:pt x="12" y="22"/>
                </a:cubicBezTo>
                <a:cubicBezTo>
                  <a:pt x="12" y="22"/>
                  <a:pt x="13" y="21"/>
                  <a:pt x="13" y="21"/>
                </a:cubicBezTo>
                <a:cubicBezTo>
                  <a:pt x="15" y="21"/>
                  <a:pt x="15" y="21"/>
                  <a:pt x="15" y="21"/>
                </a:cubicBezTo>
                <a:cubicBezTo>
                  <a:pt x="15" y="21"/>
                  <a:pt x="16" y="21"/>
                  <a:pt x="17" y="21"/>
                </a:cubicBezTo>
                <a:cubicBezTo>
                  <a:pt x="17" y="21"/>
                  <a:pt x="18" y="21"/>
                  <a:pt x="18" y="21"/>
                </a:cubicBezTo>
                <a:cubicBezTo>
                  <a:pt x="18" y="22"/>
                  <a:pt x="18" y="23"/>
                  <a:pt x="18" y="23"/>
                </a:cubicBezTo>
                <a:cubicBezTo>
                  <a:pt x="19" y="23"/>
                  <a:pt x="19" y="23"/>
                  <a:pt x="19" y="23"/>
                </a:cubicBezTo>
                <a:cubicBezTo>
                  <a:pt x="19" y="22"/>
                  <a:pt x="20" y="23"/>
                  <a:pt x="20" y="23"/>
                </a:cubicBezTo>
                <a:cubicBezTo>
                  <a:pt x="20" y="23"/>
                  <a:pt x="21" y="22"/>
                  <a:pt x="21" y="22"/>
                </a:cubicBezTo>
                <a:cubicBezTo>
                  <a:pt x="21" y="22"/>
                  <a:pt x="21" y="21"/>
                  <a:pt x="21" y="21"/>
                </a:cubicBezTo>
                <a:cubicBezTo>
                  <a:pt x="22" y="21"/>
                  <a:pt x="22" y="21"/>
                  <a:pt x="22" y="21"/>
                </a:cubicBezTo>
                <a:cubicBezTo>
                  <a:pt x="22" y="21"/>
                  <a:pt x="23" y="21"/>
                  <a:pt x="23" y="21"/>
                </a:cubicBezTo>
                <a:cubicBezTo>
                  <a:pt x="23" y="22"/>
                  <a:pt x="24" y="22"/>
                  <a:pt x="25" y="22"/>
                </a:cubicBezTo>
                <a:cubicBezTo>
                  <a:pt x="25" y="22"/>
                  <a:pt x="25" y="22"/>
                  <a:pt x="25" y="22"/>
                </a:cubicBezTo>
                <a:cubicBezTo>
                  <a:pt x="25" y="21"/>
                  <a:pt x="25" y="21"/>
                  <a:pt x="25" y="21"/>
                </a:cubicBezTo>
                <a:cubicBezTo>
                  <a:pt x="25" y="20"/>
                  <a:pt x="25" y="20"/>
                  <a:pt x="25" y="19"/>
                </a:cubicBezTo>
                <a:cubicBezTo>
                  <a:pt x="25" y="19"/>
                  <a:pt x="26" y="19"/>
                  <a:pt x="26" y="18"/>
                </a:cubicBezTo>
                <a:cubicBezTo>
                  <a:pt x="26" y="18"/>
                  <a:pt x="26" y="18"/>
                  <a:pt x="26" y="18"/>
                </a:cubicBezTo>
                <a:cubicBezTo>
                  <a:pt x="26" y="18"/>
                  <a:pt x="27" y="18"/>
                  <a:pt x="28" y="18"/>
                </a:cubicBezTo>
                <a:cubicBezTo>
                  <a:pt x="28" y="18"/>
                  <a:pt x="29" y="18"/>
                  <a:pt x="29" y="18"/>
                </a:cubicBezTo>
                <a:cubicBezTo>
                  <a:pt x="29" y="18"/>
                  <a:pt x="29" y="18"/>
                  <a:pt x="29" y="18"/>
                </a:cubicBezTo>
                <a:cubicBezTo>
                  <a:pt x="30" y="17"/>
                  <a:pt x="30" y="17"/>
                  <a:pt x="30" y="17"/>
                </a:cubicBezTo>
                <a:cubicBezTo>
                  <a:pt x="30" y="17"/>
                  <a:pt x="30" y="16"/>
                  <a:pt x="30" y="1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0" name="United Kingdom"/>
          <p:cNvSpPr>
            <a:spLocks/>
          </p:cNvSpPr>
          <p:nvPr/>
        </p:nvSpPr>
        <p:spPr bwMode="auto">
          <a:xfrm>
            <a:off x="5999718" y="1917993"/>
            <a:ext cx="233007" cy="447494"/>
          </a:xfrm>
          <a:custGeom>
            <a:avLst/>
            <a:gdLst>
              <a:gd name="connsiteX0" fmla="*/ 84291 w 226488"/>
              <a:gd name="connsiteY0" fmla="*/ 259239 h 434975"/>
              <a:gd name="connsiteX1" fmla="*/ 80481 w 226488"/>
              <a:gd name="connsiteY1" fmla="*/ 265430 h 434975"/>
              <a:gd name="connsiteX2" fmla="*/ 78576 w 226488"/>
              <a:gd name="connsiteY2" fmla="*/ 273685 h 434975"/>
              <a:gd name="connsiteX3" fmla="*/ 70956 w 226488"/>
              <a:gd name="connsiteY3" fmla="*/ 275748 h 434975"/>
              <a:gd name="connsiteX4" fmla="*/ 70956 w 226488"/>
              <a:gd name="connsiteY4" fmla="*/ 271621 h 434975"/>
              <a:gd name="connsiteX5" fmla="*/ 74766 w 226488"/>
              <a:gd name="connsiteY5" fmla="*/ 265430 h 434975"/>
              <a:gd name="connsiteX6" fmla="*/ 76671 w 226488"/>
              <a:gd name="connsiteY6" fmla="*/ 261303 h 434975"/>
              <a:gd name="connsiteX7" fmla="*/ 84291 w 226488"/>
              <a:gd name="connsiteY7" fmla="*/ 259239 h 434975"/>
              <a:gd name="connsiteX8" fmla="*/ 33570 w 226488"/>
              <a:gd name="connsiteY8" fmla="*/ 234546 h 434975"/>
              <a:gd name="connsiteX9" fmla="*/ 41111 w 226488"/>
              <a:gd name="connsiteY9" fmla="*/ 237820 h 434975"/>
              <a:gd name="connsiteX10" fmla="*/ 43122 w 226488"/>
              <a:gd name="connsiteY10" fmla="*/ 245879 h 434975"/>
              <a:gd name="connsiteX11" fmla="*/ 49154 w 226488"/>
              <a:gd name="connsiteY11" fmla="*/ 245879 h 434975"/>
              <a:gd name="connsiteX12" fmla="*/ 51165 w 226488"/>
              <a:gd name="connsiteY12" fmla="*/ 251924 h 434975"/>
              <a:gd name="connsiteX13" fmla="*/ 53176 w 226488"/>
              <a:gd name="connsiteY13" fmla="*/ 255954 h 434975"/>
              <a:gd name="connsiteX14" fmla="*/ 53176 w 226488"/>
              <a:gd name="connsiteY14" fmla="*/ 261998 h 434975"/>
              <a:gd name="connsiteX15" fmla="*/ 51165 w 226488"/>
              <a:gd name="connsiteY15" fmla="*/ 266028 h 434975"/>
              <a:gd name="connsiteX16" fmla="*/ 49154 w 226488"/>
              <a:gd name="connsiteY16" fmla="*/ 270058 h 434975"/>
              <a:gd name="connsiteX17" fmla="*/ 45132 w 226488"/>
              <a:gd name="connsiteY17" fmla="*/ 274088 h 434975"/>
              <a:gd name="connsiteX18" fmla="*/ 39100 w 226488"/>
              <a:gd name="connsiteY18" fmla="*/ 282147 h 434975"/>
              <a:gd name="connsiteX19" fmla="*/ 35078 w 226488"/>
              <a:gd name="connsiteY19" fmla="*/ 284162 h 434975"/>
              <a:gd name="connsiteX20" fmla="*/ 33067 w 226488"/>
              <a:gd name="connsiteY20" fmla="*/ 282147 h 434975"/>
              <a:gd name="connsiteX21" fmla="*/ 29046 w 226488"/>
              <a:gd name="connsiteY21" fmla="*/ 272073 h 434975"/>
              <a:gd name="connsiteX22" fmla="*/ 25024 w 226488"/>
              <a:gd name="connsiteY22" fmla="*/ 268043 h 434975"/>
              <a:gd name="connsiteX23" fmla="*/ 21002 w 226488"/>
              <a:gd name="connsiteY23" fmla="*/ 270058 h 434975"/>
              <a:gd name="connsiteX24" fmla="*/ 16981 w 226488"/>
              <a:gd name="connsiteY24" fmla="*/ 274088 h 434975"/>
              <a:gd name="connsiteX25" fmla="*/ 6927 w 226488"/>
              <a:gd name="connsiteY25" fmla="*/ 274088 h 434975"/>
              <a:gd name="connsiteX26" fmla="*/ 894 w 226488"/>
              <a:gd name="connsiteY26" fmla="*/ 264013 h 434975"/>
              <a:gd name="connsiteX27" fmla="*/ 894 w 226488"/>
              <a:gd name="connsiteY27" fmla="*/ 251924 h 434975"/>
              <a:gd name="connsiteX28" fmla="*/ 14970 w 226488"/>
              <a:gd name="connsiteY28" fmla="*/ 245879 h 434975"/>
              <a:gd name="connsiteX29" fmla="*/ 16981 w 226488"/>
              <a:gd name="connsiteY29" fmla="*/ 241850 h 434975"/>
              <a:gd name="connsiteX30" fmla="*/ 14970 w 226488"/>
              <a:gd name="connsiteY30" fmla="*/ 241850 h 434975"/>
              <a:gd name="connsiteX31" fmla="*/ 23013 w 226488"/>
              <a:gd name="connsiteY31" fmla="*/ 235805 h 434975"/>
              <a:gd name="connsiteX32" fmla="*/ 29046 w 226488"/>
              <a:gd name="connsiteY32" fmla="*/ 235805 h 434975"/>
              <a:gd name="connsiteX33" fmla="*/ 33570 w 226488"/>
              <a:gd name="connsiteY33" fmla="*/ 234546 h 434975"/>
              <a:gd name="connsiteX34" fmla="*/ 53494 w 226488"/>
              <a:gd name="connsiteY34" fmla="*/ 222250 h 434975"/>
              <a:gd name="connsiteX35" fmla="*/ 52541 w 226488"/>
              <a:gd name="connsiteY35" fmla="*/ 227542 h 434975"/>
              <a:gd name="connsiteX36" fmla="*/ 44921 w 226488"/>
              <a:gd name="connsiteY36" fmla="*/ 227542 h 434975"/>
              <a:gd name="connsiteX37" fmla="*/ 48731 w 226488"/>
              <a:gd name="connsiteY37" fmla="*/ 223308 h 434975"/>
              <a:gd name="connsiteX38" fmla="*/ 53494 w 226488"/>
              <a:gd name="connsiteY38" fmla="*/ 222250 h 434975"/>
              <a:gd name="connsiteX39" fmla="*/ 29386 w 226488"/>
              <a:gd name="connsiteY39" fmla="*/ 204986 h 434975"/>
              <a:gd name="connsiteX40" fmla="*/ 32448 w 226488"/>
              <a:gd name="connsiteY40" fmla="*/ 205241 h 434975"/>
              <a:gd name="connsiteX41" fmla="*/ 38571 w 226488"/>
              <a:gd name="connsiteY41" fmla="*/ 211364 h 434975"/>
              <a:gd name="connsiteX42" fmla="*/ 38571 w 226488"/>
              <a:gd name="connsiteY42" fmla="*/ 215446 h 434975"/>
              <a:gd name="connsiteX43" fmla="*/ 32448 w 226488"/>
              <a:gd name="connsiteY43" fmla="*/ 215446 h 434975"/>
              <a:gd name="connsiteX44" fmla="*/ 30407 w 226488"/>
              <a:gd name="connsiteY44" fmla="*/ 213405 h 434975"/>
              <a:gd name="connsiteX45" fmla="*/ 26324 w 226488"/>
              <a:gd name="connsiteY45" fmla="*/ 209323 h 434975"/>
              <a:gd name="connsiteX46" fmla="*/ 29386 w 226488"/>
              <a:gd name="connsiteY46" fmla="*/ 204986 h 434975"/>
              <a:gd name="connsiteX47" fmla="*/ 26400 w 226488"/>
              <a:gd name="connsiteY47" fmla="*/ 173567 h 434975"/>
              <a:gd name="connsiteX48" fmla="*/ 28517 w 226488"/>
              <a:gd name="connsiteY48" fmla="*/ 173567 h 434975"/>
              <a:gd name="connsiteX49" fmla="*/ 24283 w 226488"/>
              <a:gd name="connsiteY49" fmla="*/ 175683 h 434975"/>
              <a:gd name="connsiteX50" fmla="*/ 26400 w 226488"/>
              <a:gd name="connsiteY50" fmla="*/ 173567 h 434975"/>
              <a:gd name="connsiteX51" fmla="*/ 31268 w 226488"/>
              <a:gd name="connsiteY51" fmla="*/ 157480 h 434975"/>
              <a:gd name="connsiteX52" fmla="*/ 35078 w 226488"/>
              <a:gd name="connsiteY52" fmla="*/ 157480 h 434975"/>
              <a:gd name="connsiteX53" fmla="*/ 35078 w 226488"/>
              <a:gd name="connsiteY53" fmla="*/ 161290 h 434975"/>
              <a:gd name="connsiteX54" fmla="*/ 35078 w 226488"/>
              <a:gd name="connsiteY54" fmla="*/ 165100 h 434975"/>
              <a:gd name="connsiteX55" fmla="*/ 31268 w 226488"/>
              <a:gd name="connsiteY55" fmla="*/ 161290 h 434975"/>
              <a:gd name="connsiteX56" fmla="*/ 27458 w 226488"/>
              <a:gd name="connsiteY56" fmla="*/ 159385 h 434975"/>
              <a:gd name="connsiteX57" fmla="*/ 31268 w 226488"/>
              <a:gd name="connsiteY57" fmla="*/ 157480 h 434975"/>
              <a:gd name="connsiteX58" fmla="*/ 36279 w 226488"/>
              <a:gd name="connsiteY58" fmla="*/ 135370 h 434975"/>
              <a:gd name="connsiteX59" fmla="*/ 36279 w 226488"/>
              <a:gd name="connsiteY59" fmla="*/ 143452 h 434975"/>
              <a:gd name="connsiteX60" fmla="*/ 38219 w 226488"/>
              <a:gd name="connsiteY60" fmla="*/ 147493 h 434975"/>
              <a:gd name="connsiteX61" fmla="*/ 40159 w 226488"/>
              <a:gd name="connsiteY61" fmla="*/ 149514 h 434975"/>
              <a:gd name="connsiteX62" fmla="*/ 36279 w 226488"/>
              <a:gd name="connsiteY62" fmla="*/ 155575 h 434975"/>
              <a:gd name="connsiteX63" fmla="*/ 32398 w 226488"/>
              <a:gd name="connsiteY63" fmla="*/ 151534 h 434975"/>
              <a:gd name="connsiteX64" fmla="*/ 30458 w 226488"/>
              <a:gd name="connsiteY64" fmla="*/ 149514 h 434975"/>
              <a:gd name="connsiteX65" fmla="*/ 26577 w 226488"/>
              <a:gd name="connsiteY65" fmla="*/ 147493 h 434975"/>
              <a:gd name="connsiteX66" fmla="*/ 24637 w 226488"/>
              <a:gd name="connsiteY66" fmla="*/ 141432 h 434975"/>
              <a:gd name="connsiteX67" fmla="*/ 28517 w 226488"/>
              <a:gd name="connsiteY67" fmla="*/ 139411 h 434975"/>
              <a:gd name="connsiteX68" fmla="*/ 32398 w 226488"/>
              <a:gd name="connsiteY68" fmla="*/ 137391 h 434975"/>
              <a:gd name="connsiteX69" fmla="*/ 36279 w 226488"/>
              <a:gd name="connsiteY69" fmla="*/ 135370 h 434975"/>
              <a:gd name="connsiteX70" fmla="*/ 12377 w 226488"/>
              <a:gd name="connsiteY70" fmla="*/ 131012 h 434975"/>
              <a:gd name="connsiteX71" fmla="*/ 14758 w 226488"/>
              <a:gd name="connsiteY71" fmla="*/ 132467 h 434975"/>
              <a:gd name="connsiteX72" fmla="*/ 12642 w 226488"/>
              <a:gd name="connsiteY72" fmla="*/ 142169 h 434975"/>
              <a:gd name="connsiteX73" fmla="*/ 12642 w 226488"/>
              <a:gd name="connsiteY73" fmla="*/ 147990 h 434975"/>
              <a:gd name="connsiteX74" fmla="*/ 10525 w 226488"/>
              <a:gd name="connsiteY74" fmla="*/ 151870 h 434975"/>
              <a:gd name="connsiteX75" fmla="*/ 8408 w 226488"/>
              <a:gd name="connsiteY75" fmla="*/ 159631 h 434975"/>
              <a:gd name="connsiteX76" fmla="*/ 2058 w 226488"/>
              <a:gd name="connsiteY76" fmla="*/ 161572 h 434975"/>
              <a:gd name="connsiteX77" fmla="*/ 4175 w 226488"/>
              <a:gd name="connsiteY77" fmla="*/ 157691 h 434975"/>
              <a:gd name="connsiteX78" fmla="*/ 6292 w 226488"/>
              <a:gd name="connsiteY78" fmla="*/ 153810 h 434975"/>
              <a:gd name="connsiteX79" fmla="*/ 8408 w 226488"/>
              <a:gd name="connsiteY79" fmla="*/ 147990 h 434975"/>
              <a:gd name="connsiteX80" fmla="*/ 10525 w 226488"/>
              <a:gd name="connsiteY80" fmla="*/ 140229 h 434975"/>
              <a:gd name="connsiteX81" fmla="*/ 6292 w 226488"/>
              <a:gd name="connsiteY81" fmla="*/ 138288 h 434975"/>
              <a:gd name="connsiteX82" fmla="*/ 8408 w 226488"/>
              <a:gd name="connsiteY82" fmla="*/ 132467 h 434975"/>
              <a:gd name="connsiteX83" fmla="*/ 12377 w 226488"/>
              <a:gd name="connsiteY83" fmla="*/ 131012 h 434975"/>
              <a:gd name="connsiteX84" fmla="*/ 32832 w 226488"/>
              <a:gd name="connsiteY84" fmla="*/ 104365 h 434975"/>
              <a:gd name="connsiteX85" fmla="*/ 36251 w 226488"/>
              <a:gd name="connsiteY85" fmla="*/ 105621 h 434975"/>
              <a:gd name="connsiteX86" fmla="*/ 38204 w 226488"/>
              <a:gd name="connsiteY86" fmla="*/ 113665 h 434975"/>
              <a:gd name="connsiteX87" fmla="*/ 36251 w 226488"/>
              <a:gd name="connsiteY87" fmla="*/ 117686 h 434975"/>
              <a:gd name="connsiteX88" fmla="*/ 32343 w 226488"/>
              <a:gd name="connsiteY88" fmla="*/ 121708 h 434975"/>
              <a:gd name="connsiteX89" fmla="*/ 30389 w 226488"/>
              <a:gd name="connsiteY89" fmla="*/ 125729 h 434975"/>
              <a:gd name="connsiteX90" fmla="*/ 24527 w 226488"/>
              <a:gd name="connsiteY90" fmla="*/ 127740 h 434975"/>
              <a:gd name="connsiteX91" fmla="*/ 18666 w 226488"/>
              <a:gd name="connsiteY91" fmla="*/ 131762 h 434975"/>
              <a:gd name="connsiteX92" fmla="*/ 16712 w 226488"/>
              <a:gd name="connsiteY92" fmla="*/ 127740 h 434975"/>
              <a:gd name="connsiteX93" fmla="*/ 16712 w 226488"/>
              <a:gd name="connsiteY93" fmla="*/ 123719 h 434975"/>
              <a:gd name="connsiteX94" fmla="*/ 18666 w 226488"/>
              <a:gd name="connsiteY94" fmla="*/ 115675 h 434975"/>
              <a:gd name="connsiteX95" fmla="*/ 24527 w 226488"/>
              <a:gd name="connsiteY95" fmla="*/ 113665 h 434975"/>
              <a:gd name="connsiteX96" fmla="*/ 26481 w 226488"/>
              <a:gd name="connsiteY96" fmla="*/ 107632 h 434975"/>
              <a:gd name="connsiteX97" fmla="*/ 32832 w 226488"/>
              <a:gd name="connsiteY97" fmla="*/ 104365 h 434975"/>
              <a:gd name="connsiteX98" fmla="*/ 114145 w 226488"/>
              <a:gd name="connsiteY98" fmla="*/ 97248 h 434975"/>
              <a:gd name="connsiteX99" fmla="*/ 110169 w 226488"/>
              <a:gd name="connsiteY99" fmla="*/ 107240 h 434975"/>
              <a:gd name="connsiteX100" fmla="*/ 96250 w 226488"/>
              <a:gd name="connsiteY100" fmla="*/ 113235 h 434975"/>
              <a:gd name="connsiteX101" fmla="*/ 90285 w 226488"/>
              <a:gd name="connsiteY101" fmla="*/ 119230 h 434975"/>
              <a:gd name="connsiteX102" fmla="*/ 88296 w 226488"/>
              <a:gd name="connsiteY102" fmla="*/ 129222 h 434975"/>
              <a:gd name="connsiteX103" fmla="*/ 92273 w 226488"/>
              <a:gd name="connsiteY103" fmla="*/ 131221 h 434975"/>
              <a:gd name="connsiteX104" fmla="*/ 92273 w 226488"/>
              <a:gd name="connsiteY104" fmla="*/ 137216 h 434975"/>
              <a:gd name="connsiteX105" fmla="*/ 100227 w 226488"/>
              <a:gd name="connsiteY105" fmla="*/ 135218 h 434975"/>
              <a:gd name="connsiteX106" fmla="*/ 114145 w 226488"/>
              <a:gd name="connsiteY106" fmla="*/ 135218 h 434975"/>
              <a:gd name="connsiteX107" fmla="*/ 124087 w 226488"/>
              <a:gd name="connsiteY107" fmla="*/ 137216 h 434975"/>
              <a:gd name="connsiteX108" fmla="*/ 128064 w 226488"/>
              <a:gd name="connsiteY108" fmla="*/ 133219 h 434975"/>
              <a:gd name="connsiteX109" fmla="*/ 134029 w 226488"/>
              <a:gd name="connsiteY109" fmla="*/ 135218 h 434975"/>
              <a:gd name="connsiteX110" fmla="*/ 139994 w 226488"/>
              <a:gd name="connsiteY110" fmla="*/ 135218 h 434975"/>
              <a:gd name="connsiteX111" fmla="*/ 141983 w 226488"/>
              <a:gd name="connsiteY111" fmla="*/ 145209 h 434975"/>
              <a:gd name="connsiteX112" fmla="*/ 134029 w 226488"/>
              <a:gd name="connsiteY112" fmla="*/ 157200 h 434975"/>
              <a:gd name="connsiteX113" fmla="*/ 130052 w 226488"/>
              <a:gd name="connsiteY113" fmla="*/ 171188 h 434975"/>
              <a:gd name="connsiteX114" fmla="*/ 126076 w 226488"/>
              <a:gd name="connsiteY114" fmla="*/ 179182 h 434975"/>
              <a:gd name="connsiteX115" fmla="*/ 114145 w 226488"/>
              <a:gd name="connsiteY115" fmla="*/ 191172 h 434975"/>
              <a:gd name="connsiteX116" fmla="*/ 104203 w 226488"/>
              <a:gd name="connsiteY116" fmla="*/ 197167 h 434975"/>
              <a:gd name="connsiteX117" fmla="*/ 110169 w 226488"/>
              <a:gd name="connsiteY117" fmla="*/ 201164 h 434975"/>
              <a:gd name="connsiteX118" fmla="*/ 134029 w 226488"/>
              <a:gd name="connsiteY118" fmla="*/ 203163 h 434975"/>
              <a:gd name="connsiteX119" fmla="*/ 145960 w 226488"/>
              <a:gd name="connsiteY119" fmla="*/ 223146 h 434975"/>
              <a:gd name="connsiteX120" fmla="*/ 159878 w 226488"/>
              <a:gd name="connsiteY120" fmla="*/ 253122 h 434975"/>
              <a:gd name="connsiteX121" fmla="*/ 177774 w 226488"/>
              <a:gd name="connsiteY121" fmla="*/ 267111 h 434975"/>
              <a:gd name="connsiteX122" fmla="*/ 181750 w 226488"/>
              <a:gd name="connsiteY122" fmla="*/ 275105 h 434975"/>
              <a:gd name="connsiteX123" fmla="*/ 187716 w 226488"/>
              <a:gd name="connsiteY123" fmla="*/ 297087 h 434975"/>
              <a:gd name="connsiteX124" fmla="*/ 195669 w 226488"/>
              <a:gd name="connsiteY124" fmla="*/ 315072 h 434975"/>
              <a:gd name="connsiteX125" fmla="*/ 189704 w 226488"/>
              <a:gd name="connsiteY125" fmla="*/ 321067 h 434975"/>
              <a:gd name="connsiteX126" fmla="*/ 191692 w 226488"/>
              <a:gd name="connsiteY126" fmla="*/ 327062 h 434975"/>
              <a:gd name="connsiteX127" fmla="*/ 201634 w 226488"/>
              <a:gd name="connsiteY127" fmla="*/ 321067 h 434975"/>
              <a:gd name="connsiteX128" fmla="*/ 225495 w 226488"/>
              <a:gd name="connsiteY128" fmla="*/ 329061 h 434975"/>
              <a:gd name="connsiteX129" fmla="*/ 225495 w 226488"/>
              <a:gd name="connsiteY129" fmla="*/ 349045 h 434975"/>
              <a:gd name="connsiteX130" fmla="*/ 221518 w 226488"/>
              <a:gd name="connsiteY130" fmla="*/ 357038 h 434975"/>
              <a:gd name="connsiteX131" fmla="*/ 215553 w 226488"/>
              <a:gd name="connsiteY131" fmla="*/ 361035 h 434975"/>
              <a:gd name="connsiteX132" fmla="*/ 213565 w 226488"/>
              <a:gd name="connsiteY132" fmla="*/ 367030 h 434975"/>
              <a:gd name="connsiteX133" fmla="*/ 209588 w 226488"/>
              <a:gd name="connsiteY133" fmla="*/ 371027 h 434975"/>
              <a:gd name="connsiteX134" fmla="*/ 207599 w 226488"/>
              <a:gd name="connsiteY134" fmla="*/ 377022 h 434975"/>
              <a:gd name="connsiteX135" fmla="*/ 205611 w 226488"/>
              <a:gd name="connsiteY135" fmla="*/ 379020 h 434975"/>
              <a:gd name="connsiteX136" fmla="*/ 211576 w 226488"/>
              <a:gd name="connsiteY136" fmla="*/ 381019 h 434975"/>
              <a:gd name="connsiteX137" fmla="*/ 223506 w 226488"/>
              <a:gd name="connsiteY137" fmla="*/ 377022 h 434975"/>
              <a:gd name="connsiteX138" fmla="*/ 223506 w 226488"/>
              <a:gd name="connsiteY138" fmla="*/ 389012 h 434975"/>
              <a:gd name="connsiteX139" fmla="*/ 209588 w 226488"/>
              <a:gd name="connsiteY139" fmla="*/ 397006 h 434975"/>
              <a:gd name="connsiteX140" fmla="*/ 201634 w 226488"/>
              <a:gd name="connsiteY140" fmla="*/ 403001 h 434975"/>
              <a:gd name="connsiteX141" fmla="*/ 183739 w 226488"/>
              <a:gd name="connsiteY141" fmla="*/ 404999 h 434975"/>
              <a:gd name="connsiteX142" fmla="*/ 171808 w 226488"/>
              <a:gd name="connsiteY142" fmla="*/ 404999 h 434975"/>
              <a:gd name="connsiteX143" fmla="*/ 165843 w 226488"/>
              <a:gd name="connsiteY143" fmla="*/ 404999 h 434975"/>
              <a:gd name="connsiteX144" fmla="*/ 159878 w 226488"/>
              <a:gd name="connsiteY144" fmla="*/ 403001 h 434975"/>
              <a:gd name="connsiteX145" fmla="*/ 157890 w 226488"/>
              <a:gd name="connsiteY145" fmla="*/ 404999 h 434975"/>
              <a:gd name="connsiteX146" fmla="*/ 155901 w 226488"/>
              <a:gd name="connsiteY146" fmla="*/ 410995 h 434975"/>
              <a:gd name="connsiteX147" fmla="*/ 149936 w 226488"/>
              <a:gd name="connsiteY147" fmla="*/ 406998 h 434975"/>
              <a:gd name="connsiteX148" fmla="*/ 138006 w 226488"/>
              <a:gd name="connsiteY148" fmla="*/ 408996 h 434975"/>
              <a:gd name="connsiteX149" fmla="*/ 134029 w 226488"/>
              <a:gd name="connsiteY149" fmla="*/ 412993 h 434975"/>
              <a:gd name="connsiteX150" fmla="*/ 130052 w 226488"/>
              <a:gd name="connsiteY150" fmla="*/ 412993 h 434975"/>
              <a:gd name="connsiteX151" fmla="*/ 122099 w 226488"/>
              <a:gd name="connsiteY151" fmla="*/ 412993 h 434975"/>
              <a:gd name="connsiteX152" fmla="*/ 110169 w 226488"/>
              <a:gd name="connsiteY152" fmla="*/ 408996 h 434975"/>
              <a:gd name="connsiteX153" fmla="*/ 98238 w 226488"/>
              <a:gd name="connsiteY153" fmla="*/ 418988 h 434975"/>
              <a:gd name="connsiteX154" fmla="*/ 88296 w 226488"/>
              <a:gd name="connsiteY154" fmla="*/ 428980 h 434975"/>
              <a:gd name="connsiteX155" fmla="*/ 82331 w 226488"/>
              <a:gd name="connsiteY155" fmla="*/ 424983 h 434975"/>
              <a:gd name="connsiteX156" fmla="*/ 74378 w 226488"/>
              <a:gd name="connsiteY156" fmla="*/ 424983 h 434975"/>
              <a:gd name="connsiteX157" fmla="*/ 70401 w 226488"/>
              <a:gd name="connsiteY157" fmla="*/ 424983 h 434975"/>
              <a:gd name="connsiteX158" fmla="*/ 66424 w 226488"/>
              <a:gd name="connsiteY158" fmla="*/ 426982 h 434975"/>
              <a:gd name="connsiteX159" fmla="*/ 64436 w 226488"/>
              <a:gd name="connsiteY159" fmla="*/ 428980 h 434975"/>
              <a:gd name="connsiteX160" fmla="*/ 62447 w 226488"/>
              <a:gd name="connsiteY160" fmla="*/ 432977 h 434975"/>
              <a:gd name="connsiteX161" fmla="*/ 58471 w 226488"/>
              <a:gd name="connsiteY161" fmla="*/ 434975 h 434975"/>
              <a:gd name="connsiteX162" fmla="*/ 54494 w 226488"/>
              <a:gd name="connsiteY162" fmla="*/ 430978 h 434975"/>
              <a:gd name="connsiteX163" fmla="*/ 52505 w 226488"/>
              <a:gd name="connsiteY163" fmla="*/ 430978 h 434975"/>
              <a:gd name="connsiteX164" fmla="*/ 40575 w 226488"/>
              <a:gd name="connsiteY164" fmla="*/ 430978 h 434975"/>
              <a:gd name="connsiteX165" fmla="*/ 46540 w 226488"/>
              <a:gd name="connsiteY165" fmla="*/ 426982 h 434975"/>
              <a:gd name="connsiteX166" fmla="*/ 54494 w 226488"/>
              <a:gd name="connsiteY166" fmla="*/ 420986 h 434975"/>
              <a:gd name="connsiteX167" fmla="*/ 58471 w 226488"/>
              <a:gd name="connsiteY167" fmla="*/ 410995 h 434975"/>
              <a:gd name="connsiteX168" fmla="*/ 70401 w 226488"/>
              <a:gd name="connsiteY168" fmla="*/ 401003 h 434975"/>
              <a:gd name="connsiteX169" fmla="*/ 76366 w 226488"/>
              <a:gd name="connsiteY169" fmla="*/ 395007 h 434975"/>
              <a:gd name="connsiteX170" fmla="*/ 80343 w 226488"/>
              <a:gd name="connsiteY170" fmla="*/ 389012 h 434975"/>
              <a:gd name="connsiteX171" fmla="*/ 90285 w 226488"/>
              <a:gd name="connsiteY171" fmla="*/ 387014 h 434975"/>
              <a:gd name="connsiteX172" fmla="*/ 100227 w 226488"/>
              <a:gd name="connsiteY172" fmla="*/ 387014 h 434975"/>
              <a:gd name="connsiteX173" fmla="*/ 108180 w 226488"/>
              <a:gd name="connsiteY173" fmla="*/ 387014 h 434975"/>
              <a:gd name="connsiteX174" fmla="*/ 112157 w 226488"/>
              <a:gd name="connsiteY174" fmla="*/ 385016 h 434975"/>
              <a:gd name="connsiteX175" fmla="*/ 118122 w 226488"/>
              <a:gd name="connsiteY175" fmla="*/ 375024 h 434975"/>
              <a:gd name="connsiteX176" fmla="*/ 120111 w 226488"/>
              <a:gd name="connsiteY176" fmla="*/ 369029 h 434975"/>
              <a:gd name="connsiteX177" fmla="*/ 116134 w 226488"/>
              <a:gd name="connsiteY177" fmla="*/ 373025 h 434975"/>
              <a:gd name="connsiteX178" fmla="*/ 108180 w 226488"/>
              <a:gd name="connsiteY178" fmla="*/ 377022 h 434975"/>
              <a:gd name="connsiteX179" fmla="*/ 102215 w 226488"/>
              <a:gd name="connsiteY179" fmla="*/ 377022 h 434975"/>
              <a:gd name="connsiteX180" fmla="*/ 90285 w 226488"/>
              <a:gd name="connsiteY180" fmla="*/ 371027 h 434975"/>
              <a:gd name="connsiteX181" fmla="*/ 82331 w 226488"/>
              <a:gd name="connsiteY181" fmla="*/ 369029 h 434975"/>
              <a:gd name="connsiteX182" fmla="*/ 72389 w 226488"/>
              <a:gd name="connsiteY182" fmla="*/ 371027 h 434975"/>
              <a:gd name="connsiteX183" fmla="*/ 64436 w 226488"/>
              <a:gd name="connsiteY183" fmla="*/ 373025 h 434975"/>
              <a:gd name="connsiteX184" fmla="*/ 62447 w 226488"/>
              <a:gd name="connsiteY184" fmla="*/ 367030 h 434975"/>
              <a:gd name="connsiteX185" fmla="*/ 58471 w 226488"/>
              <a:gd name="connsiteY185" fmla="*/ 363033 h 434975"/>
              <a:gd name="connsiteX186" fmla="*/ 66424 w 226488"/>
              <a:gd name="connsiteY186" fmla="*/ 355040 h 434975"/>
              <a:gd name="connsiteX187" fmla="*/ 78354 w 226488"/>
              <a:gd name="connsiteY187" fmla="*/ 349045 h 434975"/>
              <a:gd name="connsiteX188" fmla="*/ 84320 w 226488"/>
              <a:gd name="connsiteY188" fmla="*/ 335056 h 434975"/>
              <a:gd name="connsiteX189" fmla="*/ 84320 w 226488"/>
              <a:gd name="connsiteY189" fmla="*/ 329061 h 434975"/>
              <a:gd name="connsiteX190" fmla="*/ 76366 w 226488"/>
              <a:gd name="connsiteY190" fmla="*/ 327062 h 434975"/>
              <a:gd name="connsiteX191" fmla="*/ 78354 w 226488"/>
              <a:gd name="connsiteY191" fmla="*/ 321067 h 434975"/>
              <a:gd name="connsiteX192" fmla="*/ 80343 w 226488"/>
              <a:gd name="connsiteY192" fmla="*/ 317071 h 434975"/>
              <a:gd name="connsiteX193" fmla="*/ 76366 w 226488"/>
              <a:gd name="connsiteY193" fmla="*/ 305080 h 434975"/>
              <a:gd name="connsiteX194" fmla="*/ 88296 w 226488"/>
              <a:gd name="connsiteY194" fmla="*/ 307079 h 434975"/>
              <a:gd name="connsiteX195" fmla="*/ 106192 w 226488"/>
              <a:gd name="connsiteY195" fmla="*/ 305080 h 434975"/>
              <a:gd name="connsiteX196" fmla="*/ 110169 w 226488"/>
              <a:gd name="connsiteY196" fmla="*/ 291092 h 434975"/>
              <a:gd name="connsiteX197" fmla="*/ 112157 w 226488"/>
              <a:gd name="connsiteY197" fmla="*/ 283098 h 434975"/>
              <a:gd name="connsiteX198" fmla="*/ 116134 w 226488"/>
              <a:gd name="connsiteY198" fmla="*/ 275105 h 434975"/>
              <a:gd name="connsiteX199" fmla="*/ 108180 w 226488"/>
              <a:gd name="connsiteY199" fmla="*/ 275105 h 434975"/>
              <a:gd name="connsiteX200" fmla="*/ 100227 w 226488"/>
              <a:gd name="connsiteY200" fmla="*/ 273106 h 434975"/>
              <a:gd name="connsiteX201" fmla="*/ 98238 w 226488"/>
              <a:gd name="connsiteY201" fmla="*/ 261116 h 434975"/>
              <a:gd name="connsiteX202" fmla="*/ 98238 w 226488"/>
              <a:gd name="connsiteY202" fmla="*/ 253122 h 434975"/>
              <a:gd name="connsiteX203" fmla="*/ 104203 w 226488"/>
              <a:gd name="connsiteY203" fmla="*/ 243130 h 434975"/>
              <a:gd name="connsiteX204" fmla="*/ 96250 w 226488"/>
              <a:gd name="connsiteY204" fmla="*/ 243130 h 434975"/>
              <a:gd name="connsiteX205" fmla="*/ 92273 w 226488"/>
              <a:gd name="connsiteY205" fmla="*/ 247127 h 434975"/>
              <a:gd name="connsiteX206" fmla="*/ 86308 w 226488"/>
              <a:gd name="connsiteY206" fmla="*/ 249126 h 434975"/>
              <a:gd name="connsiteX207" fmla="*/ 80343 w 226488"/>
              <a:gd name="connsiteY207" fmla="*/ 249126 h 434975"/>
              <a:gd name="connsiteX208" fmla="*/ 78354 w 226488"/>
              <a:gd name="connsiteY208" fmla="*/ 247127 h 434975"/>
              <a:gd name="connsiteX209" fmla="*/ 74378 w 226488"/>
              <a:gd name="connsiteY209" fmla="*/ 249126 h 434975"/>
              <a:gd name="connsiteX210" fmla="*/ 70401 w 226488"/>
              <a:gd name="connsiteY210" fmla="*/ 249126 h 434975"/>
              <a:gd name="connsiteX211" fmla="*/ 60459 w 226488"/>
              <a:gd name="connsiteY211" fmla="*/ 249126 h 434975"/>
              <a:gd name="connsiteX212" fmla="*/ 60459 w 226488"/>
              <a:gd name="connsiteY212" fmla="*/ 241132 h 434975"/>
              <a:gd name="connsiteX213" fmla="*/ 62447 w 226488"/>
              <a:gd name="connsiteY213" fmla="*/ 237135 h 434975"/>
              <a:gd name="connsiteX214" fmla="*/ 66424 w 226488"/>
              <a:gd name="connsiteY214" fmla="*/ 227143 h 434975"/>
              <a:gd name="connsiteX215" fmla="*/ 72389 w 226488"/>
              <a:gd name="connsiteY215" fmla="*/ 223146 h 434975"/>
              <a:gd name="connsiteX216" fmla="*/ 68413 w 226488"/>
              <a:gd name="connsiteY216" fmla="*/ 211156 h 434975"/>
              <a:gd name="connsiteX217" fmla="*/ 70401 w 226488"/>
              <a:gd name="connsiteY217" fmla="*/ 201164 h 434975"/>
              <a:gd name="connsiteX218" fmla="*/ 68413 w 226488"/>
              <a:gd name="connsiteY218" fmla="*/ 199166 h 434975"/>
              <a:gd name="connsiteX219" fmla="*/ 62447 w 226488"/>
              <a:gd name="connsiteY219" fmla="*/ 203163 h 434975"/>
              <a:gd name="connsiteX220" fmla="*/ 54494 w 226488"/>
              <a:gd name="connsiteY220" fmla="*/ 207159 h 434975"/>
              <a:gd name="connsiteX221" fmla="*/ 58471 w 226488"/>
              <a:gd name="connsiteY221" fmla="*/ 211156 h 434975"/>
              <a:gd name="connsiteX222" fmla="*/ 62447 w 226488"/>
              <a:gd name="connsiteY222" fmla="*/ 221148 h 434975"/>
              <a:gd name="connsiteX223" fmla="*/ 50517 w 226488"/>
              <a:gd name="connsiteY223" fmla="*/ 207159 h 434975"/>
              <a:gd name="connsiteX224" fmla="*/ 44552 w 226488"/>
              <a:gd name="connsiteY224" fmla="*/ 205161 h 434975"/>
              <a:gd name="connsiteX225" fmla="*/ 40575 w 226488"/>
              <a:gd name="connsiteY225" fmla="*/ 201164 h 434975"/>
              <a:gd name="connsiteX226" fmla="*/ 50517 w 226488"/>
              <a:gd name="connsiteY226" fmla="*/ 191172 h 434975"/>
              <a:gd name="connsiteX227" fmla="*/ 54494 w 226488"/>
              <a:gd name="connsiteY227" fmla="*/ 181180 h 434975"/>
              <a:gd name="connsiteX228" fmla="*/ 58471 w 226488"/>
              <a:gd name="connsiteY228" fmla="*/ 177184 h 434975"/>
              <a:gd name="connsiteX229" fmla="*/ 54494 w 226488"/>
              <a:gd name="connsiteY229" fmla="*/ 175185 h 434975"/>
              <a:gd name="connsiteX230" fmla="*/ 48529 w 226488"/>
              <a:gd name="connsiteY230" fmla="*/ 185177 h 434975"/>
              <a:gd name="connsiteX231" fmla="*/ 44552 w 226488"/>
              <a:gd name="connsiteY231" fmla="*/ 189174 h 434975"/>
              <a:gd name="connsiteX232" fmla="*/ 36598 w 226488"/>
              <a:gd name="connsiteY232" fmla="*/ 191172 h 434975"/>
              <a:gd name="connsiteX233" fmla="*/ 32622 w 226488"/>
              <a:gd name="connsiteY233" fmla="*/ 193171 h 434975"/>
              <a:gd name="connsiteX234" fmla="*/ 30633 w 226488"/>
              <a:gd name="connsiteY234" fmla="*/ 193171 h 434975"/>
              <a:gd name="connsiteX235" fmla="*/ 34610 w 226488"/>
              <a:gd name="connsiteY235" fmla="*/ 187175 h 434975"/>
              <a:gd name="connsiteX236" fmla="*/ 36598 w 226488"/>
              <a:gd name="connsiteY236" fmla="*/ 183179 h 434975"/>
              <a:gd name="connsiteX237" fmla="*/ 40575 w 226488"/>
              <a:gd name="connsiteY237" fmla="*/ 175185 h 434975"/>
              <a:gd name="connsiteX238" fmla="*/ 48529 w 226488"/>
              <a:gd name="connsiteY238" fmla="*/ 171188 h 434975"/>
              <a:gd name="connsiteX239" fmla="*/ 42564 w 226488"/>
              <a:gd name="connsiteY239" fmla="*/ 163195 h 434975"/>
              <a:gd name="connsiteX240" fmla="*/ 42564 w 226488"/>
              <a:gd name="connsiteY240" fmla="*/ 149206 h 434975"/>
              <a:gd name="connsiteX241" fmla="*/ 48529 w 226488"/>
              <a:gd name="connsiteY241" fmla="*/ 149206 h 434975"/>
              <a:gd name="connsiteX242" fmla="*/ 54494 w 226488"/>
              <a:gd name="connsiteY242" fmla="*/ 149206 h 434975"/>
              <a:gd name="connsiteX243" fmla="*/ 46540 w 226488"/>
              <a:gd name="connsiteY243" fmla="*/ 145209 h 434975"/>
              <a:gd name="connsiteX244" fmla="*/ 46540 w 226488"/>
              <a:gd name="connsiteY244" fmla="*/ 139214 h 434975"/>
              <a:gd name="connsiteX245" fmla="*/ 50517 w 226488"/>
              <a:gd name="connsiteY245" fmla="*/ 129222 h 434975"/>
              <a:gd name="connsiteX246" fmla="*/ 58471 w 226488"/>
              <a:gd name="connsiteY246" fmla="*/ 127224 h 434975"/>
              <a:gd name="connsiteX247" fmla="*/ 58471 w 226488"/>
              <a:gd name="connsiteY247" fmla="*/ 125226 h 434975"/>
              <a:gd name="connsiteX248" fmla="*/ 56482 w 226488"/>
              <a:gd name="connsiteY248" fmla="*/ 119230 h 434975"/>
              <a:gd name="connsiteX249" fmla="*/ 56482 w 226488"/>
              <a:gd name="connsiteY249" fmla="*/ 113235 h 434975"/>
              <a:gd name="connsiteX250" fmla="*/ 58471 w 226488"/>
              <a:gd name="connsiteY250" fmla="*/ 111237 h 434975"/>
              <a:gd name="connsiteX251" fmla="*/ 64436 w 226488"/>
              <a:gd name="connsiteY251" fmla="*/ 105242 h 434975"/>
              <a:gd name="connsiteX252" fmla="*/ 66424 w 226488"/>
              <a:gd name="connsiteY252" fmla="*/ 99247 h 434975"/>
              <a:gd name="connsiteX253" fmla="*/ 72389 w 226488"/>
              <a:gd name="connsiteY253" fmla="*/ 101245 h 434975"/>
              <a:gd name="connsiteX254" fmla="*/ 80343 w 226488"/>
              <a:gd name="connsiteY254" fmla="*/ 101245 h 434975"/>
              <a:gd name="connsiteX255" fmla="*/ 92273 w 226488"/>
              <a:gd name="connsiteY255" fmla="*/ 101245 h 434975"/>
              <a:gd name="connsiteX256" fmla="*/ 104203 w 226488"/>
              <a:gd name="connsiteY256" fmla="*/ 99247 h 434975"/>
              <a:gd name="connsiteX257" fmla="*/ 114145 w 226488"/>
              <a:gd name="connsiteY257" fmla="*/ 97248 h 434975"/>
              <a:gd name="connsiteX258" fmla="*/ 126413 w 226488"/>
              <a:gd name="connsiteY258" fmla="*/ 76200 h 434975"/>
              <a:gd name="connsiteX259" fmla="*/ 130646 w 226488"/>
              <a:gd name="connsiteY259" fmla="*/ 76200 h 434975"/>
              <a:gd name="connsiteX260" fmla="*/ 126413 w 226488"/>
              <a:gd name="connsiteY260" fmla="*/ 77787 h 434975"/>
              <a:gd name="connsiteX261" fmla="*/ 126413 w 226488"/>
              <a:gd name="connsiteY261" fmla="*/ 76200 h 434975"/>
              <a:gd name="connsiteX262" fmla="*/ 107187 w 226488"/>
              <a:gd name="connsiteY262" fmla="*/ 74612 h 434975"/>
              <a:gd name="connsiteX263" fmla="*/ 109127 w 226488"/>
              <a:gd name="connsiteY263" fmla="*/ 76596 h 434975"/>
              <a:gd name="connsiteX264" fmla="*/ 113008 w 226488"/>
              <a:gd name="connsiteY264" fmla="*/ 78581 h 434975"/>
              <a:gd name="connsiteX265" fmla="*/ 116888 w 226488"/>
              <a:gd name="connsiteY265" fmla="*/ 82549 h 434975"/>
              <a:gd name="connsiteX266" fmla="*/ 118829 w 226488"/>
              <a:gd name="connsiteY266" fmla="*/ 84534 h 434975"/>
              <a:gd name="connsiteX267" fmla="*/ 122709 w 226488"/>
              <a:gd name="connsiteY267" fmla="*/ 88502 h 434975"/>
              <a:gd name="connsiteX268" fmla="*/ 118829 w 226488"/>
              <a:gd name="connsiteY268" fmla="*/ 88502 h 434975"/>
              <a:gd name="connsiteX269" fmla="*/ 111067 w 226488"/>
              <a:gd name="connsiteY269" fmla="*/ 90487 h 434975"/>
              <a:gd name="connsiteX270" fmla="*/ 111067 w 226488"/>
              <a:gd name="connsiteY270" fmla="*/ 86518 h 434975"/>
              <a:gd name="connsiteX271" fmla="*/ 107187 w 226488"/>
              <a:gd name="connsiteY271" fmla="*/ 82549 h 434975"/>
              <a:gd name="connsiteX272" fmla="*/ 107187 w 226488"/>
              <a:gd name="connsiteY272" fmla="*/ 78581 h 434975"/>
              <a:gd name="connsiteX273" fmla="*/ 107187 w 226488"/>
              <a:gd name="connsiteY273" fmla="*/ 74612 h 434975"/>
              <a:gd name="connsiteX274" fmla="*/ 120063 w 226488"/>
              <a:gd name="connsiteY274" fmla="*/ 71437 h 434975"/>
              <a:gd name="connsiteX275" fmla="*/ 124296 w 226488"/>
              <a:gd name="connsiteY275" fmla="*/ 71437 h 434975"/>
              <a:gd name="connsiteX276" fmla="*/ 120063 w 226488"/>
              <a:gd name="connsiteY276" fmla="*/ 73818 h 434975"/>
              <a:gd name="connsiteX277" fmla="*/ 120063 w 226488"/>
              <a:gd name="connsiteY277" fmla="*/ 71437 h 434975"/>
              <a:gd name="connsiteX278" fmla="*/ 119005 w 226488"/>
              <a:gd name="connsiteY278" fmla="*/ 63500 h 434975"/>
              <a:gd name="connsiteX279" fmla="*/ 121121 w 226488"/>
              <a:gd name="connsiteY279" fmla="*/ 65881 h 434975"/>
              <a:gd name="connsiteX280" fmla="*/ 116888 w 226488"/>
              <a:gd name="connsiteY280" fmla="*/ 65881 h 434975"/>
              <a:gd name="connsiteX281" fmla="*/ 119005 w 226488"/>
              <a:gd name="connsiteY281" fmla="*/ 63500 h 434975"/>
              <a:gd name="connsiteX282" fmla="*/ 168066 w 226488"/>
              <a:gd name="connsiteY282" fmla="*/ 0 h 434975"/>
              <a:gd name="connsiteX283" fmla="*/ 171921 w 226488"/>
              <a:gd name="connsiteY283" fmla="*/ 4030 h 434975"/>
              <a:gd name="connsiteX284" fmla="*/ 169994 w 226488"/>
              <a:gd name="connsiteY284" fmla="*/ 8059 h 434975"/>
              <a:gd name="connsiteX285" fmla="*/ 169994 w 226488"/>
              <a:gd name="connsiteY285" fmla="*/ 10074 h 434975"/>
              <a:gd name="connsiteX286" fmla="*/ 169994 w 226488"/>
              <a:gd name="connsiteY286" fmla="*/ 16119 h 434975"/>
              <a:gd name="connsiteX287" fmla="*/ 168066 w 226488"/>
              <a:gd name="connsiteY287" fmla="*/ 20149 h 434975"/>
              <a:gd name="connsiteX288" fmla="*/ 166138 w 226488"/>
              <a:gd name="connsiteY288" fmla="*/ 24178 h 434975"/>
              <a:gd name="connsiteX289" fmla="*/ 164210 w 226488"/>
              <a:gd name="connsiteY289" fmla="*/ 28208 h 434975"/>
              <a:gd name="connsiteX290" fmla="*/ 158427 w 226488"/>
              <a:gd name="connsiteY290" fmla="*/ 32238 h 434975"/>
              <a:gd name="connsiteX291" fmla="*/ 160355 w 226488"/>
              <a:gd name="connsiteY291" fmla="*/ 44327 h 434975"/>
              <a:gd name="connsiteX292" fmla="*/ 158427 w 226488"/>
              <a:gd name="connsiteY292" fmla="*/ 52387 h 434975"/>
              <a:gd name="connsiteX293" fmla="*/ 150716 w 226488"/>
              <a:gd name="connsiteY293" fmla="*/ 48357 h 434975"/>
              <a:gd name="connsiteX294" fmla="*/ 154572 w 226488"/>
              <a:gd name="connsiteY294" fmla="*/ 42312 h 434975"/>
              <a:gd name="connsiteX295" fmla="*/ 152644 w 226488"/>
              <a:gd name="connsiteY295" fmla="*/ 38283 h 434975"/>
              <a:gd name="connsiteX296" fmla="*/ 148789 w 226488"/>
              <a:gd name="connsiteY296" fmla="*/ 34253 h 434975"/>
              <a:gd name="connsiteX297" fmla="*/ 144933 w 226488"/>
              <a:gd name="connsiteY297" fmla="*/ 30223 h 434975"/>
              <a:gd name="connsiteX298" fmla="*/ 146861 w 226488"/>
              <a:gd name="connsiteY298" fmla="*/ 24178 h 434975"/>
              <a:gd name="connsiteX299" fmla="*/ 148789 w 226488"/>
              <a:gd name="connsiteY299" fmla="*/ 18134 h 434975"/>
              <a:gd name="connsiteX300" fmla="*/ 152644 w 226488"/>
              <a:gd name="connsiteY300" fmla="*/ 16119 h 434975"/>
              <a:gd name="connsiteX301" fmla="*/ 158427 w 226488"/>
              <a:gd name="connsiteY301" fmla="*/ 20149 h 434975"/>
              <a:gd name="connsiteX302" fmla="*/ 158427 w 226488"/>
              <a:gd name="connsiteY302" fmla="*/ 16119 h 434975"/>
              <a:gd name="connsiteX303" fmla="*/ 160355 w 226488"/>
              <a:gd name="connsiteY303" fmla="*/ 12089 h 434975"/>
              <a:gd name="connsiteX304" fmla="*/ 164210 w 226488"/>
              <a:gd name="connsiteY304" fmla="*/ 10074 h 434975"/>
              <a:gd name="connsiteX305" fmla="*/ 168066 w 226488"/>
              <a:gd name="connsiteY305" fmla="*/ 0 h 4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226488" h="434975">
                <a:moveTo>
                  <a:pt x="84291" y="259239"/>
                </a:moveTo>
                <a:cubicBezTo>
                  <a:pt x="86196" y="259239"/>
                  <a:pt x="82386" y="263366"/>
                  <a:pt x="80481" y="265430"/>
                </a:cubicBezTo>
                <a:cubicBezTo>
                  <a:pt x="80481" y="267494"/>
                  <a:pt x="78576" y="271621"/>
                  <a:pt x="78576" y="273685"/>
                </a:cubicBezTo>
                <a:cubicBezTo>
                  <a:pt x="76671" y="277812"/>
                  <a:pt x="72861" y="277812"/>
                  <a:pt x="70956" y="275748"/>
                </a:cubicBezTo>
                <a:cubicBezTo>
                  <a:pt x="67146" y="275748"/>
                  <a:pt x="70956" y="271621"/>
                  <a:pt x="70956" y="271621"/>
                </a:cubicBezTo>
                <a:cubicBezTo>
                  <a:pt x="70956" y="271621"/>
                  <a:pt x="72861" y="269557"/>
                  <a:pt x="74766" y="265430"/>
                </a:cubicBezTo>
                <a:cubicBezTo>
                  <a:pt x="74766" y="261303"/>
                  <a:pt x="76671" y="261303"/>
                  <a:pt x="76671" y="261303"/>
                </a:cubicBezTo>
                <a:cubicBezTo>
                  <a:pt x="76671" y="261303"/>
                  <a:pt x="82386" y="257175"/>
                  <a:pt x="84291" y="259239"/>
                </a:cubicBezTo>
                <a:close/>
                <a:moveTo>
                  <a:pt x="33570" y="234546"/>
                </a:moveTo>
                <a:cubicBezTo>
                  <a:pt x="36084" y="234294"/>
                  <a:pt x="39100" y="234798"/>
                  <a:pt x="41111" y="237820"/>
                </a:cubicBezTo>
                <a:cubicBezTo>
                  <a:pt x="43122" y="241850"/>
                  <a:pt x="43122" y="245879"/>
                  <a:pt x="43122" y="245879"/>
                </a:cubicBezTo>
                <a:cubicBezTo>
                  <a:pt x="43122" y="245879"/>
                  <a:pt x="43122" y="249909"/>
                  <a:pt x="49154" y="245879"/>
                </a:cubicBezTo>
                <a:cubicBezTo>
                  <a:pt x="53176" y="245879"/>
                  <a:pt x="51165" y="251924"/>
                  <a:pt x="51165" y="251924"/>
                </a:cubicBezTo>
                <a:cubicBezTo>
                  <a:pt x="51165" y="251924"/>
                  <a:pt x="47143" y="253939"/>
                  <a:pt x="53176" y="255954"/>
                </a:cubicBezTo>
                <a:cubicBezTo>
                  <a:pt x="59208" y="257969"/>
                  <a:pt x="55187" y="261998"/>
                  <a:pt x="53176" y="261998"/>
                </a:cubicBezTo>
                <a:cubicBezTo>
                  <a:pt x="51165" y="261998"/>
                  <a:pt x="51165" y="261998"/>
                  <a:pt x="51165" y="266028"/>
                </a:cubicBezTo>
                <a:cubicBezTo>
                  <a:pt x="51165" y="270058"/>
                  <a:pt x="51165" y="270058"/>
                  <a:pt x="49154" y="270058"/>
                </a:cubicBezTo>
                <a:cubicBezTo>
                  <a:pt x="47143" y="270058"/>
                  <a:pt x="45132" y="270058"/>
                  <a:pt x="45132" y="274088"/>
                </a:cubicBezTo>
                <a:cubicBezTo>
                  <a:pt x="45132" y="278117"/>
                  <a:pt x="43122" y="282147"/>
                  <a:pt x="39100" y="282147"/>
                </a:cubicBezTo>
                <a:cubicBezTo>
                  <a:pt x="37089" y="282147"/>
                  <a:pt x="35078" y="284162"/>
                  <a:pt x="35078" y="284162"/>
                </a:cubicBezTo>
                <a:cubicBezTo>
                  <a:pt x="35078" y="284162"/>
                  <a:pt x="33067" y="282147"/>
                  <a:pt x="33067" y="282147"/>
                </a:cubicBezTo>
                <a:cubicBezTo>
                  <a:pt x="33067" y="282147"/>
                  <a:pt x="29046" y="278117"/>
                  <a:pt x="29046" y="272073"/>
                </a:cubicBezTo>
                <a:cubicBezTo>
                  <a:pt x="31057" y="268043"/>
                  <a:pt x="29046" y="268043"/>
                  <a:pt x="25024" y="268043"/>
                </a:cubicBezTo>
                <a:cubicBezTo>
                  <a:pt x="21002" y="268043"/>
                  <a:pt x="23013" y="268043"/>
                  <a:pt x="21002" y="270058"/>
                </a:cubicBezTo>
                <a:cubicBezTo>
                  <a:pt x="18992" y="272073"/>
                  <a:pt x="16981" y="274088"/>
                  <a:pt x="16981" y="274088"/>
                </a:cubicBezTo>
                <a:cubicBezTo>
                  <a:pt x="16981" y="274088"/>
                  <a:pt x="6927" y="276103"/>
                  <a:pt x="6927" y="274088"/>
                </a:cubicBezTo>
                <a:cubicBezTo>
                  <a:pt x="4916" y="274088"/>
                  <a:pt x="894" y="268043"/>
                  <a:pt x="894" y="264013"/>
                </a:cubicBezTo>
                <a:cubicBezTo>
                  <a:pt x="-1117" y="259984"/>
                  <a:pt x="894" y="253939"/>
                  <a:pt x="894" y="251924"/>
                </a:cubicBezTo>
                <a:cubicBezTo>
                  <a:pt x="2905" y="249909"/>
                  <a:pt x="14970" y="245879"/>
                  <a:pt x="14970" y="245879"/>
                </a:cubicBezTo>
                <a:cubicBezTo>
                  <a:pt x="16981" y="243864"/>
                  <a:pt x="16981" y="241850"/>
                  <a:pt x="16981" y="241850"/>
                </a:cubicBezTo>
                <a:cubicBezTo>
                  <a:pt x="16981" y="241850"/>
                  <a:pt x="16981" y="241850"/>
                  <a:pt x="14970" y="241850"/>
                </a:cubicBezTo>
                <a:cubicBezTo>
                  <a:pt x="14970" y="241850"/>
                  <a:pt x="18992" y="235805"/>
                  <a:pt x="23013" y="235805"/>
                </a:cubicBezTo>
                <a:cubicBezTo>
                  <a:pt x="25024" y="235805"/>
                  <a:pt x="29046" y="235805"/>
                  <a:pt x="29046" y="235805"/>
                </a:cubicBezTo>
                <a:cubicBezTo>
                  <a:pt x="29046" y="235805"/>
                  <a:pt x="31057" y="234797"/>
                  <a:pt x="33570" y="234546"/>
                </a:cubicBezTo>
                <a:close/>
                <a:moveTo>
                  <a:pt x="53494" y="222250"/>
                </a:moveTo>
                <a:cubicBezTo>
                  <a:pt x="53970" y="223308"/>
                  <a:pt x="53494" y="225425"/>
                  <a:pt x="52541" y="227542"/>
                </a:cubicBezTo>
                <a:cubicBezTo>
                  <a:pt x="50636" y="229658"/>
                  <a:pt x="44921" y="231775"/>
                  <a:pt x="44921" y="227542"/>
                </a:cubicBezTo>
                <a:cubicBezTo>
                  <a:pt x="44921" y="223308"/>
                  <a:pt x="48731" y="223308"/>
                  <a:pt x="48731" y="223308"/>
                </a:cubicBezTo>
                <a:cubicBezTo>
                  <a:pt x="51589" y="221192"/>
                  <a:pt x="53018" y="221192"/>
                  <a:pt x="53494" y="222250"/>
                </a:cubicBezTo>
                <a:close/>
                <a:moveTo>
                  <a:pt x="29386" y="204986"/>
                </a:moveTo>
                <a:cubicBezTo>
                  <a:pt x="30917" y="204731"/>
                  <a:pt x="32448" y="205241"/>
                  <a:pt x="32448" y="205241"/>
                </a:cubicBezTo>
                <a:cubicBezTo>
                  <a:pt x="38571" y="203200"/>
                  <a:pt x="38571" y="211364"/>
                  <a:pt x="38571" y="211364"/>
                </a:cubicBezTo>
                <a:cubicBezTo>
                  <a:pt x="38571" y="211364"/>
                  <a:pt x="38571" y="215446"/>
                  <a:pt x="38571" y="215446"/>
                </a:cubicBezTo>
                <a:cubicBezTo>
                  <a:pt x="38571" y="217487"/>
                  <a:pt x="32448" y="217487"/>
                  <a:pt x="32448" y="215446"/>
                </a:cubicBezTo>
                <a:cubicBezTo>
                  <a:pt x="32448" y="213405"/>
                  <a:pt x="32448" y="213405"/>
                  <a:pt x="30407" y="213405"/>
                </a:cubicBezTo>
                <a:cubicBezTo>
                  <a:pt x="28366" y="213405"/>
                  <a:pt x="24283" y="215446"/>
                  <a:pt x="26324" y="209323"/>
                </a:cubicBezTo>
                <a:cubicBezTo>
                  <a:pt x="26324" y="206261"/>
                  <a:pt x="27855" y="205241"/>
                  <a:pt x="29386" y="204986"/>
                </a:cubicBezTo>
                <a:close/>
                <a:moveTo>
                  <a:pt x="26400" y="173567"/>
                </a:moveTo>
                <a:cubicBezTo>
                  <a:pt x="30633" y="171450"/>
                  <a:pt x="30633" y="171450"/>
                  <a:pt x="28517" y="173567"/>
                </a:cubicBezTo>
                <a:cubicBezTo>
                  <a:pt x="28517" y="175683"/>
                  <a:pt x="24283" y="177800"/>
                  <a:pt x="24283" y="175683"/>
                </a:cubicBezTo>
                <a:cubicBezTo>
                  <a:pt x="24283" y="173567"/>
                  <a:pt x="26400" y="173567"/>
                  <a:pt x="26400" y="173567"/>
                </a:cubicBezTo>
                <a:close/>
                <a:moveTo>
                  <a:pt x="31268" y="157480"/>
                </a:moveTo>
                <a:cubicBezTo>
                  <a:pt x="35078" y="155575"/>
                  <a:pt x="35078" y="157480"/>
                  <a:pt x="35078" y="157480"/>
                </a:cubicBezTo>
                <a:cubicBezTo>
                  <a:pt x="35078" y="157480"/>
                  <a:pt x="35078" y="161290"/>
                  <a:pt x="35078" y="161290"/>
                </a:cubicBezTo>
                <a:cubicBezTo>
                  <a:pt x="36983" y="163195"/>
                  <a:pt x="36983" y="165100"/>
                  <a:pt x="35078" y="165100"/>
                </a:cubicBezTo>
                <a:cubicBezTo>
                  <a:pt x="33173" y="165100"/>
                  <a:pt x="31268" y="163195"/>
                  <a:pt x="31268" y="161290"/>
                </a:cubicBezTo>
                <a:cubicBezTo>
                  <a:pt x="31268" y="161290"/>
                  <a:pt x="27458" y="159385"/>
                  <a:pt x="27458" y="159385"/>
                </a:cubicBezTo>
                <a:cubicBezTo>
                  <a:pt x="27458" y="159385"/>
                  <a:pt x="27458" y="159385"/>
                  <a:pt x="31268" y="157480"/>
                </a:cubicBezTo>
                <a:close/>
                <a:moveTo>
                  <a:pt x="36279" y="135370"/>
                </a:moveTo>
                <a:cubicBezTo>
                  <a:pt x="38219" y="137391"/>
                  <a:pt x="38219" y="139411"/>
                  <a:pt x="36279" y="143452"/>
                </a:cubicBezTo>
                <a:cubicBezTo>
                  <a:pt x="36279" y="145473"/>
                  <a:pt x="38219" y="147493"/>
                  <a:pt x="38219" y="147493"/>
                </a:cubicBezTo>
                <a:cubicBezTo>
                  <a:pt x="38219" y="147493"/>
                  <a:pt x="40159" y="147493"/>
                  <a:pt x="40159" y="149514"/>
                </a:cubicBezTo>
                <a:cubicBezTo>
                  <a:pt x="40159" y="153554"/>
                  <a:pt x="34338" y="155575"/>
                  <a:pt x="36279" y="155575"/>
                </a:cubicBezTo>
                <a:cubicBezTo>
                  <a:pt x="36279" y="153554"/>
                  <a:pt x="34338" y="151534"/>
                  <a:pt x="32398" y="151534"/>
                </a:cubicBezTo>
                <a:cubicBezTo>
                  <a:pt x="28517" y="149514"/>
                  <a:pt x="30458" y="149514"/>
                  <a:pt x="30458" y="149514"/>
                </a:cubicBezTo>
                <a:cubicBezTo>
                  <a:pt x="30458" y="149514"/>
                  <a:pt x="30458" y="147493"/>
                  <a:pt x="26577" y="147493"/>
                </a:cubicBezTo>
                <a:cubicBezTo>
                  <a:pt x="22696" y="147493"/>
                  <a:pt x="24637" y="145473"/>
                  <a:pt x="24637" y="141432"/>
                </a:cubicBezTo>
                <a:cubicBezTo>
                  <a:pt x="24637" y="139411"/>
                  <a:pt x="28517" y="139411"/>
                  <a:pt x="28517" y="139411"/>
                </a:cubicBezTo>
                <a:cubicBezTo>
                  <a:pt x="28517" y="139411"/>
                  <a:pt x="32398" y="141432"/>
                  <a:pt x="32398" y="137391"/>
                </a:cubicBezTo>
                <a:cubicBezTo>
                  <a:pt x="32398" y="133350"/>
                  <a:pt x="36279" y="133350"/>
                  <a:pt x="36279" y="135370"/>
                </a:cubicBezTo>
                <a:close/>
                <a:moveTo>
                  <a:pt x="12377" y="131012"/>
                </a:moveTo>
                <a:cubicBezTo>
                  <a:pt x="13700" y="130527"/>
                  <a:pt x="14758" y="130527"/>
                  <a:pt x="14758" y="132467"/>
                </a:cubicBezTo>
                <a:cubicBezTo>
                  <a:pt x="14758" y="136348"/>
                  <a:pt x="12642" y="142169"/>
                  <a:pt x="12642" y="142169"/>
                </a:cubicBezTo>
                <a:cubicBezTo>
                  <a:pt x="12642" y="147990"/>
                  <a:pt x="12642" y="147990"/>
                  <a:pt x="12642" y="147990"/>
                </a:cubicBezTo>
                <a:cubicBezTo>
                  <a:pt x="12642" y="147990"/>
                  <a:pt x="10525" y="149930"/>
                  <a:pt x="10525" y="151870"/>
                </a:cubicBezTo>
                <a:cubicBezTo>
                  <a:pt x="10525" y="153810"/>
                  <a:pt x="10525" y="159631"/>
                  <a:pt x="8408" y="159631"/>
                </a:cubicBezTo>
                <a:cubicBezTo>
                  <a:pt x="6292" y="161572"/>
                  <a:pt x="4175" y="163512"/>
                  <a:pt x="2058" y="161572"/>
                </a:cubicBezTo>
                <a:cubicBezTo>
                  <a:pt x="2058" y="159631"/>
                  <a:pt x="4175" y="159631"/>
                  <a:pt x="4175" y="157691"/>
                </a:cubicBezTo>
                <a:cubicBezTo>
                  <a:pt x="6292" y="157691"/>
                  <a:pt x="6292" y="155751"/>
                  <a:pt x="6292" y="153810"/>
                </a:cubicBezTo>
                <a:cubicBezTo>
                  <a:pt x="4175" y="151870"/>
                  <a:pt x="6292" y="147990"/>
                  <a:pt x="8408" y="147990"/>
                </a:cubicBezTo>
                <a:cubicBezTo>
                  <a:pt x="10525" y="146049"/>
                  <a:pt x="10525" y="140229"/>
                  <a:pt x="10525" y="140229"/>
                </a:cubicBezTo>
                <a:cubicBezTo>
                  <a:pt x="10525" y="140229"/>
                  <a:pt x="6292" y="138288"/>
                  <a:pt x="6292" y="138288"/>
                </a:cubicBezTo>
                <a:cubicBezTo>
                  <a:pt x="6292" y="138288"/>
                  <a:pt x="6292" y="134408"/>
                  <a:pt x="8408" y="132467"/>
                </a:cubicBezTo>
                <a:cubicBezTo>
                  <a:pt x="9467" y="132467"/>
                  <a:pt x="11054" y="131497"/>
                  <a:pt x="12377" y="131012"/>
                </a:cubicBezTo>
                <a:close/>
                <a:moveTo>
                  <a:pt x="32832" y="104365"/>
                </a:moveTo>
                <a:cubicBezTo>
                  <a:pt x="34785" y="103611"/>
                  <a:pt x="36251" y="103611"/>
                  <a:pt x="36251" y="105621"/>
                </a:cubicBezTo>
                <a:cubicBezTo>
                  <a:pt x="36251" y="109643"/>
                  <a:pt x="34297" y="113665"/>
                  <a:pt x="38204" y="113665"/>
                </a:cubicBezTo>
                <a:cubicBezTo>
                  <a:pt x="40158" y="115675"/>
                  <a:pt x="38204" y="117686"/>
                  <a:pt x="36251" y="117686"/>
                </a:cubicBezTo>
                <a:cubicBezTo>
                  <a:pt x="34297" y="119697"/>
                  <a:pt x="32343" y="119697"/>
                  <a:pt x="32343" y="121708"/>
                </a:cubicBezTo>
                <a:cubicBezTo>
                  <a:pt x="32343" y="123719"/>
                  <a:pt x="34297" y="125729"/>
                  <a:pt x="30389" y="125729"/>
                </a:cubicBezTo>
                <a:cubicBezTo>
                  <a:pt x="26481" y="125729"/>
                  <a:pt x="26481" y="125729"/>
                  <a:pt x="24527" y="127740"/>
                </a:cubicBezTo>
                <a:cubicBezTo>
                  <a:pt x="24527" y="129751"/>
                  <a:pt x="18666" y="131762"/>
                  <a:pt x="18666" y="131762"/>
                </a:cubicBezTo>
                <a:cubicBezTo>
                  <a:pt x="16712" y="129751"/>
                  <a:pt x="16712" y="127740"/>
                  <a:pt x="16712" y="127740"/>
                </a:cubicBezTo>
                <a:cubicBezTo>
                  <a:pt x="18666" y="125729"/>
                  <a:pt x="18666" y="125729"/>
                  <a:pt x="16712" y="123719"/>
                </a:cubicBezTo>
                <a:cubicBezTo>
                  <a:pt x="14758" y="121708"/>
                  <a:pt x="16712" y="115675"/>
                  <a:pt x="18666" y="115675"/>
                </a:cubicBezTo>
                <a:cubicBezTo>
                  <a:pt x="22574" y="115675"/>
                  <a:pt x="24527" y="113665"/>
                  <a:pt x="24527" y="113665"/>
                </a:cubicBezTo>
                <a:cubicBezTo>
                  <a:pt x="24527" y="113665"/>
                  <a:pt x="22574" y="109643"/>
                  <a:pt x="26481" y="107632"/>
                </a:cubicBezTo>
                <a:cubicBezTo>
                  <a:pt x="28435" y="106627"/>
                  <a:pt x="30878" y="105119"/>
                  <a:pt x="32832" y="104365"/>
                </a:cubicBezTo>
                <a:close/>
                <a:moveTo>
                  <a:pt x="114145" y="97248"/>
                </a:moveTo>
                <a:cubicBezTo>
                  <a:pt x="116134" y="101245"/>
                  <a:pt x="114145" y="105242"/>
                  <a:pt x="110169" y="107240"/>
                </a:cubicBezTo>
                <a:cubicBezTo>
                  <a:pt x="106192" y="111237"/>
                  <a:pt x="100227" y="109239"/>
                  <a:pt x="96250" y="113235"/>
                </a:cubicBezTo>
                <a:cubicBezTo>
                  <a:pt x="92273" y="117232"/>
                  <a:pt x="92273" y="117232"/>
                  <a:pt x="90285" y="119230"/>
                </a:cubicBezTo>
                <a:cubicBezTo>
                  <a:pt x="88296" y="123227"/>
                  <a:pt x="86308" y="127224"/>
                  <a:pt x="88296" y="129222"/>
                </a:cubicBezTo>
                <a:cubicBezTo>
                  <a:pt x="90285" y="129222"/>
                  <a:pt x="92273" y="129222"/>
                  <a:pt x="92273" y="131221"/>
                </a:cubicBezTo>
                <a:cubicBezTo>
                  <a:pt x="90285" y="135218"/>
                  <a:pt x="88296" y="135218"/>
                  <a:pt x="92273" y="137216"/>
                </a:cubicBezTo>
                <a:cubicBezTo>
                  <a:pt x="94262" y="137216"/>
                  <a:pt x="98238" y="137216"/>
                  <a:pt x="100227" y="135218"/>
                </a:cubicBezTo>
                <a:cubicBezTo>
                  <a:pt x="104203" y="135218"/>
                  <a:pt x="110169" y="135218"/>
                  <a:pt x="114145" y="135218"/>
                </a:cubicBezTo>
                <a:cubicBezTo>
                  <a:pt x="118122" y="135218"/>
                  <a:pt x="124087" y="137216"/>
                  <a:pt x="124087" y="137216"/>
                </a:cubicBezTo>
                <a:cubicBezTo>
                  <a:pt x="124087" y="137216"/>
                  <a:pt x="126076" y="135218"/>
                  <a:pt x="128064" y="133219"/>
                </a:cubicBezTo>
                <a:cubicBezTo>
                  <a:pt x="130052" y="133219"/>
                  <a:pt x="132041" y="133219"/>
                  <a:pt x="134029" y="135218"/>
                </a:cubicBezTo>
                <a:cubicBezTo>
                  <a:pt x="136018" y="137216"/>
                  <a:pt x="139994" y="135218"/>
                  <a:pt x="139994" y="135218"/>
                </a:cubicBezTo>
                <a:cubicBezTo>
                  <a:pt x="139994" y="135218"/>
                  <a:pt x="143971" y="135218"/>
                  <a:pt x="141983" y="145209"/>
                </a:cubicBezTo>
                <a:cubicBezTo>
                  <a:pt x="138006" y="153203"/>
                  <a:pt x="132041" y="151205"/>
                  <a:pt x="134029" y="157200"/>
                </a:cubicBezTo>
                <a:cubicBezTo>
                  <a:pt x="134029" y="163195"/>
                  <a:pt x="132041" y="169190"/>
                  <a:pt x="130052" y="171188"/>
                </a:cubicBezTo>
                <a:cubicBezTo>
                  <a:pt x="128064" y="175185"/>
                  <a:pt x="126076" y="175185"/>
                  <a:pt x="126076" y="179182"/>
                </a:cubicBezTo>
                <a:cubicBezTo>
                  <a:pt x="126076" y="183179"/>
                  <a:pt x="118122" y="189174"/>
                  <a:pt x="114145" y="191172"/>
                </a:cubicBezTo>
                <a:cubicBezTo>
                  <a:pt x="110169" y="195169"/>
                  <a:pt x="106192" y="195169"/>
                  <a:pt x="104203" y="197167"/>
                </a:cubicBezTo>
                <a:cubicBezTo>
                  <a:pt x="104203" y="199166"/>
                  <a:pt x="104203" y="201164"/>
                  <a:pt x="110169" y="201164"/>
                </a:cubicBezTo>
                <a:cubicBezTo>
                  <a:pt x="118122" y="201164"/>
                  <a:pt x="130052" y="199166"/>
                  <a:pt x="134029" y="203163"/>
                </a:cubicBezTo>
                <a:cubicBezTo>
                  <a:pt x="138006" y="205161"/>
                  <a:pt x="143971" y="207159"/>
                  <a:pt x="145960" y="223146"/>
                </a:cubicBezTo>
                <a:cubicBezTo>
                  <a:pt x="145960" y="237135"/>
                  <a:pt x="153913" y="249126"/>
                  <a:pt x="159878" y="253122"/>
                </a:cubicBezTo>
                <a:cubicBezTo>
                  <a:pt x="165843" y="257119"/>
                  <a:pt x="175785" y="265113"/>
                  <a:pt x="177774" y="267111"/>
                </a:cubicBezTo>
                <a:cubicBezTo>
                  <a:pt x="179762" y="269109"/>
                  <a:pt x="181750" y="271108"/>
                  <a:pt x="181750" y="275105"/>
                </a:cubicBezTo>
                <a:cubicBezTo>
                  <a:pt x="181750" y="279101"/>
                  <a:pt x="181750" y="291092"/>
                  <a:pt x="187716" y="297087"/>
                </a:cubicBezTo>
                <a:cubicBezTo>
                  <a:pt x="193681" y="303082"/>
                  <a:pt x="195669" y="311075"/>
                  <a:pt x="195669" y="315072"/>
                </a:cubicBezTo>
                <a:cubicBezTo>
                  <a:pt x="193681" y="319069"/>
                  <a:pt x="191692" y="317071"/>
                  <a:pt x="189704" y="321067"/>
                </a:cubicBezTo>
                <a:cubicBezTo>
                  <a:pt x="189704" y="323066"/>
                  <a:pt x="187716" y="329061"/>
                  <a:pt x="191692" y="327062"/>
                </a:cubicBezTo>
                <a:cubicBezTo>
                  <a:pt x="195669" y="327062"/>
                  <a:pt x="191692" y="321067"/>
                  <a:pt x="201634" y="321067"/>
                </a:cubicBezTo>
                <a:cubicBezTo>
                  <a:pt x="209588" y="321067"/>
                  <a:pt x="223506" y="325064"/>
                  <a:pt x="225495" y="329061"/>
                </a:cubicBezTo>
                <a:cubicBezTo>
                  <a:pt x="225495" y="335056"/>
                  <a:pt x="225495" y="349045"/>
                  <a:pt x="225495" y="349045"/>
                </a:cubicBezTo>
                <a:cubicBezTo>
                  <a:pt x="225495" y="349045"/>
                  <a:pt x="225495" y="355040"/>
                  <a:pt x="221518" y="357038"/>
                </a:cubicBezTo>
                <a:cubicBezTo>
                  <a:pt x="217541" y="359037"/>
                  <a:pt x="215553" y="359037"/>
                  <a:pt x="215553" y="361035"/>
                </a:cubicBezTo>
                <a:cubicBezTo>
                  <a:pt x="217541" y="365032"/>
                  <a:pt x="217541" y="367030"/>
                  <a:pt x="213565" y="367030"/>
                </a:cubicBezTo>
                <a:cubicBezTo>
                  <a:pt x="209588" y="367030"/>
                  <a:pt x="209588" y="369029"/>
                  <a:pt x="209588" y="371027"/>
                </a:cubicBezTo>
                <a:cubicBezTo>
                  <a:pt x="209588" y="371027"/>
                  <a:pt x="209588" y="377022"/>
                  <a:pt x="207599" y="377022"/>
                </a:cubicBezTo>
                <a:cubicBezTo>
                  <a:pt x="205611" y="377022"/>
                  <a:pt x="203623" y="377022"/>
                  <a:pt x="205611" y="379020"/>
                </a:cubicBezTo>
                <a:cubicBezTo>
                  <a:pt x="205611" y="381019"/>
                  <a:pt x="207599" y="383017"/>
                  <a:pt x="211576" y="381019"/>
                </a:cubicBezTo>
                <a:cubicBezTo>
                  <a:pt x="215553" y="379020"/>
                  <a:pt x="221518" y="377022"/>
                  <a:pt x="223506" y="377022"/>
                </a:cubicBezTo>
                <a:cubicBezTo>
                  <a:pt x="227483" y="377022"/>
                  <a:pt x="227483" y="387014"/>
                  <a:pt x="223506" y="389012"/>
                </a:cubicBezTo>
                <a:cubicBezTo>
                  <a:pt x="219530" y="393009"/>
                  <a:pt x="211576" y="395007"/>
                  <a:pt x="209588" y="397006"/>
                </a:cubicBezTo>
                <a:cubicBezTo>
                  <a:pt x="207599" y="401003"/>
                  <a:pt x="203623" y="403001"/>
                  <a:pt x="201634" y="403001"/>
                </a:cubicBezTo>
                <a:cubicBezTo>
                  <a:pt x="197657" y="403001"/>
                  <a:pt x="187716" y="403001"/>
                  <a:pt x="183739" y="404999"/>
                </a:cubicBezTo>
                <a:cubicBezTo>
                  <a:pt x="179762" y="404999"/>
                  <a:pt x="175785" y="404999"/>
                  <a:pt x="171808" y="404999"/>
                </a:cubicBezTo>
                <a:cubicBezTo>
                  <a:pt x="169820" y="404999"/>
                  <a:pt x="167832" y="408996"/>
                  <a:pt x="165843" y="404999"/>
                </a:cubicBezTo>
                <a:cubicBezTo>
                  <a:pt x="165843" y="403001"/>
                  <a:pt x="161867" y="401003"/>
                  <a:pt x="159878" y="403001"/>
                </a:cubicBezTo>
                <a:cubicBezTo>
                  <a:pt x="155901" y="403001"/>
                  <a:pt x="155901" y="404999"/>
                  <a:pt x="157890" y="404999"/>
                </a:cubicBezTo>
                <a:cubicBezTo>
                  <a:pt x="159878" y="408996"/>
                  <a:pt x="159878" y="410995"/>
                  <a:pt x="155901" y="410995"/>
                </a:cubicBezTo>
                <a:cubicBezTo>
                  <a:pt x="153913" y="410995"/>
                  <a:pt x="151925" y="406998"/>
                  <a:pt x="149936" y="406998"/>
                </a:cubicBezTo>
                <a:cubicBezTo>
                  <a:pt x="145960" y="406998"/>
                  <a:pt x="139994" y="404999"/>
                  <a:pt x="138006" y="408996"/>
                </a:cubicBezTo>
                <a:cubicBezTo>
                  <a:pt x="138006" y="412993"/>
                  <a:pt x="136018" y="412993"/>
                  <a:pt x="134029" y="412993"/>
                </a:cubicBezTo>
                <a:cubicBezTo>
                  <a:pt x="132041" y="410995"/>
                  <a:pt x="130052" y="410995"/>
                  <a:pt x="130052" y="412993"/>
                </a:cubicBezTo>
                <a:cubicBezTo>
                  <a:pt x="128064" y="414991"/>
                  <a:pt x="122099" y="412993"/>
                  <a:pt x="122099" y="412993"/>
                </a:cubicBezTo>
                <a:cubicBezTo>
                  <a:pt x="120111" y="412993"/>
                  <a:pt x="112157" y="408996"/>
                  <a:pt x="110169" y="408996"/>
                </a:cubicBezTo>
                <a:cubicBezTo>
                  <a:pt x="106192" y="410995"/>
                  <a:pt x="100227" y="412993"/>
                  <a:pt x="98238" y="418988"/>
                </a:cubicBezTo>
                <a:cubicBezTo>
                  <a:pt x="96250" y="422985"/>
                  <a:pt x="94262" y="430978"/>
                  <a:pt x="88296" y="428980"/>
                </a:cubicBezTo>
                <a:cubicBezTo>
                  <a:pt x="84320" y="424983"/>
                  <a:pt x="84320" y="422985"/>
                  <a:pt x="82331" y="424983"/>
                </a:cubicBezTo>
                <a:cubicBezTo>
                  <a:pt x="80343" y="426982"/>
                  <a:pt x="76366" y="426982"/>
                  <a:pt x="74378" y="424983"/>
                </a:cubicBezTo>
                <a:cubicBezTo>
                  <a:pt x="72389" y="422985"/>
                  <a:pt x="70401" y="422985"/>
                  <a:pt x="70401" y="424983"/>
                </a:cubicBezTo>
                <a:cubicBezTo>
                  <a:pt x="68413" y="426982"/>
                  <a:pt x="66424" y="426982"/>
                  <a:pt x="66424" y="426982"/>
                </a:cubicBezTo>
                <a:cubicBezTo>
                  <a:pt x="66424" y="426982"/>
                  <a:pt x="64436" y="426982"/>
                  <a:pt x="64436" y="428980"/>
                </a:cubicBezTo>
                <a:cubicBezTo>
                  <a:pt x="64436" y="432977"/>
                  <a:pt x="64436" y="434975"/>
                  <a:pt x="62447" y="432977"/>
                </a:cubicBezTo>
                <a:cubicBezTo>
                  <a:pt x="62447" y="432977"/>
                  <a:pt x="62447" y="434975"/>
                  <a:pt x="58471" y="434975"/>
                </a:cubicBezTo>
                <a:cubicBezTo>
                  <a:pt x="54494" y="432977"/>
                  <a:pt x="54494" y="430978"/>
                  <a:pt x="54494" y="430978"/>
                </a:cubicBezTo>
                <a:cubicBezTo>
                  <a:pt x="54494" y="430978"/>
                  <a:pt x="52505" y="428980"/>
                  <a:pt x="52505" y="430978"/>
                </a:cubicBezTo>
                <a:cubicBezTo>
                  <a:pt x="50517" y="432977"/>
                  <a:pt x="40575" y="432977"/>
                  <a:pt x="40575" y="430978"/>
                </a:cubicBezTo>
                <a:cubicBezTo>
                  <a:pt x="40575" y="426982"/>
                  <a:pt x="46540" y="426982"/>
                  <a:pt x="46540" y="426982"/>
                </a:cubicBezTo>
                <a:cubicBezTo>
                  <a:pt x="46540" y="426982"/>
                  <a:pt x="52505" y="424983"/>
                  <a:pt x="54494" y="420986"/>
                </a:cubicBezTo>
                <a:cubicBezTo>
                  <a:pt x="54494" y="418988"/>
                  <a:pt x="56482" y="412993"/>
                  <a:pt x="58471" y="410995"/>
                </a:cubicBezTo>
                <a:cubicBezTo>
                  <a:pt x="62447" y="410995"/>
                  <a:pt x="70401" y="406998"/>
                  <a:pt x="70401" y="401003"/>
                </a:cubicBezTo>
                <a:cubicBezTo>
                  <a:pt x="70401" y="397006"/>
                  <a:pt x="74378" y="395007"/>
                  <a:pt x="76366" y="395007"/>
                </a:cubicBezTo>
                <a:cubicBezTo>
                  <a:pt x="78354" y="395007"/>
                  <a:pt x="78354" y="393009"/>
                  <a:pt x="80343" y="389012"/>
                </a:cubicBezTo>
                <a:cubicBezTo>
                  <a:pt x="80343" y="387014"/>
                  <a:pt x="88296" y="385016"/>
                  <a:pt x="90285" y="387014"/>
                </a:cubicBezTo>
                <a:cubicBezTo>
                  <a:pt x="92273" y="387014"/>
                  <a:pt x="100227" y="387014"/>
                  <a:pt x="100227" y="387014"/>
                </a:cubicBezTo>
                <a:cubicBezTo>
                  <a:pt x="108180" y="387014"/>
                  <a:pt x="108180" y="387014"/>
                  <a:pt x="108180" y="387014"/>
                </a:cubicBezTo>
                <a:cubicBezTo>
                  <a:pt x="108180" y="387014"/>
                  <a:pt x="112157" y="389012"/>
                  <a:pt x="112157" y="385016"/>
                </a:cubicBezTo>
                <a:cubicBezTo>
                  <a:pt x="114145" y="381019"/>
                  <a:pt x="114145" y="377022"/>
                  <a:pt x="118122" y="375024"/>
                </a:cubicBezTo>
                <a:cubicBezTo>
                  <a:pt x="122099" y="373025"/>
                  <a:pt x="122099" y="371027"/>
                  <a:pt x="120111" y="369029"/>
                </a:cubicBezTo>
                <a:cubicBezTo>
                  <a:pt x="116134" y="369029"/>
                  <a:pt x="116134" y="369029"/>
                  <a:pt x="116134" y="373025"/>
                </a:cubicBezTo>
                <a:cubicBezTo>
                  <a:pt x="114145" y="375024"/>
                  <a:pt x="108180" y="377022"/>
                  <a:pt x="108180" y="377022"/>
                </a:cubicBezTo>
                <a:cubicBezTo>
                  <a:pt x="108180" y="377022"/>
                  <a:pt x="104203" y="381019"/>
                  <a:pt x="102215" y="377022"/>
                </a:cubicBezTo>
                <a:cubicBezTo>
                  <a:pt x="100227" y="375024"/>
                  <a:pt x="90285" y="371027"/>
                  <a:pt x="90285" y="371027"/>
                </a:cubicBezTo>
                <a:cubicBezTo>
                  <a:pt x="90285" y="371027"/>
                  <a:pt x="84320" y="371027"/>
                  <a:pt x="82331" y="369029"/>
                </a:cubicBezTo>
                <a:cubicBezTo>
                  <a:pt x="78354" y="367030"/>
                  <a:pt x="74378" y="367030"/>
                  <a:pt x="72389" y="371027"/>
                </a:cubicBezTo>
                <a:cubicBezTo>
                  <a:pt x="70401" y="375024"/>
                  <a:pt x="66424" y="375024"/>
                  <a:pt x="64436" y="373025"/>
                </a:cubicBezTo>
                <a:cubicBezTo>
                  <a:pt x="62447" y="373025"/>
                  <a:pt x="62447" y="367030"/>
                  <a:pt x="62447" y="367030"/>
                </a:cubicBezTo>
                <a:cubicBezTo>
                  <a:pt x="62447" y="367030"/>
                  <a:pt x="58471" y="363033"/>
                  <a:pt x="58471" y="363033"/>
                </a:cubicBezTo>
                <a:cubicBezTo>
                  <a:pt x="60459" y="359037"/>
                  <a:pt x="62447" y="357038"/>
                  <a:pt x="66424" y="355040"/>
                </a:cubicBezTo>
                <a:cubicBezTo>
                  <a:pt x="70401" y="355040"/>
                  <a:pt x="76366" y="351043"/>
                  <a:pt x="78354" y="349045"/>
                </a:cubicBezTo>
                <a:cubicBezTo>
                  <a:pt x="80343" y="347046"/>
                  <a:pt x="84320" y="341051"/>
                  <a:pt x="84320" y="335056"/>
                </a:cubicBezTo>
                <a:cubicBezTo>
                  <a:pt x="84320" y="329061"/>
                  <a:pt x="84320" y="329061"/>
                  <a:pt x="84320" y="329061"/>
                </a:cubicBezTo>
                <a:cubicBezTo>
                  <a:pt x="84320" y="329061"/>
                  <a:pt x="76366" y="331059"/>
                  <a:pt x="76366" y="327062"/>
                </a:cubicBezTo>
                <a:cubicBezTo>
                  <a:pt x="76366" y="323066"/>
                  <a:pt x="78354" y="321067"/>
                  <a:pt x="78354" y="321067"/>
                </a:cubicBezTo>
                <a:cubicBezTo>
                  <a:pt x="78354" y="321067"/>
                  <a:pt x="84320" y="319069"/>
                  <a:pt x="80343" y="317071"/>
                </a:cubicBezTo>
                <a:cubicBezTo>
                  <a:pt x="78354" y="313074"/>
                  <a:pt x="72389" y="307079"/>
                  <a:pt x="76366" y="305080"/>
                </a:cubicBezTo>
                <a:cubicBezTo>
                  <a:pt x="78354" y="301084"/>
                  <a:pt x="88296" y="307079"/>
                  <a:pt x="88296" y="307079"/>
                </a:cubicBezTo>
                <a:cubicBezTo>
                  <a:pt x="88296" y="307079"/>
                  <a:pt x="102215" y="309077"/>
                  <a:pt x="106192" y="305080"/>
                </a:cubicBezTo>
                <a:cubicBezTo>
                  <a:pt x="110169" y="301084"/>
                  <a:pt x="112157" y="295088"/>
                  <a:pt x="110169" y="291092"/>
                </a:cubicBezTo>
                <a:cubicBezTo>
                  <a:pt x="110169" y="289093"/>
                  <a:pt x="112157" y="283098"/>
                  <a:pt x="112157" y="283098"/>
                </a:cubicBezTo>
                <a:cubicBezTo>
                  <a:pt x="112157" y="283098"/>
                  <a:pt x="116134" y="275105"/>
                  <a:pt x="116134" y="275105"/>
                </a:cubicBezTo>
                <a:cubicBezTo>
                  <a:pt x="114145" y="275105"/>
                  <a:pt x="108180" y="275105"/>
                  <a:pt x="108180" y="275105"/>
                </a:cubicBezTo>
                <a:cubicBezTo>
                  <a:pt x="108180" y="275105"/>
                  <a:pt x="100227" y="277103"/>
                  <a:pt x="100227" y="273106"/>
                </a:cubicBezTo>
                <a:cubicBezTo>
                  <a:pt x="100227" y="269109"/>
                  <a:pt x="98238" y="265113"/>
                  <a:pt x="98238" y="261116"/>
                </a:cubicBezTo>
                <a:cubicBezTo>
                  <a:pt x="96250" y="259117"/>
                  <a:pt x="94262" y="257119"/>
                  <a:pt x="98238" y="253122"/>
                </a:cubicBezTo>
                <a:cubicBezTo>
                  <a:pt x="102215" y="249126"/>
                  <a:pt x="104203" y="245129"/>
                  <a:pt x="104203" y="243130"/>
                </a:cubicBezTo>
                <a:cubicBezTo>
                  <a:pt x="104203" y="241132"/>
                  <a:pt x="98238" y="243130"/>
                  <a:pt x="96250" y="243130"/>
                </a:cubicBezTo>
                <a:cubicBezTo>
                  <a:pt x="96250" y="245129"/>
                  <a:pt x="92273" y="247127"/>
                  <a:pt x="92273" y="247127"/>
                </a:cubicBezTo>
                <a:cubicBezTo>
                  <a:pt x="92273" y="247127"/>
                  <a:pt x="88296" y="251124"/>
                  <a:pt x="86308" y="249126"/>
                </a:cubicBezTo>
                <a:cubicBezTo>
                  <a:pt x="82331" y="249126"/>
                  <a:pt x="80343" y="251124"/>
                  <a:pt x="80343" y="249126"/>
                </a:cubicBezTo>
                <a:cubicBezTo>
                  <a:pt x="82331" y="245129"/>
                  <a:pt x="80343" y="245129"/>
                  <a:pt x="78354" y="247127"/>
                </a:cubicBezTo>
                <a:cubicBezTo>
                  <a:pt x="78354" y="249126"/>
                  <a:pt x="76366" y="253122"/>
                  <a:pt x="74378" y="249126"/>
                </a:cubicBezTo>
                <a:cubicBezTo>
                  <a:pt x="72389" y="247127"/>
                  <a:pt x="70401" y="245129"/>
                  <a:pt x="70401" y="249126"/>
                </a:cubicBezTo>
                <a:cubicBezTo>
                  <a:pt x="66424" y="251124"/>
                  <a:pt x="64436" y="253122"/>
                  <a:pt x="60459" y="249126"/>
                </a:cubicBezTo>
                <a:cubicBezTo>
                  <a:pt x="58471" y="245129"/>
                  <a:pt x="58471" y="243130"/>
                  <a:pt x="60459" y="241132"/>
                </a:cubicBezTo>
                <a:cubicBezTo>
                  <a:pt x="62447" y="241132"/>
                  <a:pt x="62447" y="241132"/>
                  <a:pt x="62447" y="237135"/>
                </a:cubicBezTo>
                <a:cubicBezTo>
                  <a:pt x="62447" y="235137"/>
                  <a:pt x="64436" y="231140"/>
                  <a:pt x="66424" y="227143"/>
                </a:cubicBezTo>
                <a:cubicBezTo>
                  <a:pt x="70401" y="227143"/>
                  <a:pt x="72389" y="225145"/>
                  <a:pt x="72389" y="223146"/>
                </a:cubicBezTo>
                <a:cubicBezTo>
                  <a:pt x="72389" y="219150"/>
                  <a:pt x="68413" y="215153"/>
                  <a:pt x="68413" y="211156"/>
                </a:cubicBezTo>
                <a:cubicBezTo>
                  <a:pt x="68413" y="207159"/>
                  <a:pt x="70401" y="201164"/>
                  <a:pt x="70401" y="201164"/>
                </a:cubicBezTo>
                <a:cubicBezTo>
                  <a:pt x="70401" y="201164"/>
                  <a:pt x="72389" y="197167"/>
                  <a:pt x="68413" y="199166"/>
                </a:cubicBezTo>
                <a:cubicBezTo>
                  <a:pt x="66424" y="199166"/>
                  <a:pt x="66424" y="201164"/>
                  <a:pt x="62447" y="203163"/>
                </a:cubicBezTo>
                <a:cubicBezTo>
                  <a:pt x="60459" y="203163"/>
                  <a:pt x="54494" y="203163"/>
                  <a:pt x="54494" y="207159"/>
                </a:cubicBezTo>
                <a:cubicBezTo>
                  <a:pt x="56482" y="209158"/>
                  <a:pt x="54494" y="209158"/>
                  <a:pt x="58471" y="211156"/>
                </a:cubicBezTo>
                <a:cubicBezTo>
                  <a:pt x="60459" y="215153"/>
                  <a:pt x="66424" y="221148"/>
                  <a:pt x="62447" y="221148"/>
                </a:cubicBezTo>
                <a:cubicBezTo>
                  <a:pt x="56482" y="219150"/>
                  <a:pt x="50517" y="207159"/>
                  <a:pt x="50517" y="207159"/>
                </a:cubicBezTo>
                <a:cubicBezTo>
                  <a:pt x="50517" y="207159"/>
                  <a:pt x="48529" y="203163"/>
                  <a:pt x="44552" y="205161"/>
                </a:cubicBezTo>
                <a:cubicBezTo>
                  <a:pt x="42564" y="207159"/>
                  <a:pt x="40575" y="205161"/>
                  <a:pt x="40575" y="201164"/>
                </a:cubicBezTo>
                <a:cubicBezTo>
                  <a:pt x="42564" y="197167"/>
                  <a:pt x="50517" y="193171"/>
                  <a:pt x="50517" y="191172"/>
                </a:cubicBezTo>
                <a:cubicBezTo>
                  <a:pt x="50517" y="187175"/>
                  <a:pt x="52505" y="183179"/>
                  <a:pt x="54494" y="181180"/>
                </a:cubicBezTo>
                <a:cubicBezTo>
                  <a:pt x="58471" y="181180"/>
                  <a:pt x="58471" y="177184"/>
                  <a:pt x="58471" y="177184"/>
                </a:cubicBezTo>
                <a:cubicBezTo>
                  <a:pt x="58471" y="175185"/>
                  <a:pt x="56482" y="177184"/>
                  <a:pt x="54494" y="175185"/>
                </a:cubicBezTo>
                <a:cubicBezTo>
                  <a:pt x="54494" y="173187"/>
                  <a:pt x="48529" y="179182"/>
                  <a:pt x="48529" y="185177"/>
                </a:cubicBezTo>
                <a:cubicBezTo>
                  <a:pt x="48529" y="189174"/>
                  <a:pt x="46540" y="189174"/>
                  <a:pt x="44552" y="189174"/>
                </a:cubicBezTo>
                <a:cubicBezTo>
                  <a:pt x="40575" y="189174"/>
                  <a:pt x="36598" y="189174"/>
                  <a:pt x="36598" y="191172"/>
                </a:cubicBezTo>
                <a:cubicBezTo>
                  <a:pt x="36598" y="193171"/>
                  <a:pt x="34610" y="193171"/>
                  <a:pt x="32622" y="193171"/>
                </a:cubicBezTo>
                <a:cubicBezTo>
                  <a:pt x="30633" y="193171"/>
                  <a:pt x="30633" y="193171"/>
                  <a:pt x="30633" y="193171"/>
                </a:cubicBezTo>
                <a:cubicBezTo>
                  <a:pt x="30633" y="193171"/>
                  <a:pt x="32622" y="187175"/>
                  <a:pt x="34610" y="187175"/>
                </a:cubicBezTo>
                <a:cubicBezTo>
                  <a:pt x="36598" y="185177"/>
                  <a:pt x="36598" y="185177"/>
                  <a:pt x="36598" y="183179"/>
                </a:cubicBezTo>
                <a:cubicBezTo>
                  <a:pt x="34610" y="181180"/>
                  <a:pt x="36598" y="175185"/>
                  <a:pt x="40575" y="175185"/>
                </a:cubicBezTo>
                <a:cubicBezTo>
                  <a:pt x="44552" y="175185"/>
                  <a:pt x="48529" y="173187"/>
                  <a:pt x="48529" y="171188"/>
                </a:cubicBezTo>
                <a:cubicBezTo>
                  <a:pt x="48529" y="169190"/>
                  <a:pt x="42564" y="169190"/>
                  <a:pt x="42564" y="163195"/>
                </a:cubicBezTo>
                <a:cubicBezTo>
                  <a:pt x="42564" y="155201"/>
                  <a:pt x="40575" y="151205"/>
                  <a:pt x="42564" y="149206"/>
                </a:cubicBezTo>
                <a:cubicBezTo>
                  <a:pt x="44552" y="147208"/>
                  <a:pt x="48529" y="149206"/>
                  <a:pt x="48529" y="149206"/>
                </a:cubicBezTo>
                <a:cubicBezTo>
                  <a:pt x="48529" y="149206"/>
                  <a:pt x="56482" y="151205"/>
                  <a:pt x="54494" y="149206"/>
                </a:cubicBezTo>
                <a:cubicBezTo>
                  <a:pt x="54494" y="147208"/>
                  <a:pt x="52505" y="151205"/>
                  <a:pt x="46540" y="145209"/>
                </a:cubicBezTo>
                <a:cubicBezTo>
                  <a:pt x="42564" y="139214"/>
                  <a:pt x="44552" y="139214"/>
                  <a:pt x="46540" y="139214"/>
                </a:cubicBezTo>
                <a:cubicBezTo>
                  <a:pt x="46540" y="139214"/>
                  <a:pt x="44552" y="133219"/>
                  <a:pt x="50517" y="129222"/>
                </a:cubicBezTo>
                <a:cubicBezTo>
                  <a:pt x="54494" y="127224"/>
                  <a:pt x="58471" y="127224"/>
                  <a:pt x="58471" y="127224"/>
                </a:cubicBezTo>
                <a:cubicBezTo>
                  <a:pt x="58471" y="127224"/>
                  <a:pt x="62447" y="125226"/>
                  <a:pt x="58471" y="125226"/>
                </a:cubicBezTo>
                <a:cubicBezTo>
                  <a:pt x="56482" y="123227"/>
                  <a:pt x="54494" y="123227"/>
                  <a:pt x="56482" y="119230"/>
                </a:cubicBezTo>
                <a:cubicBezTo>
                  <a:pt x="56482" y="115234"/>
                  <a:pt x="56482" y="113235"/>
                  <a:pt x="56482" y="113235"/>
                </a:cubicBezTo>
                <a:cubicBezTo>
                  <a:pt x="56482" y="111237"/>
                  <a:pt x="54494" y="111237"/>
                  <a:pt x="58471" y="111237"/>
                </a:cubicBezTo>
                <a:cubicBezTo>
                  <a:pt x="62447" y="111237"/>
                  <a:pt x="66424" y="107240"/>
                  <a:pt x="64436" y="105242"/>
                </a:cubicBezTo>
                <a:cubicBezTo>
                  <a:pt x="64436" y="105242"/>
                  <a:pt x="64436" y="99247"/>
                  <a:pt x="66424" y="99247"/>
                </a:cubicBezTo>
                <a:cubicBezTo>
                  <a:pt x="70401" y="99247"/>
                  <a:pt x="72389" y="101245"/>
                  <a:pt x="72389" y="101245"/>
                </a:cubicBezTo>
                <a:cubicBezTo>
                  <a:pt x="72389" y="101245"/>
                  <a:pt x="76366" y="103243"/>
                  <a:pt x="80343" y="101245"/>
                </a:cubicBezTo>
                <a:cubicBezTo>
                  <a:pt x="84320" y="101245"/>
                  <a:pt x="90285" y="101245"/>
                  <a:pt x="92273" y="101245"/>
                </a:cubicBezTo>
                <a:cubicBezTo>
                  <a:pt x="94262" y="99247"/>
                  <a:pt x="104203" y="99247"/>
                  <a:pt x="104203" y="99247"/>
                </a:cubicBezTo>
                <a:cubicBezTo>
                  <a:pt x="104203" y="99247"/>
                  <a:pt x="112157" y="95250"/>
                  <a:pt x="114145" y="97248"/>
                </a:cubicBezTo>
                <a:close/>
                <a:moveTo>
                  <a:pt x="126413" y="76200"/>
                </a:moveTo>
                <a:cubicBezTo>
                  <a:pt x="126413" y="76200"/>
                  <a:pt x="130646" y="76200"/>
                  <a:pt x="130646" y="76200"/>
                </a:cubicBezTo>
                <a:cubicBezTo>
                  <a:pt x="130646" y="77787"/>
                  <a:pt x="128530" y="79375"/>
                  <a:pt x="126413" y="77787"/>
                </a:cubicBezTo>
                <a:cubicBezTo>
                  <a:pt x="124296" y="76200"/>
                  <a:pt x="126413" y="76200"/>
                  <a:pt x="126413" y="76200"/>
                </a:cubicBezTo>
                <a:close/>
                <a:moveTo>
                  <a:pt x="107187" y="74612"/>
                </a:moveTo>
                <a:cubicBezTo>
                  <a:pt x="109127" y="74612"/>
                  <a:pt x="111067" y="74612"/>
                  <a:pt x="109127" y="76596"/>
                </a:cubicBezTo>
                <a:cubicBezTo>
                  <a:pt x="109127" y="76596"/>
                  <a:pt x="111067" y="78581"/>
                  <a:pt x="113008" y="78581"/>
                </a:cubicBezTo>
                <a:cubicBezTo>
                  <a:pt x="114948" y="78581"/>
                  <a:pt x="116888" y="80565"/>
                  <a:pt x="116888" y="82549"/>
                </a:cubicBezTo>
                <a:cubicBezTo>
                  <a:pt x="116888" y="84534"/>
                  <a:pt x="118829" y="84534"/>
                  <a:pt x="118829" y="84534"/>
                </a:cubicBezTo>
                <a:cubicBezTo>
                  <a:pt x="120769" y="86518"/>
                  <a:pt x="122709" y="88502"/>
                  <a:pt x="122709" y="88502"/>
                </a:cubicBezTo>
                <a:cubicBezTo>
                  <a:pt x="118829" y="88502"/>
                  <a:pt x="118829" y="88502"/>
                  <a:pt x="118829" y="88502"/>
                </a:cubicBezTo>
                <a:cubicBezTo>
                  <a:pt x="111067" y="90487"/>
                  <a:pt x="111067" y="90487"/>
                  <a:pt x="111067" y="90487"/>
                </a:cubicBezTo>
                <a:cubicBezTo>
                  <a:pt x="111067" y="90487"/>
                  <a:pt x="113008" y="86518"/>
                  <a:pt x="111067" y="86518"/>
                </a:cubicBezTo>
                <a:cubicBezTo>
                  <a:pt x="109127" y="86518"/>
                  <a:pt x="107187" y="84534"/>
                  <a:pt x="107187" y="82549"/>
                </a:cubicBezTo>
                <a:cubicBezTo>
                  <a:pt x="107187" y="80565"/>
                  <a:pt x="107187" y="78581"/>
                  <a:pt x="107187" y="78581"/>
                </a:cubicBezTo>
                <a:cubicBezTo>
                  <a:pt x="107187" y="78581"/>
                  <a:pt x="105246" y="76596"/>
                  <a:pt x="107187" y="74612"/>
                </a:cubicBezTo>
                <a:close/>
                <a:moveTo>
                  <a:pt x="120063" y="71437"/>
                </a:moveTo>
                <a:cubicBezTo>
                  <a:pt x="120063" y="71437"/>
                  <a:pt x="124296" y="71437"/>
                  <a:pt x="124296" y="71437"/>
                </a:cubicBezTo>
                <a:cubicBezTo>
                  <a:pt x="124296" y="73818"/>
                  <a:pt x="122180" y="76199"/>
                  <a:pt x="120063" y="73818"/>
                </a:cubicBezTo>
                <a:cubicBezTo>
                  <a:pt x="117946" y="71437"/>
                  <a:pt x="120063" y="71437"/>
                  <a:pt x="120063" y="71437"/>
                </a:cubicBezTo>
                <a:close/>
                <a:moveTo>
                  <a:pt x="119005" y="63500"/>
                </a:moveTo>
                <a:cubicBezTo>
                  <a:pt x="119005" y="63500"/>
                  <a:pt x="121121" y="63500"/>
                  <a:pt x="121121" y="65881"/>
                </a:cubicBezTo>
                <a:cubicBezTo>
                  <a:pt x="121121" y="68262"/>
                  <a:pt x="116888" y="68262"/>
                  <a:pt x="116888" y="65881"/>
                </a:cubicBezTo>
                <a:cubicBezTo>
                  <a:pt x="114771" y="63500"/>
                  <a:pt x="119005" y="63500"/>
                  <a:pt x="119005" y="63500"/>
                </a:cubicBezTo>
                <a:close/>
                <a:moveTo>
                  <a:pt x="168066" y="0"/>
                </a:moveTo>
                <a:cubicBezTo>
                  <a:pt x="169994" y="0"/>
                  <a:pt x="171921" y="2015"/>
                  <a:pt x="171921" y="4030"/>
                </a:cubicBezTo>
                <a:cubicBezTo>
                  <a:pt x="171921" y="6045"/>
                  <a:pt x="169994" y="8059"/>
                  <a:pt x="169994" y="8059"/>
                </a:cubicBezTo>
                <a:cubicBezTo>
                  <a:pt x="169994" y="8059"/>
                  <a:pt x="168066" y="8059"/>
                  <a:pt x="169994" y="10074"/>
                </a:cubicBezTo>
                <a:cubicBezTo>
                  <a:pt x="171921" y="12089"/>
                  <a:pt x="169994" y="16119"/>
                  <a:pt x="169994" y="16119"/>
                </a:cubicBezTo>
                <a:cubicBezTo>
                  <a:pt x="168066" y="20149"/>
                  <a:pt x="168066" y="20149"/>
                  <a:pt x="168066" y="20149"/>
                </a:cubicBezTo>
                <a:cubicBezTo>
                  <a:pt x="168066" y="20149"/>
                  <a:pt x="166138" y="22164"/>
                  <a:pt x="166138" y="24178"/>
                </a:cubicBezTo>
                <a:cubicBezTo>
                  <a:pt x="166138" y="26193"/>
                  <a:pt x="168066" y="26193"/>
                  <a:pt x="164210" y="28208"/>
                </a:cubicBezTo>
                <a:cubicBezTo>
                  <a:pt x="160355" y="30223"/>
                  <a:pt x="158427" y="28208"/>
                  <a:pt x="158427" y="32238"/>
                </a:cubicBezTo>
                <a:cubicBezTo>
                  <a:pt x="158427" y="34253"/>
                  <a:pt x="160355" y="42312"/>
                  <a:pt x="160355" y="44327"/>
                </a:cubicBezTo>
                <a:cubicBezTo>
                  <a:pt x="158427" y="46342"/>
                  <a:pt x="160355" y="52387"/>
                  <a:pt x="158427" y="52387"/>
                </a:cubicBezTo>
                <a:cubicBezTo>
                  <a:pt x="156500" y="52387"/>
                  <a:pt x="150716" y="52387"/>
                  <a:pt x="150716" y="48357"/>
                </a:cubicBezTo>
                <a:cubicBezTo>
                  <a:pt x="152644" y="46342"/>
                  <a:pt x="152644" y="44327"/>
                  <a:pt x="154572" y="42312"/>
                </a:cubicBezTo>
                <a:cubicBezTo>
                  <a:pt x="154572" y="38283"/>
                  <a:pt x="154572" y="38283"/>
                  <a:pt x="152644" y="38283"/>
                </a:cubicBezTo>
                <a:cubicBezTo>
                  <a:pt x="150716" y="38283"/>
                  <a:pt x="148789" y="36268"/>
                  <a:pt x="148789" y="34253"/>
                </a:cubicBezTo>
                <a:cubicBezTo>
                  <a:pt x="148789" y="32238"/>
                  <a:pt x="144933" y="34253"/>
                  <a:pt x="144933" y="30223"/>
                </a:cubicBezTo>
                <a:cubicBezTo>
                  <a:pt x="144933" y="28208"/>
                  <a:pt x="146861" y="28208"/>
                  <a:pt x="146861" y="24178"/>
                </a:cubicBezTo>
                <a:cubicBezTo>
                  <a:pt x="144933" y="20149"/>
                  <a:pt x="146861" y="18134"/>
                  <a:pt x="148789" y="18134"/>
                </a:cubicBezTo>
                <a:cubicBezTo>
                  <a:pt x="150716" y="18134"/>
                  <a:pt x="152644" y="20149"/>
                  <a:pt x="152644" y="16119"/>
                </a:cubicBezTo>
                <a:cubicBezTo>
                  <a:pt x="158427" y="20149"/>
                  <a:pt x="158427" y="20149"/>
                  <a:pt x="158427" y="20149"/>
                </a:cubicBezTo>
                <a:cubicBezTo>
                  <a:pt x="158427" y="16119"/>
                  <a:pt x="158427" y="16119"/>
                  <a:pt x="158427" y="16119"/>
                </a:cubicBezTo>
                <a:cubicBezTo>
                  <a:pt x="158427" y="16119"/>
                  <a:pt x="158427" y="12089"/>
                  <a:pt x="160355" y="12089"/>
                </a:cubicBezTo>
                <a:cubicBezTo>
                  <a:pt x="162283" y="12089"/>
                  <a:pt x="162283" y="14104"/>
                  <a:pt x="164210" y="10074"/>
                </a:cubicBezTo>
                <a:cubicBezTo>
                  <a:pt x="166138" y="6045"/>
                  <a:pt x="164210" y="2015"/>
                  <a:pt x="16806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1" name="Portugal"/>
          <p:cNvSpPr>
            <a:spLocks/>
          </p:cNvSpPr>
          <p:nvPr/>
        </p:nvSpPr>
        <p:spPr bwMode="auto">
          <a:xfrm>
            <a:off x="5938143" y="2652928"/>
            <a:ext cx="93092" cy="189450"/>
          </a:xfrm>
          <a:custGeom>
            <a:avLst/>
            <a:gdLst>
              <a:gd name="T0" fmla="*/ 31 w 45"/>
              <a:gd name="T1" fmla="*/ 89 h 92"/>
              <a:gd name="T2" fmla="*/ 23 w 45"/>
              <a:gd name="T3" fmla="*/ 91 h 92"/>
              <a:gd name="T4" fmla="*/ 18 w 45"/>
              <a:gd name="T5" fmla="*/ 90 h 92"/>
              <a:gd name="T6" fmla="*/ 15 w 45"/>
              <a:gd name="T7" fmla="*/ 91 h 92"/>
              <a:gd name="T8" fmla="*/ 10 w 45"/>
              <a:gd name="T9" fmla="*/ 92 h 92"/>
              <a:gd name="T10" fmla="*/ 10 w 45"/>
              <a:gd name="T11" fmla="*/ 87 h 92"/>
              <a:gd name="T12" fmla="*/ 10 w 45"/>
              <a:gd name="T13" fmla="*/ 81 h 92"/>
              <a:gd name="T14" fmla="*/ 11 w 45"/>
              <a:gd name="T15" fmla="*/ 75 h 92"/>
              <a:gd name="T16" fmla="*/ 10 w 45"/>
              <a:gd name="T17" fmla="*/ 69 h 92"/>
              <a:gd name="T18" fmla="*/ 4 w 45"/>
              <a:gd name="T19" fmla="*/ 66 h 92"/>
              <a:gd name="T20" fmla="*/ 4 w 45"/>
              <a:gd name="T21" fmla="*/ 65 h 92"/>
              <a:gd name="T22" fmla="*/ 4 w 45"/>
              <a:gd name="T23" fmla="*/ 64 h 92"/>
              <a:gd name="T24" fmla="*/ 1 w 45"/>
              <a:gd name="T25" fmla="*/ 62 h 92"/>
              <a:gd name="T26" fmla="*/ 1 w 45"/>
              <a:gd name="T27" fmla="*/ 54 h 92"/>
              <a:gd name="T28" fmla="*/ 6 w 45"/>
              <a:gd name="T29" fmla="*/ 48 h 92"/>
              <a:gd name="T30" fmla="*/ 7 w 45"/>
              <a:gd name="T31" fmla="*/ 44 h 92"/>
              <a:gd name="T32" fmla="*/ 8 w 45"/>
              <a:gd name="T33" fmla="*/ 39 h 92"/>
              <a:gd name="T34" fmla="*/ 10 w 45"/>
              <a:gd name="T35" fmla="*/ 32 h 92"/>
              <a:gd name="T36" fmla="*/ 12 w 45"/>
              <a:gd name="T37" fmla="*/ 25 h 92"/>
              <a:gd name="T38" fmla="*/ 11 w 45"/>
              <a:gd name="T39" fmla="*/ 16 h 92"/>
              <a:gd name="T40" fmla="*/ 10 w 45"/>
              <a:gd name="T41" fmla="*/ 9 h 92"/>
              <a:gd name="T42" fmla="*/ 10 w 45"/>
              <a:gd name="T43" fmla="*/ 5 h 92"/>
              <a:gd name="T44" fmla="*/ 11 w 45"/>
              <a:gd name="T45" fmla="*/ 2 h 92"/>
              <a:gd name="T46" fmla="*/ 18 w 45"/>
              <a:gd name="T47" fmla="*/ 2 h 92"/>
              <a:gd name="T48" fmla="*/ 21 w 45"/>
              <a:gd name="T49" fmla="*/ 2 h 92"/>
              <a:gd name="T50" fmla="*/ 23 w 45"/>
              <a:gd name="T51" fmla="*/ 2 h 92"/>
              <a:gd name="T52" fmla="*/ 24 w 45"/>
              <a:gd name="T53" fmla="*/ 6 h 92"/>
              <a:gd name="T54" fmla="*/ 25 w 45"/>
              <a:gd name="T55" fmla="*/ 8 h 92"/>
              <a:gd name="T56" fmla="*/ 29 w 45"/>
              <a:gd name="T57" fmla="*/ 7 h 92"/>
              <a:gd name="T58" fmla="*/ 32 w 45"/>
              <a:gd name="T59" fmla="*/ 6 h 92"/>
              <a:gd name="T60" fmla="*/ 34 w 45"/>
              <a:gd name="T61" fmla="*/ 7 h 92"/>
              <a:gd name="T62" fmla="*/ 38 w 45"/>
              <a:gd name="T63" fmla="*/ 6 h 92"/>
              <a:gd name="T64" fmla="*/ 41 w 45"/>
              <a:gd name="T65" fmla="*/ 8 h 92"/>
              <a:gd name="T66" fmla="*/ 44 w 45"/>
              <a:gd name="T67" fmla="*/ 10 h 92"/>
              <a:gd name="T68" fmla="*/ 45 w 45"/>
              <a:gd name="T69" fmla="*/ 12 h 92"/>
              <a:gd name="T70" fmla="*/ 42 w 45"/>
              <a:gd name="T71" fmla="*/ 18 h 92"/>
              <a:gd name="T72" fmla="*/ 40 w 45"/>
              <a:gd name="T73" fmla="*/ 22 h 92"/>
              <a:gd name="T74" fmla="*/ 39 w 45"/>
              <a:gd name="T75" fmla="*/ 26 h 92"/>
              <a:gd name="T76" fmla="*/ 39 w 45"/>
              <a:gd name="T77" fmla="*/ 30 h 92"/>
              <a:gd name="T78" fmla="*/ 38 w 45"/>
              <a:gd name="T79" fmla="*/ 38 h 92"/>
              <a:gd name="T80" fmla="*/ 38 w 45"/>
              <a:gd name="T81" fmla="*/ 44 h 92"/>
              <a:gd name="T82" fmla="*/ 38 w 45"/>
              <a:gd name="T83" fmla="*/ 49 h 92"/>
              <a:gd name="T84" fmla="*/ 37 w 45"/>
              <a:gd name="T85" fmla="*/ 55 h 92"/>
              <a:gd name="T86" fmla="*/ 36 w 45"/>
              <a:gd name="T87" fmla="*/ 59 h 92"/>
              <a:gd name="T88" fmla="*/ 36 w 45"/>
              <a:gd name="T89" fmla="*/ 67 h 92"/>
              <a:gd name="T90" fmla="*/ 36 w 45"/>
              <a:gd name="T91" fmla="*/ 73 h 92"/>
              <a:gd name="T92" fmla="*/ 33 w 45"/>
              <a:gd name="T93" fmla="*/ 79 h 92"/>
              <a:gd name="T94" fmla="*/ 33 w 45"/>
              <a:gd name="T95" fmla="*/ 81 h 92"/>
              <a:gd name="T96" fmla="*/ 34 w 45"/>
              <a:gd name="T97" fmla="*/ 86 h 92"/>
              <a:gd name="T98" fmla="*/ 31 w 45"/>
              <a:gd name="T99"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92">
                <a:moveTo>
                  <a:pt x="31" y="89"/>
                </a:moveTo>
                <a:cubicBezTo>
                  <a:pt x="23" y="91"/>
                  <a:pt x="23" y="91"/>
                  <a:pt x="23" y="91"/>
                </a:cubicBezTo>
                <a:cubicBezTo>
                  <a:pt x="23" y="91"/>
                  <a:pt x="19" y="91"/>
                  <a:pt x="18" y="90"/>
                </a:cubicBezTo>
                <a:cubicBezTo>
                  <a:pt x="17" y="89"/>
                  <a:pt x="15" y="91"/>
                  <a:pt x="15" y="91"/>
                </a:cubicBezTo>
                <a:cubicBezTo>
                  <a:pt x="15" y="91"/>
                  <a:pt x="12" y="92"/>
                  <a:pt x="10" y="92"/>
                </a:cubicBezTo>
                <a:cubicBezTo>
                  <a:pt x="9" y="92"/>
                  <a:pt x="10" y="89"/>
                  <a:pt x="10" y="87"/>
                </a:cubicBezTo>
                <a:cubicBezTo>
                  <a:pt x="11" y="85"/>
                  <a:pt x="10" y="83"/>
                  <a:pt x="10" y="81"/>
                </a:cubicBezTo>
                <a:cubicBezTo>
                  <a:pt x="10" y="79"/>
                  <a:pt x="10" y="77"/>
                  <a:pt x="11" y="75"/>
                </a:cubicBezTo>
                <a:cubicBezTo>
                  <a:pt x="12" y="73"/>
                  <a:pt x="12" y="71"/>
                  <a:pt x="10" y="69"/>
                </a:cubicBezTo>
                <a:cubicBezTo>
                  <a:pt x="9" y="67"/>
                  <a:pt x="6" y="67"/>
                  <a:pt x="4" y="66"/>
                </a:cubicBezTo>
                <a:cubicBezTo>
                  <a:pt x="3" y="66"/>
                  <a:pt x="4" y="66"/>
                  <a:pt x="4" y="65"/>
                </a:cubicBezTo>
                <a:cubicBezTo>
                  <a:pt x="5" y="64"/>
                  <a:pt x="4" y="64"/>
                  <a:pt x="4" y="64"/>
                </a:cubicBezTo>
                <a:cubicBezTo>
                  <a:pt x="4" y="64"/>
                  <a:pt x="2" y="64"/>
                  <a:pt x="1" y="62"/>
                </a:cubicBezTo>
                <a:cubicBezTo>
                  <a:pt x="0" y="60"/>
                  <a:pt x="1" y="56"/>
                  <a:pt x="1" y="54"/>
                </a:cubicBezTo>
                <a:cubicBezTo>
                  <a:pt x="1" y="52"/>
                  <a:pt x="4" y="49"/>
                  <a:pt x="6" y="48"/>
                </a:cubicBezTo>
                <a:cubicBezTo>
                  <a:pt x="7" y="47"/>
                  <a:pt x="7" y="44"/>
                  <a:pt x="7" y="44"/>
                </a:cubicBezTo>
                <a:cubicBezTo>
                  <a:pt x="7" y="44"/>
                  <a:pt x="7" y="42"/>
                  <a:pt x="8" y="39"/>
                </a:cubicBezTo>
                <a:cubicBezTo>
                  <a:pt x="10" y="36"/>
                  <a:pt x="10" y="34"/>
                  <a:pt x="10" y="32"/>
                </a:cubicBezTo>
                <a:cubicBezTo>
                  <a:pt x="10" y="30"/>
                  <a:pt x="11" y="27"/>
                  <a:pt x="12" y="25"/>
                </a:cubicBezTo>
                <a:cubicBezTo>
                  <a:pt x="12" y="23"/>
                  <a:pt x="11" y="18"/>
                  <a:pt x="11" y="16"/>
                </a:cubicBezTo>
                <a:cubicBezTo>
                  <a:pt x="11" y="14"/>
                  <a:pt x="11" y="13"/>
                  <a:pt x="10" y="9"/>
                </a:cubicBezTo>
                <a:cubicBezTo>
                  <a:pt x="9" y="6"/>
                  <a:pt x="10" y="5"/>
                  <a:pt x="10" y="5"/>
                </a:cubicBezTo>
                <a:cubicBezTo>
                  <a:pt x="10" y="5"/>
                  <a:pt x="12" y="3"/>
                  <a:pt x="11" y="2"/>
                </a:cubicBezTo>
                <a:cubicBezTo>
                  <a:pt x="10" y="0"/>
                  <a:pt x="18" y="2"/>
                  <a:pt x="18" y="2"/>
                </a:cubicBezTo>
                <a:cubicBezTo>
                  <a:pt x="19" y="2"/>
                  <a:pt x="20" y="2"/>
                  <a:pt x="21" y="2"/>
                </a:cubicBezTo>
                <a:cubicBezTo>
                  <a:pt x="22" y="1"/>
                  <a:pt x="23" y="1"/>
                  <a:pt x="23" y="2"/>
                </a:cubicBezTo>
                <a:cubicBezTo>
                  <a:pt x="23" y="2"/>
                  <a:pt x="24" y="4"/>
                  <a:pt x="24" y="6"/>
                </a:cubicBezTo>
                <a:cubicBezTo>
                  <a:pt x="24" y="7"/>
                  <a:pt x="24" y="8"/>
                  <a:pt x="25" y="8"/>
                </a:cubicBezTo>
                <a:cubicBezTo>
                  <a:pt x="27" y="8"/>
                  <a:pt x="28" y="7"/>
                  <a:pt x="29" y="7"/>
                </a:cubicBezTo>
                <a:cubicBezTo>
                  <a:pt x="30" y="6"/>
                  <a:pt x="31" y="6"/>
                  <a:pt x="32" y="6"/>
                </a:cubicBezTo>
                <a:cubicBezTo>
                  <a:pt x="33" y="6"/>
                  <a:pt x="34" y="7"/>
                  <a:pt x="34" y="7"/>
                </a:cubicBezTo>
                <a:cubicBezTo>
                  <a:pt x="35" y="7"/>
                  <a:pt x="37" y="6"/>
                  <a:pt x="38" y="6"/>
                </a:cubicBezTo>
                <a:cubicBezTo>
                  <a:pt x="38" y="6"/>
                  <a:pt x="40" y="8"/>
                  <a:pt x="41" y="8"/>
                </a:cubicBezTo>
                <a:cubicBezTo>
                  <a:pt x="42" y="9"/>
                  <a:pt x="43" y="9"/>
                  <a:pt x="44" y="10"/>
                </a:cubicBezTo>
                <a:cubicBezTo>
                  <a:pt x="44" y="10"/>
                  <a:pt x="45" y="11"/>
                  <a:pt x="45" y="12"/>
                </a:cubicBezTo>
                <a:cubicBezTo>
                  <a:pt x="45" y="13"/>
                  <a:pt x="42" y="18"/>
                  <a:pt x="42" y="18"/>
                </a:cubicBezTo>
                <a:cubicBezTo>
                  <a:pt x="42" y="18"/>
                  <a:pt x="40" y="20"/>
                  <a:pt x="40" y="22"/>
                </a:cubicBezTo>
                <a:cubicBezTo>
                  <a:pt x="40" y="24"/>
                  <a:pt x="39" y="25"/>
                  <a:pt x="39" y="26"/>
                </a:cubicBezTo>
                <a:cubicBezTo>
                  <a:pt x="39" y="28"/>
                  <a:pt x="39" y="29"/>
                  <a:pt x="39" y="30"/>
                </a:cubicBezTo>
                <a:cubicBezTo>
                  <a:pt x="39" y="32"/>
                  <a:pt x="38" y="36"/>
                  <a:pt x="38" y="38"/>
                </a:cubicBezTo>
                <a:cubicBezTo>
                  <a:pt x="38" y="39"/>
                  <a:pt x="37" y="42"/>
                  <a:pt x="38" y="44"/>
                </a:cubicBezTo>
                <a:cubicBezTo>
                  <a:pt x="38" y="46"/>
                  <a:pt x="38" y="49"/>
                  <a:pt x="38" y="49"/>
                </a:cubicBezTo>
                <a:cubicBezTo>
                  <a:pt x="38" y="50"/>
                  <a:pt x="37" y="54"/>
                  <a:pt x="37" y="55"/>
                </a:cubicBezTo>
                <a:cubicBezTo>
                  <a:pt x="37" y="55"/>
                  <a:pt x="36" y="56"/>
                  <a:pt x="36" y="59"/>
                </a:cubicBezTo>
                <a:cubicBezTo>
                  <a:pt x="36" y="61"/>
                  <a:pt x="36" y="66"/>
                  <a:pt x="36" y="67"/>
                </a:cubicBezTo>
                <a:cubicBezTo>
                  <a:pt x="37" y="68"/>
                  <a:pt x="36" y="72"/>
                  <a:pt x="36" y="73"/>
                </a:cubicBezTo>
                <a:cubicBezTo>
                  <a:pt x="35" y="74"/>
                  <a:pt x="34" y="78"/>
                  <a:pt x="33" y="79"/>
                </a:cubicBezTo>
                <a:cubicBezTo>
                  <a:pt x="33" y="80"/>
                  <a:pt x="33" y="80"/>
                  <a:pt x="33" y="81"/>
                </a:cubicBezTo>
                <a:cubicBezTo>
                  <a:pt x="33" y="83"/>
                  <a:pt x="34" y="85"/>
                  <a:pt x="34" y="86"/>
                </a:cubicBezTo>
                <a:cubicBezTo>
                  <a:pt x="34" y="86"/>
                  <a:pt x="31" y="89"/>
                  <a:pt x="31" y="8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2" name="Spain"/>
          <p:cNvSpPr>
            <a:spLocks/>
          </p:cNvSpPr>
          <p:nvPr/>
        </p:nvSpPr>
        <p:spPr bwMode="auto">
          <a:xfrm>
            <a:off x="5950779" y="2600514"/>
            <a:ext cx="351565" cy="276161"/>
          </a:xfrm>
          <a:custGeom>
            <a:avLst/>
            <a:gdLst>
              <a:gd name="connsiteX0" fmla="*/ 271879 w 341730"/>
              <a:gd name="connsiteY0" fmla="*/ 176361 h 268435"/>
              <a:gd name="connsiteX1" fmla="*/ 273996 w 341730"/>
              <a:gd name="connsiteY1" fmla="*/ 176361 h 268435"/>
              <a:gd name="connsiteX2" fmla="*/ 276113 w 341730"/>
              <a:gd name="connsiteY2" fmla="*/ 178345 h 268435"/>
              <a:gd name="connsiteX3" fmla="*/ 276113 w 341730"/>
              <a:gd name="connsiteY3" fmla="*/ 180330 h 268435"/>
              <a:gd name="connsiteX4" fmla="*/ 276113 w 341730"/>
              <a:gd name="connsiteY4" fmla="*/ 182314 h 268435"/>
              <a:gd name="connsiteX5" fmla="*/ 273996 w 341730"/>
              <a:gd name="connsiteY5" fmla="*/ 184298 h 268435"/>
              <a:gd name="connsiteX6" fmla="*/ 271879 w 341730"/>
              <a:gd name="connsiteY6" fmla="*/ 184298 h 268435"/>
              <a:gd name="connsiteX7" fmla="*/ 269763 w 341730"/>
              <a:gd name="connsiteY7" fmla="*/ 184298 h 268435"/>
              <a:gd name="connsiteX8" fmla="*/ 267646 w 341730"/>
              <a:gd name="connsiteY8" fmla="*/ 182314 h 268435"/>
              <a:gd name="connsiteX9" fmla="*/ 267646 w 341730"/>
              <a:gd name="connsiteY9" fmla="*/ 180330 h 268435"/>
              <a:gd name="connsiteX10" fmla="*/ 269763 w 341730"/>
              <a:gd name="connsiteY10" fmla="*/ 178345 h 268435"/>
              <a:gd name="connsiteX11" fmla="*/ 271879 w 341730"/>
              <a:gd name="connsiteY11" fmla="*/ 176361 h 268435"/>
              <a:gd name="connsiteX12" fmla="*/ 275282 w 341730"/>
              <a:gd name="connsiteY12" fmla="*/ 160486 h 268435"/>
              <a:gd name="connsiteX13" fmla="*/ 277323 w 341730"/>
              <a:gd name="connsiteY13" fmla="*/ 162603 h 268435"/>
              <a:gd name="connsiteX14" fmla="*/ 279364 w 341730"/>
              <a:gd name="connsiteY14" fmla="*/ 164719 h 268435"/>
              <a:gd name="connsiteX15" fmla="*/ 279364 w 341730"/>
              <a:gd name="connsiteY15" fmla="*/ 166836 h 268435"/>
              <a:gd name="connsiteX16" fmla="*/ 277323 w 341730"/>
              <a:gd name="connsiteY16" fmla="*/ 168953 h 268435"/>
              <a:gd name="connsiteX17" fmla="*/ 277323 w 341730"/>
              <a:gd name="connsiteY17" fmla="*/ 171069 h 268435"/>
              <a:gd name="connsiteX18" fmla="*/ 275282 w 341730"/>
              <a:gd name="connsiteY18" fmla="*/ 173186 h 268435"/>
              <a:gd name="connsiteX19" fmla="*/ 273241 w 341730"/>
              <a:gd name="connsiteY19" fmla="*/ 173186 h 268435"/>
              <a:gd name="connsiteX20" fmla="*/ 269158 w 341730"/>
              <a:gd name="connsiteY20" fmla="*/ 173186 h 268435"/>
              <a:gd name="connsiteX21" fmla="*/ 267117 w 341730"/>
              <a:gd name="connsiteY21" fmla="*/ 171069 h 268435"/>
              <a:gd name="connsiteX22" fmla="*/ 267117 w 341730"/>
              <a:gd name="connsiteY22" fmla="*/ 168953 h 268435"/>
              <a:gd name="connsiteX23" fmla="*/ 267117 w 341730"/>
              <a:gd name="connsiteY23" fmla="*/ 166836 h 268435"/>
              <a:gd name="connsiteX24" fmla="*/ 269158 w 341730"/>
              <a:gd name="connsiteY24" fmla="*/ 164719 h 268435"/>
              <a:gd name="connsiteX25" fmla="*/ 269158 w 341730"/>
              <a:gd name="connsiteY25" fmla="*/ 162603 h 268435"/>
              <a:gd name="connsiteX26" fmla="*/ 271200 w 341730"/>
              <a:gd name="connsiteY26" fmla="*/ 162603 h 268435"/>
              <a:gd name="connsiteX27" fmla="*/ 273241 w 341730"/>
              <a:gd name="connsiteY27" fmla="*/ 162603 h 268435"/>
              <a:gd name="connsiteX28" fmla="*/ 275282 w 341730"/>
              <a:gd name="connsiteY28" fmla="*/ 160486 h 268435"/>
              <a:gd name="connsiteX29" fmla="*/ 299147 w 341730"/>
              <a:gd name="connsiteY29" fmla="*/ 135086 h 268435"/>
              <a:gd name="connsiteX30" fmla="*/ 301201 w 341730"/>
              <a:gd name="connsiteY30" fmla="*/ 135086 h 268435"/>
              <a:gd name="connsiteX31" fmla="*/ 303256 w 341730"/>
              <a:gd name="connsiteY31" fmla="*/ 135086 h 268435"/>
              <a:gd name="connsiteX32" fmla="*/ 307365 w 341730"/>
              <a:gd name="connsiteY32" fmla="*/ 135086 h 268435"/>
              <a:gd name="connsiteX33" fmla="*/ 309419 w 341730"/>
              <a:gd name="connsiteY33" fmla="*/ 135086 h 268435"/>
              <a:gd name="connsiteX34" fmla="*/ 313528 w 341730"/>
              <a:gd name="connsiteY34" fmla="*/ 137040 h 268435"/>
              <a:gd name="connsiteX35" fmla="*/ 313528 w 341730"/>
              <a:gd name="connsiteY35" fmla="*/ 138994 h 268435"/>
              <a:gd name="connsiteX36" fmla="*/ 313528 w 341730"/>
              <a:gd name="connsiteY36" fmla="*/ 140947 h 268435"/>
              <a:gd name="connsiteX37" fmla="*/ 315582 w 341730"/>
              <a:gd name="connsiteY37" fmla="*/ 140947 h 268435"/>
              <a:gd name="connsiteX38" fmla="*/ 315582 w 341730"/>
              <a:gd name="connsiteY38" fmla="*/ 142901 h 268435"/>
              <a:gd name="connsiteX39" fmla="*/ 317637 w 341730"/>
              <a:gd name="connsiteY39" fmla="*/ 142901 h 268435"/>
              <a:gd name="connsiteX40" fmla="*/ 321745 w 341730"/>
              <a:gd name="connsiteY40" fmla="*/ 142901 h 268435"/>
              <a:gd name="connsiteX41" fmla="*/ 323800 w 341730"/>
              <a:gd name="connsiteY41" fmla="*/ 144855 h 268435"/>
              <a:gd name="connsiteX42" fmla="*/ 325854 w 341730"/>
              <a:gd name="connsiteY42" fmla="*/ 148763 h 268435"/>
              <a:gd name="connsiteX43" fmla="*/ 323800 w 341730"/>
              <a:gd name="connsiteY43" fmla="*/ 150717 h 268435"/>
              <a:gd name="connsiteX44" fmla="*/ 319691 w 341730"/>
              <a:gd name="connsiteY44" fmla="*/ 154624 h 268435"/>
              <a:gd name="connsiteX45" fmla="*/ 315582 w 341730"/>
              <a:gd name="connsiteY45" fmla="*/ 156578 h 268435"/>
              <a:gd name="connsiteX46" fmla="*/ 313528 w 341730"/>
              <a:gd name="connsiteY46" fmla="*/ 160486 h 268435"/>
              <a:gd name="connsiteX47" fmla="*/ 309419 w 341730"/>
              <a:gd name="connsiteY47" fmla="*/ 160486 h 268435"/>
              <a:gd name="connsiteX48" fmla="*/ 307365 w 341730"/>
              <a:gd name="connsiteY48" fmla="*/ 158532 h 268435"/>
              <a:gd name="connsiteX49" fmla="*/ 305310 w 341730"/>
              <a:gd name="connsiteY49" fmla="*/ 158532 h 268435"/>
              <a:gd name="connsiteX50" fmla="*/ 305310 w 341730"/>
              <a:gd name="connsiteY50" fmla="*/ 156578 h 268435"/>
              <a:gd name="connsiteX51" fmla="*/ 301201 w 341730"/>
              <a:gd name="connsiteY51" fmla="*/ 154624 h 268435"/>
              <a:gd name="connsiteX52" fmla="*/ 299147 w 341730"/>
              <a:gd name="connsiteY52" fmla="*/ 152670 h 268435"/>
              <a:gd name="connsiteX53" fmla="*/ 297092 w 341730"/>
              <a:gd name="connsiteY53" fmla="*/ 152670 h 268435"/>
              <a:gd name="connsiteX54" fmla="*/ 295038 w 341730"/>
              <a:gd name="connsiteY54" fmla="*/ 150717 h 268435"/>
              <a:gd name="connsiteX55" fmla="*/ 292984 w 341730"/>
              <a:gd name="connsiteY55" fmla="*/ 150717 h 268435"/>
              <a:gd name="connsiteX56" fmla="*/ 290929 w 341730"/>
              <a:gd name="connsiteY56" fmla="*/ 148763 h 268435"/>
              <a:gd name="connsiteX57" fmla="*/ 290929 w 341730"/>
              <a:gd name="connsiteY57" fmla="*/ 144855 h 268435"/>
              <a:gd name="connsiteX58" fmla="*/ 292984 w 341730"/>
              <a:gd name="connsiteY58" fmla="*/ 144855 h 268435"/>
              <a:gd name="connsiteX59" fmla="*/ 292984 w 341730"/>
              <a:gd name="connsiteY59" fmla="*/ 142901 h 268435"/>
              <a:gd name="connsiteX60" fmla="*/ 295038 w 341730"/>
              <a:gd name="connsiteY60" fmla="*/ 140947 h 268435"/>
              <a:gd name="connsiteX61" fmla="*/ 297092 w 341730"/>
              <a:gd name="connsiteY61" fmla="*/ 137040 h 268435"/>
              <a:gd name="connsiteX62" fmla="*/ 299147 w 341730"/>
              <a:gd name="connsiteY62" fmla="*/ 135086 h 268435"/>
              <a:gd name="connsiteX63" fmla="*/ 329483 w 341730"/>
              <a:gd name="connsiteY63" fmla="*/ 128736 h 268435"/>
              <a:gd name="connsiteX64" fmla="*/ 333566 w 341730"/>
              <a:gd name="connsiteY64" fmla="*/ 130853 h 268435"/>
              <a:gd name="connsiteX65" fmla="*/ 337648 w 341730"/>
              <a:gd name="connsiteY65" fmla="*/ 132969 h 268435"/>
              <a:gd name="connsiteX66" fmla="*/ 341730 w 341730"/>
              <a:gd name="connsiteY66" fmla="*/ 135086 h 268435"/>
              <a:gd name="connsiteX67" fmla="*/ 341730 w 341730"/>
              <a:gd name="connsiteY67" fmla="*/ 139319 h 268435"/>
              <a:gd name="connsiteX68" fmla="*/ 335607 w 341730"/>
              <a:gd name="connsiteY68" fmla="*/ 141436 h 268435"/>
              <a:gd name="connsiteX69" fmla="*/ 331525 w 341730"/>
              <a:gd name="connsiteY69" fmla="*/ 139319 h 268435"/>
              <a:gd name="connsiteX70" fmla="*/ 329483 w 341730"/>
              <a:gd name="connsiteY70" fmla="*/ 137203 h 268435"/>
              <a:gd name="connsiteX71" fmla="*/ 329483 w 341730"/>
              <a:gd name="connsiteY71" fmla="*/ 135086 h 268435"/>
              <a:gd name="connsiteX72" fmla="*/ 327442 w 341730"/>
              <a:gd name="connsiteY72" fmla="*/ 132969 h 268435"/>
              <a:gd name="connsiteX73" fmla="*/ 329483 w 341730"/>
              <a:gd name="connsiteY73" fmla="*/ 128736 h 268435"/>
              <a:gd name="connsiteX74" fmla="*/ 32771 w 341730"/>
              <a:gd name="connsiteY74" fmla="*/ 559 h 268435"/>
              <a:gd name="connsiteX75" fmla="*/ 36764 w 341730"/>
              <a:gd name="connsiteY75" fmla="*/ 559 h 268435"/>
              <a:gd name="connsiteX76" fmla="*/ 44750 w 341730"/>
              <a:gd name="connsiteY76" fmla="*/ 2558 h 268435"/>
              <a:gd name="connsiteX77" fmla="*/ 56730 w 341730"/>
              <a:gd name="connsiteY77" fmla="*/ 6556 h 268435"/>
              <a:gd name="connsiteX78" fmla="*/ 70706 w 341730"/>
              <a:gd name="connsiteY78" fmla="*/ 4557 h 268435"/>
              <a:gd name="connsiteX79" fmla="*/ 78692 w 341730"/>
              <a:gd name="connsiteY79" fmla="*/ 6556 h 268435"/>
              <a:gd name="connsiteX80" fmla="*/ 86678 w 341730"/>
              <a:gd name="connsiteY80" fmla="*/ 4557 h 268435"/>
              <a:gd name="connsiteX81" fmla="*/ 96661 w 341730"/>
              <a:gd name="connsiteY81" fmla="*/ 6556 h 268435"/>
              <a:gd name="connsiteX82" fmla="*/ 98657 w 341730"/>
              <a:gd name="connsiteY82" fmla="*/ 8555 h 268435"/>
              <a:gd name="connsiteX83" fmla="*/ 112633 w 341730"/>
              <a:gd name="connsiteY83" fmla="*/ 10554 h 268435"/>
              <a:gd name="connsiteX84" fmla="*/ 120619 w 341730"/>
              <a:gd name="connsiteY84" fmla="*/ 10554 h 268435"/>
              <a:gd name="connsiteX85" fmla="*/ 132599 w 341730"/>
              <a:gd name="connsiteY85" fmla="*/ 8555 h 268435"/>
              <a:gd name="connsiteX86" fmla="*/ 148571 w 341730"/>
              <a:gd name="connsiteY86" fmla="*/ 12553 h 268435"/>
              <a:gd name="connsiteX87" fmla="*/ 158554 w 341730"/>
              <a:gd name="connsiteY87" fmla="*/ 12553 h 268435"/>
              <a:gd name="connsiteX88" fmla="*/ 170533 w 341730"/>
              <a:gd name="connsiteY88" fmla="*/ 14552 h 268435"/>
              <a:gd name="connsiteX89" fmla="*/ 178519 w 341730"/>
              <a:gd name="connsiteY89" fmla="*/ 14552 h 268435"/>
              <a:gd name="connsiteX90" fmla="*/ 188502 w 341730"/>
              <a:gd name="connsiteY90" fmla="*/ 12553 h 268435"/>
              <a:gd name="connsiteX91" fmla="*/ 192495 w 341730"/>
              <a:gd name="connsiteY91" fmla="*/ 14552 h 268435"/>
              <a:gd name="connsiteX92" fmla="*/ 198485 w 341730"/>
              <a:gd name="connsiteY92" fmla="*/ 16552 h 268435"/>
              <a:gd name="connsiteX93" fmla="*/ 202478 w 341730"/>
              <a:gd name="connsiteY93" fmla="*/ 18551 h 268435"/>
              <a:gd name="connsiteX94" fmla="*/ 206471 w 341730"/>
              <a:gd name="connsiteY94" fmla="*/ 22549 h 268435"/>
              <a:gd name="connsiteX95" fmla="*/ 212461 w 341730"/>
              <a:gd name="connsiteY95" fmla="*/ 26547 h 268435"/>
              <a:gd name="connsiteX96" fmla="*/ 220447 w 341730"/>
              <a:gd name="connsiteY96" fmla="*/ 28546 h 268435"/>
              <a:gd name="connsiteX97" fmla="*/ 224440 w 341730"/>
              <a:gd name="connsiteY97" fmla="*/ 30545 h 268435"/>
              <a:gd name="connsiteX98" fmla="*/ 230430 w 341730"/>
              <a:gd name="connsiteY98" fmla="*/ 30545 h 268435"/>
              <a:gd name="connsiteX99" fmla="*/ 234423 w 341730"/>
              <a:gd name="connsiteY99" fmla="*/ 34543 h 268435"/>
              <a:gd name="connsiteX100" fmla="*/ 240413 w 341730"/>
              <a:gd name="connsiteY100" fmla="*/ 34543 h 268435"/>
              <a:gd name="connsiteX101" fmla="*/ 248399 w 341730"/>
              <a:gd name="connsiteY101" fmla="*/ 34543 h 268435"/>
              <a:gd name="connsiteX102" fmla="*/ 250395 w 341730"/>
              <a:gd name="connsiteY102" fmla="*/ 28546 h 268435"/>
              <a:gd name="connsiteX103" fmla="*/ 254388 w 341730"/>
              <a:gd name="connsiteY103" fmla="*/ 26547 h 268435"/>
              <a:gd name="connsiteX104" fmla="*/ 262375 w 341730"/>
              <a:gd name="connsiteY104" fmla="*/ 30545 h 268435"/>
              <a:gd name="connsiteX105" fmla="*/ 270361 w 341730"/>
              <a:gd name="connsiteY105" fmla="*/ 30545 h 268435"/>
              <a:gd name="connsiteX106" fmla="*/ 276351 w 341730"/>
              <a:gd name="connsiteY106" fmla="*/ 34543 h 268435"/>
              <a:gd name="connsiteX107" fmla="*/ 278348 w 341730"/>
              <a:gd name="connsiteY107" fmla="*/ 34543 h 268435"/>
              <a:gd name="connsiteX108" fmla="*/ 284337 w 341730"/>
              <a:gd name="connsiteY108" fmla="*/ 34543 h 268435"/>
              <a:gd name="connsiteX109" fmla="*/ 284337 w 341730"/>
              <a:gd name="connsiteY109" fmla="*/ 40540 h 268435"/>
              <a:gd name="connsiteX110" fmla="*/ 282341 w 341730"/>
              <a:gd name="connsiteY110" fmla="*/ 40540 h 268435"/>
              <a:gd name="connsiteX111" fmla="*/ 282341 w 341730"/>
              <a:gd name="connsiteY111" fmla="*/ 44539 h 268435"/>
              <a:gd name="connsiteX112" fmla="*/ 288330 w 341730"/>
              <a:gd name="connsiteY112" fmla="*/ 48537 h 268435"/>
              <a:gd name="connsiteX113" fmla="*/ 292323 w 341730"/>
              <a:gd name="connsiteY113" fmla="*/ 46538 h 268435"/>
              <a:gd name="connsiteX114" fmla="*/ 294320 w 341730"/>
              <a:gd name="connsiteY114" fmla="*/ 46538 h 268435"/>
              <a:gd name="connsiteX115" fmla="*/ 294320 w 341730"/>
              <a:gd name="connsiteY115" fmla="*/ 42540 h 268435"/>
              <a:gd name="connsiteX116" fmla="*/ 298313 w 341730"/>
              <a:gd name="connsiteY116" fmla="*/ 44539 h 268435"/>
              <a:gd name="connsiteX117" fmla="*/ 304303 w 341730"/>
              <a:gd name="connsiteY117" fmla="*/ 46538 h 268435"/>
              <a:gd name="connsiteX118" fmla="*/ 314285 w 341730"/>
              <a:gd name="connsiteY118" fmla="*/ 46538 h 268435"/>
              <a:gd name="connsiteX119" fmla="*/ 320275 w 341730"/>
              <a:gd name="connsiteY119" fmla="*/ 48537 h 268435"/>
              <a:gd name="connsiteX120" fmla="*/ 322272 w 341730"/>
              <a:gd name="connsiteY120" fmla="*/ 54534 h 268435"/>
              <a:gd name="connsiteX121" fmla="*/ 322272 w 341730"/>
              <a:gd name="connsiteY121" fmla="*/ 60531 h 268435"/>
              <a:gd name="connsiteX122" fmla="*/ 310292 w 341730"/>
              <a:gd name="connsiteY122" fmla="*/ 72526 h 268435"/>
              <a:gd name="connsiteX123" fmla="*/ 298313 w 341730"/>
              <a:gd name="connsiteY123" fmla="*/ 78523 h 268435"/>
              <a:gd name="connsiteX124" fmla="*/ 280344 w 341730"/>
              <a:gd name="connsiteY124" fmla="*/ 88518 h 268435"/>
              <a:gd name="connsiteX125" fmla="*/ 264371 w 341730"/>
              <a:gd name="connsiteY125" fmla="*/ 96515 h 268435"/>
              <a:gd name="connsiteX126" fmla="*/ 252392 w 341730"/>
              <a:gd name="connsiteY126" fmla="*/ 110508 h 268435"/>
              <a:gd name="connsiteX127" fmla="*/ 234423 w 341730"/>
              <a:gd name="connsiteY127" fmla="*/ 132498 h 268435"/>
              <a:gd name="connsiteX128" fmla="*/ 228433 w 341730"/>
              <a:gd name="connsiteY128" fmla="*/ 152489 h 268435"/>
              <a:gd name="connsiteX129" fmla="*/ 238416 w 341730"/>
              <a:gd name="connsiteY129" fmla="*/ 172479 h 268435"/>
              <a:gd name="connsiteX130" fmla="*/ 232426 w 341730"/>
              <a:gd name="connsiteY130" fmla="*/ 180476 h 268435"/>
              <a:gd name="connsiteX131" fmla="*/ 226437 w 341730"/>
              <a:gd name="connsiteY131" fmla="*/ 188472 h 268435"/>
              <a:gd name="connsiteX132" fmla="*/ 222444 w 341730"/>
              <a:gd name="connsiteY132" fmla="*/ 198468 h 268435"/>
              <a:gd name="connsiteX133" fmla="*/ 220447 w 341730"/>
              <a:gd name="connsiteY133" fmla="*/ 202466 h 268435"/>
              <a:gd name="connsiteX134" fmla="*/ 216454 w 341730"/>
              <a:gd name="connsiteY134" fmla="*/ 206464 h 268435"/>
              <a:gd name="connsiteX135" fmla="*/ 218450 w 341730"/>
              <a:gd name="connsiteY135" fmla="*/ 212461 h 268435"/>
              <a:gd name="connsiteX136" fmla="*/ 210464 w 341730"/>
              <a:gd name="connsiteY136" fmla="*/ 216459 h 268435"/>
              <a:gd name="connsiteX137" fmla="*/ 202478 w 341730"/>
              <a:gd name="connsiteY137" fmla="*/ 218458 h 268435"/>
              <a:gd name="connsiteX138" fmla="*/ 194492 w 341730"/>
              <a:gd name="connsiteY138" fmla="*/ 228454 h 268435"/>
              <a:gd name="connsiteX139" fmla="*/ 186506 w 341730"/>
              <a:gd name="connsiteY139" fmla="*/ 240448 h 268435"/>
              <a:gd name="connsiteX140" fmla="*/ 184509 w 341730"/>
              <a:gd name="connsiteY140" fmla="*/ 244446 h 268435"/>
              <a:gd name="connsiteX141" fmla="*/ 178519 w 341730"/>
              <a:gd name="connsiteY141" fmla="*/ 244446 h 268435"/>
              <a:gd name="connsiteX142" fmla="*/ 172530 w 341730"/>
              <a:gd name="connsiteY142" fmla="*/ 244446 h 268435"/>
              <a:gd name="connsiteX143" fmla="*/ 166540 w 341730"/>
              <a:gd name="connsiteY143" fmla="*/ 248444 h 268435"/>
              <a:gd name="connsiteX144" fmla="*/ 156557 w 341730"/>
              <a:gd name="connsiteY144" fmla="*/ 246445 h 268435"/>
              <a:gd name="connsiteX145" fmla="*/ 150568 w 341730"/>
              <a:gd name="connsiteY145" fmla="*/ 246445 h 268435"/>
              <a:gd name="connsiteX146" fmla="*/ 142582 w 341730"/>
              <a:gd name="connsiteY146" fmla="*/ 246445 h 268435"/>
              <a:gd name="connsiteX147" fmla="*/ 132599 w 341730"/>
              <a:gd name="connsiteY147" fmla="*/ 246445 h 268435"/>
              <a:gd name="connsiteX148" fmla="*/ 120619 w 341730"/>
              <a:gd name="connsiteY148" fmla="*/ 248444 h 268435"/>
              <a:gd name="connsiteX149" fmla="*/ 110637 w 341730"/>
              <a:gd name="connsiteY149" fmla="*/ 250443 h 268435"/>
              <a:gd name="connsiteX150" fmla="*/ 104647 w 341730"/>
              <a:gd name="connsiteY150" fmla="*/ 262438 h 268435"/>
              <a:gd name="connsiteX151" fmla="*/ 100654 w 341730"/>
              <a:gd name="connsiteY151" fmla="*/ 268435 h 268435"/>
              <a:gd name="connsiteX152" fmla="*/ 96661 w 341730"/>
              <a:gd name="connsiteY152" fmla="*/ 266436 h 268435"/>
              <a:gd name="connsiteX153" fmla="*/ 90671 w 341730"/>
              <a:gd name="connsiteY153" fmla="*/ 268435 h 268435"/>
              <a:gd name="connsiteX154" fmla="*/ 84681 w 341730"/>
              <a:gd name="connsiteY154" fmla="*/ 264437 h 268435"/>
              <a:gd name="connsiteX155" fmla="*/ 80688 w 341730"/>
              <a:gd name="connsiteY155" fmla="*/ 262438 h 268435"/>
              <a:gd name="connsiteX156" fmla="*/ 76695 w 341730"/>
              <a:gd name="connsiteY156" fmla="*/ 258440 h 268435"/>
              <a:gd name="connsiteX157" fmla="*/ 76695 w 341730"/>
              <a:gd name="connsiteY157" fmla="*/ 252443 h 268435"/>
              <a:gd name="connsiteX158" fmla="*/ 74699 w 341730"/>
              <a:gd name="connsiteY158" fmla="*/ 248444 h 268435"/>
              <a:gd name="connsiteX159" fmla="*/ 70706 w 341730"/>
              <a:gd name="connsiteY159" fmla="*/ 242447 h 268435"/>
              <a:gd name="connsiteX160" fmla="*/ 68709 w 341730"/>
              <a:gd name="connsiteY160" fmla="*/ 238449 h 268435"/>
              <a:gd name="connsiteX161" fmla="*/ 60723 w 341730"/>
              <a:gd name="connsiteY161" fmla="*/ 228454 h 268435"/>
              <a:gd name="connsiteX162" fmla="*/ 52737 w 341730"/>
              <a:gd name="connsiteY162" fmla="*/ 228454 h 268435"/>
              <a:gd name="connsiteX163" fmla="*/ 50740 w 341730"/>
              <a:gd name="connsiteY163" fmla="*/ 228454 h 268435"/>
              <a:gd name="connsiteX164" fmla="*/ 56730 w 341730"/>
              <a:gd name="connsiteY164" fmla="*/ 222456 h 268435"/>
              <a:gd name="connsiteX165" fmla="*/ 54733 w 341730"/>
              <a:gd name="connsiteY165" fmla="*/ 218458 h 268435"/>
              <a:gd name="connsiteX166" fmla="*/ 54733 w 341730"/>
              <a:gd name="connsiteY166" fmla="*/ 212461 h 268435"/>
              <a:gd name="connsiteX167" fmla="*/ 54733 w 341730"/>
              <a:gd name="connsiteY167" fmla="*/ 208463 h 268435"/>
              <a:gd name="connsiteX168" fmla="*/ 60723 w 341730"/>
              <a:gd name="connsiteY168" fmla="*/ 196468 h 268435"/>
              <a:gd name="connsiteX169" fmla="*/ 60723 w 341730"/>
              <a:gd name="connsiteY169" fmla="*/ 184474 h 268435"/>
              <a:gd name="connsiteX170" fmla="*/ 60723 w 341730"/>
              <a:gd name="connsiteY170" fmla="*/ 168481 h 268435"/>
              <a:gd name="connsiteX171" fmla="*/ 62719 w 341730"/>
              <a:gd name="connsiteY171" fmla="*/ 160485 h 268435"/>
              <a:gd name="connsiteX172" fmla="*/ 64716 w 341730"/>
              <a:gd name="connsiteY172" fmla="*/ 148490 h 268435"/>
              <a:gd name="connsiteX173" fmla="*/ 64716 w 341730"/>
              <a:gd name="connsiteY173" fmla="*/ 138495 h 268435"/>
              <a:gd name="connsiteX174" fmla="*/ 64716 w 341730"/>
              <a:gd name="connsiteY174" fmla="*/ 126501 h 268435"/>
              <a:gd name="connsiteX175" fmla="*/ 66713 w 341730"/>
              <a:gd name="connsiteY175" fmla="*/ 110508 h 268435"/>
              <a:gd name="connsiteX176" fmla="*/ 66713 w 341730"/>
              <a:gd name="connsiteY176" fmla="*/ 102512 h 268435"/>
              <a:gd name="connsiteX177" fmla="*/ 68709 w 341730"/>
              <a:gd name="connsiteY177" fmla="*/ 94515 h 268435"/>
              <a:gd name="connsiteX178" fmla="*/ 72702 w 341730"/>
              <a:gd name="connsiteY178" fmla="*/ 86519 h 268435"/>
              <a:gd name="connsiteX179" fmla="*/ 78692 w 341730"/>
              <a:gd name="connsiteY179" fmla="*/ 74525 h 268435"/>
              <a:gd name="connsiteX180" fmla="*/ 76695 w 341730"/>
              <a:gd name="connsiteY180" fmla="*/ 70527 h 268435"/>
              <a:gd name="connsiteX181" fmla="*/ 70706 w 341730"/>
              <a:gd name="connsiteY181" fmla="*/ 66528 h 268435"/>
              <a:gd name="connsiteX182" fmla="*/ 64716 w 341730"/>
              <a:gd name="connsiteY182" fmla="*/ 62530 h 268435"/>
              <a:gd name="connsiteX183" fmla="*/ 56730 w 341730"/>
              <a:gd name="connsiteY183" fmla="*/ 64529 h 268435"/>
              <a:gd name="connsiteX184" fmla="*/ 52737 w 341730"/>
              <a:gd name="connsiteY184" fmla="*/ 62530 h 268435"/>
              <a:gd name="connsiteX185" fmla="*/ 46747 w 341730"/>
              <a:gd name="connsiteY185" fmla="*/ 64529 h 268435"/>
              <a:gd name="connsiteX186" fmla="*/ 38761 w 341730"/>
              <a:gd name="connsiteY186" fmla="*/ 66528 h 268435"/>
              <a:gd name="connsiteX187" fmla="*/ 36764 w 341730"/>
              <a:gd name="connsiteY187" fmla="*/ 62530 h 268435"/>
              <a:gd name="connsiteX188" fmla="*/ 34768 w 341730"/>
              <a:gd name="connsiteY188" fmla="*/ 54534 h 268435"/>
              <a:gd name="connsiteX189" fmla="*/ 30775 w 341730"/>
              <a:gd name="connsiteY189" fmla="*/ 54534 h 268435"/>
              <a:gd name="connsiteX190" fmla="*/ 24785 w 341730"/>
              <a:gd name="connsiteY190" fmla="*/ 54534 h 268435"/>
              <a:gd name="connsiteX191" fmla="*/ 10809 w 341730"/>
              <a:gd name="connsiteY191" fmla="*/ 54534 h 268435"/>
              <a:gd name="connsiteX192" fmla="*/ 10809 w 341730"/>
              <a:gd name="connsiteY192" fmla="*/ 48537 h 268435"/>
              <a:gd name="connsiteX193" fmla="*/ 10809 w 341730"/>
              <a:gd name="connsiteY193" fmla="*/ 42540 h 268435"/>
              <a:gd name="connsiteX194" fmla="*/ 8813 w 341730"/>
              <a:gd name="connsiteY194" fmla="*/ 40540 h 268435"/>
              <a:gd name="connsiteX195" fmla="*/ 4820 w 341730"/>
              <a:gd name="connsiteY195" fmla="*/ 40540 h 268435"/>
              <a:gd name="connsiteX196" fmla="*/ 2823 w 341730"/>
              <a:gd name="connsiteY196" fmla="*/ 36542 h 268435"/>
              <a:gd name="connsiteX197" fmla="*/ 826 w 341730"/>
              <a:gd name="connsiteY197" fmla="*/ 28546 h 268435"/>
              <a:gd name="connsiteX198" fmla="*/ 2823 w 341730"/>
              <a:gd name="connsiteY198" fmla="*/ 18551 h 268435"/>
              <a:gd name="connsiteX199" fmla="*/ 8813 w 341730"/>
              <a:gd name="connsiteY199" fmla="*/ 16552 h 268435"/>
              <a:gd name="connsiteX200" fmla="*/ 14802 w 341730"/>
              <a:gd name="connsiteY200" fmla="*/ 14552 h 268435"/>
              <a:gd name="connsiteX201" fmla="*/ 20792 w 341730"/>
              <a:gd name="connsiteY201" fmla="*/ 12553 h 268435"/>
              <a:gd name="connsiteX202" fmla="*/ 24785 w 341730"/>
              <a:gd name="connsiteY202" fmla="*/ 12553 h 268435"/>
              <a:gd name="connsiteX203" fmla="*/ 22788 w 341730"/>
              <a:gd name="connsiteY203" fmla="*/ 6556 h 268435"/>
              <a:gd name="connsiteX204" fmla="*/ 26781 w 341730"/>
              <a:gd name="connsiteY204" fmla="*/ 4557 h 268435"/>
              <a:gd name="connsiteX205" fmla="*/ 32771 w 341730"/>
              <a:gd name="connsiteY205" fmla="*/ 559 h 26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341730" h="268435">
                <a:moveTo>
                  <a:pt x="271879" y="176361"/>
                </a:moveTo>
                <a:cubicBezTo>
                  <a:pt x="271879" y="176361"/>
                  <a:pt x="273996" y="176361"/>
                  <a:pt x="273996" y="176361"/>
                </a:cubicBezTo>
                <a:cubicBezTo>
                  <a:pt x="273996" y="176361"/>
                  <a:pt x="276113" y="178345"/>
                  <a:pt x="276113" y="178345"/>
                </a:cubicBezTo>
                <a:cubicBezTo>
                  <a:pt x="276113" y="178345"/>
                  <a:pt x="278229" y="180330"/>
                  <a:pt x="276113" y="180330"/>
                </a:cubicBezTo>
                <a:cubicBezTo>
                  <a:pt x="276113" y="182314"/>
                  <a:pt x="276113" y="182314"/>
                  <a:pt x="276113" y="182314"/>
                </a:cubicBezTo>
                <a:cubicBezTo>
                  <a:pt x="276113" y="182314"/>
                  <a:pt x="273996" y="184298"/>
                  <a:pt x="273996" y="184298"/>
                </a:cubicBezTo>
                <a:cubicBezTo>
                  <a:pt x="271879" y="184298"/>
                  <a:pt x="271879" y="184298"/>
                  <a:pt x="271879" y="184298"/>
                </a:cubicBezTo>
                <a:cubicBezTo>
                  <a:pt x="269763" y="184298"/>
                  <a:pt x="269763" y="184298"/>
                  <a:pt x="269763" y="184298"/>
                </a:cubicBezTo>
                <a:cubicBezTo>
                  <a:pt x="267646" y="182314"/>
                  <a:pt x="267646" y="182314"/>
                  <a:pt x="267646" y="182314"/>
                </a:cubicBezTo>
                <a:cubicBezTo>
                  <a:pt x="267646" y="182314"/>
                  <a:pt x="265529" y="180330"/>
                  <a:pt x="267646" y="180330"/>
                </a:cubicBezTo>
                <a:cubicBezTo>
                  <a:pt x="267646" y="180330"/>
                  <a:pt x="269763" y="180330"/>
                  <a:pt x="269763" y="178345"/>
                </a:cubicBezTo>
                <a:cubicBezTo>
                  <a:pt x="271879" y="176361"/>
                  <a:pt x="269763" y="176361"/>
                  <a:pt x="271879" y="176361"/>
                </a:cubicBezTo>
                <a:close/>
                <a:moveTo>
                  <a:pt x="275282" y="160486"/>
                </a:moveTo>
                <a:cubicBezTo>
                  <a:pt x="275282" y="160486"/>
                  <a:pt x="277323" y="160486"/>
                  <a:pt x="277323" y="162603"/>
                </a:cubicBezTo>
                <a:cubicBezTo>
                  <a:pt x="277323" y="162603"/>
                  <a:pt x="281405" y="162603"/>
                  <a:pt x="279364" y="164719"/>
                </a:cubicBezTo>
                <a:cubicBezTo>
                  <a:pt x="279364" y="164719"/>
                  <a:pt x="279364" y="164719"/>
                  <a:pt x="279364" y="166836"/>
                </a:cubicBezTo>
                <a:cubicBezTo>
                  <a:pt x="279364" y="166836"/>
                  <a:pt x="277323" y="168953"/>
                  <a:pt x="277323" y="168953"/>
                </a:cubicBezTo>
                <a:cubicBezTo>
                  <a:pt x="277323" y="168953"/>
                  <a:pt x="277323" y="171069"/>
                  <a:pt x="277323" y="171069"/>
                </a:cubicBezTo>
                <a:cubicBezTo>
                  <a:pt x="275282" y="173186"/>
                  <a:pt x="275282" y="173186"/>
                  <a:pt x="275282" y="173186"/>
                </a:cubicBezTo>
                <a:cubicBezTo>
                  <a:pt x="273241" y="173186"/>
                  <a:pt x="273241" y="173186"/>
                  <a:pt x="273241" y="173186"/>
                </a:cubicBezTo>
                <a:cubicBezTo>
                  <a:pt x="273241" y="173186"/>
                  <a:pt x="271200" y="173186"/>
                  <a:pt x="269158" y="173186"/>
                </a:cubicBezTo>
                <a:cubicBezTo>
                  <a:pt x="267117" y="171069"/>
                  <a:pt x="267117" y="171069"/>
                  <a:pt x="267117" y="171069"/>
                </a:cubicBezTo>
                <a:cubicBezTo>
                  <a:pt x="267117" y="171069"/>
                  <a:pt x="267117" y="168953"/>
                  <a:pt x="267117" y="168953"/>
                </a:cubicBezTo>
                <a:cubicBezTo>
                  <a:pt x="267117" y="168953"/>
                  <a:pt x="267117" y="168953"/>
                  <a:pt x="267117" y="166836"/>
                </a:cubicBezTo>
                <a:cubicBezTo>
                  <a:pt x="267117" y="166836"/>
                  <a:pt x="267117" y="164719"/>
                  <a:pt x="269158" y="164719"/>
                </a:cubicBezTo>
                <a:cubicBezTo>
                  <a:pt x="269158" y="162603"/>
                  <a:pt x="269158" y="162603"/>
                  <a:pt x="269158" y="162603"/>
                </a:cubicBezTo>
                <a:cubicBezTo>
                  <a:pt x="271200" y="162603"/>
                  <a:pt x="271200" y="162603"/>
                  <a:pt x="271200" y="162603"/>
                </a:cubicBezTo>
                <a:cubicBezTo>
                  <a:pt x="273241" y="162603"/>
                  <a:pt x="273241" y="162603"/>
                  <a:pt x="273241" y="162603"/>
                </a:cubicBezTo>
                <a:cubicBezTo>
                  <a:pt x="275282" y="160486"/>
                  <a:pt x="275282" y="160486"/>
                  <a:pt x="275282" y="160486"/>
                </a:cubicBezTo>
                <a:close/>
                <a:moveTo>
                  <a:pt x="299147" y="135086"/>
                </a:moveTo>
                <a:cubicBezTo>
                  <a:pt x="299147" y="135086"/>
                  <a:pt x="301201" y="135086"/>
                  <a:pt x="301201" y="135086"/>
                </a:cubicBezTo>
                <a:cubicBezTo>
                  <a:pt x="303256" y="135086"/>
                  <a:pt x="303256" y="135086"/>
                  <a:pt x="303256" y="135086"/>
                </a:cubicBezTo>
                <a:cubicBezTo>
                  <a:pt x="303256" y="135086"/>
                  <a:pt x="307365" y="135086"/>
                  <a:pt x="307365" y="135086"/>
                </a:cubicBezTo>
                <a:cubicBezTo>
                  <a:pt x="309419" y="135086"/>
                  <a:pt x="309419" y="135086"/>
                  <a:pt x="309419" y="135086"/>
                </a:cubicBezTo>
                <a:cubicBezTo>
                  <a:pt x="311473" y="135086"/>
                  <a:pt x="313528" y="137040"/>
                  <a:pt x="313528" y="137040"/>
                </a:cubicBezTo>
                <a:cubicBezTo>
                  <a:pt x="313528" y="137040"/>
                  <a:pt x="313528" y="137040"/>
                  <a:pt x="313528" y="138994"/>
                </a:cubicBezTo>
                <a:cubicBezTo>
                  <a:pt x="313528" y="138994"/>
                  <a:pt x="313528" y="138994"/>
                  <a:pt x="313528" y="140947"/>
                </a:cubicBezTo>
                <a:cubicBezTo>
                  <a:pt x="313528" y="140947"/>
                  <a:pt x="313528" y="140947"/>
                  <a:pt x="315582" y="140947"/>
                </a:cubicBezTo>
                <a:cubicBezTo>
                  <a:pt x="315582" y="140947"/>
                  <a:pt x="315582" y="140947"/>
                  <a:pt x="315582" y="142901"/>
                </a:cubicBezTo>
                <a:cubicBezTo>
                  <a:pt x="315582" y="142901"/>
                  <a:pt x="315582" y="142901"/>
                  <a:pt x="317637" y="142901"/>
                </a:cubicBezTo>
                <a:cubicBezTo>
                  <a:pt x="317637" y="142901"/>
                  <a:pt x="317637" y="142901"/>
                  <a:pt x="321745" y="142901"/>
                </a:cubicBezTo>
                <a:cubicBezTo>
                  <a:pt x="321745" y="142901"/>
                  <a:pt x="323800" y="144855"/>
                  <a:pt x="323800" y="144855"/>
                </a:cubicBezTo>
                <a:cubicBezTo>
                  <a:pt x="325854" y="144855"/>
                  <a:pt x="325854" y="148763"/>
                  <a:pt x="325854" y="148763"/>
                </a:cubicBezTo>
                <a:cubicBezTo>
                  <a:pt x="325854" y="148763"/>
                  <a:pt x="325854" y="148763"/>
                  <a:pt x="323800" y="150717"/>
                </a:cubicBezTo>
                <a:cubicBezTo>
                  <a:pt x="323800" y="150717"/>
                  <a:pt x="321745" y="154624"/>
                  <a:pt x="319691" y="154624"/>
                </a:cubicBezTo>
                <a:cubicBezTo>
                  <a:pt x="319691" y="154624"/>
                  <a:pt x="315582" y="156578"/>
                  <a:pt x="315582" y="156578"/>
                </a:cubicBezTo>
                <a:cubicBezTo>
                  <a:pt x="315582" y="158532"/>
                  <a:pt x="313528" y="160486"/>
                  <a:pt x="313528" y="160486"/>
                </a:cubicBezTo>
                <a:cubicBezTo>
                  <a:pt x="311473" y="160486"/>
                  <a:pt x="309419" y="160486"/>
                  <a:pt x="309419" y="160486"/>
                </a:cubicBezTo>
                <a:cubicBezTo>
                  <a:pt x="309419" y="160486"/>
                  <a:pt x="307365" y="158532"/>
                  <a:pt x="307365" y="158532"/>
                </a:cubicBezTo>
                <a:cubicBezTo>
                  <a:pt x="307365" y="158532"/>
                  <a:pt x="307365" y="158532"/>
                  <a:pt x="305310" y="158532"/>
                </a:cubicBezTo>
                <a:cubicBezTo>
                  <a:pt x="305310" y="158532"/>
                  <a:pt x="305310" y="156578"/>
                  <a:pt x="305310" y="156578"/>
                </a:cubicBezTo>
                <a:cubicBezTo>
                  <a:pt x="303256" y="156578"/>
                  <a:pt x="303256" y="154624"/>
                  <a:pt x="301201" y="154624"/>
                </a:cubicBezTo>
                <a:cubicBezTo>
                  <a:pt x="301201" y="154624"/>
                  <a:pt x="299147" y="152670"/>
                  <a:pt x="299147" y="152670"/>
                </a:cubicBezTo>
                <a:cubicBezTo>
                  <a:pt x="299147" y="152670"/>
                  <a:pt x="297092" y="150717"/>
                  <a:pt x="297092" y="152670"/>
                </a:cubicBezTo>
                <a:cubicBezTo>
                  <a:pt x="297092" y="152670"/>
                  <a:pt x="295038" y="150717"/>
                  <a:pt x="295038" y="150717"/>
                </a:cubicBezTo>
                <a:cubicBezTo>
                  <a:pt x="295038" y="150717"/>
                  <a:pt x="295038" y="150717"/>
                  <a:pt x="292984" y="150717"/>
                </a:cubicBezTo>
                <a:cubicBezTo>
                  <a:pt x="292984" y="150717"/>
                  <a:pt x="290929" y="148763"/>
                  <a:pt x="290929" y="148763"/>
                </a:cubicBezTo>
                <a:cubicBezTo>
                  <a:pt x="290929" y="146809"/>
                  <a:pt x="290929" y="144855"/>
                  <a:pt x="290929" y="144855"/>
                </a:cubicBezTo>
                <a:cubicBezTo>
                  <a:pt x="290929" y="144855"/>
                  <a:pt x="290929" y="144855"/>
                  <a:pt x="292984" y="144855"/>
                </a:cubicBezTo>
                <a:cubicBezTo>
                  <a:pt x="292984" y="144855"/>
                  <a:pt x="292984" y="144855"/>
                  <a:pt x="292984" y="142901"/>
                </a:cubicBezTo>
                <a:cubicBezTo>
                  <a:pt x="295038" y="140947"/>
                  <a:pt x="295038" y="140947"/>
                  <a:pt x="295038" y="140947"/>
                </a:cubicBezTo>
                <a:cubicBezTo>
                  <a:pt x="295038" y="138994"/>
                  <a:pt x="297092" y="138994"/>
                  <a:pt x="297092" y="137040"/>
                </a:cubicBezTo>
                <a:cubicBezTo>
                  <a:pt x="297092" y="137040"/>
                  <a:pt x="299147" y="135086"/>
                  <a:pt x="299147" y="135086"/>
                </a:cubicBezTo>
                <a:close/>
                <a:moveTo>
                  <a:pt x="329483" y="128736"/>
                </a:moveTo>
                <a:cubicBezTo>
                  <a:pt x="329483" y="128736"/>
                  <a:pt x="333566" y="128736"/>
                  <a:pt x="333566" y="130853"/>
                </a:cubicBezTo>
                <a:cubicBezTo>
                  <a:pt x="335607" y="130853"/>
                  <a:pt x="337648" y="132969"/>
                  <a:pt x="337648" y="132969"/>
                </a:cubicBezTo>
                <a:cubicBezTo>
                  <a:pt x="339689" y="132969"/>
                  <a:pt x="341730" y="132969"/>
                  <a:pt x="341730" y="135086"/>
                </a:cubicBezTo>
                <a:cubicBezTo>
                  <a:pt x="341730" y="137203"/>
                  <a:pt x="341730" y="139319"/>
                  <a:pt x="341730" y="139319"/>
                </a:cubicBezTo>
                <a:cubicBezTo>
                  <a:pt x="339689" y="139319"/>
                  <a:pt x="337648" y="141436"/>
                  <a:pt x="335607" y="141436"/>
                </a:cubicBezTo>
                <a:cubicBezTo>
                  <a:pt x="335607" y="141436"/>
                  <a:pt x="331525" y="141436"/>
                  <a:pt x="331525" y="139319"/>
                </a:cubicBezTo>
                <a:cubicBezTo>
                  <a:pt x="329483" y="139319"/>
                  <a:pt x="329483" y="137203"/>
                  <a:pt x="329483" y="137203"/>
                </a:cubicBezTo>
                <a:cubicBezTo>
                  <a:pt x="329483" y="137203"/>
                  <a:pt x="329483" y="135086"/>
                  <a:pt x="329483" y="135086"/>
                </a:cubicBezTo>
                <a:cubicBezTo>
                  <a:pt x="329483" y="135086"/>
                  <a:pt x="327442" y="132969"/>
                  <a:pt x="327442" y="132969"/>
                </a:cubicBezTo>
                <a:cubicBezTo>
                  <a:pt x="327442" y="132969"/>
                  <a:pt x="327442" y="130853"/>
                  <a:pt x="329483" y="128736"/>
                </a:cubicBezTo>
                <a:close/>
                <a:moveTo>
                  <a:pt x="32771" y="559"/>
                </a:moveTo>
                <a:cubicBezTo>
                  <a:pt x="32771" y="559"/>
                  <a:pt x="32771" y="559"/>
                  <a:pt x="36764" y="559"/>
                </a:cubicBezTo>
                <a:cubicBezTo>
                  <a:pt x="38761" y="-1440"/>
                  <a:pt x="40757" y="2558"/>
                  <a:pt x="44750" y="2558"/>
                </a:cubicBezTo>
                <a:cubicBezTo>
                  <a:pt x="46747" y="2558"/>
                  <a:pt x="52737" y="4557"/>
                  <a:pt x="56730" y="6556"/>
                </a:cubicBezTo>
                <a:cubicBezTo>
                  <a:pt x="62719" y="6556"/>
                  <a:pt x="68709" y="4557"/>
                  <a:pt x="70706" y="4557"/>
                </a:cubicBezTo>
                <a:cubicBezTo>
                  <a:pt x="72702" y="2558"/>
                  <a:pt x="76695" y="2558"/>
                  <a:pt x="78692" y="6556"/>
                </a:cubicBezTo>
                <a:cubicBezTo>
                  <a:pt x="80688" y="8555"/>
                  <a:pt x="84681" y="4557"/>
                  <a:pt x="86678" y="4557"/>
                </a:cubicBezTo>
                <a:cubicBezTo>
                  <a:pt x="88675" y="2558"/>
                  <a:pt x="94664" y="4557"/>
                  <a:pt x="96661" y="6556"/>
                </a:cubicBezTo>
                <a:cubicBezTo>
                  <a:pt x="96661" y="8555"/>
                  <a:pt x="98657" y="8555"/>
                  <a:pt x="98657" y="8555"/>
                </a:cubicBezTo>
                <a:cubicBezTo>
                  <a:pt x="100654" y="8555"/>
                  <a:pt x="104647" y="10554"/>
                  <a:pt x="112633" y="10554"/>
                </a:cubicBezTo>
                <a:cubicBezTo>
                  <a:pt x="120619" y="12553"/>
                  <a:pt x="120619" y="10554"/>
                  <a:pt x="120619" y="10554"/>
                </a:cubicBezTo>
                <a:cubicBezTo>
                  <a:pt x="120619" y="10554"/>
                  <a:pt x="126609" y="8555"/>
                  <a:pt x="132599" y="8555"/>
                </a:cubicBezTo>
                <a:cubicBezTo>
                  <a:pt x="140585" y="8555"/>
                  <a:pt x="144578" y="10554"/>
                  <a:pt x="148571" y="12553"/>
                </a:cubicBezTo>
                <a:cubicBezTo>
                  <a:pt x="152564" y="14552"/>
                  <a:pt x="158554" y="12553"/>
                  <a:pt x="158554" y="12553"/>
                </a:cubicBezTo>
                <a:cubicBezTo>
                  <a:pt x="158554" y="12553"/>
                  <a:pt x="164544" y="12553"/>
                  <a:pt x="170533" y="14552"/>
                </a:cubicBezTo>
                <a:cubicBezTo>
                  <a:pt x="174526" y="16552"/>
                  <a:pt x="178519" y="14552"/>
                  <a:pt x="178519" y="14552"/>
                </a:cubicBezTo>
                <a:cubicBezTo>
                  <a:pt x="178519" y="14552"/>
                  <a:pt x="186506" y="12553"/>
                  <a:pt x="188502" y="12553"/>
                </a:cubicBezTo>
                <a:cubicBezTo>
                  <a:pt x="190499" y="12553"/>
                  <a:pt x="190499" y="12553"/>
                  <a:pt x="192495" y="14552"/>
                </a:cubicBezTo>
                <a:cubicBezTo>
                  <a:pt x="194492" y="14552"/>
                  <a:pt x="198485" y="16552"/>
                  <a:pt x="198485" y="16552"/>
                </a:cubicBezTo>
                <a:cubicBezTo>
                  <a:pt x="200482" y="16552"/>
                  <a:pt x="202478" y="16552"/>
                  <a:pt x="202478" y="18551"/>
                </a:cubicBezTo>
                <a:cubicBezTo>
                  <a:pt x="204475" y="20550"/>
                  <a:pt x="204475" y="22549"/>
                  <a:pt x="206471" y="22549"/>
                </a:cubicBezTo>
                <a:cubicBezTo>
                  <a:pt x="206471" y="22549"/>
                  <a:pt x="212461" y="26547"/>
                  <a:pt x="212461" y="26547"/>
                </a:cubicBezTo>
                <a:cubicBezTo>
                  <a:pt x="212461" y="26547"/>
                  <a:pt x="216454" y="28546"/>
                  <a:pt x="220447" y="28546"/>
                </a:cubicBezTo>
                <a:cubicBezTo>
                  <a:pt x="222444" y="28546"/>
                  <a:pt x="224440" y="28546"/>
                  <a:pt x="224440" y="30545"/>
                </a:cubicBezTo>
                <a:cubicBezTo>
                  <a:pt x="226437" y="30545"/>
                  <a:pt x="228433" y="30545"/>
                  <a:pt x="230430" y="30545"/>
                </a:cubicBezTo>
                <a:cubicBezTo>
                  <a:pt x="230430" y="30545"/>
                  <a:pt x="232426" y="32544"/>
                  <a:pt x="234423" y="34543"/>
                </a:cubicBezTo>
                <a:cubicBezTo>
                  <a:pt x="236419" y="34543"/>
                  <a:pt x="238416" y="34543"/>
                  <a:pt x="240413" y="34543"/>
                </a:cubicBezTo>
                <a:cubicBezTo>
                  <a:pt x="242409" y="34543"/>
                  <a:pt x="246402" y="36542"/>
                  <a:pt x="248399" y="34543"/>
                </a:cubicBezTo>
                <a:cubicBezTo>
                  <a:pt x="250395" y="32544"/>
                  <a:pt x="248399" y="30545"/>
                  <a:pt x="250395" y="28546"/>
                </a:cubicBezTo>
                <a:cubicBezTo>
                  <a:pt x="252392" y="26547"/>
                  <a:pt x="254388" y="24548"/>
                  <a:pt x="254388" y="26547"/>
                </a:cubicBezTo>
                <a:cubicBezTo>
                  <a:pt x="256385" y="28546"/>
                  <a:pt x="260378" y="30545"/>
                  <a:pt x="262375" y="30545"/>
                </a:cubicBezTo>
                <a:cubicBezTo>
                  <a:pt x="262375" y="30545"/>
                  <a:pt x="268365" y="30545"/>
                  <a:pt x="270361" y="30545"/>
                </a:cubicBezTo>
                <a:cubicBezTo>
                  <a:pt x="272358" y="32544"/>
                  <a:pt x="274354" y="34543"/>
                  <a:pt x="276351" y="34543"/>
                </a:cubicBezTo>
                <a:cubicBezTo>
                  <a:pt x="278348" y="32544"/>
                  <a:pt x="278348" y="34543"/>
                  <a:pt x="278348" y="34543"/>
                </a:cubicBezTo>
                <a:cubicBezTo>
                  <a:pt x="278348" y="34543"/>
                  <a:pt x="282341" y="34543"/>
                  <a:pt x="284337" y="34543"/>
                </a:cubicBezTo>
                <a:cubicBezTo>
                  <a:pt x="284337" y="36542"/>
                  <a:pt x="284337" y="40540"/>
                  <a:pt x="284337" y="40540"/>
                </a:cubicBezTo>
                <a:cubicBezTo>
                  <a:pt x="284337" y="40540"/>
                  <a:pt x="282341" y="38541"/>
                  <a:pt x="282341" y="40540"/>
                </a:cubicBezTo>
                <a:cubicBezTo>
                  <a:pt x="282341" y="42540"/>
                  <a:pt x="280344" y="44539"/>
                  <a:pt x="282341" y="44539"/>
                </a:cubicBezTo>
                <a:cubicBezTo>
                  <a:pt x="282341" y="46538"/>
                  <a:pt x="286334" y="48537"/>
                  <a:pt x="288330" y="48537"/>
                </a:cubicBezTo>
                <a:cubicBezTo>
                  <a:pt x="288330" y="48537"/>
                  <a:pt x="292323" y="46538"/>
                  <a:pt x="292323" y="46538"/>
                </a:cubicBezTo>
                <a:cubicBezTo>
                  <a:pt x="292323" y="46538"/>
                  <a:pt x="294320" y="46538"/>
                  <a:pt x="294320" y="46538"/>
                </a:cubicBezTo>
                <a:cubicBezTo>
                  <a:pt x="294320" y="44539"/>
                  <a:pt x="292323" y="44539"/>
                  <a:pt x="294320" y="42540"/>
                </a:cubicBezTo>
                <a:cubicBezTo>
                  <a:pt x="296317" y="42540"/>
                  <a:pt x="298313" y="42540"/>
                  <a:pt x="298313" y="44539"/>
                </a:cubicBezTo>
                <a:cubicBezTo>
                  <a:pt x="300310" y="46538"/>
                  <a:pt x="304303" y="46538"/>
                  <a:pt x="304303" y="46538"/>
                </a:cubicBezTo>
                <a:cubicBezTo>
                  <a:pt x="304303" y="46538"/>
                  <a:pt x="308296" y="46538"/>
                  <a:pt x="314285" y="46538"/>
                </a:cubicBezTo>
                <a:cubicBezTo>
                  <a:pt x="318279" y="46538"/>
                  <a:pt x="320275" y="48537"/>
                  <a:pt x="320275" y="48537"/>
                </a:cubicBezTo>
                <a:cubicBezTo>
                  <a:pt x="320275" y="50536"/>
                  <a:pt x="322272" y="50536"/>
                  <a:pt x="322272" y="54534"/>
                </a:cubicBezTo>
                <a:cubicBezTo>
                  <a:pt x="324268" y="54534"/>
                  <a:pt x="324268" y="58532"/>
                  <a:pt x="322272" y="60531"/>
                </a:cubicBezTo>
                <a:cubicBezTo>
                  <a:pt x="322272" y="62530"/>
                  <a:pt x="312289" y="70527"/>
                  <a:pt x="310292" y="72526"/>
                </a:cubicBezTo>
                <a:cubicBezTo>
                  <a:pt x="308296" y="72526"/>
                  <a:pt x="300310" y="76524"/>
                  <a:pt x="298313" y="78523"/>
                </a:cubicBezTo>
                <a:cubicBezTo>
                  <a:pt x="296317" y="80522"/>
                  <a:pt x="284337" y="88518"/>
                  <a:pt x="280344" y="88518"/>
                </a:cubicBezTo>
                <a:cubicBezTo>
                  <a:pt x="278348" y="90517"/>
                  <a:pt x="268365" y="94515"/>
                  <a:pt x="264371" y="96515"/>
                </a:cubicBezTo>
                <a:cubicBezTo>
                  <a:pt x="260378" y="98514"/>
                  <a:pt x="252392" y="110508"/>
                  <a:pt x="252392" y="110508"/>
                </a:cubicBezTo>
                <a:cubicBezTo>
                  <a:pt x="252392" y="110508"/>
                  <a:pt x="238416" y="126501"/>
                  <a:pt x="234423" y="132498"/>
                </a:cubicBezTo>
                <a:cubicBezTo>
                  <a:pt x="230430" y="138495"/>
                  <a:pt x="228433" y="146491"/>
                  <a:pt x="228433" y="152489"/>
                </a:cubicBezTo>
                <a:cubicBezTo>
                  <a:pt x="228433" y="158486"/>
                  <a:pt x="238416" y="170480"/>
                  <a:pt x="238416" y="172479"/>
                </a:cubicBezTo>
                <a:cubicBezTo>
                  <a:pt x="240413" y="176478"/>
                  <a:pt x="236419" y="180476"/>
                  <a:pt x="232426" y="180476"/>
                </a:cubicBezTo>
                <a:cubicBezTo>
                  <a:pt x="228433" y="182475"/>
                  <a:pt x="226437" y="188472"/>
                  <a:pt x="226437" y="188472"/>
                </a:cubicBezTo>
                <a:cubicBezTo>
                  <a:pt x="226437" y="188472"/>
                  <a:pt x="220447" y="194469"/>
                  <a:pt x="222444" y="198468"/>
                </a:cubicBezTo>
                <a:cubicBezTo>
                  <a:pt x="222444" y="200467"/>
                  <a:pt x="220447" y="202466"/>
                  <a:pt x="220447" y="202466"/>
                </a:cubicBezTo>
                <a:cubicBezTo>
                  <a:pt x="218450" y="202466"/>
                  <a:pt x="218450" y="202466"/>
                  <a:pt x="216454" y="206464"/>
                </a:cubicBezTo>
                <a:cubicBezTo>
                  <a:pt x="214457" y="210462"/>
                  <a:pt x="218450" y="210462"/>
                  <a:pt x="218450" y="212461"/>
                </a:cubicBezTo>
                <a:cubicBezTo>
                  <a:pt x="218450" y="214460"/>
                  <a:pt x="214457" y="216459"/>
                  <a:pt x="210464" y="216459"/>
                </a:cubicBezTo>
                <a:cubicBezTo>
                  <a:pt x="208468" y="216459"/>
                  <a:pt x="206471" y="216459"/>
                  <a:pt x="202478" y="218458"/>
                </a:cubicBezTo>
                <a:cubicBezTo>
                  <a:pt x="196488" y="220457"/>
                  <a:pt x="194492" y="228454"/>
                  <a:pt x="194492" y="228454"/>
                </a:cubicBezTo>
                <a:cubicBezTo>
                  <a:pt x="194492" y="228454"/>
                  <a:pt x="190499" y="236450"/>
                  <a:pt x="186506" y="240448"/>
                </a:cubicBezTo>
                <a:cubicBezTo>
                  <a:pt x="184509" y="242447"/>
                  <a:pt x="186506" y="244446"/>
                  <a:pt x="184509" y="244446"/>
                </a:cubicBezTo>
                <a:cubicBezTo>
                  <a:pt x="182513" y="246445"/>
                  <a:pt x="178519" y="244446"/>
                  <a:pt x="178519" y="244446"/>
                </a:cubicBezTo>
                <a:cubicBezTo>
                  <a:pt x="178519" y="244446"/>
                  <a:pt x="174526" y="244446"/>
                  <a:pt x="172530" y="244446"/>
                </a:cubicBezTo>
                <a:cubicBezTo>
                  <a:pt x="172530" y="244446"/>
                  <a:pt x="168537" y="246445"/>
                  <a:pt x="166540" y="248444"/>
                </a:cubicBezTo>
                <a:cubicBezTo>
                  <a:pt x="164544" y="248444"/>
                  <a:pt x="158554" y="248444"/>
                  <a:pt x="156557" y="246445"/>
                </a:cubicBezTo>
                <a:cubicBezTo>
                  <a:pt x="152564" y="244446"/>
                  <a:pt x="150568" y="246445"/>
                  <a:pt x="150568" y="246445"/>
                </a:cubicBezTo>
                <a:cubicBezTo>
                  <a:pt x="150568" y="246445"/>
                  <a:pt x="144578" y="244446"/>
                  <a:pt x="142582" y="246445"/>
                </a:cubicBezTo>
                <a:cubicBezTo>
                  <a:pt x="140585" y="246445"/>
                  <a:pt x="136592" y="246445"/>
                  <a:pt x="132599" y="246445"/>
                </a:cubicBezTo>
                <a:cubicBezTo>
                  <a:pt x="126609" y="244446"/>
                  <a:pt x="124613" y="246445"/>
                  <a:pt x="120619" y="248444"/>
                </a:cubicBezTo>
                <a:cubicBezTo>
                  <a:pt x="114630" y="252443"/>
                  <a:pt x="114630" y="248444"/>
                  <a:pt x="110637" y="250443"/>
                </a:cubicBezTo>
                <a:cubicBezTo>
                  <a:pt x="104647" y="250443"/>
                  <a:pt x="104647" y="262438"/>
                  <a:pt x="104647" y="262438"/>
                </a:cubicBezTo>
                <a:cubicBezTo>
                  <a:pt x="104647" y="264437"/>
                  <a:pt x="102650" y="266436"/>
                  <a:pt x="100654" y="268435"/>
                </a:cubicBezTo>
                <a:cubicBezTo>
                  <a:pt x="96661" y="268435"/>
                  <a:pt x="96661" y="266436"/>
                  <a:pt x="96661" y="266436"/>
                </a:cubicBezTo>
                <a:cubicBezTo>
                  <a:pt x="96661" y="266436"/>
                  <a:pt x="92668" y="266436"/>
                  <a:pt x="90671" y="268435"/>
                </a:cubicBezTo>
                <a:cubicBezTo>
                  <a:pt x="88675" y="268435"/>
                  <a:pt x="86678" y="266436"/>
                  <a:pt x="84681" y="264437"/>
                </a:cubicBezTo>
                <a:cubicBezTo>
                  <a:pt x="84681" y="262438"/>
                  <a:pt x="80688" y="262438"/>
                  <a:pt x="80688" y="262438"/>
                </a:cubicBezTo>
                <a:cubicBezTo>
                  <a:pt x="80688" y="262438"/>
                  <a:pt x="78692" y="262438"/>
                  <a:pt x="76695" y="258440"/>
                </a:cubicBezTo>
                <a:cubicBezTo>
                  <a:pt x="74699" y="258440"/>
                  <a:pt x="76695" y="254442"/>
                  <a:pt x="76695" y="252443"/>
                </a:cubicBezTo>
                <a:cubicBezTo>
                  <a:pt x="76695" y="250443"/>
                  <a:pt x="76695" y="248444"/>
                  <a:pt x="74699" y="248444"/>
                </a:cubicBezTo>
                <a:cubicBezTo>
                  <a:pt x="70706" y="246445"/>
                  <a:pt x="70706" y="244446"/>
                  <a:pt x="70706" y="242447"/>
                </a:cubicBezTo>
                <a:cubicBezTo>
                  <a:pt x="70706" y="240448"/>
                  <a:pt x="68709" y="238449"/>
                  <a:pt x="68709" y="238449"/>
                </a:cubicBezTo>
                <a:cubicBezTo>
                  <a:pt x="68709" y="238449"/>
                  <a:pt x="64716" y="230453"/>
                  <a:pt x="60723" y="228454"/>
                </a:cubicBezTo>
                <a:cubicBezTo>
                  <a:pt x="58726" y="228454"/>
                  <a:pt x="54733" y="228454"/>
                  <a:pt x="52737" y="228454"/>
                </a:cubicBezTo>
                <a:cubicBezTo>
                  <a:pt x="52737" y="228454"/>
                  <a:pt x="50740" y="228454"/>
                  <a:pt x="50740" y="228454"/>
                </a:cubicBezTo>
                <a:cubicBezTo>
                  <a:pt x="50740" y="228454"/>
                  <a:pt x="56730" y="222456"/>
                  <a:pt x="56730" y="222456"/>
                </a:cubicBezTo>
                <a:cubicBezTo>
                  <a:pt x="56730" y="220457"/>
                  <a:pt x="54733" y="220457"/>
                  <a:pt x="54733" y="218458"/>
                </a:cubicBezTo>
                <a:cubicBezTo>
                  <a:pt x="54733" y="216459"/>
                  <a:pt x="54733" y="214460"/>
                  <a:pt x="54733" y="212461"/>
                </a:cubicBezTo>
                <a:cubicBezTo>
                  <a:pt x="54733" y="210462"/>
                  <a:pt x="54733" y="210462"/>
                  <a:pt x="54733" y="208463"/>
                </a:cubicBezTo>
                <a:cubicBezTo>
                  <a:pt x="56730" y="206464"/>
                  <a:pt x="58726" y="198468"/>
                  <a:pt x="60723" y="196468"/>
                </a:cubicBezTo>
                <a:cubicBezTo>
                  <a:pt x="60723" y="194469"/>
                  <a:pt x="62719" y="186473"/>
                  <a:pt x="60723" y="184474"/>
                </a:cubicBezTo>
                <a:cubicBezTo>
                  <a:pt x="60723" y="182475"/>
                  <a:pt x="60723" y="172479"/>
                  <a:pt x="60723" y="168481"/>
                </a:cubicBezTo>
                <a:cubicBezTo>
                  <a:pt x="60723" y="162484"/>
                  <a:pt x="62719" y="160485"/>
                  <a:pt x="62719" y="160485"/>
                </a:cubicBezTo>
                <a:cubicBezTo>
                  <a:pt x="62719" y="158486"/>
                  <a:pt x="64716" y="150489"/>
                  <a:pt x="64716" y="148490"/>
                </a:cubicBezTo>
                <a:cubicBezTo>
                  <a:pt x="64716" y="148490"/>
                  <a:pt x="64716" y="142493"/>
                  <a:pt x="64716" y="138495"/>
                </a:cubicBezTo>
                <a:cubicBezTo>
                  <a:pt x="62719" y="134497"/>
                  <a:pt x="64716" y="128500"/>
                  <a:pt x="64716" y="126501"/>
                </a:cubicBezTo>
                <a:cubicBezTo>
                  <a:pt x="64716" y="122502"/>
                  <a:pt x="66713" y="114506"/>
                  <a:pt x="66713" y="110508"/>
                </a:cubicBezTo>
                <a:cubicBezTo>
                  <a:pt x="66713" y="108509"/>
                  <a:pt x="66713" y="106510"/>
                  <a:pt x="66713" y="102512"/>
                </a:cubicBezTo>
                <a:cubicBezTo>
                  <a:pt x="66713" y="100513"/>
                  <a:pt x="68709" y="98514"/>
                  <a:pt x="68709" y="94515"/>
                </a:cubicBezTo>
                <a:cubicBezTo>
                  <a:pt x="68709" y="90517"/>
                  <a:pt x="72702" y="86519"/>
                  <a:pt x="72702" y="86519"/>
                </a:cubicBezTo>
                <a:cubicBezTo>
                  <a:pt x="72702" y="86519"/>
                  <a:pt x="78692" y="76524"/>
                  <a:pt x="78692" y="74525"/>
                </a:cubicBezTo>
                <a:cubicBezTo>
                  <a:pt x="78692" y="72526"/>
                  <a:pt x="76695" y="70527"/>
                  <a:pt x="76695" y="70527"/>
                </a:cubicBezTo>
                <a:cubicBezTo>
                  <a:pt x="74699" y="68527"/>
                  <a:pt x="72702" y="68527"/>
                  <a:pt x="70706" y="66528"/>
                </a:cubicBezTo>
                <a:cubicBezTo>
                  <a:pt x="68709" y="66528"/>
                  <a:pt x="64716" y="62530"/>
                  <a:pt x="64716" y="62530"/>
                </a:cubicBezTo>
                <a:cubicBezTo>
                  <a:pt x="62719" y="62530"/>
                  <a:pt x="58726" y="64529"/>
                  <a:pt x="56730" y="64529"/>
                </a:cubicBezTo>
                <a:cubicBezTo>
                  <a:pt x="56730" y="64529"/>
                  <a:pt x="54733" y="62530"/>
                  <a:pt x="52737" y="62530"/>
                </a:cubicBezTo>
                <a:cubicBezTo>
                  <a:pt x="50740" y="62530"/>
                  <a:pt x="48744" y="62530"/>
                  <a:pt x="46747" y="64529"/>
                </a:cubicBezTo>
                <a:cubicBezTo>
                  <a:pt x="44750" y="64529"/>
                  <a:pt x="42754" y="66528"/>
                  <a:pt x="38761" y="66528"/>
                </a:cubicBezTo>
                <a:cubicBezTo>
                  <a:pt x="36764" y="66528"/>
                  <a:pt x="36764" y="64529"/>
                  <a:pt x="36764" y="62530"/>
                </a:cubicBezTo>
                <a:cubicBezTo>
                  <a:pt x="36764" y="58532"/>
                  <a:pt x="34768" y="54534"/>
                  <a:pt x="34768" y="54534"/>
                </a:cubicBezTo>
                <a:cubicBezTo>
                  <a:pt x="34768" y="52535"/>
                  <a:pt x="32771" y="52535"/>
                  <a:pt x="30775" y="54534"/>
                </a:cubicBezTo>
                <a:cubicBezTo>
                  <a:pt x="28778" y="54534"/>
                  <a:pt x="26781" y="54534"/>
                  <a:pt x="24785" y="54534"/>
                </a:cubicBezTo>
                <a:cubicBezTo>
                  <a:pt x="24785" y="54534"/>
                  <a:pt x="8813" y="50536"/>
                  <a:pt x="10809" y="54534"/>
                </a:cubicBezTo>
                <a:cubicBezTo>
                  <a:pt x="6816" y="50536"/>
                  <a:pt x="10809" y="48537"/>
                  <a:pt x="10809" y="48537"/>
                </a:cubicBezTo>
                <a:cubicBezTo>
                  <a:pt x="10809" y="48537"/>
                  <a:pt x="10809" y="42540"/>
                  <a:pt x="10809" y="42540"/>
                </a:cubicBezTo>
                <a:cubicBezTo>
                  <a:pt x="10809" y="40540"/>
                  <a:pt x="8813" y="40540"/>
                  <a:pt x="8813" y="40540"/>
                </a:cubicBezTo>
                <a:cubicBezTo>
                  <a:pt x="8813" y="40540"/>
                  <a:pt x="6816" y="42540"/>
                  <a:pt x="4820" y="40540"/>
                </a:cubicBezTo>
                <a:cubicBezTo>
                  <a:pt x="2823" y="40540"/>
                  <a:pt x="2823" y="36542"/>
                  <a:pt x="2823" y="36542"/>
                </a:cubicBezTo>
                <a:cubicBezTo>
                  <a:pt x="2823" y="36542"/>
                  <a:pt x="826" y="30545"/>
                  <a:pt x="826" y="28546"/>
                </a:cubicBezTo>
                <a:cubicBezTo>
                  <a:pt x="-1170" y="24548"/>
                  <a:pt x="826" y="20550"/>
                  <a:pt x="2823" y="18551"/>
                </a:cubicBezTo>
                <a:cubicBezTo>
                  <a:pt x="6816" y="14552"/>
                  <a:pt x="8813" y="16552"/>
                  <a:pt x="8813" y="16552"/>
                </a:cubicBezTo>
                <a:cubicBezTo>
                  <a:pt x="8813" y="16552"/>
                  <a:pt x="12806" y="16552"/>
                  <a:pt x="14802" y="14552"/>
                </a:cubicBezTo>
                <a:cubicBezTo>
                  <a:pt x="14802" y="12553"/>
                  <a:pt x="20792" y="12553"/>
                  <a:pt x="20792" y="12553"/>
                </a:cubicBezTo>
                <a:cubicBezTo>
                  <a:pt x="20792" y="12553"/>
                  <a:pt x="22788" y="14552"/>
                  <a:pt x="24785" y="12553"/>
                </a:cubicBezTo>
                <a:cubicBezTo>
                  <a:pt x="26781" y="10554"/>
                  <a:pt x="24785" y="8555"/>
                  <a:pt x="22788" y="6556"/>
                </a:cubicBezTo>
                <a:cubicBezTo>
                  <a:pt x="22788" y="4557"/>
                  <a:pt x="24785" y="4557"/>
                  <a:pt x="26781" y="4557"/>
                </a:cubicBezTo>
                <a:cubicBezTo>
                  <a:pt x="28778" y="4557"/>
                  <a:pt x="32771" y="559"/>
                  <a:pt x="32771" y="55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3" name="France"/>
          <p:cNvSpPr>
            <a:spLocks/>
          </p:cNvSpPr>
          <p:nvPr/>
        </p:nvSpPr>
        <p:spPr bwMode="auto">
          <a:xfrm>
            <a:off x="6068797" y="2319621"/>
            <a:ext cx="372368" cy="372504"/>
          </a:xfrm>
          <a:custGeom>
            <a:avLst/>
            <a:gdLst>
              <a:gd name="connsiteX0" fmla="*/ 354135 w 361950"/>
              <a:gd name="connsiteY0" fmla="*/ 308108 h 362083"/>
              <a:gd name="connsiteX1" fmla="*/ 358043 w 361950"/>
              <a:gd name="connsiteY1" fmla="*/ 312106 h 362083"/>
              <a:gd name="connsiteX2" fmla="*/ 361950 w 361950"/>
              <a:gd name="connsiteY2" fmla="*/ 318103 h 362083"/>
              <a:gd name="connsiteX3" fmla="*/ 359996 w 361950"/>
              <a:gd name="connsiteY3" fmla="*/ 326100 h 362083"/>
              <a:gd name="connsiteX4" fmla="*/ 359996 w 361950"/>
              <a:gd name="connsiteY4" fmla="*/ 332097 h 362083"/>
              <a:gd name="connsiteX5" fmla="*/ 358043 w 361950"/>
              <a:gd name="connsiteY5" fmla="*/ 334096 h 362083"/>
              <a:gd name="connsiteX6" fmla="*/ 356089 w 361950"/>
              <a:gd name="connsiteY6" fmla="*/ 338094 h 362083"/>
              <a:gd name="connsiteX7" fmla="*/ 358043 w 361950"/>
              <a:gd name="connsiteY7" fmla="*/ 342092 h 362083"/>
              <a:gd name="connsiteX8" fmla="*/ 358043 w 361950"/>
              <a:gd name="connsiteY8" fmla="*/ 346091 h 362083"/>
              <a:gd name="connsiteX9" fmla="*/ 356089 w 361950"/>
              <a:gd name="connsiteY9" fmla="*/ 352088 h 362083"/>
              <a:gd name="connsiteX10" fmla="*/ 356089 w 361950"/>
              <a:gd name="connsiteY10" fmla="*/ 358085 h 362083"/>
              <a:gd name="connsiteX11" fmla="*/ 354135 w 361950"/>
              <a:gd name="connsiteY11" fmla="*/ 362083 h 362083"/>
              <a:gd name="connsiteX12" fmla="*/ 350227 w 361950"/>
              <a:gd name="connsiteY12" fmla="*/ 362083 h 362083"/>
              <a:gd name="connsiteX13" fmla="*/ 346319 w 361950"/>
              <a:gd name="connsiteY13" fmla="*/ 360084 h 362083"/>
              <a:gd name="connsiteX14" fmla="*/ 344366 w 361950"/>
              <a:gd name="connsiteY14" fmla="*/ 356086 h 362083"/>
              <a:gd name="connsiteX15" fmla="*/ 342412 w 361950"/>
              <a:gd name="connsiteY15" fmla="*/ 352088 h 362083"/>
              <a:gd name="connsiteX16" fmla="*/ 342412 w 361950"/>
              <a:gd name="connsiteY16" fmla="*/ 350089 h 362083"/>
              <a:gd name="connsiteX17" fmla="*/ 340458 w 361950"/>
              <a:gd name="connsiteY17" fmla="*/ 348090 h 362083"/>
              <a:gd name="connsiteX18" fmla="*/ 336550 w 361950"/>
              <a:gd name="connsiteY18" fmla="*/ 346091 h 362083"/>
              <a:gd name="connsiteX19" fmla="*/ 336550 w 361950"/>
              <a:gd name="connsiteY19" fmla="*/ 342092 h 362083"/>
              <a:gd name="connsiteX20" fmla="*/ 336550 w 361950"/>
              <a:gd name="connsiteY20" fmla="*/ 336095 h 362083"/>
              <a:gd name="connsiteX21" fmla="*/ 336550 w 361950"/>
              <a:gd name="connsiteY21" fmla="*/ 332097 h 362083"/>
              <a:gd name="connsiteX22" fmla="*/ 336550 w 361950"/>
              <a:gd name="connsiteY22" fmla="*/ 324101 h 362083"/>
              <a:gd name="connsiteX23" fmla="*/ 338504 w 361950"/>
              <a:gd name="connsiteY23" fmla="*/ 318103 h 362083"/>
              <a:gd name="connsiteX24" fmla="*/ 340458 w 361950"/>
              <a:gd name="connsiteY24" fmla="*/ 314105 h 362083"/>
              <a:gd name="connsiteX25" fmla="*/ 342412 w 361950"/>
              <a:gd name="connsiteY25" fmla="*/ 310107 h 362083"/>
              <a:gd name="connsiteX26" fmla="*/ 346319 w 361950"/>
              <a:gd name="connsiteY26" fmla="*/ 310107 h 362083"/>
              <a:gd name="connsiteX27" fmla="*/ 350227 w 361950"/>
              <a:gd name="connsiteY27" fmla="*/ 310107 h 362083"/>
              <a:gd name="connsiteX28" fmla="*/ 354135 w 361950"/>
              <a:gd name="connsiteY28" fmla="*/ 308108 h 362083"/>
              <a:gd name="connsiteX29" fmla="*/ 301171 w 361950"/>
              <a:gd name="connsiteY29" fmla="*/ 259697 h 362083"/>
              <a:gd name="connsiteX30" fmla="*/ 301546 w 361950"/>
              <a:gd name="connsiteY30" fmla="*/ 259954 h 362083"/>
              <a:gd name="connsiteX31" fmla="*/ 301714 w 361950"/>
              <a:gd name="connsiteY31" fmla="*/ 260032 h 362083"/>
              <a:gd name="connsiteX32" fmla="*/ 183453 w 361950"/>
              <a:gd name="connsiteY32" fmla="*/ 544 h 362083"/>
              <a:gd name="connsiteX33" fmla="*/ 187441 w 361950"/>
              <a:gd name="connsiteY33" fmla="*/ 4542 h 362083"/>
              <a:gd name="connsiteX34" fmla="*/ 189435 w 361950"/>
              <a:gd name="connsiteY34" fmla="*/ 10539 h 362083"/>
              <a:gd name="connsiteX35" fmla="*/ 193423 w 361950"/>
              <a:gd name="connsiteY35" fmla="*/ 12538 h 362083"/>
              <a:gd name="connsiteX36" fmla="*/ 201399 w 361950"/>
              <a:gd name="connsiteY36" fmla="*/ 16537 h 362083"/>
              <a:gd name="connsiteX37" fmla="*/ 205387 w 361950"/>
              <a:gd name="connsiteY37" fmla="*/ 20535 h 362083"/>
              <a:gd name="connsiteX38" fmla="*/ 211370 w 361950"/>
              <a:gd name="connsiteY38" fmla="*/ 20535 h 362083"/>
              <a:gd name="connsiteX39" fmla="*/ 211370 w 361950"/>
              <a:gd name="connsiteY39" fmla="*/ 24533 h 362083"/>
              <a:gd name="connsiteX40" fmla="*/ 219346 w 361950"/>
              <a:gd name="connsiteY40" fmla="*/ 24533 h 362083"/>
              <a:gd name="connsiteX41" fmla="*/ 225328 w 361950"/>
              <a:gd name="connsiteY41" fmla="*/ 26532 h 362083"/>
              <a:gd name="connsiteX42" fmla="*/ 231310 w 361950"/>
              <a:gd name="connsiteY42" fmla="*/ 28531 h 362083"/>
              <a:gd name="connsiteX43" fmla="*/ 237292 w 361950"/>
              <a:gd name="connsiteY43" fmla="*/ 34528 h 362083"/>
              <a:gd name="connsiteX44" fmla="*/ 239286 w 361950"/>
              <a:gd name="connsiteY44" fmla="*/ 42525 h 362083"/>
              <a:gd name="connsiteX45" fmla="*/ 245269 w 361950"/>
              <a:gd name="connsiteY45" fmla="*/ 44524 h 362083"/>
              <a:gd name="connsiteX46" fmla="*/ 253245 w 361950"/>
              <a:gd name="connsiteY46" fmla="*/ 50521 h 362083"/>
              <a:gd name="connsiteX47" fmla="*/ 263215 w 361950"/>
              <a:gd name="connsiteY47" fmla="*/ 50521 h 362083"/>
              <a:gd name="connsiteX48" fmla="*/ 267203 w 361950"/>
              <a:gd name="connsiteY48" fmla="*/ 52520 h 362083"/>
              <a:gd name="connsiteX49" fmla="*/ 269197 w 361950"/>
              <a:gd name="connsiteY49" fmla="*/ 58517 h 362083"/>
              <a:gd name="connsiteX50" fmla="*/ 273185 w 361950"/>
              <a:gd name="connsiteY50" fmla="*/ 60516 h 362083"/>
              <a:gd name="connsiteX51" fmla="*/ 275179 w 361950"/>
              <a:gd name="connsiteY51" fmla="*/ 62515 h 362083"/>
              <a:gd name="connsiteX52" fmla="*/ 279167 w 361950"/>
              <a:gd name="connsiteY52" fmla="*/ 62515 h 362083"/>
              <a:gd name="connsiteX53" fmla="*/ 281162 w 361950"/>
              <a:gd name="connsiteY53" fmla="*/ 66513 h 362083"/>
              <a:gd name="connsiteX54" fmla="*/ 287144 w 361950"/>
              <a:gd name="connsiteY54" fmla="*/ 66513 h 362083"/>
              <a:gd name="connsiteX55" fmla="*/ 291132 w 361950"/>
              <a:gd name="connsiteY55" fmla="*/ 64514 h 362083"/>
              <a:gd name="connsiteX56" fmla="*/ 295120 w 361950"/>
              <a:gd name="connsiteY56" fmla="*/ 66513 h 362083"/>
              <a:gd name="connsiteX57" fmla="*/ 299108 w 361950"/>
              <a:gd name="connsiteY57" fmla="*/ 64514 h 362083"/>
              <a:gd name="connsiteX58" fmla="*/ 305091 w 361950"/>
              <a:gd name="connsiteY58" fmla="*/ 68512 h 362083"/>
              <a:gd name="connsiteX59" fmla="*/ 311073 w 361950"/>
              <a:gd name="connsiteY59" fmla="*/ 70512 h 362083"/>
              <a:gd name="connsiteX60" fmla="*/ 315061 w 361950"/>
              <a:gd name="connsiteY60" fmla="*/ 72511 h 362083"/>
              <a:gd name="connsiteX61" fmla="*/ 317055 w 361950"/>
              <a:gd name="connsiteY61" fmla="*/ 78508 h 362083"/>
              <a:gd name="connsiteX62" fmla="*/ 323037 w 361950"/>
              <a:gd name="connsiteY62" fmla="*/ 80507 h 362083"/>
              <a:gd name="connsiteX63" fmla="*/ 325031 w 361950"/>
              <a:gd name="connsiteY63" fmla="*/ 96500 h 362083"/>
              <a:gd name="connsiteX64" fmla="*/ 319049 w 361950"/>
              <a:gd name="connsiteY64" fmla="*/ 106495 h 362083"/>
              <a:gd name="connsiteX65" fmla="*/ 313067 w 361950"/>
              <a:gd name="connsiteY65" fmla="*/ 118489 h 362083"/>
              <a:gd name="connsiteX66" fmla="*/ 315061 w 361950"/>
              <a:gd name="connsiteY66" fmla="*/ 134482 h 362083"/>
              <a:gd name="connsiteX67" fmla="*/ 319049 w 361950"/>
              <a:gd name="connsiteY67" fmla="*/ 140479 h 362083"/>
              <a:gd name="connsiteX68" fmla="*/ 315061 w 361950"/>
              <a:gd name="connsiteY68" fmla="*/ 144477 h 362083"/>
              <a:gd name="connsiteX69" fmla="*/ 307085 w 361950"/>
              <a:gd name="connsiteY69" fmla="*/ 146476 h 362083"/>
              <a:gd name="connsiteX70" fmla="*/ 299108 w 361950"/>
              <a:gd name="connsiteY70" fmla="*/ 150474 h 362083"/>
              <a:gd name="connsiteX71" fmla="*/ 293126 w 361950"/>
              <a:gd name="connsiteY71" fmla="*/ 156472 h 362083"/>
              <a:gd name="connsiteX72" fmla="*/ 291132 w 361950"/>
              <a:gd name="connsiteY72" fmla="*/ 168466 h 362083"/>
              <a:gd name="connsiteX73" fmla="*/ 293126 w 361950"/>
              <a:gd name="connsiteY73" fmla="*/ 174463 h 362083"/>
              <a:gd name="connsiteX74" fmla="*/ 293126 w 361950"/>
              <a:gd name="connsiteY74" fmla="*/ 192455 h 362083"/>
              <a:gd name="connsiteX75" fmla="*/ 291132 w 361950"/>
              <a:gd name="connsiteY75" fmla="*/ 194454 h 362083"/>
              <a:gd name="connsiteX76" fmla="*/ 295120 w 361950"/>
              <a:gd name="connsiteY76" fmla="*/ 202450 h 362083"/>
              <a:gd name="connsiteX77" fmla="*/ 295120 w 361950"/>
              <a:gd name="connsiteY77" fmla="*/ 206449 h 362083"/>
              <a:gd name="connsiteX78" fmla="*/ 301103 w 361950"/>
              <a:gd name="connsiteY78" fmla="*/ 214445 h 362083"/>
              <a:gd name="connsiteX79" fmla="*/ 295120 w 361950"/>
              <a:gd name="connsiteY79" fmla="*/ 214445 h 362083"/>
              <a:gd name="connsiteX80" fmla="*/ 291132 w 361950"/>
              <a:gd name="connsiteY80" fmla="*/ 214445 h 362083"/>
              <a:gd name="connsiteX81" fmla="*/ 289138 w 361950"/>
              <a:gd name="connsiteY81" fmla="*/ 214445 h 362083"/>
              <a:gd name="connsiteX82" fmla="*/ 283156 w 361950"/>
              <a:gd name="connsiteY82" fmla="*/ 216444 h 362083"/>
              <a:gd name="connsiteX83" fmla="*/ 283156 w 361950"/>
              <a:gd name="connsiteY83" fmla="*/ 222441 h 362083"/>
              <a:gd name="connsiteX84" fmla="*/ 291132 w 361950"/>
              <a:gd name="connsiteY84" fmla="*/ 230437 h 362083"/>
              <a:gd name="connsiteX85" fmla="*/ 291132 w 361950"/>
              <a:gd name="connsiteY85" fmla="*/ 240433 h 362083"/>
              <a:gd name="connsiteX86" fmla="*/ 291132 w 361950"/>
              <a:gd name="connsiteY86" fmla="*/ 248429 h 362083"/>
              <a:gd name="connsiteX87" fmla="*/ 295120 w 361950"/>
              <a:gd name="connsiteY87" fmla="*/ 252427 h 362083"/>
              <a:gd name="connsiteX88" fmla="*/ 303097 w 361950"/>
              <a:gd name="connsiteY88" fmla="*/ 252427 h 362083"/>
              <a:gd name="connsiteX89" fmla="*/ 307085 w 361950"/>
              <a:gd name="connsiteY89" fmla="*/ 252427 h 362083"/>
              <a:gd name="connsiteX90" fmla="*/ 307085 w 361950"/>
              <a:gd name="connsiteY90" fmla="*/ 262423 h 362083"/>
              <a:gd name="connsiteX91" fmla="*/ 304419 w 361950"/>
              <a:gd name="connsiteY91" fmla="*/ 261298 h 362083"/>
              <a:gd name="connsiteX92" fmla="*/ 306070 w 361950"/>
              <a:gd name="connsiteY92" fmla="*/ 262070 h 362083"/>
              <a:gd name="connsiteX93" fmla="*/ 307975 w 361950"/>
              <a:gd name="connsiteY93" fmla="*/ 266303 h 362083"/>
              <a:gd name="connsiteX94" fmla="*/ 307975 w 361950"/>
              <a:gd name="connsiteY94" fmla="*/ 272653 h 362083"/>
              <a:gd name="connsiteX95" fmla="*/ 306850 w 361950"/>
              <a:gd name="connsiteY95" fmla="*/ 272653 h 362083"/>
              <a:gd name="connsiteX96" fmla="*/ 301103 w 361950"/>
              <a:gd name="connsiteY96" fmla="*/ 278416 h 362083"/>
              <a:gd name="connsiteX97" fmla="*/ 293126 w 361950"/>
              <a:gd name="connsiteY97" fmla="*/ 284413 h 362083"/>
              <a:gd name="connsiteX98" fmla="*/ 289138 w 361950"/>
              <a:gd name="connsiteY98" fmla="*/ 290410 h 362083"/>
              <a:gd name="connsiteX99" fmla="*/ 287144 w 361950"/>
              <a:gd name="connsiteY99" fmla="*/ 294408 h 362083"/>
              <a:gd name="connsiteX100" fmla="*/ 281162 w 361950"/>
              <a:gd name="connsiteY100" fmla="*/ 298406 h 362083"/>
              <a:gd name="connsiteX101" fmla="*/ 275179 w 361950"/>
              <a:gd name="connsiteY101" fmla="*/ 298406 h 362083"/>
              <a:gd name="connsiteX102" fmla="*/ 267203 w 361950"/>
              <a:gd name="connsiteY102" fmla="*/ 298406 h 362083"/>
              <a:gd name="connsiteX103" fmla="*/ 257233 w 361950"/>
              <a:gd name="connsiteY103" fmla="*/ 290410 h 362083"/>
              <a:gd name="connsiteX104" fmla="*/ 247263 w 361950"/>
              <a:gd name="connsiteY104" fmla="*/ 286412 h 362083"/>
              <a:gd name="connsiteX105" fmla="*/ 249257 w 361950"/>
              <a:gd name="connsiteY105" fmla="*/ 284413 h 362083"/>
              <a:gd name="connsiteX106" fmla="*/ 249257 w 361950"/>
              <a:gd name="connsiteY106" fmla="*/ 278416 h 362083"/>
              <a:gd name="connsiteX107" fmla="*/ 241280 w 361950"/>
              <a:gd name="connsiteY107" fmla="*/ 282414 h 362083"/>
              <a:gd name="connsiteX108" fmla="*/ 233304 w 361950"/>
              <a:gd name="connsiteY108" fmla="*/ 282414 h 362083"/>
              <a:gd name="connsiteX109" fmla="*/ 227322 w 361950"/>
              <a:gd name="connsiteY109" fmla="*/ 278416 h 362083"/>
              <a:gd name="connsiteX110" fmla="*/ 217352 w 361950"/>
              <a:gd name="connsiteY110" fmla="*/ 280415 h 362083"/>
              <a:gd name="connsiteX111" fmla="*/ 211370 w 361950"/>
              <a:gd name="connsiteY111" fmla="*/ 286412 h 362083"/>
              <a:gd name="connsiteX112" fmla="*/ 203393 w 361950"/>
              <a:gd name="connsiteY112" fmla="*/ 286412 h 362083"/>
              <a:gd name="connsiteX113" fmla="*/ 201399 w 361950"/>
              <a:gd name="connsiteY113" fmla="*/ 292409 h 362083"/>
              <a:gd name="connsiteX114" fmla="*/ 201399 w 361950"/>
              <a:gd name="connsiteY114" fmla="*/ 298406 h 362083"/>
              <a:gd name="connsiteX115" fmla="*/ 199405 w 361950"/>
              <a:gd name="connsiteY115" fmla="*/ 308402 h 362083"/>
              <a:gd name="connsiteX116" fmla="*/ 205387 w 361950"/>
              <a:gd name="connsiteY116" fmla="*/ 318397 h 362083"/>
              <a:gd name="connsiteX117" fmla="*/ 205387 w 361950"/>
              <a:gd name="connsiteY117" fmla="*/ 322395 h 362083"/>
              <a:gd name="connsiteX118" fmla="*/ 199405 w 361950"/>
              <a:gd name="connsiteY118" fmla="*/ 320396 h 362083"/>
              <a:gd name="connsiteX119" fmla="*/ 189435 w 361950"/>
              <a:gd name="connsiteY119" fmla="*/ 320396 h 362083"/>
              <a:gd name="connsiteX120" fmla="*/ 183453 w 361950"/>
              <a:gd name="connsiteY120" fmla="*/ 318397 h 362083"/>
              <a:gd name="connsiteX121" fmla="*/ 179465 w 361950"/>
              <a:gd name="connsiteY121" fmla="*/ 316398 h 362083"/>
              <a:gd name="connsiteX122" fmla="*/ 179465 w 361950"/>
              <a:gd name="connsiteY122" fmla="*/ 320396 h 362083"/>
              <a:gd name="connsiteX123" fmla="*/ 177471 w 361950"/>
              <a:gd name="connsiteY123" fmla="*/ 320396 h 362083"/>
              <a:gd name="connsiteX124" fmla="*/ 173483 w 361950"/>
              <a:gd name="connsiteY124" fmla="*/ 322395 h 362083"/>
              <a:gd name="connsiteX125" fmla="*/ 167500 w 361950"/>
              <a:gd name="connsiteY125" fmla="*/ 318397 h 362083"/>
              <a:gd name="connsiteX126" fmla="*/ 167500 w 361950"/>
              <a:gd name="connsiteY126" fmla="*/ 314399 h 362083"/>
              <a:gd name="connsiteX127" fmla="*/ 169494 w 361950"/>
              <a:gd name="connsiteY127" fmla="*/ 314399 h 362083"/>
              <a:gd name="connsiteX128" fmla="*/ 169494 w 361950"/>
              <a:gd name="connsiteY128" fmla="*/ 308402 h 362083"/>
              <a:gd name="connsiteX129" fmla="*/ 163512 w 361950"/>
              <a:gd name="connsiteY129" fmla="*/ 308402 h 362083"/>
              <a:gd name="connsiteX130" fmla="*/ 161518 w 361950"/>
              <a:gd name="connsiteY130" fmla="*/ 308402 h 362083"/>
              <a:gd name="connsiteX131" fmla="*/ 155536 w 361950"/>
              <a:gd name="connsiteY131" fmla="*/ 304403 h 362083"/>
              <a:gd name="connsiteX132" fmla="*/ 147560 w 361950"/>
              <a:gd name="connsiteY132" fmla="*/ 304403 h 362083"/>
              <a:gd name="connsiteX133" fmla="*/ 139584 w 361950"/>
              <a:gd name="connsiteY133" fmla="*/ 300405 h 362083"/>
              <a:gd name="connsiteX134" fmla="*/ 135595 w 361950"/>
              <a:gd name="connsiteY134" fmla="*/ 302404 h 362083"/>
              <a:gd name="connsiteX135" fmla="*/ 133601 w 361950"/>
              <a:gd name="connsiteY135" fmla="*/ 308402 h 362083"/>
              <a:gd name="connsiteX136" fmla="*/ 125625 w 361950"/>
              <a:gd name="connsiteY136" fmla="*/ 308402 h 362083"/>
              <a:gd name="connsiteX137" fmla="*/ 119643 w 361950"/>
              <a:gd name="connsiteY137" fmla="*/ 308402 h 362083"/>
              <a:gd name="connsiteX138" fmla="*/ 115655 w 361950"/>
              <a:gd name="connsiteY138" fmla="*/ 304403 h 362083"/>
              <a:gd name="connsiteX139" fmla="*/ 109673 w 361950"/>
              <a:gd name="connsiteY139" fmla="*/ 304403 h 362083"/>
              <a:gd name="connsiteX140" fmla="*/ 105685 w 361950"/>
              <a:gd name="connsiteY140" fmla="*/ 302404 h 362083"/>
              <a:gd name="connsiteX141" fmla="*/ 97708 w 361950"/>
              <a:gd name="connsiteY141" fmla="*/ 300405 h 362083"/>
              <a:gd name="connsiteX142" fmla="*/ 91726 w 361950"/>
              <a:gd name="connsiteY142" fmla="*/ 296407 h 362083"/>
              <a:gd name="connsiteX143" fmla="*/ 87738 w 361950"/>
              <a:gd name="connsiteY143" fmla="*/ 292409 h 362083"/>
              <a:gd name="connsiteX144" fmla="*/ 83750 w 361950"/>
              <a:gd name="connsiteY144" fmla="*/ 290410 h 362083"/>
              <a:gd name="connsiteX145" fmla="*/ 77768 w 361950"/>
              <a:gd name="connsiteY145" fmla="*/ 288411 h 362083"/>
              <a:gd name="connsiteX146" fmla="*/ 75774 w 361950"/>
              <a:gd name="connsiteY146" fmla="*/ 286412 h 362083"/>
              <a:gd name="connsiteX147" fmla="*/ 77768 w 361950"/>
              <a:gd name="connsiteY147" fmla="*/ 282414 h 362083"/>
              <a:gd name="connsiteX148" fmla="*/ 81756 w 361950"/>
              <a:gd name="connsiteY148" fmla="*/ 268420 h 362083"/>
              <a:gd name="connsiteX149" fmla="*/ 83750 w 361950"/>
              <a:gd name="connsiteY149" fmla="*/ 260424 h 362083"/>
              <a:gd name="connsiteX150" fmla="*/ 83750 w 361950"/>
              <a:gd name="connsiteY150" fmla="*/ 256426 h 362083"/>
              <a:gd name="connsiteX151" fmla="*/ 85744 w 361950"/>
              <a:gd name="connsiteY151" fmla="*/ 246430 h 362083"/>
              <a:gd name="connsiteX152" fmla="*/ 87738 w 361950"/>
              <a:gd name="connsiteY152" fmla="*/ 242432 h 362083"/>
              <a:gd name="connsiteX153" fmla="*/ 93720 w 361950"/>
              <a:gd name="connsiteY153" fmla="*/ 238434 h 362083"/>
              <a:gd name="connsiteX154" fmla="*/ 91726 w 361950"/>
              <a:gd name="connsiteY154" fmla="*/ 234436 h 362083"/>
              <a:gd name="connsiteX155" fmla="*/ 87738 w 361950"/>
              <a:gd name="connsiteY155" fmla="*/ 230437 h 362083"/>
              <a:gd name="connsiteX156" fmla="*/ 87738 w 361950"/>
              <a:gd name="connsiteY156" fmla="*/ 222441 h 362083"/>
              <a:gd name="connsiteX157" fmla="*/ 87738 w 361950"/>
              <a:gd name="connsiteY157" fmla="*/ 218443 h 362083"/>
              <a:gd name="connsiteX158" fmla="*/ 87738 w 361950"/>
              <a:gd name="connsiteY158" fmla="*/ 212446 h 362083"/>
              <a:gd name="connsiteX159" fmla="*/ 91726 w 361950"/>
              <a:gd name="connsiteY159" fmla="*/ 208448 h 362083"/>
              <a:gd name="connsiteX160" fmla="*/ 97708 w 361950"/>
              <a:gd name="connsiteY160" fmla="*/ 212446 h 362083"/>
              <a:gd name="connsiteX161" fmla="*/ 101697 w 361950"/>
              <a:gd name="connsiteY161" fmla="*/ 210447 h 362083"/>
              <a:gd name="connsiteX162" fmla="*/ 93720 w 361950"/>
              <a:gd name="connsiteY162" fmla="*/ 206449 h 362083"/>
              <a:gd name="connsiteX163" fmla="*/ 91726 w 361950"/>
              <a:gd name="connsiteY163" fmla="*/ 202450 h 362083"/>
              <a:gd name="connsiteX164" fmla="*/ 91726 w 361950"/>
              <a:gd name="connsiteY164" fmla="*/ 192455 h 362083"/>
              <a:gd name="connsiteX165" fmla="*/ 91726 w 361950"/>
              <a:gd name="connsiteY165" fmla="*/ 180461 h 362083"/>
              <a:gd name="connsiteX166" fmla="*/ 89732 w 361950"/>
              <a:gd name="connsiteY166" fmla="*/ 176462 h 362083"/>
              <a:gd name="connsiteX167" fmla="*/ 83750 w 361950"/>
              <a:gd name="connsiteY167" fmla="*/ 180461 h 362083"/>
              <a:gd name="connsiteX168" fmla="*/ 75774 w 361950"/>
              <a:gd name="connsiteY168" fmla="*/ 174463 h 362083"/>
              <a:gd name="connsiteX169" fmla="*/ 65804 w 361950"/>
              <a:gd name="connsiteY169" fmla="*/ 168466 h 362083"/>
              <a:gd name="connsiteX170" fmla="*/ 63810 w 361950"/>
              <a:gd name="connsiteY170" fmla="*/ 162469 h 362083"/>
              <a:gd name="connsiteX171" fmla="*/ 67798 w 361950"/>
              <a:gd name="connsiteY171" fmla="*/ 158471 h 362083"/>
              <a:gd name="connsiteX172" fmla="*/ 63810 w 361950"/>
              <a:gd name="connsiteY172" fmla="*/ 152474 h 362083"/>
              <a:gd name="connsiteX173" fmla="*/ 65804 w 361950"/>
              <a:gd name="connsiteY173" fmla="*/ 144477 h 362083"/>
              <a:gd name="connsiteX174" fmla="*/ 63810 w 361950"/>
              <a:gd name="connsiteY174" fmla="*/ 142478 h 362083"/>
              <a:gd name="connsiteX175" fmla="*/ 55833 w 361950"/>
              <a:gd name="connsiteY175" fmla="*/ 142478 h 362083"/>
              <a:gd name="connsiteX176" fmla="*/ 55833 w 361950"/>
              <a:gd name="connsiteY176" fmla="*/ 136481 h 362083"/>
              <a:gd name="connsiteX177" fmla="*/ 45863 w 361950"/>
              <a:gd name="connsiteY177" fmla="*/ 136481 h 362083"/>
              <a:gd name="connsiteX178" fmla="*/ 41875 w 361950"/>
              <a:gd name="connsiteY178" fmla="*/ 136481 h 362083"/>
              <a:gd name="connsiteX179" fmla="*/ 39881 w 361950"/>
              <a:gd name="connsiteY179" fmla="*/ 132483 h 362083"/>
              <a:gd name="connsiteX180" fmla="*/ 33899 w 361950"/>
              <a:gd name="connsiteY180" fmla="*/ 134482 h 362083"/>
              <a:gd name="connsiteX181" fmla="*/ 31905 w 361950"/>
              <a:gd name="connsiteY181" fmla="*/ 130484 h 362083"/>
              <a:gd name="connsiteX182" fmla="*/ 25922 w 361950"/>
              <a:gd name="connsiteY182" fmla="*/ 130484 h 362083"/>
              <a:gd name="connsiteX183" fmla="*/ 19940 w 361950"/>
              <a:gd name="connsiteY183" fmla="*/ 128485 h 362083"/>
              <a:gd name="connsiteX184" fmla="*/ 15952 w 361950"/>
              <a:gd name="connsiteY184" fmla="*/ 126486 h 362083"/>
              <a:gd name="connsiteX185" fmla="*/ 11964 w 361950"/>
              <a:gd name="connsiteY185" fmla="*/ 128485 h 362083"/>
              <a:gd name="connsiteX186" fmla="*/ 9970 w 361950"/>
              <a:gd name="connsiteY186" fmla="*/ 122487 h 362083"/>
              <a:gd name="connsiteX187" fmla="*/ 5982 w 361950"/>
              <a:gd name="connsiteY187" fmla="*/ 120488 h 362083"/>
              <a:gd name="connsiteX188" fmla="*/ 1994 w 361950"/>
              <a:gd name="connsiteY188" fmla="*/ 118489 h 362083"/>
              <a:gd name="connsiteX189" fmla="*/ 5982 w 361950"/>
              <a:gd name="connsiteY189" fmla="*/ 116490 h 362083"/>
              <a:gd name="connsiteX190" fmla="*/ 3988 w 361950"/>
              <a:gd name="connsiteY190" fmla="*/ 112492 h 362083"/>
              <a:gd name="connsiteX191" fmla="*/ 3988 w 361950"/>
              <a:gd name="connsiteY191" fmla="*/ 110493 h 362083"/>
              <a:gd name="connsiteX192" fmla="*/ 7976 w 361950"/>
              <a:gd name="connsiteY192" fmla="*/ 108494 h 362083"/>
              <a:gd name="connsiteX193" fmla="*/ 1994 w 361950"/>
              <a:gd name="connsiteY193" fmla="*/ 106495 h 362083"/>
              <a:gd name="connsiteX194" fmla="*/ 0 w 361950"/>
              <a:gd name="connsiteY194" fmla="*/ 100498 h 362083"/>
              <a:gd name="connsiteX195" fmla="*/ 7976 w 361950"/>
              <a:gd name="connsiteY195" fmla="*/ 94500 h 362083"/>
              <a:gd name="connsiteX196" fmla="*/ 11964 w 361950"/>
              <a:gd name="connsiteY196" fmla="*/ 94500 h 362083"/>
              <a:gd name="connsiteX197" fmla="*/ 15952 w 361950"/>
              <a:gd name="connsiteY197" fmla="*/ 92501 h 362083"/>
              <a:gd name="connsiteX198" fmla="*/ 25922 w 361950"/>
              <a:gd name="connsiteY198" fmla="*/ 96500 h 362083"/>
              <a:gd name="connsiteX199" fmla="*/ 27917 w 361950"/>
              <a:gd name="connsiteY199" fmla="*/ 92501 h 362083"/>
              <a:gd name="connsiteX200" fmla="*/ 29911 w 361950"/>
              <a:gd name="connsiteY200" fmla="*/ 88503 h 362083"/>
              <a:gd name="connsiteX201" fmla="*/ 33899 w 361950"/>
              <a:gd name="connsiteY201" fmla="*/ 92501 h 362083"/>
              <a:gd name="connsiteX202" fmla="*/ 39881 w 361950"/>
              <a:gd name="connsiteY202" fmla="*/ 92501 h 362083"/>
              <a:gd name="connsiteX203" fmla="*/ 45863 w 361950"/>
              <a:gd name="connsiteY203" fmla="*/ 90502 h 362083"/>
              <a:gd name="connsiteX204" fmla="*/ 49851 w 361950"/>
              <a:gd name="connsiteY204" fmla="*/ 98499 h 362083"/>
              <a:gd name="connsiteX205" fmla="*/ 57827 w 361950"/>
              <a:gd name="connsiteY205" fmla="*/ 100498 h 362083"/>
              <a:gd name="connsiteX206" fmla="*/ 59821 w 361950"/>
              <a:gd name="connsiteY206" fmla="*/ 100498 h 362083"/>
              <a:gd name="connsiteX207" fmla="*/ 61815 w 361950"/>
              <a:gd name="connsiteY207" fmla="*/ 100498 h 362083"/>
              <a:gd name="connsiteX208" fmla="*/ 63810 w 361950"/>
              <a:gd name="connsiteY208" fmla="*/ 96500 h 362083"/>
              <a:gd name="connsiteX209" fmla="*/ 67798 w 361950"/>
              <a:gd name="connsiteY209" fmla="*/ 94500 h 362083"/>
              <a:gd name="connsiteX210" fmla="*/ 71786 w 361950"/>
              <a:gd name="connsiteY210" fmla="*/ 94500 h 362083"/>
              <a:gd name="connsiteX211" fmla="*/ 73780 w 361950"/>
              <a:gd name="connsiteY211" fmla="*/ 96500 h 362083"/>
              <a:gd name="connsiteX212" fmla="*/ 79762 w 361950"/>
              <a:gd name="connsiteY212" fmla="*/ 96500 h 362083"/>
              <a:gd name="connsiteX213" fmla="*/ 79762 w 361950"/>
              <a:gd name="connsiteY213" fmla="*/ 92501 h 362083"/>
              <a:gd name="connsiteX214" fmla="*/ 79762 w 361950"/>
              <a:gd name="connsiteY214" fmla="*/ 86504 h 362083"/>
              <a:gd name="connsiteX215" fmla="*/ 77768 w 361950"/>
              <a:gd name="connsiteY215" fmla="*/ 82506 h 362083"/>
              <a:gd name="connsiteX216" fmla="*/ 75774 w 361950"/>
              <a:gd name="connsiteY216" fmla="*/ 72511 h 362083"/>
              <a:gd name="connsiteX217" fmla="*/ 73780 w 361950"/>
              <a:gd name="connsiteY217" fmla="*/ 56518 h 362083"/>
              <a:gd name="connsiteX218" fmla="*/ 79762 w 361950"/>
              <a:gd name="connsiteY218" fmla="*/ 52520 h 362083"/>
              <a:gd name="connsiteX219" fmla="*/ 85744 w 361950"/>
              <a:gd name="connsiteY219" fmla="*/ 54519 h 362083"/>
              <a:gd name="connsiteX220" fmla="*/ 89732 w 361950"/>
              <a:gd name="connsiteY220" fmla="*/ 56518 h 362083"/>
              <a:gd name="connsiteX221" fmla="*/ 93720 w 361950"/>
              <a:gd name="connsiteY221" fmla="*/ 66513 h 362083"/>
              <a:gd name="connsiteX222" fmla="*/ 97708 w 361950"/>
              <a:gd name="connsiteY222" fmla="*/ 68512 h 362083"/>
              <a:gd name="connsiteX223" fmla="*/ 105685 w 361950"/>
              <a:gd name="connsiteY223" fmla="*/ 70512 h 362083"/>
              <a:gd name="connsiteX224" fmla="*/ 121637 w 361950"/>
              <a:gd name="connsiteY224" fmla="*/ 66513 h 362083"/>
              <a:gd name="connsiteX225" fmla="*/ 121637 w 361950"/>
              <a:gd name="connsiteY225" fmla="*/ 58517 h 362083"/>
              <a:gd name="connsiteX226" fmla="*/ 127619 w 361950"/>
              <a:gd name="connsiteY226" fmla="*/ 50521 h 362083"/>
              <a:gd name="connsiteX227" fmla="*/ 141578 w 361950"/>
              <a:gd name="connsiteY227" fmla="*/ 48522 h 362083"/>
              <a:gd name="connsiteX228" fmla="*/ 147560 w 361950"/>
              <a:gd name="connsiteY228" fmla="*/ 44524 h 362083"/>
              <a:gd name="connsiteX229" fmla="*/ 155536 w 361950"/>
              <a:gd name="connsiteY229" fmla="*/ 40525 h 362083"/>
              <a:gd name="connsiteX230" fmla="*/ 159524 w 361950"/>
              <a:gd name="connsiteY230" fmla="*/ 36527 h 362083"/>
              <a:gd name="connsiteX231" fmla="*/ 157530 w 361950"/>
              <a:gd name="connsiteY231" fmla="*/ 30530 h 362083"/>
              <a:gd name="connsiteX232" fmla="*/ 157530 w 361950"/>
              <a:gd name="connsiteY232" fmla="*/ 24533 h 362083"/>
              <a:gd name="connsiteX233" fmla="*/ 155536 w 361950"/>
              <a:gd name="connsiteY233" fmla="*/ 20535 h 362083"/>
              <a:gd name="connsiteX234" fmla="*/ 157530 w 361950"/>
              <a:gd name="connsiteY234" fmla="*/ 14537 h 362083"/>
              <a:gd name="connsiteX235" fmla="*/ 161518 w 361950"/>
              <a:gd name="connsiteY235" fmla="*/ 8540 h 362083"/>
              <a:gd name="connsiteX236" fmla="*/ 167500 w 361950"/>
              <a:gd name="connsiteY236" fmla="*/ 4542 h 362083"/>
              <a:gd name="connsiteX237" fmla="*/ 177471 w 361950"/>
              <a:gd name="connsiteY237" fmla="*/ 2543 h 362083"/>
              <a:gd name="connsiteX238" fmla="*/ 183453 w 361950"/>
              <a:gd name="connsiteY238" fmla="*/ 544 h 36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361950" h="362083">
                <a:moveTo>
                  <a:pt x="354135" y="308108"/>
                </a:moveTo>
                <a:cubicBezTo>
                  <a:pt x="356089" y="308108"/>
                  <a:pt x="358043" y="310107"/>
                  <a:pt x="358043" y="312106"/>
                </a:cubicBezTo>
                <a:cubicBezTo>
                  <a:pt x="358043" y="312106"/>
                  <a:pt x="361950" y="316104"/>
                  <a:pt x="361950" y="318103"/>
                </a:cubicBezTo>
                <a:cubicBezTo>
                  <a:pt x="359996" y="320103"/>
                  <a:pt x="359996" y="326100"/>
                  <a:pt x="359996" y="326100"/>
                </a:cubicBezTo>
                <a:cubicBezTo>
                  <a:pt x="359996" y="328099"/>
                  <a:pt x="359996" y="330098"/>
                  <a:pt x="359996" y="332097"/>
                </a:cubicBezTo>
                <a:cubicBezTo>
                  <a:pt x="359996" y="332097"/>
                  <a:pt x="358043" y="332097"/>
                  <a:pt x="358043" y="334096"/>
                </a:cubicBezTo>
                <a:cubicBezTo>
                  <a:pt x="356089" y="336095"/>
                  <a:pt x="356089" y="338094"/>
                  <a:pt x="356089" y="338094"/>
                </a:cubicBezTo>
                <a:cubicBezTo>
                  <a:pt x="358043" y="340093"/>
                  <a:pt x="356089" y="340093"/>
                  <a:pt x="358043" y="342092"/>
                </a:cubicBezTo>
                <a:cubicBezTo>
                  <a:pt x="358043" y="344091"/>
                  <a:pt x="358043" y="346091"/>
                  <a:pt x="358043" y="346091"/>
                </a:cubicBezTo>
                <a:cubicBezTo>
                  <a:pt x="358043" y="348090"/>
                  <a:pt x="356089" y="352088"/>
                  <a:pt x="356089" y="352088"/>
                </a:cubicBezTo>
                <a:cubicBezTo>
                  <a:pt x="356089" y="352088"/>
                  <a:pt x="356089" y="356086"/>
                  <a:pt x="356089" y="358085"/>
                </a:cubicBezTo>
                <a:cubicBezTo>
                  <a:pt x="356089" y="358085"/>
                  <a:pt x="356089" y="360084"/>
                  <a:pt x="354135" y="362083"/>
                </a:cubicBezTo>
                <a:cubicBezTo>
                  <a:pt x="354135" y="362083"/>
                  <a:pt x="352181" y="362083"/>
                  <a:pt x="350227" y="362083"/>
                </a:cubicBezTo>
                <a:cubicBezTo>
                  <a:pt x="350227" y="362083"/>
                  <a:pt x="346319" y="362083"/>
                  <a:pt x="346319" y="360084"/>
                </a:cubicBezTo>
                <a:cubicBezTo>
                  <a:pt x="346319" y="360084"/>
                  <a:pt x="344366" y="356086"/>
                  <a:pt x="344366" y="356086"/>
                </a:cubicBezTo>
                <a:cubicBezTo>
                  <a:pt x="342412" y="354087"/>
                  <a:pt x="342412" y="354087"/>
                  <a:pt x="342412" y="352088"/>
                </a:cubicBezTo>
                <a:cubicBezTo>
                  <a:pt x="342412" y="352088"/>
                  <a:pt x="342412" y="350089"/>
                  <a:pt x="342412" y="350089"/>
                </a:cubicBezTo>
                <a:cubicBezTo>
                  <a:pt x="342412" y="350089"/>
                  <a:pt x="340458" y="350089"/>
                  <a:pt x="340458" y="348090"/>
                </a:cubicBezTo>
                <a:cubicBezTo>
                  <a:pt x="340458" y="348090"/>
                  <a:pt x="338504" y="346091"/>
                  <a:pt x="336550" y="346091"/>
                </a:cubicBezTo>
                <a:cubicBezTo>
                  <a:pt x="336550" y="344091"/>
                  <a:pt x="336550" y="344091"/>
                  <a:pt x="336550" y="342092"/>
                </a:cubicBezTo>
                <a:cubicBezTo>
                  <a:pt x="336550" y="340093"/>
                  <a:pt x="336550" y="338094"/>
                  <a:pt x="336550" y="336095"/>
                </a:cubicBezTo>
                <a:cubicBezTo>
                  <a:pt x="336550" y="336095"/>
                  <a:pt x="336550" y="334096"/>
                  <a:pt x="336550" y="332097"/>
                </a:cubicBezTo>
                <a:cubicBezTo>
                  <a:pt x="336550" y="332097"/>
                  <a:pt x="336550" y="326100"/>
                  <a:pt x="336550" y="324101"/>
                </a:cubicBezTo>
                <a:cubicBezTo>
                  <a:pt x="336550" y="322102"/>
                  <a:pt x="338504" y="320103"/>
                  <a:pt x="338504" y="318103"/>
                </a:cubicBezTo>
                <a:cubicBezTo>
                  <a:pt x="338504" y="318103"/>
                  <a:pt x="340458" y="316104"/>
                  <a:pt x="340458" y="314105"/>
                </a:cubicBezTo>
                <a:cubicBezTo>
                  <a:pt x="342412" y="312106"/>
                  <a:pt x="342412" y="312106"/>
                  <a:pt x="342412" y="310107"/>
                </a:cubicBezTo>
                <a:cubicBezTo>
                  <a:pt x="344366" y="310107"/>
                  <a:pt x="346319" y="310107"/>
                  <a:pt x="346319" y="310107"/>
                </a:cubicBezTo>
                <a:cubicBezTo>
                  <a:pt x="346319" y="310107"/>
                  <a:pt x="350227" y="310107"/>
                  <a:pt x="350227" y="310107"/>
                </a:cubicBezTo>
                <a:cubicBezTo>
                  <a:pt x="352181" y="308108"/>
                  <a:pt x="354135" y="308108"/>
                  <a:pt x="354135" y="308108"/>
                </a:cubicBezTo>
                <a:close/>
                <a:moveTo>
                  <a:pt x="301171" y="259697"/>
                </a:moveTo>
                <a:lnTo>
                  <a:pt x="301546" y="259954"/>
                </a:lnTo>
                <a:lnTo>
                  <a:pt x="301714" y="260032"/>
                </a:lnTo>
                <a:close/>
                <a:moveTo>
                  <a:pt x="183453" y="544"/>
                </a:moveTo>
                <a:cubicBezTo>
                  <a:pt x="185447" y="-1455"/>
                  <a:pt x="187441" y="2543"/>
                  <a:pt x="187441" y="4542"/>
                </a:cubicBezTo>
                <a:cubicBezTo>
                  <a:pt x="189435" y="4542"/>
                  <a:pt x="187441" y="8540"/>
                  <a:pt x="189435" y="10539"/>
                </a:cubicBezTo>
                <a:cubicBezTo>
                  <a:pt x="189435" y="10539"/>
                  <a:pt x="193423" y="12538"/>
                  <a:pt x="193423" y="12538"/>
                </a:cubicBezTo>
                <a:cubicBezTo>
                  <a:pt x="193423" y="12538"/>
                  <a:pt x="199405" y="14537"/>
                  <a:pt x="201399" y="16537"/>
                </a:cubicBezTo>
                <a:cubicBezTo>
                  <a:pt x="203393" y="18536"/>
                  <a:pt x="205387" y="18536"/>
                  <a:pt x="205387" y="20535"/>
                </a:cubicBezTo>
                <a:cubicBezTo>
                  <a:pt x="207381" y="20535"/>
                  <a:pt x="211370" y="20535"/>
                  <a:pt x="211370" y="20535"/>
                </a:cubicBezTo>
                <a:cubicBezTo>
                  <a:pt x="211370" y="24533"/>
                  <a:pt x="211370" y="24533"/>
                  <a:pt x="211370" y="24533"/>
                </a:cubicBezTo>
                <a:cubicBezTo>
                  <a:pt x="219346" y="24533"/>
                  <a:pt x="219346" y="24533"/>
                  <a:pt x="219346" y="24533"/>
                </a:cubicBezTo>
                <a:cubicBezTo>
                  <a:pt x="219346" y="24533"/>
                  <a:pt x="223334" y="28531"/>
                  <a:pt x="225328" y="26532"/>
                </a:cubicBezTo>
                <a:cubicBezTo>
                  <a:pt x="227322" y="26532"/>
                  <a:pt x="227322" y="26532"/>
                  <a:pt x="231310" y="28531"/>
                </a:cubicBezTo>
                <a:cubicBezTo>
                  <a:pt x="233304" y="28531"/>
                  <a:pt x="237292" y="30530"/>
                  <a:pt x="237292" y="34528"/>
                </a:cubicBezTo>
                <a:cubicBezTo>
                  <a:pt x="237292" y="38526"/>
                  <a:pt x="237292" y="42525"/>
                  <a:pt x="239286" y="42525"/>
                </a:cubicBezTo>
                <a:cubicBezTo>
                  <a:pt x="241280" y="44524"/>
                  <a:pt x="243274" y="44524"/>
                  <a:pt x="245269" y="44524"/>
                </a:cubicBezTo>
                <a:cubicBezTo>
                  <a:pt x="249257" y="46523"/>
                  <a:pt x="251251" y="48522"/>
                  <a:pt x="253245" y="50521"/>
                </a:cubicBezTo>
                <a:cubicBezTo>
                  <a:pt x="257233" y="50521"/>
                  <a:pt x="263215" y="50521"/>
                  <a:pt x="263215" y="50521"/>
                </a:cubicBezTo>
                <a:cubicBezTo>
                  <a:pt x="265209" y="50521"/>
                  <a:pt x="267203" y="52520"/>
                  <a:pt x="267203" y="52520"/>
                </a:cubicBezTo>
                <a:cubicBezTo>
                  <a:pt x="267203" y="52520"/>
                  <a:pt x="267203" y="56518"/>
                  <a:pt x="269197" y="58517"/>
                </a:cubicBezTo>
                <a:cubicBezTo>
                  <a:pt x="269197" y="58517"/>
                  <a:pt x="273185" y="60516"/>
                  <a:pt x="273185" y="60516"/>
                </a:cubicBezTo>
                <a:cubicBezTo>
                  <a:pt x="275179" y="62515"/>
                  <a:pt x="275179" y="62515"/>
                  <a:pt x="275179" y="62515"/>
                </a:cubicBezTo>
                <a:cubicBezTo>
                  <a:pt x="279167" y="62515"/>
                  <a:pt x="279167" y="62515"/>
                  <a:pt x="279167" y="62515"/>
                </a:cubicBezTo>
                <a:cubicBezTo>
                  <a:pt x="281162" y="66513"/>
                  <a:pt x="281162" y="66513"/>
                  <a:pt x="281162" y="66513"/>
                </a:cubicBezTo>
                <a:cubicBezTo>
                  <a:pt x="287144" y="66513"/>
                  <a:pt x="287144" y="66513"/>
                  <a:pt x="287144" y="66513"/>
                </a:cubicBezTo>
                <a:cubicBezTo>
                  <a:pt x="291132" y="64514"/>
                  <a:pt x="291132" y="64514"/>
                  <a:pt x="291132" y="64514"/>
                </a:cubicBezTo>
                <a:cubicBezTo>
                  <a:pt x="291132" y="64514"/>
                  <a:pt x="293126" y="68512"/>
                  <a:pt x="295120" y="66513"/>
                </a:cubicBezTo>
                <a:cubicBezTo>
                  <a:pt x="297114" y="66513"/>
                  <a:pt x="299108" y="64514"/>
                  <a:pt x="299108" y="64514"/>
                </a:cubicBezTo>
                <a:cubicBezTo>
                  <a:pt x="305091" y="68512"/>
                  <a:pt x="305091" y="68512"/>
                  <a:pt x="305091" y="68512"/>
                </a:cubicBezTo>
                <a:cubicBezTo>
                  <a:pt x="305091" y="68512"/>
                  <a:pt x="309079" y="68512"/>
                  <a:pt x="311073" y="70512"/>
                </a:cubicBezTo>
                <a:cubicBezTo>
                  <a:pt x="313067" y="72511"/>
                  <a:pt x="313067" y="72511"/>
                  <a:pt x="315061" y="72511"/>
                </a:cubicBezTo>
                <a:cubicBezTo>
                  <a:pt x="317055" y="72511"/>
                  <a:pt x="317055" y="74510"/>
                  <a:pt x="317055" y="78508"/>
                </a:cubicBezTo>
                <a:cubicBezTo>
                  <a:pt x="319049" y="80507"/>
                  <a:pt x="323037" y="80507"/>
                  <a:pt x="323037" y="80507"/>
                </a:cubicBezTo>
                <a:cubicBezTo>
                  <a:pt x="323037" y="80507"/>
                  <a:pt x="323037" y="92501"/>
                  <a:pt x="325031" y="96500"/>
                </a:cubicBezTo>
                <a:cubicBezTo>
                  <a:pt x="327025" y="100498"/>
                  <a:pt x="321043" y="104496"/>
                  <a:pt x="319049" y="106495"/>
                </a:cubicBezTo>
                <a:cubicBezTo>
                  <a:pt x="317055" y="110493"/>
                  <a:pt x="313067" y="114491"/>
                  <a:pt x="313067" y="118489"/>
                </a:cubicBezTo>
                <a:cubicBezTo>
                  <a:pt x="313067" y="124487"/>
                  <a:pt x="315061" y="132483"/>
                  <a:pt x="315061" y="134482"/>
                </a:cubicBezTo>
                <a:cubicBezTo>
                  <a:pt x="317055" y="136481"/>
                  <a:pt x="319049" y="140479"/>
                  <a:pt x="319049" y="140479"/>
                </a:cubicBezTo>
                <a:cubicBezTo>
                  <a:pt x="315061" y="144477"/>
                  <a:pt x="315061" y="144477"/>
                  <a:pt x="315061" y="144477"/>
                </a:cubicBezTo>
                <a:cubicBezTo>
                  <a:pt x="307085" y="146476"/>
                  <a:pt x="307085" y="146476"/>
                  <a:pt x="307085" y="146476"/>
                </a:cubicBezTo>
                <a:cubicBezTo>
                  <a:pt x="307085" y="146476"/>
                  <a:pt x="301103" y="150474"/>
                  <a:pt x="299108" y="150474"/>
                </a:cubicBezTo>
                <a:cubicBezTo>
                  <a:pt x="297114" y="152474"/>
                  <a:pt x="295120" y="154473"/>
                  <a:pt x="293126" y="156472"/>
                </a:cubicBezTo>
                <a:cubicBezTo>
                  <a:pt x="291132" y="160470"/>
                  <a:pt x="291132" y="166467"/>
                  <a:pt x="291132" y="168466"/>
                </a:cubicBezTo>
                <a:cubicBezTo>
                  <a:pt x="291132" y="168466"/>
                  <a:pt x="291132" y="172464"/>
                  <a:pt x="293126" y="174463"/>
                </a:cubicBezTo>
                <a:cubicBezTo>
                  <a:pt x="295120" y="178462"/>
                  <a:pt x="293126" y="190456"/>
                  <a:pt x="293126" y="192455"/>
                </a:cubicBezTo>
                <a:cubicBezTo>
                  <a:pt x="293126" y="192455"/>
                  <a:pt x="291132" y="192455"/>
                  <a:pt x="291132" y="194454"/>
                </a:cubicBezTo>
                <a:cubicBezTo>
                  <a:pt x="291132" y="196453"/>
                  <a:pt x="295120" y="198452"/>
                  <a:pt x="295120" y="202450"/>
                </a:cubicBezTo>
                <a:cubicBezTo>
                  <a:pt x="293126" y="204449"/>
                  <a:pt x="293126" y="206449"/>
                  <a:pt x="295120" y="206449"/>
                </a:cubicBezTo>
                <a:cubicBezTo>
                  <a:pt x="299108" y="208448"/>
                  <a:pt x="301103" y="212446"/>
                  <a:pt x="301103" y="214445"/>
                </a:cubicBezTo>
                <a:cubicBezTo>
                  <a:pt x="299108" y="216444"/>
                  <a:pt x="297114" y="214445"/>
                  <a:pt x="295120" y="214445"/>
                </a:cubicBezTo>
                <a:cubicBezTo>
                  <a:pt x="295120" y="214445"/>
                  <a:pt x="293126" y="214445"/>
                  <a:pt x="291132" y="214445"/>
                </a:cubicBezTo>
                <a:cubicBezTo>
                  <a:pt x="289138" y="214445"/>
                  <a:pt x="291132" y="212446"/>
                  <a:pt x="289138" y="214445"/>
                </a:cubicBezTo>
                <a:cubicBezTo>
                  <a:pt x="287144" y="214445"/>
                  <a:pt x="285150" y="214445"/>
                  <a:pt x="283156" y="216444"/>
                </a:cubicBezTo>
                <a:cubicBezTo>
                  <a:pt x="283156" y="218443"/>
                  <a:pt x="283156" y="220442"/>
                  <a:pt x="283156" y="222441"/>
                </a:cubicBezTo>
                <a:cubicBezTo>
                  <a:pt x="285150" y="224440"/>
                  <a:pt x="291132" y="230437"/>
                  <a:pt x="291132" y="230437"/>
                </a:cubicBezTo>
                <a:cubicBezTo>
                  <a:pt x="291132" y="230437"/>
                  <a:pt x="293126" y="238434"/>
                  <a:pt x="291132" y="240433"/>
                </a:cubicBezTo>
                <a:cubicBezTo>
                  <a:pt x="291132" y="240433"/>
                  <a:pt x="291132" y="248429"/>
                  <a:pt x="291132" y="248429"/>
                </a:cubicBezTo>
                <a:cubicBezTo>
                  <a:pt x="291132" y="248429"/>
                  <a:pt x="293126" y="252427"/>
                  <a:pt x="295120" y="252427"/>
                </a:cubicBezTo>
                <a:cubicBezTo>
                  <a:pt x="299108" y="252427"/>
                  <a:pt x="301103" y="252427"/>
                  <a:pt x="303097" y="252427"/>
                </a:cubicBezTo>
                <a:cubicBezTo>
                  <a:pt x="305091" y="250428"/>
                  <a:pt x="307085" y="250428"/>
                  <a:pt x="307085" y="252427"/>
                </a:cubicBezTo>
                <a:cubicBezTo>
                  <a:pt x="307085" y="254426"/>
                  <a:pt x="307085" y="262423"/>
                  <a:pt x="307085" y="262423"/>
                </a:cubicBezTo>
                <a:lnTo>
                  <a:pt x="304419" y="261298"/>
                </a:lnTo>
                <a:lnTo>
                  <a:pt x="306070" y="262070"/>
                </a:lnTo>
                <a:cubicBezTo>
                  <a:pt x="306070" y="262070"/>
                  <a:pt x="307975" y="264187"/>
                  <a:pt x="307975" y="266303"/>
                </a:cubicBezTo>
                <a:cubicBezTo>
                  <a:pt x="307975" y="268420"/>
                  <a:pt x="307975" y="270537"/>
                  <a:pt x="307975" y="272653"/>
                </a:cubicBezTo>
                <a:lnTo>
                  <a:pt x="306850" y="272653"/>
                </a:lnTo>
                <a:lnTo>
                  <a:pt x="301103" y="278416"/>
                </a:lnTo>
                <a:cubicBezTo>
                  <a:pt x="299108" y="280415"/>
                  <a:pt x="293126" y="282414"/>
                  <a:pt x="293126" y="284413"/>
                </a:cubicBezTo>
                <a:cubicBezTo>
                  <a:pt x="291132" y="284413"/>
                  <a:pt x="289138" y="288411"/>
                  <a:pt x="289138" y="290410"/>
                </a:cubicBezTo>
                <a:cubicBezTo>
                  <a:pt x="289138" y="292409"/>
                  <a:pt x="289138" y="294408"/>
                  <a:pt x="287144" y="294408"/>
                </a:cubicBezTo>
                <a:cubicBezTo>
                  <a:pt x="285150" y="294408"/>
                  <a:pt x="283156" y="296407"/>
                  <a:pt x="281162" y="298406"/>
                </a:cubicBezTo>
                <a:cubicBezTo>
                  <a:pt x="281162" y="300405"/>
                  <a:pt x="277173" y="300405"/>
                  <a:pt x="275179" y="298406"/>
                </a:cubicBezTo>
                <a:cubicBezTo>
                  <a:pt x="275179" y="298406"/>
                  <a:pt x="271191" y="298406"/>
                  <a:pt x="267203" y="298406"/>
                </a:cubicBezTo>
                <a:cubicBezTo>
                  <a:pt x="263215" y="296407"/>
                  <a:pt x="259227" y="292409"/>
                  <a:pt x="257233" y="290410"/>
                </a:cubicBezTo>
                <a:cubicBezTo>
                  <a:pt x="255239" y="288411"/>
                  <a:pt x="249257" y="288411"/>
                  <a:pt x="247263" y="286412"/>
                </a:cubicBezTo>
                <a:cubicBezTo>
                  <a:pt x="245269" y="286412"/>
                  <a:pt x="247263" y="286412"/>
                  <a:pt x="249257" y="284413"/>
                </a:cubicBezTo>
                <a:cubicBezTo>
                  <a:pt x="249257" y="282414"/>
                  <a:pt x="249257" y="278416"/>
                  <a:pt x="249257" y="278416"/>
                </a:cubicBezTo>
                <a:cubicBezTo>
                  <a:pt x="247263" y="278416"/>
                  <a:pt x="243274" y="278416"/>
                  <a:pt x="241280" y="282414"/>
                </a:cubicBezTo>
                <a:cubicBezTo>
                  <a:pt x="241280" y="284413"/>
                  <a:pt x="233304" y="282414"/>
                  <a:pt x="233304" y="282414"/>
                </a:cubicBezTo>
                <a:cubicBezTo>
                  <a:pt x="233304" y="282414"/>
                  <a:pt x="229316" y="282414"/>
                  <a:pt x="227322" y="278416"/>
                </a:cubicBezTo>
                <a:cubicBezTo>
                  <a:pt x="223334" y="276416"/>
                  <a:pt x="219346" y="280415"/>
                  <a:pt x="217352" y="280415"/>
                </a:cubicBezTo>
                <a:cubicBezTo>
                  <a:pt x="215358" y="280415"/>
                  <a:pt x="211370" y="282414"/>
                  <a:pt x="211370" y="286412"/>
                </a:cubicBezTo>
                <a:cubicBezTo>
                  <a:pt x="209376" y="288411"/>
                  <a:pt x="207381" y="288411"/>
                  <a:pt x="203393" y="286412"/>
                </a:cubicBezTo>
                <a:cubicBezTo>
                  <a:pt x="201399" y="286412"/>
                  <a:pt x="201399" y="292409"/>
                  <a:pt x="201399" y="292409"/>
                </a:cubicBezTo>
                <a:cubicBezTo>
                  <a:pt x="201399" y="292409"/>
                  <a:pt x="201399" y="296407"/>
                  <a:pt x="201399" y="298406"/>
                </a:cubicBezTo>
                <a:cubicBezTo>
                  <a:pt x="199405" y="298406"/>
                  <a:pt x="199405" y="304403"/>
                  <a:pt x="199405" y="308402"/>
                </a:cubicBezTo>
                <a:cubicBezTo>
                  <a:pt x="201399" y="312400"/>
                  <a:pt x="205387" y="318397"/>
                  <a:pt x="205387" y="318397"/>
                </a:cubicBezTo>
                <a:cubicBezTo>
                  <a:pt x="205387" y="318397"/>
                  <a:pt x="205387" y="318397"/>
                  <a:pt x="205387" y="322395"/>
                </a:cubicBezTo>
                <a:cubicBezTo>
                  <a:pt x="205387" y="322395"/>
                  <a:pt x="203393" y="320396"/>
                  <a:pt x="199405" y="320396"/>
                </a:cubicBezTo>
                <a:cubicBezTo>
                  <a:pt x="193423" y="320396"/>
                  <a:pt x="189435" y="320396"/>
                  <a:pt x="189435" y="320396"/>
                </a:cubicBezTo>
                <a:cubicBezTo>
                  <a:pt x="189435" y="320396"/>
                  <a:pt x="185447" y="320396"/>
                  <a:pt x="183453" y="318397"/>
                </a:cubicBezTo>
                <a:cubicBezTo>
                  <a:pt x="183453" y="316398"/>
                  <a:pt x="181459" y="316398"/>
                  <a:pt x="179465" y="316398"/>
                </a:cubicBezTo>
                <a:cubicBezTo>
                  <a:pt x="177471" y="318397"/>
                  <a:pt x="179465" y="318397"/>
                  <a:pt x="179465" y="320396"/>
                </a:cubicBezTo>
                <a:cubicBezTo>
                  <a:pt x="179465" y="320396"/>
                  <a:pt x="177471" y="320396"/>
                  <a:pt x="177471" y="320396"/>
                </a:cubicBezTo>
                <a:cubicBezTo>
                  <a:pt x="177471" y="320396"/>
                  <a:pt x="173483" y="322395"/>
                  <a:pt x="173483" y="322395"/>
                </a:cubicBezTo>
                <a:cubicBezTo>
                  <a:pt x="171488" y="322395"/>
                  <a:pt x="167500" y="320396"/>
                  <a:pt x="167500" y="318397"/>
                </a:cubicBezTo>
                <a:cubicBezTo>
                  <a:pt x="165506" y="318397"/>
                  <a:pt x="167500" y="316398"/>
                  <a:pt x="167500" y="314399"/>
                </a:cubicBezTo>
                <a:cubicBezTo>
                  <a:pt x="167500" y="312400"/>
                  <a:pt x="169494" y="314399"/>
                  <a:pt x="169494" y="314399"/>
                </a:cubicBezTo>
                <a:cubicBezTo>
                  <a:pt x="169494" y="314399"/>
                  <a:pt x="169494" y="310401"/>
                  <a:pt x="169494" y="308402"/>
                </a:cubicBezTo>
                <a:cubicBezTo>
                  <a:pt x="167500" y="308402"/>
                  <a:pt x="163512" y="308402"/>
                  <a:pt x="163512" y="308402"/>
                </a:cubicBezTo>
                <a:cubicBezTo>
                  <a:pt x="163512" y="308402"/>
                  <a:pt x="163512" y="306403"/>
                  <a:pt x="161518" y="308402"/>
                </a:cubicBezTo>
                <a:cubicBezTo>
                  <a:pt x="159524" y="308402"/>
                  <a:pt x="157530" y="306403"/>
                  <a:pt x="155536" y="304403"/>
                </a:cubicBezTo>
                <a:cubicBezTo>
                  <a:pt x="153542" y="304403"/>
                  <a:pt x="147560" y="304403"/>
                  <a:pt x="147560" y="304403"/>
                </a:cubicBezTo>
                <a:cubicBezTo>
                  <a:pt x="145566" y="304403"/>
                  <a:pt x="141578" y="302404"/>
                  <a:pt x="139584" y="300405"/>
                </a:cubicBezTo>
                <a:cubicBezTo>
                  <a:pt x="139584" y="298406"/>
                  <a:pt x="137590" y="300405"/>
                  <a:pt x="135595" y="302404"/>
                </a:cubicBezTo>
                <a:cubicBezTo>
                  <a:pt x="133601" y="304403"/>
                  <a:pt x="135595" y="306403"/>
                  <a:pt x="133601" y="308402"/>
                </a:cubicBezTo>
                <a:cubicBezTo>
                  <a:pt x="131607" y="310401"/>
                  <a:pt x="127619" y="308402"/>
                  <a:pt x="125625" y="308402"/>
                </a:cubicBezTo>
                <a:cubicBezTo>
                  <a:pt x="123631" y="308402"/>
                  <a:pt x="121637" y="308402"/>
                  <a:pt x="119643" y="308402"/>
                </a:cubicBezTo>
                <a:cubicBezTo>
                  <a:pt x="117649" y="306403"/>
                  <a:pt x="115655" y="304403"/>
                  <a:pt x="115655" y="304403"/>
                </a:cubicBezTo>
                <a:cubicBezTo>
                  <a:pt x="113661" y="304403"/>
                  <a:pt x="111667" y="304403"/>
                  <a:pt x="109673" y="304403"/>
                </a:cubicBezTo>
                <a:cubicBezTo>
                  <a:pt x="109673" y="302404"/>
                  <a:pt x="107679" y="302404"/>
                  <a:pt x="105685" y="302404"/>
                </a:cubicBezTo>
                <a:cubicBezTo>
                  <a:pt x="101697" y="302404"/>
                  <a:pt x="97708" y="300405"/>
                  <a:pt x="97708" y="300405"/>
                </a:cubicBezTo>
                <a:cubicBezTo>
                  <a:pt x="97708" y="300405"/>
                  <a:pt x="91726" y="296407"/>
                  <a:pt x="91726" y="296407"/>
                </a:cubicBezTo>
                <a:cubicBezTo>
                  <a:pt x="89732" y="296407"/>
                  <a:pt x="89732" y="294408"/>
                  <a:pt x="87738" y="292409"/>
                </a:cubicBezTo>
                <a:cubicBezTo>
                  <a:pt x="87738" y="290410"/>
                  <a:pt x="85744" y="290410"/>
                  <a:pt x="83750" y="290410"/>
                </a:cubicBezTo>
                <a:cubicBezTo>
                  <a:pt x="83750" y="290410"/>
                  <a:pt x="79762" y="288411"/>
                  <a:pt x="77768" y="288411"/>
                </a:cubicBezTo>
                <a:cubicBezTo>
                  <a:pt x="75774" y="286412"/>
                  <a:pt x="75774" y="286412"/>
                  <a:pt x="75774" y="286412"/>
                </a:cubicBezTo>
                <a:cubicBezTo>
                  <a:pt x="75774" y="286412"/>
                  <a:pt x="75774" y="282414"/>
                  <a:pt x="77768" y="282414"/>
                </a:cubicBezTo>
                <a:cubicBezTo>
                  <a:pt x="79762" y="278416"/>
                  <a:pt x="81756" y="268420"/>
                  <a:pt x="81756" y="268420"/>
                </a:cubicBezTo>
                <a:cubicBezTo>
                  <a:pt x="81756" y="268420"/>
                  <a:pt x="81756" y="262423"/>
                  <a:pt x="83750" y="260424"/>
                </a:cubicBezTo>
                <a:cubicBezTo>
                  <a:pt x="83750" y="260424"/>
                  <a:pt x="83750" y="256426"/>
                  <a:pt x="83750" y="256426"/>
                </a:cubicBezTo>
                <a:cubicBezTo>
                  <a:pt x="83750" y="256426"/>
                  <a:pt x="85744" y="250428"/>
                  <a:pt x="85744" y="246430"/>
                </a:cubicBezTo>
                <a:cubicBezTo>
                  <a:pt x="85744" y="240433"/>
                  <a:pt x="87738" y="242432"/>
                  <a:pt x="87738" y="242432"/>
                </a:cubicBezTo>
                <a:cubicBezTo>
                  <a:pt x="87738" y="242432"/>
                  <a:pt x="91726" y="240433"/>
                  <a:pt x="93720" y="238434"/>
                </a:cubicBezTo>
                <a:cubicBezTo>
                  <a:pt x="93720" y="236435"/>
                  <a:pt x="91726" y="234436"/>
                  <a:pt x="91726" y="234436"/>
                </a:cubicBezTo>
                <a:cubicBezTo>
                  <a:pt x="91726" y="234436"/>
                  <a:pt x="89732" y="234436"/>
                  <a:pt x="87738" y="230437"/>
                </a:cubicBezTo>
                <a:cubicBezTo>
                  <a:pt x="85744" y="228438"/>
                  <a:pt x="87738" y="222441"/>
                  <a:pt x="87738" y="222441"/>
                </a:cubicBezTo>
                <a:cubicBezTo>
                  <a:pt x="87738" y="222441"/>
                  <a:pt x="89732" y="218443"/>
                  <a:pt x="87738" y="218443"/>
                </a:cubicBezTo>
                <a:cubicBezTo>
                  <a:pt x="87738" y="216444"/>
                  <a:pt x="87738" y="214445"/>
                  <a:pt x="87738" y="212446"/>
                </a:cubicBezTo>
                <a:cubicBezTo>
                  <a:pt x="87738" y="210447"/>
                  <a:pt x="89732" y="208448"/>
                  <a:pt x="91726" y="208448"/>
                </a:cubicBezTo>
                <a:cubicBezTo>
                  <a:pt x="93720" y="208448"/>
                  <a:pt x="95714" y="212446"/>
                  <a:pt x="97708" y="212446"/>
                </a:cubicBezTo>
                <a:cubicBezTo>
                  <a:pt x="101697" y="214445"/>
                  <a:pt x="101697" y="210447"/>
                  <a:pt x="101697" y="210447"/>
                </a:cubicBezTo>
                <a:cubicBezTo>
                  <a:pt x="101697" y="208448"/>
                  <a:pt x="93720" y="206449"/>
                  <a:pt x="93720" y="206449"/>
                </a:cubicBezTo>
                <a:cubicBezTo>
                  <a:pt x="93720" y="206449"/>
                  <a:pt x="91726" y="204449"/>
                  <a:pt x="91726" y="202450"/>
                </a:cubicBezTo>
                <a:cubicBezTo>
                  <a:pt x="91726" y="202450"/>
                  <a:pt x="91726" y="196453"/>
                  <a:pt x="91726" y="192455"/>
                </a:cubicBezTo>
                <a:cubicBezTo>
                  <a:pt x="91726" y="190456"/>
                  <a:pt x="91726" y="182460"/>
                  <a:pt x="91726" y="180461"/>
                </a:cubicBezTo>
                <a:cubicBezTo>
                  <a:pt x="91726" y="176462"/>
                  <a:pt x="89732" y="176462"/>
                  <a:pt x="89732" y="176462"/>
                </a:cubicBezTo>
                <a:cubicBezTo>
                  <a:pt x="89732" y="176462"/>
                  <a:pt x="85744" y="180461"/>
                  <a:pt x="83750" y="180461"/>
                </a:cubicBezTo>
                <a:cubicBezTo>
                  <a:pt x="79762" y="180461"/>
                  <a:pt x="77768" y="176462"/>
                  <a:pt x="75774" y="174463"/>
                </a:cubicBezTo>
                <a:cubicBezTo>
                  <a:pt x="71786" y="170465"/>
                  <a:pt x="67798" y="168466"/>
                  <a:pt x="65804" y="168466"/>
                </a:cubicBezTo>
                <a:cubicBezTo>
                  <a:pt x="65804" y="168466"/>
                  <a:pt x="63810" y="166467"/>
                  <a:pt x="63810" y="162469"/>
                </a:cubicBezTo>
                <a:cubicBezTo>
                  <a:pt x="65804" y="158471"/>
                  <a:pt x="67798" y="160470"/>
                  <a:pt x="67798" y="158471"/>
                </a:cubicBezTo>
                <a:cubicBezTo>
                  <a:pt x="69792" y="156472"/>
                  <a:pt x="65804" y="154473"/>
                  <a:pt x="63810" y="152474"/>
                </a:cubicBezTo>
                <a:cubicBezTo>
                  <a:pt x="63810" y="150474"/>
                  <a:pt x="63810" y="148475"/>
                  <a:pt x="65804" y="144477"/>
                </a:cubicBezTo>
                <a:cubicBezTo>
                  <a:pt x="67798" y="142478"/>
                  <a:pt x="63810" y="142478"/>
                  <a:pt x="63810" y="142478"/>
                </a:cubicBezTo>
                <a:cubicBezTo>
                  <a:pt x="63810" y="142478"/>
                  <a:pt x="59821" y="146476"/>
                  <a:pt x="55833" y="142478"/>
                </a:cubicBezTo>
                <a:cubicBezTo>
                  <a:pt x="53839" y="140479"/>
                  <a:pt x="57827" y="138480"/>
                  <a:pt x="55833" y="136481"/>
                </a:cubicBezTo>
                <a:cubicBezTo>
                  <a:pt x="51845" y="134482"/>
                  <a:pt x="45863" y="136481"/>
                  <a:pt x="45863" y="136481"/>
                </a:cubicBezTo>
                <a:cubicBezTo>
                  <a:pt x="45863" y="136481"/>
                  <a:pt x="43869" y="136481"/>
                  <a:pt x="41875" y="136481"/>
                </a:cubicBezTo>
                <a:cubicBezTo>
                  <a:pt x="37887" y="134482"/>
                  <a:pt x="41875" y="132483"/>
                  <a:pt x="39881" y="132483"/>
                </a:cubicBezTo>
                <a:cubicBezTo>
                  <a:pt x="37887" y="130484"/>
                  <a:pt x="35893" y="134482"/>
                  <a:pt x="33899" y="134482"/>
                </a:cubicBezTo>
                <a:cubicBezTo>
                  <a:pt x="33899" y="134482"/>
                  <a:pt x="33899" y="132483"/>
                  <a:pt x="31905" y="130484"/>
                </a:cubicBezTo>
                <a:cubicBezTo>
                  <a:pt x="31905" y="130484"/>
                  <a:pt x="27917" y="130484"/>
                  <a:pt x="25922" y="130484"/>
                </a:cubicBezTo>
                <a:cubicBezTo>
                  <a:pt x="21934" y="132483"/>
                  <a:pt x="21934" y="130484"/>
                  <a:pt x="19940" y="128485"/>
                </a:cubicBezTo>
                <a:cubicBezTo>
                  <a:pt x="19940" y="126486"/>
                  <a:pt x="15952" y="126486"/>
                  <a:pt x="15952" y="126486"/>
                </a:cubicBezTo>
                <a:cubicBezTo>
                  <a:pt x="15952" y="126486"/>
                  <a:pt x="13958" y="128485"/>
                  <a:pt x="11964" y="128485"/>
                </a:cubicBezTo>
                <a:cubicBezTo>
                  <a:pt x="7976" y="128485"/>
                  <a:pt x="9970" y="124487"/>
                  <a:pt x="9970" y="122487"/>
                </a:cubicBezTo>
                <a:cubicBezTo>
                  <a:pt x="9970" y="120488"/>
                  <a:pt x="5982" y="120488"/>
                  <a:pt x="5982" y="120488"/>
                </a:cubicBezTo>
                <a:cubicBezTo>
                  <a:pt x="5982" y="120488"/>
                  <a:pt x="3988" y="120488"/>
                  <a:pt x="1994" y="118489"/>
                </a:cubicBezTo>
                <a:cubicBezTo>
                  <a:pt x="1994" y="116490"/>
                  <a:pt x="3988" y="118489"/>
                  <a:pt x="5982" y="116490"/>
                </a:cubicBezTo>
                <a:cubicBezTo>
                  <a:pt x="7976" y="114491"/>
                  <a:pt x="3988" y="112492"/>
                  <a:pt x="3988" y="112492"/>
                </a:cubicBezTo>
                <a:cubicBezTo>
                  <a:pt x="1994" y="110493"/>
                  <a:pt x="3988" y="110493"/>
                  <a:pt x="3988" y="110493"/>
                </a:cubicBezTo>
                <a:cubicBezTo>
                  <a:pt x="3988" y="110493"/>
                  <a:pt x="7976" y="110493"/>
                  <a:pt x="7976" y="108494"/>
                </a:cubicBezTo>
                <a:cubicBezTo>
                  <a:pt x="7976" y="108494"/>
                  <a:pt x="3988" y="106495"/>
                  <a:pt x="1994" y="106495"/>
                </a:cubicBezTo>
                <a:cubicBezTo>
                  <a:pt x="0" y="106495"/>
                  <a:pt x="0" y="104496"/>
                  <a:pt x="0" y="100498"/>
                </a:cubicBezTo>
                <a:cubicBezTo>
                  <a:pt x="0" y="96500"/>
                  <a:pt x="5982" y="94500"/>
                  <a:pt x="7976" y="94500"/>
                </a:cubicBezTo>
                <a:cubicBezTo>
                  <a:pt x="9970" y="94500"/>
                  <a:pt x="11964" y="94500"/>
                  <a:pt x="11964" y="94500"/>
                </a:cubicBezTo>
                <a:cubicBezTo>
                  <a:pt x="11964" y="94500"/>
                  <a:pt x="13958" y="92501"/>
                  <a:pt x="15952" y="92501"/>
                </a:cubicBezTo>
                <a:cubicBezTo>
                  <a:pt x="17946" y="92501"/>
                  <a:pt x="21934" y="94500"/>
                  <a:pt x="25922" y="96500"/>
                </a:cubicBezTo>
                <a:cubicBezTo>
                  <a:pt x="29911" y="96500"/>
                  <a:pt x="27917" y="92501"/>
                  <a:pt x="27917" y="92501"/>
                </a:cubicBezTo>
                <a:cubicBezTo>
                  <a:pt x="27917" y="92501"/>
                  <a:pt x="27917" y="88503"/>
                  <a:pt x="29911" y="88503"/>
                </a:cubicBezTo>
                <a:cubicBezTo>
                  <a:pt x="33899" y="88503"/>
                  <a:pt x="31905" y="90502"/>
                  <a:pt x="33899" y="92501"/>
                </a:cubicBezTo>
                <a:cubicBezTo>
                  <a:pt x="37887" y="92501"/>
                  <a:pt x="39881" y="92501"/>
                  <a:pt x="39881" y="92501"/>
                </a:cubicBezTo>
                <a:cubicBezTo>
                  <a:pt x="39881" y="92501"/>
                  <a:pt x="41875" y="90502"/>
                  <a:pt x="45863" y="90502"/>
                </a:cubicBezTo>
                <a:cubicBezTo>
                  <a:pt x="49851" y="92501"/>
                  <a:pt x="47857" y="96500"/>
                  <a:pt x="49851" y="98499"/>
                </a:cubicBezTo>
                <a:cubicBezTo>
                  <a:pt x="51845" y="102497"/>
                  <a:pt x="57827" y="100498"/>
                  <a:pt x="57827" y="100498"/>
                </a:cubicBezTo>
                <a:cubicBezTo>
                  <a:pt x="59821" y="100498"/>
                  <a:pt x="59821" y="100498"/>
                  <a:pt x="59821" y="100498"/>
                </a:cubicBezTo>
                <a:cubicBezTo>
                  <a:pt x="59821" y="100498"/>
                  <a:pt x="61815" y="100498"/>
                  <a:pt x="61815" y="100498"/>
                </a:cubicBezTo>
                <a:cubicBezTo>
                  <a:pt x="61815" y="98499"/>
                  <a:pt x="63810" y="96500"/>
                  <a:pt x="63810" y="96500"/>
                </a:cubicBezTo>
                <a:cubicBezTo>
                  <a:pt x="63810" y="96500"/>
                  <a:pt x="69792" y="94500"/>
                  <a:pt x="67798" y="94500"/>
                </a:cubicBezTo>
                <a:cubicBezTo>
                  <a:pt x="67798" y="92501"/>
                  <a:pt x="71786" y="92501"/>
                  <a:pt x="71786" y="94500"/>
                </a:cubicBezTo>
                <a:cubicBezTo>
                  <a:pt x="71786" y="96500"/>
                  <a:pt x="73780" y="96500"/>
                  <a:pt x="73780" y="96500"/>
                </a:cubicBezTo>
                <a:cubicBezTo>
                  <a:pt x="73780" y="96500"/>
                  <a:pt x="75774" y="96500"/>
                  <a:pt x="79762" y="96500"/>
                </a:cubicBezTo>
                <a:cubicBezTo>
                  <a:pt x="81756" y="96500"/>
                  <a:pt x="81756" y="92501"/>
                  <a:pt x="79762" y="92501"/>
                </a:cubicBezTo>
                <a:cubicBezTo>
                  <a:pt x="77768" y="92501"/>
                  <a:pt x="79762" y="86504"/>
                  <a:pt x="79762" y="86504"/>
                </a:cubicBezTo>
                <a:cubicBezTo>
                  <a:pt x="79762" y="86504"/>
                  <a:pt x="79762" y="82506"/>
                  <a:pt x="77768" y="82506"/>
                </a:cubicBezTo>
                <a:cubicBezTo>
                  <a:pt x="75774" y="80507"/>
                  <a:pt x="77768" y="78508"/>
                  <a:pt x="75774" y="72511"/>
                </a:cubicBezTo>
                <a:cubicBezTo>
                  <a:pt x="75774" y="66513"/>
                  <a:pt x="75774" y="58517"/>
                  <a:pt x="73780" y="56518"/>
                </a:cubicBezTo>
                <a:cubicBezTo>
                  <a:pt x="71786" y="54519"/>
                  <a:pt x="77768" y="52520"/>
                  <a:pt x="79762" y="52520"/>
                </a:cubicBezTo>
                <a:cubicBezTo>
                  <a:pt x="81756" y="54519"/>
                  <a:pt x="83750" y="54519"/>
                  <a:pt x="85744" y="54519"/>
                </a:cubicBezTo>
                <a:cubicBezTo>
                  <a:pt x="87738" y="54519"/>
                  <a:pt x="87738" y="54519"/>
                  <a:pt x="89732" y="56518"/>
                </a:cubicBezTo>
                <a:cubicBezTo>
                  <a:pt x="91726" y="58517"/>
                  <a:pt x="91726" y="62515"/>
                  <a:pt x="93720" y="66513"/>
                </a:cubicBezTo>
                <a:cubicBezTo>
                  <a:pt x="93720" y="70512"/>
                  <a:pt x="97708" y="70512"/>
                  <a:pt x="97708" y="68512"/>
                </a:cubicBezTo>
                <a:cubicBezTo>
                  <a:pt x="99702" y="68512"/>
                  <a:pt x="101697" y="68512"/>
                  <a:pt x="105685" y="70512"/>
                </a:cubicBezTo>
                <a:cubicBezTo>
                  <a:pt x="111667" y="72511"/>
                  <a:pt x="119643" y="70512"/>
                  <a:pt x="121637" y="66513"/>
                </a:cubicBezTo>
                <a:cubicBezTo>
                  <a:pt x="125625" y="64514"/>
                  <a:pt x="123631" y="60516"/>
                  <a:pt x="121637" y="58517"/>
                </a:cubicBezTo>
                <a:cubicBezTo>
                  <a:pt x="119643" y="54519"/>
                  <a:pt x="123631" y="52520"/>
                  <a:pt x="127619" y="50521"/>
                </a:cubicBezTo>
                <a:cubicBezTo>
                  <a:pt x="131607" y="48522"/>
                  <a:pt x="139584" y="48522"/>
                  <a:pt x="141578" y="48522"/>
                </a:cubicBezTo>
                <a:cubicBezTo>
                  <a:pt x="143572" y="48522"/>
                  <a:pt x="145566" y="46523"/>
                  <a:pt x="147560" y="44524"/>
                </a:cubicBezTo>
                <a:cubicBezTo>
                  <a:pt x="147560" y="42525"/>
                  <a:pt x="153542" y="40525"/>
                  <a:pt x="155536" y="40525"/>
                </a:cubicBezTo>
                <a:cubicBezTo>
                  <a:pt x="159524" y="40525"/>
                  <a:pt x="159524" y="36527"/>
                  <a:pt x="159524" y="36527"/>
                </a:cubicBezTo>
                <a:cubicBezTo>
                  <a:pt x="159524" y="36527"/>
                  <a:pt x="157530" y="30530"/>
                  <a:pt x="157530" y="30530"/>
                </a:cubicBezTo>
                <a:cubicBezTo>
                  <a:pt x="157530" y="28531"/>
                  <a:pt x="157530" y="26532"/>
                  <a:pt x="157530" y="24533"/>
                </a:cubicBezTo>
                <a:cubicBezTo>
                  <a:pt x="155536" y="20535"/>
                  <a:pt x="157530" y="20535"/>
                  <a:pt x="155536" y="20535"/>
                </a:cubicBezTo>
                <a:cubicBezTo>
                  <a:pt x="155536" y="16537"/>
                  <a:pt x="157530" y="14537"/>
                  <a:pt x="157530" y="14537"/>
                </a:cubicBezTo>
                <a:cubicBezTo>
                  <a:pt x="157530" y="14537"/>
                  <a:pt x="159524" y="10539"/>
                  <a:pt x="161518" y="8540"/>
                </a:cubicBezTo>
                <a:cubicBezTo>
                  <a:pt x="161518" y="6541"/>
                  <a:pt x="165506" y="4542"/>
                  <a:pt x="167500" y="4542"/>
                </a:cubicBezTo>
                <a:cubicBezTo>
                  <a:pt x="169494" y="4542"/>
                  <a:pt x="177471" y="2543"/>
                  <a:pt x="177471" y="2543"/>
                </a:cubicBezTo>
                <a:cubicBezTo>
                  <a:pt x="177471" y="2543"/>
                  <a:pt x="179465" y="544"/>
                  <a:pt x="183453" y="544"/>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4" name="Belgium"/>
          <p:cNvSpPr>
            <a:spLocks/>
          </p:cNvSpPr>
          <p:nvPr/>
        </p:nvSpPr>
        <p:spPr bwMode="auto">
          <a:xfrm>
            <a:off x="6256615" y="2301792"/>
            <a:ext cx="111056" cy="80026"/>
          </a:xfrm>
          <a:custGeom>
            <a:avLst/>
            <a:gdLst>
              <a:gd name="T0" fmla="*/ 0 w 54"/>
              <a:gd name="T1" fmla="*/ 8 h 39"/>
              <a:gd name="T2" fmla="*/ 3 w 54"/>
              <a:gd name="T3" fmla="*/ 8 h 39"/>
              <a:gd name="T4" fmla="*/ 6 w 54"/>
              <a:gd name="T5" fmla="*/ 6 h 39"/>
              <a:gd name="T6" fmla="*/ 10 w 54"/>
              <a:gd name="T7" fmla="*/ 4 h 39"/>
              <a:gd name="T8" fmla="*/ 11 w 54"/>
              <a:gd name="T9" fmla="*/ 3 h 39"/>
              <a:gd name="T10" fmla="*/ 14 w 54"/>
              <a:gd name="T11" fmla="*/ 4 h 39"/>
              <a:gd name="T12" fmla="*/ 18 w 54"/>
              <a:gd name="T13" fmla="*/ 4 h 39"/>
              <a:gd name="T14" fmla="*/ 20 w 54"/>
              <a:gd name="T15" fmla="*/ 3 h 39"/>
              <a:gd name="T16" fmla="*/ 24 w 54"/>
              <a:gd name="T17" fmla="*/ 3 h 39"/>
              <a:gd name="T18" fmla="*/ 26 w 54"/>
              <a:gd name="T19" fmla="*/ 1 h 39"/>
              <a:gd name="T20" fmla="*/ 28 w 54"/>
              <a:gd name="T21" fmla="*/ 1 h 39"/>
              <a:gd name="T22" fmla="*/ 29 w 54"/>
              <a:gd name="T23" fmla="*/ 3 h 39"/>
              <a:gd name="T24" fmla="*/ 31 w 54"/>
              <a:gd name="T25" fmla="*/ 2 h 39"/>
              <a:gd name="T26" fmla="*/ 33 w 54"/>
              <a:gd name="T27" fmla="*/ 5 h 39"/>
              <a:gd name="T28" fmla="*/ 37 w 54"/>
              <a:gd name="T29" fmla="*/ 6 h 39"/>
              <a:gd name="T30" fmla="*/ 41 w 54"/>
              <a:gd name="T31" fmla="*/ 8 h 39"/>
              <a:gd name="T32" fmla="*/ 44 w 54"/>
              <a:gd name="T33" fmla="*/ 8 h 39"/>
              <a:gd name="T34" fmla="*/ 43 w 54"/>
              <a:gd name="T35" fmla="*/ 12 h 39"/>
              <a:gd name="T36" fmla="*/ 45 w 54"/>
              <a:gd name="T37" fmla="*/ 16 h 39"/>
              <a:gd name="T38" fmla="*/ 47 w 54"/>
              <a:gd name="T39" fmla="*/ 20 h 39"/>
              <a:gd name="T40" fmla="*/ 49 w 54"/>
              <a:gd name="T41" fmla="*/ 22 h 39"/>
              <a:gd name="T42" fmla="*/ 49 w 54"/>
              <a:gd name="T43" fmla="*/ 24 h 39"/>
              <a:gd name="T44" fmla="*/ 52 w 54"/>
              <a:gd name="T45" fmla="*/ 25 h 39"/>
              <a:gd name="T46" fmla="*/ 54 w 54"/>
              <a:gd name="T47" fmla="*/ 27 h 39"/>
              <a:gd name="T48" fmla="*/ 54 w 54"/>
              <a:gd name="T49" fmla="*/ 29 h 39"/>
              <a:gd name="T50" fmla="*/ 51 w 54"/>
              <a:gd name="T51" fmla="*/ 29 h 39"/>
              <a:gd name="T52" fmla="*/ 48 w 54"/>
              <a:gd name="T53" fmla="*/ 31 h 39"/>
              <a:gd name="T54" fmla="*/ 48 w 54"/>
              <a:gd name="T55" fmla="*/ 33 h 39"/>
              <a:gd name="T56" fmla="*/ 48 w 54"/>
              <a:gd name="T57" fmla="*/ 36 h 39"/>
              <a:gd name="T58" fmla="*/ 45 w 54"/>
              <a:gd name="T59" fmla="*/ 39 h 39"/>
              <a:gd name="T60" fmla="*/ 43 w 54"/>
              <a:gd name="T61" fmla="*/ 38 h 39"/>
              <a:gd name="T62" fmla="*/ 42 w 54"/>
              <a:gd name="T63" fmla="*/ 35 h 39"/>
              <a:gd name="T64" fmla="*/ 40 w 54"/>
              <a:gd name="T65" fmla="*/ 34 h 39"/>
              <a:gd name="T66" fmla="*/ 35 w 54"/>
              <a:gd name="T67" fmla="*/ 34 h 39"/>
              <a:gd name="T68" fmla="*/ 31 w 54"/>
              <a:gd name="T69" fmla="*/ 31 h 39"/>
              <a:gd name="T70" fmla="*/ 28 w 54"/>
              <a:gd name="T71" fmla="*/ 30 h 39"/>
              <a:gd name="T72" fmla="*/ 27 w 54"/>
              <a:gd name="T73" fmla="*/ 26 h 39"/>
              <a:gd name="T74" fmla="*/ 24 w 54"/>
              <a:gd name="T75" fmla="*/ 23 h 39"/>
              <a:gd name="T76" fmla="*/ 21 w 54"/>
              <a:gd name="T77" fmla="*/ 22 h 39"/>
              <a:gd name="T78" fmla="*/ 18 w 54"/>
              <a:gd name="T79" fmla="*/ 21 h 39"/>
              <a:gd name="T80" fmla="*/ 14 w 54"/>
              <a:gd name="T81" fmla="*/ 21 h 39"/>
              <a:gd name="T82" fmla="*/ 14 w 54"/>
              <a:gd name="T83" fmla="*/ 19 h 39"/>
              <a:gd name="T84" fmla="*/ 11 w 54"/>
              <a:gd name="T85" fmla="*/ 19 h 39"/>
              <a:gd name="T86" fmla="*/ 9 w 54"/>
              <a:gd name="T87" fmla="*/ 17 h 39"/>
              <a:gd name="T88" fmla="*/ 5 w 54"/>
              <a:gd name="T89" fmla="*/ 15 h 39"/>
              <a:gd name="T90" fmla="*/ 3 w 54"/>
              <a:gd name="T91" fmla="*/ 14 h 39"/>
              <a:gd name="T92" fmla="*/ 2 w 54"/>
              <a:gd name="T93" fmla="*/ 11 h 39"/>
              <a:gd name="T94" fmla="*/ 1 w 54"/>
              <a:gd name="T95" fmla="*/ 9 h 39"/>
              <a:gd name="T96" fmla="*/ 0 w 54"/>
              <a:gd name="T9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39">
                <a:moveTo>
                  <a:pt x="0" y="8"/>
                </a:moveTo>
                <a:cubicBezTo>
                  <a:pt x="1" y="8"/>
                  <a:pt x="2" y="8"/>
                  <a:pt x="3" y="8"/>
                </a:cubicBezTo>
                <a:cubicBezTo>
                  <a:pt x="5" y="8"/>
                  <a:pt x="5" y="7"/>
                  <a:pt x="6" y="6"/>
                </a:cubicBezTo>
                <a:cubicBezTo>
                  <a:pt x="7" y="4"/>
                  <a:pt x="9" y="4"/>
                  <a:pt x="10" y="4"/>
                </a:cubicBezTo>
                <a:cubicBezTo>
                  <a:pt x="11" y="4"/>
                  <a:pt x="11" y="4"/>
                  <a:pt x="11" y="3"/>
                </a:cubicBezTo>
                <a:cubicBezTo>
                  <a:pt x="11" y="2"/>
                  <a:pt x="13" y="4"/>
                  <a:pt x="14" y="4"/>
                </a:cubicBezTo>
                <a:cubicBezTo>
                  <a:pt x="16" y="4"/>
                  <a:pt x="18" y="4"/>
                  <a:pt x="18" y="4"/>
                </a:cubicBezTo>
                <a:cubicBezTo>
                  <a:pt x="18" y="4"/>
                  <a:pt x="19" y="2"/>
                  <a:pt x="20" y="3"/>
                </a:cubicBezTo>
                <a:cubicBezTo>
                  <a:pt x="22" y="3"/>
                  <a:pt x="24" y="3"/>
                  <a:pt x="24" y="3"/>
                </a:cubicBezTo>
                <a:cubicBezTo>
                  <a:pt x="25" y="3"/>
                  <a:pt x="25" y="1"/>
                  <a:pt x="26" y="1"/>
                </a:cubicBezTo>
                <a:cubicBezTo>
                  <a:pt x="26" y="0"/>
                  <a:pt x="28" y="1"/>
                  <a:pt x="28" y="1"/>
                </a:cubicBezTo>
                <a:cubicBezTo>
                  <a:pt x="28" y="2"/>
                  <a:pt x="28" y="3"/>
                  <a:pt x="29" y="3"/>
                </a:cubicBezTo>
                <a:cubicBezTo>
                  <a:pt x="29" y="3"/>
                  <a:pt x="31" y="2"/>
                  <a:pt x="31" y="2"/>
                </a:cubicBezTo>
                <a:cubicBezTo>
                  <a:pt x="32" y="2"/>
                  <a:pt x="32" y="4"/>
                  <a:pt x="33" y="5"/>
                </a:cubicBezTo>
                <a:cubicBezTo>
                  <a:pt x="34" y="5"/>
                  <a:pt x="36" y="6"/>
                  <a:pt x="37" y="6"/>
                </a:cubicBezTo>
                <a:cubicBezTo>
                  <a:pt x="38" y="7"/>
                  <a:pt x="39" y="8"/>
                  <a:pt x="41" y="8"/>
                </a:cubicBezTo>
                <a:cubicBezTo>
                  <a:pt x="42" y="8"/>
                  <a:pt x="44" y="8"/>
                  <a:pt x="44" y="8"/>
                </a:cubicBezTo>
                <a:cubicBezTo>
                  <a:pt x="44" y="9"/>
                  <a:pt x="43" y="11"/>
                  <a:pt x="43" y="12"/>
                </a:cubicBezTo>
                <a:cubicBezTo>
                  <a:pt x="43" y="14"/>
                  <a:pt x="44" y="15"/>
                  <a:pt x="45" y="16"/>
                </a:cubicBezTo>
                <a:cubicBezTo>
                  <a:pt x="45" y="17"/>
                  <a:pt x="47" y="20"/>
                  <a:pt x="47" y="20"/>
                </a:cubicBezTo>
                <a:cubicBezTo>
                  <a:pt x="48" y="21"/>
                  <a:pt x="49" y="22"/>
                  <a:pt x="49" y="22"/>
                </a:cubicBezTo>
                <a:cubicBezTo>
                  <a:pt x="49" y="23"/>
                  <a:pt x="49" y="24"/>
                  <a:pt x="49" y="24"/>
                </a:cubicBezTo>
                <a:cubicBezTo>
                  <a:pt x="49" y="24"/>
                  <a:pt x="51" y="24"/>
                  <a:pt x="52" y="25"/>
                </a:cubicBezTo>
                <a:cubicBezTo>
                  <a:pt x="53" y="26"/>
                  <a:pt x="54" y="27"/>
                  <a:pt x="54" y="27"/>
                </a:cubicBezTo>
                <a:cubicBezTo>
                  <a:pt x="54" y="28"/>
                  <a:pt x="54" y="29"/>
                  <a:pt x="54" y="29"/>
                </a:cubicBezTo>
                <a:cubicBezTo>
                  <a:pt x="53" y="29"/>
                  <a:pt x="52" y="29"/>
                  <a:pt x="51" y="29"/>
                </a:cubicBezTo>
                <a:cubicBezTo>
                  <a:pt x="50" y="30"/>
                  <a:pt x="49" y="30"/>
                  <a:pt x="48" y="31"/>
                </a:cubicBezTo>
                <a:cubicBezTo>
                  <a:pt x="48" y="31"/>
                  <a:pt x="48" y="32"/>
                  <a:pt x="48" y="33"/>
                </a:cubicBezTo>
                <a:cubicBezTo>
                  <a:pt x="49" y="34"/>
                  <a:pt x="48" y="36"/>
                  <a:pt x="48" y="36"/>
                </a:cubicBezTo>
                <a:cubicBezTo>
                  <a:pt x="47" y="37"/>
                  <a:pt x="45" y="39"/>
                  <a:pt x="45" y="39"/>
                </a:cubicBezTo>
                <a:cubicBezTo>
                  <a:pt x="45" y="39"/>
                  <a:pt x="43" y="38"/>
                  <a:pt x="43" y="38"/>
                </a:cubicBezTo>
                <a:cubicBezTo>
                  <a:pt x="42" y="37"/>
                  <a:pt x="42" y="35"/>
                  <a:pt x="42" y="35"/>
                </a:cubicBezTo>
                <a:cubicBezTo>
                  <a:pt x="42" y="35"/>
                  <a:pt x="41" y="34"/>
                  <a:pt x="40" y="34"/>
                </a:cubicBezTo>
                <a:cubicBezTo>
                  <a:pt x="40" y="34"/>
                  <a:pt x="37" y="34"/>
                  <a:pt x="35" y="34"/>
                </a:cubicBezTo>
                <a:cubicBezTo>
                  <a:pt x="34" y="33"/>
                  <a:pt x="33" y="32"/>
                  <a:pt x="31" y="31"/>
                </a:cubicBezTo>
                <a:cubicBezTo>
                  <a:pt x="30" y="31"/>
                  <a:pt x="29" y="31"/>
                  <a:pt x="28" y="30"/>
                </a:cubicBezTo>
                <a:cubicBezTo>
                  <a:pt x="27" y="30"/>
                  <a:pt x="27" y="28"/>
                  <a:pt x="27" y="26"/>
                </a:cubicBezTo>
                <a:cubicBezTo>
                  <a:pt x="27" y="24"/>
                  <a:pt x="25" y="23"/>
                  <a:pt x="24" y="23"/>
                </a:cubicBezTo>
                <a:cubicBezTo>
                  <a:pt x="22" y="22"/>
                  <a:pt x="22" y="22"/>
                  <a:pt x="21" y="22"/>
                </a:cubicBezTo>
                <a:cubicBezTo>
                  <a:pt x="20" y="23"/>
                  <a:pt x="18" y="21"/>
                  <a:pt x="18" y="21"/>
                </a:cubicBezTo>
                <a:cubicBezTo>
                  <a:pt x="14" y="21"/>
                  <a:pt x="14" y="21"/>
                  <a:pt x="14" y="21"/>
                </a:cubicBezTo>
                <a:cubicBezTo>
                  <a:pt x="14" y="19"/>
                  <a:pt x="14" y="19"/>
                  <a:pt x="14" y="19"/>
                </a:cubicBezTo>
                <a:cubicBezTo>
                  <a:pt x="14" y="19"/>
                  <a:pt x="12" y="19"/>
                  <a:pt x="11" y="19"/>
                </a:cubicBezTo>
                <a:cubicBezTo>
                  <a:pt x="11" y="18"/>
                  <a:pt x="10" y="18"/>
                  <a:pt x="9" y="17"/>
                </a:cubicBezTo>
                <a:cubicBezTo>
                  <a:pt x="8" y="16"/>
                  <a:pt x="5" y="15"/>
                  <a:pt x="5" y="15"/>
                </a:cubicBezTo>
                <a:cubicBezTo>
                  <a:pt x="5" y="15"/>
                  <a:pt x="3" y="14"/>
                  <a:pt x="3" y="14"/>
                </a:cubicBezTo>
                <a:cubicBezTo>
                  <a:pt x="2" y="13"/>
                  <a:pt x="3" y="11"/>
                  <a:pt x="2" y="11"/>
                </a:cubicBezTo>
                <a:cubicBezTo>
                  <a:pt x="2" y="10"/>
                  <a:pt x="2" y="9"/>
                  <a:pt x="1" y="9"/>
                </a:cubicBezTo>
                <a:cubicBezTo>
                  <a:pt x="1" y="9"/>
                  <a:pt x="1" y="9"/>
                  <a:pt x="0" y="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5" name="Netherlands"/>
          <p:cNvSpPr>
            <a:spLocks/>
          </p:cNvSpPr>
          <p:nvPr/>
        </p:nvSpPr>
        <p:spPr bwMode="auto">
          <a:xfrm>
            <a:off x="6277846" y="2226666"/>
            <a:ext cx="96359" cy="91458"/>
          </a:xfrm>
          <a:custGeom>
            <a:avLst/>
            <a:gdLst>
              <a:gd name="T0" fmla="*/ 45 w 47"/>
              <a:gd name="T1" fmla="*/ 3 h 45"/>
              <a:gd name="T2" fmla="*/ 46 w 47"/>
              <a:gd name="T3" fmla="*/ 5 h 45"/>
              <a:gd name="T4" fmla="*/ 47 w 47"/>
              <a:gd name="T5" fmla="*/ 8 h 45"/>
              <a:gd name="T6" fmla="*/ 46 w 47"/>
              <a:gd name="T7" fmla="*/ 13 h 45"/>
              <a:gd name="T8" fmla="*/ 45 w 47"/>
              <a:gd name="T9" fmla="*/ 20 h 45"/>
              <a:gd name="T10" fmla="*/ 42 w 47"/>
              <a:gd name="T11" fmla="*/ 25 h 45"/>
              <a:gd name="T12" fmla="*/ 40 w 47"/>
              <a:gd name="T13" fmla="*/ 28 h 45"/>
              <a:gd name="T14" fmla="*/ 37 w 47"/>
              <a:gd name="T15" fmla="*/ 32 h 45"/>
              <a:gd name="T16" fmla="*/ 36 w 47"/>
              <a:gd name="T17" fmla="*/ 35 h 45"/>
              <a:gd name="T18" fmla="*/ 34 w 47"/>
              <a:gd name="T19" fmla="*/ 43 h 45"/>
              <a:gd name="T20" fmla="*/ 34 w 47"/>
              <a:gd name="T21" fmla="*/ 45 h 45"/>
              <a:gd name="T22" fmla="*/ 31 w 47"/>
              <a:gd name="T23" fmla="*/ 45 h 45"/>
              <a:gd name="T24" fmla="*/ 27 w 47"/>
              <a:gd name="T25" fmla="*/ 43 h 45"/>
              <a:gd name="T26" fmla="*/ 23 w 47"/>
              <a:gd name="T27" fmla="*/ 42 h 45"/>
              <a:gd name="T28" fmla="*/ 21 w 47"/>
              <a:gd name="T29" fmla="*/ 39 h 45"/>
              <a:gd name="T30" fmla="*/ 19 w 47"/>
              <a:gd name="T31" fmla="*/ 40 h 45"/>
              <a:gd name="T32" fmla="*/ 18 w 47"/>
              <a:gd name="T33" fmla="*/ 38 h 45"/>
              <a:gd name="T34" fmla="*/ 16 w 47"/>
              <a:gd name="T35" fmla="*/ 38 h 45"/>
              <a:gd name="T36" fmla="*/ 14 w 47"/>
              <a:gd name="T37" fmla="*/ 40 h 45"/>
              <a:gd name="T38" fmla="*/ 10 w 47"/>
              <a:gd name="T39" fmla="*/ 40 h 45"/>
              <a:gd name="T40" fmla="*/ 8 w 47"/>
              <a:gd name="T41" fmla="*/ 41 h 45"/>
              <a:gd name="T42" fmla="*/ 4 w 47"/>
              <a:gd name="T43" fmla="*/ 41 h 45"/>
              <a:gd name="T44" fmla="*/ 1 w 47"/>
              <a:gd name="T45" fmla="*/ 40 h 45"/>
              <a:gd name="T46" fmla="*/ 0 w 47"/>
              <a:gd name="T47" fmla="*/ 39 h 45"/>
              <a:gd name="T48" fmla="*/ 5 w 47"/>
              <a:gd name="T49" fmla="*/ 35 h 45"/>
              <a:gd name="T50" fmla="*/ 6 w 47"/>
              <a:gd name="T51" fmla="*/ 32 h 45"/>
              <a:gd name="T52" fmla="*/ 9 w 47"/>
              <a:gd name="T53" fmla="*/ 33 h 45"/>
              <a:gd name="T54" fmla="*/ 10 w 47"/>
              <a:gd name="T55" fmla="*/ 32 h 45"/>
              <a:gd name="T56" fmla="*/ 10 w 47"/>
              <a:gd name="T57" fmla="*/ 29 h 45"/>
              <a:gd name="T58" fmla="*/ 12 w 47"/>
              <a:gd name="T59" fmla="*/ 24 h 45"/>
              <a:gd name="T60" fmla="*/ 13 w 47"/>
              <a:gd name="T61" fmla="*/ 15 h 45"/>
              <a:gd name="T62" fmla="*/ 12 w 47"/>
              <a:gd name="T63" fmla="*/ 10 h 45"/>
              <a:gd name="T64" fmla="*/ 12 w 47"/>
              <a:gd name="T65" fmla="*/ 7 h 45"/>
              <a:gd name="T66" fmla="*/ 16 w 47"/>
              <a:gd name="T67" fmla="*/ 5 h 45"/>
              <a:gd name="T68" fmla="*/ 19 w 47"/>
              <a:gd name="T69" fmla="*/ 5 h 45"/>
              <a:gd name="T70" fmla="*/ 17 w 47"/>
              <a:gd name="T71" fmla="*/ 9 h 45"/>
              <a:gd name="T72" fmla="*/ 16 w 47"/>
              <a:gd name="T73" fmla="*/ 11 h 45"/>
              <a:gd name="T74" fmla="*/ 19 w 47"/>
              <a:gd name="T75" fmla="*/ 11 h 45"/>
              <a:gd name="T76" fmla="*/ 21 w 47"/>
              <a:gd name="T77" fmla="*/ 7 h 45"/>
              <a:gd name="T78" fmla="*/ 23 w 47"/>
              <a:gd name="T79" fmla="*/ 6 h 45"/>
              <a:gd name="T80" fmla="*/ 25 w 47"/>
              <a:gd name="T81" fmla="*/ 5 h 45"/>
              <a:gd name="T82" fmla="*/ 30 w 47"/>
              <a:gd name="T83" fmla="*/ 3 h 45"/>
              <a:gd name="T84" fmla="*/ 34 w 47"/>
              <a:gd name="T85" fmla="*/ 5 h 45"/>
              <a:gd name="T86" fmla="*/ 35 w 47"/>
              <a:gd name="T87" fmla="*/ 3 h 45"/>
              <a:gd name="T88" fmla="*/ 41 w 47"/>
              <a:gd name="T89" fmla="*/ 0 h 45"/>
              <a:gd name="T90" fmla="*/ 44 w 47"/>
              <a:gd name="T91" fmla="*/ 3 h 45"/>
              <a:gd name="T92" fmla="*/ 45 w 47"/>
              <a:gd name="T93"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45">
                <a:moveTo>
                  <a:pt x="45" y="3"/>
                </a:moveTo>
                <a:cubicBezTo>
                  <a:pt x="45" y="4"/>
                  <a:pt x="46" y="5"/>
                  <a:pt x="46" y="5"/>
                </a:cubicBezTo>
                <a:cubicBezTo>
                  <a:pt x="47" y="6"/>
                  <a:pt x="47" y="7"/>
                  <a:pt x="47" y="8"/>
                </a:cubicBezTo>
                <a:cubicBezTo>
                  <a:pt x="47" y="9"/>
                  <a:pt x="47" y="12"/>
                  <a:pt x="46" y="13"/>
                </a:cubicBezTo>
                <a:cubicBezTo>
                  <a:pt x="46" y="15"/>
                  <a:pt x="45" y="19"/>
                  <a:pt x="45" y="20"/>
                </a:cubicBezTo>
                <a:cubicBezTo>
                  <a:pt x="44" y="21"/>
                  <a:pt x="43" y="24"/>
                  <a:pt x="42" y="25"/>
                </a:cubicBezTo>
                <a:cubicBezTo>
                  <a:pt x="42" y="26"/>
                  <a:pt x="40" y="28"/>
                  <a:pt x="40" y="28"/>
                </a:cubicBezTo>
                <a:cubicBezTo>
                  <a:pt x="39" y="29"/>
                  <a:pt x="38" y="31"/>
                  <a:pt x="37" y="32"/>
                </a:cubicBezTo>
                <a:cubicBezTo>
                  <a:pt x="37" y="32"/>
                  <a:pt x="36" y="35"/>
                  <a:pt x="36" y="35"/>
                </a:cubicBezTo>
                <a:cubicBezTo>
                  <a:pt x="36" y="35"/>
                  <a:pt x="35" y="42"/>
                  <a:pt x="34" y="43"/>
                </a:cubicBezTo>
                <a:cubicBezTo>
                  <a:pt x="34" y="44"/>
                  <a:pt x="34" y="44"/>
                  <a:pt x="34" y="45"/>
                </a:cubicBezTo>
                <a:cubicBezTo>
                  <a:pt x="34" y="45"/>
                  <a:pt x="32" y="45"/>
                  <a:pt x="31" y="45"/>
                </a:cubicBezTo>
                <a:cubicBezTo>
                  <a:pt x="29" y="45"/>
                  <a:pt x="28" y="44"/>
                  <a:pt x="27" y="43"/>
                </a:cubicBezTo>
                <a:cubicBezTo>
                  <a:pt x="26" y="43"/>
                  <a:pt x="24" y="42"/>
                  <a:pt x="23" y="42"/>
                </a:cubicBezTo>
                <a:cubicBezTo>
                  <a:pt x="22" y="41"/>
                  <a:pt x="22" y="39"/>
                  <a:pt x="21" y="39"/>
                </a:cubicBezTo>
                <a:cubicBezTo>
                  <a:pt x="21" y="39"/>
                  <a:pt x="19" y="40"/>
                  <a:pt x="19" y="40"/>
                </a:cubicBezTo>
                <a:cubicBezTo>
                  <a:pt x="18" y="40"/>
                  <a:pt x="18" y="39"/>
                  <a:pt x="18" y="38"/>
                </a:cubicBezTo>
                <a:cubicBezTo>
                  <a:pt x="18" y="38"/>
                  <a:pt x="16" y="37"/>
                  <a:pt x="16" y="38"/>
                </a:cubicBezTo>
                <a:cubicBezTo>
                  <a:pt x="15" y="38"/>
                  <a:pt x="15" y="40"/>
                  <a:pt x="14" y="40"/>
                </a:cubicBezTo>
                <a:cubicBezTo>
                  <a:pt x="14" y="40"/>
                  <a:pt x="12" y="40"/>
                  <a:pt x="10" y="40"/>
                </a:cubicBezTo>
                <a:cubicBezTo>
                  <a:pt x="9" y="39"/>
                  <a:pt x="8" y="41"/>
                  <a:pt x="8" y="41"/>
                </a:cubicBezTo>
                <a:cubicBezTo>
                  <a:pt x="8" y="41"/>
                  <a:pt x="6" y="41"/>
                  <a:pt x="4" y="41"/>
                </a:cubicBezTo>
                <a:cubicBezTo>
                  <a:pt x="3" y="41"/>
                  <a:pt x="1" y="39"/>
                  <a:pt x="1" y="40"/>
                </a:cubicBezTo>
                <a:cubicBezTo>
                  <a:pt x="1" y="39"/>
                  <a:pt x="1" y="39"/>
                  <a:pt x="0" y="39"/>
                </a:cubicBezTo>
                <a:cubicBezTo>
                  <a:pt x="0" y="37"/>
                  <a:pt x="3" y="36"/>
                  <a:pt x="5" y="35"/>
                </a:cubicBezTo>
                <a:cubicBezTo>
                  <a:pt x="6" y="35"/>
                  <a:pt x="6" y="32"/>
                  <a:pt x="6" y="32"/>
                </a:cubicBezTo>
                <a:cubicBezTo>
                  <a:pt x="6" y="32"/>
                  <a:pt x="8" y="31"/>
                  <a:pt x="9" y="33"/>
                </a:cubicBezTo>
                <a:cubicBezTo>
                  <a:pt x="10" y="35"/>
                  <a:pt x="11" y="33"/>
                  <a:pt x="10" y="32"/>
                </a:cubicBezTo>
                <a:cubicBezTo>
                  <a:pt x="10" y="31"/>
                  <a:pt x="10" y="30"/>
                  <a:pt x="10" y="29"/>
                </a:cubicBezTo>
                <a:cubicBezTo>
                  <a:pt x="10" y="28"/>
                  <a:pt x="11" y="26"/>
                  <a:pt x="12" y="24"/>
                </a:cubicBezTo>
                <a:cubicBezTo>
                  <a:pt x="13" y="21"/>
                  <a:pt x="13" y="15"/>
                  <a:pt x="13" y="15"/>
                </a:cubicBezTo>
                <a:cubicBezTo>
                  <a:pt x="13" y="15"/>
                  <a:pt x="13" y="11"/>
                  <a:pt x="12" y="10"/>
                </a:cubicBezTo>
                <a:cubicBezTo>
                  <a:pt x="12" y="9"/>
                  <a:pt x="12" y="8"/>
                  <a:pt x="12" y="7"/>
                </a:cubicBezTo>
                <a:cubicBezTo>
                  <a:pt x="12" y="6"/>
                  <a:pt x="16" y="5"/>
                  <a:pt x="16" y="5"/>
                </a:cubicBezTo>
                <a:cubicBezTo>
                  <a:pt x="16" y="5"/>
                  <a:pt x="19" y="4"/>
                  <a:pt x="19" y="5"/>
                </a:cubicBezTo>
                <a:cubicBezTo>
                  <a:pt x="19" y="7"/>
                  <a:pt x="18" y="9"/>
                  <a:pt x="17" y="9"/>
                </a:cubicBezTo>
                <a:cubicBezTo>
                  <a:pt x="16" y="10"/>
                  <a:pt x="16" y="10"/>
                  <a:pt x="16" y="11"/>
                </a:cubicBezTo>
                <a:cubicBezTo>
                  <a:pt x="17" y="13"/>
                  <a:pt x="19" y="11"/>
                  <a:pt x="19" y="11"/>
                </a:cubicBezTo>
                <a:cubicBezTo>
                  <a:pt x="21" y="7"/>
                  <a:pt x="21" y="7"/>
                  <a:pt x="21" y="7"/>
                </a:cubicBezTo>
                <a:cubicBezTo>
                  <a:pt x="21" y="7"/>
                  <a:pt x="23" y="6"/>
                  <a:pt x="23" y="6"/>
                </a:cubicBezTo>
                <a:cubicBezTo>
                  <a:pt x="24" y="6"/>
                  <a:pt x="25" y="5"/>
                  <a:pt x="25" y="5"/>
                </a:cubicBezTo>
                <a:cubicBezTo>
                  <a:pt x="25" y="5"/>
                  <a:pt x="27" y="3"/>
                  <a:pt x="30" y="3"/>
                </a:cubicBezTo>
                <a:cubicBezTo>
                  <a:pt x="33" y="3"/>
                  <a:pt x="33" y="5"/>
                  <a:pt x="34" y="5"/>
                </a:cubicBezTo>
                <a:cubicBezTo>
                  <a:pt x="35" y="5"/>
                  <a:pt x="35" y="5"/>
                  <a:pt x="35" y="3"/>
                </a:cubicBezTo>
                <a:cubicBezTo>
                  <a:pt x="36" y="2"/>
                  <a:pt x="39" y="0"/>
                  <a:pt x="41" y="0"/>
                </a:cubicBezTo>
                <a:cubicBezTo>
                  <a:pt x="44" y="0"/>
                  <a:pt x="42" y="3"/>
                  <a:pt x="44" y="3"/>
                </a:cubicBezTo>
                <a:cubicBezTo>
                  <a:pt x="45" y="3"/>
                  <a:pt x="45" y="3"/>
                  <a:pt x="45" y="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6" name="Germany"/>
          <p:cNvSpPr>
            <a:spLocks/>
          </p:cNvSpPr>
          <p:nvPr/>
        </p:nvSpPr>
        <p:spPr bwMode="auto">
          <a:xfrm>
            <a:off x="6344807" y="2179303"/>
            <a:ext cx="243346" cy="289075"/>
          </a:xfrm>
          <a:custGeom>
            <a:avLst/>
            <a:gdLst>
              <a:gd name="T0" fmla="*/ 102 w 118"/>
              <a:gd name="T1" fmla="*/ 123 h 141"/>
              <a:gd name="T2" fmla="*/ 93 w 118"/>
              <a:gd name="T3" fmla="*/ 133 h 141"/>
              <a:gd name="T4" fmla="*/ 83 w 118"/>
              <a:gd name="T5" fmla="*/ 138 h 141"/>
              <a:gd name="T6" fmla="*/ 72 w 118"/>
              <a:gd name="T7" fmla="*/ 140 h 141"/>
              <a:gd name="T8" fmla="*/ 63 w 118"/>
              <a:gd name="T9" fmla="*/ 138 h 141"/>
              <a:gd name="T10" fmla="*/ 51 w 118"/>
              <a:gd name="T11" fmla="*/ 138 h 141"/>
              <a:gd name="T12" fmla="*/ 44 w 118"/>
              <a:gd name="T13" fmla="*/ 137 h 141"/>
              <a:gd name="T14" fmla="*/ 34 w 118"/>
              <a:gd name="T15" fmla="*/ 138 h 141"/>
              <a:gd name="T16" fmla="*/ 27 w 118"/>
              <a:gd name="T17" fmla="*/ 137 h 141"/>
              <a:gd name="T18" fmla="*/ 22 w 118"/>
              <a:gd name="T19" fmla="*/ 128 h 141"/>
              <a:gd name="T20" fmla="*/ 27 w 118"/>
              <a:gd name="T21" fmla="*/ 109 h 141"/>
              <a:gd name="T22" fmla="*/ 21 w 118"/>
              <a:gd name="T23" fmla="*/ 104 h 141"/>
              <a:gd name="T24" fmla="*/ 13 w 118"/>
              <a:gd name="T25" fmla="*/ 99 h 141"/>
              <a:gd name="T26" fmla="*/ 11 w 118"/>
              <a:gd name="T27" fmla="*/ 89 h 141"/>
              <a:gd name="T28" fmla="*/ 6 w 118"/>
              <a:gd name="T29" fmla="*/ 84 h 141"/>
              <a:gd name="T30" fmla="*/ 2 w 118"/>
              <a:gd name="T31" fmla="*/ 76 h 141"/>
              <a:gd name="T32" fmla="*/ 3 w 118"/>
              <a:gd name="T33" fmla="*/ 58 h 141"/>
              <a:gd name="T34" fmla="*/ 9 w 118"/>
              <a:gd name="T35" fmla="*/ 48 h 141"/>
              <a:gd name="T36" fmla="*/ 14 w 118"/>
              <a:gd name="T37" fmla="*/ 31 h 141"/>
              <a:gd name="T38" fmla="*/ 12 w 118"/>
              <a:gd name="T39" fmla="*/ 21 h 141"/>
              <a:gd name="T40" fmla="*/ 24 w 118"/>
              <a:gd name="T41" fmla="*/ 24 h 141"/>
              <a:gd name="T42" fmla="*/ 28 w 118"/>
              <a:gd name="T43" fmla="*/ 23 h 141"/>
              <a:gd name="T44" fmla="*/ 34 w 118"/>
              <a:gd name="T45" fmla="*/ 17 h 141"/>
              <a:gd name="T46" fmla="*/ 31 w 118"/>
              <a:gd name="T47" fmla="*/ 11 h 141"/>
              <a:gd name="T48" fmla="*/ 34 w 118"/>
              <a:gd name="T49" fmla="*/ 5 h 141"/>
              <a:gd name="T50" fmla="*/ 40 w 118"/>
              <a:gd name="T51" fmla="*/ 2 h 141"/>
              <a:gd name="T52" fmla="*/ 47 w 118"/>
              <a:gd name="T53" fmla="*/ 1 h 141"/>
              <a:gd name="T54" fmla="*/ 49 w 118"/>
              <a:gd name="T55" fmla="*/ 4 h 141"/>
              <a:gd name="T56" fmla="*/ 59 w 118"/>
              <a:gd name="T57" fmla="*/ 8 h 141"/>
              <a:gd name="T58" fmla="*/ 63 w 118"/>
              <a:gd name="T59" fmla="*/ 15 h 141"/>
              <a:gd name="T60" fmla="*/ 63 w 118"/>
              <a:gd name="T61" fmla="*/ 7 h 141"/>
              <a:gd name="T62" fmla="*/ 67 w 118"/>
              <a:gd name="T63" fmla="*/ 10 h 141"/>
              <a:gd name="T64" fmla="*/ 79 w 118"/>
              <a:gd name="T65" fmla="*/ 4 h 141"/>
              <a:gd name="T66" fmla="*/ 85 w 118"/>
              <a:gd name="T67" fmla="*/ 10 h 141"/>
              <a:gd name="T68" fmla="*/ 93 w 118"/>
              <a:gd name="T69" fmla="*/ 9 h 141"/>
              <a:gd name="T70" fmla="*/ 88 w 118"/>
              <a:gd name="T71" fmla="*/ 5 h 141"/>
              <a:gd name="T72" fmla="*/ 89 w 118"/>
              <a:gd name="T73" fmla="*/ 1 h 141"/>
              <a:gd name="T74" fmla="*/ 94 w 118"/>
              <a:gd name="T75" fmla="*/ 5 h 141"/>
              <a:gd name="T76" fmla="*/ 98 w 118"/>
              <a:gd name="T77" fmla="*/ 13 h 141"/>
              <a:gd name="T78" fmla="*/ 110 w 118"/>
              <a:gd name="T79" fmla="*/ 17 h 141"/>
              <a:gd name="T80" fmla="*/ 112 w 118"/>
              <a:gd name="T81" fmla="*/ 29 h 141"/>
              <a:gd name="T82" fmla="*/ 113 w 118"/>
              <a:gd name="T83" fmla="*/ 41 h 141"/>
              <a:gd name="T84" fmla="*/ 113 w 118"/>
              <a:gd name="T85" fmla="*/ 52 h 141"/>
              <a:gd name="T86" fmla="*/ 115 w 118"/>
              <a:gd name="T87" fmla="*/ 65 h 141"/>
              <a:gd name="T88" fmla="*/ 117 w 118"/>
              <a:gd name="T89" fmla="*/ 72 h 141"/>
              <a:gd name="T90" fmla="*/ 117 w 118"/>
              <a:gd name="T91" fmla="*/ 78 h 141"/>
              <a:gd name="T92" fmla="*/ 111 w 118"/>
              <a:gd name="T93" fmla="*/ 72 h 141"/>
              <a:gd name="T94" fmla="*/ 105 w 118"/>
              <a:gd name="T95" fmla="*/ 79 h 141"/>
              <a:gd name="T96" fmla="*/ 97 w 118"/>
              <a:gd name="T97" fmla="*/ 80 h 141"/>
              <a:gd name="T98" fmla="*/ 89 w 118"/>
              <a:gd name="T99" fmla="*/ 84 h 141"/>
              <a:gd name="T100" fmla="*/ 82 w 118"/>
              <a:gd name="T101" fmla="*/ 85 h 141"/>
              <a:gd name="T102" fmla="*/ 87 w 118"/>
              <a:gd name="T103" fmla="*/ 98 h 141"/>
              <a:gd name="T104" fmla="*/ 93 w 118"/>
              <a:gd name="T105" fmla="*/ 106 h 141"/>
              <a:gd name="T106" fmla="*/ 99 w 118"/>
              <a:gd name="T107" fmla="*/ 114 h 141"/>
              <a:gd name="T108" fmla="*/ 105 w 118"/>
              <a:gd name="T109" fmla="*/ 1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141">
                <a:moveTo>
                  <a:pt x="108" y="119"/>
                </a:moveTo>
                <a:cubicBezTo>
                  <a:pt x="108" y="119"/>
                  <a:pt x="106" y="121"/>
                  <a:pt x="105" y="121"/>
                </a:cubicBezTo>
                <a:cubicBezTo>
                  <a:pt x="104" y="122"/>
                  <a:pt x="103" y="123"/>
                  <a:pt x="102" y="123"/>
                </a:cubicBezTo>
                <a:cubicBezTo>
                  <a:pt x="102" y="123"/>
                  <a:pt x="100" y="125"/>
                  <a:pt x="99" y="125"/>
                </a:cubicBezTo>
                <a:cubicBezTo>
                  <a:pt x="98" y="126"/>
                  <a:pt x="96" y="128"/>
                  <a:pt x="96" y="129"/>
                </a:cubicBezTo>
                <a:cubicBezTo>
                  <a:pt x="95" y="130"/>
                  <a:pt x="94" y="132"/>
                  <a:pt x="93" y="133"/>
                </a:cubicBezTo>
                <a:cubicBezTo>
                  <a:pt x="93" y="133"/>
                  <a:pt x="91" y="134"/>
                  <a:pt x="90" y="135"/>
                </a:cubicBezTo>
                <a:cubicBezTo>
                  <a:pt x="89" y="136"/>
                  <a:pt x="86" y="136"/>
                  <a:pt x="85" y="136"/>
                </a:cubicBezTo>
                <a:cubicBezTo>
                  <a:pt x="85" y="137"/>
                  <a:pt x="84" y="138"/>
                  <a:pt x="83" y="138"/>
                </a:cubicBezTo>
                <a:cubicBezTo>
                  <a:pt x="81" y="139"/>
                  <a:pt x="81" y="138"/>
                  <a:pt x="81" y="138"/>
                </a:cubicBezTo>
                <a:cubicBezTo>
                  <a:pt x="80" y="138"/>
                  <a:pt x="76" y="138"/>
                  <a:pt x="75" y="138"/>
                </a:cubicBezTo>
                <a:cubicBezTo>
                  <a:pt x="74" y="139"/>
                  <a:pt x="72" y="140"/>
                  <a:pt x="72" y="140"/>
                </a:cubicBezTo>
                <a:cubicBezTo>
                  <a:pt x="72" y="140"/>
                  <a:pt x="70" y="141"/>
                  <a:pt x="70" y="141"/>
                </a:cubicBezTo>
                <a:cubicBezTo>
                  <a:pt x="69" y="140"/>
                  <a:pt x="68" y="139"/>
                  <a:pt x="67" y="139"/>
                </a:cubicBezTo>
                <a:cubicBezTo>
                  <a:pt x="66" y="138"/>
                  <a:pt x="63" y="138"/>
                  <a:pt x="63" y="138"/>
                </a:cubicBezTo>
                <a:cubicBezTo>
                  <a:pt x="62" y="138"/>
                  <a:pt x="62" y="138"/>
                  <a:pt x="60" y="138"/>
                </a:cubicBezTo>
                <a:cubicBezTo>
                  <a:pt x="58" y="138"/>
                  <a:pt x="55" y="138"/>
                  <a:pt x="54" y="138"/>
                </a:cubicBezTo>
                <a:cubicBezTo>
                  <a:pt x="54" y="138"/>
                  <a:pt x="51" y="138"/>
                  <a:pt x="51" y="138"/>
                </a:cubicBezTo>
                <a:cubicBezTo>
                  <a:pt x="50" y="138"/>
                  <a:pt x="49" y="139"/>
                  <a:pt x="49" y="140"/>
                </a:cubicBezTo>
                <a:cubicBezTo>
                  <a:pt x="48" y="140"/>
                  <a:pt x="47" y="141"/>
                  <a:pt x="46" y="140"/>
                </a:cubicBezTo>
                <a:cubicBezTo>
                  <a:pt x="45" y="140"/>
                  <a:pt x="45" y="138"/>
                  <a:pt x="44" y="137"/>
                </a:cubicBezTo>
                <a:cubicBezTo>
                  <a:pt x="43" y="136"/>
                  <a:pt x="41" y="136"/>
                  <a:pt x="40" y="136"/>
                </a:cubicBezTo>
                <a:cubicBezTo>
                  <a:pt x="38" y="136"/>
                  <a:pt x="37" y="137"/>
                  <a:pt x="37" y="138"/>
                </a:cubicBezTo>
                <a:cubicBezTo>
                  <a:pt x="36" y="138"/>
                  <a:pt x="35" y="138"/>
                  <a:pt x="34" y="138"/>
                </a:cubicBezTo>
                <a:cubicBezTo>
                  <a:pt x="33" y="138"/>
                  <a:pt x="32" y="137"/>
                  <a:pt x="32" y="136"/>
                </a:cubicBezTo>
                <a:cubicBezTo>
                  <a:pt x="31" y="136"/>
                  <a:pt x="29" y="136"/>
                  <a:pt x="29" y="136"/>
                </a:cubicBezTo>
                <a:cubicBezTo>
                  <a:pt x="28" y="137"/>
                  <a:pt x="27" y="137"/>
                  <a:pt x="27" y="137"/>
                </a:cubicBezTo>
                <a:cubicBezTo>
                  <a:pt x="26" y="137"/>
                  <a:pt x="25" y="139"/>
                  <a:pt x="25" y="139"/>
                </a:cubicBezTo>
                <a:cubicBezTo>
                  <a:pt x="25" y="139"/>
                  <a:pt x="24" y="137"/>
                  <a:pt x="23" y="136"/>
                </a:cubicBezTo>
                <a:cubicBezTo>
                  <a:pt x="23" y="135"/>
                  <a:pt x="22" y="131"/>
                  <a:pt x="22" y="128"/>
                </a:cubicBezTo>
                <a:cubicBezTo>
                  <a:pt x="22" y="126"/>
                  <a:pt x="24" y="124"/>
                  <a:pt x="25" y="122"/>
                </a:cubicBezTo>
                <a:cubicBezTo>
                  <a:pt x="26" y="121"/>
                  <a:pt x="29" y="119"/>
                  <a:pt x="28" y="117"/>
                </a:cubicBezTo>
                <a:cubicBezTo>
                  <a:pt x="27" y="115"/>
                  <a:pt x="27" y="109"/>
                  <a:pt x="27" y="109"/>
                </a:cubicBezTo>
                <a:cubicBezTo>
                  <a:pt x="27" y="109"/>
                  <a:pt x="25" y="109"/>
                  <a:pt x="24" y="108"/>
                </a:cubicBezTo>
                <a:cubicBezTo>
                  <a:pt x="24" y="106"/>
                  <a:pt x="24" y="105"/>
                  <a:pt x="23" y="105"/>
                </a:cubicBezTo>
                <a:cubicBezTo>
                  <a:pt x="22" y="105"/>
                  <a:pt x="22" y="105"/>
                  <a:pt x="21" y="104"/>
                </a:cubicBezTo>
                <a:cubicBezTo>
                  <a:pt x="20" y="103"/>
                  <a:pt x="18" y="103"/>
                  <a:pt x="18" y="103"/>
                </a:cubicBezTo>
                <a:cubicBezTo>
                  <a:pt x="15" y="101"/>
                  <a:pt x="15" y="101"/>
                  <a:pt x="15" y="101"/>
                </a:cubicBezTo>
                <a:cubicBezTo>
                  <a:pt x="15" y="101"/>
                  <a:pt x="14" y="100"/>
                  <a:pt x="13" y="99"/>
                </a:cubicBezTo>
                <a:cubicBezTo>
                  <a:pt x="13" y="98"/>
                  <a:pt x="13" y="96"/>
                  <a:pt x="13" y="95"/>
                </a:cubicBezTo>
                <a:cubicBezTo>
                  <a:pt x="13" y="93"/>
                  <a:pt x="13" y="92"/>
                  <a:pt x="13" y="91"/>
                </a:cubicBezTo>
                <a:cubicBezTo>
                  <a:pt x="13" y="89"/>
                  <a:pt x="11" y="89"/>
                  <a:pt x="11" y="89"/>
                </a:cubicBezTo>
                <a:cubicBezTo>
                  <a:pt x="11" y="89"/>
                  <a:pt x="11" y="88"/>
                  <a:pt x="11" y="87"/>
                </a:cubicBezTo>
                <a:cubicBezTo>
                  <a:pt x="11" y="87"/>
                  <a:pt x="10" y="86"/>
                  <a:pt x="9" y="85"/>
                </a:cubicBezTo>
                <a:cubicBezTo>
                  <a:pt x="8" y="84"/>
                  <a:pt x="6" y="84"/>
                  <a:pt x="6" y="84"/>
                </a:cubicBezTo>
                <a:cubicBezTo>
                  <a:pt x="6" y="84"/>
                  <a:pt x="6" y="83"/>
                  <a:pt x="6" y="82"/>
                </a:cubicBezTo>
                <a:cubicBezTo>
                  <a:pt x="6" y="82"/>
                  <a:pt x="5" y="81"/>
                  <a:pt x="4" y="80"/>
                </a:cubicBezTo>
                <a:cubicBezTo>
                  <a:pt x="4" y="80"/>
                  <a:pt x="2" y="77"/>
                  <a:pt x="2" y="76"/>
                </a:cubicBezTo>
                <a:cubicBezTo>
                  <a:pt x="1" y="75"/>
                  <a:pt x="0" y="74"/>
                  <a:pt x="0" y="72"/>
                </a:cubicBezTo>
                <a:cubicBezTo>
                  <a:pt x="0" y="71"/>
                  <a:pt x="1" y="68"/>
                  <a:pt x="1" y="66"/>
                </a:cubicBezTo>
                <a:cubicBezTo>
                  <a:pt x="2" y="65"/>
                  <a:pt x="3" y="58"/>
                  <a:pt x="3" y="58"/>
                </a:cubicBezTo>
                <a:cubicBezTo>
                  <a:pt x="3" y="58"/>
                  <a:pt x="4" y="55"/>
                  <a:pt x="4" y="55"/>
                </a:cubicBezTo>
                <a:cubicBezTo>
                  <a:pt x="5" y="54"/>
                  <a:pt x="6" y="52"/>
                  <a:pt x="7" y="51"/>
                </a:cubicBezTo>
                <a:cubicBezTo>
                  <a:pt x="7" y="51"/>
                  <a:pt x="9" y="49"/>
                  <a:pt x="9" y="48"/>
                </a:cubicBezTo>
                <a:cubicBezTo>
                  <a:pt x="10" y="47"/>
                  <a:pt x="11" y="44"/>
                  <a:pt x="12" y="43"/>
                </a:cubicBezTo>
                <a:cubicBezTo>
                  <a:pt x="12" y="42"/>
                  <a:pt x="13" y="38"/>
                  <a:pt x="13" y="36"/>
                </a:cubicBezTo>
                <a:cubicBezTo>
                  <a:pt x="14" y="35"/>
                  <a:pt x="14" y="32"/>
                  <a:pt x="14" y="31"/>
                </a:cubicBezTo>
                <a:cubicBezTo>
                  <a:pt x="14" y="30"/>
                  <a:pt x="14" y="29"/>
                  <a:pt x="13" y="28"/>
                </a:cubicBezTo>
                <a:cubicBezTo>
                  <a:pt x="13" y="27"/>
                  <a:pt x="12" y="27"/>
                  <a:pt x="13" y="26"/>
                </a:cubicBezTo>
                <a:cubicBezTo>
                  <a:pt x="13" y="25"/>
                  <a:pt x="13" y="22"/>
                  <a:pt x="12" y="21"/>
                </a:cubicBezTo>
                <a:cubicBezTo>
                  <a:pt x="12" y="19"/>
                  <a:pt x="15" y="19"/>
                  <a:pt x="15" y="19"/>
                </a:cubicBezTo>
                <a:cubicBezTo>
                  <a:pt x="15" y="19"/>
                  <a:pt x="21" y="19"/>
                  <a:pt x="22" y="20"/>
                </a:cubicBezTo>
                <a:cubicBezTo>
                  <a:pt x="24" y="21"/>
                  <a:pt x="22" y="23"/>
                  <a:pt x="24" y="24"/>
                </a:cubicBezTo>
                <a:cubicBezTo>
                  <a:pt x="25" y="25"/>
                  <a:pt x="25" y="23"/>
                  <a:pt x="25" y="23"/>
                </a:cubicBezTo>
                <a:cubicBezTo>
                  <a:pt x="25" y="23"/>
                  <a:pt x="25" y="21"/>
                  <a:pt x="26" y="21"/>
                </a:cubicBezTo>
                <a:cubicBezTo>
                  <a:pt x="28" y="21"/>
                  <a:pt x="27" y="23"/>
                  <a:pt x="28" y="23"/>
                </a:cubicBezTo>
                <a:cubicBezTo>
                  <a:pt x="30" y="23"/>
                  <a:pt x="30" y="21"/>
                  <a:pt x="30" y="21"/>
                </a:cubicBezTo>
                <a:cubicBezTo>
                  <a:pt x="30" y="21"/>
                  <a:pt x="29" y="20"/>
                  <a:pt x="30" y="19"/>
                </a:cubicBezTo>
                <a:cubicBezTo>
                  <a:pt x="31" y="17"/>
                  <a:pt x="33" y="17"/>
                  <a:pt x="34" y="17"/>
                </a:cubicBezTo>
                <a:cubicBezTo>
                  <a:pt x="36" y="17"/>
                  <a:pt x="35" y="16"/>
                  <a:pt x="35" y="15"/>
                </a:cubicBezTo>
                <a:cubicBezTo>
                  <a:pt x="34" y="15"/>
                  <a:pt x="34" y="12"/>
                  <a:pt x="34" y="11"/>
                </a:cubicBezTo>
                <a:cubicBezTo>
                  <a:pt x="34" y="11"/>
                  <a:pt x="33" y="10"/>
                  <a:pt x="31" y="11"/>
                </a:cubicBezTo>
                <a:cubicBezTo>
                  <a:pt x="28" y="12"/>
                  <a:pt x="29" y="11"/>
                  <a:pt x="29" y="9"/>
                </a:cubicBezTo>
                <a:cubicBezTo>
                  <a:pt x="29" y="8"/>
                  <a:pt x="31" y="8"/>
                  <a:pt x="33" y="8"/>
                </a:cubicBezTo>
                <a:cubicBezTo>
                  <a:pt x="35" y="7"/>
                  <a:pt x="35" y="7"/>
                  <a:pt x="34" y="5"/>
                </a:cubicBezTo>
                <a:cubicBezTo>
                  <a:pt x="33" y="4"/>
                  <a:pt x="37" y="5"/>
                  <a:pt x="37" y="5"/>
                </a:cubicBezTo>
                <a:cubicBezTo>
                  <a:pt x="37" y="5"/>
                  <a:pt x="37" y="2"/>
                  <a:pt x="37" y="2"/>
                </a:cubicBezTo>
                <a:cubicBezTo>
                  <a:pt x="39" y="1"/>
                  <a:pt x="39" y="1"/>
                  <a:pt x="40" y="2"/>
                </a:cubicBezTo>
                <a:cubicBezTo>
                  <a:pt x="41" y="2"/>
                  <a:pt x="44" y="2"/>
                  <a:pt x="45" y="2"/>
                </a:cubicBezTo>
                <a:cubicBezTo>
                  <a:pt x="46" y="2"/>
                  <a:pt x="46" y="3"/>
                  <a:pt x="46" y="2"/>
                </a:cubicBezTo>
                <a:cubicBezTo>
                  <a:pt x="46" y="2"/>
                  <a:pt x="46" y="1"/>
                  <a:pt x="47" y="1"/>
                </a:cubicBezTo>
                <a:cubicBezTo>
                  <a:pt x="47" y="1"/>
                  <a:pt x="47" y="0"/>
                  <a:pt x="47" y="0"/>
                </a:cubicBezTo>
                <a:cubicBezTo>
                  <a:pt x="47" y="0"/>
                  <a:pt x="49" y="1"/>
                  <a:pt x="48" y="2"/>
                </a:cubicBezTo>
                <a:cubicBezTo>
                  <a:pt x="47" y="3"/>
                  <a:pt x="48" y="3"/>
                  <a:pt x="49" y="4"/>
                </a:cubicBezTo>
                <a:cubicBezTo>
                  <a:pt x="50" y="6"/>
                  <a:pt x="51" y="6"/>
                  <a:pt x="52" y="6"/>
                </a:cubicBezTo>
                <a:cubicBezTo>
                  <a:pt x="53" y="6"/>
                  <a:pt x="54" y="6"/>
                  <a:pt x="55" y="7"/>
                </a:cubicBezTo>
                <a:cubicBezTo>
                  <a:pt x="56" y="9"/>
                  <a:pt x="59" y="8"/>
                  <a:pt x="59" y="8"/>
                </a:cubicBezTo>
                <a:cubicBezTo>
                  <a:pt x="59" y="8"/>
                  <a:pt x="61" y="7"/>
                  <a:pt x="61" y="9"/>
                </a:cubicBezTo>
                <a:cubicBezTo>
                  <a:pt x="61" y="9"/>
                  <a:pt x="60" y="11"/>
                  <a:pt x="60" y="12"/>
                </a:cubicBezTo>
                <a:cubicBezTo>
                  <a:pt x="60" y="14"/>
                  <a:pt x="62" y="14"/>
                  <a:pt x="63" y="15"/>
                </a:cubicBezTo>
                <a:cubicBezTo>
                  <a:pt x="64" y="16"/>
                  <a:pt x="64" y="14"/>
                  <a:pt x="64" y="14"/>
                </a:cubicBezTo>
                <a:cubicBezTo>
                  <a:pt x="64" y="14"/>
                  <a:pt x="65" y="12"/>
                  <a:pt x="65" y="11"/>
                </a:cubicBezTo>
                <a:cubicBezTo>
                  <a:pt x="65" y="10"/>
                  <a:pt x="63" y="7"/>
                  <a:pt x="63" y="7"/>
                </a:cubicBezTo>
                <a:cubicBezTo>
                  <a:pt x="63" y="7"/>
                  <a:pt x="61" y="5"/>
                  <a:pt x="62" y="4"/>
                </a:cubicBezTo>
                <a:cubicBezTo>
                  <a:pt x="63" y="4"/>
                  <a:pt x="64" y="6"/>
                  <a:pt x="64" y="6"/>
                </a:cubicBezTo>
                <a:cubicBezTo>
                  <a:pt x="67" y="10"/>
                  <a:pt x="67" y="10"/>
                  <a:pt x="67" y="10"/>
                </a:cubicBezTo>
                <a:cubicBezTo>
                  <a:pt x="67" y="10"/>
                  <a:pt x="69" y="10"/>
                  <a:pt x="71" y="10"/>
                </a:cubicBezTo>
                <a:cubicBezTo>
                  <a:pt x="73" y="11"/>
                  <a:pt x="73" y="10"/>
                  <a:pt x="73" y="10"/>
                </a:cubicBezTo>
                <a:cubicBezTo>
                  <a:pt x="73" y="10"/>
                  <a:pt x="78" y="5"/>
                  <a:pt x="79" y="4"/>
                </a:cubicBezTo>
                <a:cubicBezTo>
                  <a:pt x="80" y="3"/>
                  <a:pt x="81" y="4"/>
                  <a:pt x="81" y="4"/>
                </a:cubicBezTo>
                <a:cubicBezTo>
                  <a:pt x="81" y="4"/>
                  <a:pt x="82" y="6"/>
                  <a:pt x="84" y="7"/>
                </a:cubicBezTo>
                <a:cubicBezTo>
                  <a:pt x="85" y="8"/>
                  <a:pt x="86" y="9"/>
                  <a:pt x="85" y="10"/>
                </a:cubicBezTo>
                <a:cubicBezTo>
                  <a:pt x="84" y="11"/>
                  <a:pt x="85" y="11"/>
                  <a:pt x="85" y="11"/>
                </a:cubicBezTo>
                <a:cubicBezTo>
                  <a:pt x="85" y="11"/>
                  <a:pt x="89" y="12"/>
                  <a:pt x="91" y="12"/>
                </a:cubicBezTo>
                <a:cubicBezTo>
                  <a:pt x="93" y="12"/>
                  <a:pt x="93" y="10"/>
                  <a:pt x="93" y="9"/>
                </a:cubicBezTo>
                <a:cubicBezTo>
                  <a:pt x="92" y="8"/>
                  <a:pt x="90" y="8"/>
                  <a:pt x="90" y="8"/>
                </a:cubicBezTo>
                <a:cubicBezTo>
                  <a:pt x="90" y="8"/>
                  <a:pt x="87" y="9"/>
                  <a:pt x="87" y="7"/>
                </a:cubicBezTo>
                <a:cubicBezTo>
                  <a:pt x="87" y="5"/>
                  <a:pt x="88" y="5"/>
                  <a:pt x="88" y="5"/>
                </a:cubicBezTo>
                <a:cubicBezTo>
                  <a:pt x="88" y="5"/>
                  <a:pt x="90" y="6"/>
                  <a:pt x="90" y="5"/>
                </a:cubicBezTo>
                <a:cubicBezTo>
                  <a:pt x="90" y="5"/>
                  <a:pt x="90" y="4"/>
                  <a:pt x="89" y="3"/>
                </a:cubicBezTo>
                <a:cubicBezTo>
                  <a:pt x="88" y="2"/>
                  <a:pt x="87" y="2"/>
                  <a:pt x="89" y="1"/>
                </a:cubicBezTo>
                <a:cubicBezTo>
                  <a:pt x="90" y="0"/>
                  <a:pt x="91" y="2"/>
                  <a:pt x="91" y="3"/>
                </a:cubicBezTo>
                <a:cubicBezTo>
                  <a:pt x="91" y="4"/>
                  <a:pt x="93" y="4"/>
                  <a:pt x="93" y="4"/>
                </a:cubicBezTo>
                <a:cubicBezTo>
                  <a:pt x="93" y="4"/>
                  <a:pt x="95" y="4"/>
                  <a:pt x="94" y="5"/>
                </a:cubicBezTo>
                <a:cubicBezTo>
                  <a:pt x="94" y="6"/>
                  <a:pt x="94" y="8"/>
                  <a:pt x="95" y="8"/>
                </a:cubicBezTo>
                <a:cubicBezTo>
                  <a:pt x="95" y="8"/>
                  <a:pt x="96" y="9"/>
                  <a:pt x="96" y="11"/>
                </a:cubicBezTo>
                <a:cubicBezTo>
                  <a:pt x="95" y="12"/>
                  <a:pt x="97" y="13"/>
                  <a:pt x="98" y="13"/>
                </a:cubicBezTo>
                <a:cubicBezTo>
                  <a:pt x="100" y="13"/>
                  <a:pt x="101" y="14"/>
                  <a:pt x="103" y="14"/>
                </a:cubicBezTo>
                <a:cubicBezTo>
                  <a:pt x="106" y="14"/>
                  <a:pt x="109" y="13"/>
                  <a:pt x="109" y="12"/>
                </a:cubicBezTo>
                <a:cubicBezTo>
                  <a:pt x="109" y="12"/>
                  <a:pt x="110" y="16"/>
                  <a:pt x="110" y="17"/>
                </a:cubicBezTo>
                <a:cubicBezTo>
                  <a:pt x="110" y="18"/>
                  <a:pt x="109" y="21"/>
                  <a:pt x="109" y="23"/>
                </a:cubicBezTo>
                <a:cubicBezTo>
                  <a:pt x="109" y="24"/>
                  <a:pt x="110" y="24"/>
                  <a:pt x="110" y="24"/>
                </a:cubicBezTo>
                <a:cubicBezTo>
                  <a:pt x="110" y="24"/>
                  <a:pt x="112" y="28"/>
                  <a:pt x="112" y="29"/>
                </a:cubicBezTo>
                <a:cubicBezTo>
                  <a:pt x="113" y="30"/>
                  <a:pt x="113" y="32"/>
                  <a:pt x="113" y="33"/>
                </a:cubicBezTo>
                <a:cubicBezTo>
                  <a:pt x="113" y="33"/>
                  <a:pt x="113" y="35"/>
                  <a:pt x="113" y="36"/>
                </a:cubicBezTo>
                <a:cubicBezTo>
                  <a:pt x="113" y="38"/>
                  <a:pt x="113" y="41"/>
                  <a:pt x="113" y="41"/>
                </a:cubicBezTo>
                <a:cubicBezTo>
                  <a:pt x="113" y="41"/>
                  <a:pt x="115" y="43"/>
                  <a:pt x="115" y="44"/>
                </a:cubicBezTo>
                <a:cubicBezTo>
                  <a:pt x="115" y="45"/>
                  <a:pt x="114" y="46"/>
                  <a:pt x="113" y="47"/>
                </a:cubicBezTo>
                <a:cubicBezTo>
                  <a:pt x="113" y="48"/>
                  <a:pt x="112" y="50"/>
                  <a:pt x="113" y="52"/>
                </a:cubicBezTo>
                <a:cubicBezTo>
                  <a:pt x="113" y="53"/>
                  <a:pt x="113" y="55"/>
                  <a:pt x="114" y="56"/>
                </a:cubicBezTo>
                <a:cubicBezTo>
                  <a:pt x="114" y="57"/>
                  <a:pt x="113" y="59"/>
                  <a:pt x="114" y="60"/>
                </a:cubicBezTo>
                <a:cubicBezTo>
                  <a:pt x="114" y="61"/>
                  <a:pt x="115" y="63"/>
                  <a:pt x="115" y="65"/>
                </a:cubicBezTo>
                <a:cubicBezTo>
                  <a:pt x="115" y="66"/>
                  <a:pt x="116" y="66"/>
                  <a:pt x="117" y="67"/>
                </a:cubicBezTo>
                <a:cubicBezTo>
                  <a:pt x="117" y="68"/>
                  <a:pt x="116" y="68"/>
                  <a:pt x="116" y="69"/>
                </a:cubicBezTo>
                <a:cubicBezTo>
                  <a:pt x="116" y="70"/>
                  <a:pt x="117" y="71"/>
                  <a:pt x="117" y="72"/>
                </a:cubicBezTo>
                <a:cubicBezTo>
                  <a:pt x="118" y="73"/>
                  <a:pt x="117" y="73"/>
                  <a:pt x="117" y="73"/>
                </a:cubicBezTo>
                <a:cubicBezTo>
                  <a:pt x="116" y="74"/>
                  <a:pt x="116" y="75"/>
                  <a:pt x="116" y="75"/>
                </a:cubicBezTo>
                <a:cubicBezTo>
                  <a:pt x="117" y="78"/>
                  <a:pt x="117" y="78"/>
                  <a:pt x="117" y="78"/>
                </a:cubicBezTo>
                <a:cubicBezTo>
                  <a:pt x="117" y="78"/>
                  <a:pt x="115" y="77"/>
                  <a:pt x="114" y="77"/>
                </a:cubicBezTo>
                <a:cubicBezTo>
                  <a:pt x="113" y="76"/>
                  <a:pt x="112" y="77"/>
                  <a:pt x="112" y="76"/>
                </a:cubicBezTo>
                <a:cubicBezTo>
                  <a:pt x="113" y="74"/>
                  <a:pt x="112" y="73"/>
                  <a:pt x="111" y="72"/>
                </a:cubicBezTo>
                <a:cubicBezTo>
                  <a:pt x="111" y="72"/>
                  <a:pt x="110" y="73"/>
                  <a:pt x="109" y="74"/>
                </a:cubicBezTo>
                <a:cubicBezTo>
                  <a:pt x="109" y="74"/>
                  <a:pt x="108" y="77"/>
                  <a:pt x="108" y="77"/>
                </a:cubicBezTo>
                <a:cubicBezTo>
                  <a:pt x="108" y="77"/>
                  <a:pt x="105" y="79"/>
                  <a:pt x="105" y="79"/>
                </a:cubicBezTo>
                <a:cubicBezTo>
                  <a:pt x="104" y="79"/>
                  <a:pt x="103" y="79"/>
                  <a:pt x="103" y="79"/>
                </a:cubicBezTo>
                <a:cubicBezTo>
                  <a:pt x="103" y="79"/>
                  <a:pt x="102" y="80"/>
                  <a:pt x="102" y="80"/>
                </a:cubicBezTo>
                <a:cubicBezTo>
                  <a:pt x="100" y="80"/>
                  <a:pt x="97" y="80"/>
                  <a:pt x="97" y="80"/>
                </a:cubicBezTo>
                <a:cubicBezTo>
                  <a:pt x="96" y="82"/>
                  <a:pt x="96" y="82"/>
                  <a:pt x="96" y="82"/>
                </a:cubicBezTo>
                <a:cubicBezTo>
                  <a:pt x="96" y="82"/>
                  <a:pt x="93" y="83"/>
                  <a:pt x="92" y="83"/>
                </a:cubicBezTo>
                <a:cubicBezTo>
                  <a:pt x="92" y="83"/>
                  <a:pt x="90" y="83"/>
                  <a:pt x="89" y="84"/>
                </a:cubicBezTo>
                <a:cubicBezTo>
                  <a:pt x="88" y="84"/>
                  <a:pt x="87" y="86"/>
                  <a:pt x="87" y="86"/>
                </a:cubicBezTo>
                <a:cubicBezTo>
                  <a:pt x="86" y="87"/>
                  <a:pt x="84" y="86"/>
                  <a:pt x="83" y="86"/>
                </a:cubicBezTo>
                <a:cubicBezTo>
                  <a:pt x="83" y="86"/>
                  <a:pt x="82" y="85"/>
                  <a:pt x="82" y="85"/>
                </a:cubicBezTo>
                <a:cubicBezTo>
                  <a:pt x="82" y="85"/>
                  <a:pt x="81" y="86"/>
                  <a:pt x="81" y="88"/>
                </a:cubicBezTo>
                <a:cubicBezTo>
                  <a:pt x="82" y="89"/>
                  <a:pt x="85" y="91"/>
                  <a:pt x="85" y="92"/>
                </a:cubicBezTo>
                <a:cubicBezTo>
                  <a:pt x="85" y="93"/>
                  <a:pt x="86" y="97"/>
                  <a:pt x="87" y="98"/>
                </a:cubicBezTo>
                <a:cubicBezTo>
                  <a:pt x="87" y="99"/>
                  <a:pt x="87" y="100"/>
                  <a:pt x="87" y="100"/>
                </a:cubicBezTo>
                <a:cubicBezTo>
                  <a:pt x="87" y="100"/>
                  <a:pt x="90" y="103"/>
                  <a:pt x="90" y="104"/>
                </a:cubicBezTo>
                <a:cubicBezTo>
                  <a:pt x="91" y="104"/>
                  <a:pt x="92" y="106"/>
                  <a:pt x="93" y="106"/>
                </a:cubicBezTo>
                <a:cubicBezTo>
                  <a:pt x="94" y="106"/>
                  <a:pt x="96" y="107"/>
                  <a:pt x="96" y="108"/>
                </a:cubicBezTo>
                <a:cubicBezTo>
                  <a:pt x="97" y="110"/>
                  <a:pt x="97" y="111"/>
                  <a:pt x="97" y="111"/>
                </a:cubicBezTo>
                <a:cubicBezTo>
                  <a:pt x="97" y="111"/>
                  <a:pt x="99" y="112"/>
                  <a:pt x="99" y="114"/>
                </a:cubicBezTo>
                <a:cubicBezTo>
                  <a:pt x="100" y="115"/>
                  <a:pt x="101" y="115"/>
                  <a:pt x="101" y="115"/>
                </a:cubicBezTo>
                <a:cubicBezTo>
                  <a:pt x="103" y="117"/>
                  <a:pt x="103" y="117"/>
                  <a:pt x="103" y="117"/>
                </a:cubicBezTo>
                <a:cubicBezTo>
                  <a:pt x="103" y="117"/>
                  <a:pt x="104" y="119"/>
                  <a:pt x="105" y="118"/>
                </a:cubicBezTo>
                <a:cubicBezTo>
                  <a:pt x="106" y="118"/>
                  <a:pt x="107" y="118"/>
                  <a:pt x="108" y="11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7" name="Denmark"/>
          <p:cNvSpPr>
            <a:spLocks/>
          </p:cNvSpPr>
          <p:nvPr/>
        </p:nvSpPr>
        <p:spPr bwMode="auto">
          <a:xfrm>
            <a:off x="6390536" y="2050281"/>
            <a:ext cx="118523" cy="145353"/>
          </a:xfrm>
          <a:custGeom>
            <a:avLst/>
            <a:gdLst>
              <a:gd name="connsiteX0" fmla="*/ 14287 w 115207"/>
              <a:gd name="connsiteY0" fmla="*/ 135334 h 141287"/>
              <a:gd name="connsiteX1" fmla="*/ 17463 w 115207"/>
              <a:gd name="connsiteY1" fmla="*/ 135334 h 141287"/>
              <a:gd name="connsiteX2" fmla="*/ 17463 w 115207"/>
              <a:gd name="connsiteY2" fmla="*/ 139303 h 141287"/>
              <a:gd name="connsiteX3" fmla="*/ 15875 w 115207"/>
              <a:gd name="connsiteY3" fmla="*/ 141287 h 141287"/>
              <a:gd name="connsiteX4" fmla="*/ 14287 w 115207"/>
              <a:gd name="connsiteY4" fmla="*/ 139303 h 141287"/>
              <a:gd name="connsiteX5" fmla="*/ 14287 w 115207"/>
              <a:gd name="connsiteY5" fmla="*/ 135334 h 141287"/>
              <a:gd name="connsiteX6" fmla="*/ 15346 w 115207"/>
              <a:gd name="connsiteY6" fmla="*/ 127000 h 141287"/>
              <a:gd name="connsiteX7" fmla="*/ 17462 w 115207"/>
              <a:gd name="connsiteY7" fmla="*/ 129117 h 141287"/>
              <a:gd name="connsiteX8" fmla="*/ 15346 w 115207"/>
              <a:gd name="connsiteY8" fmla="*/ 131233 h 141287"/>
              <a:gd name="connsiteX9" fmla="*/ 13229 w 115207"/>
              <a:gd name="connsiteY9" fmla="*/ 131233 h 141287"/>
              <a:gd name="connsiteX10" fmla="*/ 11112 w 115207"/>
              <a:gd name="connsiteY10" fmla="*/ 129117 h 141287"/>
              <a:gd name="connsiteX11" fmla="*/ 15346 w 115207"/>
              <a:gd name="connsiteY11" fmla="*/ 127000 h 141287"/>
              <a:gd name="connsiteX12" fmla="*/ 93927 w 115207"/>
              <a:gd name="connsiteY12" fmla="*/ 119062 h 141287"/>
              <a:gd name="connsiteX13" fmla="*/ 97632 w 115207"/>
              <a:gd name="connsiteY13" fmla="*/ 119062 h 141287"/>
              <a:gd name="connsiteX14" fmla="*/ 103188 w 115207"/>
              <a:gd name="connsiteY14" fmla="*/ 125412 h 141287"/>
              <a:gd name="connsiteX15" fmla="*/ 101336 w 115207"/>
              <a:gd name="connsiteY15" fmla="*/ 131762 h 141287"/>
              <a:gd name="connsiteX16" fmla="*/ 97632 w 115207"/>
              <a:gd name="connsiteY16" fmla="*/ 127529 h 141287"/>
              <a:gd name="connsiteX17" fmla="*/ 93927 w 115207"/>
              <a:gd name="connsiteY17" fmla="*/ 123295 h 141287"/>
              <a:gd name="connsiteX18" fmla="*/ 93927 w 115207"/>
              <a:gd name="connsiteY18" fmla="*/ 119062 h 141287"/>
              <a:gd name="connsiteX19" fmla="*/ 11906 w 115207"/>
              <a:gd name="connsiteY19" fmla="*/ 114300 h 141287"/>
              <a:gd name="connsiteX20" fmla="*/ 13891 w 115207"/>
              <a:gd name="connsiteY20" fmla="*/ 119063 h 141287"/>
              <a:gd name="connsiteX21" fmla="*/ 9922 w 115207"/>
              <a:gd name="connsiteY21" fmla="*/ 123825 h 141287"/>
              <a:gd name="connsiteX22" fmla="*/ 7937 w 115207"/>
              <a:gd name="connsiteY22" fmla="*/ 121444 h 141287"/>
              <a:gd name="connsiteX23" fmla="*/ 7937 w 115207"/>
              <a:gd name="connsiteY23" fmla="*/ 116681 h 141287"/>
              <a:gd name="connsiteX24" fmla="*/ 11906 w 115207"/>
              <a:gd name="connsiteY24" fmla="*/ 114300 h 141287"/>
              <a:gd name="connsiteX25" fmla="*/ 67522 w 115207"/>
              <a:gd name="connsiteY25" fmla="*/ 112712 h 141287"/>
              <a:gd name="connsiteX26" fmla="*/ 71544 w 115207"/>
              <a:gd name="connsiteY26" fmla="*/ 114829 h 141287"/>
              <a:gd name="connsiteX27" fmla="*/ 75565 w 115207"/>
              <a:gd name="connsiteY27" fmla="*/ 116945 h 141287"/>
              <a:gd name="connsiteX28" fmla="*/ 79587 w 115207"/>
              <a:gd name="connsiteY28" fmla="*/ 119062 h 141287"/>
              <a:gd name="connsiteX29" fmla="*/ 83609 w 115207"/>
              <a:gd name="connsiteY29" fmla="*/ 123295 h 141287"/>
              <a:gd name="connsiteX30" fmla="*/ 91652 w 115207"/>
              <a:gd name="connsiteY30" fmla="*/ 125412 h 141287"/>
              <a:gd name="connsiteX31" fmla="*/ 93663 w 115207"/>
              <a:gd name="connsiteY31" fmla="*/ 129645 h 141287"/>
              <a:gd name="connsiteX32" fmla="*/ 85620 w 115207"/>
              <a:gd name="connsiteY32" fmla="*/ 131762 h 141287"/>
              <a:gd name="connsiteX33" fmla="*/ 79587 w 115207"/>
              <a:gd name="connsiteY33" fmla="*/ 131762 h 141287"/>
              <a:gd name="connsiteX34" fmla="*/ 71544 w 115207"/>
              <a:gd name="connsiteY34" fmla="*/ 125412 h 141287"/>
              <a:gd name="connsiteX35" fmla="*/ 69533 w 115207"/>
              <a:gd name="connsiteY35" fmla="*/ 119062 h 141287"/>
              <a:gd name="connsiteX36" fmla="*/ 63500 w 115207"/>
              <a:gd name="connsiteY36" fmla="*/ 114829 h 141287"/>
              <a:gd name="connsiteX37" fmla="*/ 67522 w 115207"/>
              <a:gd name="connsiteY37" fmla="*/ 112712 h 141287"/>
              <a:gd name="connsiteX38" fmla="*/ 111919 w 115207"/>
              <a:gd name="connsiteY38" fmla="*/ 111125 h 141287"/>
              <a:gd name="connsiteX39" fmla="*/ 113904 w 115207"/>
              <a:gd name="connsiteY39" fmla="*/ 117475 h 141287"/>
              <a:gd name="connsiteX40" fmla="*/ 109935 w 115207"/>
              <a:gd name="connsiteY40" fmla="*/ 117475 h 141287"/>
              <a:gd name="connsiteX41" fmla="*/ 107950 w 115207"/>
              <a:gd name="connsiteY41" fmla="*/ 113242 h 141287"/>
              <a:gd name="connsiteX42" fmla="*/ 111919 w 115207"/>
              <a:gd name="connsiteY42" fmla="*/ 111125 h 141287"/>
              <a:gd name="connsiteX43" fmla="*/ 59532 w 115207"/>
              <a:gd name="connsiteY43" fmla="*/ 90921 h 141287"/>
              <a:gd name="connsiteX44" fmla="*/ 67469 w 115207"/>
              <a:gd name="connsiteY44" fmla="*/ 90921 h 141287"/>
              <a:gd name="connsiteX45" fmla="*/ 69454 w 115207"/>
              <a:gd name="connsiteY45" fmla="*/ 96982 h 141287"/>
              <a:gd name="connsiteX46" fmla="*/ 69454 w 115207"/>
              <a:gd name="connsiteY46" fmla="*/ 103043 h 141287"/>
              <a:gd name="connsiteX47" fmla="*/ 69454 w 115207"/>
              <a:gd name="connsiteY47" fmla="*/ 107084 h 141287"/>
              <a:gd name="connsiteX48" fmla="*/ 65485 w 115207"/>
              <a:gd name="connsiteY48" fmla="*/ 109105 h 141287"/>
              <a:gd name="connsiteX49" fmla="*/ 61516 w 115207"/>
              <a:gd name="connsiteY49" fmla="*/ 111125 h 141287"/>
              <a:gd name="connsiteX50" fmla="*/ 57547 w 115207"/>
              <a:gd name="connsiteY50" fmla="*/ 109105 h 141287"/>
              <a:gd name="connsiteX51" fmla="*/ 53578 w 115207"/>
              <a:gd name="connsiteY51" fmla="*/ 107084 h 141287"/>
              <a:gd name="connsiteX52" fmla="*/ 49610 w 115207"/>
              <a:gd name="connsiteY52" fmla="*/ 103043 h 141287"/>
              <a:gd name="connsiteX53" fmla="*/ 49610 w 115207"/>
              <a:gd name="connsiteY53" fmla="*/ 99002 h 141287"/>
              <a:gd name="connsiteX54" fmla="*/ 49610 w 115207"/>
              <a:gd name="connsiteY54" fmla="*/ 96982 h 141287"/>
              <a:gd name="connsiteX55" fmla="*/ 53578 w 115207"/>
              <a:gd name="connsiteY55" fmla="*/ 92941 h 141287"/>
              <a:gd name="connsiteX56" fmla="*/ 59532 w 115207"/>
              <a:gd name="connsiteY56" fmla="*/ 90921 h 141287"/>
              <a:gd name="connsiteX57" fmla="*/ 105109 w 115207"/>
              <a:gd name="connsiteY57" fmla="*/ 66675 h 141287"/>
              <a:gd name="connsiteX58" fmla="*/ 109120 w 115207"/>
              <a:gd name="connsiteY58" fmla="*/ 68660 h 141287"/>
              <a:gd name="connsiteX59" fmla="*/ 109120 w 115207"/>
              <a:gd name="connsiteY59" fmla="*/ 78581 h 141287"/>
              <a:gd name="connsiteX60" fmla="*/ 111125 w 115207"/>
              <a:gd name="connsiteY60" fmla="*/ 84535 h 141287"/>
              <a:gd name="connsiteX61" fmla="*/ 111125 w 115207"/>
              <a:gd name="connsiteY61" fmla="*/ 90488 h 141287"/>
              <a:gd name="connsiteX62" fmla="*/ 107115 w 115207"/>
              <a:gd name="connsiteY62" fmla="*/ 92472 h 141287"/>
              <a:gd name="connsiteX63" fmla="*/ 107115 w 115207"/>
              <a:gd name="connsiteY63" fmla="*/ 98425 h 141287"/>
              <a:gd name="connsiteX64" fmla="*/ 111125 w 115207"/>
              <a:gd name="connsiteY64" fmla="*/ 102394 h 141287"/>
              <a:gd name="connsiteX65" fmla="*/ 107115 w 115207"/>
              <a:gd name="connsiteY65" fmla="*/ 108347 h 141287"/>
              <a:gd name="connsiteX66" fmla="*/ 101099 w 115207"/>
              <a:gd name="connsiteY66" fmla="*/ 110331 h 141287"/>
              <a:gd name="connsiteX67" fmla="*/ 97088 w 115207"/>
              <a:gd name="connsiteY67" fmla="*/ 114300 h 141287"/>
              <a:gd name="connsiteX68" fmla="*/ 93078 w 115207"/>
              <a:gd name="connsiteY68" fmla="*/ 112316 h 141287"/>
              <a:gd name="connsiteX69" fmla="*/ 91073 w 115207"/>
              <a:gd name="connsiteY69" fmla="*/ 106363 h 141287"/>
              <a:gd name="connsiteX70" fmla="*/ 87062 w 115207"/>
              <a:gd name="connsiteY70" fmla="*/ 102394 h 141287"/>
              <a:gd name="connsiteX71" fmla="*/ 83052 w 115207"/>
              <a:gd name="connsiteY71" fmla="*/ 104378 h 141287"/>
              <a:gd name="connsiteX72" fmla="*/ 79041 w 115207"/>
              <a:gd name="connsiteY72" fmla="*/ 104378 h 141287"/>
              <a:gd name="connsiteX73" fmla="*/ 77036 w 115207"/>
              <a:gd name="connsiteY73" fmla="*/ 100410 h 141287"/>
              <a:gd name="connsiteX74" fmla="*/ 77036 w 115207"/>
              <a:gd name="connsiteY74" fmla="*/ 92472 h 141287"/>
              <a:gd name="connsiteX75" fmla="*/ 73025 w 115207"/>
              <a:gd name="connsiteY75" fmla="*/ 88503 h 141287"/>
              <a:gd name="connsiteX76" fmla="*/ 73025 w 115207"/>
              <a:gd name="connsiteY76" fmla="*/ 82550 h 141287"/>
              <a:gd name="connsiteX77" fmla="*/ 79041 w 115207"/>
              <a:gd name="connsiteY77" fmla="*/ 80566 h 141287"/>
              <a:gd name="connsiteX78" fmla="*/ 83052 w 115207"/>
              <a:gd name="connsiteY78" fmla="*/ 76597 h 141287"/>
              <a:gd name="connsiteX79" fmla="*/ 89067 w 115207"/>
              <a:gd name="connsiteY79" fmla="*/ 74613 h 141287"/>
              <a:gd name="connsiteX80" fmla="*/ 91073 w 115207"/>
              <a:gd name="connsiteY80" fmla="*/ 78581 h 141287"/>
              <a:gd name="connsiteX81" fmla="*/ 91073 w 115207"/>
              <a:gd name="connsiteY81" fmla="*/ 84535 h 141287"/>
              <a:gd name="connsiteX82" fmla="*/ 97088 w 115207"/>
              <a:gd name="connsiteY82" fmla="*/ 84535 h 141287"/>
              <a:gd name="connsiteX83" fmla="*/ 101099 w 115207"/>
              <a:gd name="connsiteY83" fmla="*/ 84535 h 141287"/>
              <a:gd name="connsiteX84" fmla="*/ 103104 w 115207"/>
              <a:gd name="connsiteY84" fmla="*/ 78581 h 141287"/>
              <a:gd name="connsiteX85" fmla="*/ 99094 w 115207"/>
              <a:gd name="connsiteY85" fmla="*/ 76597 h 141287"/>
              <a:gd name="connsiteX86" fmla="*/ 95083 w 115207"/>
              <a:gd name="connsiteY86" fmla="*/ 72628 h 141287"/>
              <a:gd name="connsiteX87" fmla="*/ 99094 w 115207"/>
              <a:gd name="connsiteY87" fmla="*/ 68660 h 141287"/>
              <a:gd name="connsiteX88" fmla="*/ 105109 w 115207"/>
              <a:gd name="connsiteY88" fmla="*/ 66675 h 141287"/>
              <a:gd name="connsiteX89" fmla="*/ 71967 w 115207"/>
              <a:gd name="connsiteY89" fmla="*/ 19050 h 141287"/>
              <a:gd name="connsiteX90" fmla="*/ 75671 w 115207"/>
              <a:gd name="connsiteY90" fmla="*/ 19050 h 141287"/>
              <a:gd name="connsiteX91" fmla="*/ 79375 w 115207"/>
              <a:gd name="connsiteY91" fmla="*/ 21167 h 141287"/>
              <a:gd name="connsiteX92" fmla="*/ 73819 w 115207"/>
              <a:gd name="connsiteY92" fmla="*/ 23283 h 141287"/>
              <a:gd name="connsiteX93" fmla="*/ 71967 w 115207"/>
              <a:gd name="connsiteY93" fmla="*/ 19050 h 141287"/>
              <a:gd name="connsiteX94" fmla="*/ 61516 w 115207"/>
              <a:gd name="connsiteY94" fmla="*/ 0 h 141287"/>
              <a:gd name="connsiteX95" fmla="*/ 63501 w 115207"/>
              <a:gd name="connsiteY95" fmla="*/ 3969 h 141287"/>
              <a:gd name="connsiteX96" fmla="*/ 63501 w 115207"/>
              <a:gd name="connsiteY96" fmla="*/ 9922 h 141287"/>
              <a:gd name="connsiteX97" fmla="*/ 65485 w 115207"/>
              <a:gd name="connsiteY97" fmla="*/ 13891 h 141287"/>
              <a:gd name="connsiteX98" fmla="*/ 63501 w 115207"/>
              <a:gd name="connsiteY98" fmla="*/ 19844 h 141287"/>
              <a:gd name="connsiteX99" fmla="*/ 61516 w 115207"/>
              <a:gd name="connsiteY99" fmla="*/ 23813 h 141287"/>
              <a:gd name="connsiteX100" fmla="*/ 45641 w 115207"/>
              <a:gd name="connsiteY100" fmla="*/ 27781 h 141287"/>
              <a:gd name="connsiteX101" fmla="*/ 33735 w 115207"/>
              <a:gd name="connsiteY101" fmla="*/ 29766 h 141287"/>
              <a:gd name="connsiteX102" fmla="*/ 23813 w 115207"/>
              <a:gd name="connsiteY102" fmla="*/ 31750 h 141287"/>
              <a:gd name="connsiteX103" fmla="*/ 21829 w 115207"/>
              <a:gd name="connsiteY103" fmla="*/ 37703 h 141287"/>
              <a:gd name="connsiteX104" fmla="*/ 25797 w 115207"/>
              <a:gd name="connsiteY104" fmla="*/ 43656 h 141287"/>
              <a:gd name="connsiteX105" fmla="*/ 29766 w 115207"/>
              <a:gd name="connsiteY105" fmla="*/ 45641 h 141287"/>
              <a:gd name="connsiteX106" fmla="*/ 31750 w 115207"/>
              <a:gd name="connsiteY106" fmla="*/ 47625 h 141287"/>
              <a:gd name="connsiteX107" fmla="*/ 31750 w 115207"/>
              <a:gd name="connsiteY107" fmla="*/ 39687 h 141287"/>
              <a:gd name="connsiteX108" fmla="*/ 35719 w 115207"/>
              <a:gd name="connsiteY108" fmla="*/ 35719 h 141287"/>
              <a:gd name="connsiteX109" fmla="*/ 41672 w 115207"/>
              <a:gd name="connsiteY109" fmla="*/ 33734 h 141287"/>
              <a:gd name="connsiteX110" fmla="*/ 45641 w 115207"/>
              <a:gd name="connsiteY110" fmla="*/ 31750 h 141287"/>
              <a:gd name="connsiteX111" fmla="*/ 49610 w 115207"/>
              <a:gd name="connsiteY111" fmla="*/ 29766 h 141287"/>
              <a:gd name="connsiteX112" fmla="*/ 53579 w 115207"/>
              <a:gd name="connsiteY112" fmla="*/ 29766 h 141287"/>
              <a:gd name="connsiteX113" fmla="*/ 53579 w 115207"/>
              <a:gd name="connsiteY113" fmla="*/ 37703 h 141287"/>
              <a:gd name="connsiteX114" fmla="*/ 53579 w 115207"/>
              <a:gd name="connsiteY114" fmla="*/ 47625 h 141287"/>
              <a:gd name="connsiteX115" fmla="*/ 59532 w 115207"/>
              <a:gd name="connsiteY115" fmla="*/ 49609 h 141287"/>
              <a:gd name="connsiteX116" fmla="*/ 67469 w 115207"/>
              <a:gd name="connsiteY116" fmla="*/ 49609 h 141287"/>
              <a:gd name="connsiteX117" fmla="*/ 71438 w 115207"/>
              <a:gd name="connsiteY117" fmla="*/ 53578 h 141287"/>
              <a:gd name="connsiteX118" fmla="*/ 67469 w 115207"/>
              <a:gd name="connsiteY118" fmla="*/ 63500 h 141287"/>
              <a:gd name="connsiteX119" fmla="*/ 61516 w 115207"/>
              <a:gd name="connsiteY119" fmla="*/ 65484 h 141287"/>
              <a:gd name="connsiteX120" fmla="*/ 53579 w 115207"/>
              <a:gd name="connsiteY120" fmla="*/ 59531 h 141287"/>
              <a:gd name="connsiteX121" fmla="*/ 53579 w 115207"/>
              <a:gd name="connsiteY121" fmla="*/ 65484 h 141287"/>
              <a:gd name="connsiteX122" fmla="*/ 57548 w 115207"/>
              <a:gd name="connsiteY122" fmla="*/ 75406 h 141287"/>
              <a:gd name="connsiteX123" fmla="*/ 55563 w 115207"/>
              <a:gd name="connsiteY123" fmla="*/ 79375 h 141287"/>
              <a:gd name="connsiteX124" fmla="*/ 53579 w 115207"/>
              <a:gd name="connsiteY124" fmla="*/ 83344 h 141287"/>
              <a:gd name="connsiteX125" fmla="*/ 47626 w 115207"/>
              <a:gd name="connsiteY125" fmla="*/ 89297 h 141287"/>
              <a:gd name="connsiteX126" fmla="*/ 45641 w 115207"/>
              <a:gd name="connsiteY126" fmla="*/ 93265 h 141287"/>
              <a:gd name="connsiteX127" fmla="*/ 45641 w 115207"/>
              <a:gd name="connsiteY127" fmla="*/ 97234 h 141287"/>
              <a:gd name="connsiteX128" fmla="*/ 45641 w 115207"/>
              <a:gd name="connsiteY128" fmla="*/ 101203 h 141287"/>
              <a:gd name="connsiteX129" fmla="*/ 41672 w 115207"/>
              <a:gd name="connsiteY129" fmla="*/ 107156 h 141287"/>
              <a:gd name="connsiteX130" fmla="*/ 43657 w 115207"/>
              <a:gd name="connsiteY130" fmla="*/ 111125 h 141287"/>
              <a:gd name="connsiteX131" fmla="*/ 49610 w 115207"/>
              <a:gd name="connsiteY131" fmla="*/ 109140 h 141287"/>
              <a:gd name="connsiteX132" fmla="*/ 53579 w 115207"/>
              <a:gd name="connsiteY132" fmla="*/ 111125 h 141287"/>
              <a:gd name="connsiteX133" fmla="*/ 53579 w 115207"/>
              <a:gd name="connsiteY133" fmla="*/ 119062 h 141287"/>
              <a:gd name="connsiteX134" fmla="*/ 49610 w 115207"/>
              <a:gd name="connsiteY134" fmla="*/ 117078 h 141287"/>
              <a:gd name="connsiteX135" fmla="*/ 41672 w 115207"/>
              <a:gd name="connsiteY135" fmla="*/ 117078 h 141287"/>
              <a:gd name="connsiteX136" fmla="*/ 49610 w 115207"/>
              <a:gd name="connsiteY136" fmla="*/ 125015 h 141287"/>
              <a:gd name="connsiteX137" fmla="*/ 49610 w 115207"/>
              <a:gd name="connsiteY137" fmla="*/ 127000 h 141287"/>
              <a:gd name="connsiteX138" fmla="*/ 47626 w 115207"/>
              <a:gd name="connsiteY138" fmla="*/ 128984 h 141287"/>
              <a:gd name="connsiteX139" fmla="*/ 45641 w 115207"/>
              <a:gd name="connsiteY139" fmla="*/ 128984 h 141287"/>
              <a:gd name="connsiteX140" fmla="*/ 35719 w 115207"/>
              <a:gd name="connsiteY140" fmla="*/ 128984 h 141287"/>
              <a:gd name="connsiteX141" fmla="*/ 29766 w 115207"/>
              <a:gd name="connsiteY141" fmla="*/ 128984 h 141287"/>
              <a:gd name="connsiteX142" fmla="*/ 29766 w 115207"/>
              <a:gd name="connsiteY142" fmla="*/ 134937 h 141287"/>
              <a:gd name="connsiteX143" fmla="*/ 21829 w 115207"/>
              <a:gd name="connsiteY143" fmla="*/ 134937 h 141287"/>
              <a:gd name="connsiteX144" fmla="*/ 21829 w 115207"/>
              <a:gd name="connsiteY144" fmla="*/ 132953 h 141287"/>
              <a:gd name="connsiteX145" fmla="*/ 19844 w 115207"/>
              <a:gd name="connsiteY145" fmla="*/ 121047 h 141287"/>
              <a:gd name="connsiteX146" fmla="*/ 15875 w 115207"/>
              <a:gd name="connsiteY146" fmla="*/ 111125 h 141287"/>
              <a:gd name="connsiteX147" fmla="*/ 19844 w 115207"/>
              <a:gd name="connsiteY147" fmla="*/ 101203 h 141287"/>
              <a:gd name="connsiteX148" fmla="*/ 7938 w 115207"/>
              <a:gd name="connsiteY148" fmla="*/ 97234 h 141287"/>
              <a:gd name="connsiteX149" fmla="*/ 0 w 115207"/>
              <a:gd name="connsiteY149" fmla="*/ 93265 h 141287"/>
              <a:gd name="connsiteX150" fmla="*/ 5953 w 115207"/>
              <a:gd name="connsiteY150" fmla="*/ 79375 h 141287"/>
              <a:gd name="connsiteX151" fmla="*/ 3969 w 115207"/>
              <a:gd name="connsiteY151" fmla="*/ 69453 h 141287"/>
              <a:gd name="connsiteX152" fmla="*/ 5953 w 115207"/>
              <a:gd name="connsiteY152" fmla="*/ 61516 h 141287"/>
              <a:gd name="connsiteX153" fmla="*/ 5953 w 115207"/>
              <a:gd name="connsiteY153" fmla="*/ 59531 h 141287"/>
              <a:gd name="connsiteX154" fmla="*/ 0 w 115207"/>
              <a:gd name="connsiteY154" fmla="*/ 51594 h 141287"/>
              <a:gd name="connsiteX155" fmla="*/ 5953 w 115207"/>
              <a:gd name="connsiteY155" fmla="*/ 45641 h 141287"/>
              <a:gd name="connsiteX156" fmla="*/ 13891 w 115207"/>
              <a:gd name="connsiteY156" fmla="*/ 51594 h 141287"/>
              <a:gd name="connsiteX157" fmla="*/ 17860 w 115207"/>
              <a:gd name="connsiteY157" fmla="*/ 51594 h 141287"/>
              <a:gd name="connsiteX158" fmla="*/ 19844 w 115207"/>
              <a:gd name="connsiteY158" fmla="*/ 47625 h 141287"/>
              <a:gd name="connsiteX159" fmla="*/ 19844 w 115207"/>
              <a:gd name="connsiteY159" fmla="*/ 43656 h 141287"/>
              <a:gd name="connsiteX160" fmla="*/ 17860 w 115207"/>
              <a:gd name="connsiteY160" fmla="*/ 39687 h 141287"/>
              <a:gd name="connsiteX161" fmla="*/ 15875 w 115207"/>
              <a:gd name="connsiteY161" fmla="*/ 39687 h 141287"/>
              <a:gd name="connsiteX162" fmla="*/ 7938 w 115207"/>
              <a:gd name="connsiteY162" fmla="*/ 41672 h 141287"/>
              <a:gd name="connsiteX163" fmla="*/ 13891 w 115207"/>
              <a:gd name="connsiteY163" fmla="*/ 29766 h 141287"/>
              <a:gd name="connsiteX164" fmla="*/ 23813 w 115207"/>
              <a:gd name="connsiteY164" fmla="*/ 27781 h 141287"/>
              <a:gd name="connsiteX165" fmla="*/ 35719 w 115207"/>
              <a:gd name="connsiteY165" fmla="*/ 23813 h 141287"/>
              <a:gd name="connsiteX166" fmla="*/ 39688 w 115207"/>
              <a:gd name="connsiteY166" fmla="*/ 17859 h 141287"/>
              <a:gd name="connsiteX167" fmla="*/ 41672 w 115207"/>
              <a:gd name="connsiteY167" fmla="*/ 9922 h 141287"/>
              <a:gd name="connsiteX168" fmla="*/ 45641 w 115207"/>
              <a:gd name="connsiteY168" fmla="*/ 7938 h 141287"/>
              <a:gd name="connsiteX169" fmla="*/ 49610 w 115207"/>
              <a:gd name="connsiteY169" fmla="*/ 7938 h 141287"/>
              <a:gd name="connsiteX170" fmla="*/ 53579 w 115207"/>
              <a:gd name="connsiteY170" fmla="*/ 5953 h 141287"/>
              <a:gd name="connsiteX171" fmla="*/ 57548 w 115207"/>
              <a:gd name="connsiteY171" fmla="*/ 1984 h 141287"/>
              <a:gd name="connsiteX172" fmla="*/ 61516 w 115207"/>
              <a:gd name="connsiteY172" fmla="*/ 0 h 14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115207" h="141287">
                <a:moveTo>
                  <a:pt x="14287" y="135334"/>
                </a:moveTo>
                <a:cubicBezTo>
                  <a:pt x="15875" y="135334"/>
                  <a:pt x="17463" y="133350"/>
                  <a:pt x="17463" y="135334"/>
                </a:cubicBezTo>
                <a:cubicBezTo>
                  <a:pt x="19050" y="135334"/>
                  <a:pt x="17463" y="139303"/>
                  <a:pt x="17463" y="139303"/>
                </a:cubicBezTo>
                <a:cubicBezTo>
                  <a:pt x="17463" y="139303"/>
                  <a:pt x="17463" y="141287"/>
                  <a:pt x="15875" y="141287"/>
                </a:cubicBezTo>
                <a:cubicBezTo>
                  <a:pt x="14287" y="141287"/>
                  <a:pt x="14287" y="141287"/>
                  <a:pt x="14287" y="139303"/>
                </a:cubicBezTo>
                <a:cubicBezTo>
                  <a:pt x="14287" y="137319"/>
                  <a:pt x="14287" y="137319"/>
                  <a:pt x="14287" y="135334"/>
                </a:cubicBezTo>
                <a:close/>
                <a:moveTo>
                  <a:pt x="15346" y="127000"/>
                </a:moveTo>
                <a:cubicBezTo>
                  <a:pt x="15346" y="127000"/>
                  <a:pt x="17462" y="127000"/>
                  <a:pt x="17462" y="129117"/>
                </a:cubicBezTo>
                <a:cubicBezTo>
                  <a:pt x="17462" y="131233"/>
                  <a:pt x="15346" y="131233"/>
                  <a:pt x="15346" y="131233"/>
                </a:cubicBezTo>
                <a:cubicBezTo>
                  <a:pt x="15346" y="131233"/>
                  <a:pt x="15346" y="133350"/>
                  <a:pt x="13229" y="131233"/>
                </a:cubicBezTo>
                <a:cubicBezTo>
                  <a:pt x="11112" y="131233"/>
                  <a:pt x="11112" y="129117"/>
                  <a:pt x="11112" y="129117"/>
                </a:cubicBezTo>
                <a:cubicBezTo>
                  <a:pt x="11112" y="127000"/>
                  <a:pt x="13229" y="127000"/>
                  <a:pt x="15346" y="127000"/>
                </a:cubicBezTo>
                <a:close/>
                <a:moveTo>
                  <a:pt x="93927" y="119062"/>
                </a:moveTo>
                <a:cubicBezTo>
                  <a:pt x="93927" y="119062"/>
                  <a:pt x="97632" y="119062"/>
                  <a:pt x="97632" y="119062"/>
                </a:cubicBezTo>
                <a:cubicBezTo>
                  <a:pt x="99484" y="121179"/>
                  <a:pt x="101336" y="125412"/>
                  <a:pt x="103188" y="125412"/>
                </a:cubicBezTo>
                <a:cubicBezTo>
                  <a:pt x="103188" y="127529"/>
                  <a:pt x="103188" y="131762"/>
                  <a:pt x="101336" y="131762"/>
                </a:cubicBezTo>
                <a:cubicBezTo>
                  <a:pt x="97632" y="131762"/>
                  <a:pt x="97632" y="131762"/>
                  <a:pt x="97632" y="127529"/>
                </a:cubicBezTo>
                <a:cubicBezTo>
                  <a:pt x="97632" y="125412"/>
                  <a:pt x="93927" y="123295"/>
                  <a:pt x="93927" y="123295"/>
                </a:cubicBezTo>
                <a:cubicBezTo>
                  <a:pt x="93927" y="123295"/>
                  <a:pt x="92075" y="121179"/>
                  <a:pt x="93927" y="119062"/>
                </a:cubicBezTo>
                <a:close/>
                <a:moveTo>
                  <a:pt x="11906" y="114300"/>
                </a:moveTo>
                <a:cubicBezTo>
                  <a:pt x="13891" y="114300"/>
                  <a:pt x="13891" y="116681"/>
                  <a:pt x="13891" y="119063"/>
                </a:cubicBezTo>
                <a:cubicBezTo>
                  <a:pt x="15875" y="123825"/>
                  <a:pt x="13891" y="123825"/>
                  <a:pt x="9922" y="123825"/>
                </a:cubicBezTo>
                <a:cubicBezTo>
                  <a:pt x="9922" y="123825"/>
                  <a:pt x="7937" y="121444"/>
                  <a:pt x="7937" y="121444"/>
                </a:cubicBezTo>
                <a:cubicBezTo>
                  <a:pt x="7937" y="121444"/>
                  <a:pt x="7937" y="119063"/>
                  <a:pt x="7937" y="116681"/>
                </a:cubicBezTo>
                <a:cubicBezTo>
                  <a:pt x="7937" y="116681"/>
                  <a:pt x="9922" y="114300"/>
                  <a:pt x="11906" y="114300"/>
                </a:cubicBezTo>
                <a:close/>
                <a:moveTo>
                  <a:pt x="67522" y="112712"/>
                </a:moveTo>
                <a:cubicBezTo>
                  <a:pt x="69533" y="112712"/>
                  <a:pt x="71544" y="114829"/>
                  <a:pt x="71544" y="114829"/>
                </a:cubicBezTo>
                <a:cubicBezTo>
                  <a:pt x="73555" y="114829"/>
                  <a:pt x="75565" y="116945"/>
                  <a:pt x="75565" y="116945"/>
                </a:cubicBezTo>
                <a:cubicBezTo>
                  <a:pt x="77576" y="116945"/>
                  <a:pt x="79587" y="116945"/>
                  <a:pt x="79587" y="119062"/>
                </a:cubicBezTo>
                <a:cubicBezTo>
                  <a:pt x="81598" y="121179"/>
                  <a:pt x="81598" y="121179"/>
                  <a:pt x="83609" y="123295"/>
                </a:cubicBezTo>
                <a:cubicBezTo>
                  <a:pt x="85620" y="125412"/>
                  <a:pt x="87631" y="125412"/>
                  <a:pt x="91652" y="125412"/>
                </a:cubicBezTo>
                <a:cubicBezTo>
                  <a:pt x="91652" y="125412"/>
                  <a:pt x="93663" y="129645"/>
                  <a:pt x="93663" y="129645"/>
                </a:cubicBezTo>
                <a:cubicBezTo>
                  <a:pt x="91652" y="131762"/>
                  <a:pt x="87631" y="131762"/>
                  <a:pt x="85620" y="131762"/>
                </a:cubicBezTo>
                <a:cubicBezTo>
                  <a:pt x="83609" y="131762"/>
                  <a:pt x="81598" y="131762"/>
                  <a:pt x="79587" y="131762"/>
                </a:cubicBezTo>
                <a:cubicBezTo>
                  <a:pt x="73555" y="129645"/>
                  <a:pt x="73555" y="129645"/>
                  <a:pt x="71544" y="125412"/>
                </a:cubicBezTo>
                <a:cubicBezTo>
                  <a:pt x="71544" y="123295"/>
                  <a:pt x="69533" y="121179"/>
                  <a:pt x="69533" y="119062"/>
                </a:cubicBezTo>
                <a:cubicBezTo>
                  <a:pt x="67522" y="119062"/>
                  <a:pt x="63500" y="116945"/>
                  <a:pt x="63500" y="114829"/>
                </a:cubicBezTo>
                <a:cubicBezTo>
                  <a:pt x="63500" y="114829"/>
                  <a:pt x="63500" y="112712"/>
                  <a:pt x="67522" y="112712"/>
                </a:cubicBezTo>
                <a:close/>
                <a:moveTo>
                  <a:pt x="111919" y="111125"/>
                </a:moveTo>
                <a:cubicBezTo>
                  <a:pt x="115888" y="111125"/>
                  <a:pt x="115888" y="113242"/>
                  <a:pt x="113904" y="117475"/>
                </a:cubicBezTo>
                <a:cubicBezTo>
                  <a:pt x="113904" y="117475"/>
                  <a:pt x="109935" y="117475"/>
                  <a:pt x="109935" y="117475"/>
                </a:cubicBezTo>
                <a:cubicBezTo>
                  <a:pt x="107950" y="117475"/>
                  <a:pt x="107950" y="113242"/>
                  <a:pt x="107950" y="113242"/>
                </a:cubicBezTo>
                <a:cubicBezTo>
                  <a:pt x="109935" y="111125"/>
                  <a:pt x="109935" y="111125"/>
                  <a:pt x="111919" y="111125"/>
                </a:cubicBezTo>
                <a:close/>
                <a:moveTo>
                  <a:pt x="59532" y="90921"/>
                </a:moveTo>
                <a:cubicBezTo>
                  <a:pt x="61516" y="88900"/>
                  <a:pt x="65485" y="90921"/>
                  <a:pt x="67469" y="90921"/>
                </a:cubicBezTo>
                <a:cubicBezTo>
                  <a:pt x="69454" y="92941"/>
                  <a:pt x="69454" y="94961"/>
                  <a:pt x="69454" y="96982"/>
                </a:cubicBezTo>
                <a:cubicBezTo>
                  <a:pt x="69454" y="96982"/>
                  <a:pt x="69454" y="101023"/>
                  <a:pt x="69454" y="103043"/>
                </a:cubicBezTo>
                <a:cubicBezTo>
                  <a:pt x="69454" y="103043"/>
                  <a:pt x="71438" y="105064"/>
                  <a:pt x="69454" y="107084"/>
                </a:cubicBezTo>
                <a:cubicBezTo>
                  <a:pt x="69454" y="109105"/>
                  <a:pt x="65485" y="109105"/>
                  <a:pt x="65485" y="109105"/>
                </a:cubicBezTo>
                <a:cubicBezTo>
                  <a:pt x="63501" y="109105"/>
                  <a:pt x="63501" y="111125"/>
                  <a:pt x="61516" y="111125"/>
                </a:cubicBezTo>
                <a:cubicBezTo>
                  <a:pt x="59532" y="111125"/>
                  <a:pt x="59532" y="111125"/>
                  <a:pt x="57547" y="109105"/>
                </a:cubicBezTo>
                <a:cubicBezTo>
                  <a:pt x="55563" y="109105"/>
                  <a:pt x="53578" y="107084"/>
                  <a:pt x="53578" y="107084"/>
                </a:cubicBezTo>
                <a:cubicBezTo>
                  <a:pt x="53578" y="107084"/>
                  <a:pt x="49610" y="105064"/>
                  <a:pt x="49610" y="103043"/>
                </a:cubicBezTo>
                <a:cubicBezTo>
                  <a:pt x="49610" y="103043"/>
                  <a:pt x="49610" y="101023"/>
                  <a:pt x="49610" y="99002"/>
                </a:cubicBezTo>
                <a:cubicBezTo>
                  <a:pt x="49610" y="99002"/>
                  <a:pt x="47625" y="96982"/>
                  <a:pt x="49610" y="96982"/>
                </a:cubicBezTo>
                <a:cubicBezTo>
                  <a:pt x="49610" y="94961"/>
                  <a:pt x="53578" y="92941"/>
                  <a:pt x="53578" y="92941"/>
                </a:cubicBezTo>
                <a:cubicBezTo>
                  <a:pt x="55563" y="90921"/>
                  <a:pt x="57547" y="90921"/>
                  <a:pt x="59532" y="90921"/>
                </a:cubicBezTo>
                <a:close/>
                <a:moveTo>
                  <a:pt x="105109" y="66675"/>
                </a:moveTo>
                <a:cubicBezTo>
                  <a:pt x="107115" y="66675"/>
                  <a:pt x="109120" y="66675"/>
                  <a:pt x="109120" y="68660"/>
                </a:cubicBezTo>
                <a:cubicBezTo>
                  <a:pt x="109120" y="70644"/>
                  <a:pt x="109120" y="76597"/>
                  <a:pt x="109120" y="78581"/>
                </a:cubicBezTo>
                <a:cubicBezTo>
                  <a:pt x="109120" y="80566"/>
                  <a:pt x="111125" y="82550"/>
                  <a:pt x="111125" y="84535"/>
                </a:cubicBezTo>
                <a:cubicBezTo>
                  <a:pt x="111125" y="86519"/>
                  <a:pt x="111125" y="88503"/>
                  <a:pt x="111125" y="90488"/>
                </a:cubicBezTo>
                <a:cubicBezTo>
                  <a:pt x="111125" y="90488"/>
                  <a:pt x="109120" y="92472"/>
                  <a:pt x="107115" y="92472"/>
                </a:cubicBezTo>
                <a:cubicBezTo>
                  <a:pt x="107115" y="94456"/>
                  <a:pt x="107115" y="96441"/>
                  <a:pt x="107115" y="98425"/>
                </a:cubicBezTo>
                <a:cubicBezTo>
                  <a:pt x="109120" y="98425"/>
                  <a:pt x="111125" y="102394"/>
                  <a:pt x="111125" y="102394"/>
                </a:cubicBezTo>
                <a:cubicBezTo>
                  <a:pt x="109120" y="104378"/>
                  <a:pt x="107115" y="108347"/>
                  <a:pt x="107115" y="108347"/>
                </a:cubicBezTo>
                <a:cubicBezTo>
                  <a:pt x="107115" y="108347"/>
                  <a:pt x="101099" y="108347"/>
                  <a:pt x="101099" y="110331"/>
                </a:cubicBezTo>
                <a:cubicBezTo>
                  <a:pt x="101099" y="110331"/>
                  <a:pt x="97088" y="112316"/>
                  <a:pt x="97088" y="114300"/>
                </a:cubicBezTo>
                <a:cubicBezTo>
                  <a:pt x="95083" y="114300"/>
                  <a:pt x="93078" y="112316"/>
                  <a:pt x="93078" y="112316"/>
                </a:cubicBezTo>
                <a:cubicBezTo>
                  <a:pt x="91073" y="110331"/>
                  <a:pt x="91073" y="108347"/>
                  <a:pt x="91073" y="106363"/>
                </a:cubicBezTo>
                <a:cubicBezTo>
                  <a:pt x="91073" y="106363"/>
                  <a:pt x="91073" y="102394"/>
                  <a:pt x="87062" y="102394"/>
                </a:cubicBezTo>
                <a:cubicBezTo>
                  <a:pt x="85057" y="102394"/>
                  <a:pt x="83052" y="104378"/>
                  <a:pt x="83052" y="104378"/>
                </a:cubicBezTo>
                <a:cubicBezTo>
                  <a:pt x="81046" y="104378"/>
                  <a:pt x="79041" y="106363"/>
                  <a:pt x="79041" y="104378"/>
                </a:cubicBezTo>
                <a:cubicBezTo>
                  <a:pt x="79041" y="104378"/>
                  <a:pt x="77036" y="100410"/>
                  <a:pt x="77036" y="100410"/>
                </a:cubicBezTo>
                <a:cubicBezTo>
                  <a:pt x="77036" y="98425"/>
                  <a:pt x="77036" y="94456"/>
                  <a:pt x="77036" y="92472"/>
                </a:cubicBezTo>
                <a:cubicBezTo>
                  <a:pt x="75031" y="90488"/>
                  <a:pt x="75031" y="90488"/>
                  <a:pt x="73025" y="88503"/>
                </a:cubicBezTo>
                <a:cubicBezTo>
                  <a:pt x="73025" y="86519"/>
                  <a:pt x="73025" y="82550"/>
                  <a:pt x="73025" y="82550"/>
                </a:cubicBezTo>
                <a:cubicBezTo>
                  <a:pt x="75031" y="80566"/>
                  <a:pt x="77036" y="80566"/>
                  <a:pt x="79041" y="80566"/>
                </a:cubicBezTo>
                <a:cubicBezTo>
                  <a:pt x="83052" y="84535"/>
                  <a:pt x="83052" y="80566"/>
                  <a:pt x="83052" y="76597"/>
                </a:cubicBezTo>
                <a:cubicBezTo>
                  <a:pt x="83052" y="76597"/>
                  <a:pt x="87062" y="74613"/>
                  <a:pt x="89067" y="74613"/>
                </a:cubicBezTo>
                <a:cubicBezTo>
                  <a:pt x="89067" y="74613"/>
                  <a:pt x="91073" y="76597"/>
                  <a:pt x="91073" y="78581"/>
                </a:cubicBezTo>
                <a:cubicBezTo>
                  <a:pt x="91073" y="78581"/>
                  <a:pt x="91073" y="82550"/>
                  <a:pt x="91073" y="84535"/>
                </a:cubicBezTo>
                <a:cubicBezTo>
                  <a:pt x="93078" y="84535"/>
                  <a:pt x="95083" y="84535"/>
                  <a:pt x="97088" y="84535"/>
                </a:cubicBezTo>
                <a:cubicBezTo>
                  <a:pt x="97088" y="84535"/>
                  <a:pt x="101099" y="84535"/>
                  <a:pt x="101099" y="84535"/>
                </a:cubicBezTo>
                <a:cubicBezTo>
                  <a:pt x="103104" y="82550"/>
                  <a:pt x="103104" y="80566"/>
                  <a:pt x="103104" y="78581"/>
                </a:cubicBezTo>
                <a:cubicBezTo>
                  <a:pt x="101099" y="78581"/>
                  <a:pt x="101099" y="76597"/>
                  <a:pt x="99094" y="76597"/>
                </a:cubicBezTo>
                <a:cubicBezTo>
                  <a:pt x="99094" y="74613"/>
                  <a:pt x="95083" y="72628"/>
                  <a:pt x="95083" y="72628"/>
                </a:cubicBezTo>
                <a:cubicBezTo>
                  <a:pt x="95083" y="70644"/>
                  <a:pt x="97088" y="70644"/>
                  <a:pt x="99094" y="68660"/>
                </a:cubicBezTo>
                <a:cubicBezTo>
                  <a:pt x="101099" y="68660"/>
                  <a:pt x="105109" y="66675"/>
                  <a:pt x="105109" y="66675"/>
                </a:cubicBezTo>
                <a:close/>
                <a:moveTo>
                  <a:pt x="71967" y="19050"/>
                </a:moveTo>
                <a:cubicBezTo>
                  <a:pt x="73819" y="19050"/>
                  <a:pt x="75671" y="19050"/>
                  <a:pt x="75671" y="19050"/>
                </a:cubicBezTo>
                <a:cubicBezTo>
                  <a:pt x="77523" y="19050"/>
                  <a:pt x="79375" y="19050"/>
                  <a:pt x="79375" y="21167"/>
                </a:cubicBezTo>
                <a:cubicBezTo>
                  <a:pt x="77523" y="23283"/>
                  <a:pt x="75671" y="23283"/>
                  <a:pt x="73819" y="23283"/>
                </a:cubicBezTo>
                <a:cubicBezTo>
                  <a:pt x="70114" y="23283"/>
                  <a:pt x="68262" y="25400"/>
                  <a:pt x="71967" y="19050"/>
                </a:cubicBezTo>
                <a:close/>
                <a:moveTo>
                  <a:pt x="61516" y="0"/>
                </a:moveTo>
                <a:cubicBezTo>
                  <a:pt x="61516" y="0"/>
                  <a:pt x="65485" y="1984"/>
                  <a:pt x="63501" y="3969"/>
                </a:cubicBezTo>
                <a:cubicBezTo>
                  <a:pt x="61516" y="5953"/>
                  <a:pt x="63501" y="7938"/>
                  <a:pt x="63501" y="9922"/>
                </a:cubicBezTo>
                <a:cubicBezTo>
                  <a:pt x="63501" y="9922"/>
                  <a:pt x="65485" y="11906"/>
                  <a:pt x="65485" y="13891"/>
                </a:cubicBezTo>
                <a:cubicBezTo>
                  <a:pt x="63501" y="15875"/>
                  <a:pt x="63501" y="19844"/>
                  <a:pt x="63501" y="19844"/>
                </a:cubicBezTo>
                <a:cubicBezTo>
                  <a:pt x="63501" y="19844"/>
                  <a:pt x="63501" y="21828"/>
                  <a:pt x="61516" y="23813"/>
                </a:cubicBezTo>
                <a:cubicBezTo>
                  <a:pt x="57548" y="27781"/>
                  <a:pt x="49610" y="27781"/>
                  <a:pt x="45641" y="27781"/>
                </a:cubicBezTo>
                <a:cubicBezTo>
                  <a:pt x="41672" y="29766"/>
                  <a:pt x="35719" y="29766"/>
                  <a:pt x="33735" y="29766"/>
                </a:cubicBezTo>
                <a:cubicBezTo>
                  <a:pt x="29766" y="29766"/>
                  <a:pt x="27782" y="29766"/>
                  <a:pt x="23813" y="31750"/>
                </a:cubicBezTo>
                <a:cubicBezTo>
                  <a:pt x="23813" y="31750"/>
                  <a:pt x="23813" y="33734"/>
                  <a:pt x="21829" y="37703"/>
                </a:cubicBezTo>
                <a:cubicBezTo>
                  <a:pt x="19844" y="41672"/>
                  <a:pt x="23813" y="41672"/>
                  <a:pt x="25797" y="43656"/>
                </a:cubicBezTo>
                <a:cubicBezTo>
                  <a:pt x="27782" y="43656"/>
                  <a:pt x="29766" y="43656"/>
                  <a:pt x="29766" y="45641"/>
                </a:cubicBezTo>
                <a:cubicBezTo>
                  <a:pt x="27782" y="49609"/>
                  <a:pt x="29766" y="49609"/>
                  <a:pt x="31750" y="47625"/>
                </a:cubicBezTo>
                <a:cubicBezTo>
                  <a:pt x="33735" y="45641"/>
                  <a:pt x="31750" y="43656"/>
                  <a:pt x="31750" y="39687"/>
                </a:cubicBezTo>
                <a:cubicBezTo>
                  <a:pt x="29766" y="37703"/>
                  <a:pt x="35719" y="35719"/>
                  <a:pt x="35719" y="35719"/>
                </a:cubicBezTo>
                <a:cubicBezTo>
                  <a:pt x="35719" y="35719"/>
                  <a:pt x="39688" y="33734"/>
                  <a:pt x="41672" y="33734"/>
                </a:cubicBezTo>
                <a:cubicBezTo>
                  <a:pt x="45641" y="33734"/>
                  <a:pt x="45641" y="31750"/>
                  <a:pt x="45641" y="31750"/>
                </a:cubicBezTo>
                <a:cubicBezTo>
                  <a:pt x="45641" y="31750"/>
                  <a:pt x="45641" y="31750"/>
                  <a:pt x="49610" y="29766"/>
                </a:cubicBezTo>
                <a:cubicBezTo>
                  <a:pt x="49610" y="29766"/>
                  <a:pt x="53579" y="29766"/>
                  <a:pt x="53579" y="29766"/>
                </a:cubicBezTo>
                <a:cubicBezTo>
                  <a:pt x="55563" y="29766"/>
                  <a:pt x="53579" y="33734"/>
                  <a:pt x="53579" y="37703"/>
                </a:cubicBezTo>
                <a:cubicBezTo>
                  <a:pt x="51594" y="39687"/>
                  <a:pt x="53579" y="43656"/>
                  <a:pt x="53579" y="47625"/>
                </a:cubicBezTo>
                <a:cubicBezTo>
                  <a:pt x="55563" y="51594"/>
                  <a:pt x="59532" y="49609"/>
                  <a:pt x="59532" y="49609"/>
                </a:cubicBezTo>
                <a:cubicBezTo>
                  <a:pt x="59532" y="49609"/>
                  <a:pt x="63501" y="51594"/>
                  <a:pt x="67469" y="49609"/>
                </a:cubicBezTo>
                <a:cubicBezTo>
                  <a:pt x="71438" y="49609"/>
                  <a:pt x="71438" y="53578"/>
                  <a:pt x="71438" y="53578"/>
                </a:cubicBezTo>
                <a:cubicBezTo>
                  <a:pt x="71438" y="53578"/>
                  <a:pt x="67469" y="57547"/>
                  <a:pt x="67469" y="63500"/>
                </a:cubicBezTo>
                <a:cubicBezTo>
                  <a:pt x="67469" y="67469"/>
                  <a:pt x="63501" y="67469"/>
                  <a:pt x="61516" y="65484"/>
                </a:cubicBezTo>
                <a:cubicBezTo>
                  <a:pt x="61516" y="65484"/>
                  <a:pt x="57548" y="59531"/>
                  <a:pt x="53579" y="59531"/>
                </a:cubicBezTo>
                <a:cubicBezTo>
                  <a:pt x="51594" y="59531"/>
                  <a:pt x="53579" y="65484"/>
                  <a:pt x="53579" y="65484"/>
                </a:cubicBezTo>
                <a:cubicBezTo>
                  <a:pt x="53579" y="65484"/>
                  <a:pt x="57548" y="75406"/>
                  <a:pt x="57548" y="75406"/>
                </a:cubicBezTo>
                <a:cubicBezTo>
                  <a:pt x="59532" y="77390"/>
                  <a:pt x="57548" y="79375"/>
                  <a:pt x="55563" y="79375"/>
                </a:cubicBezTo>
                <a:cubicBezTo>
                  <a:pt x="53579" y="79375"/>
                  <a:pt x="53579" y="79375"/>
                  <a:pt x="53579" y="83344"/>
                </a:cubicBezTo>
                <a:cubicBezTo>
                  <a:pt x="53579" y="87312"/>
                  <a:pt x="49610" y="89297"/>
                  <a:pt x="47626" y="89297"/>
                </a:cubicBezTo>
                <a:cubicBezTo>
                  <a:pt x="43657" y="89297"/>
                  <a:pt x="45641" y="93265"/>
                  <a:pt x="45641" y="93265"/>
                </a:cubicBezTo>
                <a:cubicBezTo>
                  <a:pt x="45641" y="93265"/>
                  <a:pt x="45641" y="95250"/>
                  <a:pt x="45641" y="97234"/>
                </a:cubicBezTo>
                <a:cubicBezTo>
                  <a:pt x="43657" y="97234"/>
                  <a:pt x="45641" y="101203"/>
                  <a:pt x="45641" y="101203"/>
                </a:cubicBezTo>
                <a:cubicBezTo>
                  <a:pt x="45641" y="101203"/>
                  <a:pt x="45641" y="105172"/>
                  <a:pt x="41672" y="107156"/>
                </a:cubicBezTo>
                <a:cubicBezTo>
                  <a:pt x="39688" y="109140"/>
                  <a:pt x="41672" y="109140"/>
                  <a:pt x="43657" y="111125"/>
                </a:cubicBezTo>
                <a:cubicBezTo>
                  <a:pt x="45641" y="111125"/>
                  <a:pt x="47626" y="111125"/>
                  <a:pt x="49610" y="109140"/>
                </a:cubicBezTo>
                <a:cubicBezTo>
                  <a:pt x="51594" y="109140"/>
                  <a:pt x="53579" y="111125"/>
                  <a:pt x="53579" y="111125"/>
                </a:cubicBezTo>
                <a:cubicBezTo>
                  <a:pt x="53579" y="111125"/>
                  <a:pt x="57548" y="117078"/>
                  <a:pt x="53579" y="119062"/>
                </a:cubicBezTo>
                <a:cubicBezTo>
                  <a:pt x="51594" y="121047"/>
                  <a:pt x="49610" y="117078"/>
                  <a:pt x="49610" y="117078"/>
                </a:cubicBezTo>
                <a:cubicBezTo>
                  <a:pt x="49610" y="117078"/>
                  <a:pt x="45641" y="115093"/>
                  <a:pt x="41672" y="117078"/>
                </a:cubicBezTo>
                <a:cubicBezTo>
                  <a:pt x="41672" y="119062"/>
                  <a:pt x="45641" y="123031"/>
                  <a:pt x="49610" y="125015"/>
                </a:cubicBezTo>
                <a:cubicBezTo>
                  <a:pt x="49610" y="125015"/>
                  <a:pt x="49610" y="127000"/>
                  <a:pt x="49610" y="127000"/>
                </a:cubicBezTo>
                <a:cubicBezTo>
                  <a:pt x="47626" y="127000"/>
                  <a:pt x="47626" y="128984"/>
                  <a:pt x="47626" y="128984"/>
                </a:cubicBezTo>
                <a:cubicBezTo>
                  <a:pt x="47626" y="130968"/>
                  <a:pt x="47626" y="128984"/>
                  <a:pt x="45641" y="128984"/>
                </a:cubicBezTo>
                <a:cubicBezTo>
                  <a:pt x="43657" y="128984"/>
                  <a:pt x="37704" y="128984"/>
                  <a:pt x="35719" y="128984"/>
                </a:cubicBezTo>
                <a:cubicBezTo>
                  <a:pt x="33735" y="127000"/>
                  <a:pt x="33735" y="127000"/>
                  <a:pt x="29766" y="128984"/>
                </a:cubicBezTo>
                <a:cubicBezTo>
                  <a:pt x="29766" y="128984"/>
                  <a:pt x="29766" y="134937"/>
                  <a:pt x="29766" y="134937"/>
                </a:cubicBezTo>
                <a:cubicBezTo>
                  <a:pt x="29766" y="134937"/>
                  <a:pt x="23813" y="132953"/>
                  <a:pt x="21829" y="134937"/>
                </a:cubicBezTo>
                <a:cubicBezTo>
                  <a:pt x="21829" y="132953"/>
                  <a:pt x="21829" y="132953"/>
                  <a:pt x="21829" y="132953"/>
                </a:cubicBezTo>
                <a:cubicBezTo>
                  <a:pt x="17860" y="128984"/>
                  <a:pt x="19844" y="123031"/>
                  <a:pt x="19844" y="121047"/>
                </a:cubicBezTo>
                <a:cubicBezTo>
                  <a:pt x="19844" y="119062"/>
                  <a:pt x="17860" y="115093"/>
                  <a:pt x="15875" y="111125"/>
                </a:cubicBezTo>
                <a:cubicBezTo>
                  <a:pt x="13891" y="109140"/>
                  <a:pt x="17860" y="103187"/>
                  <a:pt x="19844" y="101203"/>
                </a:cubicBezTo>
                <a:cubicBezTo>
                  <a:pt x="19844" y="99219"/>
                  <a:pt x="13891" y="97234"/>
                  <a:pt x="7938" y="97234"/>
                </a:cubicBezTo>
                <a:cubicBezTo>
                  <a:pt x="1985" y="95250"/>
                  <a:pt x="1985" y="95250"/>
                  <a:pt x="0" y="93265"/>
                </a:cubicBezTo>
                <a:cubicBezTo>
                  <a:pt x="0" y="89297"/>
                  <a:pt x="3969" y="81359"/>
                  <a:pt x="5953" y="79375"/>
                </a:cubicBezTo>
                <a:cubicBezTo>
                  <a:pt x="9922" y="79375"/>
                  <a:pt x="5953" y="71437"/>
                  <a:pt x="3969" y="69453"/>
                </a:cubicBezTo>
                <a:cubicBezTo>
                  <a:pt x="1985" y="65484"/>
                  <a:pt x="5953" y="63500"/>
                  <a:pt x="5953" y="61516"/>
                </a:cubicBezTo>
                <a:cubicBezTo>
                  <a:pt x="7938" y="59531"/>
                  <a:pt x="5953" y="59531"/>
                  <a:pt x="5953" y="59531"/>
                </a:cubicBezTo>
                <a:cubicBezTo>
                  <a:pt x="5953" y="59531"/>
                  <a:pt x="1985" y="53578"/>
                  <a:pt x="0" y="51594"/>
                </a:cubicBezTo>
                <a:cubicBezTo>
                  <a:pt x="0" y="47625"/>
                  <a:pt x="1985" y="45641"/>
                  <a:pt x="5953" y="45641"/>
                </a:cubicBezTo>
                <a:cubicBezTo>
                  <a:pt x="7938" y="43656"/>
                  <a:pt x="11907" y="47625"/>
                  <a:pt x="13891" y="51594"/>
                </a:cubicBezTo>
                <a:cubicBezTo>
                  <a:pt x="15875" y="53578"/>
                  <a:pt x="17860" y="51594"/>
                  <a:pt x="17860" y="51594"/>
                </a:cubicBezTo>
                <a:cubicBezTo>
                  <a:pt x="17860" y="51594"/>
                  <a:pt x="17860" y="49609"/>
                  <a:pt x="19844" y="47625"/>
                </a:cubicBezTo>
                <a:cubicBezTo>
                  <a:pt x="21829" y="45641"/>
                  <a:pt x="21829" y="43656"/>
                  <a:pt x="19844" y="43656"/>
                </a:cubicBezTo>
                <a:cubicBezTo>
                  <a:pt x="19844" y="43656"/>
                  <a:pt x="17860" y="41672"/>
                  <a:pt x="17860" y="39687"/>
                </a:cubicBezTo>
                <a:cubicBezTo>
                  <a:pt x="17860" y="37703"/>
                  <a:pt x="15875" y="39687"/>
                  <a:pt x="15875" y="39687"/>
                </a:cubicBezTo>
                <a:cubicBezTo>
                  <a:pt x="15875" y="39687"/>
                  <a:pt x="11907" y="47625"/>
                  <a:pt x="7938" y="41672"/>
                </a:cubicBezTo>
                <a:cubicBezTo>
                  <a:pt x="5953" y="33734"/>
                  <a:pt x="13891" y="29766"/>
                  <a:pt x="13891" y="29766"/>
                </a:cubicBezTo>
                <a:cubicBezTo>
                  <a:pt x="13891" y="29766"/>
                  <a:pt x="19844" y="25797"/>
                  <a:pt x="23813" y="27781"/>
                </a:cubicBezTo>
                <a:cubicBezTo>
                  <a:pt x="27782" y="29766"/>
                  <a:pt x="33735" y="25797"/>
                  <a:pt x="35719" y="23813"/>
                </a:cubicBezTo>
                <a:cubicBezTo>
                  <a:pt x="37704" y="23813"/>
                  <a:pt x="39688" y="17859"/>
                  <a:pt x="39688" y="17859"/>
                </a:cubicBezTo>
                <a:cubicBezTo>
                  <a:pt x="39688" y="17859"/>
                  <a:pt x="41672" y="11906"/>
                  <a:pt x="41672" y="9922"/>
                </a:cubicBezTo>
                <a:cubicBezTo>
                  <a:pt x="41672" y="9922"/>
                  <a:pt x="45641" y="7938"/>
                  <a:pt x="45641" y="7938"/>
                </a:cubicBezTo>
                <a:cubicBezTo>
                  <a:pt x="47626" y="7938"/>
                  <a:pt x="49610" y="7938"/>
                  <a:pt x="49610" y="7938"/>
                </a:cubicBezTo>
                <a:cubicBezTo>
                  <a:pt x="49610" y="7938"/>
                  <a:pt x="51594" y="5953"/>
                  <a:pt x="53579" y="5953"/>
                </a:cubicBezTo>
                <a:cubicBezTo>
                  <a:pt x="55563" y="5953"/>
                  <a:pt x="57548" y="1984"/>
                  <a:pt x="57548" y="1984"/>
                </a:cubicBezTo>
                <a:cubicBezTo>
                  <a:pt x="57548" y="1984"/>
                  <a:pt x="57548" y="1984"/>
                  <a:pt x="6151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8" name="Poland"/>
          <p:cNvSpPr>
            <a:spLocks/>
          </p:cNvSpPr>
          <p:nvPr/>
        </p:nvSpPr>
        <p:spPr bwMode="auto">
          <a:xfrm>
            <a:off x="6568555" y="2172770"/>
            <a:ext cx="231913" cy="236812"/>
          </a:xfrm>
          <a:custGeom>
            <a:avLst/>
            <a:gdLst>
              <a:gd name="T0" fmla="*/ 4 w 113"/>
              <a:gd name="T1" fmla="*/ 14 h 115"/>
              <a:gd name="T2" fmla="*/ 11 w 113"/>
              <a:gd name="T3" fmla="*/ 12 h 115"/>
              <a:gd name="T4" fmla="*/ 17 w 113"/>
              <a:gd name="T5" fmla="*/ 6 h 115"/>
              <a:gd name="T6" fmla="*/ 27 w 113"/>
              <a:gd name="T7" fmla="*/ 5 h 115"/>
              <a:gd name="T8" fmla="*/ 33 w 113"/>
              <a:gd name="T9" fmla="*/ 1 h 115"/>
              <a:gd name="T10" fmla="*/ 46 w 113"/>
              <a:gd name="T11" fmla="*/ 2 h 115"/>
              <a:gd name="T12" fmla="*/ 44 w 113"/>
              <a:gd name="T13" fmla="*/ 7 h 115"/>
              <a:gd name="T14" fmla="*/ 52 w 113"/>
              <a:gd name="T15" fmla="*/ 10 h 115"/>
              <a:gd name="T16" fmla="*/ 57 w 113"/>
              <a:gd name="T17" fmla="*/ 6 h 115"/>
              <a:gd name="T18" fmla="*/ 56 w 113"/>
              <a:gd name="T19" fmla="*/ 10 h 115"/>
              <a:gd name="T20" fmla="*/ 59 w 113"/>
              <a:gd name="T21" fmla="*/ 8 h 115"/>
              <a:gd name="T22" fmla="*/ 63 w 113"/>
              <a:gd name="T23" fmla="*/ 14 h 115"/>
              <a:gd name="T24" fmla="*/ 69 w 113"/>
              <a:gd name="T25" fmla="*/ 13 h 115"/>
              <a:gd name="T26" fmla="*/ 79 w 113"/>
              <a:gd name="T27" fmla="*/ 14 h 115"/>
              <a:gd name="T28" fmla="*/ 89 w 113"/>
              <a:gd name="T29" fmla="*/ 13 h 115"/>
              <a:gd name="T30" fmla="*/ 95 w 113"/>
              <a:gd name="T31" fmla="*/ 13 h 115"/>
              <a:gd name="T32" fmla="*/ 99 w 113"/>
              <a:gd name="T33" fmla="*/ 17 h 115"/>
              <a:gd name="T34" fmla="*/ 101 w 113"/>
              <a:gd name="T35" fmla="*/ 21 h 115"/>
              <a:gd name="T36" fmla="*/ 101 w 113"/>
              <a:gd name="T37" fmla="*/ 25 h 115"/>
              <a:gd name="T38" fmla="*/ 108 w 113"/>
              <a:gd name="T39" fmla="*/ 33 h 115"/>
              <a:gd name="T40" fmla="*/ 104 w 113"/>
              <a:gd name="T41" fmla="*/ 46 h 115"/>
              <a:gd name="T42" fmla="*/ 106 w 113"/>
              <a:gd name="T43" fmla="*/ 55 h 115"/>
              <a:gd name="T44" fmla="*/ 110 w 113"/>
              <a:gd name="T45" fmla="*/ 62 h 115"/>
              <a:gd name="T46" fmla="*/ 108 w 113"/>
              <a:gd name="T47" fmla="*/ 71 h 115"/>
              <a:gd name="T48" fmla="*/ 112 w 113"/>
              <a:gd name="T49" fmla="*/ 82 h 115"/>
              <a:gd name="T50" fmla="*/ 111 w 113"/>
              <a:gd name="T51" fmla="*/ 90 h 115"/>
              <a:gd name="T52" fmla="*/ 99 w 113"/>
              <a:gd name="T53" fmla="*/ 99 h 115"/>
              <a:gd name="T54" fmla="*/ 96 w 113"/>
              <a:gd name="T55" fmla="*/ 111 h 115"/>
              <a:gd name="T56" fmla="*/ 95 w 113"/>
              <a:gd name="T57" fmla="*/ 115 h 115"/>
              <a:gd name="T58" fmla="*/ 89 w 113"/>
              <a:gd name="T59" fmla="*/ 113 h 115"/>
              <a:gd name="T60" fmla="*/ 88 w 113"/>
              <a:gd name="T61" fmla="*/ 108 h 115"/>
              <a:gd name="T62" fmla="*/ 82 w 113"/>
              <a:gd name="T63" fmla="*/ 106 h 115"/>
              <a:gd name="T64" fmla="*/ 75 w 113"/>
              <a:gd name="T65" fmla="*/ 107 h 115"/>
              <a:gd name="T66" fmla="*/ 69 w 113"/>
              <a:gd name="T67" fmla="*/ 106 h 115"/>
              <a:gd name="T68" fmla="*/ 65 w 113"/>
              <a:gd name="T69" fmla="*/ 108 h 115"/>
              <a:gd name="T70" fmla="*/ 61 w 113"/>
              <a:gd name="T71" fmla="*/ 105 h 115"/>
              <a:gd name="T72" fmla="*/ 55 w 113"/>
              <a:gd name="T73" fmla="*/ 104 h 115"/>
              <a:gd name="T74" fmla="*/ 47 w 113"/>
              <a:gd name="T75" fmla="*/ 105 h 115"/>
              <a:gd name="T76" fmla="*/ 46 w 113"/>
              <a:gd name="T77" fmla="*/ 100 h 115"/>
              <a:gd name="T78" fmla="*/ 44 w 113"/>
              <a:gd name="T79" fmla="*/ 95 h 115"/>
              <a:gd name="T80" fmla="*/ 42 w 113"/>
              <a:gd name="T81" fmla="*/ 94 h 115"/>
              <a:gd name="T82" fmla="*/ 36 w 113"/>
              <a:gd name="T83" fmla="*/ 93 h 115"/>
              <a:gd name="T84" fmla="*/ 37 w 113"/>
              <a:gd name="T85" fmla="*/ 88 h 115"/>
              <a:gd name="T86" fmla="*/ 31 w 113"/>
              <a:gd name="T87" fmla="*/ 87 h 115"/>
              <a:gd name="T88" fmla="*/ 24 w 113"/>
              <a:gd name="T89" fmla="*/ 90 h 115"/>
              <a:gd name="T90" fmla="*/ 21 w 113"/>
              <a:gd name="T91" fmla="*/ 90 h 115"/>
              <a:gd name="T92" fmla="*/ 18 w 113"/>
              <a:gd name="T93" fmla="*/ 88 h 115"/>
              <a:gd name="T94" fmla="*/ 12 w 113"/>
              <a:gd name="T95" fmla="*/ 82 h 115"/>
              <a:gd name="T96" fmla="*/ 7 w 113"/>
              <a:gd name="T97" fmla="*/ 78 h 115"/>
              <a:gd name="T98" fmla="*/ 8 w 113"/>
              <a:gd name="T99" fmla="*/ 75 h 115"/>
              <a:gd name="T100" fmla="*/ 8 w 113"/>
              <a:gd name="T101" fmla="*/ 70 h 115"/>
              <a:gd name="T102" fmla="*/ 5 w 113"/>
              <a:gd name="T103" fmla="*/ 63 h 115"/>
              <a:gd name="T104" fmla="*/ 4 w 113"/>
              <a:gd name="T105" fmla="*/ 55 h 115"/>
              <a:gd name="T106" fmla="*/ 6 w 113"/>
              <a:gd name="T107" fmla="*/ 47 h 115"/>
              <a:gd name="T108" fmla="*/ 4 w 113"/>
              <a:gd name="T109" fmla="*/ 39 h 115"/>
              <a:gd name="T110" fmla="*/ 3 w 113"/>
              <a:gd name="T111" fmla="*/ 32 h 115"/>
              <a:gd name="T112" fmla="*/ 0 w 113"/>
              <a:gd name="T113" fmla="*/ 26 h 115"/>
              <a:gd name="T114" fmla="*/ 0 w 113"/>
              <a:gd name="T11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5">
                <a:moveTo>
                  <a:pt x="0" y="15"/>
                </a:moveTo>
                <a:cubicBezTo>
                  <a:pt x="0" y="14"/>
                  <a:pt x="4" y="14"/>
                  <a:pt x="4" y="14"/>
                </a:cubicBezTo>
                <a:cubicBezTo>
                  <a:pt x="4" y="15"/>
                  <a:pt x="6" y="14"/>
                  <a:pt x="6" y="14"/>
                </a:cubicBezTo>
                <a:cubicBezTo>
                  <a:pt x="11" y="12"/>
                  <a:pt x="11" y="12"/>
                  <a:pt x="11" y="12"/>
                </a:cubicBezTo>
                <a:cubicBezTo>
                  <a:pt x="11" y="12"/>
                  <a:pt x="15" y="10"/>
                  <a:pt x="15" y="8"/>
                </a:cubicBezTo>
                <a:cubicBezTo>
                  <a:pt x="15" y="7"/>
                  <a:pt x="16" y="7"/>
                  <a:pt x="17" y="6"/>
                </a:cubicBezTo>
                <a:cubicBezTo>
                  <a:pt x="18" y="5"/>
                  <a:pt x="21" y="7"/>
                  <a:pt x="21" y="7"/>
                </a:cubicBezTo>
                <a:cubicBezTo>
                  <a:pt x="21" y="7"/>
                  <a:pt x="25" y="6"/>
                  <a:pt x="27" y="5"/>
                </a:cubicBezTo>
                <a:cubicBezTo>
                  <a:pt x="28" y="3"/>
                  <a:pt x="29" y="4"/>
                  <a:pt x="31" y="4"/>
                </a:cubicBezTo>
                <a:cubicBezTo>
                  <a:pt x="33" y="4"/>
                  <a:pt x="33" y="2"/>
                  <a:pt x="33" y="1"/>
                </a:cubicBezTo>
                <a:cubicBezTo>
                  <a:pt x="33" y="0"/>
                  <a:pt x="38" y="0"/>
                  <a:pt x="38" y="0"/>
                </a:cubicBezTo>
                <a:cubicBezTo>
                  <a:pt x="38" y="0"/>
                  <a:pt x="44" y="1"/>
                  <a:pt x="46" y="2"/>
                </a:cubicBezTo>
                <a:cubicBezTo>
                  <a:pt x="47" y="4"/>
                  <a:pt x="46" y="4"/>
                  <a:pt x="44" y="4"/>
                </a:cubicBezTo>
                <a:cubicBezTo>
                  <a:pt x="42" y="3"/>
                  <a:pt x="44" y="7"/>
                  <a:pt x="44" y="7"/>
                </a:cubicBezTo>
                <a:cubicBezTo>
                  <a:pt x="44" y="7"/>
                  <a:pt x="44" y="9"/>
                  <a:pt x="46" y="10"/>
                </a:cubicBezTo>
                <a:cubicBezTo>
                  <a:pt x="48" y="11"/>
                  <a:pt x="50" y="10"/>
                  <a:pt x="52" y="10"/>
                </a:cubicBezTo>
                <a:cubicBezTo>
                  <a:pt x="54" y="10"/>
                  <a:pt x="55" y="8"/>
                  <a:pt x="55" y="8"/>
                </a:cubicBezTo>
                <a:cubicBezTo>
                  <a:pt x="55" y="8"/>
                  <a:pt x="56" y="7"/>
                  <a:pt x="57" y="6"/>
                </a:cubicBezTo>
                <a:cubicBezTo>
                  <a:pt x="58" y="6"/>
                  <a:pt x="59" y="7"/>
                  <a:pt x="58" y="8"/>
                </a:cubicBezTo>
                <a:cubicBezTo>
                  <a:pt x="57" y="9"/>
                  <a:pt x="56" y="10"/>
                  <a:pt x="56" y="10"/>
                </a:cubicBezTo>
                <a:cubicBezTo>
                  <a:pt x="56" y="10"/>
                  <a:pt x="55" y="15"/>
                  <a:pt x="57" y="13"/>
                </a:cubicBezTo>
                <a:cubicBezTo>
                  <a:pt x="60" y="12"/>
                  <a:pt x="59" y="9"/>
                  <a:pt x="59" y="8"/>
                </a:cubicBezTo>
                <a:cubicBezTo>
                  <a:pt x="61" y="11"/>
                  <a:pt x="61" y="11"/>
                  <a:pt x="61" y="11"/>
                </a:cubicBezTo>
                <a:cubicBezTo>
                  <a:pt x="61" y="11"/>
                  <a:pt x="62" y="13"/>
                  <a:pt x="63" y="14"/>
                </a:cubicBezTo>
                <a:cubicBezTo>
                  <a:pt x="64" y="14"/>
                  <a:pt x="65" y="14"/>
                  <a:pt x="66" y="13"/>
                </a:cubicBezTo>
                <a:cubicBezTo>
                  <a:pt x="67" y="13"/>
                  <a:pt x="68" y="13"/>
                  <a:pt x="69" y="13"/>
                </a:cubicBezTo>
                <a:cubicBezTo>
                  <a:pt x="69" y="13"/>
                  <a:pt x="71" y="14"/>
                  <a:pt x="72" y="14"/>
                </a:cubicBezTo>
                <a:cubicBezTo>
                  <a:pt x="73" y="14"/>
                  <a:pt x="78" y="14"/>
                  <a:pt x="79" y="14"/>
                </a:cubicBezTo>
                <a:cubicBezTo>
                  <a:pt x="80" y="14"/>
                  <a:pt x="84" y="14"/>
                  <a:pt x="86" y="14"/>
                </a:cubicBezTo>
                <a:cubicBezTo>
                  <a:pt x="87" y="14"/>
                  <a:pt x="89" y="13"/>
                  <a:pt x="89" y="13"/>
                </a:cubicBezTo>
                <a:cubicBezTo>
                  <a:pt x="89" y="13"/>
                  <a:pt x="92" y="13"/>
                  <a:pt x="93" y="13"/>
                </a:cubicBezTo>
                <a:cubicBezTo>
                  <a:pt x="93" y="13"/>
                  <a:pt x="94" y="13"/>
                  <a:pt x="95" y="13"/>
                </a:cubicBezTo>
                <a:cubicBezTo>
                  <a:pt x="96" y="12"/>
                  <a:pt x="96" y="15"/>
                  <a:pt x="97" y="15"/>
                </a:cubicBezTo>
                <a:cubicBezTo>
                  <a:pt x="97" y="16"/>
                  <a:pt x="99" y="17"/>
                  <a:pt x="99" y="17"/>
                </a:cubicBezTo>
                <a:cubicBezTo>
                  <a:pt x="99" y="17"/>
                  <a:pt x="102" y="17"/>
                  <a:pt x="102" y="17"/>
                </a:cubicBezTo>
                <a:cubicBezTo>
                  <a:pt x="102" y="17"/>
                  <a:pt x="102" y="20"/>
                  <a:pt x="101" y="21"/>
                </a:cubicBezTo>
                <a:cubicBezTo>
                  <a:pt x="101" y="22"/>
                  <a:pt x="100" y="23"/>
                  <a:pt x="100" y="23"/>
                </a:cubicBezTo>
                <a:cubicBezTo>
                  <a:pt x="100" y="23"/>
                  <a:pt x="101" y="24"/>
                  <a:pt x="101" y="25"/>
                </a:cubicBezTo>
                <a:cubicBezTo>
                  <a:pt x="102" y="26"/>
                  <a:pt x="105" y="27"/>
                  <a:pt x="105" y="27"/>
                </a:cubicBezTo>
                <a:cubicBezTo>
                  <a:pt x="105" y="27"/>
                  <a:pt x="108" y="32"/>
                  <a:pt x="108" y="33"/>
                </a:cubicBezTo>
                <a:cubicBezTo>
                  <a:pt x="108" y="34"/>
                  <a:pt x="108" y="38"/>
                  <a:pt x="108" y="40"/>
                </a:cubicBezTo>
                <a:cubicBezTo>
                  <a:pt x="108" y="42"/>
                  <a:pt x="105" y="45"/>
                  <a:pt x="104" y="46"/>
                </a:cubicBezTo>
                <a:cubicBezTo>
                  <a:pt x="103" y="47"/>
                  <a:pt x="102" y="51"/>
                  <a:pt x="102" y="52"/>
                </a:cubicBezTo>
                <a:cubicBezTo>
                  <a:pt x="102" y="53"/>
                  <a:pt x="105" y="55"/>
                  <a:pt x="106" y="55"/>
                </a:cubicBezTo>
                <a:cubicBezTo>
                  <a:pt x="107" y="56"/>
                  <a:pt x="108" y="57"/>
                  <a:pt x="108" y="58"/>
                </a:cubicBezTo>
                <a:cubicBezTo>
                  <a:pt x="108" y="59"/>
                  <a:pt x="108" y="62"/>
                  <a:pt x="110" y="62"/>
                </a:cubicBezTo>
                <a:cubicBezTo>
                  <a:pt x="108" y="62"/>
                  <a:pt x="109" y="62"/>
                  <a:pt x="109" y="64"/>
                </a:cubicBezTo>
                <a:cubicBezTo>
                  <a:pt x="109" y="65"/>
                  <a:pt x="108" y="70"/>
                  <a:pt x="108" y="71"/>
                </a:cubicBezTo>
                <a:cubicBezTo>
                  <a:pt x="108" y="73"/>
                  <a:pt x="108" y="75"/>
                  <a:pt x="109" y="76"/>
                </a:cubicBezTo>
                <a:cubicBezTo>
                  <a:pt x="109" y="77"/>
                  <a:pt x="111" y="80"/>
                  <a:pt x="112" y="82"/>
                </a:cubicBezTo>
                <a:cubicBezTo>
                  <a:pt x="112" y="83"/>
                  <a:pt x="113" y="88"/>
                  <a:pt x="113" y="88"/>
                </a:cubicBezTo>
                <a:cubicBezTo>
                  <a:pt x="113" y="88"/>
                  <a:pt x="112" y="90"/>
                  <a:pt x="111" y="90"/>
                </a:cubicBezTo>
                <a:cubicBezTo>
                  <a:pt x="110" y="91"/>
                  <a:pt x="105" y="94"/>
                  <a:pt x="105" y="95"/>
                </a:cubicBezTo>
                <a:cubicBezTo>
                  <a:pt x="104" y="96"/>
                  <a:pt x="101" y="98"/>
                  <a:pt x="99" y="99"/>
                </a:cubicBezTo>
                <a:cubicBezTo>
                  <a:pt x="98" y="99"/>
                  <a:pt x="98" y="101"/>
                  <a:pt x="97" y="102"/>
                </a:cubicBezTo>
                <a:cubicBezTo>
                  <a:pt x="97" y="103"/>
                  <a:pt x="97" y="109"/>
                  <a:pt x="96" y="111"/>
                </a:cubicBezTo>
                <a:cubicBezTo>
                  <a:pt x="96" y="113"/>
                  <a:pt x="97" y="114"/>
                  <a:pt x="97" y="114"/>
                </a:cubicBezTo>
                <a:cubicBezTo>
                  <a:pt x="97" y="114"/>
                  <a:pt x="96" y="115"/>
                  <a:pt x="95" y="115"/>
                </a:cubicBezTo>
                <a:cubicBezTo>
                  <a:pt x="94" y="115"/>
                  <a:pt x="92" y="115"/>
                  <a:pt x="92" y="115"/>
                </a:cubicBezTo>
                <a:cubicBezTo>
                  <a:pt x="92" y="115"/>
                  <a:pt x="90" y="114"/>
                  <a:pt x="89" y="113"/>
                </a:cubicBezTo>
                <a:cubicBezTo>
                  <a:pt x="89" y="113"/>
                  <a:pt x="89" y="111"/>
                  <a:pt x="89" y="110"/>
                </a:cubicBezTo>
                <a:cubicBezTo>
                  <a:pt x="88" y="110"/>
                  <a:pt x="88" y="108"/>
                  <a:pt x="88" y="108"/>
                </a:cubicBezTo>
                <a:cubicBezTo>
                  <a:pt x="88" y="108"/>
                  <a:pt x="86" y="109"/>
                  <a:pt x="86" y="109"/>
                </a:cubicBezTo>
                <a:cubicBezTo>
                  <a:pt x="85" y="109"/>
                  <a:pt x="83" y="107"/>
                  <a:pt x="82" y="106"/>
                </a:cubicBezTo>
                <a:cubicBezTo>
                  <a:pt x="81" y="105"/>
                  <a:pt x="79" y="104"/>
                  <a:pt x="78" y="104"/>
                </a:cubicBezTo>
                <a:cubicBezTo>
                  <a:pt x="78" y="104"/>
                  <a:pt x="76" y="106"/>
                  <a:pt x="75" y="107"/>
                </a:cubicBezTo>
                <a:cubicBezTo>
                  <a:pt x="75" y="107"/>
                  <a:pt x="73" y="109"/>
                  <a:pt x="72" y="109"/>
                </a:cubicBezTo>
                <a:cubicBezTo>
                  <a:pt x="71" y="108"/>
                  <a:pt x="71" y="106"/>
                  <a:pt x="69" y="106"/>
                </a:cubicBezTo>
                <a:cubicBezTo>
                  <a:pt x="68" y="105"/>
                  <a:pt x="66" y="105"/>
                  <a:pt x="65" y="106"/>
                </a:cubicBezTo>
                <a:cubicBezTo>
                  <a:pt x="65" y="106"/>
                  <a:pt x="66" y="108"/>
                  <a:pt x="65" y="108"/>
                </a:cubicBezTo>
                <a:cubicBezTo>
                  <a:pt x="64" y="108"/>
                  <a:pt x="64" y="108"/>
                  <a:pt x="63" y="107"/>
                </a:cubicBezTo>
                <a:cubicBezTo>
                  <a:pt x="62" y="107"/>
                  <a:pt x="62" y="105"/>
                  <a:pt x="61" y="105"/>
                </a:cubicBezTo>
                <a:cubicBezTo>
                  <a:pt x="61" y="105"/>
                  <a:pt x="60" y="104"/>
                  <a:pt x="59" y="104"/>
                </a:cubicBezTo>
                <a:cubicBezTo>
                  <a:pt x="58" y="104"/>
                  <a:pt x="56" y="103"/>
                  <a:pt x="55" y="104"/>
                </a:cubicBezTo>
                <a:cubicBezTo>
                  <a:pt x="54" y="105"/>
                  <a:pt x="54" y="107"/>
                  <a:pt x="52" y="107"/>
                </a:cubicBezTo>
                <a:cubicBezTo>
                  <a:pt x="50" y="107"/>
                  <a:pt x="47" y="105"/>
                  <a:pt x="47" y="105"/>
                </a:cubicBezTo>
                <a:cubicBezTo>
                  <a:pt x="47" y="105"/>
                  <a:pt x="47" y="103"/>
                  <a:pt x="47" y="103"/>
                </a:cubicBezTo>
                <a:cubicBezTo>
                  <a:pt x="47" y="102"/>
                  <a:pt x="46" y="100"/>
                  <a:pt x="46" y="100"/>
                </a:cubicBezTo>
                <a:cubicBezTo>
                  <a:pt x="46" y="100"/>
                  <a:pt x="44" y="99"/>
                  <a:pt x="44" y="98"/>
                </a:cubicBezTo>
                <a:cubicBezTo>
                  <a:pt x="44" y="97"/>
                  <a:pt x="44" y="95"/>
                  <a:pt x="44" y="95"/>
                </a:cubicBezTo>
                <a:cubicBezTo>
                  <a:pt x="42" y="96"/>
                  <a:pt x="42" y="96"/>
                  <a:pt x="42" y="96"/>
                </a:cubicBezTo>
                <a:cubicBezTo>
                  <a:pt x="42" y="94"/>
                  <a:pt x="42" y="94"/>
                  <a:pt x="42" y="94"/>
                </a:cubicBezTo>
                <a:cubicBezTo>
                  <a:pt x="42" y="94"/>
                  <a:pt x="39" y="94"/>
                  <a:pt x="39" y="94"/>
                </a:cubicBezTo>
                <a:cubicBezTo>
                  <a:pt x="38" y="94"/>
                  <a:pt x="36" y="93"/>
                  <a:pt x="36" y="93"/>
                </a:cubicBezTo>
                <a:cubicBezTo>
                  <a:pt x="36" y="93"/>
                  <a:pt x="36" y="92"/>
                  <a:pt x="37" y="91"/>
                </a:cubicBezTo>
                <a:cubicBezTo>
                  <a:pt x="37" y="90"/>
                  <a:pt x="37" y="88"/>
                  <a:pt x="37" y="88"/>
                </a:cubicBezTo>
                <a:cubicBezTo>
                  <a:pt x="37" y="87"/>
                  <a:pt x="34" y="87"/>
                  <a:pt x="34" y="87"/>
                </a:cubicBezTo>
                <a:cubicBezTo>
                  <a:pt x="33" y="88"/>
                  <a:pt x="31" y="87"/>
                  <a:pt x="31" y="87"/>
                </a:cubicBezTo>
                <a:cubicBezTo>
                  <a:pt x="30" y="88"/>
                  <a:pt x="28" y="88"/>
                  <a:pt x="27" y="89"/>
                </a:cubicBezTo>
                <a:cubicBezTo>
                  <a:pt x="25" y="89"/>
                  <a:pt x="24" y="89"/>
                  <a:pt x="24" y="90"/>
                </a:cubicBezTo>
                <a:cubicBezTo>
                  <a:pt x="23" y="91"/>
                  <a:pt x="23" y="92"/>
                  <a:pt x="22" y="91"/>
                </a:cubicBezTo>
                <a:cubicBezTo>
                  <a:pt x="21" y="91"/>
                  <a:pt x="21" y="90"/>
                  <a:pt x="21" y="90"/>
                </a:cubicBezTo>
                <a:cubicBezTo>
                  <a:pt x="21" y="90"/>
                  <a:pt x="21" y="89"/>
                  <a:pt x="20" y="89"/>
                </a:cubicBezTo>
                <a:cubicBezTo>
                  <a:pt x="19" y="88"/>
                  <a:pt x="18" y="89"/>
                  <a:pt x="18" y="88"/>
                </a:cubicBezTo>
                <a:cubicBezTo>
                  <a:pt x="17" y="87"/>
                  <a:pt x="15" y="84"/>
                  <a:pt x="14" y="84"/>
                </a:cubicBezTo>
                <a:cubicBezTo>
                  <a:pt x="14" y="83"/>
                  <a:pt x="12" y="82"/>
                  <a:pt x="12" y="82"/>
                </a:cubicBezTo>
                <a:cubicBezTo>
                  <a:pt x="10" y="82"/>
                  <a:pt x="8" y="81"/>
                  <a:pt x="8" y="81"/>
                </a:cubicBezTo>
                <a:cubicBezTo>
                  <a:pt x="7" y="78"/>
                  <a:pt x="7" y="78"/>
                  <a:pt x="7" y="78"/>
                </a:cubicBezTo>
                <a:cubicBezTo>
                  <a:pt x="7" y="78"/>
                  <a:pt x="7" y="77"/>
                  <a:pt x="8" y="76"/>
                </a:cubicBezTo>
                <a:cubicBezTo>
                  <a:pt x="8" y="76"/>
                  <a:pt x="9" y="76"/>
                  <a:pt x="8" y="75"/>
                </a:cubicBezTo>
                <a:cubicBezTo>
                  <a:pt x="8" y="74"/>
                  <a:pt x="7" y="73"/>
                  <a:pt x="7" y="72"/>
                </a:cubicBezTo>
                <a:cubicBezTo>
                  <a:pt x="7" y="71"/>
                  <a:pt x="8" y="71"/>
                  <a:pt x="8" y="70"/>
                </a:cubicBezTo>
                <a:cubicBezTo>
                  <a:pt x="7" y="69"/>
                  <a:pt x="6" y="69"/>
                  <a:pt x="6" y="68"/>
                </a:cubicBezTo>
                <a:cubicBezTo>
                  <a:pt x="6" y="66"/>
                  <a:pt x="5" y="64"/>
                  <a:pt x="5" y="63"/>
                </a:cubicBezTo>
                <a:cubicBezTo>
                  <a:pt x="4" y="62"/>
                  <a:pt x="5" y="60"/>
                  <a:pt x="5" y="59"/>
                </a:cubicBezTo>
                <a:cubicBezTo>
                  <a:pt x="4" y="58"/>
                  <a:pt x="4" y="56"/>
                  <a:pt x="4" y="55"/>
                </a:cubicBezTo>
                <a:cubicBezTo>
                  <a:pt x="3" y="53"/>
                  <a:pt x="4" y="51"/>
                  <a:pt x="4" y="50"/>
                </a:cubicBezTo>
                <a:cubicBezTo>
                  <a:pt x="5" y="49"/>
                  <a:pt x="6" y="48"/>
                  <a:pt x="6" y="47"/>
                </a:cubicBezTo>
                <a:cubicBezTo>
                  <a:pt x="6" y="46"/>
                  <a:pt x="4" y="44"/>
                  <a:pt x="4" y="44"/>
                </a:cubicBezTo>
                <a:cubicBezTo>
                  <a:pt x="4" y="44"/>
                  <a:pt x="4" y="41"/>
                  <a:pt x="4" y="39"/>
                </a:cubicBezTo>
                <a:cubicBezTo>
                  <a:pt x="4" y="38"/>
                  <a:pt x="4" y="36"/>
                  <a:pt x="4" y="36"/>
                </a:cubicBezTo>
                <a:cubicBezTo>
                  <a:pt x="4" y="35"/>
                  <a:pt x="4" y="33"/>
                  <a:pt x="3" y="32"/>
                </a:cubicBezTo>
                <a:cubicBezTo>
                  <a:pt x="3" y="31"/>
                  <a:pt x="1" y="27"/>
                  <a:pt x="1" y="27"/>
                </a:cubicBezTo>
                <a:cubicBezTo>
                  <a:pt x="1" y="27"/>
                  <a:pt x="0" y="27"/>
                  <a:pt x="0" y="26"/>
                </a:cubicBezTo>
                <a:cubicBezTo>
                  <a:pt x="0" y="24"/>
                  <a:pt x="1" y="21"/>
                  <a:pt x="1" y="20"/>
                </a:cubicBezTo>
                <a:cubicBezTo>
                  <a:pt x="1" y="19"/>
                  <a:pt x="0" y="15"/>
                  <a:pt x="0" y="15"/>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49" name="Chech Republic"/>
          <p:cNvSpPr>
            <a:spLocks/>
          </p:cNvSpPr>
          <p:nvPr/>
        </p:nvSpPr>
        <p:spPr bwMode="auto">
          <a:xfrm>
            <a:off x="6511393" y="2326289"/>
            <a:ext cx="133922" cy="99624"/>
          </a:xfrm>
          <a:custGeom>
            <a:avLst/>
            <a:gdLst>
              <a:gd name="T0" fmla="*/ 64 w 65"/>
              <a:gd name="T1" fmla="*/ 18 h 48"/>
              <a:gd name="T2" fmla="*/ 65 w 65"/>
              <a:gd name="T3" fmla="*/ 16 h 48"/>
              <a:gd name="T4" fmla="*/ 65 w 65"/>
              <a:gd name="T5" fmla="*/ 13 h 48"/>
              <a:gd name="T6" fmla="*/ 62 w 65"/>
              <a:gd name="T7" fmla="*/ 12 h 48"/>
              <a:gd name="T8" fmla="*/ 59 w 65"/>
              <a:gd name="T9" fmla="*/ 12 h 48"/>
              <a:gd name="T10" fmla="*/ 55 w 65"/>
              <a:gd name="T11" fmla="*/ 14 h 48"/>
              <a:gd name="T12" fmla="*/ 52 w 65"/>
              <a:gd name="T13" fmla="*/ 15 h 48"/>
              <a:gd name="T14" fmla="*/ 50 w 65"/>
              <a:gd name="T15" fmla="*/ 16 h 48"/>
              <a:gd name="T16" fmla="*/ 49 w 65"/>
              <a:gd name="T17" fmla="*/ 15 h 48"/>
              <a:gd name="T18" fmla="*/ 48 w 65"/>
              <a:gd name="T19" fmla="*/ 14 h 48"/>
              <a:gd name="T20" fmla="*/ 46 w 65"/>
              <a:gd name="T21" fmla="*/ 13 h 48"/>
              <a:gd name="T22" fmla="*/ 42 w 65"/>
              <a:gd name="T23" fmla="*/ 9 h 48"/>
              <a:gd name="T24" fmla="*/ 40 w 65"/>
              <a:gd name="T25" fmla="*/ 7 h 48"/>
              <a:gd name="T26" fmla="*/ 36 w 65"/>
              <a:gd name="T27" fmla="*/ 6 h 48"/>
              <a:gd name="T28" fmla="*/ 33 w 65"/>
              <a:gd name="T29" fmla="*/ 5 h 48"/>
              <a:gd name="T30" fmla="*/ 31 w 65"/>
              <a:gd name="T31" fmla="*/ 4 h 48"/>
              <a:gd name="T32" fmla="*/ 30 w 65"/>
              <a:gd name="T33" fmla="*/ 0 h 48"/>
              <a:gd name="T34" fmla="*/ 28 w 65"/>
              <a:gd name="T35" fmla="*/ 2 h 48"/>
              <a:gd name="T36" fmla="*/ 27 w 65"/>
              <a:gd name="T37" fmla="*/ 5 h 48"/>
              <a:gd name="T38" fmla="*/ 24 w 65"/>
              <a:gd name="T39" fmla="*/ 7 h 48"/>
              <a:gd name="T40" fmla="*/ 22 w 65"/>
              <a:gd name="T41" fmla="*/ 7 h 48"/>
              <a:gd name="T42" fmla="*/ 21 w 65"/>
              <a:gd name="T43" fmla="*/ 8 h 48"/>
              <a:gd name="T44" fmla="*/ 16 w 65"/>
              <a:gd name="T45" fmla="*/ 8 h 48"/>
              <a:gd name="T46" fmla="*/ 15 w 65"/>
              <a:gd name="T47" fmla="*/ 10 h 48"/>
              <a:gd name="T48" fmla="*/ 11 w 65"/>
              <a:gd name="T49" fmla="*/ 11 h 48"/>
              <a:gd name="T50" fmla="*/ 8 w 65"/>
              <a:gd name="T51" fmla="*/ 12 h 48"/>
              <a:gd name="T52" fmla="*/ 6 w 65"/>
              <a:gd name="T53" fmla="*/ 14 h 48"/>
              <a:gd name="T54" fmla="*/ 2 w 65"/>
              <a:gd name="T55" fmla="*/ 14 h 48"/>
              <a:gd name="T56" fmla="*/ 1 w 65"/>
              <a:gd name="T57" fmla="*/ 13 h 48"/>
              <a:gd name="T58" fmla="*/ 0 w 65"/>
              <a:gd name="T59" fmla="*/ 16 h 48"/>
              <a:gd name="T60" fmla="*/ 4 w 65"/>
              <a:gd name="T61" fmla="*/ 20 h 48"/>
              <a:gd name="T62" fmla="*/ 6 w 65"/>
              <a:gd name="T63" fmla="*/ 26 h 48"/>
              <a:gd name="T64" fmla="*/ 6 w 65"/>
              <a:gd name="T65" fmla="*/ 28 h 48"/>
              <a:gd name="T66" fmla="*/ 9 w 65"/>
              <a:gd name="T67" fmla="*/ 32 h 48"/>
              <a:gd name="T68" fmla="*/ 12 w 65"/>
              <a:gd name="T69" fmla="*/ 34 h 48"/>
              <a:gd name="T70" fmla="*/ 15 w 65"/>
              <a:gd name="T71" fmla="*/ 36 h 48"/>
              <a:gd name="T72" fmla="*/ 16 w 65"/>
              <a:gd name="T73" fmla="*/ 39 h 48"/>
              <a:gd name="T74" fmla="*/ 18 w 65"/>
              <a:gd name="T75" fmla="*/ 42 h 48"/>
              <a:gd name="T76" fmla="*/ 20 w 65"/>
              <a:gd name="T77" fmla="*/ 43 h 48"/>
              <a:gd name="T78" fmla="*/ 22 w 65"/>
              <a:gd name="T79" fmla="*/ 45 h 48"/>
              <a:gd name="T80" fmla="*/ 24 w 65"/>
              <a:gd name="T81" fmla="*/ 46 h 48"/>
              <a:gd name="T82" fmla="*/ 26 w 65"/>
              <a:gd name="T83" fmla="*/ 47 h 48"/>
              <a:gd name="T84" fmla="*/ 28 w 65"/>
              <a:gd name="T85" fmla="*/ 45 h 48"/>
              <a:gd name="T86" fmla="*/ 32 w 65"/>
              <a:gd name="T87" fmla="*/ 46 h 48"/>
              <a:gd name="T88" fmla="*/ 38 w 65"/>
              <a:gd name="T89" fmla="*/ 46 h 48"/>
              <a:gd name="T90" fmla="*/ 40 w 65"/>
              <a:gd name="T91" fmla="*/ 43 h 48"/>
              <a:gd name="T92" fmla="*/ 43 w 65"/>
              <a:gd name="T93" fmla="*/ 44 h 48"/>
              <a:gd name="T94" fmla="*/ 47 w 65"/>
              <a:gd name="T95" fmla="*/ 44 h 48"/>
              <a:gd name="T96" fmla="*/ 50 w 65"/>
              <a:gd name="T97" fmla="*/ 45 h 48"/>
              <a:gd name="T98" fmla="*/ 53 w 65"/>
              <a:gd name="T99" fmla="*/ 47 h 48"/>
              <a:gd name="T100" fmla="*/ 56 w 65"/>
              <a:gd name="T101" fmla="*/ 40 h 48"/>
              <a:gd name="T102" fmla="*/ 59 w 65"/>
              <a:gd name="T103" fmla="*/ 38 h 48"/>
              <a:gd name="T104" fmla="*/ 60 w 65"/>
              <a:gd name="T105" fmla="*/ 33 h 48"/>
              <a:gd name="T106" fmla="*/ 60 w 65"/>
              <a:gd name="T107" fmla="*/ 28 h 48"/>
              <a:gd name="T108" fmla="*/ 61 w 65"/>
              <a:gd name="T109" fmla="*/ 24 h 48"/>
              <a:gd name="T110" fmla="*/ 62 w 65"/>
              <a:gd name="T111" fmla="*/ 21 h 48"/>
              <a:gd name="T112" fmla="*/ 64 w 65"/>
              <a:gd name="T113"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48">
                <a:moveTo>
                  <a:pt x="64" y="18"/>
                </a:moveTo>
                <a:cubicBezTo>
                  <a:pt x="64" y="18"/>
                  <a:pt x="64" y="17"/>
                  <a:pt x="65" y="16"/>
                </a:cubicBezTo>
                <a:cubicBezTo>
                  <a:pt x="65" y="15"/>
                  <a:pt x="65" y="13"/>
                  <a:pt x="65" y="13"/>
                </a:cubicBezTo>
                <a:cubicBezTo>
                  <a:pt x="65" y="12"/>
                  <a:pt x="62" y="12"/>
                  <a:pt x="62" y="12"/>
                </a:cubicBezTo>
                <a:cubicBezTo>
                  <a:pt x="61" y="13"/>
                  <a:pt x="59" y="12"/>
                  <a:pt x="59" y="12"/>
                </a:cubicBezTo>
                <a:cubicBezTo>
                  <a:pt x="58" y="13"/>
                  <a:pt x="56" y="13"/>
                  <a:pt x="55" y="14"/>
                </a:cubicBezTo>
                <a:cubicBezTo>
                  <a:pt x="53" y="14"/>
                  <a:pt x="52" y="14"/>
                  <a:pt x="52" y="15"/>
                </a:cubicBezTo>
                <a:cubicBezTo>
                  <a:pt x="51" y="16"/>
                  <a:pt x="51" y="17"/>
                  <a:pt x="50" y="16"/>
                </a:cubicBezTo>
                <a:cubicBezTo>
                  <a:pt x="49" y="16"/>
                  <a:pt x="49" y="15"/>
                  <a:pt x="49" y="15"/>
                </a:cubicBezTo>
                <a:cubicBezTo>
                  <a:pt x="49" y="15"/>
                  <a:pt x="49" y="14"/>
                  <a:pt x="48" y="14"/>
                </a:cubicBezTo>
                <a:cubicBezTo>
                  <a:pt x="47" y="13"/>
                  <a:pt x="46" y="14"/>
                  <a:pt x="46" y="13"/>
                </a:cubicBezTo>
                <a:cubicBezTo>
                  <a:pt x="45" y="12"/>
                  <a:pt x="43" y="9"/>
                  <a:pt x="42" y="9"/>
                </a:cubicBezTo>
                <a:cubicBezTo>
                  <a:pt x="42" y="8"/>
                  <a:pt x="40" y="7"/>
                  <a:pt x="40" y="7"/>
                </a:cubicBezTo>
                <a:cubicBezTo>
                  <a:pt x="38" y="7"/>
                  <a:pt x="36" y="6"/>
                  <a:pt x="36" y="6"/>
                </a:cubicBezTo>
                <a:cubicBezTo>
                  <a:pt x="36" y="6"/>
                  <a:pt x="34" y="5"/>
                  <a:pt x="33" y="5"/>
                </a:cubicBezTo>
                <a:cubicBezTo>
                  <a:pt x="32" y="4"/>
                  <a:pt x="31" y="5"/>
                  <a:pt x="31" y="4"/>
                </a:cubicBezTo>
                <a:cubicBezTo>
                  <a:pt x="32" y="2"/>
                  <a:pt x="31" y="1"/>
                  <a:pt x="30" y="0"/>
                </a:cubicBezTo>
                <a:cubicBezTo>
                  <a:pt x="30" y="0"/>
                  <a:pt x="29" y="1"/>
                  <a:pt x="28" y="2"/>
                </a:cubicBezTo>
                <a:cubicBezTo>
                  <a:pt x="28" y="2"/>
                  <a:pt x="27" y="5"/>
                  <a:pt x="27" y="5"/>
                </a:cubicBezTo>
                <a:cubicBezTo>
                  <a:pt x="27" y="5"/>
                  <a:pt x="24" y="7"/>
                  <a:pt x="24" y="7"/>
                </a:cubicBezTo>
                <a:cubicBezTo>
                  <a:pt x="23" y="7"/>
                  <a:pt x="22" y="7"/>
                  <a:pt x="22" y="7"/>
                </a:cubicBezTo>
                <a:cubicBezTo>
                  <a:pt x="22" y="7"/>
                  <a:pt x="21" y="8"/>
                  <a:pt x="21" y="8"/>
                </a:cubicBezTo>
                <a:cubicBezTo>
                  <a:pt x="19" y="8"/>
                  <a:pt x="16" y="8"/>
                  <a:pt x="16" y="8"/>
                </a:cubicBezTo>
                <a:cubicBezTo>
                  <a:pt x="15" y="10"/>
                  <a:pt x="15" y="10"/>
                  <a:pt x="15" y="10"/>
                </a:cubicBezTo>
                <a:cubicBezTo>
                  <a:pt x="15" y="10"/>
                  <a:pt x="12" y="11"/>
                  <a:pt x="11" y="11"/>
                </a:cubicBezTo>
                <a:cubicBezTo>
                  <a:pt x="11" y="11"/>
                  <a:pt x="9" y="11"/>
                  <a:pt x="8" y="12"/>
                </a:cubicBezTo>
                <a:cubicBezTo>
                  <a:pt x="7" y="12"/>
                  <a:pt x="6" y="14"/>
                  <a:pt x="6" y="14"/>
                </a:cubicBezTo>
                <a:cubicBezTo>
                  <a:pt x="5" y="15"/>
                  <a:pt x="3" y="14"/>
                  <a:pt x="2" y="14"/>
                </a:cubicBezTo>
                <a:cubicBezTo>
                  <a:pt x="2" y="14"/>
                  <a:pt x="1" y="13"/>
                  <a:pt x="1" y="13"/>
                </a:cubicBezTo>
                <a:cubicBezTo>
                  <a:pt x="1" y="13"/>
                  <a:pt x="0" y="14"/>
                  <a:pt x="0" y="16"/>
                </a:cubicBezTo>
                <a:cubicBezTo>
                  <a:pt x="1" y="17"/>
                  <a:pt x="4" y="19"/>
                  <a:pt x="4" y="20"/>
                </a:cubicBezTo>
                <a:cubicBezTo>
                  <a:pt x="4" y="21"/>
                  <a:pt x="5" y="25"/>
                  <a:pt x="6" y="26"/>
                </a:cubicBezTo>
                <a:cubicBezTo>
                  <a:pt x="6" y="27"/>
                  <a:pt x="6" y="28"/>
                  <a:pt x="6" y="28"/>
                </a:cubicBezTo>
                <a:cubicBezTo>
                  <a:pt x="6" y="28"/>
                  <a:pt x="9" y="31"/>
                  <a:pt x="9" y="32"/>
                </a:cubicBezTo>
                <a:cubicBezTo>
                  <a:pt x="10" y="32"/>
                  <a:pt x="11" y="34"/>
                  <a:pt x="12" y="34"/>
                </a:cubicBezTo>
                <a:cubicBezTo>
                  <a:pt x="13" y="34"/>
                  <a:pt x="15" y="35"/>
                  <a:pt x="15" y="36"/>
                </a:cubicBezTo>
                <a:cubicBezTo>
                  <a:pt x="16" y="38"/>
                  <a:pt x="16" y="39"/>
                  <a:pt x="16" y="39"/>
                </a:cubicBezTo>
                <a:cubicBezTo>
                  <a:pt x="16" y="39"/>
                  <a:pt x="18" y="40"/>
                  <a:pt x="18" y="42"/>
                </a:cubicBezTo>
                <a:cubicBezTo>
                  <a:pt x="19" y="43"/>
                  <a:pt x="20" y="43"/>
                  <a:pt x="20" y="43"/>
                </a:cubicBezTo>
                <a:cubicBezTo>
                  <a:pt x="22" y="45"/>
                  <a:pt x="22" y="45"/>
                  <a:pt x="22" y="45"/>
                </a:cubicBezTo>
                <a:cubicBezTo>
                  <a:pt x="22" y="45"/>
                  <a:pt x="23" y="47"/>
                  <a:pt x="24" y="46"/>
                </a:cubicBezTo>
                <a:cubicBezTo>
                  <a:pt x="25" y="46"/>
                  <a:pt x="26" y="46"/>
                  <a:pt x="26" y="47"/>
                </a:cubicBezTo>
                <a:cubicBezTo>
                  <a:pt x="27" y="48"/>
                  <a:pt x="28" y="45"/>
                  <a:pt x="28" y="45"/>
                </a:cubicBezTo>
                <a:cubicBezTo>
                  <a:pt x="28" y="45"/>
                  <a:pt x="31" y="46"/>
                  <a:pt x="32" y="46"/>
                </a:cubicBezTo>
                <a:cubicBezTo>
                  <a:pt x="32" y="46"/>
                  <a:pt x="38" y="47"/>
                  <a:pt x="38" y="46"/>
                </a:cubicBezTo>
                <a:cubicBezTo>
                  <a:pt x="39" y="45"/>
                  <a:pt x="39" y="43"/>
                  <a:pt x="40" y="43"/>
                </a:cubicBezTo>
                <a:cubicBezTo>
                  <a:pt x="41" y="42"/>
                  <a:pt x="42" y="44"/>
                  <a:pt x="43" y="44"/>
                </a:cubicBezTo>
                <a:cubicBezTo>
                  <a:pt x="44" y="44"/>
                  <a:pt x="47" y="44"/>
                  <a:pt x="47" y="44"/>
                </a:cubicBezTo>
                <a:cubicBezTo>
                  <a:pt x="48" y="44"/>
                  <a:pt x="49" y="45"/>
                  <a:pt x="50" y="45"/>
                </a:cubicBezTo>
                <a:cubicBezTo>
                  <a:pt x="50" y="46"/>
                  <a:pt x="53" y="47"/>
                  <a:pt x="53" y="47"/>
                </a:cubicBezTo>
                <a:cubicBezTo>
                  <a:pt x="54" y="46"/>
                  <a:pt x="55" y="42"/>
                  <a:pt x="56" y="40"/>
                </a:cubicBezTo>
                <a:cubicBezTo>
                  <a:pt x="57" y="39"/>
                  <a:pt x="58" y="38"/>
                  <a:pt x="59" y="38"/>
                </a:cubicBezTo>
                <a:cubicBezTo>
                  <a:pt x="59" y="37"/>
                  <a:pt x="60" y="34"/>
                  <a:pt x="60" y="33"/>
                </a:cubicBezTo>
                <a:cubicBezTo>
                  <a:pt x="60" y="32"/>
                  <a:pt x="60" y="30"/>
                  <a:pt x="60" y="28"/>
                </a:cubicBezTo>
                <a:cubicBezTo>
                  <a:pt x="60" y="27"/>
                  <a:pt x="61" y="25"/>
                  <a:pt x="61" y="24"/>
                </a:cubicBezTo>
                <a:cubicBezTo>
                  <a:pt x="61" y="23"/>
                  <a:pt x="62" y="22"/>
                  <a:pt x="62" y="21"/>
                </a:cubicBezTo>
                <a:cubicBezTo>
                  <a:pt x="62" y="20"/>
                  <a:pt x="64" y="18"/>
                  <a:pt x="64" y="1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0" name="Austria"/>
          <p:cNvSpPr>
            <a:spLocks/>
          </p:cNvSpPr>
          <p:nvPr/>
        </p:nvSpPr>
        <p:spPr bwMode="auto">
          <a:xfrm>
            <a:off x="6486894" y="2412849"/>
            <a:ext cx="150254" cy="96358"/>
          </a:xfrm>
          <a:custGeom>
            <a:avLst/>
            <a:gdLst>
              <a:gd name="T0" fmla="*/ 60 w 73"/>
              <a:gd name="T1" fmla="*/ 39 h 47"/>
              <a:gd name="T2" fmla="*/ 58 w 73"/>
              <a:gd name="T3" fmla="*/ 41 h 47"/>
              <a:gd name="T4" fmla="*/ 55 w 73"/>
              <a:gd name="T5" fmla="*/ 43 h 47"/>
              <a:gd name="T6" fmla="*/ 52 w 73"/>
              <a:gd name="T7" fmla="*/ 42 h 47"/>
              <a:gd name="T8" fmla="*/ 48 w 73"/>
              <a:gd name="T9" fmla="*/ 42 h 47"/>
              <a:gd name="T10" fmla="*/ 44 w 73"/>
              <a:gd name="T11" fmla="*/ 43 h 47"/>
              <a:gd name="T12" fmla="*/ 39 w 73"/>
              <a:gd name="T13" fmla="*/ 46 h 47"/>
              <a:gd name="T14" fmla="*/ 35 w 73"/>
              <a:gd name="T15" fmla="*/ 43 h 47"/>
              <a:gd name="T16" fmla="*/ 29 w 73"/>
              <a:gd name="T17" fmla="*/ 43 h 47"/>
              <a:gd name="T18" fmla="*/ 27 w 73"/>
              <a:gd name="T19" fmla="*/ 45 h 47"/>
              <a:gd name="T20" fmla="*/ 23 w 73"/>
              <a:gd name="T21" fmla="*/ 45 h 47"/>
              <a:gd name="T22" fmla="*/ 19 w 73"/>
              <a:gd name="T23" fmla="*/ 43 h 47"/>
              <a:gd name="T24" fmla="*/ 15 w 73"/>
              <a:gd name="T25" fmla="*/ 41 h 47"/>
              <a:gd name="T26" fmla="*/ 12 w 73"/>
              <a:gd name="T27" fmla="*/ 38 h 47"/>
              <a:gd name="T28" fmla="*/ 11 w 73"/>
              <a:gd name="T29" fmla="*/ 33 h 47"/>
              <a:gd name="T30" fmla="*/ 10 w 73"/>
              <a:gd name="T31" fmla="*/ 32 h 47"/>
              <a:gd name="T32" fmla="*/ 8 w 73"/>
              <a:gd name="T33" fmla="*/ 33 h 47"/>
              <a:gd name="T34" fmla="*/ 5 w 73"/>
              <a:gd name="T35" fmla="*/ 32 h 47"/>
              <a:gd name="T36" fmla="*/ 1 w 73"/>
              <a:gd name="T37" fmla="*/ 33 h 47"/>
              <a:gd name="T38" fmla="*/ 1 w 73"/>
              <a:gd name="T39" fmla="*/ 29 h 47"/>
              <a:gd name="T40" fmla="*/ 3 w 73"/>
              <a:gd name="T41" fmla="*/ 26 h 47"/>
              <a:gd name="T42" fmla="*/ 6 w 73"/>
              <a:gd name="T43" fmla="*/ 24 h 47"/>
              <a:gd name="T44" fmla="*/ 12 w 73"/>
              <a:gd name="T45" fmla="*/ 24 h 47"/>
              <a:gd name="T46" fmla="*/ 14 w 73"/>
              <a:gd name="T47" fmla="*/ 24 h 47"/>
              <a:gd name="T48" fmla="*/ 16 w 73"/>
              <a:gd name="T49" fmla="*/ 22 h 47"/>
              <a:gd name="T50" fmla="*/ 21 w 73"/>
              <a:gd name="T51" fmla="*/ 21 h 47"/>
              <a:gd name="T52" fmla="*/ 24 w 73"/>
              <a:gd name="T53" fmla="*/ 19 h 47"/>
              <a:gd name="T54" fmla="*/ 27 w 73"/>
              <a:gd name="T55" fmla="*/ 15 h 47"/>
              <a:gd name="T56" fmla="*/ 30 w 73"/>
              <a:gd name="T57" fmla="*/ 11 h 47"/>
              <a:gd name="T58" fmla="*/ 33 w 73"/>
              <a:gd name="T59" fmla="*/ 9 h 47"/>
              <a:gd name="T60" fmla="*/ 36 w 73"/>
              <a:gd name="T61" fmla="*/ 7 h 47"/>
              <a:gd name="T62" fmla="*/ 39 w 73"/>
              <a:gd name="T63" fmla="*/ 5 h 47"/>
              <a:gd name="T64" fmla="*/ 40 w 73"/>
              <a:gd name="T65" fmla="*/ 3 h 47"/>
              <a:gd name="T66" fmla="*/ 44 w 73"/>
              <a:gd name="T67" fmla="*/ 4 h 47"/>
              <a:gd name="T68" fmla="*/ 50 w 73"/>
              <a:gd name="T69" fmla="*/ 4 h 47"/>
              <a:gd name="T70" fmla="*/ 52 w 73"/>
              <a:gd name="T71" fmla="*/ 1 h 47"/>
              <a:gd name="T72" fmla="*/ 55 w 73"/>
              <a:gd name="T73" fmla="*/ 2 h 47"/>
              <a:gd name="T74" fmla="*/ 59 w 73"/>
              <a:gd name="T75" fmla="*/ 2 h 47"/>
              <a:gd name="T76" fmla="*/ 62 w 73"/>
              <a:gd name="T77" fmla="*/ 3 h 47"/>
              <a:gd name="T78" fmla="*/ 65 w 73"/>
              <a:gd name="T79" fmla="*/ 5 h 47"/>
              <a:gd name="T80" fmla="*/ 67 w 73"/>
              <a:gd name="T81" fmla="*/ 8 h 47"/>
              <a:gd name="T82" fmla="*/ 69 w 73"/>
              <a:gd name="T83" fmla="*/ 10 h 47"/>
              <a:gd name="T84" fmla="*/ 69 w 73"/>
              <a:gd name="T85" fmla="*/ 11 h 47"/>
              <a:gd name="T86" fmla="*/ 72 w 73"/>
              <a:gd name="T87" fmla="*/ 13 h 47"/>
              <a:gd name="T88" fmla="*/ 73 w 73"/>
              <a:gd name="T89" fmla="*/ 15 h 47"/>
              <a:gd name="T90" fmla="*/ 72 w 73"/>
              <a:gd name="T91" fmla="*/ 16 h 47"/>
              <a:gd name="T92" fmla="*/ 72 w 73"/>
              <a:gd name="T93" fmla="*/ 17 h 47"/>
              <a:gd name="T94" fmla="*/ 73 w 73"/>
              <a:gd name="T95" fmla="*/ 18 h 47"/>
              <a:gd name="T96" fmla="*/ 70 w 73"/>
              <a:gd name="T97" fmla="*/ 21 h 47"/>
              <a:gd name="T98" fmla="*/ 66 w 73"/>
              <a:gd name="T99" fmla="*/ 22 h 47"/>
              <a:gd name="T100" fmla="*/ 65 w 73"/>
              <a:gd name="T101" fmla="*/ 25 h 47"/>
              <a:gd name="T102" fmla="*/ 63 w 73"/>
              <a:gd name="T103" fmla="*/ 27 h 47"/>
              <a:gd name="T104" fmla="*/ 64 w 73"/>
              <a:gd name="T105" fmla="*/ 29 h 47"/>
              <a:gd name="T106" fmla="*/ 63 w 73"/>
              <a:gd name="T107" fmla="*/ 30 h 47"/>
              <a:gd name="T108" fmla="*/ 63 w 73"/>
              <a:gd name="T109" fmla="*/ 31 h 47"/>
              <a:gd name="T110" fmla="*/ 61 w 73"/>
              <a:gd name="T111" fmla="*/ 31 h 47"/>
              <a:gd name="T112" fmla="*/ 62 w 73"/>
              <a:gd name="T113" fmla="*/ 34 h 47"/>
              <a:gd name="T114" fmla="*/ 61 w 73"/>
              <a:gd name="T115" fmla="*/ 36 h 47"/>
              <a:gd name="T116" fmla="*/ 60 w 73"/>
              <a:gd name="T117"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 h="47">
                <a:moveTo>
                  <a:pt x="60" y="39"/>
                </a:moveTo>
                <a:cubicBezTo>
                  <a:pt x="60" y="39"/>
                  <a:pt x="58" y="39"/>
                  <a:pt x="58" y="41"/>
                </a:cubicBezTo>
                <a:cubicBezTo>
                  <a:pt x="57" y="42"/>
                  <a:pt x="57" y="43"/>
                  <a:pt x="55" y="43"/>
                </a:cubicBezTo>
                <a:cubicBezTo>
                  <a:pt x="54" y="43"/>
                  <a:pt x="53" y="42"/>
                  <a:pt x="52" y="42"/>
                </a:cubicBezTo>
                <a:cubicBezTo>
                  <a:pt x="51" y="42"/>
                  <a:pt x="48" y="42"/>
                  <a:pt x="48" y="42"/>
                </a:cubicBezTo>
                <a:cubicBezTo>
                  <a:pt x="47" y="42"/>
                  <a:pt x="45" y="42"/>
                  <a:pt x="44" y="43"/>
                </a:cubicBezTo>
                <a:cubicBezTo>
                  <a:pt x="44" y="43"/>
                  <a:pt x="40" y="47"/>
                  <a:pt x="39" y="46"/>
                </a:cubicBezTo>
                <a:cubicBezTo>
                  <a:pt x="38" y="46"/>
                  <a:pt x="36" y="43"/>
                  <a:pt x="35" y="43"/>
                </a:cubicBezTo>
                <a:cubicBezTo>
                  <a:pt x="34" y="43"/>
                  <a:pt x="30" y="42"/>
                  <a:pt x="29" y="43"/>
                </a:cubicBezTo>
                <a:cubicBezTo>
                  <a:pt x="28" y="43"/>
                  <a:pt x="28" y="44"/>
                  <a:pt x="27" y="45"/>
                </a:cubicBezTo>
                <a:cubicBezTo>
                  <a:pt x="25" y="45"/>
                  <a:pt x="23" y="45"/>
                  <a:pt x="23" y="45"/>
                </a:cubicBezTo>
                <a:cubicBezTo>
                  <a:pt x="22" y="45"/>
                  <a:pt x="20" y="44"/>
                  <a:pt x="19" y="43"/>
                </a:cubicBezTo>
                <a:cubicBezTo>
                  <a:pt x="18" y="43"/>
                  <a:pt x="16" y="42"/>
                  <a:pt x="15" y="41"/>
                </a:cubicBezTo>
                <a:cubicBezTo>
                  <a:pt x="14" y="39"/>
                  <a:pt x="13" y="39"/>
                  <a:pt x="12" y="38"/>
                </a:cubicBezTo>
                <a:cubicBezTo>
                  <a:pt x="12" y="37"/>
                  <a:pt x="11" y="35"/>
                  <a:pt x="11" y="33"/>
                </a:cubicBezTo>
                <a:cubicBezTo>
                  <a:pt x="11" y="32"/>
                  <a:pt x="11" y="32"/>
                  <a:pt x="10" y="32"/>
                </a:cubicBezTo>
                <a:cubicBezTo>
                  <a:pt x="9" y="32"/>
                  <a:pt x="8" y="33"/>
                  <a:pt x="8" y="33"/>
                </a:cubicBezTo>
                <a:cubicBezTo>
                  <a:pt x="8" y="33"/>
                  <a:pt x="6" y="33"/>
                  <a:pt x="5" y="32"/>
                </a:cubicBezTo>
                <a:cubicBezTo>
                  <a:pt x="4" y="32"/>
                  <a:pt x="2" y="32"/>
                  <a:pt x="1" y="33"/>
                </a:cubicBezTo>
                <a:cubicBezTo>
                  <a:pt x="0" y="33"/>
                  <a:pt x="1" y="30"/>
                  <a:pt x="1" y="29"/>
                </a:cubicBezTo>
                <a:cubicBezTo>
                  <a:pt x="1" y="28"/>
                  <a:pt x="2" y="27"/>
                  <a:pt x="3" y="26"/>
                </a:cubicBezTo>
                <a:cubicBezTo>
                  <a:pt x="3" y="26"/>
                  <a:pt x="5" y="25"/>
                  <a:pt x="6" y="24"/>
                </a:cubicBezTo>
                <a:cubicBezTo>
                  <a:pt x="7" y="24"/>
                  <a:pt x="11" y="24"/>
                  <a:pt x="12" y="24"/>
                </a:cubicBezTo>
                <a:cubicBezTo>
                  <a:pt x="12" y="24"/>
                  <a:pt x="12" y="25"/>
                  <a:pt x="14" y="24"/>
                </a:cubicBezTo>
                <a:cubicBezTo>
                  <a:pt x="15" y="24"/>
                  <a:pt x="16" y="23"/>
                  <a:pt x="16" y="22"/>
                </a:cubicBezTo>
                <a:cubicBezTo>
                  <a:pt x="17" y="22"/>
                  <a:pt x="20" y="22"/>
                  <a:pt x="21" y="21"/>
                </a:cubicBezTo>
                <a:cubicBezTo>
                  <a:pt x="22" y="20"/>
                  <a:pt x="24" y="19"/>
                  <a:pt x="24" y="19"/>
                </a:cubicBezTo>
                <a:cubicBezTo>
                  <a:pt x="25" y="18"/>
                  <a:pt x="26" y="16"/>
                  <a:pt x="27" y="15"/>
                </a:cubicBezTo>
                <a:cubicBezTo>
                  <a:pt x="27" y="14"/>
                  <a:pt x="29" y="12"/>
                  <a:pt x="30" y="11"/>
                </a:cubicBezTo>
                <a:cubicBezTo>
                  <a:pt x="31" y="11"/>
                  <a:pt x="33" y="9"/>
                  <a:pt x="33" y="9"/>
                </a:cubicBezTo>
                <a:cubicBezTo>
                  <a:pt x="34" y="9"/>
                  <a:pt x="35" y="8"/>
                  <a:pt x="36" y="7"/>
                </a:cubicBezTo>
                <a:cubicBezTo>
                  <a:pt x="37" y="7"/>
                  <a:pt x="39" y="5"/>
                  <a:pt x="39" y="5"/>
                </a:cubicBezTo>
                <a:cubicBezTo>
                  <a:pt x="39" y="5"/>
                  <a:pt x="40" y="3"/>
                  <a:pt x="40" y="3"/>
                </a:cubicBezTo>
                <a:cubicBezTo>
                  <a:pt x="40" y="3"/>
                  <a:pt x="43" y="4"/>
                  <a:pt x="44" y="4"/>
                </a:cubicBezTo>
                <a:cubicBezTo>
                  <a:pt x="44" y="4"/>
                  <a:pt x="50" y="5"/>
                  <a:pt x="50" y="4"/>
                </a:cubicBezTo>
                <a:cubicBezTo>
                  <a:pt x="51" y="3"/>
                  <a:pt x="51" y="1"/>
                  <a:pt x="52" y="1"/>
                </a:cubicBezTo>
                <a:cubicBezTo>
                  <a:pt x="53" y="0"/>
                  <a:pt x="54" y="2"/>
                  <a:pt x="55" y="2"/>
                </a:cubicBezTo>
                <a:cubicBezTo>
                  <a:pt x="56" y="2"/>
                  <a:pt x="59" y="2"/>
                  <a:pt x="59" y="2"/>
                </a:cubicBezTo>
                <a:cubicBezTo>
                  <a:pt x="60" y="2"/>
                  <a:pt x="61" y="3"/>
                  <a:pt x="62" y="3"/>
                </a:cubicBezTo>
                <a:cubicBezTo>
                  <a:pt x="62" y="4"/>
                  <a:pt x="65" y="5"/>
                  <a:pt x="65" y="5"/>
                </a:cubicBezTo>
                <a:cubicBezTo>
                  <a:pt x="66" y="4"/>
                  <a:pt x="67" y="7"/>
                  <a:pt x="67" y="8"/>
                </a:cubicBezTo>
                <a:cubicBezTo>
                  <a:pt x="67" y="9"/>
                  <a:pt x="69" y="9"/>
                  <a:pt x="69" y="10"/>
                </a:cubicBezTo>
                <a:cubicBezTo>
                  <a:pt x="69" y="11"/>
                  <a:pt x="69" y="11"/>
                  <a:pt x="69" y="11"/>
                </a:cubicBezTo>
                <a:cubicBezTo>
                  <a:pt x="69" y="11"/>
                  <a:pt x="71" y="13"/>
                  <a:pt x="72" y="13"/>
                </a:cubicBezTo>
                <a:cubicBezTo>
                  <a:pt x="73" y="14"/>
                  <a:pt x="73" y="15"/>
                  <a:pt x="73" y="15"/>
                </a:cubicBezTo>
                <a:cubicBezTo>
                  <a:pt x="73" y="15"/>
                  <a:pt x="72" y="15"/>
                  <a:pt x="72" y="16"/>
                </a:cubicBezTo>
                <a:cubicBezTo>
                  <a:pt x="72" y="17"/>
                  <a:pt x="72" y="17"/>
                  <a:pt x="72" y="17"/>
                </a:cubicBezTo>
                <a:cubicBezTo>
                  <a:pt x="72" y="17"/>
                  <a:pt x="73" y="17"/>
                  <a:pt x="73" y="18"/>
                </a:cubicBezTo>
                <a:cubicBezTo>
                  <a:pt x="73" y="19"/>
                  <a:pt x="71" y="20"/>
                  <a:pt x="70" y="21"/>
                </a:cubicBezTo>
                <a:cubicBezTo>
                  <a:pt x="69" y="22"/>
                  <a:pt x="68" y="22"/>
                  <a:pt x="66" y="22"/>
                </a:cubicBezTo>
                <a:cubicBezTo>
                  <a:pt x="65" y="23"/>
                  <a:pt x="65" y="25"/>
                  <a:pt x="65" y="25"/>
                </a:cubicBezTo>
                <a:cubicBezTo>
                  <a:pt x="64" y="26"/>
                  <a:pt x="63" y="26"/>
                  <a:pt x="63" y="27"/>
                </a:cubicBezTo>
                <a:cubicBezTo>
                  <a:pt x="63" y="28"/>
                  <a:pt x="64" y="28"/>
                  <a:pt x="64" y="29"/>
                </a:cubicBezTo>
                <a:cubicBezTo>
                  <a:pt x="64" y="29"/>
                  <a:pt x="63" y="30"/>
                  <a:pt x="63" y="30"/>
                </a:cubicBezTo>
                <a:cubicBezTo>
                  <a:pt x="63" y="31"/>
                  <a:pt x="63" y="31"/>
                  <a:pt x="63" y="31"/>
                </a:cubicBezTo>
                <a:cubicBezTo>
                  <a:pt x="62" y="32"/>
                  <a:pt x="61" y="31"/>
                  <a:pt x="61" y="31"/>
                </a:cubicBezTo>
                <a:cubicBezTo>
                  <a:pt x="61" y="32"/>
                  <a:pt x="61" y="33"/>
                  <a:pt x="62" y="34"/>
                </a:cubicBezTo>
                <a:cubicBezTo>
                  <a:pt x="62" y="35"/>
                  <a:pt x="61" y="35"/>
                  <a:pt x="61" y="36"/>
                </a:cubicBezTo>
                <a:cubicBezTo>
                  <a:pt x="60" y="37"/>
                  <a:pt x="60" y="39"/>
                  <a:pt x="60" y="3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1" name="Switzerland"/>
          <p:cNvSpPr>
            <a:spLocks/>
          </p:cNvSpPr>
          <p:nvPr/>
        </p:nvSpPr>
        <p:spPr bwMode="auto">
          <a:xfrm>
            <a:off x="6367672" y="2458579"/>
            <a:ext cx="125756" cy="63694"/>
          </a:xfrm>
          <a:custGeom>
            <a:avLst/>
            <a:gdLst>
              <a:gd name="T0" fmla="*/ 59 w 61"/>
              <a:gd name="T1" fmla="*/ 11 h 31"/>
              <a:gd name="T2" fmla="*/ 59 w 61"/>
              <a:gd name="T3" fmla="*/ 7 h 31"/>
              <a:gd name="T4" fmla="*/ 61 w 61"/>
              <a:gd name="T5" fmla="*/ 4 h 31"/>
              <a:gd name="T6" fmla="*/ 59 w 61"/>
              <a:gd name="T7" fmla="*/ 5 h 31"/>
              <a:gd name="T8" fmla="*/ 56 w 61"/>
              <a:gd name="T9" fmla="*/ 3 h 31"/>
              <a:gd name="T10" fmla="*/ 52 w 61"/>
              <a:gd name="T11" fmla="*/ 2 h 31"/>
              <a:gd name="T12" fmla="*/ 49 w 61"/>
              <a:gd name="T13" fmla="*/ 2 h 31"/>
              <a:gd name="T14" fmla="*/ 43 w 61"/>
              <a:gd name="T15" fmla="*/ 2 h 31"/>
              <a:gd name="T16" fmla="*/ 40 w 61"/>
              <a:gd name="T17" fmla="*/ 2 h 31"/>
              <a:gd name="T18" fmla="*/ 38 w 61"/>
              <a:gd name="T19" fmla="*/ 4 h 31"/>
              <a:gd name="T20" fmla="*/ 35 w 61"/>
              <a:gd name="T21" fmla="*/ 4 h 31"/>
              <a:gd name="T22" fmla="*/ 33 w 61"/>
              <a:gd name="T23" fmla="*/ 1 h 31"/>
              <a:gd name="T24" fmla="*/ 29 w 61"/>
              <a:gd name="T25" fmla="*/ 0 h 31"/>
              <a:gd name="T26" fmla="*/ 26 w 61"/>
              <a:gd name="T27" fmla="*/ 2 h 31"/>
              <a:gd name="T28" fmla="*/ 23 w 61"/>
              <a:gd name="T29" fmla="*/ 2 h 31"/>
              <a:gd name="T30" fmla="*/ 21 w 61"/>
              <a:gd name="T31" fmla="*/ 0 h 31"/>
              <a:gd name="T32" fmla="*/ 18 w 61"/>
              <a:gd name="T33" fmla="*/ 0 h 31"/>
              <a:gd name="T34" fmla="*/ 16 w 61"/>
              <a:gd name="T35" fmla="*/ 1 h 31"/>
              <a:gd name="T36" fmla="*/ 14 w 61"/>
              <a:gd name="T37" fmla="*/ 3 h 31"/>
              <a:gd name="T38" fmla="*/ 12 w 61"/>
              <a:gd name="T39" fmla="*/ 5 h 31"/>
              <a:gd name="T40" fmla="*/ 8 w 61"/>
              <a:gd name="T41" fmla="*/ 6 h 31"/>
              <a:gd name="T42" fmla="*/ 4 w 61"/>
              <a:gd name="T43" fmla="*/ 8 h 31"/>
              <a:gd name="T44" fmla="*/ 1 w 61"/>
              <a:gd name="T45" fmla="*/ 11 h 31"/>
              <a:gd name="T46" fmla="*/ 0 w 61"/>
              <a:gd name="T47" fmla="*/ 17 h 31"/>
              <a:gd name="T48" fmla="*/ 1 w 61"/>
              <a:gd name="T49" fmla="*/ 20 h 31"/>
              <a:gd name="T50" fmla="*/ 1 w 61"/>
              <a:gd name="T51" fmla="*/ 29 h 31"/>
              <a:gd name="T52" fmla="*/ 1 w 61"/>
              <a:gd name="T53" fmla="*/ 29 h 31"/>
              <a:gd name="T54" fmla="*/ 1 w 61"/>
              <a:gd name="T55" fmla="*/ 29 h 31"/>
              <a:gd name="T56" fmla="*/ 1 w 61"/>
              <a:gd name="T57" fmla="*/ 29 h 31"/>
              <a:gd name="T58" fmla="*/ 1 w 61"/>
              <a:gd name="T59" fmla="*/ 29 h 31"/>
              <a:gd name="T60" fmla="*/ 1 w 61"/>
              <a:gd name="T61" fmla="*/ 29 h 31"/>
              <a:gd name="T62" fmla="*/ 1 w 61"/>
              <a:gd name="T63" fmla="*/ 29 h 31"/>
              <a:gd name="T64" fmla="*/ 2 w 61"/>
              <a:gd name="T65" fmla="*/ 28 h 31"/>
              <a:gd name="T66" fmla="*/ 4 w 61"/>
              <a:gd name="T67" fmla="*/ 28 h 31"/>
              <a:gd name="T68" fmla="*/ 5 w 61"/>
              <a:gd name="T69" fmla="*/ 27 h 31"/>
              <a:gd name="T70" fmla="*/ 7 w 61"/>
              <a:gd name="T71" fmla="*/ 28 h 31"/>
              <a:gd name="T72" fmla="*/ 9 w 61"/>
              <a:gd name="T73" fmla="*/ 28 h 31"/>
              <a:gd name="T74" fmla="*/ 11 w 61"/>
              <a:gd name="T75" fmla="*/ 28 h 31"/>
              <a:gd name="T76" fmla="*/ 12 w 61"/>
              <a:gd name="T77" fmla="*/ 29 h 31"/>
              <a:gd name="T78" fmla="*/ 15 w 61"/>
              <a:gd name="T79" fmla="*/ 29 h 31"/>
              <a:gd name="T80" fmla="*/ 17 w 61"/>
              <a:gd name="T81" fmla="*/ 31 h 31"/>
              <a:gd name="T82" fmla="*/ 19 w 61"/>
              <a:gd name="T83" fmla="*/ 29 h 31"/>
              <a:gd name="T84" fmla="*/ 22 w 61"/>
              <a:gd name="T85" fmla="*/ 29 h 31"/>
              <a:gd name="T86" fmla="*/ 24 w 61"/>
              <a:gd name="T87" fmla="*/ 29 h 31"/>
              <a:gd name="T88" fmla="*/ 26 w 61"/>
              <a:gd name="T89" fmla="*/ 29 h 31"/>
              <a:gd name="T90" fmla="*/ 30 w 61"/>
              <a:gd name="T91" fmla="*/ 27 h 31"/>
              <a:gd name="T92" fmla="*/ 33 w 61"/>
              <a:gd name="T93" fmla="*/ 25 h 31"/>
              <a:gd name="T94" fmla="*/ 35 w 61"/>
              <a:gd name="T95" fmla="*/ 24 h 31"/>
              <a:gd name="T96" fmla="*/ 37 w 61"/>
              <a:gd name="T97" fmla="*/ 25 h 31"/>
              <a:gd name="T98" fmla="*/ 40 w 61"/>
              <a:gd name="T99" fmla="*/ 26 h 31"/>
              <a:gd name="T100" fmla="*/ 43 w 61"/>
              <a:gd name="T101" fmla="*/ 25 h 31"/>
              <a:gd name="T102" fmla="*/ 47 w 61"/>
              <a:gd name="T103" fmla="*/ 21 h 31"/>
              <a:gd name="T104" fmla="*/ 47 w 61"/>
              <a:gd name="T105" fmla="*/ 18 h 31"/>
              <a:gd name="T106" fmla="*/ 49 w 61"/>
              <a:gd name="T107" fmla="*/ 17 h 31"/>
              <a:gd name="T108" fmla="*/ 50 w 61"/>
              <a:gd name="T109" fmla="*/ 16 h 31"/>
              <a:gd name="T110" fmla="*/ 51 w 61"/>
              <a:gd name="T111" fmla="*/ 16 h 31"/>
              <a:gd name="T112" fmla="*/ 54 w 61"/>
              <a:gd name="T113" fmla="*/ 15 h 31"/>
              <a:gd name="T114" fmla="*/ 56 w 61"/>
              <a:gd name="T115" fmla="*/ 13 h 31"/>
              <a:gd name="T116" fmla="*/ 59 w 61"/>
              <a:gd name="T117"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 h="31">
                <a:moveTo>
                  <a:pt x="59" y="11"/>
                </a:moveTo>
                <a:cubicBezTo>
                  <a:pt x="58" y="11"/>
                  <a:pt x="59" y="8"/>
                  <a:pt x="59" y="7"/>
                </a:cubicBezTo>
                <a:cubicBezTo>
                  <a:pt x="59" y="6"/>
                  <a:pt x="60" y="5"/>
                  <a:pt x="61" y="4"/>
                </a:cubicBezTo>
                <a:cubicBezTo>
                  <a:pt x="61" y="4"/>
                  <a:pt x="59" y="5"/>
                  <a:pt x="59" y="5"/>
                </a:cubicBezTo>
                <a:cubicBezTo>
                  <a:pt x="58" y="4"/>
                  <a:pt x="57" y="3"/>
                  <a:pt x="56" y="3"/>
                </a:cubicBezTo>
                <a:cubicBezTo>
                  <a:pt x="55" y="2"/>
                  <a:pt x="52" y="2"/>
                  <a:pt x="52" y="2"/>
                </a:cubicBezTo>
                <a:cubicBezTo>
                  <a:pt x="51" y="2"/>
                  <a:pt x="51" y="2"/>
                  <a:pt x="49" y="2"/>
                </a:cubicBezTo>
                <a:cubicBezTo>
                  <a:pt x="47" y="2"/>
                  <a:pt x="44" y="2"/>
                  <a:pt x="43" y="2"/>
                </a:cubicBezTo>
                <a:cubicBezTo>
                  <a:pt x="43" y="2"/>
                  <a:pt x="40" y="2"/>
                  <a:pt x="40" y="2"/>
                </a:cubicBezTo>
                <a:cubicBezTo>
                  <a:pt x="39" y="2"/>
                  <a:pt x="38" y="3"/>
                  <a:pt x="38" y="4"/>
                </a:cubicBezTo>
                <a:cubicBezTo>
                  <a:pt x="37" y="4"/>
                  <a:pt x="36" y="5"/>
                  <a:pt x="35" y="4"/>
                </a:cubicBezTo>
                <a:cubicBezTo>
                  <a:pt x="34" y="4"/>
                  <a:pt x="34" y="2"/>
                  <a:pt x="33" y="1"/>
                </a:cubicBezTo>
                <a:cubicBezTo>
                  <a:pt x="32" y="0"/>
                  <a:pt x="30" y="0"/>
                  <a:pt x="29" y="0"/>
                </a:cubicBezTo>
                <a:cubicBezTo>
                  <a:pt x="27" y="0"/>
                  <a:pt x="26" y="1"/>
                  <a:pt x="26" y="2"/>
                </a:cubicBezTo>
                <a:cubicBezTo>
                  <a:pt x="25" y="2"/>
                  <a:pt x="24" y="2"/>
                  <a:pt x="23" y="2"/>
                </a:cubicBezTo>
                <a:cubicBezTo>
                  <a:pt x="22" y="2"/>
                  <a:pt x="21" y="1"/>
                  <a:pt x="21" y="0"/>
                </a:cubicBezTo>
                <a:cubicBezTo>
                  <a:pt x="20" y="0"/>
                  <a:pt x="18" y="0"/>
                  <a:pt x="18" y="0"/>
                </a:cubicBezTo>
                <a:cubicBezTo>
                  <a:pt x="17" y="1"/>
                  <a:pt x="16" y="1"/>
                  <a:pt x="16" y="1"/>
                </a:cubicBezTo>
                <a:cubicBezTo>
                  <a:pt x="15" y="1"/>
                  <a:pt x="14" y="3"/>
                  <a:pt x="14" y="3"/>
                </a:cubicBezTo>
                <a:cubicBezTo>
                  <a:pt x="12" y="5"/>
                  <a:pt x="12" y="5"/>
                  <a:pt x="12" y="5"/>
                </a:cubicBezTo>
                <a:cubicBezTo>
                  <a:pt x="8" y="6"/>
                  <a:pt x="8" y="6"/>
                  <a:pt x="8" y="6"/>
                </a:cubicBezTo>
                <a:cubicBezTo>
                  <a:pt x="8" y="6"/>
                  <a:pt x="5" y="8"/>
                  <a:pt x="4" y="8"/>
                </a:cubicBezTo>
                <a:cubicBezTo>
                  <a:pt x="3" y="9"/>
                  <a:pt x="2" y="10"/>
                  <a:pt x="1" y="11"/>
                </a:cubicBezTo>
                <a:cubicBezTo>
                  <a:pt x="0" y="13"/>
                  <a:pt x="0" y="16"/>
                  <a:pt x="0" y="17"/>
                </a:cubicBezTo>
                <a:cubicBezTo>
                  <a:pt x="0" y="17"/>
                  <a:pt x="0" y="19"/>
                  <a:pt x="1" y="20"/>
                </a:cubicBezTo>
                <a:cubicBezTo>
                  <a:pt x="2" y="22"/>
                  <a:pt x="1" y="27"/>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8"/>
                  <a:pt x="2" y="28"/>
                  <a:pt x="2" y="28"/>
                </a:cubicBezTo>
                <a:cubicBezTo>
                  <a:pt x="3" y="28"/>
                  <a:pt x="4" y="28"/>
                  <a:pt x="4" y="28"/>
                </a:cubicBezTo>
                <a:cubicBezTo>
                  <a:pt x="5" y="27"/>
                  <a:pt x="4" y="27"/>
                  <a:pt x="5" y="27"/>
                </a:cubicBezTo>
                <a:cubicBezTo>
                  <a:pt x="6" y="27"/>
                  <a:pt x="7" y="27"/>
                  <a:pt x="7" y="28"/>
                </a:cubicBezTo>
                <a:cubicBezTo>
                  <a:pt x="8" y="28"/>
                  <a:pt x="9" y="28"/>
                  <a:pt x="9" y="28"/>
                </a:cubicBezTo>
                <a:cubicBezTo>
                  <a:pt x="9" y="28"/>
                  <a:pt x="11" y="28"/>
                  <a:pt x="11" y="28"/>
                </a:cubicBezTo>
                <a:cubicBezTo>
                  <a:pt x="11" y="28"/>
                  <a:pt x="11" y="29"/>
                  <a:pt x="12" y="29"/>
                </a:cubicBezTo>
                <a:cubicBezTo>
                  <a:pt x="13" y="29"/>
                  <a:pt x="14" y="29"/>
                  <a:pt x="15" y="29"/>
                </a:cubicBezTo>
                <a:cubicBezTo>
                  <a:pt x="15" y="29"/>
                  <a:pt x="15" y="31"/>
                  <a:pt x="17" y="31"/>
                </a:cubicBezTo>
                <a:cubicBezTo>
                  <a:pt x="17" y="31"/>
                  <a:pt x="19" y="30"/>
                  <a:pt x="19" y="29"/>
                </a:cubicBezTo>
                <a:cubicBezTo>
                  <a:pt x="20" y="29"/>
                  <a:pt x="21" y="29"/>
                  <a:pt x="22" y="29"/>
                </a:cubicBezTo>
                <a:cubicBezTo>
                  <a:pt x="23" y="29"/>
                  <a:pt x="23" y="30"/>
                  <a:pt x="24" y="29"/>
                </a:cubicBezTo>
                <a:cubicBezTo>
                  <a:pt x="24" y="29"/>
                  <a:pt x="26" y="29"/>
                  <a:pt x="26" y="29"/>
                </a:cubicBezTo>
                <a:cubicBezTo>
                  <a:pt x="27" y="29"/>
                  <a:pt x="30" y="27"/>
                  <a:pt x="30" y="27"/>
                </a:cubicBezTo>
                <a:cubicBezTo>
                  <a:pt x="30" y="27"/>
                  <a:pt x="32" y="26"/>
                  <a:pt x="33" y="25"/>
                </a:cubicBezTo>
                <a:cubicBezTo>
                  <a:pt x="33" y="25"/>
                  <a:pt x="34" y="24"/>
                  <a:pt x="35" y="24"/>
                </a:cubicBezTo>
                <a:cubicBezTo>
                  <a:pt x="35" y="24"/>
                  <a:pt x="37" y="24"/>
                  <a:pt x="37" y="25"/>
                </a:cubicBezTo>
                <a:cubicBezTo>
                  <a:pt x="37" y="25"/>
                  <a:pt x="39" y="26"/>
                  <a:pt x="40" y="26"/>
                </a:cubicBezTo>
                <a:cubicBezTo>
                  <a:pt x="41" y="25"/>
                  <a:pt x="43" y="25"/>
                  <a:pt x="43" y="25"/>
                </a:cubicBezTo>
                <a:cubicBezTo>
                  <a:pt x="44" y="24"/>
                  <a:pt x="47" y="23"/>
                  <a:pt x="47" y="21"/>
                </a:cubicBezTo>
                <a:cubicBezTo>
                  <a:pt x="47" y="21"/>
                  <a:pt x="46" y="18"/>
                  <a:pt x="47" y="18"/>
                </a:cubicBezTo>
                <a:cubicBezTo>
                  <a:pt x="48" y="17"/>
                  <a:pt x="49" y="18"/>
                  <a:pt x="49" y="17"/>
                </a:cubicBezTo>
                <a:cubicBezTo>
                  <a:pt x="49" y="17"/>
                  <a:pt x="49" y="17"/>
                  <a:pt x="50" y="16"/>
                </a:cubicBezTo>
                <a:cubicBezTo>
                  <a:pt x="50" y="16"/>
                  <a:pt x="51" y="16"/>
                  <a:pt x="51" y="16"/>
                </a:cubicBezTo>
                <a:cubicBezTo>
                  <a:pt x="53" y="16"/>
                  <a:pt x="53" y="16"/>
                  <a:pt x="54" y="15"/>
                </a:cubicBezTo>
                <a:cubicBezTo>
                  <a:pt x="55" y="15"/>
                  <a:pt x="55" y="14"/>
                  <a:pt x="56" y="13"/>
                </a:cubicBezTo>
                <a:cubicBezTo>
                  <a:pt x="57" y="12"/>
                  <a:pt x="58" y="11"/>
                  <a:pt x="59" y="11"/>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2" name="Italy"/>
          <p:cNvSpPr>
            <a:spLocks/>
          </p:cNvSpPr>
          <p:nvPr/>
        </p:nvSpPr>
        <p:spPr bwMode="auto">
          <a:xfrm>
            <a:off x="6359506" y="2478177"/>
            <a:ext cx="319592" cy="381461"/>
          </a:xfrm>
          <a:custGeom>
            <a:avLst/>
            <a:gdLst>
              <a:gd name="connsiteX0" fmla="*/ 73302 w 310651"/>
              <a:gd name="connsiteY0" fmla="*/ 209550 h 370789"/>
              <a:gd name="connsiteX1" fmla="*/ 79307 w 310651"/>
              <a:gd name="connsiteY1" fmla="*/ 211561 h 370789"/>
              <a:gd name="connsiteX2" fmla="*/ 81308 w 310651"/>
              <a:gd name="connsiteY2" fmla="*/ 223626 h 370789"/>
              <a:gd name="connsiteX3" fmla="*/ 85312 w 310651"/>
              <a:gd name="connsiteY3" fmla="*/ 229658 h 370789"/>
              <a:gd name="connsiteX4" fmla="*/ 85312 w 310651"/>
              <a:gd name="connsiteY4" fmla="*/ 235691 h 370789"/>
              <a:gd name="connsiteX5" fmla="*/ 79307 w 310651"/>
              <a:gd name="connsiteY5" fmla="*/ 241723 h 370789"/>
              <a:gd name="connsiteX6" fmla="*/ 83310 w 310651"/>
              <a:gd name="connsiteY6" fmla="*/ 253788 h 370789"/>
              <a:gd name="connsiteX7" fmla="*/ 83310 w 310651"/>
              <a:gd name="connsiteY7" fmla="*/ 273896 h 370789"/>
              <a:gd name="connsiteX8" fmla="*/ 79307 w 310651"/>
              <a:gd name="connsiteY8" fmla="*/ 281940 h 370789"/>
              <a:gd name="connsiteX9" fmla="*/ 69298 w 310651"/>
              <a:gd name="connsiteY9" fmla="*/ 281940 h 370789"/>
              <a:gd name="connsiteX10" fmla="*/ 67297 w 310651"/>
              <a:gd name="connsiteY10" fmla="*/ 287972 h 370789"/>
              <a:gd name="connsiteX11" fmla="*/ 67297 w 310651"/>
              <a:gd name="connsiteY11" fmla="*/ 296015 h 370789"/>
              <a:gd name="connsiteX12" fmla="*/ 61292 w 310651"/>
              <a:gd name="connsiteY12" fmla="*/ 298026 h 370789"/>
              <a:gd name="connsiteX13" fmla="*/ 55287 w 310651"/>
              <a:gd name="connsiteY13" fmla="*/ 296015 h 370789"/>
              <a:gd name="connsiteX14" fmla="*/ 53285 w 310651"/>
              <a:gd name="connsiteY14" fmla="*/ 287972 h 370789"/>
              <a:gd name="connsiteX15" fmla="*/ 49282 w 310651"/>
              <a:gd name="connsiteY15" fmla="*/ 275907 h 370789"/>
              <a:gd name="connsiteX16" fmla="*/ 51284 w 310651"/>
              <a:gd name="connsiteY16" fmla="*/ 261832 h 370789"/>
              <a:gd name="connsiteX17" fmla="*/ 49282 w 310651"/>
              <a:gd name="connsiteY17" fmla="*/ 255799 h 370789"/>
              <a:gd name="connsiteX18" fmla="*/ 45279 w 310651"/>
              <a:gd name="connsiteY18" fmla="*/ 249767 h 370789"/>
              <a:gd name="connsiteX19" fmla="*/ 45279 w 310651"/>
              <a:gd name="connsiteY19" fmla="*/ 237702 h 370789"/>
              <a:gd name="connsiteX20" fmla="*/ 41275 w 310651"/>
              <a:gd name="connsiteY20" fmla="*/ 229658 h 370789"/>
              <a:gd name="connsiteX21" fmla="*/ 53285 w 310651"/>
              <a:gd name="connsiteY21" fmla="*/ 221615 h 370789"/>
              <a:gd name="connsiteX22" fmla="*/ 61292 w 310651"/>
              <a:gd name="connsiteY22" fmla="*/ 213572 h 370789"/>
              <a:gd name="connsiteX23" fmla="*/ 73302 w 310651"/>
              <a:gd name="connsiteY23" fmla="*/ 209550 h 370789"/>
              <a:gd name="connsiteX24" fmla="*/ 133635 w 310651"/>
              <a:gd name="connsiteY24" fmla="*/ 0 h 370789"/>
              <a:gd name="connsiteX25" fmla="*/ 139619 w 310651"/>
              <a:gd name="connsiteY25" fmla="*/ 1997 h 370789"/>
              <a:gd name="connsiteX26" fmla="*/ 143608 w 310651"/>
              <a:gd name="connsiteY26" fmla="*/ 0 h 370789"/>
              <a:gd name="connsiteX27" fmla="*/ 145602 w 310651"/>
              <a:gd name="connsiteY27" fmla="*/ 1997 h 370789"/>
              <a:gd name="connsiteX28" fmla="*/ 147597 w 310651"/>
              <a:gd name="connsiteY28" fmla="*/ 11983 h 370789"/>
              <a:gd name="connsiteX29" fmla="*/ 153581 w 310651"/>
              <a:gd name="connsiteY29" fmla="*/ 17974 h 370789"/>
              <a:gd name="connsiteX30" fmla="*/ 161559 w 310651"/>
              <a:gd name="connsiteY30" fmla="*/ 21969 h 370789"/>
              <a:gd name="connsiteX31" fmla="*/ 169537 w 310651"/>
              <a:gd name="connsiteY31" fmla="*/ 25963 h 370789"/>
              <a:gd name="connsiteX32" fmla="*/ 171532 w 310651"/>
              <a:gd name="connsiteY32" fmla="*/ 33952 h 370789"/>
              <a:gd name="connsiteX33" fmla="*/ 169537 w 310651"/>
              <a:gd name="connsiteY33" fmla="*/ 41941 h 370789"/>
              <a:gd name="connsiteX34" fmla="*/ 161559 w 310651"/>
              <a:gd name="connsiteY34" fmla="*/ 51926 h 370789"/>
              <a:gd name="connsiteX35" fmla="*/ 151586 w 310651"/>
              <a:gd name="connsiteY35" fmla="*/ 53924 h 370789"/>
              <a:gd name="connsiteX36" fmla="*/ 143608 w 310651"/>
              <a:gd name="connsiteY36" fmla="*/ 57918 h 370789"/>
              <a:gd name="connsiteX37" fmla="*/ 151586 w 310651"/>
              <a:gd name="connsiteY37" fmla="*/ 75893 h 370789"/>
              <a:gd name="connsiteX38" fmla="*/ 147597 w 310651"/>
              <a:gd name="connsiteY38" fmla="*/ 83881 h 370789"/>
              <a:gd name="connsiteX39" fmla="*/ 147597 w 310651"/>
              <a:gd name="connsiteY39" fmla="*/ 99859 h 370789"/>
              <a:gd name="connsiteX40" fmla="*/ 163553 w 310651"/>
              <a:gd name="connsiteY40" fmla="*/ 113839 h 370789"/>
              <a:gd name="connsiteX41" fmla="*/ 169537 w 310651"/>
              <a:gd name="connsiteY41" fmla="*/ 121828 h 370789"/>
              <a:gd name="connsiteX42" fmla="*/ 173526 w 310651"/>
              <a:gd name="connsiteY42" fmla="*/ 127819 h 370789"/>
              <a:gd name="connsiteX43" fmla="*/ 179510 w 310651"/>
              <a:gd name="connsiteY43" fmla="*/ 137805 h 370789"/>
              <a:gd name="connsiteX44" fmla="*/ 183499 w 310651"/>
              <a:gd name="connsiteY44" fmla="*/ 143797 h 370789"/>
              <a:gd name="connsiteX45" fmla="*/ 191477 w 310651"/>
              <a:gd name="connsiteY45" fmla="*/ 157777 h 370789"/>
              <a:gd name="connsiteX46" fmla="*/ 195466 w 310651"/>
              <a:gd name="connsiteY46" fmla="*/ 165766 h 370789"/>
              <a:gd name="connsiteX47" fmla="*/ 215412 w 310651"/>
              <a:gd name="connsiteY47" fmla="*/ 181743 h 370789"/>
              <a:gd name="connsiteX48" fmla="*/ 223390 w 310651"/>
              <a:gd name="connsiteY48" fmla="*/ 185737 h 370789"/>
              <a:gd name="connsiteX49" fmla="*/ 233363 w 310651"/>
              <a:gd name="connsiteY49" fmla="*/ 185737 h 370789"/>
              <a:gd name="connsiteX50" fmla="*/ 245330 w 310651"/>
              <a:gd name="connsiteY50" fmla="*/ 189732 h 370789"/>
              <a:gd name="connsiteX51" fmla="*/ 243335 w 310651"/>
              <a:gd name="connsiteY51" fmla="*/ 201715 h 370789"/>
              <a:gd name="connsiteX52" fmla="*/ 249319 w 310651"/>
              <a:gd name="connsiteY52" fmla="*/ 207706 h 370789"/>
              <a:gd name="connsiteX53" fmla="*/ 257297 w 310651"/>
              <a:gd name="connsiteY53" fmla="*/ 211701 h 370789"/>
              <a:gd name="connsiteX54" fmla="*/ 269265 w 310651"/>
              <a:gd name="connsiteY54" fmla="*/ 215695 h 370789"/>
              <a:gd name="connsiteX55" fmla="*/ 281232 w 310651"/>
              <a:gd name="connsiteY55" fmla="*/ 229676 h 370789"/>
              <a:gd name="connsiteX56" fmla="*/ 291205 w 310651"/>
              <a:gd name="connsiteY56" fmla="*/ 231673 h 370789"/>
              <a:gd name="connsiteX57" fmla="*/ 299183 w 310651"/>
              <a:gd name="connsiteY57" fmla="*/ 235667 h 370789"/>
              <a:gd name="connsiteX58" fmla="*/ 305167 w 310651"/>
              <a:gd name="connsiteY58" fmla="*/ 241659 h 370789"/>
              <a:gd name="connsiteX59" fmla="*/ 309156 w 310651"/>
              <a:gd name="connsiteY59" fmla="*/ 245653 h 370789"/>
              <a:gd name="connsiteX60" fmla="*/ 309156 w 310651"/>
              <a:gd name="connsiteY60" fmla="*/ 249647 h 370789"/>
              <a:gd name="connsiteX61" fmla="*/ 307161 w 310651"/>
              <a:gd name="connsiteY61" fmla="*/ 255639 h 370789"/>
              <a:gd name="connsiteX62" fmla="*/ 309156 w 310651"/>
              <a:gd name="connsiteY62" fmla="*/ 263628 h 370789"/>
              <a:gd name="connsiteX63" fmla="*/ 303172 w 310651"/>
              <a:gd name="connsiteY63" fmla="*/ 261630 h 370789"/>
              <a:gd name="connsiteX64" fmla="*/ 295194 w 310651"/>
              <a:gd name="connsiteY64" fmla="*/ 255639 h 370789"/>
              <a:gd name="connsiteX65" fmla="*/ 291205 w 310651"/>
              <a:gd name="connsiteY65" fmla="*/ 249647 h 370789"/>
              <a:gd name="connsiteX66" fmla="*/ 285221 w 310651"/>
              <a:gd name="connsiteY66" fmla="*/ 245653 h 370789"/>
              <a:gd name="connsiteX67" fmla="*/ 279237 w 310651"/>
              <a:gd name="connsiteY67" fmla="*/ 241659 h 370789"/>
              <a:gd name="connsiteX68" fmla="*/ 273254 w 310651"/>
              <a:gd name="connsiteY68" fmla="*/ 235667 h 370789"/>
              <a:gd name="connsiteX69" fmla="*/ 263281 w 310651"/>
              <a:gd name="connsiteY69" fmla="*/ 243656 h 370789"/>
              <a:gd name="connsiteX70" fmla="*/ 261286 w 310651"/>
              <a:gd name="connsiteY70" fmla="*/ 253642 h 370789"/>
              <a:gd name="connsiteX71" fmla="*/ 269265 w 310651"/>
              <a:gd name="connsiteY71" fmla="*/ 267622 h 370789"/>
              <a:gd name="connsiteX72" fmla="*/ 271259 w 310651"/>
              <a:gd name="connsiteY72" fmla="*/ 275611 h 370789"/>
              <a:gd name="connsiteX73" fmla="*/ 273254 w 310651"/>
              <a:gd name="connsiteY73" fmla="*/ 285597 h 370789"/>
              <a:gd name="connsiteX74" fmla="*/ 277243 w 310651"/>
              <a:gd name="connsiteY74" fmla="*/ 291588 h 370789"/>
              <a:gd name="connsiteX75" fmla="*/ 271259 w 310651"/>
              <a:gd name="connsiteY75" fmla="*/ 293585 h 370789"/>
              <a:gd name="connsiteX76" fmla="*/ 265276 w 310651"/>
              <a:gd name="connsiteY76" fmla="*/ 295582 h 370789"/>
              <a:gd name="connsiteX77" fmla="*/ 265276 w 310651"/>
              <a:gd name="connsiteY77" fmla="*/ 303571 h 370789"/>
              <a:gd name="connsiteX78" fmla="*/ 257297 w 310651"/>
              <a:gd name="connsiteY78" fmla="*/ 313557 h 370789"/>
              <a:gd name="connsiteX79" fmla="*/ 251314 w 310651"/>
              <a:gd name="connsiteY79" fmla="*/ 323543 h 370789"/>
              <a:gd name="connsiteX80" fmla="*/ 241341 w 310651"/>
              <a:gd name="connsiteY80" fmla="*/ 327537 h 370789"/>
              <a:gd name="connsiteX81" fmla="*/ 233363 w 310651"/>
              <a:gd name="connsiteY81" fmla="*/ 323543 h 370789"/>
              <a:gd name="connsiteX82" fmla="*/ 223390 w 310651"/>
              <a:gd name="connsiteY82" fmla="*/ 329534 h 370789"/>
              <a:gd name="connsiteX83" fmla="*/ 221395 w 310651"/>
              <a:gd name="connsiteY83" fmla="*/ 343515 h 370789"/>
              <a:gd name="connsiteX84" fmla="*/ 227379 w 310651"/>
              <a:gd name="connsiteY84" fmla="*/ 347509 h 370789"/>
              <a:gd name="connsiteX85" fmla="*/ 231368 w 310651"/>
              <a:gd name="connsiteY85" fmla="*/ 353501 h 370789"/>
              <a:gd name="connsiteX86" fmla="*/ 231368 w 310651"/>
              <a:gd name="connsiteY86" fmla="*/ 361489 h 370789"/>
              <a:gd name="connsiteX87" fmla="*/ 227379 w 310651"/>
              <a:gd name="connsiteY87" fmla="*/ 367481 h 370789"/>
              <a:gd name="connsiteX88" fmla="*/ 221395 w 310651"/>
              <a:gd name="connsiteY88" fmla="*/ 369478 h 370789"/>
              <a:gd name="connsiteX89" fmla="*/ 215412 w 310651"/>
              <a:gd name="connsiteY89" fmla="*/ 365484 h 370789"/>
              <a:gd name="connsiteX90" fmla="*/ 211423 w 310651"/>
              <a:gd name="connsiteY90" fmla="*/ 359492 h 370789"/>
              <a:gd name="connsiteX91" fmla="*/ 205439 w 310651"/>
              <a:gd name="connsiteY91" fmla="*/ 355498 h 370789"/>
              <a:gd name="connsiteX92" fmla="*/ 197461 w 310651"/>
              <a:gd name="connsiteY92" fmla="*/ 353501 h 370789"/>
              <a:gd name="connsiteX93" fmla="*/ 181504 w 310651"/>
              <a:gd name="connsiteY93" fmla="*/ 347509 h 370789"/>
              <a:gd name="connsiteX94" fmla="*/ 169537 w 310651"/>
              <a:gd name="connsiteY94" fmla="*/ 345512 h 370789"/>
              <a:gd name="connsiteX95" fmla="*/ 167543 w 310651"/>
              <a:gd name="connsiteY95" fmla="*/ 339520 h 370789"/>
              <a:gd name="connsiteX96" fmla="*/ 163553 w 310651"/>
              <a:gd name="connsiteY96" fmla="*/ 337523 h 370789"/>
              <a:gd name="connsiteX97" fmla="*/ 157570 w 310651"/>
              <a:gd name="connsiteY97" fmla="*/ 335526 h 370789"/>
              <a:gd name="connsiteX98" fmla="*/ 155575 w 310651"/>
              <a:gd name="connsiteY98" fmla="*/ 325540 h 370789"/>
              <a:gd name="connsiteX99" fmla="*/ 165548 w 310651"/>
              <a:gd name="connsiteY99" fmla="*/ 319549 h 370789"/>
              <a:gd name="connsiteX100" fmla="*/ 173526 w 310651"/>
              <a:gd name="connsiteY100" fmla="*/ 317551 h 370789"/>
              <a:gd name="connsiteX101" fmla="*/ 183499 w 310651"/>
              <a:gd name="connsiteY101" fmla="*/ 323543 h 370789"/>
              <a:gd name="connsiteX102" fmla="*/ 189483 w 310651"/>
              <a:gd name="connsiteY102" fmla="*/ 321546 h 370789"/>
              <a:gd name="connsiteX103" fmla="*/ 199455 w 310651"/>
              <a:gd name="connsiteY103" fmla="*/ 323543 h 370789"/>
              <a:gd name="connsiteX104" fmla="*/ 209428 w 310651"/>
              <a:gd name="connsiteY104" fmla="*/ 321546 h 370789"/>
              <a:gd name="connsiteX105" fmla="*/ 215412 w 310651"/>
              <a:gd name="connsiteY105" fmla="*/ 317551 h 370789"/>
              <a:gd name="connsiteX106" fmla="*/ 235357 w 310651"/>
              <a:gd name="connsiteY106" fmla="*/ 315554 h 370789"/>
              <a:gd name="connsiteX107" fmla="*/ 241341 w 310651"/>
              <a:gd name="connsiteY107" fmla="*/ 303571 h 370789"/>
              <a:gd name="connsiteX108" fmla="*/ 249319 w 310651"/>
              <a:gd name="connsiteY108" fmla="*/ 299577 h 370789"/>
              <a:gd name="connsiteX109" fmla="*/ 249319 w 310651"/>
              <a:gd name="connsiteY109" fmla="*/ 291588 h 370789"/>
              <a:gd name="connsiteX110" fmla="*/ 249319 w 310651"/>
              <a:gd name="connsiteY110" fmla="*/ 281602 h 370789"/>
              <a:gd name="connsiteX111" fmla="*/ 243335 w 310651"/>
              <a:gd name="connsiteY111" fmla="*/ 273613 h 370789"/>
              <a:gd name="connsiteX112" fmla="*/ 241341 w 310651"/>
              <a:gd name="connsiteY112" fmla="*/ 263628 h 370789"/>
              <a:gd name="connsiteX113" fmla="*/ 237352 w 310651"/>
              <a:gd name="connsiteY113" fmla="*/ 251644 h 370789"/>
              <a:gd name="connsiteX114" fmla="*/ 227379 w 310651"/>
              <a:gd name="connsiteY114" fmla="*/ 251644 h 370789"/>
              <a:gd name="connsiteX115" fmla="*/ 217406 w 310651"/>
              <a:gd name="connsiteY115" fmla="*/ 247650 h 370789"/>
              <a:gd name="connsiteX116" fmla="*/ 217406 w 310651"/>
              <a:gd name="connsiteY116" fmla="*/ 241659 h 370789"/>
              <a:gd name="connsiteX117" fmla="*/ 213417 w 310651"/>
              <a:gd name="connsiteY117" fmla="*/ 231673 h 370789"/>
              <a:gd name="connsiteX118" fmla="*/ 205439 w 310651"/>
              <a:gd name="connsiteY118" fmla="*/ 233670 h 370789"/>
              <a:gd name="connsiteX119" fmla="*/ 199455 w 310651"/>
              <a:gd name="connsiteY119" fmla="*/ 229676 h 370789"/>
              <a:gd name="connsiteX120" fmla="*/ 191477 w 310651"/>
              <a:gd name="connsiteY120" fmla="*/ 225681 h 370789"/>
              <a:gd name="connsiteX121" fmla="*/ 189483 w 310651"/>
              <a:gd name="connsiteY121" fmla="*/ 215695 h 370789"/>
              <a:gd name="connsiteX122" fmla="*/ 181504 w 310651"/>
              <a:gd name="connsiteY122" fmla="*/ 211701 h 370789"/>
              <a:gd name="connsiteX123" fmla="*/ 173526 w 310651"/>
              <a:gd name="connsiteY123" fmla="*/ 205709 h 370789"/>
              <a:gd name="connsiteX124" fmla="*/ 161559 w 310651"/>
              <a:gd name="connsiteY124" fmla="*/ 205709 h 370789"/>
              <a:gd name="connsiteX125" fmla="*/ 153581 w 310651"/>
              <a:gd name="connsiteY125" fmla="*/ 203712 h 370789"/>
              <a:gd name="connsiteX126" fmla="*/ 153581 w 310651"/>
              <a:gd name="connsiteY126" fmla="*/ 195723 h 370789"/>
              <a:gd name="connsiteX127" fmla="*/ 147597 w 310651"/>
              <a:gd name="connsiteY127" fmla="*/ 187735 h 370789"/>
              <a:gd name="connsiteX128" fmla="*/ 141613 w 310651"/>
              <a:gd name="connsiteY128" fmla="*/ 183740 h 370789"/>
              <a:gd name="connsiteX129" fmla="*/ 137624 w 310651"/>
              <a:gd name="connsiteY129" fmla="*/ 179746 h 370789"/>
              <a:gd name="connsiteX130" fmla="*/ 131641 w 310651"/>
              <a:gd name="connsiteY130" fmla="*/ 175751 h 370789"/>
              <a:gd name="connsiteX131" fmla="*/ 127652 w 310651"/>
              <a:gd name="connsiteY131" fmla="*/ 171757 h 370789"/>
              <a:gd name="connsiteX132" fmla="*/ 121668 w 310651"/>
              <a:gd name="connsiteY132" fmla="*/ 169760 h 370789"/>
              <a:gd name="connsiteX133" fmla="*/ 115684 w 310651"/>
              <a:gd name="connsiteY133" fmla="*/ 171757 h 370789"/>
              <a:gd name="connsiteX134" fmla="*/ 117679 w 310651"/>
              <a:gd name="connsiteY134" fmla="*/ 165766 h 370789"/>
              <a:gd name="connsiteX135" fmla="*/ 113690 w 310651"/>
              <a:gd name="connsiteY135" fmla="*/ 157777 h 370789"/>
              <a:gd name="connsiteX136" fmla="*/ 105711 w 310651"/>
              <a:gd name="connsiteY136" fmla="*/ 151785 h 370789"/>
              <a:gd name="connsiteX137" fmla="*/ 103717 w 310651"/>
              <a:gd name="connsiteY137" fmla="*/ 139802 h 370789"/>
              <a:gd name="connsiteX138" fmla="*/ 97733 w 310651"/>
              <a:gd name="connsiteY138" fmla="*/ 125822 h 370789"/>
              <a:gd name="connsiteX139" fmla="*/ 95739 w 310651"/>
              <a:gd name="connsiteY139" fmla="*/ 115836 h 370789"/>
              <a:gd name="connsiteX140" fmla="*/ 93744 w 310651"/>
              <a:gd name="connsiteY140" fmla="*/ 111842 h 370789"/>
              <a:gd name="connsiteX141" fmla="*/ 85766 w 310651"/>
              <a:gd name="connsiteY141" fmla="*/ 107847 h 370789"/>
              <a:gd name="connsiteX142" fmla="*/ 73799 w 310651"/>
              <a:gd name="connsiteY142" fmla="*/ 99859 h 370789"/>
              <a:gd name="connsiteX143" fmla="*/ 63826 w 310651"/>
              <a:gd name="connsiteY143" fmla="*/ 97862 h 370789"/>
              <a:gd name="connsiteX144" fmla="*/ 59837 w 310651"/>
              <a:gd name="connsiteY144" fmla="*/ 95864 h 370789"/>
              <a:gd name="connsiteX145" fmla="*/ 51859 w 310651"/>
              <a:gd name="connsiteY145" fmla="*/ 97862 h 370789"/>
              <a:gd name="connsiteX146" fmla="*/ 47869 w 310651"/>
              <a:gd name="connsiteY146" fmla="*/ 103853 h 370789"/>
              <a:gd name="connsiteX147" fmla="*/ 39891 w 310651"/>
              <a:gd name="connsiteY147" fmla="*/ 111842 h 370789"/>
              <a:gd name="connsiteX148" fmla="*/ 31913 w 310651"/>
              <a:gd name="connsiteY148" fmla="*/ 115836 h 370789"/>
              <a:gd name="connsiteX149" fmla="*/ 25929 w 310651"/>
              <a:gd name="connsiteY149" fmla="*/ 117833 h 370789"/>
              <a:gd name="connsiteX150" fmla="*/ 25929 w 310651"/>
              <a:gd name="connsiteY150" fmla="*/ 111842 h 370789"/>
              <a:gd name="connsiteX151" fmla="*/ 23934 w 310651"/>
              <a:gd name="connsiteY151" fmla="*/ 105850 h 370789"/>
              <a:gd name="connsiteX152" fmla="*/ 23934 w 310651"/>
              <a:gd name="connsiteY152" fmla="*/ 97862 h 370789"/>
              <a:gd name="connsiteX153" fmla="*/ 19945 w 310651"/>
              <a:gd name="connsiteY153" fmla="*/ 97862 h 370789"/>
              <a:gd name="connsiteX154" fmla="*/ 11967 w 310651"/>
              <a:gd name="connsiteY154" fmla="*/ 97862 h 370789"/>
              <a:gd name="connsiteX155" fmla="*/ 7978 w 310651"/>
              <a:gd name="connsiteY155" fmla="*/ 93867 h 370789"/>
              <a:gd name="connsiteX156" fmla="*/ 7978 w 310651"/>
              <a:gd name="connsiteY156" fmla="*/ 85879 h 370789"/>
              <a:gd name="connsiteX157" fmla="*/ 7978 w 310651"/>
              <a:gd name="connsiteY157" fmla="*/ 75893 h 370789"/>
              <a:gd name="connsiteX158" fmla="*/ 0 w 310651"/>
              <a:gd name="connsiteY158" fmla="*/ 67904 h 370789"/>
              <a:gd name="connsiteX159" fmla="*/ 0 w 310651"/>
              <a:gd name="connsiteY159" fmla="*/ 61912 h 370789"/>
              <a:gd name="connsiteX160" fmla="*/ 5983 w 310651"/>
              <a:gd name="connsiteY160" fmla="*/ 59915 h 370789"/>
              <a:gd name="connsiteX161" fmla="*/ 7978 w 310651"/>
              <a:gd name="connsiteY161" fmla="*/ 59915 h 370789"/>
              <a:gd name="connsiteX162" fmla="*/ 11967 w 310651"/>
              <a:gd name="connsiteY162" fmla="*/ 59915 h 370789"/>
              <a:gd name="connsiteX163" fmla="*/ 17951 w 310651"/>
              <a:gd name="connsiteY163" fmla="*/ 59915 h 370789"/>
              <a:gd name="connsiteX164" fmla="*/ 11967 w 310651"/>
              <a:gd name="connsiteY164" fmla="*/ 51926 h 370789"/>
              <a:gd name="connsiteX165" fmla="*/ 11967 w 310651"/>
              <a:gd name="connsiteY165" fmla="*/ 47932 h 370789"/>
              <a:gd name="connsiteX166" fmla="*/ 7978 w 310651"/>
              <a:gd name="connsiteY166" fmla="*/ 39943 h 370789"/>
              <a:gd name="connsiteX167" fmla="*/ 9973 w 310651"/>
              <a:gd name="connsiteY167" fmla="*/ 37946 h 370789"/>
              <a:gd name="connsiteX168" fmla="*/ 11967 w 310651"/>
              <a:gd name="connsiteY168" fmla="*/ 35949 h 370789"/>
              <a:gd name="connsiteX169" fmla="*/ 15956 w 310651"/>
              <a:gd name="connsiteY169" fmla="*/ 35949 h 370789"/>
              <a:gd name="connsiteX170" fmla="*/ 17951 w 310651"/>
              <a:gd name="connsiteY170" fmla="*/ 33952 h 370789"/>
              <a:gd name="connsiteX171" fmla="*/ 21940 w 310651"/>
              <a:gd name="connsiteY171" fmla="*/ 35949 h 370789"/>
              <a:gd name="connsiteX172" fmla="*/ 25929 w 310651"/>
              <a:gd name="connsiteY172" fmla="*/ 35949 h 370789"/>
              <a:gd name="connsiteX173" fmla="*/ 29918 w 310651"/>
              <a:gd name="connsiteY173" fmla="*/ 35949 h 370789"/>
              <a:gd name="connsiteX174" fmla="*/ 31913 w 310651"/>
              <a:gd name="connsiteY174" fmla="*/ 37946 h 370789"/>
              <a:gd name="connsiteX175" fmla="*/ 37896 w 310651"/>
              <a:gd name="connsiteY175" fmla="*/ 37946 h 370789"/>
              <a:gd name="connsiteX176" fmla="*/ 41886 w 310651"/>
              <a:gd name="connsiteY176" fmla="*/ 41941 h 370789"/>
              <a:gd name="connsiteX177" fmla="*/ 45875 w 310651"/>
              <a:gd name="connsiteY177" fmla="*/ 37946 h 370789"/>
              <a:gd name="connsiteX178" fmla="*/ 51859 w 310651"/>
              <a:gd name="connsiteY178" fmla="*/ 37946 h 370789"/>
              <a:gd name="connsiteX179" fmla="*/ 55848 w 310651"/>
              <a:gd name="connsiteY179" fmla="*/ 37946 h 370789"/>
              <a:gd name="connsiteX180" fmla="*/ 59837 w 310651"/>
              <a:gd name="connsiteY180" fmla="*/ 37946 h 370789"/>
              <a:gd name="connsiteX181" fmla="*/ 67815 w 310651"/>
              <a:gd name="connsiteY181" fmla="*/ 33952 h 370789"/>
              <a:gd name="connsiteX182" fmla="*/ 73799 w 310651"/>
              <a:gd name="connsiteY182" fmla="*/ 29958 h 370789"/>
              <a:gd name="connsiteX183" fmla="*/ 77788 w 310651"/>
              <a:gd name="connsiteY183" fmla="*/ 27960 h 370789"/>
              <a:gd name="connsiteX184" fmla="*/ 81777 w 310651"/>
              <a:gd name="connsiteY184" fmla="*/ 29958 h 370789"/>
              <a:gd name="connsiteX185" fmla="*/ 87761 w 310651"/>
              <a:gd name="connsiteY185" fmla="*/ 31955 h 370789"/>
              <a:gd name="connsiteX186" fmla="*/ 93744 w 310651"/>
              <a:gd name="connsiteY186" fmla="*/ 29958 h 370789"/>
              <a:gd name="connsiteX187" fmla="*/ 101722 w 310651"/>
              <a:gd name="connsiteY187" fmla="*/ 21969 h 370789"/>
              <a:gd name="connsiteX188" fmla="*/ 101722 w 310651"/>
              <a:gd name="connsiteY188" fmla="*/ 15977 h 370789"/>
              <a:gd name="connsiteX189" fmla="*/ 105711 w 310651"/>
              <a:gd name="connsiteY189" fmla="*/ 13980 h 370789"/>
              <a:gd name="connsiteX190" fmla="*/ 107706 w 310651"/>
              <a:gd name="connsiteY190" fmla="*/ 11983 h 370789"/>
              <a:gd name="connsiteX191" fmla="*/ 109701 w 310651"/>
              <a:gd name="connsiteY191" fmla="*/ 11983 h 370789"/>
              <a:gd name="connsiteX192" fmla="*/ 115684 w 310651"/>
              <a:gd name="connsiteY192" fmla="*/ 9986 h 370789"/>
              <a:gd name="connsiteX193" fmla="*/ 119673 w 310651"/>
              <a:gd name="connsiteY193" fmla="*/ 5991 h 370789"/>
              <a:gd name="connsiteX194" fmla="*/ 125657 w 310651"/>
              <a:gd name="connsiteY194" fmla="*/ 1997 h 370789"/>
              <a:gd name="connsiteX195" fmla="*/ 133635 w 310651"/>
              <a:gd name="connsiteY195" fmla="*/ 0 h 37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310651" h="370789">
                <a:moveTo>
                  <a:pt x="73302" y="209550"/>
                </a:moveTo>
                <a:cubicBezTo>
                  <a:pt x="75303" y="209550"/>
                  <a:pt x="79307" y="211561"/>
                  <a:pt x="79307" y="211561"/>
                </a:cubicBezTo>
                <a:cubicBezTo>
                  <a:pt x="81308" y="213572"/>
                  <a:pt x="79307" y="219604"/>
                  <a:pt x="81308" y="223626"/>
                </a:cubicBezTo>
                <a:cubicBezTo>
                  <a:pt x="81308" y="225637"/>
                  <a:pt x="85312" y="227648"/>
                  <a:pt x="85312" y="229658"/>
                </a:cubicBezTo>
                <a:cubicBezTo>
                  <a:pt x="87313" y="229658"/>
                  <a:pt x="87313" y="233680"/>
                  <a:pt x="85312" y="235691"/>
                </a:cubicBezTo>
                <a:cubicBezTo>
                  <a:pt x="83310" y="235691"/>
                  <a:pt x="79307" y="239712"/>
                  <a:pt x="79307" y="241723"/>
                </a:cubicBezTo>
                <a:cubicBezTo>
                  <a:pt x="79307" y="243734"/>
                  <a:pt x="81308" y="251777"/>
                  <a:pt x="83310" y="253788"/>
                </a:cubicBezTo>
                <a:cubicBezTo>
                  <a:pt x="83310" y="253788"/>
                  <a:pt x="83310" y="271886"/>
                  <a:pt x="83310" y="273896"/>
                </a:cubicBezTo>
                <a:cubicBezTo>
                  <a:pt x="83310" y="275907"/>
                  <a:pt x="81308" y="279929"/>
                  <a:pt x="79307" y="281940"/>
                </a:cubicBezTo>
                <a:cubicBezTo>
                  <a:pt x="77305" y="281940"/>
                  <a:pt x="71300" y="279929"/>
                  <a:pt x="69298" y="281940"/>
                </a:cubicBezTo>
                <a:cubicBezTo>
                  <a:pt x="67297" y="283951"/>
                  <a:pt x="67297" y="285961"/>
                  <a:pt x="67297" y="287972"/>
                </a:cubicBezTo>
                <a:cubicBezTo>
                  <a:pt x="67297" y="291994"/>
                  <a:pt x="67297" y="296015"/>
                  <a:pt x="67297" y="296015"/>
                </a:cubicBezTo>
                <a:cubicBezTo>
                  <a:pt x="65295" y="296015"/>
                  <a:pt x="63293" y="296015"/>
                  <a:pt x="61292" y="298026"/>
                </a:cubicBezTo>
                <a:cubicBezTo>
                  <a:pt x="59290" y="298026"/>
                  <a:pt x="55287" y="300037"/>
                  <a:pt x="55287" y="296015"/>
                </a:cubicBezTo>
                <a:cubicBezTo>
                  <a:pt x="53285" y="294005"/>
                  <a:pt x="53285" y="289983"/>
                  <a:pt x="53285" y="287972"/>
                </a:cubicBezTo>
                <a:cubicBezTo>
                  <a:pt x="51284" y="285961"/>
                  <a:pt x="49282" y="277918"/>
                  <a:pt x="49282" y="275907"/>
                </a:cubicBezTo>
                <a:cubicBezTo>
                  <a:pt x="49282" y="273896"/>
                  <a:pt x="51284" y="263842"/>
                  <a:pt x="51284" y="261832"/>
                </a:cubicBezTo>
                <a:cubicBezTo>
                  <a:pt x="51284" y="259821"/>
                  <a:pt x="49282" y="255799"/>
                  <a:pt x="49282" y="255799"/>
                </a:cubicBezTo>
                <a:cubicBezTo>
                  <a:pt x="49282" y="255799"/>
                  <a:pt x="45279" y="251777"/>
                  <a:pt x="45279" y="249767"/>
                </a:cubicBezTo>
                <a:cubicBezTo>
                  <a:pt x="45279" y="247756"/>
                  <a:pt x="45279" y="239712"/>
                  <a:pt x="45279" y="237702"/>
                </a:cubicBezTo>
                <a:cubicBezTo>
                  <a:pt x="43277" y="235691"/>
                  <a:pt x="41275" y="233680"/>
                  <a:pt x="41275" y="229658"/>
                </a:cubicBezTo>
                <a:cubicBezTo>
                  <a:pt x="41275" y="221615"/>
                  <a:pt x="49282" y="223626"/>
                  <a:pt x="53285" y="221615"/>
                </a:cubicBezTo>
                <a:cubicBezTo>
                  <a:pt x="55287" y="219604"/>
                  <a:pt x="59290" y="215583"/>
                  <a:pt x="61292" y="213572"/>
                </a:cubicBezTo>
                <a:cubicBezTo>
                  <a:pt x="63293" y="213572"/>
                  <a:pt x="71300" y="211561"/>
                  <a:pt x="73302" y="209550"/>
                </a:cubicBezTo>
                <a:close/>
                <a:moveTo>
                  <a:pt x="133635" y="0"/>
                </a:moveTo>
                <a:cubicBezTo>
                  <a:pt x="135630" y="1997"/>
                  <a:pt x="139619" y="1997"/>
                  <a:pt x="139619" y="1997"/>
                </a:cubicBezTo>
                <a:cubicBezTo>
                  <a:pt x="139619" y="1997"/>
                  <a:pt x="141613" y="0"/>
                  <a:pt x="143608" y="0"/>
                </a:cubicBezTo>
                <a:cubicBezTo>
                  <a:pt x="145602" y="0"/>
                  <a:pt x="145602" y="0"/>
                  <a:pt x="145602" y="1997"/>
                </a:cubicBezTo>
                <a:cubicBezTo>
                  <a:pt x="145602" y="5991"/>
                  <a:pt x="147597" y="9986"/>
                  <a:pt x="147597" y="11983"/>
                </a:cubicBezTo>
                <a:cubicBezTo>
                  <a:pt x="149592" y="13980"/>
                  <a:pt x="151586" y="13980"/>
                  <a:pt x="153581" y="17974"/>
                </a:cubicBezTo>
                <a:cubicBezTo>
                  <a:pt x="155575" y="19972"/>
                  <a:pt x="159564" y="21969"/>
                  <a:pt x="161559" y="21969"/>
                </a:cubicBezTo>
                <a:cubicBezTo>
                  <a:pt x="163553" y="23966"/>
                  <a:pt x="167543" y="25963"/>
                  <a:pt x="169537" y="25963"/>
                </a:cubicBezTo>
                <a:cubicBezTo>
                  <a:pt x="173526" y="25963"/>
                  <a:pt x="171532" y="31955"/>
                  <a:pt x="171532" y="33952"/>
                </a:cubicBezTo>
                <a:cubicBezTo>
                  <a:pt x="173526" y="35949"/>
                  <a:pt x="169537" y="41941"/>
                  <a:pt x="169537" y="41941"/>
                </a:cubicBezTo>
                <a:cubicBezTo>
                  <a:pt x="165548" y="43938"/>
                  <a:pt x="165548" y="47932"/>
                  <a:pt x="161559" y="51926"/>
                </a:cubicBezTo>
                <a:cubicBezTo>
                  <a:pt x="159564" y="53924"/>
                  <a:pt x="155575" y="53924"/>
                  <a:pt x="151586" y="53924"/>
                </a:cubicBezTo>
                <a:cubicBezTo>
                  <a:pt x="147597" y="51926"/>
                  <a:pt x="145602" y="55921"/>
                  <a:pt x="143608" y="57918"/>
                </a:cubicBezTo>
                <a:cubicBezTo>
                  <a:pt x="143608" y="61912"/>
                  <a:pt x="149592" y="69901"/>
                  <a:pt x="151586" y="75893"/>
                </a:cubicBezTo>
                <a:cubicBezTo>
                  <a:pt x="155575" y="79887"/>
                  <a:pt x="149592" y="81884"/>
                  <a:pt x="147597" y="83881"/>
                </a:cubicBezTo>
                <a:cubicBezTo>
                  <a:pt x="147597" y="85879"/>
                  <a:pt x="147597" y="89873"/>
                  <a:pt x="147597" y="99859"/>
                </a:cubicBezTo>
                <a:cubicBezTo>
                  <a:pt x="149592" y="109845"/>
                  <a:pt x="163553" y="113839"/>
                  <a:pt x="163553" y="113839"/>
                </a:cubicBezTo>
                <a:cubicBezTo>
                  <a:pt x="163553" y="113839"/>
                  <a:pt x="169537" y="117833"/>
                  <a:pt x="169537" y="121828"/>
                </a:cubicBezTo>
                <a:cubicBezTo>
                  <a:pt x="169537" y="125822"/>
                  <a:pt x="171532" y="123825"/>
                  <a:pt x="173526" y="127819"/>
                </a:cubicBezTo>
                <a:cubicBezTo>
                  <a:pt x="177515" y="129816"/>
                  <a:pt x="179510" y="135808"/>
                  <a:pt x="179510" y="137805"/>
                </a:cubicBezTo>
                <a:cubicBezTo>
                  <a:pt x="177515" y="141799"/>
                  <a:pt x="179510" y="141799"/>
                  <a:pt x="183499" y="143797"/>
                </a:cubicBezTo>
                <a:cubicBezTo>
                  <a:pt x="187488" y="145794"/>
                  <a:pt x="191477" y="153783"/>
                  <a:pt x="191477" y="157777"/>
                </a:cubicBezTo>
                <a:cubicBezTo>
                  <a:pt x="191477" y="161771"/>
                  <a:pt x="195466" y="165766"/>
                  <a:pt x="195466" y="165766"/>
                </a:cubicBezTo>
                <a:cubicBezTo>
                  <a:pt x="195466" y="165766"/>
                  <a:pt x="211423" y="179746"/>
                  <a:pt x="215412" y="181743"/>
                </a:cubicBezTo>
                <a:cubicBezTo>
                  <a:pt x="219401" y="185737"/>
                  <a:pt x="219401" y="185737"/>
                  <a:pt x="223390" y="185737"/>
                </a:cubicBezTo>
                <a:cubicBezTo>
                  <a:pt x="227379" y="185737"/>
                  <a:pt x="233363" y="185737"/>
                  <a:pt x="233363" y="185737"/>
                </a:cubicBezTo>
                <a:cubicBezTo>
                  <a:pt x="233363" y="185737"/>
                  <a:pt x="243335" y="185737"/>
                  <a:pt x="245330" y="189732"/>
                </a:cubicBezTo>
                <a:cubicBezTo>
                  <a:pt x="249319" y="193726"/>
                  <a:pt x="245330" y="197720"/>
                  <a:pt x="243335" y="201715"/>
                </a:cubicBezTo>
                <a:cubicBezTo>
                  <a:pt x="243335" y="203712"/>
                  <a:pt x="245330" y="207706"/>
                  <a:pt x="249319" y="207706"/>
                </a:cubicBezTo>
                <a:cubicBezTo>
                  <a:pt x="251314" y="207706"/>
                  <a:pt x="257297" y="211701"/>
                  <a:pt x="257297" y="211701"/>
                </a:cubicBezTo>
                <a:cubicBezTo>
                  <a:pt x="257297" y="211701"/>
                  <a:pt x="265276" y="215695"/>
                  <a:pt x="269265" y="215695"/>
                </a:cubicBezTo>
                <a:cubicBezTo>
                  <a:pt x="275248" y="217692"/>
                  <a:pt x="281232" y="229676"/>
                  <a:pt x="281232" y="229676"/>
                </a:cubicBezTo>
                <a:cubicBezTo>
                  <a:pt x="281232" y="229676"/>
                  <a:pt x="281232" y="229676"/>
                  <a:pt x="291205" y="231673"/>
                </a:cubicBezTo>
                <a:cubicBezTo>
                  <a:pt x="291205" y="231673"/>
                  <a:pt x="295194" y="233670"/>
                  <a:pt x="299183" y="235667"/>
                </a:cubicBezTo>
                <a:cubicBezTo>
                  <a:pt x="305167" y="237664"/>
                  <a:pt x="305167" y="241659"/>
                  <a:pt x="305167" y="241659"/>
                </a:cubicBezTo>
                <a:cubicBezTo>
                  <a:pt x="305167" y="241659"/>
                  <a:pt x="307161" y="241659"/>
                  <a:pt x="309156" y="245653"/>
                </a:cubicBezTo>
                <a:cubicBezTo>
                  <a:pt x="311150" y="247650"/>
                  <a:pt x="311150" y="249647"/>
                  <a:pt x="309156" y="249647"/>
                </a:cubicBezTo>
                <a:cubicBezTo>
                  <a:pt x="307161" y="251644"/>
                  <a:pt x="307161" y="253642"/>
                  <a:pt x="307161" y="255639"/>
                </a:cubicBezTo>
                <a:cubicBezTo>
                  <a:pt x="307161" y="259633"/>
                  <a:pt x="309156" y="261630"/>
                  <a:pt x="309156" y="263628"/>
                </a:cubicBezTo>
                <a:cubicBezTo>
                  <a:pt x="309156" y="265625"/>
                  <a:pt x="307161" y="263628"/>
                  <a:pt x="303172" y="261630"/>
                </a:cubicBezTo>
                <a:cubicBezTo>
                  <a:pt x="299183" y="261630"/>
                  <a:pt x="299183" y="259633"/>
                  <a:pt x="295194" y="255639"/>
                </a:cubicBezTo>
                <a:cubicBezTo>
                  <a:pt x="291205" y="253642"/>
                  <a:pt x="289210" y="251644"/>
                  <a:pt x="291205" y="249647"/>
                </a:cubicBezTo>
                <a:cubicBezTo>
                  <a:pt x="291205" y="247650"/>
                  <a:pt x="289210" y="245653"/>
                  <a:pt x="285221" y="245653"/>
                </a:cubicBezTo>
                <a:cubicBezTo>
                  <a:pt x="281232" y="245653"/>
                  <a:pt x="281232" y="243656"/>
                  <a:pt x="279237" y="241659"/>
                </a:cubicBezTo>
                <a:cubicBezTo>
                  <a:pt x="277243" y="241659"/>
                  <a:pt x="275248" y="237664"/>
                  <a:pt x="273254" y="235667"/>
                </a:cubicBezTo>
                <a:cubicBezTo>
                  <a:pt x="271259" y="233670"/>
                  <a:pt x="265276" y="241659"/>
                  <a:pt x="263281" y="243656"/>
                </a:cubicBezTo>
                <a:cubicBezTo>
                  <a:pt x="261286" y="247650"/>
                  <a:pt x="261286" y="251644"/>
                  <a:pt x="261286" y="253642"/>
                </a:cubicBezTo>
                <a:cubicBezTo>
                  <a:pt x="263281" y="257636"/>
                  <a:pt x="267270" y="265625"/>
                  <a:pt x="269265" y="267622"/>
                </a:cubicBezTo>
                <a:cubicBezTo>
                  <a:pt x="269265" y="269619"/>
                  <a:pt x="271259" y="271616"/>
                  <a:pt x="271259" y="275611"/>
                </a:cubicBezTo>
                <a:cubicBezTo>
                  <a:pt x="273254" y="281602"/>
                  <a:pt x="273254" y="285597"/>
                  <a:pt x="273254" y="285597"/>
                </a:cubicBezTo>
                <a:cubicBezTo>
                  <a:pt x="273254" y="285597"/>
                  <a:pt x="277243" y="287594"/>
                  <a:pt x="277243" y="291588"/>
                </a:cubicBezTo>
                <a:cubicBezTo>
                  <a:pt x="277243" y="295582"/>
                  <a:pt x="273254" y="295582"/>
                  <a:pt x="271259" y="293585"/>
                </a:cubicBezTo>
                <a:cubicBezTo>
                  <a:pt x="269265" y="291588"/>
                  <a:pt x="267270" y="293585"/>
                  <a:pt x="265276" y="295582"/>
                </a:cubicBezTo>
                <a:cubicBezTo>
                  <a:pt x="263281" y="295582"/>
                  <a:pt x="265276" y="299577"/>
                  <a:pt x="265276" y="303571"/>
                </a:cubicBezTo>
                <a:cubicBezTo>
                  <a:pt x="263281" y="307565"/>
                  <a:pt x="259292" y="313557"/>
                  <a:pt x="257297" y="313557"/>
                </a:cubicBezTo>
                <a:cubicBezTo>
                  <a:pt x="253308" y="313557"/>
                  <a:pt x="251314" y="317551"/>
                  <a:pt x="251314" y="323543"/>
                </a:cubicBezTo>
                <a:cubicBezTo>
                  <a:pt x="251314" y="329534"/>
                  <a:pt x="245330" y="327537"/>
                  <a:pt x="241341" y="327537"/>
                </a:cubicBezTo>
                <a:cubicBezTo>
                  <a:pt x="239346" y="327537"/>
                  <a:pt x="237352" y="323543"/>
                  <a:pt x="233363" y="323543"/>
                </a:cubicBezTo>
                <a:cubicBezTo>
                  <a:pt x="229374" y="323543"/>
                  <a:pt x="227379" y="325540"/>
                  <a:pt x="223390" y="329534"/>
                </a:cubicBezTo>
                <a:cubicBezTo>
                  <a:pt x="219401" y="333529"/>
                  <a:pt x="221395" y="339520"/>
                  <a:pt x="221395" y="343515"/>
                </a:cubicBezTo>
                <a:cubicBezTo>
                  <a:pt x="223390" y="347509"/>
                  <a:pt x="223390" y="347509"/>
                  <a:pt x="227379" y="347509"/>
                </a:cubicBezTo>
                <a:cubicBezTo>
                  <a:pt x="229374" y="347509"/>
                  <a:pt x="231368" y="351503"/>
                  <a:pt x="231368" y="353501"/>
                </a:cubicBezTo>
                <a:cubicBezTo>
                  <a:pt x="233363" y="355498"/>
                  <a:pt x="233363" y="359492"/>
                  <a:pt x="231368" y="361489"/>
                </a:cubicBezTo>
                <a:cubicBezTo>
                  <a:pt x="231368" y="363486"/>
                  <a:pt x="229374" y="363486"/>
                  <a:pt x="227379" y="367481"/>
                </a:cubicBezTo>
                <a:cubicBezTo>
                  <a:pt x="227379" y="371475"/>
                  <a:pt x="223390" y="371475"/>
                  <a:pt x="221395" y="369478"/>
                </a:cubicBezTo>
                <a:cubicBezTo>
                  <a:pt x="219401" y="365484"/>
                  <a:pt x="217406" y="365484"/>
                  <a:pt x="215412" y="365484"/>
                </a:cubicBezTo>
                <a:cubicBezTo>
                  <a:pt x="213417" y="365484"/>
                  <a:pt x="211423" y="363486"/>
                  <a:pt x="211423" y="359492"/>
                </a:cubicBezTo>
                <a:cubicBezTo>
                  <a:pt x="209428" y="355498"/>
                  <a:pt x="205439" y="355498"/>
                  <a:pt x="205439" y="355498"/>
                </a:cubicBezTo>
                <a:cubicBezTo>
                  <a:pt x="203444" y="355498"/>
                  <a:pt x="201450" y="355498"/>
                  <a:pt x="197461" y="353501"/>
                </a:cubicBezTo>
                <a:cubicBezTo>
                  <a:pt x="193472" y="353501"/>
                  <a:pt x="185494" y="349506"/>
                  <a:pt x="181504" y="347509"/>
                </a:cubicBezTo>
                <a:cubicBezTo>
                  <a:pt x="177515" y="345512"/>
                  <a:pt x="171532" y="347509"/>
                  <a:pt x="169537" y="345512"/>
                </a:cubicBezTo>
                <a:cubicBezTo>
                  <a:pt x="165548" y="345512"/>
                  <a:pt x="167543" y="343515"/>
                  <a:pt x="167543" y="339520"/>
                </a:cubicBezTo>
                <a:cubicBezTo>
                  <a:pt x="167543" y="337523"/>
                  <a:pt x="163553" y="337523"/>
                  <a:pt x="163553" y="337523"/>
                </a:cubicBezTo>
                <a:cubicBezTo>
                  <a:pt x="163553" y="337523"/>
                  <a:pt x="159564" y="337523"/>
                  <a:pt x="157570" y="335526"/>
                </a:cubicBezTo>
                <a:cubicBezTo>
                  <a:pt x="155575" y="335526"/>
                  <a:pt x="155575" y="329534"/>
                  <a:pt x="155575" y="325540"/>
                </a:cubicBezTo>
                <a:cubicBezTo>
                  <a:pt x="157570" y="319549"/>
                  <a:pt x="159564" y="319549"/>
                  <a:pt x="165548" y="319549"/>
                </a:cubicBezTo>
                <a:cubicBezTo>
                  <a:pt x="167543" y="319549"/>
                  <a:pt x="169537" y="317551"/>
                  <a:pt x="173526" y="317551"/>
                </a:cubicBezTo>
                <a:cubicBezTo>
                  <a:pt x="177515" y="317551"/>
                  <a:pt x="181504" y="321546"/>
                  <a:pt x="183499" y="323543"/>
                </a:cubicBezTo>
                <a:cubicBezTo>
                  <a:pt x="183499" y="325540"/>
                  <a:pt x="187488" y="323543"/>
                  <a:pt x="189483" y="321546"/>
                </a:cubicBezTo>
                <a:cubicBezTo>
                  <a:pt x="193472" y="321546"/>
                  <a:pt x="195466" y="321546"/>
                  <a:pt x="199455" y="323543"/>
                </a:cubicBezTo>
                <a:cubicBezTo>
                  <a:pt x="201450" y="325540"/>
                  <a:pt x="205439" y="323543"/>
                  <a:pt x="209428" y="321546"/>
                </a:cubicBezTo>
                <a:cubicBezTo>
                  <a:pt x="213417" y="319549"/>
                  <a:pt x="215412" y="319549"/>
                  <a:pt x="215412" y="317551"/>
                </a:cubicBezTo>
                <a:cubicBezTo>
                  <a:pt x="217406" y="315554"/>
                  <a:pt x="229374" y="315554"/>
                  <a:pt x="235357" y="315554"/>
                </a:cubicBezTo>
                <a:cubicBezTo>
                  <a:pt x="241341" y="313557"/>
                  <a:pt x="241341" y="305568"/>
                  <a:pt x="241341" y="303571"/>
                </a:cubicBezTo>
                <a:cubicBezTo>
                  <a:pt x="241341" y="301574"/>
                  <a:pt x="245330" y="299577"/>
                  <a:pt x="249319" y="299577"/>
                </a:cubicBezTo>
                <a:cubicBezTo>
                  <a:pt x="251314" y="299577"/>
                  <a:pt x="251314" y="293585"/>
                  <a:pt x="249319" y="291588"/>
                </a:cubicBezTo>
                <a:cubicBezTo>
                  <a:pt x="247325" y="289591"/>
                  <a:pt x="249319" y="287594"/>
                  <a:pt x="249319" y="281602"/>
                </a:cubicBezTo>
                <a:cubicBezTo>
                  <a:pt x="247325" y="277608"/>
                  <a:pt x="245330" y="275611"/>
                  <a:pt x="243335" y="273613"/>
                </a:cubicBezTo>
                <a:cubicBezTo>
                  <a:pt x="239346" y="271616"/>
                  <a:pt x="241341" y="265625"/>
                  <a:pt x="241341" y="263628"/>
                </a:cubicBezTo>
                <a:cubicBezTo>
                  <a:pt x="241341" y="259633"/>
                  <a:pt x="239346" y="255639"/>
                  <a:pt x="237352" y="251644"/>
                </a:cubicBezTo>
                <a:cubicBezTo>
                  <a:pt x="233363" y="249647"/>
                  <a:pt x="231368" y="251644"/>
                  <a:pt x="227379" y="251644"/>
                </a:cubicBezTo>
                <a:cubicBezTo>
                  <a:pt x="223390" y="253642"/>
                  <a:pt x="219401" y="251644"/>
                  <a:pt x="217406" y="247650"/>
                </a:cubicBezTo>
                <a:cubicBezTo>
                  <a:pt x="213417" y="245653"/>
                  <a:pt x="215412" y="245653"/>
                  <a:pt x="217406" y="241659"/>
                </a:cubicBezTo>
                <a:cubicBezTo>
                  <a:pt x="217406" y="237664"/>
                  <a:pt x="215412" y="233670"/>
                  <a:pt x="213417" y="231673"/>
                </a:cubicBezTo>
                <a:cubicBezTo>
                  <a:pt x="209428" y="229676"/>
                  <a:pt x="209428" y="233670"/>
                  <a:pt x="205439" y="233670"/>
                </a:cubicBezTo>
                <a:cubicBezTo>
                  <a:pt x="201450" y="233670"/>
                  <a:pt x="199455" y="231673"/>
                  <a:pt x="199455" y="229676"/>
                </a:cubicBezTo>
                <a:cubicBezTo>
                  <a:pt x="197461" y="225681"/>
                  <a:pt x="193472" y="227678"/>
                  <a:pt x="191477" y="225681"/>
                </a:cubicBezTo>
                <a:cubicBezTo>
                  <a:pt x="187488" y="225681"/>
                  <a:pt x="189483" y="221687"/>
                  <a:pt x="189483" y="215695"/>
                </a:cubicBezTo>
                <a:cubicBezTo>
                  <a:pt x="189483" y="209704"/>
                  <a:pt x="183499" y="211701"/>
                  <a:pt x="181504" y="211701"/>
                </a:cubicBezTo>
                <a:cubicBezTo>
                  <a:pt x="177515" y="211701"/>
                  <a:pt x="175521" y="207706"/>
                  <a:pt x="173526" y="205709"/>
                </a:cubicBezTo>
                <a:cubicBezTo>
                  <a:pt x="171532" y="203712"/>
                  <a:pt x="165548" y="203712"/>
                  <a:pt x="161559" y="205709"/>
                </a:cubicBezTo>
                <a:cubicBezTo>
                  <a:pt x="159564" y="205709"/>
                  <a:pt x="155575" y="205709"/>
                  <a:pt x="153581" y="203712"/>
                </a:cubicBezTo>
                <a:cubicBezTo>
                  <a:pt x="151586" y="201715"/>
                  <a:pt x="153581" y="199718"/>
                  <a:pt x="153581" y="195723"/>
                </a:cubicBezTo>
                <a:cubicBezTo>
                  <a:pt x="151586" y="191729"/>
                  <a:pt x="149592" y="187735"/>
                  <a:pt x="147597" y="187735"/>
                </a:cubicBezTo>
                <a:cubicBezTo>
                  <a:pt x="143608" y="187735"/>
                  <a:pt x="143608" y="185737"/>
                  <a:pt x="141613" y="183740"/>
                </a:cubicBezTo>
                <a:cubicBezTo>
                  <a:pt x="139619" y="183740"/>
                  <a:pt x="139619" y="181743"/>
                  <a:pt x="137624" y="179746"/>
                </a:cubicBezTo>
                <a:cubicBezTo>
                  <a:pt x="137624" y="177749"/>
                  <a:pt x="135630" y="175751"/>
                  <a:pt x="131641" y="175751"/>
                </a:cubicBezTo>
                <a:cubicBezTo>
                  <a:pt x="129646" y="175751"/>
                  <a:pt x="129646" y="173754"/>
                  <a:pt x="127652" y="171757"/>
                </a:cubicBezTo>
                <a:cubicBezTo>
                  <a:pt x="125657" y="167763"/>
                  <a:pt x="121668" y="169760"/>
                  <a:pt x="121668" y="169760"/>
                </a:cubicBezTo>
                <a:cubicBezTo>
                  <a:pt x="119673" y="169760"/>
                  <a:pt x="119673" y="173754"/>
                  <a:pt x="115684" y="171757"/>
                </a:cubicBezTo>
                <a:cubicBezTo>
                  <a:pt x="113690" y="169760"/>
                  <a:pt x="115684" y="169760"/>
                  <a:pt x="117679" y="165766"/>
                </a:cubicBezTo>
                <a:cubicBezTo>
                  <a:pt x="117679" y="163768"/>
                  <a:pt x="115684" y="161771"/>
                  <a:pt x="113690" y="157777"/>
                </a:cubicBezTo>
                <a:cubicBezTo>
                  <a:pt x="111695" y="155780"/>
                  <a:pt x="109701" y="153783"/>
                  <a:pt x="105711" y="151785"/>
                </a:cubicBezTo>
                <a:cubicBezTo>
                  <a:pt x="101722" y="149788"/>
                  <a:pt x="103717" y="145794"/>
                  <a:pt x="103717" y="139802"/>
                </a:cubicBezTo>
                <a:cubicBezTo>
                  <a:pt x="101722" y="133811"/>
                  <a:pt x="99728" y="127819"/>
                  <a:pt x="97733" y="125822"/>
                </a:cubicBezTo>
                <a:cubicBezTo>
                  <a:pt x="95739" y="123825"/>
                  <a:pt x="95739" y="117833"/>
                  <a:pt x="95739" y="115836"/>
                </a:cubicBezTo>
                <a:cubicBezTo>
                  <a:pt x="95739" y="113839"/>
                  <a:pt x="95739" y="111842"/>
                  <a:pt x="93744" y="111842"/>
                </a:cubicBezTo>
                <a:cubicBezTo>
                  <a:pt x="93744" y="111842"/>
                  <a:pt x="89755" y="109845"/>
                  <a:pt x="85766" y="107847"/>
                </a:cubicBezTo>
                <a:cubicBezTo>
                  <a:pt x="81777" y="105850"/>
                  <a:pt x="75793" y="101856"/>
                  <a:pt x="73799" y="99859"/>
                </a:cubicBezTo>
                <a:cubicBezTo>
                  <a:pt x="71804" y="97862"/>
                  <a:pt x="67815" y="97862"/>
                  <a:pt x="63826" y="97862"/>
                </a:cubicBezTo>
                <a:cubicBezTo>
                  <a:pt x="59837" y="97862"/>
                  <a:pt x="59837" y="97862"/>
                  <a:pt x="59837" y="95864"/>
                </a:cubicBezTo>
                <a:cubicBezTo>
                  <a:pt x="59837" y="93867"/>
                  <a:pt x="55848" y="95864"/>
                  <a:pt x="51859" y="97862"/>
                </a:cubicBezTo>
                <a:cubicBezTo>
                  <a:pt x="47869" y="97862"/>
                  <a:pt x="47869" y="101856"/>
                  <a:pt x="47869" y="103853"/>
                </a:cubicBezTo>
                <a:cubicBezTo>
                  <a:pt x="45875" y="105850"/>
                  <a:pt x="43880" y="111842"/>
                  <a:pt x="39891" y="111842"/>
                </a:cubicBezTo>
                <a:cubicBezTo>
                  <a:pt x="35902" y="113839"/>
                  <a:pt x="31913" y="113839"/>
                  <a:pt x="31913" y="115836"/>
                </a:cubicBezTo>
                <a:cubicBezTo>
                  <a:pt x="29918" y="115836"/>
                  <a:pt x="27923" y="115836"/>
                  <a:pt x="25929" y="117833"/>
                </a:cubicBezTo>
                <a:cubicBezTo>
                  <a:pt x="25929" y="117833"/>
                  <a:pt x="25929" y="113839"/>
                  <a:pt x="25929" y="111842"/>
                </a:cubicBezTo>
                <a:cubicBezTo>
                  <a:pt x="25929" y="107847"/>
                  <a:pt x="21940" y="107847"/>
                  <a:pt x="23934" y="105850"/>
                </a:cubicBezTo>
                <a:cubicBezTo>
                  <a:pt x="23934" y="105850"/>
                  <a:pt x="23934" y="99859"/>
                  <a:pt x="23934" y="97862"/>
                </a:cubicBezTo>
                <a:cubicBezTo>
                  <a:pt x="23934" y="95864"/>
                  <a:pt x="21940" y="95864"/>
                  <a:pt x="19945" y="97862"/>
                </a:cubicBezTo>
                <a:cubicBezTo>
                  <a:pt x="17951" y="97862"/>
                  <a:pt x="15956" y="97862"/>
                  <a:pt x="11967" y="97862"/>
                </a:cubicBezTo>
                <a:cubicBezTo>
                  <a:pt x="9973" y="97862"/>
                  <a:pt x="7978" y="93867"/>
                  <a:pt x="7978" y="93867"/>
                </a:cubicBezTo>
                <a:cubicBezTo>
                  <a:pt x="7978" y="93867"/>
                  <a:pt x="7978" y="85879"/>
                  <a:pt x="7978" y="85879"/>
                </a:cubicBezTo>
                <a:cubicBezTo>
                  <a:pt x="9973" y="83881"/>
                  <a:pt x="7978" y="75893"/>
                  <a:pt x="7978" y="75893"/>
                </a:cubicBezTo>
                <a:cubicBezTo>
                  <a:pt x="7978" y="75893"/>
                  <a:pt x="1994" y="69901"/>
                  <a:pt x="0" y="67904"/>
                </a:cubicBezTo>
                <a:cubicBezTo>
                  <a:pt x="0" y="65907"/>
                  <a:pt x="0" y="63910"/>
                  <a:pt x="0" y="61912"/>
                </a:cubicBezTo>
                <a:cubicBezTo>
                  <a:pt x="1994" y="59915"/>
                  <a:pt x="3989" y="59915"/>
                  <a:pt x="5983" y="59915"/>
                </a:cubicBezTo>
                <a:cubicBezTo>
                  <a:pt x="7978" y="57918"/>
                  <a:pt x="5983" y="59915"/>
                  <a:pt x="7978" y="59915"/>
                </a:cubicBezTo>
                <a:cubicBezTo>
                  <a:pt x="9973" y="59915"/>
                  <a:pt x="11967" y="59915"/>
                  <a:pt x="11967" y="59915"/>
                </a:cubicBezTo>
                <a:cubicBezTo>
                  <a:pt x="13962" y="59915"/>
                  <a:pt x="15956" y="61912"/>
                  <a:pt x="17951" y="59915"/>
                </a:cubicBezTo>
                <a:cubicBezTo>
                  <a:pt x="17951" y="57918"/>
                  <a:pt x="15956" y="53924"/>
                  <a:pt x="11967" y="51926"/>
                </a:cubicBezTo>
                <a:cubicBezTo>
                  <a:pt x="9973" y="51926"/>
                  <a:pt x="9973" y="49929"/>
                  <a:pt x="11967" y="47932"/>
                </a:cubicBezTo>
                <a:cubicBezTo>
                  <a:pt x="11967" y="43938"/>
                  <a:pt x="7978" y="41941"/>
                  <a:pt x="7978" y="39943"/>
                </a:cubicBezTo>
                <a:cubicBezTo>
                  <a:pt x="7978" y="37946"/>
                  <a:pt x="9973" y="37946"/>
                  <a:pt x="9973" y="37946"/>
                </a:cubicBezTo>
                <a:cubicBezTo>
                  <a:pt x="9973" y="35949"/>
                  <a:pt x="11967" y="35949"/>
                  <a:pt x="11967" y="35949"/>
                </a:cubicBezTo>
                <a:cubicBezTo>
                  <a:pt x="13962" y="35949"/>
                  <a:pt x="15956" y="35949"/>
                  <a:pt x="15956" y="35949"/>
                </a:cubicBezTo>
                <a:cubicBezTo>
                  <a:pt x="17951" y="33952"/>
                  <a:pt x="15956" y="33952"/>
                  <a:pt x="17951" y="33952"/>
                </a:cubicBezTo>
                <a:cubicBezTo>
                  <a:pt x="19945" y="33952"/>
                  <a:pt x="21940" y="33952"/>
                  <a:pt x="21940" y="35949"/>
                </a:cubicBezTo>
                <a:cubicBezTo>
                  <a:pt x="23934" y="35949"/>
                  <a:pt x="25929" y="35949"/>
                  <a:pt x="25929" y="35949"/>
                </a:cubicBezTo>
                <a:cubicBezTo>
                  <a:pt x="25929" y="35949"/>
                  <a:pt x="29918" y="35949"/>
                  <a:pt x="29918" y="35949"/>
                </a:cubicBezTo>
                <a:cubicBezTo>
                  <a:pt x="29918" y="35949"/>
                  <a:pt x="29918" y="37946"/>
                  <a:pt x="31913" y="37946"/>
                </a:cubicBezTo>
                <a:cubicBezTo>
                  <a:pt x="33907" y="37946"/>
                  <a:pt x="35902" y="37946"/>
                  <a:pt x="37896" y="37946"/>
                </a:cubicBezTo>
                <a:cubicBezTo>
                  <a:pt x="37896" y="37946"/>
                  <a:pt x="37896" y="41941"/>
                  <a:pt x="41886" y="41941"/>
                </a:cubicBezTo>
                <a:cubicBezTo>
                  <a:pt x="41886" y="41941"/>
                  <a:pt x="45875" y="39943"/>
                  <a:pt x="45875" y="37946"/>
                </a:cubicBezTo>
                <a:cubicBezTo>
                  <a:pt x="47869" y="37946"/>
                  <a:pt x="49864" y="37946"/>
                  <a:pt x="51859" y="37946"/>
                </a:cubicBezTo>
                <a:cubicBezTo>
                  <a:pt x="53853" y="37946"/>
                  <a:pt x="53853" y="39943"/>
                  <a:pt x="55848" y="37946"/>
                </a:cubicBezTo>
                <a:cubicBezTo>
                  <a:pt x="55848" y="37946"/>
                  <a:pt x="59837" y="37946"/>
                  <a:pt x="59837" y="37946"/>
                </a:cubicBezTo>
                <a:cubicBezTo>
                  <a:pt x="61831" y="37946"/>
                  <a:pt x="67815" y="33952"/>
                  <a:pt x="67815" y="33952"/>
                </a:cubicBezTo>
                <a:cubicBezTo>
                  <a:pt x="67815" y="33952"/>
                  <a:pt x="71804" y="31955"/>
                  <a:pt x="73799" y="29958"/>
                </a:cubicBezTo>
                <a:cubicBezTo>
                  <a:pt x="73799" y="29958"/>
                  <a:pt x="75793" y="27960"/>
                  <a:pt x="77788" y="27960"/>
                </a:cubicBezTo>
                <a:cubicBezTo>
                  <a:pt x="77788" y="27960"/>
                  <a:pt x="81777" y="27960"/>
                  <a:pt x="81777" y="29958"/>
                </a:cubicBezTo>
                <a:cubicBezTo>
                  <a:pt x="81777" y="29958"/>
                  <a:pt x="85766" y="31955"/>
                  <a:pt x="87761" y="31955"/>
                </a:cubicBezTo>
                <a:cubicBezTo>
                  <a:pt x="89755" y="29958"/>
                  <a:pt x="93744" y="29958"/>
                  <a:pt x="93744" y="29958"/>
                </a:cubicBezTo>
                <a:cubicBezTo>
                  <a:pt x="95739" y="27960"/>
                  <a:pt x="101722" y="25963"/>
                  <a:pt x="101722" y="21969"/>
                </a:cubicBezTo>
                <a:cubicBezTo>
                  <a:pt x="101722" y="21969"/>
                  <a:pt x="99728" y="15977"/>
                  <a:pt x="101722" y="15977"/>
                </a:cubicBezTo>
                <a:cubicBezTo>
                  <a:pt x="103717" y="13980"/>
                  <a:pt x="105711" y="15977"/>
                  <a:pt x="105711" y="13980"/>
                </a:cubicBezTo>
                <a:cubicBezTo>
                  <a:pt x="105711" y="13980"/>
                  <a:pt x="105711" y="13980"/>
                  <a:pt x="107706" y="11983"/>
                </a:cubicBezTo>
                <a:cubicBezTo>
                  <a:pt x="107706" y="11983"/>
                  <a:pt x="109701" y="11983"/>
                  <a:pt x="109701" y="11983"/>
                </a:cubicBezTo>
                <a:cubicBezTo>
                  <a:pt x="113690" y="11983"/>
                  <a:pt x="113690" y="11983"/>
                  <a:pt x="115684" y="9986"/>
                </a:cubicBezTo>
                <a:cubicBezTo>
                  <a:pt x="117679" y="9986"/>
                  <a:pt x="117679" y="7989"/>
                  <a:pt x="119673" y="5991"/>
                </a:cubicBezTo>
                <a:cubicBezTo>
                  <a:pt x="121668" y="3994"/>
                  <a:pt x="123662" y="1997"/>
                  <a:pt x="125657" y="1997"/>
                </a:cubicBezTo>
                <a:cubicBezTo>
                  <a:pt x="127652" y="0"/>
                  <a:pt x="131641" y="0"/>
                  <a:pt x="133635"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3" name="Slovakia"/>
          <p:cNvSpPr>
            <a:spLocks/>
          </p:cNvSpPr>
          <p:nvPr/>
        </p:nvSpPr>
        <p:spPr bwMode="auto">
          <a:xfrm>
            <a:off x="6620816" y="2363853"/>
            <a:ext cx="137188" cy="89825"/>
          </a:xfrm>
          <a:custGeom>
            <a:avLst/>
            <a:gdLst>
              <a:gd name="T0" fmla="*/ 64 w 67"/>
              <a:gd name="T1" fmla="*/ 20 h 44"/>
              <a:gd name="T2" fmla="*/ 63 w 67"/>
              <a:gd name="T3" fmla="*/ 15 h 44"/>
              <a:gd name="T4" fmla="*/ 57 w 67"/>
              <a:gd name="T5" fmla="*/ 13 h 44"/>
              <a:gd name="T6" fmla="*/ 50 w 67"/>
              <a:gd name="T7" fmla="*/ 14 h 44"/>
              <a:gd name="T8" fmla="*/ 44 w 67"/>
              <a:gd name="T9" fmla="*/ 13 h 44"/>
              <a:gd name="T10" fmla="*/ 40 w 67"/>
              <a:gd name="T11" fmla="*/ 15 h 44"/>
              <a:gd name="T12" fmla="*/ 36 w 67"/>
              <a:gd name="T13" fmla="*/ 12 h 44"/>
              <a:gd name="T14" fmla="*/ 30 w 67"/>
              <a:gd name="T15" fmla="*/ 11 h 44"/>
              <a:gd name="T16" fmla="*/ 22 w 67"/>
              <a:gd name="T17" fmla="*/ 12 h 44"/>
              <a:gd name="T18" fmla="*/ 21 w 67"/>
              <a:gd name="T19" fmla="*/ 7 h 44"/>
              <a:gd name="T20" fmla="*/ 19 w 67"/>
              <a:gd name="T21" fmla="*/ 2 h 44"/>
              <a:gd name="T22" fmla="*/ 17 w 67"/>
              <a:gd name="T23" fmla="*/ 1 h 44"/>
              <a:gd name="T24" fmla="*/ 11 w 67"/>
              <a:gd name="T25" fmla="*/ 0 h 44"/>
              <a:gd name="T26" fmla="*/ 8 w 67"/>
              <a:gd name="T27" fmla="*/ 6 h 44"/>
              <a:gd name="T28" fmla="*/ 7 w 67"/>
              <a:gd name="T29" fmla="*/ 15 h 44"/>
              <a:gd name="T30" fmla="*/ 3 w 67"/>
              <a:gd name="T31" fmla="*/ 22 h 44"/>
              <a:gd name="T32" fmla="*/ 2 w 67"/>
              <a:gd name="T33" fmla="*/ 32 h 44"/>
              <a:gd name="T34" fmla="*/ 4 w 67"/>
              <a:gd name="T35" fmla="*/ 35 h 44"/>
              <a:gd name="T36" fmla="*/ 8 w 67"/>
              <a:gd name="T37" fmla="*/ 39 h 44"/>
              <a:gd name="T38" fmla="*/ 14 w 67"/>
              <a:gd name="T39" fmla="*/ 41 h 44"/>
              <a:gd name="T40" fmla="*/ 21 w 67"/>
              <a:gd name="T41" fmla="*/ 44 h 44"/>
              <a:gd name="T42" fmla="*/ 27 w 67"/>
              <a:gd name="T43" fmla="*/ 42 h 44"/>
              <a:gd name="T44" fmla="*/ 29 w 67"/>
              <a:gd name="T45" fmla="*/ 36 h 44"/>
              <a:gd name="T46" fmla="*/ 32 w 67"/>
              <a:gd name="T47" fmla="*/ 33 h 44"/>
              <a:gd name="T48" fmla="*/ 40 w 67"/>
              <a:gd name="T49" fmla="*/ 34 h 44"/>
              <a:gd name="T50" fmla="*/ 43 w 67"/>
              <a:gd name="T51" fmla="*/ 33 h 44"/>
              <a:gd name="T52" fmla="*/ 47 w 67"/>
              <a:gd name="T53" fmla="*/ 29 h 44"/>
              <a:gd name="T54" fmla="*/ 52 w 67"/>
              <a:gd name="T55" fmla="*/ 29 h 44"/>
              <a:gd name="T56" fmla="*/ 57 w 67"/>
              <a:gd name="T57" fmla="*/ 31 h 44"/>
              <a:gd name="T58" fmla="*/ 61 w 67"/>
              <a:gd name="T59" fmla="*/ 34 h 44"/>
              <a:gd name="T60" fmla="*/ 65 w 67"/>
              <a:gd name="T61" fmla="*/ 32 h 44"/>
              <a:gd name="T62" fmla="*/ 65 w 67"/>
              <a:gd name="T63" fmla="*/ 28 h 44"/>
              <a:gd name="T64" fmla="*/ 67 w 67"/>
              <a:gd name="T6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4">
                <a:moveTo>
                  <a:pt x="67" y="22"/>
                </a:moveTo>
                <a:cubicBezTo>
                  <a:pt x="67" y="22"/>
                  <a:pt x="65" y="21"/>
                  <a:pt x="64" y="20"/>
                </a:cubicBezTo>
                <a:cubicBezTo>
                  <a:pt x="64" y="20"/>
                  <a:pt x="64" y="18"/>
                  <a:pt x="64" y="17"/>
                </a:cubicBezTo>
                <a:cubicBezTo>
                  <a:pt x="63" y="17"/>
                  <a:pt x="63" y="15"/>
                  <a:pt x="63" y="15"/>
                </a:cubicBezTo>
                <a:cubicBezTo>
                  <a:pt x="63" y="15"/>
                  <a:pt x="61" y="16"/>
                  <a:pt x="61" y="16"/>
                </a:cubicBezTo>
                <a:cubicBezTo>
                  <a:pt x="60" y="16"/>
                  <a:pt x="58" y="14"/>
                  <a:pt x="57" y="13"/>
                </a:cubicBezTo>
                <a:cubicBezTo>
                  <a:pt x="56" y="12"/>
                  <a:pt x="54" y="11"/>
                  <a:pt x="53" y="11"/>
                </a:cubicBezTo>
                <a:cubicBezTo>
                  <a:pt x="53" y="11"/>
                  <a:pt x="51" y="13"/>
                  <a:pt x="50" y="14"/>
                </a:cubicBezTo>
                <a:cubicBezTo>
                  <a:pt x="50" y="14"/>
                  <a:pt x="48" y="16"/>
                  <a:pt x="47" y="16"/>
                </a:cubicBezTo>
                <a:cubicBezTo>
                  <a:pt x="46" y="15"/>
                  <a:pt x="46" y="13"/>
                  <a:pt x="44" y="13"/>
                </a:cubicBezTo>
                <a:cubicBezTo>
                  <a:pt x="43" y="12"/>
                  <a:pt x="41" y="12"/>
                  <a:pt x="40" y="13"/>
                </a:cubicBezTo>
                <a:cubicBezTo>
                  <a:pt x="40" y="13"/>
                  <a:pt x="41" y="15"/>
                  <a:pt x="40" y="15"/>
                </a:cubicBezTo>
                <a:cubicBezTo>
                  <a:pt x="39" y="15"/>
                  <a:pt x="39" y="15"/>
                  <a:pt x="38" y="14"/>
                </a:cubicBezTo>
                <a:cubicBezTo>
                  <a:pt x="37" y="14"/>
                  <a:pt x="37" y="12"/>
                  <a:pt x="36" y="12"/>
                </a:cubicBezTo>
                <a:cubicBezTo>
                  <a:pt x="36" y="12"/>
                  <a:pt x="35" y="11"/>
                  <a:pt x="34" y="11"/>
                </a:cubicBezTo>
                <a:cubicBezTo>
                  <a:pt x="33" y="11"/>
                  <a:pt x="31" y="10"/>
                  <a:pt x="30" y="11"/>
                </a:cubicBezTo>
                <a:cubicBezTo>
                  <a:pt x="29" y="12"/>
                  <a:pt x="29" y="14"/>
                  <a:pt x="27" y="14"/>
                </a:cubicBezTo>
                <a:cubicBezTo>
                  <a:pt x="25" y="14"/>
                  <a:pt x="22" y="12"/>
                  <a:pt x="22" y="12"/>
                </a:cubicBezTo>
                <a:cubicBezTo>
                  <a:pt x="22" y="12"/>
                  <a:pt x="22" y="10"/>
                  <a:pt x="22" y="10"/>
                </a:cubicBezTo>
                <a:cubicBezTo>
                  <a:pt x="22" y="9"/>
                  <a:pt x="21" y="7"/>
                  <a:pt x="21" y="7"/>
                </a:cubicBezTo>
                <a:cubicBezTo>
                  <a:pt x="21" y="7"/>
                  <a:pt x="19" y="6"/>
                  <a:pt x="19" y="5"/>
                </a:cubicBezTo>
                <a:cubicBezTo>
                  <a:pt x="19" y="4"/>
                  <a:pt x="19" y="2"/>
                  <a:pt x="19" y="2"/>
                </a:cubicBezTo>
                <a:cubicBezTo>
                  <a:pt x="17" y="3"/>
                  <a:pt x="17" y="3"/>
                  <a:pt x="17" y="3"/>
                </a:cubicBezTo>
                <a:cubicBezTo>
                  <a:pt x="17" y="1"/>
                  <a:pt x="17" y="1"/>
                  <a:pt x="17" y="1"/>
                </a:cubicBezTo>
                <a:cubicBezTo>
                  <a:pt x="17" y="1"/>
                  <a:pt x="14" y="1"/>
                  <a:pt x="14" y="1"/>
                </a:cubicBezTo>
                <a:cubicBezTo>
                  <a:pt x="13" y="1"/>
                  <a:pt x="11" y="0"/>
                  <a:pt x="11" y="0"/>
                </a:cubicBezTo>
                <a:cubicBezTo>
                  <a:pt x="11" y="0"/>
                  <a:pt x="9" y="2"/>
                  <a:pt x="9" y="3"/>
                </a:cubicBezTo>
                <a:cubicBezTo>
                  <a:pt x="9" y="4"/>
                  <a:pt x="8" y="5"/>
                  <a:pt x="8" y="6"/>
                </a:cubicBezTo>
                <a:cubicBezTo>
                  <a:pt x="8" y="7"/>
                  <a:pt x="7" y="9"/>
                  <a:pt x="7" y="10"/>
                </a:cubicBezTo>
                <a:cubicBezTo>
                  <a:pt x="7" y="12"/>
                  <a:pt x="7" y="14"/>
                  <a:pt x="7" y="15"/>
                </a:cubicBezTo>
                <a:cubicBezTo>
                  <a:pt x="7" y="16"/>
                  <a:pt x="6" y="19"/>
                  <a:pt x="6" y="20"/>
                </a:cubicBezTo>
                <a:cubicBezTo>
                  <a:pt x="5" y="20"/>
                  <a:pt x="4" y="21"/>
                  <a:pt x="3" y="22"/>
                </a:cubicBezTo>
                <a:cubicBezTo>
                  <a:pt x="2" y="24"/>
                  <a:pt x="1" y="28"/>
                  <a:pt x="0" y="29"/>
                </a:cubicBezTo>
                <a:cubicBezTo>
                  <a:pt x="1" y="28"/>
                  <a:pt x="2" y="31"/>
                  <a:pt x="2" y="32"/>
                </a:cubicBezTo>
                <a:cubicBezTo>
                  <a:pt x="2" y="33"/>
                  <a:pt x="4" y="33"/>
                  <a:pt x="4" y="34"/>
                </a:cubicBezTo>
                <a:cubicBezTo>
                  <a:pt x="4" y="35"/>
                  <a:pt x="4" y="35"/>
                  <a:pt x="4" y="35"/>
                </a:cubicBezTo>
                <a:cubicBezTo>
                  <a:pt x="4" y="35"/>
                  <a:pt x="6" y="37"/>
                  <a:pt x="7" y="37"/>
                </a:cubicBezTo>
                <a:cubicBezTo>
                  <a:pt x="8" y="38"/>
                  <a:pt x="8" y="39"/>
                  <a:pt x="8" y="39"/>
                </a:cubicBezTo>
                <a:cubicBezTo>
                  <a:pt x="8" y="39"/>
                  <a:pt x="10" y="41"/>
                  <a:pt x="10" y="41"/>
                </a:cubicBezTo>
                <a:cubicBezTo>
                  <a:pt x="11" y="42"/>
                  <a:pt x="13" y="41"/>
                  <a:pt x="14" y="41"/>
                </a:cubicBezTo>
                <a:cubicBezTo>
                  <a:pt x="15" y="41"/>
                  <a:pt x="16" y="43"/>
                  <a:pt x="17" y="42"/>
                </a:cubicBezTo>
                <a:cubicBezTo>
                  <a:pt x="18" y="42"/>
                  <a:pt x="21" y="44"/>
                  <a:pt x="21" y="44"/>
                </a:cubicBezTo>
                <a:cubicBezTo>
                  <a:pt x="23" y="44"/>
                  <a:pt x="25" y="44"/>
                  <a:pt x="25" y="44"/>
                </a:cubicBezTo>
                <a:cubicBezTo>
                  <a:pt x="26" y="43"/>
                  <a:pt x="27" y="43"/>
                  <a:pt x="27" y="42"/>
                </a:cubicBezTo>
                <a:cubicBezTo>
                  <a:pt x="27" y="41"/>
                  <a:pt x="26" y="40"/>
                  <a:pt x="26" y="39"/>
                </a:cubicBezTo>
                <a:cubicBezTo>
                  <a:pt x="26" y="38"/>
                  <a:pt x="28" y="37"/>
                  <a:pt x="29" y="36"/>
                </a:cubicBezTo>
                <a:cubicBezTo>
                  <a:pt x="30" y="36"/>
                  <a:pt x="30" y="36"/>
                  <a:pt x="31" y="35"/>
                </a:cubicBezTo>
                <a:cubicBezTo>
                  <a:pt x="32" y="34"/>
                  <a:pt x="31" y="33"/>
                  <a:pt x="32" y="33"/>
                </a:cubicBezTo>
                <a:cubicBezTo>
                  <a:pt x="34" y="34"/>
                  <a:pt x="35" y="35"/>
                  <a:pt x="36" y="34"/>
                </a:cubicBezTo>
                <a:cubicBezTo>
                  <a:pt x="37" y="34"/>
                  <a:pt x="39" y="34"/>
                  <a:pt x="40" y="34"/>
                </a:cubicBezTo>
                <a:cubicBezTo>
                  <a:pt x="41" y="34"/>
                  <a:pt x="40" y="34"/>
                  <a:pt x="41" y="33"/>
                </a:cubicBezTo>
                <a:cubicBezTo>
                  <a:pt x="42" y="33"/>
                  <a:pt x="43" y="33"/>
                  <a:pt x="43" y="33"/>
                </a:cubicBezTo>
                <a:cubicBezTo>
                  <a:pt x="44" y="32"/>
                  <a:pt x="45" y="33"/>
                  <a:pt x="46" y="32"/>
                </a:cubicBezTo>
                <a:cubicBezTo>
                  <a:pt x="46" y="31"/>
                  <a:pt x="46" y="30"/>
                  <a:pt x="47" y="29"/>
                </a:cubicBezTo>
                <a:cubicBezTo>
                  <a:pt x="47" y="28"/>
                  <a:pt x="49" y="27"/>
                  <a:pt x="49" y="27"/>
                </a:cubicBezTo>
                <a:cubicBezTo>
                  <a:pt x="50" y="27"/>
                  <a:pt x="52" y="28"/>
                  <a:pt x="52" y="29"/>
                </a:cubicBezTo>
                <a:cubicBezTo>
                  <a:pt x="52" y="29"/>
                  <a:pt x="52" y="30"/>
                  <a:pt x="53" y="30"/>
                </a:cubicBezTo>
                <a:cubicBezTo>
                  <a:pt x="55" y="30"/>
                  <a:pt x="56" y="31"/>
                  <a:pt x="57" y="31"/>
                </a:cubicBezTo>
                <a:cubicBezTo>
                  <a:pt x="57" y="32"/>
                  <a:pt x="58" y="32"/>
                  <a:pt x="59" y="33"/>
                </a:cubicBezTo>
                <a:cubicBezTo>
                  <a:pt x="60" y="33"/>
                  <a:pt x="60" y="34"/>
                  <a:pt x="61" y="34"/>
                </a:cubicBezTo>
                <a:cubicBezTo>
                  <a:pt x="62" y="34"/>
                  <a:pt x="64" y="34"/>
                  <a:pt x="64" y="33"/>
                </a:cubicBezTo>
                <a:cubicBezTo>
                  <a:pt x="64" y="33"/>
                  <a:pt x="65" y="32"/>
                  <a:pt x="65" y="32"/>
                </a:cubicBezTo>
                <a:cubicBezTo>
                  <a:pt x="65" y="32"/>
                  <a:pt x="64" y="32"/>
                  <a:pt x="64" y="32"/>
                </a:cubicBezTo>
                <a:cubicBezTo>
                  <a:pt x="64" y="31"/>
                  <a:pt x="65" y="28"/>
                  <a:pt x="65" y="28"/>
                </a:cubicBezTo>
                <a:cubicBezTo>
                  <a:pt x="65" y="28"/>
                  <a:pt x="66" y="27"/>
                  <a:pt x="66" y="26"/>
                </a:cubicBezTo>
                <a:cubicBezTo>
                  <a:pt x="66" y="25"/>
                  <a:pt x="67" y="22"/>
                  <a:pt x="67" y="22"/>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4" name="Hungary"/>
          <p:cNvSpPr>
            <a:spLocks/>
          </p:cNvSpPr>
          <p:nvPr/>
        </p:nvSpPr>
        <p:spPr bwMode="auto">
          <a:xfrm>
            <a:off x="6609384" y="2419383"/>
            <a:ext cx="151887" cy="107790"/>
          </a:xfrm>
          <a:custGeom>
            <a:avLst/>
            <a:gdLst>
              <a:gd name="T0" fmla="*/ 74 w 74"/>
              <a:gd name="T1" fmla="*/ 12 h 53"/>
              <a:gd name="T2" fmla="*/ 73 w 74"/>
              <a:gd name="T3" fmla="*/ 9 h 53"/>
              <a:gd name="T4" fmla="*/ 72 w 74"/>
              <a:gd name="T5" fmla="*/ 8 h 53"/>
              <a:gd name="T6" fmla="*/ 71 w 74"/>
              <a:gd name="T7" fmla="*/ 6 h 53"/>
              <a:gd name="T8" fmla="*/ 70 w 74"/>
              <a:gd name="T9" fmla="*/ 5 h 53"/>
              <a:gd name="T10" fmla="*/ 69 w 74"/>
              <a:gd name="T11" fmla="*/ 6 h 53"/>
              <a:gd name="T12" fmla="*/ 66 w 74"/>
              <a:gd name="T13" fmla="*/ 7 h 53"/>
              <a:gd name="T14" fmla="*/ 64 w 74"/>
              <a:gd name="T15" fmla="*/ 6 h 53"/>
              <a:gd name="T16" fmla="*/ 62 w 74"/>
              <a:gd name="T17" fmla="*/ 4 h 53"/>
              <a:gd name="T18" fmla="*/ 58 w 74"/>
              <a:gd name="T19" fmla="*/ 3 h 53"/>
              <a:gd name="T20" fmla="*/ 57 w 74"/>
              <a:gd name="T21" fmla="*/ 2 h 53"/>
              <a:gd name="T22" fmla="*/ 54 w 74"/>
              <a:gd name="T23" fmla="*/ 0 h 53"/>
              <a:gd name="T24" fmla="*/ 52 w 74"/>
              <a:gd name="T25" fmla="*/ 2 h 53"/>
              <a:gd name="T26" fmla="*/ 51 w 74"/>
              <a:gd name="T27" fmla="*/ 5 h 53"/>
              <a:gd name="T28" fmla="*/ 48 w 74"/>
              <a:gd name="T29" fmla="*/ 6 h 53"/>
              <a:gd name="T30" fmla="*/ 46 w 74"/>
              <a:gd name="T31" fmla="*/ 6 h 53"/>
              <a:gd name="T32" fmla="*/ 45 w 74"/>
              <a:gd name="T33" fmla="*/ 7 h 53"/>
              <a:gd name="T34" fmla="*/ 41 w 74"/>
              <a:gd name="T35" fmla="*/ 7 h 53"/>
              <a:gd name="T36" fmla="*/ 37 w 74"/>
              <a:gd name="T37" fmla="*/ 6 h 53"/>
              <a:gd name="T38" fmla="*/ 36 w 74"/>
              <a:gd name="T39" fmla="*/ 8 h 53"/>
              <a:gd name="T40" fmla="*/ 34 w 74"/>
              <a:gd name="T41" fmla="*/ 9 h 53"/>
              <a:gd name="T42" fmla="*/ 31 w 74"/>
              <a:gd name="T43" fmla="*/ 12 h 53"/>
              <a:gd name="T44" fmla="*/ 32 w 74"/>
              <a:gd name="T45" fmla="*/ 15 h 53"/>
              <a:gd name="T46" fmla="*/ 30 w 74"/>
              <a:gd name="T47" fmla="*/ 17 h 53"/>
              <a:gd name="T48" fmla="*/ 26 w 74"/>
              <a:gd name="T49" fmla="*/ 17 h 53"/>
              <a:gd name="T50" fmla="*/ 22 w 74"/>
              <a:gd name="T51" fmla="*/ 15 h 53"/>
              <a:gd name="T52" fmla="*/ 19 w 74"/>
              <a:gd name="T53" fmla="*/ 14 h 53"/>
              <a:gd name="T54" fmla="*/ 15 w 74"/>
              <a:gd name="T55" fmla="*/ 14 h 53"/>
              <a:gd name="T56" fmla="*/ 13 w 74"/>
              <a:gd name="T57" fmla="*/ 12 h 53"/>
              <a:gd name="T58" fmla="*/ 12 w 74"/>
              <a:gd name="T59" fmla="*/ 13 h 53"/>
              <a:gd name="T60" fmla="*/ 12 w 74"/>
              <a:gd name="T61" fmla="*/ 14 h 53"/>
              <a:gd name="T62" fmla="*/ 13 w 74"/>
              <a:gd name="T63" fmla="*/ 15 h 53"/>
              <a:gd name="T64" fmla="*/ 10 w 74"/>
              <a:gd name="T65" fmla="*/ 18 h 53"/>
              <a:gd name="T66" fmla="*/ 6 w 74"/>
              <a:gd name="T67" fmla="*/ 19 h 53"/>
              <a:gd name="T68" fmla="*/ 5 w 74"/>
              <a:gd name="T69" fmla="*/ 22 h 53"/>
              <a:gd name="T70" fmla="*/ 3 w 74"/>
              <a:gd name="T71" fmla="*/ 24 h 53"/>
              <a:gd name="T72" fmla="*/ 4 w 74"/>
              <a:gd name="T73" fmla="*/ 26 h 53"/>
              <a:gd name="T74" fmla="*/ 3 w 74"/>
              <a:gd name="T75" fmla="*/ 27 h 53"/>
              <a:gd name="T76" fmla="*/ 3 w 74"/>
              <a:gd name="T77" fmla="*/ 28 h 53"/>
              <a:gd name="T78" fmla="*/ 1 w 74"/>
              <a:gd name="T79" fmla="*/ 28 h 53"/>
              <a:gd name="T80" fmla="*/ 2 w 74"/>
              <a:gd name="T81" fmla="*/ 31 h 53"/>
              <a:gd name="T82" fmla="*/ 1 w 74"/>
              <a:gd name="T83" fmla="*/ 33 h 53"/>
              <a:gd name="T84" fmla="*/ 0 w 74"/>
              <a:gd name="T85" fmla="*/ 36 h 53"/>
              <a:gd name="T86" fmla="*/ 3 w 74"/>
              <a:gd name="T87" fmla="*/ 40 h 53"/>
              <a:gd name="T88" fmla="*/ 5 w 74"/>
              <a:gd name="T89" fmla="*/ 42 h 53"/>
              <a:gd name="T90" fmla="*/ 9 w 74"/>
              <a:gd name="T91" fmla="*/ 46 h 53"/>
              <a:gd name="T92" fmla="*/ 14 w 74"/>
              <a:gd name="T93" fmla="*/ 50 h 53"/>
              <a:gd name="T94" fmla="*/ 18 w 74"/>
              <a:gd name="T95" fmla="*/ 52 h 53"/>
              <a:gd name="T96" fmla="*/ 27 w 74"/>
              <a:gd name="T97" fmla="*/ 53 h 53"/>
              <a:gd name="T98" fmla="*/ 32 w 74"/>
              <a:gd name="T99" fmla="*/ 51 h 53"/>
              <a:gd name="T100" fmla="*/ 35 w 74"/>
              <a:gd name="T101" fmla="*/ 48 h 53"/>
              <a:gd name="T102" fmla="*/ 40 w 74"/>
              <a:gd name="T103" fmla="*/ 48 h 53"/>
              <a:gd name="T104" fmla="*/ 46 w 74"/>
              <a:gd name="T105" fmla="*/ 47 h 53"/>
              <a:gd name="T106" fmla="*/ 50 w 74"/>
              <a:gd name="T107" fmla="*/ 48 h 53"/>
              <a:gd name="T108" fmla="*/ 50 w 74"/>
              <a:gd name="T109" fmla="*/ 47 h 53"/>
              <a:gd name="T110" fmla="*/ 53 w 74"/>
              <a:gd name="T111" fmla="*/ 46 h 53"/>
              <a:gd name="T112" fmla="*/ 57 w 74"/>
              <a:gd name="T113" fmla="*/ 44 h 53"/>
              <a:gd name="T114" fmla="*/ 61 w 74"/>
              <a:gd name="T115" fmla="*/ 41 h 53"/>
              <a:gd name="T116" fmla="*/ 62 w 74"/>
              <a:gd name="T117" fmla="*/ 36 h 53"/>
              <a:gd name="T118" fmla="*/ 66 w 74"/>
              <a:gd name="T119" fmla="*/ 28 h 53"/>
              <a:gd name="T120" fmla="*/ 70 w 74"/>
              <a:gd name="T121" fmla="*/ 23 h 53"/>
              <a:gd name="T122" fmla="*/ 73 w 74"/>
              <a:gd name="T123" fmla="*/ 18 h 53"/>
              <a:gd name="T124" fmla="*/ 74 w 74"/>
              <a:gd name="T125"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53">
                <a:moveTo>
                  <a:pt x="74" y="12"/>
                </a:moveTo>
                <a:cubicBezTo>
                  <a:pt x="73" y="9"/>
                  <a:pt x="73" y="9"/>
                  <a:pt x="73" y="9"/>
                </a:cubicBezTo>
                <a:cubicBezTo>
                  <a:pt x="72" y="8"/>
                  <a:pt x="72" y="8"/>
                  <a:pt x="72" y="8"/>
                </a:cubicBezTo>
                <a:cubicBezTo>
                  <a:pt x="71" y="6"/>
                  <a:pt x="71" y="6"/>
                  <a:pt x="71" y="6"/>
                </a:cubicBezTo>
                <a:cubicBezTo>
                  <a:pt x="71" y="6"/>
                  <a:pt x="70" y="6"/>
                  <a:pt x="70" y="5"/>
                </a:cubicBezTo>
                <a:cubicBezTo>
                  <a:pt x="70" y="5"/>
                  <a:pt x="69" y="6"/>
                  <a:pt x="69" y="6"/>
                </a:cubicBezTo>
                <a:cubicBezTo>
                  <a:pt x="69" y="7"/>
                  <a:pt x="67" y="7"/>
                  <a:pt x="66" y="7"/>
                </a:cubicBezTo>
                <a:cubicBezTo>
                  <a:pt x="65" y="7"/>
                  <a:pt x="65" y="6"/>
                  <a:pt x="64" y="6"/>
                </a:cubicBezTo>
                <a:cubicBezTo>
                  <a:pt x="63" y="5"/>
                  <a:pt x="62" y="5"/>
                  <a:pt x="62" y="4"/>
                </a:cubicBezTo>
                <a:cubicBezTo>
                  <a:pt x="61" y="4"/>
                  <a:pt x="60" y="3"/>
                  <a:pt x="58" y="3"/>
                </a:cubicBezTo>
                <a:cubicBezTo>
                  <a:pt x="57" y="3"/>
                  <a:pt x="57" y="2"/>
                  <a:pt x="57" y="2"/>
                </a:cubicBezTo>
                <a:cubicBezTo>
                  <a:pt x="57" y="1"/>
                  <a:pt x="55" y="0"/>
                  <a:pt x="54" y="0"/>
                </a:cubicBezTo>
                <a:cubicBezTo>
                  <a:pt x="54" y="0"/>
                  <a:pt x="52" y="1"/>
                  <a:pt x="52" y="2"/>
                </a:cubicBezTo>
                <a:cubicBezTo>
                  <a:pt x="51" y="3"/>
                  <a:pt x="51" y="4"/>
                  <a:pt x="51" y="5"/>
                </a:cubicBezTo>
                <a:cubicBezTo>
                  <a:pt x="50" y="6"/>
                  <a:pt x="49" y="5"/>
                  <a:pt x="48" y="6"/>
                </a:cubicBezTo>
                <a:cubicBezTo>
                  <a:pt x="48" y="6"/>
                  <a:pt x="47" y="6"/>
                  <a:pt x="46" y="6"/>
                </a:cubicBezTo>
                <a:cubicBezTo>
                  <a:pt x="45" y="7"/>
                  <a:pt x="46" y="7"/>
                  <a:pt x="45" y="7"/>
                </a:cubicBezTo>
                <a:cubicBezTo>
                  <a:pt x="44" y="7"/>
                  <a:pt x="42" y="7"/>
                  <a:pt x="41" y="7"/>
                </a:cubicBezTo>
                <a:cubicBezTo>
                  <a:pt x="40" y="8"/>
                  <a:pt x="39" y="7"/>
                  <a:pt x="37" y="6"/>
                </a:cubicBezTo>
                <a:cubicBezTo>
                  <a:pt x="36" y="6"/>
                  <a:pt x="37" y="7"/>
                  <a:pt x="36" y="8"/>
                </a:cubicBezTo>
                <a:cubicBezTo>
                  <a:pt x="35" y="9"/>
                  <a:pt x="35" y="9"/>
                  <a:pt x="34" y="9"/>
                </a:cubicBezTo>
                <a:cubicBezTo>
                  <a:pt x="33" y="10"/>
                  <a:pt x="31" y="11"/>
                  <a:pt x="31" y="12"/>
                </a:cubicBezTo>
                <a:cubicBezTo>
                  <a:pt x="31" y="13"/>
                  <a:pt x="32" y="14"/>
                  <a:pt x="32" y="15"/>
                </a:cubicBezTo>
                <a:cubicBezTo>
                  <a:pt x="32" y="16"/>
                  <a:pt x="31" y="16"/>
                  <a:pt x="30" y="17"/>
                </a:cubicBezTo>
                <a:cubicBezTo>
                  <a:pt x="30" y="17"/>
                  <a:pt x="28" y="17"/>
                  <a:pt x="26" y="17"/>
                </a:cubicBezTo>
                <a:cubicBezTo>
                  <a:pt x="26" y="17"/>
                  <a:pt x="23" y="15"/>
                  <a:pt x="22" y="15"/>
                </a:cubicBezTo>
                <a:cubicBezTo>
                  <a:pt x="21" y="16"/>
                  <a:pt x="20" y="14"/>
                  <a:pt x="19" y="14"/>
                </a:cubicBezTo>
                <a:cubicBezTo>
                  <a:pt x="18" y="14"/>
                  <a:pt x="16" y="15"/>
                  <a:pt x="15" y="14"/>
                </a:cubicBezTo>
                <a:cubicBezTo>
                  <a:pt x="15" y="14"/>
                  <a:pt x="13" y="12"/>
                  <a:pt x="13" y="12"/>
                </a:cubicBezTo>
                <a:cubicBezTo>
                  <a:pt x="13" y="12"/>
                  <a:pt x="12" y="12"/>
                  <a:pt x="12" y="13"/>
                </a:cubicBezTo>
                <a:cubicBezTo>
                  <a:pt x="12" y="14"/>
                  <a:pt x="12" y="14"/>
                  <a:pt x="12" y="14"/>
                </a:cubicBezTo>
                <a:cubicBezTo>
                  <a:pt x="12" y="14"/>
                  <a:pt x="13" y="14"/>
                  <a:pt x="13" y="15"/>
                </a:cubicBezTo>
                <a:cubicBezTo>
                  <a:pt x="13" y="16"/>
                  <a:pt x="11" y="17"/>
                  <a:pt x="10" y="18"/>
                </a:cubicBezTo>
                <a:cubicBezTo>
                  <a:pt x="9" y="19"/>
                  <a:pt x="8" y="19"/>
                  <a:pt x="6" y="19"/>
                </a:cubicBezTo>
                <a:cubicBezTo>
                  <a:pt x="5" y="20"/>
                  <a:pt x="5" y="22"/>
                  <a:pt x="5" y="22"/>
                </a:cubicBezTo>
                <a:cubicBezTo>
                  <a:pt x="4" y="23"/>
                  <a:pt x="3" y="23"/>
                  <a:pt x="3" y="24"/>
                </a:cubicBezTo>
                <a:cubicBezTo>
                  <a:pt x="3" y="25"/>
                  <a:pt x="4" y="25"/>
                  <a:pt x="4" y="26"/>
                </a:cubicBezTo>
                <a:cubicBezTo>
                  <a:pt x="4" y="26"/>
                  <a:pt x="3" y="27"/>
                  <a:pt x="3" y="27"/>
                </a:cubicBezTo>
                <a:cubicBezTo>
                  <a:pt x="3" y="28"/>
                  <a:pt x="3" y="28"/>
                  <a:pt x="3" y="28"/>
                </a:cubicBezTo>
                <a:cubicBezTo>
                  <a:pt x="2" y="29"/>
                  <a:pt x="1" y="28"/>
                  <a:pt x="1" y="28"/>
                </a:cubicBezTo>
                <a:cubicBezTo>
                  <a:pt x="1" y="29"/>
                  <a:pt x="1" y="30"/>
                  <a:pt x="2" y="31"/>
                </a:cubicBezTo>
                <a:cubicBezTo>
                  <a:pt x="2" y="32"/>
                  <a:pt x="1" y="32"/>
                  <a:pt x="1" y="33"/>
                </a:cubicBezTo>
                <a:cubicBezTo>
                  <a:pt x="0" y="34"/>
                  <a:pt x="0" y="36"/>
                  <a:pt x="0" y="36"/>
                </a:cubicBezTo>
                <a:cubicBezTo>
                  <a:pt x="3" y="40"/>
                  <a:pt x="3" y="40"/>
                  <a:pt x="3" y="40"/>
                </a:cubicBezTo>
                <a:cubicBezTo>
                  <a:pt x="5" y="42"/>
                  <a:pt x="5" y="42"/>
                  <a:pt x="5" y="42"/>
                </a:cubicBezTo>
                <a:cubicBezTo>
                  <a:pt x="9" y="46"/>
                  <a:pt x="9" y="46"/>
                  <a:pt x="9" y="46"/>
                </a:cubicBezTo>
                <a:cubicBezTo>
                  <a:pt x="9" y="46"/>
                  <a:pt x="13" y="50"/>
                  <a:pt x="14" y="50"/>
                </a:cubicBezTo>
                <a:cubicBezTo>
                  <a:pt x="15" y="51"/>
                  <a:pt x="18" y="52"/>
                  <a:pt x="18" y="52"/>
                </a:cubicBezTo>
                <a:cubicBezTo>
                  <a:pt x="27" y="53"/>
                  <a:pt x="27" y="53"/>
                  <a:pt x="27" y="53"/>
                </a:cubicBezTo>
                <a:cubicBezTo>
                  <a:pt x="27" y="53"/>
                  <a:pt x="31" y="51"/>
                  <a:pt x="32" y="51"/>
                </a:cubicBezTo>
                <a:cubicBezTo>
                  <a:pt x="33" y="50"/>
                  <a:pt x="35" y="49"/>
                  <a:pt x="35" y="48"/>
                </a:cubicBezTo>
                <a:cubicBezTo>
                  <a:pt x="36" y="48"/>
                  <a:pt x="40" y="49"/>
                  <a:pt x="40" y="48"/>
                </a:cubicBezTo>
                <a:cubicBezTo>
                  <a:pt x="41" y="48"/>
                  <a:pt x="45" y="47"/>
                  <a:pt x="46" y="47"/>
                </a:cubicBezTo>
                <a:cubicBezTo>
                  <a:pt x="47" y="47"/>
                  <a:pt x="50" y="48"/>
                  <a:pt x="50" y="48"/>
                </a:cubicBezTo>
                <a:cubicBezTo>
                  <a:pt x="50" y="47"/>
                  <a:pt x="50" y="47"/>
                  <a:pt x="50" y="47"/>
                </a:cubicBezTo>
                <a:cubicBezTo>
                  <a:pt x="51" y="47"/>
                  <a:pt x="52" y="46"/>
                  <a:pt x="53" y="46"/>
                </a:cubicBezTo>
                <a:cubicBezTo>
                  <a:pt x="53" y="46"/>
                  <a:pt x="56" y="45"/>
                  <a:pt x="57" y="44"/>
                </a:cubicBezTo>
                <a:cubicBezTo>
                  <a:pt x="59" y="43"/>
                  <a:pt x="60" y="42"/>
                  <a:pt x="61" y="41"/>
                </a:cubicBezTo>
                <a:cubicBezTo>
                  <a:pt x="62" y="40"/>
                  <a:pt x="62" y="36"/>
                  <a:pt x="62" y="36"/>
                </a:cubicBezTo>
                <a:cubicBezTo>
                  <a:pt x="66" y="28"/>
                  <a:pt x="66" y="28"/>
                  <a:pt x="66" y="28"/>
                </a:cubicBezTo>
                <a:cubicBezTo>
                  <a:pt x="66" y="28"/>
                  <a:pt x="69" y="24"/>
                  <a:pt x="70" y="23"/>
                </a:cubicBezTo>
                <a:cubicBezTo>
                  <a:pt x="71" y="21"/>
                  <a:pt x="73" y="19"/>
                  <a:pt x="73" y="18"/>
                </a:cubicBezTo>
                <a:cubicBezTo>
                  <a:pt x="74" y="17"/>
                  <a:pt x="74" y="12"/>
                  <a:pt x="74" y="12"/>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5" name="Montenegro"/>
          <p:cNvSpPr>
            <a:spLocks/>
          </p:cNvSpPr>
          <p:nvPr/>
        </p:nvSpPr>
        <p:spPr bwMode="auto">
          <a:xfrm>
            <a:off x="6655113" y="2618194"/>
            <a:ext cx="66573" cy="42899"/>
          </a:xfrm>
          <a:custGeom>
            <a:avLst/>
            <a:gdLst>
              <a:gd name="connsiteX0" fmla="*/ 15392 w 64710"/>
              <a:gd name="connsiteY0" fmla="*/ 0 h 41699"/>
              <a:gd name="connsiteX1" fmla="*/ 64293 w 64710"/>
              <a:gd name="connsiteY1" fmla="*/ 16300 h 41699"/>
              <a:gd name="connsiteX2" fmla="*/ 64710 w 64710"/>
              <a:gd name="connsiteY2" fmla="*/ 17610 h 41699"/>
              <a:gd name="connsiteX3" fmla="*/ 61972 w 64710"/>
              <a:gd name="connsiteY3" fmla="*/ 17820 h 41699"/>
              <a:gd name="connsiteX4" fmla="*/ 53975 w 64710"/>
              <a:gd name="connsiteY4" fmla="*/ 25779 h 41699"/>
              <a:gd name="connsiteX5" fmla="*/ 51976 w 64710"/>
              <a:gd name="connsiteY5" fmla="*/ 33739 h 41699"/>
              <a:gd name="connsiteX6" fmla="*/ 47978 w 64710"/>
              <a:gd name="connsiteY6" fmla="*/ 33739 h 41699"/>
              <a:gd name="connsiteX7" fmla="*/ 37983 w 64710"/>
              <a:gd name="connsiteY7" fmla="*/ 35729 h 41699"/>
              <a:gd name="connsiteX8" fmla="*/ 31985 w 64710"/>
              <a:gd name="connsiteY8" fmla="*/ 41699 h 41699"/>
              <a:gd name="connsiteX9" fmla="*/ 13994 w 64710"/>
              <a:gd name="connsiteY9" fmla="*/ 29759 h 41699"/>
              <a:gd name="connsiteX10" fmla="*/ 0 w 64710"/>
              <a:gd name="connsiteY10" fmla="*/ 21800 h 41699"/>
              <a:gd name="connsiteX11" fmla="*/ 1999 w 64710"/>
              <a:gd name="connsiteY11" fmla="*/ 17820 h 41699"/>
              <a:gd name="connsiteX12" fmla="*/ 3998 w 64710"/>
              <a:gd name="connsiteY12" fmla="*/ 9860 h 41699"/>
              <a:gd name="connsiteX13" fmla="*/ 9996 w 64710"/>
              <a:gd name="connsiteY13" fmla="*/ 3890 h 41699"/>
              <a:gd name="connsiteX14" fmla="*/ 15392 w 64710"/>
              <a:gd name="connsiteY14" fmla="*/ 0 h 4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10" h="41699">
                <a:moveTo>
                  <a:pt x="15392" y="0"/>
                </a:moveTo>
                <a:lnTo>
                  <a:pt x="64293" y="16300"/>
                </a:lnTo>
                <a:lnTo>
                  <a:pt x="64710" y="17610"/>
                </a:lnTo>
                <a:lnTo>
                  <a:pt x="61972" y="17820"/>
                </a:lnTo>
                <a:cubicBezTo>
                  <a:pt x="59972" y="19810"/>
                  <a:pt x="53975" y="23790"/>
                  <a:pt x="53975" y="25779"/>
                </a:cubicBezTo>
                <a:cubicBezTo>
                  <a:pt x="51976" y="29759"/>
                  <a:pt x="51976" y="33739"/>
                  <a:pt x="51976" y="33739"/>
                </a:cubicBezTo>
                <a:cubicBezTo>
                  <a:pt x="51976" y="33739"/>
                  <a:pt x="51976" y="33739"/>
                  <a:pt x="47978" y="33739"/>
                </a:cubicBezTo>
                <a:cubicBezTo>
                  <a:pt x="47978" y="33739"/>
                  <a:pt x="41981" y="33739"/>
                  <a:pt x="37983" y="35729"/>
                </a:cubicBezTo>
                <a:cubicBezTo>
                  <a:pt x="35984" y="37719"/>
                  <a:pt x="31985" y="41699"/>
                  <a:pt x="31985" y="41699"/>
                </a:cubicBezTo>
                <a:cubicBezTo>
                  <a:pt x="29986" y="37719"/>
                  <a:pt x="21990" y="33739"/>
                  <a:pt x="13994" y="29759"/>
                </a:cubicBezTo>
                <a:cubicBezTo>
                  <a:pt x="3998" y="25779"/>
                  <a:pt x="1999" y="21800"/>
                  <a:pt x="0" y="21800"/>
                </a:cubicBezTo>
                <a:cubicBezTo>
                  <a:pt x="0" y="19810"/>
                  <a:pt x="1999" y="19810"/>
                  <a:pt x="1999" y="17820"/>
                </a:cubicBezTo>
                <a:cubicBezTo>
                  <a:pt x="1999" y="15830"/>
                  <a:pt x="1999" y="11850"/>
                  <a:pt x="3998" y="9860"/>
                </a:cubicBezTo>
                <a:cubicBezTo>
                  <a:pt x="3998" y="7870"/>
                  <a:pt x="5997" y="3890"/>
                  <a:pt x="9996" y="3890"/>
                </a:cubicBezTo>
                <a:lnTo>
                  <a:pt x="15392" y="0"/>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6" name="Serbia"/>
          <p:cNvSpPr>
            <a:spLocks/>
          </p:cNvSpPr>
          <p:nvPr/>
        </p:nvSpPr>
        <p:spPr bwMode="auto">
          <a:xfrm>
            <a:off x="6665397" y="2515740"/>
            <a:ext cx="100774" cy="145353"/>
          </a:xfrm>
          <a:custGeom>
            <a:avLst/>
            <a:gdLst>
              <a:gd name="connsiteX0" fmla="*/ 37982 w 97954"/>
              <a:gd name="connsiteY0" fmla="*/ 0 h 141287"/>
              <a:gd name="connsiteX1" fmla="*/ 45978 w 97954"/>
              <a:gd name="connsiteY1" fmla="*/ 1990 h 141287"/>
              <a:gd name="connsiteX2" fmla="*/ 49976 w 97954"/>
              <a:gd name="connsiteY2" fmla="*/ 9950 h 141287"/>
              <a:gd name="connsiteX3" fmla="*/ 51976 w 97954"/>
              <a:gd name="connsiteY3" fmla="*/ 17910 h 141287"/>
              <a:gd name="connsiteX4" fmla="*/ 55974 w 97954"/>
              <a:gd name="connsiteY4" fmla="*/ 27860 h 141287"/>
              <a:gd name="connsiteX5" fmla="*/ 61971 w 97954"/>
              <a:gd name="connsiteY5" fmla="*/ 33829 h 141287"/>
              <a:gd name="connsiteX6" fmla="*/ 71966 w 97954"/>
              <a:gd name="connsiteY6" fmla="*/ 39799 h 141287"/>
              <a:gd name="connsiteX7" fmla="*/ 77964 w 97954"/>
              <a:gd name="connsiteY7" fmla="*/ 45769 h 141287"/>
              <a:gd name="connsiteX8" fmla="*/ 79963 w 97954"/>
              <a:gd name="connsiteY8" fmla="*/ 53729 h 141287"/>
              <a:gd name="connsiteX9" fmla="*/ 87959 w 97954"/>
              <a:gd name="connsiteY9" fmla="*/ 59699 h 141287"/>
              <a:gd name="connsiteX10" fmla="*/ 97954 w 97954"/>
              <a:gd name="connsiteY10" fmla="*/ 59699 h 141287"/>
              <a:gd name="connsiteX11" fmla="*/ 97954 w 97954"/>
              <a:gd name="connsiteY11" fmla="*/ 65669 h 141287"/>
              <a:gd name="connsiteX12" fmla="*/ 95955 w 97954"/>
              <a:gd name="connsiteY12" fmla="*/ 75619 h 141287"/>
              <a:gd name="connsiteX13" fmla="*/ 91957 w 97954"/>
              <a:gd name="connsiteY13" fmla="*/ 85568 h 141287"/>
              <a:gd name="connsiteX14" fmla="*/ 93956 w 97954"/>
              <a:gd name="connsiteY14" fmla="*/ 97508 h 141287"/>
              <a:gd name="connsiteX15" fmla="*/ 93956 w 97954"/>
              <a:gd name="connsiteY15" fmla="*/ 109448 h 141287"/>
              <a:gd name="connsiteX16" fmla="*/ 91957 w 97954"/>
              <a:gd name="connsiteY16" fmla="*/ 117408 h 141287"/>
              <a:gd name="connsiteX17" fmla="*/ 95955 w 97954"/>
              <a:gd name="connsiteY17" fmla="*/ 123378 h 141287"/>
              <a:gd name="connsiteX18" fmla="*/ 97954 w 97954"/>
              <a:gd name="connsiteY18" fmla="*/ 129347 h 141287"/>
              <a:gd name="connsiteX19" fmla="*/ 93956 w 97954"/>
              <a:gd name="connsiteY19" fmla="*/ 133327 h 141287"/>
              <a:gd name="connsiteX20" fmla="*/ 79963 w 97954"/>
              <a:gd name="connsiteY20" fmla="*/ 141287 h 141287"/>
              <a:gd name="connsiteX21" fmla="*/ 75964 w 97954"/>
              <a:gd name="connsiteY21" fmla="*/ 135317 h 141287"/>
              <a:gd name="connsiteX22" fmla="*/ 69967 w 97954"/>
              <a:gd name="connsiteY22" fmla="*/ 125367 h 141287"/>
              <a:gd name="connsiteX23" fmla="*/ 67968 w 97954"/>
              <a:gd name="connsiteY23" fmla="*/ 119398 h 141287"/>
              <a:gd name="connsiteX24" fmla="*/ 65969 w 97954"/>
              <a:gd name="connsiteY24" fmla="*/ 115418 h 141287"/>
              <a:gd name="connsiteX25" fmla="*/ 59972 w 97954"/>
              <a:gd name="connsiteY25" fmla="*/ 115418 h 141287"/>
              <a:gd name="connsiteX26" fmla="*/ 55224 w 97954"/>
              <a:gd name="connsiteY26" fmla="*/ 117159 h 141287"/>
              <a:gd name="connsiteX27" fmla="*/ 54714 w 97954"/>
              <a:gd name="connsiteY27" fmla="*/ 117198 h 141287"/>
              <a:gd name="connsiteX28" fmla="*/ 54297 w 97954"/>
              <a:gd name="connsiteY28" fmla="*/ 115888 h 141287"/>
              <a:gd name="connsiteX29" fmla="*/ 5396 w 97954"/>
              <a:gd name="connsiteY29" fmla="*/ 99588 h 141287"/>
              <a:gd name="connsiteX30" fmla="*/ 7246 w 97954"/>
              <a:gd name="connsiteY30" fmla="*/ 98254 h 141287"/>
              <a:gd name="connsiteX31" fmla="*/ 15992 w 97954"/>
              <a:gd name="connsiteY31" fmla="*/ 91538 h 141287"/>
              <a:gd name="connsiteX32" fmla="*/ 17991 w 97954"/>
              <a:gd name="connsiteY32" fmla="*/ 77608 h 141287"/>
              <a:gd name="connsiteX33" fmla="*/ 17991 w 97954"/>
              <a:gd name="connsiteY33" fmla="*/ 53729 h 141287"/>
              <a:gd name="connsiteX34" fmla="*/ 13993 w 97954"/>
              <a:gd name="connsiteY34" fmla="*/ 41789 h 141287"/>
              <a:gd name="connsiteX35" fmla="*/ 9995 w 97954"/>
              <a:gd name="connsiteY35" fmla="*/ 35819 h 141287"/>
              <a:gd name="connsiteX36" fmla="*/ 11994 w 97954"/>
              <a:gd name="connsiteY36" fmla="*/ 27860 h 141287"/>
              <a:gd name="connsiteX37" fmla="*/ 9995 w 97954"/>
              <a:gd name="connsiteY37" fmla="*/ 23880 h 141287"/>
              <a:gd name="connsiteX38" fmla="*/ 0 w 97954"/>
              <a:gd name="connsiteY38" fmla="*/ 11940 h 141287"/>
              <a:gd name="connsiteX39" fmla="*/ 9995 w 97954"/>
              <a:gd name="connsiteY39" fmla="*/ 7960 h 141287"/>
              <a:gd name="connsiteX40" fmla="*/ 15992 w 97954"/>
              <a:gd name="connsiteY40" fmla="*/ 1990 h 141287"/>
              <a:gd name="connsiteX41" fmla="*/ 25988 w 97954"/>
              <a:gd name="connsiteY41" fmla="*/ 1990 h 141287"/>
              <a:gd name="connsiteX42" fmla="*/ 37982 w 97954"/>
              <a:gd name="connsiteY42" fmla="*/ 0 h 14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7954" h="141287">
                <a:moveTo>
                  <a:pt x="37982" y="0"/>
                </a:moveTo>
                <a:cubicBezTo>
                  <a:pt x="39981" y="0"/>
                  <a:pt x="45978" y="0"/>
                  <a:pt x="45978" y="1990"/>
                </a:cubicBezTo>
                <a:cubicBezTo>
                  <a:pt x="47977" y="5970"/>
                  <a:pt x="49976" y="9950"/>
                  <a:pt x="49976" y="9950"/>
                </a:cubicBezTo>
                <a:cubicBezTo>
                  <a:pt x="49976" y="11940"/>
                  <a:pt x="51976" y="15920"/>
                  <a:pt x="51976" y="17910"/>
                </a:cubicBezTo>
                <a:cubicBezTo>
                  <a:pt x="51976" y="19900"/>
                  <a:pt x="53975" y="23880"/>
                  <a:pt x="55974" y="27860"/>
                </a:cubicBezTo>
                <a:cubicBezTo>
                  <a:pt x="57973" y="29849"/>
                  <a:pt x="59972" y="33829"/>
                  <a:pt x="61971" y="33829"/>
                </a:cubicBezTo>
                <a:cubicBezTo>
                  <a:pt x="63970" y="33829"/>
                  <a:pt x="69967" y="35819"/>
                  <a:pt x="71966" y="39799"/>
                </a:cubicBezTo>
                <a:cubicBezTo>
                  <a:pt x="73965" y="41789"/>
                  <a:pt x="77964" y="43779"/>
                  <a:pt x="77964" y="45769"/>
                </a:cubicBezTo>
                <a:cubicBezTo>
                  <a:pt x="77964" y="47759"/>
                  <a:pt x="77964" y="51739"/>
                  <a:pt x="79963" y="53729"/>
                </a:cubicBezTo>
                <a:cubicBezTo>
                  <a:pt x="81962" y="55719"/>
                  <a:pt x="83961" y="59699"/>
                  <a:pt x="87959" y="59699"/>
                </a:cubicBezTo>
                <a:cubicBezTo>
                  <a:pt x="91957" y="61689"/>
                  <a:pt x="97954" y="59699"/>
                  <a:pt x="97954" y="59699"/>
                </a:cubicBezTo>
                <a:cubicBezTo>
                  <a:pt x="97954" y="59699"/>
                  <a:pt x="97954" y="65669"/>
                  <a:pt x="97954" y="65669"/>
                </a:cubicBezTo>
                <a:cubicBezTo>
                  <a:pt x="97954" y="67659"/>
                  <a:pt x="95955" y="73629"/>
                  <a:pt x="95955" y="75619"/>
                </a:cubicBezTo>
                <a:cubicBezTo>
                  <a:pt x="93956" y="77608"/>
                  <a:pt x="91957" y="83578"/>
                  <a:pt x="91957" y="85568"/>
                </a:cubicBezTo>
                <a:cubicBezTo>
                  <a:pt x="91957" y="87558"/>
                  <a:pt x="91957" y="93528"/>
                  <a:pt x="93956" y="97508"/>
                </a:cubicBezTo>
                <a:cubicBezTo>
                  <a:pt x="95955" y="101488"/>
                  <a:pt x="93956" y="107458"/>
                  <a:pt x="93956" y="109448"/>
                </a:cubicBezTo>
                <a:cubicBezTo>
                  <a:pt x="93956" y="111438"/>
                  <a:pt x="91957" y="117408"/>
                  <a:pt x="91957" y="117408"/>
                </a:cubicBezTo>
                <a:cubicBezTo>
                  <a:pt x="91957" y="117408"/>
                  <a:pt x="91957" y="117408"/>
                  <a:pt x="95955" y="123378"/>
                </a:cubicBezTo>
                <a:cubicBezTo>
                  <a:pt x="95955" y="123378"/>
                  <a:pt x="97954" y="127357"/>
                  <a:pt x="97954" y="129347"/>
                </a:cubicBezTo>
                <a:cubicBezTo>
                  <a:pt x="97954" y="131337"/>
                  <a:pt x="93956" y="133327"/>
                  <a:pt x="93956" y="133327"/>
                </a:cubicBezTo>
                <a:cubicBezTo>
                  <a:pt x="93956" y="133327"/>
                  <a:pt x="93956" y="133327"/>
                  <a:pt x="79963" y="141287"/>
                </a:cubicBezTo>
                <a:cubicBezTo>
                  <a:pt x="79963" y="141287"/>
                  <a:pt x="79963" y="141287"/>
                  <a:pt x="75964" y="135317"/>
                </a:cubicBezTo>
                <a:cubicBezTo>
                  <a:pt x="75964" y="135317"/>
                  <a:pt x="71966" y="127357"/>
                  <a:pt x="69967" y="125367"/>
                </a:cubicBezTo>
                <a:cubicBezTo>
                  <a:pt x="69967" y="125367"/>
                  <a:pt x="67968" y="121388"/>
                  <a:pt x="67968" y="119398"/>
                </a:cubicBezTo>
                <a:cubicBezTo>
                  <a:pt x="65969" y="119398"/>
                  <a:pt x="65969" y="115418"/>
                  <a:pt x="65969" y="115418"/>
                </a:cubicBezTo>
                <a:cubicBezTo>
                  <a:pt x="65969" y="115418"/>
                  <a:pt x="61971" y="115418"/>
                  <a:pt x="59972" y="115418"/>
                </a:cubicBezTo>
                <a:cubicBezTo>
                  <a:pt x="58973" y="116413"/>
                  <a:pt x="56974" y="116911"/>
                  <a:pt x="55224" y="117159"/>
                </a:cubicBezTo>
                <a:lnTo>
                  <a:pt x="54714" y="117198"/>
                </a:lnTo>
                <a:lnTo>
                  <a:pt x="54297" y="115888"/>
                </a:lnTo>
                <a:lnTo>
                  <a:pt x="5396" y="99588"/>
                </a:lnTo>
                <a:lnTo>
                  <a:pt x="7246" y="98254"/>
                </a:lnTo>
                <a:cubicBezTo>
                  <a:pt x="10495" y="96016"/>
                  <a:pt x="13993" y="93528"/>
                  <a:pt x="15992" y="91538"/>
                </a:cubicBezTo>
                <a:cubicBezTo>
                  <a:pt x="17991" y="87558"/>
                  <a:pt x="19990" y="79598"/>
                  <a:pt x="17991" y="77608"/>
                </a:cubicBezTo>
                <a:cubicBezTo>
                  <a:pt x="17991" y="77608"/>
                  <a:pt x="17991" y="53729"/>
                  <a:pt x="17991" y="53729"/>
                </a:cubicBezTo>
                <a:cubicBezTo>
                  <a:pt x="17991" y="53729"/>
                  <a:pt x="15992" y="41789"/>
                  <a:pt x="13993" y="41789"/>
                </a:cubicBezTo>
                <a:cubicBezTo>
                  <a:pt x="13993" y="39799"/>
                  <a:pt x="9995" y="35819"/>
                  <a:pt x="9995" y="35819"/>
                </a:cubicBezTo>
                <a:cubicBezTo>
                  <a:pt x="11994" y="33829"/>
                  <a:pt x="11994" y="27860"/>
                  <a:pt x="11994" y="27860"/>
                </a:cubicBezTo>
                <a:cubicBezTo>
                  <a:pt x="11994" y="27860"/>
                  <a:pt x="11994" y="27860"/>
                  <a:pt x="9995" y="23880"/>
                </a:cubicBezTo>
                <a:cubicBezTo>
                  <a:pt x="9995" y="23880"/>
                  <a:pt x="9995" y="23880"/>
                  <a:pt x="0" y="11940"/>
                </a:cubicBezTo>
                <a:cubicBezTo>
                  <a:pt x="0" y="11940"/>
                  <a:pt x="7996" y="7960"/>
                  <a:pt x="9995" y="7960"/>
                </a:cubicBezTo>
                <a:cubicBezTo>
                  <a:pt x="11994" y="5970"/>
                  <a:pt x="15992" y="3980"/>
                  <a:pt x="15992" y="1990"/>
                </a:cubicBezTo>
                <a:cubicBezTo>
                  <a:pt x="17991" y="1990"/>
                  <a:pt x="25988" y="3980"/>
                  <a:pt x="25988" y="1990"/>
                </a:cubicBezTo>
                <a:cubicBezTo>
                  <a:pt x="27987" y="1990"/>
                  <a:pt x="35983" y="0"/>
                  <a:pt x="37982"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7" name="Slovenia"/>
          <p:cNvSpPr>
            <a:spLocks/>
          </p:cNvSpPr>
          <p:nvPr/>
        </p:nvSpPr>
        <p:spPr bwMode="auto">
          <a:xfrm>
            <a:off x="6534258" y="2492875"/>
            <a:ext cx="81659" cy="68594"/>
          </a:xfrm>
          <a:custGeom>
            <a:avLst/>
            <a:gdLst>
              <a:gd name="T0" fmla="*/ 0 w 40"/>
              <a:gd name="T1" fmla="*/ 6 h 33"/>
              <a:gd name="T2" fmla="*/ 1 w 40"/>
              <a:gd name="T3" fmla="*/ 10 h 33"/>
              <a:gd name="T4" fmla="*/ 0 w 40"/>
              <a:gd name="T5" fmla="*/ 14 h 33"/>
              <a:gd name="T6" fmla="*/ 4 w 40"/>
              <a:gd name="T7" fmla="*/ 15 h 33"/>
              <a:gd name="T8" fmla="*/ 7 w 40"/>
              <a:gd name="T9" fmla="*/ 14 h 33"/>
              <a:gd name="T10" fmla="*/ 8 w 40"/>
              <a:gd name="T11" fmla="*/ 17 h 33"/>
              <a:gd name="T12" fmla="*/ 5 w 40"/>
              <a:gd name="T13" fmla="*/ 21 h 33"/>
              <a:gd name="T14" fmla="*/ 6 w 40"/>
              <a:gd name="T15" fmla="*/ 25 h 33"/>
              <a:gd name="T16" fmla="*/ 8 w 40"/>
              <a:gd name="T17" fmla="*/ 31 h 33"/>
              <a:gd name="T18" fmla="*/ 14 w 40"/>
              <a:gd name="T19" fmla="*/ 28 h 33"/>
              <a:gd name="T20" fmla="*/ 14 w 40"/>
              <a:gd name="T21" fmla="*/ 25 h 33"/>
              <a:gd name="T22" fmla="*/ 15 w 40"/>
              <a:gd name="T23" fmla="*/ 23 h 33"/>
              <a:gd name="T24" fmla="*/ 18 w 40"/>
              <a:gd name="T25" fmla="*/ 25 h 33"/>
              <a:gd name="T26" fmla="*/ 19 w 40"/>
              <a:gd name="T27" fmla="*/ 25 h 33"/>
              <a:gd name="T28" fmla="*/ 23 w 40"/>
              <a:gd name="T29" fmla="*/ 22 h 33"/>
              <a:gd name="T30" fmla="*/ 27 w 40"/>
              <a:gd name="T31" fmla="*/ 19 h 33"/>
              <a:gd name="T32" fmla="*/ 32 w 40"/>
              <a:gd name="T33" fmla="*/ 15 h 33"/>
              <a:gd name="T34" fmla="*/ 35 w 40"/>
              <a:gd name="T35" fmla="*/ 14 h 33"/>
              <a:gd name="T36" fmla="*/ 38 w 40"/>
              <a:gd name="T37" fmla="*/ 8 h 33"/>
              <a:gd name="T38" fmla="*/ 40 w 40"/>
              <a:gd name="T39" fmla="*/ 4 h 33"/>
              <a:gd name="T40" fmla="*/ 37 w 40"/>
              <a:gd name="T41" fmla="*/ 0 h 33"/>
              <a:gd name="T42" fmla="*/ 35 w 40"/>
              <a:gd name="T43" fmla="*/ 2 h 33"/>
              <a:gd name="T44" fmla="*/ 32 w 40"/>
              <a:gd name="T45" fmla="*/ 4 h 33"/>
              <a:gd name="T46" fmla="*/ 29 w 40"/>
              <a:gd name="T47" fmla="*/ 3 h 33"/>
              <a:gd name="T48" fmla="*/ 25 w 40"/>
              <a:gd name="T49" fmla="*/ 3 h 33"/>
              <a:gd name="T50" fmla="*/ 21 w 40"/>
              <a:gd name="T51" fmla="*/ 4 h 33"/>
              <a:gd name="T52" fmla="*/ 16 w 40"/>
              <a:gd name="T53" fmla="*/ 7 h 33"/>
              <a:gd name="T54" fmla="*/ 12 w 40"/>
              <a:gd name="T55" fmla="*/ 4 h 33"/>
              <a:gd name="T56" fmla="*/ 6 w 40"/>
              <a:gd name="T57" fmla="*/ 4 h 33"/>
              <a:gd name="T58" fmla="*/ 4 w 40"/>
              <a:gd name="T59" fmla="*/ 6 h 33"/>
              <a:gd name="T60" fmla="*/ 0 w 40"/>
              <a:gd name="T61"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33">
                <a:moveTo>
                  <a:pt x="0" y="6"/>
                </a:moveTo>
                <a:cubicBezTo>
                  <a:pt x="2" y="6"/>
                  <a:pt x="1" y="9"/>
                  <a:pt x="1" y="10"/>
                </a:cubicBezTo>
                <a:cubicBezTo>
                  <a:pt x="2" y="11"/>
                  <a:pt x="0" y="14"/>
                  <a:pt x="0" y="14"/>
                </a:cubicBezTo>
                <a:cubicBezTo>
                  <a:pt x="2" y="13"/>
                  <a:pt x="2" y="15"/>
                  <a:pt x="4" y="15"/>
                </a:cubicBezTo>
                <a:cubicBezTo>
                  <a:pt x="5" y="15"/>
                  <a:pt x="6" y="14"/>
                  <a:pt x="7" y="14"/>
                </a:cubicBezTo>
                <a:cubicBezTo>
                  <a:pt x="8" y="14"/>
                  <a:pt x="9" y="14"/>
                  <a:pt x="8" y="17"/>
                </a:cubicBezTo>
                <a:cubicBezTo>
                  <a:pt x="6" y="19"/>
                  <a:pt x="4" y="19"/>
                  <a:pt x="5" y="21"/>
                </a:cubicBezTo>
                <a:cubicBezTo>
                  <a:pt x="6" y="23"/>
                  <a:pt x="6" y="23"/>
                  <a:pt x="6" y="25"/>
                </a:cubicBezTo>
                <a:cubicBezTo>
                  <a:pt x="6" y="27"/>
                  <a:pt x="5" y="30"/>
                  <a:pt x="8" y="31"/>
                </a:cubicBezTo>
                <a:cubicBezTo>
                  <a:pt x="10" y="33"/>
                  <a:pt x="14" y="29"/>
                  <a:pt x="14" y="28"/>
                </a:cubicBezTo>
                <a:cubicBezTo>
                  <a:pt x="14" y="27"/>
                  <a:pt x="13" y="27"/>
                  <a:pt x="14" y="25"/>
                </a:cubicBezTo>
                <a:cubicBezTo>
                  <a:pt x="14" y="23"/>
                  <a:pt x="14" y="23"/>
                  <a:pt x="15" y="23"/>
                </a:cubicBezTo>
                <a:cubicBezTo>
                  <a:pt x="17" y="23"/>
                  <a:pt x="18" y="23"/>
                  <a:pt x="18" y="25"/>
                </a:cubicBezTo>
                <a:cubicBezTo>
                  <a:pt x="18" y="25"/>
                  <a:pt x="19" y="25"/>
                  <a:pt x="19" y="25"/>
                </a:cubicBezTo>
                <a:cubicBezTo>
                  <a:pt x="19" y="25"/>
                  <a:pt x="22" y="23"/>
                  <a:pt x="23" y="22"/>
                </a:cubicBezTo>
                <a:cubicBezTo>
                  <a:pt x="23" y="21"/>
                  <a:pt x="27" y="19"/>
                  <a:pt x="27" y="19"/>
                </a:cubicBezTo>
                <a:cubicBezTo>
                  <a:pt x="27" y="19"/>
                  <a:pt x="31" y="16"/>
                  <a:pt x="32" y="15"/>
                </a:cubicBezTo>
                <a:cubicBezTo>
                  <a:pt x="33" y="15"/>
                  <a:pt x="34" y="14"/>
                  <a:pt x="35" y="14"/>
                </a:cubicBezTo>
                <a:cubicBezTo>
                  <a:pt x="36" y="13"/>
                  <a:pt x="38" y="9"/>
                  <a:pt x="38" y="8"/>
                </a:cubicBezTo>
                <a:cubicBezTo>
                  <a:pt x="39" y="7"/>
                  <a:pt x="40" y="4"/>
                  <a:pt x="40" y="4"/>
                </a:cubicBezTo>
                <a:cubicBezTo>
                  <a:pt x="37" y="0"/>
                  <a:pt x="37" y="0"/>
                  <a:pt x="37" y="0"/>
                </a:cubicBezTo>
                <a:cubicBezTo>
                  <a:pt x="37" y="0"/>
                  <a:pt x="35" y="0"/>
                  <a:pt x="35" y="2"/>
                </a:cubicBezTo>
                <a:cubicBezTo>
                  <a:pt x="34" y="3"/>
                  <a:pt x="34" y="4"/>
                  <a:pt x="32" y="4"/>
                </a:cubicBezTo>
                <a:cubicBezTo>
                  <a:pt x="31" y="4"/>
                  <a:pt x="30" y="3"/>
                  <a:pt x="29" y="3"/>
                </a:cubicBezTo>
                <a:cubicBezTo>
                  <a:pt x="28" y="3"/>
                  <a:pt x="25" y="3"/>
                  <a:pt x="25" y="3"/>
                </a:cubicBezTo>
                <a:cubicBezTo>
                  <a:pt x="24" y="3"/>
                  <a:pt x="22" y="3"/>
                  <a:pt x="21" y="4"/>
                </a:cubicBezTo>
                <a:cubicBezTo>
                  <a:pt x="21" y="4"/>
                  <a:pt x="17" y="8"/>
                  <a:pt x="16" y="7"/>
                </a:cubicBezTo>
                <a:cubicBezTo>
                  <a:pt x="15" y="7"/>
                  <a:pt x="13" y="4"/>
                  <a:pt x="12" y="4"/>
                </a:cubicBezTo>
                <a:cubicBezTo>
                  <a:pt x="11" y="4"/>
                  <a:pt x="7" y="3"/>
                  <a:pt x="6" y="4"/>
                </a:cubicBezTo>
                <a:cubicBezTo>
                  <a:pt x="5" y="4"/>
                  <a:pt x="5" y="5"/>
                  <a:pt x="4" y="6"/>
                </a:cubicBezTo>
                <a:cubicBezTo>
                  <a:pt x="2" y="6"/>
                  <a:pt x="0" y="6"/>
                  <a:pt x="0" y="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8" name="Croatia"/>
          <p:cNvSpPr>
            <a:spLocks/>
          </p:cNvSpPr>
          <p:nvPr/>
        </p:nvSpPr>
        <p:spPr bwMode="auto">
          <a:xfrm>
            <a:off x="6573454" y="2501042"/>
            <a:ext cx="104524" cy="96358"/>
          </a:xfrm>
          <a:custGeom>
            <a:avLst/>
            <a:gdLst>
              <a:gd name="T0" fmla="*/ 21 w 51"/>
              <a:gd name="T1" fmla="*/ 0 h 47"/>
              <a:gd name="T2" fmla="*/ 23 w 51"/>
              <a:gd name="T3" fmla="*/ 2 h 47"/>
              <a:gd name="T4" fmla="*/ 27 w 51"/>
              <a:gd name="T5" fmla="*/ 6 h 47"/>
              <a:gd name="T6" fmla="*/ 32 w 51"/>
              <a:gd name="T7" fmla="*/ 10 h 47"/>
              <a:gd name="T8" fmla="*/ 36 w 51"/>
              <a:gd name="T9" fmla="*/ 12 h 47"/>
              <a:gd name="T10" fmla="*/ 45 w 51"/>
              <a:gd name="T11" fmla="*/ 13 h 47"/>
              <a:gd name="T12" fmla="*/ 50 w 51"/>
              <a:gd name="T13" fmla="*/ 19 h 47"/>
              <a:gd name="T14" fmla="*/ 51 w 51"/>
              <a:gd name="T15" fmla="*/ 21 h 47"/>
              <a:gd name="T16" fmla="*/ 50 w 51"/>
              <a:gd name="T17" fmla="*/ 25 h 47"/>
              <a:gd name="T18" fmla="*/ 44 w 51"/>
              <a:gd name="T19" fmla="*/ 25 h 47"/>
              <a:gd name="T20" fmla="*/ 41 w 51"/>
              <a:gd name="T21" fmla="*/ 27 h 47"/>
              <a:gd name="T22" fmla="*/ 36 w 51"/>
              <a:gd name="T23" fmla="*/ 28 h 47"/>
              <a:gd name="T24" fmla="*/ 32 w 51"/>
              <a:gd name="T25" fmla="*/ 27 h 47"/>
              <a:gd name="T26" fmla="*/ 27 w 51"/>
              <a:gd name="T27" fmla="*/ 24 h 47"/>
              <a:gd name="T28" fmla="*/ 22 w 51"/>
              <a:gd name="T29" fmla="*/ 21 h 47"/>
              <a:gd name="T30" fmla="*/ 16 w 51"/>
              <a:gd name="T31" fmla="*/ 20 h 47"/>
              <a:gd name="T32" fmla="*/ 12 w 51"/>
              <a:gd name="T33" fmla="*/ 21 h 47"/>
              <a:gd name="T34" fmla="*/ 12 w 51"/>
              <a:gd name="T35" fmla="*/ 27 h 47"/>
              <a:gd name="T36" fmla="*/ 10 w 51"/>
              <a:gd name="T37" fmla="*/ 31 h 47"/>
              <a:gd name="T38" fmla="*/ 11 w 51"/>
              <a:gd name="T39" fmla="*/ 33 h 47"/>
              <a:gd name="T40" fmla="*/ 12 w 51"/>
              <a:gd name="T41" fmla="*/ 37 h 47"/>
              <a:gd name="T42" fmla="*/ 12 w 51"/>
              <a:gd name="T43" fmla="*/ 40 h 47"/>
              <a:gd name="T44" fmla="*/ 14 w 51"/>
              <a:gd name="T45" fmla="*/ 44 h 47"/>
              <a:gd name="T46" fmla="*/ 11 w 51"/>
              <a:gd name="T47" fmla="*/ 46 h 47"/>
              <a:gd name="T48" fmla="*/ 9 w 51"/>
              <a:gd name="T49" fmla="*/ 44 h 47"/>
              <a:gd name="T50" fmla="*/ 7 w 51"/>
              <a:gd name="T51" fmla="*/ 44 h 47"/>
              <a:gd name="T52" fmla="*/ 6 w 51"/>
              <a:gd name="T53" fmla="*/ 43 h 47"/>
              <a:gd name="T54" fmla="*/ 4 w 51"/>
              <a:gd name="T55" fmla="*/ 37 h 47"/>
              <a:gd name="T56" fmla="*/ 1 w 51"/>
              <a:gd name="T57" fmla="*/ 32 h 47"/>
              <a:gd name="T58" fmla="*/ 0 w 51"/>
              <a:gd name="T59" fmla="*/ 28 h 47"/>
              <a:gd name="T60" fmla="*/ 2 w 51"/>
              <a:gd name="T61" fmla="*/ 26 h 47"/>
              <a:gd name="T62" fmla="*/ 3 w 51"/>
              <a:gd name="T63" fmla="*/ 23 h 47"/>
              <a:gd name="T64" fmla="*/ 0 w 51"/>
              <a:gd name="T65" fmla="*/ 21 h 47"/>
              <a:gd name="T66" fmla="*/ 4 w 51"/>
              <a:gd name="T67" fmla="*/ 18 h 47"/>
              <a:gd name="T68" fmla="*/ 8 w 51"/>
              <a:gd name="T69" fmla="*/ 15 h 47"/>
              <a:gd name="T70" fmla="*/ 13 w 51"/>
              <a:gd name="T71" fmla="*/ 11 h 47"/>
              <a:gd name="T72" fmla="*/ 16 w 51"/>
              <a:gd name="T73" fmla="*/ 10 h 47"/>
              <a:gd name="T74" fmla="*/ 19 w 51"/>
              <a:gd name="T75" fmla="*/ 4 h 47"/>
              <a:gd name="T76" fmla="*/ 21 w 51"/>
              <a:gd name="T7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47">
                <a:moveTo>
                  <a:pt x="21" y="0"/>
                </a:moveTo>
                <a:cubicBezTo>
                  <a:pt x="23" y="2"/>
                  <a:pt x="23" y="2"/>
                  <a:pt x="23" y="2"/>
                </a:cubicBezTo>
                <a:cubicBezTo>
                  <a:pt x="27" y="6"/>
                  <a:pt x="27" y="6"/>
                  <a:pt x="27" y="6"/>
                </a:cubicBezTo>
                <a:cubicBezTo>
                  <a:pt x="27" y="6"/>
                  <a:pt x="31" y="10"/>
                  <a:pt x="32" y="10"/>
                </a:cubicBezTo>
                <a:cubicBezTo>
                  <a:pt x="33" y="11"/>
                  <a:pt x="36" y="12"/>
                  <a:pt x="36" y="12"/>
                </a:cubicBezTo>
                <a:cubicBezTo>
                  <a:pt x="45" y="13"/>
                  <a:pt x="45" y="13"/>
                  <a:pt x="45" y="13"/>
                </a:cubicBezTo>
                <a:cubicBezTo>
                  <a:pt x="50" y="19"/>
                  <a:pt x="50" y="19"/>
                  <a:pt x="50" y="19"/>
                </a:cubicBezTo>
                <a:cubicBezTo>
                  <a:pt x="51" y="21"/>
                  <a:pt x="51" y="21"/>
                  <a:pt x="51" y="21"/>
                </a:cubicBezTo>
                <a:cubicBezTo>
                  <a:pt x="51" y="21"/>
                  <a:pt x="51" y="25"/>
                  <a:pt x="50" y="25"/>
                </a:cubicBezTo>
                <a:cubicBezTo>
                  <a:pt x="49" y="25"/>
                  <a:pt x="45" y="25"/>
                  <a:pt x="44" y="25"/>
                </a:cubicBezTo>
                <a:cubicBezTo>
                  <a:pt x="42" y="25"/>
                  <a:pt x="42" y="26"/>
                  <a:pt x="41" y="27"/>
                </a:cubicBezTo>
                <a:cubicBezTo>
                  <a:pt x="40" y="27"/>
                  <a:pt x="38" y="28"/>
                  <a:pt x="36" y="28"/>
                </a:cubicBezTo>
                <a:cubicBezTo>
                  <a:pt x="36" y="28"/>
                  <a:pt x="34" y="28"/>
                  <a:pt x="32" y="27"/>
                </a:cubicBezTo>
                <a:cubicBezTo>
                  <a:pt x="31" y="27"/>
                  <a:pt x="27" y="24"/>
                  <a:pt x="27" y="24"/>
                </a:cubicBezTo>
                <a:cubicBezTo>
                  <a:pt x="27" y="24"/>
                  <a:pt x="23" y="22"/>
                  <a:pt x="22" y="21"/>
                </a:cubicBezTo>
                <a:cubicBezTo>
                  <a:pt x="21" y="21"/>
                  <a:pt x="18" y="19"/>
                  <a:pt x="16" y="20"/>
                </a:cubicBezTo>
                <a:cubicBezTo>
                  <a:pt x="15" y="20"/>
                  <a:pt x="13" y="20"/>
                  <a:pt x="12" y="21"/>
                </a:cubicBezTo>
                <a:cubicBezTo>
                  <a:pt x="11" y="23"/>
                  <a:pt x="12" y="25"/>
                  <a:pt x="12" y="27"/>
                </a:cubicBezTo>
                <a:cubicBezTo>
                  <a:pt x="12" y="28"/>
                  <a:pt x="12" y="30"/>
                  <a:pt x="10" y="31"/>
                </a:cubicBezTo>
                <a:cubicBezTo>
                  <a:pt x="10" y="32"/>
                  <a:pt x="10" y="32"/>
                  <a:pt x="11" y="33"/>
                </a:cubicBezTo>
                <a:cubicBezTo>
                  <a:pt x="11" y="34"/>
                  <a:pt x="12" y="36"/>
                  <a:pt x="12" y="37"/>
                </a:cubicBezTo>
                <a:cubicBezTo>
                  <a:pt x="13" y="38"/>
                  <a:pt x="12" y="39"/>
                  <a:pt x="12" y="40"/>
                </a:cubicBezTo>
                <a:cubicBezTo>
                  <a:pt x="12" y="40"/>
                  <a:pt x="14" y="44"/>
                  <a:pt x="14" y="44"/>
                </a:cubicBezTo>
                <a:cubicBezTo>
                  <a:pt x="14" y="45"/>
                  <a:pt x="11" y="47"/>
                  <a:pt x="11" y="46"/>
                </a:cubicBezTo>
                <a:cubicBezTo>
                  <a:pt x="10" y="45"/>
                  <a:pt x="9" y="45"/>
                  <a:pt x="9" y="44"/>
                </a:cubicBezTo>
                <a:cubicBezTo>
                  <a:pt x="8" y="43"/>
                  <a:pt x="8" y="43"/>
                  <a:pt x="7" y="44"/>
                </a:cubicBezTo>
                <a:cubicBezTo>
                  <a:pt x="6" y="44"/>
                  <a:pt x="6" y="43"/>
                  <a:pt x="6" y="43"/>
                </a:cubicBezTo>
                <a:cubicBezTo>
                  <a:pt x="6" y="43"/>
                  <a:pt x="4" y="39"/>
                  <a:pt x="4" y="37"/>
                </a:cubicBezTo>
                <a:cubicBezTo>
                  <a:pt x="4" y="35"/>
                  <a:pt x="2" y="33"/>
                  <a:pt x="1" y="32"/>
                </a:cubicBezTo>
                <a:cubicBezTo>
                  <a:pt x="0" y="31"/>
                  <a:pt x="0" y="30"/>
                  <a:pt x="0" y="28"/>
                </a:cubicBezTo>
                <a:cubicBezTo>
                  <a:pt x="1" y="27"/>
                  <a:pt x="2" y="26"/>
                  <a:pt x="2" y="26"/>
                </a:cubicBezTo>
                <a:cubicBezTo>
                  <a:pt x="2" y="26"/>
                  <a:pt x="3" y="25"/>
                  <a:pt x="3" y="23"/>
                </a:cubicBezTo>
                <a:cubicBezTo>
                  <a:pt x="3" y="22"/>
                  <a:pt x="0" y="21"/>
                  <a:pt x="0" y="21"/>
                </a:cubicBezTo>
                <a:cubicBezTo>
                  <a:pt x="0" y="21"/>
                  <a:pt x="3" y="19"/>
                  <a:pt x="4" y="18"/>
                </a:cubicBezTo>
                <a:cubicBezTo>
                  <a:pt x="4" y="17"/>
                  <a:pt x="8" y="15"/>
                  <a:pt x="8" y="15"/>
                </a:cubicBezTo>
                <a:cubicBezTo>
                  <a:pt x="8" y="15"/>
                  <a:pt x="12" y="12"/>
                  <a:pt x="13" y="11"/>
                </a:cubicBezTo>
                <a:cubicBezTo>
                  <a:pt x="14" y="11"/>
                  <a:pt x="15" y="10"/>
                  <a:pt x="16" y="10"/>
                </a:cubicBezTo>
                <a:cubicBezTo>
                  <a:pt x="17" y="9"/>
                  <a:pt x="19" y="5"/>
                  <a:pt x="19" y="4"/>
                </a:cubicBezTo>
                <a:cubicBezTo>
                  <a:pt x="20" y="3"/>
                  <a:pt x="21" y="0"/>
                  <a:pt x="21"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59" name="Bosnia and her."/>
          <p:cNvSpPr>
            <a:spLocks/>
          </p:cNvSpPr>
          <p:nvPr/>
        </p:nvSpPr>
        <p:spPr bwMode="auto">
          <a:xfrm>
            <a:off x="6593052" y="2541727"/>
            <a:ext cx="91881" cy="99770"/>
          </a:xfrm>
          <a:custGeom>
            <a:avLst/>
            <a:gdLst>
              <a:gd name="connsiteX0" fmla="*/ 22224 w 89310"/>
              <a:gd name="connsiteY0" fmla="*/ 86183 h 96978"/>
              <a:gd name="connsiteX1" fmla="*/ 24165 w 89310"/>
              <a:gd name="connsiteY1" fmla="*/ 86183 h 96978"/>
              <a:gd name="connsiteX2" fmla="*/ 26105 w 89310"/>
              <a:gd name="connsiteY2" fmla="*/ 88088 h 96978"/>
              <a:gd name="connsiteX3" fmla="*/ 29986 w 89310"/>
              <a:gd name="connsiteY3" fmla="*/ 86183 h 96978"/>
              <a:gd name="connsiteX4" fmla="*/ 37747 w 89310"/>
              <a:gd name="connsiteY4" fmla="*/ 86183 h 96978"/>
              <a:gd name="connsiteX5" fmla="*/ 37747 w 89310"/>
              <a:gd name="connsiteY5" fmla="*/ 91898 h 96978"/>
              <a:gd name="connsiteX6" fmla="*/ 28045 w 89310"/>
              <a:gd name="connsiteY6" fmla="*/ 91898 h 96978"/>
              <a:gd name="connsiteX7" fmla="*/ 22224 w 89310"/>
              <a:gd name="connsiteY7" fmla="*/ 86183 h 96978"/>
              <a:gd name="connsiteX8" fmla="*/ 15874 w 89310"/>
              <a:gd name="connsiteY8" fmla="*/ 79416 h 96978"/>
              <a:gd name="connsiteX9" fmla="*/ 16933 w 89310"/>
              <a:gd name="connsiteY9" fmla="*/ 79912 h 96978"/>
              <a:gd name="connsiteX10" fmla="*/ 19049 w 89310"/>
              <a:gd name="connsiteY10" fmla="*/ 81897 h 96978"/>
              <a:gd name="connsiteX11" fmla="*/ 14815 w 89310"/>
              <a:gd name="connsiteY11" fmla="*/ 81897 h 96978"/>
              <a:gd name="connsiteX12" fmla="*/ 15874 w 89310"/>
              <a:gd name="connsiteY12" fmla="*/ 79416 h 96978"/>
              <a:gd name="connsiteX13" fmla="*/ 17938 w 89310"/>
              <a:gd name="connsiteY13" fmla="*/ 70255 h 96978"/>
              <a:gd name="connsiteX14" fmla="*/ 20002 w 89310"/>
              <a:gd name="connsiteY14" fmla="*/ 70255 h 96978"/>
              <a:gd name="connsiteX15" fmla="*/ 26193 w 89310"/>
              <a:gd name="connsiteY15" fmla="*/ 72107 h 96978"/>
              <a:gd name="connsiteX16" fmla="*/ 24129 w 89310"/>
              <a:gd name="connsiteY16" fmla="*/ 73959 h 96978"/>
              <a:gd name="connsiteX17" fmla="*/ 30321 w 89310"/>
              <a:gd name="connsiteY17" fmla="*/ 73959 h 96978"/>
              <a:gd name="connsiteX18" fmla="*/ 36512 w 89310"/>
              <a:gd name="connsiteY18" fmla="*/ 75811 h 96978"/>
              <a:gd name="connsiteX19" fmla="*/ 32385 w 89310"/>
              <a:gd name="connsiteY19" fmla="*/ 79515 h 96978"/>
              <a:gd name="connsiteX20" fmla="*/ 22066 w 89310"/>
              <a:gd name="connsiteY20" fmla="*/ 79515 h 96978"/>
              <a:gd name="connsiteX21" fmla="*/ 22066 w 89310"/>
              <a:gd name="connsiteY21" fmla="*/ 77663 h 96978"/>
              <a:gd name="connsiteX22" fmla="*/ 20002 w 89310"/>
              <a:gd name="connsiteY22" fmla="*/ 73959 h 96978"/>
              <a:gd name="connsiteX23" fmla="*/ 17938 w 89310"/>
              <a:gd name="connsiteY23" fmla="*/ 72107 h 96978"/>
              <a:gd name="connsiteX24" fmla="*/ 17938 w 89310"/>
              <a:gd name="connsiteY24" fmla="*/ 70255 h 96978"/>
              <a:gd name="connsiteX25" fmla="*/ 12065 w 89310"/>
              <a:gd name="connsiteY25" fmla="*/ 562 h 96978"/>
              <a:gd name="connsiteX26" fmla="*/ 24130 w 89310"/>
              <a:gd name="connsiteY26" fmla="*/ 2570 h 96978"/>
              <a:gd name="connsiteX27" fmla="*/ 34185 w 89310"/>
              <a:gd name="connsiteY27" fmla="*/ 8596 h 96978"/>
              <a:gd name="connsiteX28" fmla="*/ 44239 w 89310"/>
              <a:gd name="connsiteY28" fmla="*/ 14622 h 96978"/>
              <a:gd name="connsiteX29" fmla="*/ 52282 w 89310"/>
              <a:gd name="connsiteY29" fmla="*/ 16631 h 96978"/>
              <a:gd name="connsiteX30" fmla="*/ 62336 w 89310"/>
              <a:gd name="connsiteY30" fmla="*/ 14622 h 96978"/>
              <a:gd name="connsiteX31" fmla="*/ 68369 w 89310"/>
              <a:gd name="connsiteY31" fmla="*/ 10605 h 96978"/>
              <a:gd name="connsiteX32" fmla="*/ 80434 w 89310"/>
              <a:gd name="connsiteY32" fmla="*/ 10605 h 96978"/>
              <a:gd name="connsiteX33" fmla="*/ 84456 w 89310"/>
              <a:gd name="connsiteY33" fmla="*/ 16631 h 96978"/>
              <a:gd name="connsiteX34" fmla="*/ 88477 w 89310"/>
              <a:gd name="connsiteY34" fmla="*/ 28683 h 96978"/>
              <a:gd name="connsiteX35" fmla="*/ 88477 w 89310"/>
              <a:gd name="connsiteY35" fmla="*/ 52787 h 96978"/>
              <a:gd name="connsiteX36" fmla="*/ 86467 w 89310"/>
              <a:gd name="connsiteY36" fmla="*/ 66848 h 96978"/>
              <a:gd name="connsiteX37" fmla="*/ 70380 w 89310"/>
              <a:gd name="connsiteY37" fmla="*/ 78900 h 96978"/>
              <a:gd name="connsiteX38" fmla="*/ 64347 w 89310"/>
              <a:gd name="connsiteY38" fmla="*/ 84926 h 96978"/>
              <a:gd name="connsiteX39" fmla="*/ 62336 w 89310"/>
              <a:gd name="connsiteY39" fmla="*/ 92961 h 96978"/>
              <a:gd name="connsiteX40" fmla="*/ 58315 w 89310"/>
              <a:gd name="connsiteY40" fmla="*/ 96978 h 96978"/>
              <a:gd name="connsiteX41" fmla="*/ 48261 w 89310"/>
              <a:gd name="connsiteY41" fmla="*/ 92961 h 96978"/>
              <a:gd name="connsiteX42" fmla="*/ 42228 w 89310"/>
              <a:gd name="connsiteY42" fmla="*/ 86935 h 96978"/>
              <a:gd name="connsiteX43" fmla="*/ 42228 w 89310"/>
              <a:gd name="connsiteY43" fmla="*/ 82917 h 96978"/>
              <a:gd name="connsiteX44" fmla="*/ 46250 w 89310"/>
              <a:gd name="connsiteY44" fmla="*/ 86935 h 96978"/>
              <a:gd name="connsiteX45" fmla="*/ 54293 w 89310"/>
              <a:gd name="connsiteY45" fmla="*/ 88943 h 96978"/>
              <a:gd name="connsiteX46" fmla="*/ 50271 w 89310"/>
              <a:gd name="connsiteY46" fmla="*/ 82917 h 96978"/>
              <a:gd name="connsiteX47" fmla="*/ 40217 w 89310"/>
              <a:gd name="connsiteY47" fmla="*/ 76891 h 96978"/>
              <a:gd name="connsiteX48" fmla="*/ 26141 w 89310"/>
              <a:gd name="connsiteY48" fmla="*/ 66848 h 96978"/>
              <a:gd name="connsiteX49" fmla="*/ 18098 w 89310"/>
              <a:gd name="connsiteY49" fmla="*/ 66848 h 96978"/>
              <a:gd name="connsiteX50" fmla="*/ 10054 w 89310"/>
              <a:gd name="connsiteY50" fmla="*/ 68857 h 96978"/>
              <a:gd name="connsiteX51" fmla="*/ 10054 w 89310"/>
              <a:gd name="connsiteY51" fmla="*/ 64839 h 96978"/>
              <a:gd name="connsiteX52" fmla="*/ 6032 w 89310"/>
              <a:gd name="connsiteY52" fmla="*/ 62830 h 96978"/>
              <a:gd name="connsiteX53" fmla="*/ 2011 w 89310"/>
              <a:gd name="connsiteY53" fmla="*/ 54796 h 96978"/>
              <a:gd name="connsiteX54" fmla="*/ 2011 w 89310"/>
              <a:gd name="connsiteY54" fmla="*/ 52787 h 96978"/>
              <a:gd name="connsiteX55" fmla="*/ 4021 w 89310"/>
              <a:gd name="connsiteY55" fmla="*/ 52787 h 96978"/>
              <a:gd name="connsiteX56" fmla="*/ 8043 w 89310"/>
              <a:gd name="connsiteY56" fmla="*/ 48770 h 96978"/>
              <a:gd name="connsiteX57" fmla="*/ 4021 w 89310"/>
              <a:gd name="connsiteY57" fmla="*/ 40735 h 96978"/>
              <a:gd name="connsiteX58" fmla="*/ 4021 w 89310"/>
              <a:gd name="connsiteY58" fmla="*/ 34709 h 96978"/>
              <a:gd name="connsiteX59" fmla="*/ 2011 w 89310"/>
              <a:gd name="connsiteY59" fmla="*/ 26674 h 96978"/>
              <a:gd name="connsiteX60" fmla="*/ 0 w 89310"/>
              <a:gd name="connsiteY60" fmla="*/ 22657 h 96978"/>
              <a:gd name="connsiteX61" fmla="*/ 4021 w 89310"/>
              <a:gd name="connsiteY61" fmla="*/ 14622 h 96978"/>
              <a:gd name="connsiteX62" fmla="*/ 4021 w 89310"/>
              <a:gd name="connsiteY62" fmla="*/ 2570 h 96978"/>
              <a:gd name="connsiteX63" fmla="*/ 12065 w 89310"/>
              <a:gd name="connsiteY63" fmla="*/ 562 h 9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9310" h="96978">
                <a:moveTo>
                  <a:pt x="22224" y="86183"/>
                </a:moveTo>
                <a:cubicBezTo>
                  <a:pt x="22224" y="84278"/>
                  <a:pt x="24165" y="86183"/>
                  <a:pt x="24165" y="86183"/>
                </a:cubicBezTo>
                <a:cubicBezTo>
                  <a:pt x="24165" y="86183"/>
                  <a:pt x="26105" y="86183"/>
                  <a:pt x="26105" y="88088"/>
                </a:cubicBezTo>
                <a:cubicBezTo>
                  <a:pt x="28045" y="88088"/>
                  <a:pt x="29986" y="86183"/>
                  <a:pt x="29986" y="86183"/>
                </a:cubicBezTo>
                <a:cubicBezTo>
                  <a:pt x="31926" y="86183"/>
                  <a:pt x="33866" y="86183"/>
                  <a:pt x="37747" y="86183"/>
                </a:cubicBezTo>
                <a:cubicBezTo>
                  <a:pt x="39687" y="86183"/>
                  <a:pt x="39687" y="88088"/>
                  <a:pt x="37747" y="91898"/>
                </a:cubicBezTo>
                <a:cubicBezTo>
                  <a:pt x="37747" y="93803"/>
                  <a:pt x="33866" y="91898"/>
                  <a:pt x="28045" y="91898"/>
                </a:cubicBezTo>
                <a:cubicBezTo>
                  <a:pt x="22224" y="91898"/>
                  <a:pt x="22224" y="89993"/>
                  <a:pt x="22224" y="86183"/>
                </a:cubicBezTo>
                <a:close/>
                <a:moveTo>
                  <a:pt x="15874" y="79416"/>
                </a:moveTo>
                <a:cubicBezTo>
                  <a:pt x="16404" y="79416"/>
                  <a:pt x="16933" y="79912"/>
                  <a:pt x="16933" y="79912"/>
                </a:cubicBezTo>
                <a:cubicBezTo>
                  <a:pt x="16933" y="79912"/>
                  <a:pt x="19049" y="79912"/>
                  <a:pt x="19049" y="81897"/>
                </a:cubicBezTo>
                <a:cubicBezTo>
                  <a:pt x="19049" y="83881"/>
                  <a:pt x="12699" y="85865"/>
                  <a:pt x="14815" y="81897"/>
                </a:cubicBezTo>
                <a:cubicBezTo>
                  <a:pt x="14815" y="79912"/>
                  <a:pt x="15345" y="79416"/>
                  <a:pt x="15874" y="79416"/>
                </a:cubicBezTo>
                <a:close/>
                <a:moveTo>
                  <a:pt x="17938" y="70255"/>
                </a:moveTo>
                <a:lnTo>
                  <a:pt x="20002" y="70255"/>
                </a:lnTo>
                <a:cubicBezTo>
                  <a:pt x="24129" y="68403"/>
                  <a:pt x="26193" y="70255"/>
                  <a:pt x="26193" y="72107"/>
                </a:cubicBezTo>
                <a:cubicBezTo>
                  <a:pt x="24129" y="73959"/>
                  <a:pt x="26193" y="73959"/>
                  <a:pt x="24129" y="73959"/>
                </a:cubicBezTo>
                <a:cubicBezTo>
                  <a:pt x="24129" y="73959"/>
                  <a:pt x="28257" y="75811"/>
                  <a:pt x="30321" y="73959"/>
                </a:cubicBezTo>
                <a:cubicBezTo>
                  <a:pt x="30321" y="73959"/>
                  <a:pt x="36512" y="73959"/>
                  <a:pt x="36512" y="75811"/>
                </a:cubicBezTo>
                <a:cubicBezTo>
                  <a:pt x="36512" y="77663"/>
                  <a:pt x="36512" y="79515"/>
                  <a:pt x="32385" y="79515"/>
                </a:cubicBezTo>
                <a:cubicBezTo>
                  <a:pt x="28257" y="79515"/>
                  <a:pt x="26193" y="79515"/>
                  <a:pt x="22066" y="79515"/>
                </a:cubicBezTo>
                <a:cubicBezTo>
                  <a:pt x="22066" y="77663"/>
                  <a:pt x="22066" y="77663"/>
                  <a:pt x="22066" y="77663"/>
                </a:cubicBezTo>
                <a:cubicBezTo>
                  <a:pt x="22066" y="75811"/>
                  <a:pt x="22066" y="73959"/>
                  <a:pt x="20002" y="73959"/>
                </a:cubicBezTo>
                <a:cubicBezTo>
                  <a:pt x="17938" y="73959"/>
                  <a:pt x="17938" y="73959"/>
                  <a:pt x="17938" y="72107"/>
                </a:cubicBezTo>
                <a:cubicBezTo>
                  <a:pt x="17938" y="70255"/>
                  <a:pt x="17938" y="70255"/>
                  <a:pt x="17938" y="70255"/>
                </a:cubicBezTo>
                <a:close/>
                <a:moveTo>
                  <a:pt x="12065" y="562"/>
                </a:moveTo>
                <a:cubicBezTo>
                  <a:pt x="16087" y="-1447"/>
                  <a:pt x="22120" y="2570"/>
                  <a:pt x="24130" y="2570"/>
                </a:cubicBezTo>
                <a:cubicBezTo>
                  <a:pt x="26141" y="4579"/>
                  <a:pt x="34185" y="8596"/>
                  <a:pt x="34185" y="8596"/>
                </a:cubicBezTo>
                <a:cubicBezTo>
                  <a:pt x="34185" y="8596"/>
                  <a:pt x="42228" y="14622"/>
                  <a:pt x="44239" y="14622"/>
                </a:cubicBezTo>
                <a:cubicBezTo>
                  <a:pt x="48261" y="16631"/>
                  <a:pt x="52282" y="16631"/>
                  <a:pt x="52282" y="16631"/>
                </a:cubicBezTo>
                <a:cubicBezTo>
                  <a:pt x="56304" y="16631"/>
                  <a:pt x="60326" y="14622"/>
                  <a:pt x="62336" y="14622"/>
                </a:cubicBezTo>
                <a:cubicBezTo>
                  <a:pt x="64347" y="12614"/>
                  <a:pt x="64347" y="10605"/>
                  <a:pt x="68369" y="10605"/>
                </a:cubicBezTo>
                <a:cubicBezTo>
                  <a:pt x="70380" y="10605"/>
                  <a:pt x="78423" y="10605"/>
                  <a:pt x="80434" y="10605"/>
                </a:cubicBezTo>
                <a:cubicBezTo>
                  <a:pt x="80434" y="10605"/>
                  <a:pt x="84456" y="14622"/>
                  <a:pt x="84456" y="16631"/>
                </a:cubicBezTo>
                <a:cubicBezTo>
                  <a:pt x="86467" y="16631"/>
                  <a:pt x="88477" y="28683"/>
                  <a:pt x="88477" y="28683"/>
                </a:cubicBezTo>
                <a:cubicBezTo>
                  <a:pt x="88477" y="28683"/>
                  <a:pt x="88477" y="52787"/>
                  <a:pt x="88477" y="52787"/>
                </a:cubicBezTo>
                <a:cubicBezTo>
                  <a:pt x="90488" y="54796"/>
                  <a:pt x="88477" y="62830"/>
                  <a:pt x="86467" y="66848"/>
                </a:cubicBezTo>
                <a:cubicBezTo>
                  <a:pt x="82445" y="70865"/>
                  <a:pt x="72391" y="76891"/>
                  <a:pt x="70380" y="78900"/>
                </a:cubicBezTo>
                <a:cubicBezTo>
                  <a:pt x="66358" y="78900"/>
                  <a:pt x="64347" y="82917"/>
                  <a:pt x="64347" y="84926"/>
                </a:cubicBezTo>
                <a:cubicBezTo>
                  <a:pt x="62336" y="86935"/>
                  <a:pt x="62336" y="90952"/>
                  <a:pt x="62336" y="92961"/>
                </a:cubicBezTo>
                <a:cubicBezTo>
                  <a:pt x="62336" y="94969"/>
                  <a:pt x="62336" y="94969"/>
                  <a:pt x="58315" y="96978"/>
                </a:cubicBezTo>
                <a:cubicBezTo>
                  <a:pt x="56304" y="96978"/>
                  <a:pt x="52282" y="94969"/>
                  <a:pt x="48261" y="92961"/>
                </a:cubicBezTo>
                <a:cubicBezTo>
                  <a:pt x="46250" y="92961"/>
                  <a:pt x="42228" y="86935"/>
                  <a:pt x="42228" y="86935"/>
                </a:cubicBezTo>
                <a:cubicBezTo>
                  <a:pt x="42228" y="86935"/>
                  <a:pt x="40217" y="82917"/>
                  <a:pt x="42228" y="82917"/>
                </a:cubicBezTo>
                <a:cubicBezTo>
                  <a:pt x="44239" y="82917"/>
                  <a:pt x="46250" y="84926"/>
                  <a:pt x="46250" y="86935"/>
                </a:cubicBezTo>
                <a:cubicBezTo>
                  <a:pt x="48261" y="88943"/>
                  <a:pt x="52282" y="90952"/>
                  <a:pt x="54293" y="88943"/>
                </a:cubicBezTo>
                <a:cubicBezTo>
                  <a:pt x="54293" y="86935"/>
                  <a:pt x="52282" y="82917"/>
                  <a:pt x="50271" y="82917"/>
                </a:cubicBezTo>
                <a:cubicBezTo>
                  <a:pt x="48261" y="82917"/>
                  <a:pt x="46250" y="80909"/>
                  <a:pt x="40217" y="76891"/>
                </a:cubicBezTo>
                <a:cubicBezTo>
                  <a:pt x="36195" y="74883"/>
                  <a:pt x="28152" y="66848"/>
                  <a:pt x="26141" y="66848"/>
                </a:cubicBezTo>
                <a:cubicBezTo>
                  <a:pt x="24130" y="64839"/>
                  <a:pt x="18098" y="66848"/>
                  <a:pt x="18098" y="66848"/>
                </a:cubicBezTo>
                <a:cubicBezTo>
                  <a:pt x="18098" y="66848"/>
                  <a:pt x="12065" y="68857"/>
                  <a:pt x="10054" y="68857"/>
                </a:cubicBezTo>
                <a:cubicBezTo>
                  <a:pt x="10054" y="68857"/>
                  <a:pt x="8043" y="64839"/>
                  <a:pt x="10054" y="64839"/>
                </a:cubicBezTo>
                <a:cubicBezTo>
                  <a:pt x="10054" y="64839"/>
                  <a:pt x="6032" y="62830"/>
                  <a:pt x="6032" y="62830"/>
                </a:cubicBezTo>
                <a:cubicBezTo>
                  <a:pt x="6032" y="62830"/>
                  <a:pt x="4021" y="58813"/>
                  <a:pt x="2011" y="54796"/>
                </a:cubicBezTo>
                <a:lnTo>
                  <a:pt x="2011" y="52787"/>
                </a:lnTo>
                <a:cubicBezTo>
                  <a:pt x="2011" y="52787"/>
                  <a:pt x="2011" y="52787"/>
                  <a:pt x="4021" y="52787"/>
                </a:cubicBezTo>
                <a:cubicBezTo>
                  <a:pt x="4021" y="52787"/>
                  <a:pt x="8043" y="50778"/>
                  <a:pt x="8043" y="48770"/>
                </a:cubicBezTo>
                <a:cubicBezTo>
                  <a:pt x="8043" y="48770"/>
                  <a:pt x="4021" y="40735"/>
                  <a:pt x="4021" y="40735"/>
                </a:cubicBezTo>
                <a:cubicBezTo>
                  <a:pt x="4021" y="38726"/>
                  <a:pt x="6032" y="36718"/>
                  <a:pt x="4021" y="34709"/>
                </a:cubicBezTo>
                <a:cubicBezTo>
                  <a:pt x="4021" y="32700"/>
                  <a:pt x="2011" y="28683"/>
                  <a:pt x="2011" y="26674"/>
                </a:cubicBezTo>
                <a:cubicBezTo>
                  <a:pt x="0" y="24666"/>
                  <a:pt x="0" y="24666"/>
                  <a:pt x="0" y="22657"/>
                </a:cubicBezTo>
                <a:cubicBezTo>
                  <a:pt x="4021" y="20648"/>
                  <a:pt x="4021" y="16631"/>
                  <a:pt x="4021" y="14622"/>
                </a:cubicBezTo>
                <a:cubicBezTo>
                  <a:pt x="4021" y="10605"/>
                  <a:pt x="2011" y="6588"/>
                  <a:pt x="4021" y="2570"/>
                </a:cubicBezTo>
                <a:cubicBezTo>
                  <a:pt x="6032" y="562"/>
                  <a:pt x="10054" y="562"/>
                  <a:pt x="12065" y="562"/>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0" name="Kosovo"/>
          <p:cNvSpPr>
            <a:spLocks/>
          </p:cNvSpPr>
          <p:nvPr/>
        </p:nvSpPr>
        <p:spPr bwMode="auto">
          <a:xfrm>
            <a:off x="6709008" y="2634963"/>
            <a:ext cx="39196" cy="34297"/>
          </a:xfrm>
          <a:custGeom>
            <a:avLst/>
            <a:gdLst>
              <a:gd name="T0" fmla="*/ 19 w 19"/>
              <a:gd name="T1" fmla="*/ 13 h 17"/>
              <a:gd name="T2" fmla="*/ 14 w 19"/>
              <a:gd name="T3" fmla="*/ 15 h 17"/>
              <a:gd name="T4" fmla="*/ 9 w 19"/>
              <a:gd name="T5" fmla="*/ 17 h 17"/>
              <a:gd name="T6" fmla="*/ 6 w 19"/>
              <a:gd name="T7" fmla="*/ 17 h 17"/>
              <a:gd name="T8" fmla="*/ 2 w 19"/>
              <a:gd name="T9" fmla="*/ 11 h 17"/>
              <a:gd name="T10" fmla="*/ 0 w 19"/>
              <a:gd name="T11" fmla="*/ 9 h 17"/>
              <a:gd name="T12" fmla="*/ 1 w 19"/>
              <a:gd name="T13" fmla="*/ 5 h 17"/>
              <a:gd name="T14" fmla="*/ 5 w 19"/>
              <a:gd name="T15" fmla="*/ 1 h 17"/>
              <a:gd name="T16" fmla="*/ 9 w 19"/>
              <a:gd name="T17" fmla="*/ 0 h 17"/>
              <a:gd name="T18" fmla="*/ 12 w 19"/>
              <a:gd name="T19" fmla="*/ 0 h 17"/>
              <a:gd name="T20" fmla="*/ 13 w 19"/>
              <a:gd name="T21" fmla="*/ 2 h 17"/>
              <a:gd name="T22" fmla="*/ 14 w 19"/>
              <a:gd name="T23" fmla="*/ 5 h 17"/>
              <a:gd name="T24" fmla="*/ 17 w 19"/>
              <a:gd name="T25" fmla="*/ 10 h 17"/>
              <a:gd name="T26" fmla="*/ 19 w 19"/>
              <a:gd name="T27"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
                <a:moveTo>
                  <a:pt x="19" y="13"/>
                </a:moveTo>
                <a:cubicBezTo>
                  <a:pt x="19" y="13"/>
                  <a:pt x="14" y="15"/>
                  <a:pt x="14" y="15"/>
                </a:cubicBezTo>
                <a:cubicBezTo>
                  <a:pt x="13" y="16"/>
                  <a:pt x="9" y="17"/>
                  <a:pt x="9" y="17"/>
                </a:cubicBezTo>
                <a:cubicBezTo>
                  <a:pt x="8" y="17"/>
                  <a:pt x="6" y="17"/>
                  <a:pt x="6" y="17"/>
                </a:cubicBezTo>
                <a:cubicBezTo>
                  <a:pt x="2" y="11"/>
                  <a:pt x="2" y="11"/>
                  <a:pt x="2" y="11"/>
                </a:cubicBezTo>
                <a:cubicBezTo>
                  <a:pt x="0" y="9"/>
                  <a:pt x="0" y="9"/>
                  <a:pt x="0" y="9"/>
                </a:cubicBezTo>
                <a:cubicBezTo>
                  <a:pt x="0" y="9"/>
                  <a:pt x="0" y="7"/>
                  <a:pt x="1" y="5"/>
                </a:cubicBezTo>
                <a:cubicBezTo>
                  <a:pt x="1" y="4"/>
                  <a:pt x="4" y="2"/>
                  <a:pt x="5" y="1"/>
                </a:cubicBezTo>
                <a:cubicBezTo>
                  <a:pt x="5" y="1"/>
                  <a:pt x="8" y="1"/>
                  <a:pt x="9" y="0"/>
                </a:cubicBezTo>
                <a:cubicBezTo>
                  <a:pt x="10" y="0"/>
                  <a:pt x="12" y="0"/>
                  <a:pt x="12" y="0"/>
                </a:cubicBezTo>
                <a:cubicBezTo>
                  <a:pt x="12" y="0"/>
                  <a:pt x="12" y="2"/>
                  <a:pt x="13" y="2"/>
                </a:cubicBezTo>
                <a:cubicBezTo>
                  <a:pt x="13" y="3"/>
                  <a:pt x="14" y="5"/>
                  <a:pt x="14" y="5"/>
                </a:cubicBezTo>
                <a:cubicBezTo>
                  <a:pt x="15" y="6"/>
                  <a:pt x="17" y="10"/>
                  <a:pt x="17" y="10"/>
                </a:cubicBezTo>
                <a:lnTo>
                  <a:pt x="19" y="13"/>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1" name="Albania"/>
          <p:cNvSpPr>
            <a:spLocks/>
          </p:cNvSpPr>
          <p:nvPr/>
        </p:nvSpPr>
        <p:spPr bwMode="auto">
          <a:xfrm>
            <a:off x="6687778" y="2652928"/>
            <a:ext cx="40831" cy="94725"/>
          </a:xfrm>
          <a:custGeom>
            <a:avLst/>
            <a:gdLst>
              <a:gd name="T0" fmla="*/ 0 w 20"/>
              <a:gd name="T1" fmla="*/ 4 h 46"/>
              <a:gd name="T2" fmla="*/ 2 w 20"/>
              <a:gd name="T3" fmla="*/ 8 h 46"/>
              <a:gd name="T4" fmla="*/ 6 w 20"/>
              <a:gd name="T5" fmla="*/ 10 h 46"/>
              <a:gd name="T6" fmla="*/ 4 w 20"/>
              <a:gd name="T7" fmla="*/ 15 h 46"/>
              <a:gd name="T8" fmla="*/ 5 w 20"/>
              <a:gd name="T9" fmla="*/ 23 h 46"/>
              <a:gd name="T10" fmla="*/ 5 w 20"/>
              <a:gd name="T11" fmla="*/ 28 h 46"/>
              <a:gd name="T12" fmla="*/ 5 w 20"/>
              <a:gd name="T13" fmla="*/ 32 h 46"/>
              <a:gd name="T14" fmla="*/ 5 w 20"/>
              <a:gd name="T15" fmla="*/ 34 h 46"/>
              <a:gd name="T16" fmla="*/ 5 w 20"/>
              <a:gd name="T17" fmla="*/ 37 h 46"/>
              <a:gd name="T18" fmla="*/ 10 w 20"/>
              <a:gd name="T19" fmla="*/ 40 h 46"/>
              <a:gd name="T20" fmla="*/ 13 w 20"/>
              <a:gd name="T21" fmla="*/ 43 h 46"/>
              <a:gd name="T22" fmla="*/ 14 w 20"/>
              <a:gd name="T23" fmla="*/ 46 h 46"/>
              <a:gd name="T24" fmla="*/ 19 w 20"/>
              <a:gd name="T25" fmla="*/ 35 h 46"/>
              <a:gd name="T26" fmla="*/ 20 w 20"/>
              <a:gd name="T27" fmla="*/ 33 h 46"/>
              <a:gd name="T28" fmla="*/ 17 w 20"/>
              <a:gd name="T29" fmla="*/ 29 h 46"/>
              <a:gd name="T30" fmla="*/ 15 w 20"/>
              <a:gd name="T31" fmla="*/ 23 h 46"/>
              <a:gd name="T32" fmla="*/ 15 w 20"/>
              <a:gd name="T33" fmla="*/ 15 h 46"/>
              <a:gd name="T34" fmla="*/ 16 w 20"/>
              <a:gd name="T35" fmla="*/ 8 h 46"/>
              <a:gd name="T36" fmla="*/ 12 w 20"/>
              <a:gd name="T37" fmla="*/ 2 h 46"/>
              <a:gd name="T38" fmla="*/ 10 w 20"/>
              <a:gd name="T39" fmla="*/ 0 h 46"/>
              <a:gd name="T40" fmla="*/ 8 w 20"/>
              <a:gd name="T41" fmla="*/ 0 h 46"/>
              <a:gd name="T42" fmla="*/ 3 w 20"/>
              <a:gd name="T43" fmla="*/ 1 h 46"/>
              <a:gd name="T44" fmla="*/ 0 w 20"/>
              <a:gd name="T45"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6">
                <a:moveTo>
                  <a:pt x="0" y="4"/>
                </a:moveTo>
                <a:cubicBezTo>
                  <a:pt x="1" y="6"/>
                  <a:pt x="1" y="8"/>
                  <a:pt x="2" y="8"/>
                </a:cubicBezTo>
                <a:cubicBezTo>
                  <a:pt x="3" y="8"/>
                  <a:pt x="5" y="9"/>
                  <a:pt x="6" y="10"/>
                </a:cubicBezTo>
                <a:cubicBezTo>
                  <a:pt x="6" y="11"/>
                  <a:pt x="4" y="11"/>
                  <a:pt x="4" y="15"/>
                </a:cubicBezTo>
                <a:cubicBezTo>
                  <a:pt x="3" y="18"/>
                  <a:pt x="4" y="21"/>
                  <a:pt x="5" y="23"/>
                </a:cubicBezTo>
                <a:cubicBezTo>
                  <a:pt x="5" y="24"/>
                  <a:pt x="5" y="26"/>
                  <a:pt x="5" y="28"/>
                </a:cubicBezTo>
                <a:cubicBezTo>
                  <a:pt x="4" y="29"/>
                  <a:pt x="4" y="31"/>
                  <a:pt x="5" y="32"/>
                </a:cubicBezTo>
                <a:cubicBezTo>
                  <a:pt x="5" y="32"/>
                  <a:pt x="6" y="32"/>
                  <a:pt x="5" y="34"/>
                </a:cubicBezTo>
                <a:cubicBezTo>
                  <a:pt x="4" y="35"/>
                  <a:pt x="4" y="36"/>
                  <a:pt x="5" y="37"/>
                </a:cubicBezTo>
                <a:cubicBezTo>
                  <a:pt x="6" y="38"/>
                  <a:pt x="9" y="40"/>
                  <a:pt x="10" y="40"/>
                </a:cubicBezTo>
                <a:cubicBezTo>
                  <a:pt x="11" y="41"/>
                  <a:pt x="12" y="41"/>
                  <a:pt x="13" y="43"/>
                </a:cubicBezTo>
                <a:cubicBezTo>
                  <a:pt x="13" y="44"/>
                  <a:pt x="13" y="45"/>
                  <a:pt x="14" y="46"/>
                </a:cubicBezTo>
                <a:cubicBezTo>
                  <a:pt x="14" y="46"/>
                  <a:pt x="19" y="35"/>
                  <a:pt x="19" y="35"/>
                </a:cubicBezTo>
                <a:cubicBezTo>
                  <a:pt x="20" y="33"/>
                  <a:pt x="20" y="33"/>
                  <a:pt x="20" y="33"/>
                </a:cubicBezTo>
                <a:cubicBezTo>
                  <a:pt x="20" y="33"/>
                  <a:pt x="17" y="29"/>
                  <a:pt x="17" y="29"/>
                </a:cubicBezTo>
                <a:cubicBezTo>
                  <a:pt x="16" y="28"/>
                  <a:pt x="15" y="24"/>
                  <a:pt x="15" y="23"/>
                </a:cubicBezTo>
                <a:cubicBezTo>
                  <a:pt x="15" y="21"/>
                  <a:pt x="15" y="15"/>
                  <a:pt x="15" y="15"/>
                </a:cubicBezTo>
                <a:cubicBezTo>
                  <a:pt x="16" y="8"/>
                  <a:pt x="16" y="8"/>
                  <a:pt x="16" y="8"/>
                </a:cubicBezTo>
                <a:cubicBezTo>
                  <a:pt x="12" y="2"/>
                  <a:pt x="12" y="2"/>
                  <a:pt x="12" y="2"/>
                </a:cubicBezTo>
                <a:cubicBezTo>
                  <a:pt x="10" y="0"/>
                  <a:pt x="10" y="0"/>
                  <a:pt x="10" y="0"/>
                </a:cubicBezTo>
                <a:cubicBezTo>
                  <a:pt x="8" y="0"/>
                  <a:pt x="8" y="0"/>
                  <a:pt x="8" y="0"/>
                </a:cubicBezTo>
                <a:cubicBezTo>
                  <a:pt x="8" y="0"/>
                  <a:pt x="5" y="0"/>
                  <a:pt x="3" y="1"/>
                </a:cubicBezTo>
                <a:cubicBezTo>
                  <a:pt x="2" y="2"/>
                  <a:pt x="0" y="4"/>
                  <a:pt x="0" y="4"/>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2" name="Greece"/>
          <p:cNvSpPr>
            <a:spLocks/>
          </p:cNvSpPr>
          <p:nvPr/>
        </p:nvSpPr>
        <p:spPr bwMode="auto">
          <a:xfrm>
            <a:off x="6717175" y="2687226"/>
            <a:ext cx="163319" cy="235179"/>
          </a:xfrm>
          <a:custGeom>
            <a:avLst/>
            <a:gdLst>
              <a:gd name="connsiteX0" fmla="*/ 93265 w 158750"/>
              <a:gd name="connsiteY0" fmla="*/ 201612 h 228599"/>
              <a:gd name="connsiteX1" fmla="*/ 97234 w 158750"/>
              <a:gd name="connsiteY1" fmla="*/ 203688 h 228599"/>
              <a:gd name="connsiteX2" fmla="*/ 109141 w 158750"/>
              <a:gd name="connsiteY2" fmla="*/ 211992 h 228599"/>
              <a:gd name="connsiteX3" fmla="*/ 119062 w 158750"/>
              <a:gd name="connsiteY3" fmla="*/ 209916 h 228599"/>
              <a:gd name="connsiteX4" fmla="*/ 127000 w 158750"/>
              <a:gd name="connsiteY4" fmla="*/ 211992 h 228599"/>
              <a:gd name="connsiteX5" fmla="*/ 136922 w 158750"/>
              <a:gd name="connsiteY5" fmla="*/ 211992 h 228599"/>
              <a:gd name="connsiteX6" fmla="*/ 142875 w 158750"/>
              <a:gd name="connsiteY6" fmla="*/ 214068 h 228599"/>
              <a:gd name="connsiteX7" fmla="*/ 142875 w 158750"/>
              <a:gd name="connsiteY7" fmla="*/ 218220 h 228599"/>
              <a:gd name="connsiteX8" fmla="*/ 150813 w 158750"/>
              <a:gd name="connsiteY8" fmla="*/ 216144 h 228599"/>
              <a:gd name="connsiteX9" fmla="*/ 158750 w 158750"/>
              <a:gd name="connsiteY9" fmla="*/ 216144 h 228599"/>
              <a:gd name="connsiteX10" fmla="*/ 158750 w 158750"/>
              <a:gd name="connsiteY10" fmla="*/ 222371 h 228599"/>
              <a:gd name="connsiteX11" fmla="*/ 152797 w 158750"/>
              <a:gd name="connsiteY11" fmla="*/ 224447 h 228599"/>
              <a:gd name="connsiteX12" fmla="*/ 142875 w 158750"/>
              <a:gd name="connsiteY12" fmla="*/ 224447 h 228599"/>
              <a:gd name="connsiteX13" fmla="*/ 132953 w 158750"/>
              <a:gd name="connsiteY13" fmla="*/ 226523 h 228599"/>
              <a:gd name="connsiteX14" fmla="*/ 123031 w 158750"/>
              <a:gd name="connsiteY14" fmla="*/ 228599 h 228599"/>
              <a:gd name="connsiteX15" fmla="*/ 123031 w 158750"/>
              <a:gd name="connsiteY15" fmla="*/ 222371 h 228599"/>
              <a:gd name="connsiteX16" fmla="*/ 117078 w 158750"/>
              <a:gd name="connsiteY16" fmla="*/ 220295 h 228599"/>
              <a:gd name="connsiteX17" fmla="*/ 115094 w 158750"/>
              <a:gd name="connsiteY17" fmla="*/ 218220 h 228599"/>
              <a:gd name="connsiteX18" fmla="*/ 105172 w 158750"/>
              <a:gd name="connsiteY18" fmla="*/ 218220 h 228599"/>
              <a:gd name="connsiteX19" fmla="*/ 101203 w 158750"/>
              <a:gd name="connsiteY19" fmla="*/ 218220 h 228599"/>
              <a:gd name="connsiteX20" fmla="*/ 99219 w 158750"/>
              <a:gd name="connsiteY20" fmla="*/ 216144 h 228599"/>
              <a:gd name="connsiteX21" fmla="*/ 93265 w 158750"/>
              <a:gd name="connsiteY21" fmla="*/ 216144 h 228599"/>
              <a:gd name="connsiteX22" fmla="*/ 87312 w 158750"/>
              <a:gd name="connsiteY22" fmla="*/ 211992 h 228599"/>
              <a:gd name="connsiteX23" fmla="*/ 89297 w 158750"/>
              <a:gd name="connsiteY23" fmla="*/ 205764 h 228599"/>
              <a:gd name="connsiteX24" fmla="*/ 93265 w 158750"/>
              <a:gd name="connsiteY24" fmla="*/ 201612 h 228599"/>
              <a:gd name="connsiteX25" fmla="*/ 71437 w 158750"/>
              <a:gd name="connsiteY25" fmla="*/ 178196 h 228599"/>
              <a:gd name="connsiteX26" fmla="*/ 74612 w 158750"/>
              <a:gd name="connsiteY26" fmla="*/ 178196 h 228599"/>
              <a:gd name="connsiteX27" fmla="*/ 74612 w 158750"/>
              <a:gd name="connsiteY27" fmla="*/ 182165 h 228599"/>
              <a:gd name="connsiteX28" fmla="*/ 73024 w 158750"/>
              <a:gd name="connsiteY28" fmla="*/ 184149 h 228599"/>
              <a:gd name="connsiteX29" fmla="*/ 71437 w 158750"/>
              <a:gd name="connsiteY29" fmla="*/ 182165 h 228599"/>
              <a:gd name="connsiteX30" fmla="*/ 71437 w 158750"/>
              <a:gd name="connsiteY30" fmla="*/ 178196 h 228599"/>
              <a:gd name="connsiteX31" fmla="*/ 111919 w 158750"/>
              <a:gd name="connsiteY31" fmla="*/ 168804 h 228599"/>
              <a:gd name="connsiteX32" fmla="*/ 115888 w 158750"/>
              <a:gd name="connsiteY32" fmla="*/ 168804 h 228599"/>
              <a:gd name="connsiteX33" fmla="*/ 115888 w 158750"/>
              <a:gd name="connsiteY33" fmla="*/ 170920 h 228599"/>
              <a:gd name="connsiteX34" fmla="*/ 113904 w 158750"/>
              <a:gd name="connsiteY34" fmla="*/ 173037 h 228599"/>
              <a:gd name="connsiteX35" fmla="*/ 109935 w 158750"/>
              <a:gd name="connsiteY35" fmla="*/ 173037 h 228599"/>
              <a:gd name="connsiteX36" fmla="*/ 107950 w 158750"/>
              <a:gd name="connsiteY36" fmla="*/ 170920 h 228599"/>
              <a:gd name="connsiteX37" fmla="*/ 111919 w 158750"/>
              <a:gd name="connsiteY37" fmla="*/ 168804 h 228599"/>
              <a:gd name="connsiteX38" fmla="*/ 117475 w 158750"/>
              <a:gd name="connsiteY38" fmla="*/ 160337 h 228599"/>
              <a:gd name="connsiteX39" fmla="*/ 119062 w 158750"/>
              <a:gd name="connsiteY39" fmla="*/ 164570 h 228599"/>
              <a:gd name="connsiteX40" fmla="*/ 119062 w 158750"/>
              <a:gd name="connsiteY40" fmla="*/ 166687 h 228599"/>
              <a:gd name="connsiteX41" fmla="*/ 117475 w 158750"/>
              <a:gd name="connsiteY41" fmla="*/ 166687 h 228599"/>
              <a:gd name="connsiteX42" fmla="*/ 115887 w 158750"/>
              <a:gd name="connsiteY42" fmla="*/ 162454 h 228599"/>
              <a:gd name="connsiteX43" fmla="*/ 117475 w 158750"/>
              <a:gd name="connsiteY43" fmla="*/ 160337 h 228599"/>
              <a:gd name="connsiteX44" fmla="*/ 112712 w 158750"/>
              <a:gd name="connsiteY44" fmla="*/ 147955 h 228599"/>
              <a:gd name="connsiteX45" fmla="*/ 115094 w 158750"/>
              <a:gd name="connsiteY45" fmla="*/ 147955 h 228599"/>
              <a:gd name="connsiteX46" fmla="*/ 112712 w 158750"/>
              <a:gd name="connsiteY46" fmla="*/ 151765 h 228599"/>
              <a:gd name="connsiteX47" fmla="*/ 112712 w 158750"/>
              <a:gd name="connsiteY47" fmla="*/ 147955 h 228599"/>
              <a:gd name="connsiteX48" fmla="*/ 129382 w 158750"/>
              <a:gd name="connsiteY48" fmla="*/ 147637 h 228599"/>
              <a:gd name="connsiteX49" fmla="*/ 133086 w 158750"/>
              <a:gd name="connsiteY49" fmla="*/ 149754 h 228599"/>
              <a:gd name="connsiteX50" fmla="*/ 133086 w 158750"/>
              <a:gd name="connsiteY50" fmla="*/ 153987 h 228599"/>
              <a:gd name="connsiteX51" fmla="*/ 131234 w 158750"/>
              <a:gd name="connsiteY51" fmla="*/ 158220 h 228599"/>
              <a:gd name="connsiteX52" fmla="*/ 127530 w 158750"/>
              <a:gd name="connsiteY52" fmla="*/ 160337 h 228599"/>
              <a:gd name="connsiteX53" fmla="*/ 123825 w 158750"/>
              <a:gd name="connsiteY53" fmla="*/ 158220 h 228599"/>
              <a:gd name="connsiteX54" fmla="*/ 125677 w 158750"/>
              <a:gd name="connsiteY54" fmla="*/ 156104 h 228599"/>
              <a:gd name="connsiteX55" fmla="*/ 127530 w 158750"/>
              <a:gd name="connsiteY55" fmla="*/ 151870 h 228599"/>
              <a:gd name="connsiteX56" fmla="*/ 129382 w 158750"/>
              <a:gd name="connsiteY56" fmla="*/ 147637 h 228599"/>
              <a:gd name="connsiteX57" fmla="*/ 138747 w 158750"/>
              <a:gd name="connsiteY57" fmla="*/ 146050 h 228599"/>
              <a:gd name="connsiteX58" fmla="*/ 144462 w 158750"/>
              <a:gd name="connsiteY58" fmla="*/ 148167 h 228599"/>
              <a:gd name="connsiteX59" fmla="*/ 140652 w 158750"/>
              <a:gd name="connsiteY59" fmla="*/ 158750 h 228599"/>
              <a:gd name="connsiteX60" fmla="*/ 136842 w 158750"/>
              <a:gd name="connsiteY60" fmla="*/ 156633 h 228599"/>
              <a:gd name="connsiteX61" fmla="*/ 138747 w 158750"/>
              <a:gd name="connsiteY61" fmla="*/ 146050 h 228599"/>
              <a:gd name="connsiteX62" fmla="*/ 133350 w 158750"/>
              <a:gd name="connsiteY62" fmla="*/ 139700 h 228599"/>
              <a:gd name="connsiteX63" fmla="*/ 137584 w 158750"/>
              <a:gd name="connsiteY63" fmla="*/ 139700 h 228599"/>
              <a:gd name="connsiteX64" fmla="*/ 139700 w 158750"/>
              <a:gd name="connsiteY64" fmla="*/ 142081 h 228599"/>
              <a:gd name="connsiteX65" fmla="*/ 135467 w 158750"/>
              <a:gd name="connsiteY65" fmla="*/ 144462 h 228599"/>
              <a:gd name="connsiteX66" fmla="*/ 133350 w 158750"/>
              <a:gd name="connsiteY66" fmla="*/ 139700 h 228599"/>
              <a:gd name="connsiteX67" fmla="*/ 121444 w 158750"/>
              <a:gd name="connsiteY67" fmla="*/ 139700 h 228599"/>
              <a:gd name="connsiteX68" fmla="*/ 123429 w 158750"/>
              <a:gd name="connsiteY68" fmla="*/ 139700 h 228599"/>
              <a:gd name="connsiteX69" fmla="*/ 123429 w 158750"/>
              <a:gd name="connsiteY69" fmla="*/ 144462 h 228599"/>
              <a:gd name="connsiteX70" fmla="*/ 119460 w 158750"/>
              <a:gd name="connsiteY70" fmla="*/ 144462 h 228599"/>
              <a:gd name="connsiteX71" fmla="*/ 117475 w 158750"/>
              <a:gd name="connsiteY71" fmla="*/ 142081 h 228599"/>
              <a:gd name="connsiteX72" fmla="*/ 121444 w 158750"/>
              <a:gd name="connsiteY72" fmla="*/ 139700 h 228599"/>
              <a:gd name="connsiteX73" fmla="*/ 113771 w 158750"/>
              <a:gd name="connsiteY73" fmla="*/ 139700 h 228599"/>
              <a:gd name="connsiteX74" fmla="*/ 115887 w 158750"/>
              <a:gd name="connsiteY74" fmla="*/ 143668 h 228599"/>
              <a:gd name="connsiteX75" fmla="*/ 109537 w 158750"/>
              <a:gd name="connsiteY75" fmla="*/ 145653 h 228599"/>
              <a:gd name="connsiteX76" fmla="*/ 109537 w 158750"/>
              <a:gd name="connsiteY76" fmla="*/ 141684 h 228599"/>
              <a:gd name="connsiteX77" fmla="*/ 113771 w 158750"/>
              <a:gd name="connsiteY77" fmla="*/ 139700 h 228599"/>
              <a:gd name="connsiteX78" fmla="*/ 125730 w 158750"/>
              <a:gd name="connsiteY78" fmla="*/ 130323 h 228599"/>
              <a:gd name="connsiteX79" fmla="*/ 131445 w 158750"/>
              <a:gd name="connsiteY79" fmla="*/ 130571 h 228599"/>
              <a:gd name="connsiteX80" fmla="*/ 133350 w 158750"/>
              <a:gd name="connsiteY80" fmla="*/ 132555 h 228599"/>
              <a:gd name="connsiteX81" fmla="*/ 133350 w 158750"/>
              <a:gd name="connsiteY81" fmla="*/ 136524 h 228599"/>
              <a:gd name="connsiteX82" fmla="*/ 127635 w 158750"/>
              <a:gd name="connsiteY82" fmla="*/ 136524 h 228599"/>
              <a:gd name="connsiteX83" fmla="*/ 125730 w 158750"/>
              <a:gd name="connsiteY83" fmla="*/ 134540 h 228599"/>
              <a:gd name="connsiteX84" fmla="*/ 125730 w 158750"/>
              <a:gd name="connsiteY84" fmla="*/ 130323 h 228599"/>
              <a:gd name="connsiteX85" fmla="*/ 11641 w 158750"/>
              <a:gd name="connsiteY85" fmla="*/ 124278 h 228599"/>
              <a:gd name="connsiteX86" fmla="*/ 15345 w 158750"/>
              <a:gd name="connsiteY86" fmla="*/ 124278 h 228599"/>
              <a:gd name="connsiteX87" fmla="*/ 17198 w 158750"/>
              <a:gd name="connsiteY87" fmla="*/ 128360 h 228599"/>
              <a:gd name="connsiteX88" fmla="*/ 19050 w 158750"/>
              <a:gd name="connsiteY88" fmla="*/ 136524 h 228599"/>
              <a:gd name="connsiteX89" fmla="*/ 13493 w 158750"/>
              <a:gd name="connsiteY89" fmla="*/ 134483 h 228599"/>
              <a:gd name="connsiteX90" fmla="*/ 9789 w 158750"/>
              <a:gd name="connsiteY90" fmla="*/ 130401 h 228599"/>
              <a:gd name="connsiteX91" fmla="*/ 7937 w 158750"/>
              <a:gd name="connsiteY91" fmla="*/ 126319 h 228599"/>
              <a:gd name="connsiteX92" fmla="*/ 11641 w 158750"/>
              <a:gd name="connsiteY92" fmla="*/ 124278 h 228599"/>
              <a:gd name="connsiteX93" fmla="*/ 31461 w 158750"/>
              <a:gd name="connsiteY93" fmla="*/ 111125 h 228599"/>
              <a:gd name="connsiteX94" fmla="*/ 35502 w 158750"/>
              <a:gd name="connsiteY94" fmla="*/ 113097 h 228599"/>
              <a:gd name="connsiteX95" fmla="*/ 41563 w 158750"/>
              <a:gd name="connsiteY95" fmla="*/ 113097 h 228599"/>
              <a:gd name="connsiteX96" fmla="*/ 45604 w 158750"/>
              <a:gd name="connsiteY96" fmla="*/ 111125 h 228599"/>
              <a:gd name="connsiteX97" fmla="*/ 53686 w 158750"/>
              <a:gd name="connsiteY97" fmla="*/ 113097 h 228599"/>
              <a:gd name="connsiteX98" fmla="*/ 57727 w 158750"/>
              <a:gd name="connsiteY98" fmla="*/ 119014 h 228599"/>
              <a:gd name="connsiteX99" fmla="*/ 65809 w 158750"/>
              <a:gd name="connsiteY99" fmla="*/ 122959 h 228599"/>
              <a:gd name="connsiteX100" fmla="*/ 71870 w 158750"/>
              <a:gd name="connsiteY100" fmla="*/ 120987 h 228599"/>
              <a:gd name="connsiteX101" fmla="*/ 77932 w 158750"/>
              <a:gd name="connsiteY101" fmla="*/ 119014 h 228599"/>
              <a:gd name="connsiteX102" fmla="*/ 79952 w 158750"/>
              <a:gd name="connsiteY102" fmla="*/ 119014 h 228599"/>
              <a:gd name="connsiteX103" fmla="*/ 77932 w 158750"/>
              <a:gd name="connsiteY103" fmla="*/ 124931 h 228599"/>
              <a:gd name="connsiteX104" fmla="*/ 73891 w 158750"/>
              <a:gd name="connsiteY104" fmla="*/ 126904 h 228599"/>
              <a:gd name="connsiteX105" fmla="*/ 73891 w 158750"/>
              <a:gd name="connsiteY105" fmla="*/ 132821 h 228599"/>
              <a:gd name="connsiteX106" fmla="*/ 77932 w 158750"/>
              <a:gd name="connsiteY106" fmla="*/ 136765 h 228599"/>
              <a:gd name="connsiteX107" fmla="*/ 86013 w 158750"/>
              <a:gd name="connsiteY107" fmla="*/ 140710 h 228599"/>
              <a:gd name="connsiteX108" fmla="*/ 92075 w 158750"/>
              <a:gd name="connsiteY108" fmla="*/ 142682 h 228599"/>
              <a:gd name="connsiteX109" fmla="*/ 90055 w 158750"/>
              <a:gd name="connsiteY109" fmla="*/ 146627 h 228599"/>
              <a:gd name="connsiteX110" fmla="*/ 83993 w 158750"/>
              <a:gd name="connsiteY110" fmla="*/ 144655 h 228599"/>
              <a:gd name="connsiteX111" fmla="*/ 77932 w 158750"/>
              <a:gd name="connsiteY111" fmla="*/ 148599 h 228599"/>
              <a:gd name="connsiteX112" fmla="*/ 71870 w 158750"/>
              <a:gd name="connsiteY112" fmla="*/ 146627 h 228599"/>
              <a:gd name="connsiteX113" fmla="*/ 67829 w 158750"/>
              <a:gd name="connsiteY113" fmla="*/ 144655 h 228599"/>
              <a:gd name="connsiteX114" fmla="*/ 65809 w 158750"/>
              <a:gd name="connsiteY114" fmla="*/ 146627 h 228599"/>
              <a:gd name="connsiteX115" fmla="*/ 69850 w 158750"/>
              <a:gd name="connsiteY115" fmla="*/ 152544 h 228599"/>
              <a:gd name="connsiteX116" fmla="*/ 71870 w 158750"/>
              <a:gd name="connsiteY116" fmla="*/ 156489 h 228599"/>
              <a:gd name="connsiteX117" fmla="*/ 75911 w 158750"/>
              <a:gd name="connsiteY117" fmla="*/ 160433 h 228599"/>
              <a:gd name="connsiteX118" fmla="*/ 75911 w 158750"/>
              <a:gd name="connsiteY118" fmla="*/ 166350 h 228599"/>
              <a:gd name="connsiteX119" fmla="*/ 77932 w 158750"/>
              <a:gd name="connsiteY119" fmla="*/ 170295 h 228599"/>
              <a:gd name="connsiteX120" fmla="*/ 81972 w 158750"/>
              <a:gd name="connsiteY120" fmla="*/ 174240 h 228599"/>
              <a:gd name="connsiteX121" fmla="*/ 79952 w 158750"/>
              <a:gd name="connsiteY121" fmla="*/ 176212 h 228599"/>
              <a:gd name="connsiteX122" fmla="*/ 73891 w 158750"/>
              <a:gd name="connsiteY122" fmla="*/ 174240 h 228599"/>
              <a:gd name="connsiteX123" fmla="*/ 69850 w 158750"/>
              <a:gd name="connsiteY123" fmla="*/ 170295 h 228599"/>
              <a:gd name="connsiteX124" fmla="*/ 65809 w 158750"/>
              <a:gd name="connsiteY124" fmla="*/ 168323 h 228599"/>
              <a:gd name="connsiteX125" fmla="*/ 63788 w 158750"/>
              <a:gd name="connsiteY125" fmla="*/ 170295 h 228599"/>
              <a:gd name="connsiteX126" fmla="*/ 61768 w 158750"/>
              <a:gd name="connsiteY126" fmla="*/ 176212 h 228599"/>
              <a:gd name="connsiteX127" fmla="*/ 59747 w 158750"/>
              <a:gd name="connsiteY127" fmla="*/ 174240 h 228599"/>
              <a:gd name="connsiteX128" fmla="*/ 59747 w 158750"/>
              <a:gd name="connsiteY128" fmla="*/ 164378 h 228599"/>
              <a:gd name="connsiteX129" fmla="*/ 53686 w 158750"/>
              <a:gd name="connsiteY129" fmla="*/ 162406 h 228599"/>
              <a:gd name="connsiteX130" fmla="*/ 49645 w 158750"/>
              <a:gd name="connsiteY130" fmla="*/ 160433 h 228599"/>
              <a:gd name="connsiteX131" fmla="*/ 47625 w 158750"/>
              <a:gd name="connsiteY131" fmla="*/ 156489 h 228599"/>
              <a:gd name="connsiteX132" fmla="*/ 45604 w 158750"/>
              <a:gd name="connsiteY132" fmla="*/ 156489 h 228599"/>
              <a:gd name="connsiteX133" fmla="*/ 45604 w 158750"/>
              <a:gd name="connsiteY133" fmla="*/ 160433 h 228599"/>
              <a:gd name="connsiteX134" fmla="*/ 43584 w 158750"/>
              <a:gd name="connsiteY134" fmla="*/ 164378 h 228599"/>
              <a:gd name="connsiteX135" fmla="*/ 37522 w 158750"/>
              <a:gd name="connsiteY135" fmla="*/ 164378 h 228599"/>
              <a:gd name="connsiteX136" fmla="*/ 37522 w 158750"/>
              <a:gd name="connsiteY136" fmla="*/ 160433 h 228599"/>
              <a:gd name="connsiteX137" fmla="*/ 35502 w 158750"/>
              <a:gd name="connsiteY137" fmla="*/ 156489 h 228599"/>
              <a:gd name="connsiteX138" fmla="*/ 31461 w 158750"/>
              <a:gd name="connsiteY138" fmla="*/ 152544 h 228599"/>
              <a:gd name="connsiteX139" fmla="*/ 35502 w 158750"/>
              <a:gd name="connsiteY139" fmla="*/ 144655 h 228599"/>
              <a:gd name="connsiteX140" fmla="*/ 33482 w 158750"/>
              <a:gd name="connsiteY140" fmla="*/ 136765 h 228599"/>
              <a:gd name="connsiteX141" fmla="*/ 27420 w 158750"/>
              <a:gd name="connsiteY141" fmla="*/ 128876 h 228599"/>
              <a:gd name="connsiteX142" fmla="*/ 25400 w 158750"/>
              <a:gd name="connsiteY142" fmla="*/ 122959 h 228599"/>
              <a:gd name="connsiteX143" fmla="*/ 27420 w 158750"/>
              <a:gd name="connsiteY143" fmla="*/ 119014 h 228599"/>
              <a:gd name="connsiteX144" fmla="*/ 29441 w 158750"/>
              <a:gd name="connsiteY144" fmla="*/ 119014 h 228599"/>
              <a:gd name="connsiteX145" fmla="*/ 31461 w 158750"/>
              <a:gd name="connsiteY145" fmla="*/ 111125 h 228599"/>
              <a:gd name="connsiteX146" fmla="*/ 15081 w 158750"/>
              <a:gd name="connsiteY146" fmla="*/ 100012 h 228599"/>
              <a:gd name="connsiteX147" fmla="*/ 19050 w 158750"/>
              <a:gd name="connsiteY147" fmla="*/ 102053 h 228599"/>
              <a:gd name="connsiteX148" fmla="*/ 15081 w 158750"/>
              <a:gd name="connsiteY148" fmla="*/ 108176 h 228599"/>
              <a:gd name="connsiteX149" fmla="*/ 11112 w 158750"/>
              <a:gd name="connsiteY149" fmla="*/ 110217 h 228599"/>
              <a:gd name="connsiteX150" fmla="*/ 7144 w 158750"/>
              <a:gd name="connsiteY150" fmla="*/ 112258 h 228599"/>
              <a:gd name="connsiteX151" fmla="*/ 7144 w 158750"/>
              <a:gd name="connsiteY151" fmla="*/ 114299 h 228599"/>
              <a:gd name="connsiteX152" fmla="*/ 5159 w 158750"/>
              <a:gd name="connsiteY152" fmla="*/ 114299 h 228599"/>
              <a:gd name="connsiteX153" fmla="*/ 3175 w 158750"/>
              <a:gd name="connsiteY153" fmla="*/ 110217 h 228599"/>
              <a:gd name="connsiteX154" fmla="*/ 3175 w 158750"/>
              <a:gd name="connsiteY154" fmla="*/ 104094 h 228599"/>
              <a:gd name="connsiteX155" fmla="*/ 7144 w 158750"/>
              <a:gd name="connsiteY155" fmla="*/ 106135 h 228599"/>
              <a:gd name="connsiteX156" fmla="*/ 11112 w 158750"/>
              <a:gd name="connsiteY156" fmla="*/ 102053 h 228599"/>
              <a:gd name="connsiteX157" fmla="*/ 15081 w 158750"/>
              <a:gd name="connsiteY157" fmla="*/ 100012 h 228599"/>
              <a:gd name="connsiteX158" fmla="*/ 115491 w 158750"/>
              <a:gd name="connsiteY158" fmla="*/ 90487 h 228599"/>
              <a:gd name="connsiteX159" fmla="*/ 117475 w 158750"/>
              <a:gd name="connsiteY159" fmla="*/ 92868 h 228599"/>
              <a:gd name="connsiteX160" fmla="*/ 117475 w 158750"/>
              <a:gd name="connsiteY160" fmla="*/ 95249 h 228599"/>
              <a:gd name="connsiteX161" fmla="*/ 113506 w 158750"/>
              <a:gd name="connsiteY161" fmla="*/ 95249 h 228599"/>
              <a:gd name="connsiteX162" fmla="*/ 115491 w 158750"/>
              <a:gd name="connsiteY162" fmla="*/ 90487 h 228599"/>
              <a:gd name="connsiteX163" fmla="*/ 109935 w 158750"/>
              <a:gd name="connsiteY163" fmla="*/ 86254 h 228599"/>
              <a:gd name="connsiteX164" fmla="*/ 113904 w 158750"/>
              <a:gd name="connsiteY164" fmla="*/ 86254 h 228599"/>
              <a:gd name="connsiteX165" fmla="*/ 111919 w 158750"/>
              <a:gd name="connsiteY165" fmla="*/ 90487 h 228599"/>
              <a:gd name="connsiteX166" fmla="*/ 107950 w 158750"/>
              <a:gd name="connsiteY166" fmla="*/ 90487 h 228599"/>
              <a:gd name="connsiteX167" fmla="*/ 109935 w 158750"/>
              <a:gd name="connsiteY167" fmla="*/ 86254 h 228599"/>
              <a:gd name="connsiteX168" fmla="*/ 105304 w 158750"/>
              <a:gd name="connsiteY168" fmla="*/ 67071 h 228599"/>
              <a:gd name="connsiteX169" fmla="*/ 107421 w 158750"/>
              <a:gd name="connsiteY169" fmla="*/ 67071 h 228599"/>
              <a:gd name="connsiteX170" fmla="*/ 107421 w 158750"/>
              <a:gd name="connsiteY170" fmla="*/ 71040 h 228599"/>
              <a:gd name="connsiteX171" fmla="*/ 103187 w 158750"/>
              <a:gd name="connsiteY171" fmla="*/ 71040 h 228599"/>
              <a:gd name="connsiteX172" fmla="*/ 105304 w 158750"/>
              <a:gd name="connsiteY172" fmla="*/ 67071 h 228599"/>
              <a:gd name="connsiteX173" fmla="*/ 138906 w 158750"/>
              <a:gd name="connsiteY173" fmla="*/ 0 h 228599"/>
              <a:gd name="connsiteX174" fmla="*/ 142875 w 158750"/>
              <a:gd name="connsiteY174" fmla="*/ 5987 h 228599"/>
              <a:gd name="connsiteX175" fmla="*/ 140891 w 158750"/>
              <a:gd name="connsiteY175" fmla="*/ 19957 h 228599"/>
              <a:gd name="connsiteX176" fmla="*/ 132953 w 158750"/>
              <a:gd name="connsiteY176" fmla="*/ 21953 h 228599"/>
              <a:gd name="connsiteX177" fmla="*/ 127000 w 158750"/>
              <a:gd name="connsiteY177" fmla="*/ 17961 h 228599"/>
              <a:gd name="connsiteX178" fmla="*/ 121047 w 158750"/>
              <a:gd name="connsiteY178" fmla="*/ 19957 h 228599"/>
              <a:gd name="connsiteX179" fmla="*/ 111125 w 158750"/>
              <a:gd name="connsiteY179" fmla="*/ 19957 h 228599"/>
              <a:gd name="connsiteX180" fmla="*/ 105172 w 158750"/>
              <a:gd name="connsiteY180" fmla="*/ 21953 h 228599"/>
              <a:gd name="connsiteX181" fmla="*/ 91281 w 158750"/>
              <a:gd name="connsiteY181" fmla="*/ 21953 h 228599"/>
              <a:gd name="connsiteX182" fmla="*/ 89297 w 158750"/>
              <a:gd name="connsiteY182" fmla="*/ 25944 h 228599"/>
              <a:gd name="connsiteX183" fmla="*/ 93266 w 158750"/>
              <a:gd name="connsiteY183" fmla="*/ 31931 h 228599"/>
              <a:gd name="connsiteX184" fmla="*/ 87313 w 158750"/>
              <a:gd name="connsiteY184" fmla="*/ 39914 h 228599"/>
              <a:gd name="connsiteX185" fmla="*/ 85328 w 158750"/>
              <a:gd name="connsiteY185" fmla="*/ 43906 h 228599"/>
              <a:gd name="connsiteX186" fmla="*/ 89297 w 158750"/>
              <a:gd name="connsiteY186" fmla="*/ 49893 h 228599"/>
              <a:gd name="connsiteX187" fmla="*/ 85328 w 158750"/>
              <a:gd name="connsiteY187" fmla="*/ 51888 h 228599"/>
              <a:gd name="connsiteX188" fmla="*/ 83344 w 158750"/>
              <a:gd name="connsiteY188" fmla="*/ 49893 h 228599"/>
              <a:gd name="connsiteX189" fmla="*/ 77390 w 158750"/>
              <a:gd name="connsiteY189" fmla="*/ 47897 h 228599"/>
              <a:gd name="connsiteX190" fmla="*/ 77390 w 158750"/>
              <a:gd name="connsiteY190" fmla="*/ 39914 h 228599"/>
              <a:gd name="connsiteX191" fmla="*/ 69453 w 158750"/>
              <a:gd name="connsiteY191" fmla="*/ 35923 h 228599"/>
              <a:gd name="connsiteX192" fmla="*/ 63500 w 158750"/>
              <a:gd name="connsiteY192" fmla="*/ 29936 h 228599"/>
              <a:gd name="connsiteX193" fmla="*/ 59531 w 158750"/>
              <a:gd name="connsiteY193" fmla="*/ 27940 h 228599"/>
              <a:gd name="connsiteX194" fmla="*/ 57547 w 158750"/>
              <a:gd name="connsiteY194" fmla="*/ 31931 h 228599"/>
              <a:gd name="connsiteX195" fmla="*/ 55562 w 158750"/>
              <a:gd name="connsiteY195" fmla="*/ 37918 h 228599"/>
              <a:gd name="connsiteX196" fmla="*/ 55562 w 158750"/>
              <a:gd name="connsiteY196" fmla="*/ 49893 h 228599"/>
              <a:gd name="connsiteX197" fmla="*/ 65484 w 158750"/>
              <a:gd name="connsiteY197" fmla="*/ 57876 h 228599"/>
              <a:gd name="connsiteX198" fmla="*/ 73422 w 158750"/>
              <a:gd name="connsiteY198" fmla="*/ 65858 h 228599"/>
              <a:gd name="connsiteX199" fmla="*/ 73422 w 158750"/>
              <a:gd name="connsiteY199" fmla="*/ 69850 h 228599"/>
              <a:gd name="connsiteX200" fmla="*/ 65484 w 158750"/>
              <a:gd name="connsiteY200" fmla="*/ 71846 h 228599"/>
              <a:gd name="connsiteX201" fmla="*/ 69453 w 158750"/>
              <a:gd name="connsiteY201" fmla="*/ 81824 h 228599"/>
              <a:gd name="connsiteX202" fmla="*/ 65484 w 158750"/>
              <a:gd name="connsiteY202" fmla="*/ 85816 h 228599"/>
              <a:gd name="connsiteX203" fmla="*/ 61515 w 158750"/>
              <a:gd name="connsiteY203" fmla="*/ 89807 h 228599"/>
              <a:gd name="connsiteX204" fmla="*/ 71437 w 158750"/>
              <a:gd name="connsiteY204" fmla="*/ 95794 h 228599"/>
              <a:gd name="connsiteX205" fmla="*/ 81359 w 158750"/>
              <a:gd name="connsiteY205" fmla="*/ 103777 h 228599"/>
              <a:gd name="connsiteX206" fmla="*/ 87313 w 158750"/>
              <a:gd name="connsiteY206" fmla="*/ 109764 h 228599"/>
              <a:gd name="connsiteX207" fmla="*/ 89297 w 158750"/>
              <a:gd name="connsiteY207" fmla="*/ 105773 h 228599"/>
              <a:gd name="connsiteX208" fmla="*/ 85328 w 158750"/>
              <a:gd name="connsiteY208" fmla="*/ 99786 h 228599"/>
              <a:gd name="connsiteX209" fmla="*/ 79375 w 158750"/>
              <a:gd name="connsiteY209" fmla="*/ 93798 h 228599"/>
              <a:gd name="connsiteX210" fmla="*/ 75406 w 158750"/>
              <a:gd name="connsiteY210" fmla="*/ 91803 h 228599"/>
              <a:gd name="connsiteX211" fmla="*/ 69453 w 158750"/>
              <a:gd name="connsiteY211" fmla="*/ 89807 h 228599"/>
              <a:gd name="connsiteX212" fmla="*/ 79375 w 158750"/>
              <a:gd name="connsiteY212" fmla="*/ 83820 h 228599"/>
              <a:gd name="connsiteX213" fmla="*/ 87313 w 158750"/>
              <a:gd name="connsiteY213" fmla="*/ 93798 h 228599"/>
              <a:gd name="connsiteX214" fmla="*/ 95250 w 158750"/>
              <a:gd name="connsiteY214" fmla="*/ 93798 h 228599"/>
              <a:gd name="connsiteX215" fmla="*/ 99219 w 158750"/>
              <a:gd name="connsiteY215" fmla="*/ 95794 h 228599"/>
              <a:gd name="connsiteX216" fmla="*/ 103188 w 158750"/>
              <a:gd name="connsiteY216" fmla="*/ 101781 h 228599"/>
              <a:gd name="connsiteX217" fmla="*/ 105172 w 158750"/>
              <a:gd name="connsiteY217" fmla="*/ 103777 h 228599"/>
              <a:gd name="connsiteX218" fmla="*/ 107156 w 158750"/>
              <a:gd name="connsiteY218" fmla="*/ 105773 h 228599"/>
              <a:gd name="connsiteX219" fmla="*/ 109141 w 158750"/>
              <a:gd name="connsiteY219" fmla="*/ 105773 h 228599"/>
              <a:gd name="connsiteX220" fmla="*/ 111125 w 158750"/>
              <a:gd name="connsiteY220" fmla="*/ 107768 h 228599"/>
              <a:gd name="connsiteX221" fmla="*/ 115094 w 158750"/>
              <a:gd name="connsiteY221" fmla="*/ 109764 h 228599"/>
              <a:gd name="connsiteX222" fmla="*/ 117078 w 158750"/>
              <a:gd name="connsiteY222" fmla="*/ 111760 h 228599"/>
              <a:gd name="connsiteX223" fmla="*/ 119063 w 158750"/>
              <a:gd name="connsiteY223" fmla="*/ 115751 h 228599"/>
              <a:gd name="connsiteX224" fmla="*/ 113110 w 158750"/>
              <a:gd name="connsiteY224" fmla="*/ 119743 h 228599"/>
              <a:gd name="connsiteX225" fmla="*/ 103188 w 158750"/>
              <a:gd name="connsiteY225" fmla="*/ 111760 h 228599"/>
              <a:gd name="connsiteX226" fmla="*/ 99219 w 158750"/>
              <a:gd name="connsiteY226" fmla="*/ 115751 h 228599"/>
              <a:gd name="connsiteX227" fmla="*/ 103188 w 158750"/>
              <a:gd name="connsiteY227" fmla="*/ 129721 h 228599"/>
              <a:gd name="connsiteX228" fmla="*/ 93266 w 158750"/>
              <a:gd name="connsiteY228" fmla="*/ 135708 h 228599"/>
              <a:gd name="connsiteX229" fmla="*/ 87313 w 158750"/>
              <a:gd name="connsiteY229" fmla="*/ 123734 h 228599"/>
              <a:gd name="connsiteX230" fmla="*/ 77390 w 158750"/>
              <a:gd name="connsiteY230" fmla="*/ 111760 h 228599"/>
              <a:gd name="connsiteX231" fmla="*/ 59531 w 158750"/>
              <a:gd name="connsiteY231" fmla="*/ 105773 h 228599"/>
              <a:gd name="connsiteX232" fmla="*/ 53578 w 158750"/>
              <a:gd name="connsiteY232" fmla="*/ 105773 h 228599"/>
              <a:gd name="connsiteX233" fmla="*/ 49609 w 158750"/>
              <a:gd name="connsiteY233" fmla="*/ 103777 h 228599"/>
              <a:gd name="connsiteX234" fmla="*/ 43656 w 158750"/>
              <a:gd name="connsiteY234" fmla="*/ 107768 h 228599"/>
              <a:gd name="connsiteX235" fmla="*/ 39687 w 158750"/>
              <a:gd name="connsiteY235" fmla="*/ 105773 h 228599"/>
              <a:gd name="connsiteX236" fmla="*/ 33734 w 158750"/>
              <a:gd name="connsiteY236" fmla="*/ 105773 h 228599"/>
              <a:gd name="connsiteX237" fmla="*/ 25797 w 158750"/>
              <a:gd name="connsiteY237" fmla="*/ 107768 h 228599"/>
              <a:gd name="connsiteX238" fmla="*/ 23812 w 158750"/>
              <a:gd name="connsiteY238" fmla="*/ 101781 h 228599"/>
              <a:gd name="connsiteX239" fmla="*/ 21828 w 158750"/>
              <a:gd name="connsiteY239" fmla="*/ 93798 h 228599"/>
              <a:gd name="connsiteX240" fmla="*/ 19844 w 158750"/>
              <a:gd name="connsiteY240" fmla="*/ 89807 h 228599"/>
              <a:gd name="connsiteX241" fmla="*/ 25797 w 158750"/>
              <a:gd name="connsiteY241" fmla="*/ 89807 h 228599"/>
              <a:gd name="connsiteX242" fmla="*/ 27781 w 158750"/>
              <a:gd name="connsiteY242" fmla="*/ 83820 h 228599"/>
              <a:gd name="connsiteX243" fmla="*/ 19844 w 158750"/>
              <a:gd name="connsiteY243" fmla="*/ 83820 h 228599"/>
              <a:gd name="connsiteX244" fmla="*/ 15875 w 158750"/>
              <a:gd name="connsiteY244" fmla="*/ 77833 h 228599"/>
              <a:gd name="connsiteX245" fmla="*/ 9922 w 158750"/>
              <a:gd name="connsiteY245" fmla="*/ 73841 h 228599"/>
              <a:gd name="connsiteX246" fmla="*/ 3969 w 158750"/>
              <a:gd name="connsiteY246" fmla="*/ 71846 h 228599"/>
              <a:gd name="connsiteX247" fmla="*/ 3969 w 158750"/>
              <a:gd name="connsiteY247" fmla="*/ 65858 h 228599"/>
              <a:gd name="connsiteX248" fmla="*/ 1984 w 158750"/>
              <a:gd name="connsiteY248" fmla="*/ 61867 h 228599"/>
              <a:gd name="connsiteX249" fmla="*/ 0 w 158750"/>
              <a:gd name="connsiteY249" fmla="*/ 57876 h 228599"/>
              <a:gd name="connsiteX250" fmla="*/ 9922 w 158750"/>
              <a:gd name="connsiteY250" fmla="*/ 35923 h 228599"/>
              <a:gd name="connsiteX251" fmla="*/ 11906 w 158750"/>
              <a:gd name="connsiteY251" fmla="*/ 31931 h 228599"/>
              <a:gd name="connsiteX252" fmla="*/ 5953 w 158750"/>
              <a:gd name="connsiteY252" fmla="*/ 23948 h 228599"/>
              <a:gd name="connsiteX253" fmla="*/ 19844 w 158750"/>
              <a:gd name="connsiteY253" fmla="*/ 21953 h 228599"/>
              <a:gd name="connsiteX254" fmla="*/ 27781 w 158750"/>
              <a:gd name="connsiteY254" fmla="*/ 21953 h 228599"/>
              <a:gd name="connsiteX255" fmla="*/ 33734 w 158750"/>
              <a:gd name="connsiteY255" fmla="*/ 17961 h 228599"/>
              <a:gd name="connsiteX256" fmla="*/ 41672 w 158750"/>
              <a:gd name="connsiteY256" fmla="*/ 13970 h 228599"/>
              <a:gd name="connsiteX257" fmla="*/ 47625 w 158750"/>
              <a:gd name="connsiteY257" fmla="*/ 9978 h 228599"/>
              <a:gd name="connsiteX258" fmla="*/ 61515 w 158750"/>
              <a:gd name="connsiteY258" fmla="*/ 5987 h 228599"/>
              <a:gd name="connsiteX259" fmla="*/ 77390 w 158750"/>
              <a:gd name="connsiteY259" fmla="*/ 3991 h 228599"/>
              <a:gd name="connsiteX260" fmla="*/ 89297 w 158750"/>
              <a:gd name="connsiteY260" fmla="*/ 1996 h 228599"/>
              <a:gd name="connsiteX261" fmla="*/ 103188 w 158750"/>
              <a:gd name="connsiteY261" fmla="*/ 3991 h 228599"/>
              <a:gd name="connsiteX262" fmla="*/ 111125 w 158750"/>
              <a:gd name="connsiteY262" fmla="*/ 7983 h 228599"/>
              <a:gd name="connsiteX263" fmla="*/ 127000 w 158750"/>
              <a:gd name="connsiteY263" fmla="*/ 7983 h 228599"/>
              <a:gd name="connsiteX264" fmla="*/ 138906 w 158750"/>
              <a:gd name="connsiteY264" fmla="*/ 0 h 22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158750" h="228599">
                <a:moveTo>
                  <a:pt x="93265" y="201612"/>
                </a:moveTo>
                <a:cubicBezTo>
                  <a:pt x="93265" y="201612"/>
                  <a:pt x="95250" y="203688"/>
                  <a:pt x="97234" y="203688"/>
                </a:cubicBezTo>
                <a:cubicBezTo>
                  <a:pt x="99219" y="205764"/>
                  <a:pt x="107156" y="211992"/>
                  <a:pt x="109141" y="211992"/>
                </a:cubicBezTo>
                <a:cubicBezTo>
                  <a:pt x="109141" y="211992"/>
                  <a:pt x="115094" y="209916"/>
                  <a:pt x="119062" y="209916"/>
                </a:cubicBezTo>
                <a:cubicBezTo>
                  <a:pt x="123031" y="209916"/>
                  <a:pt x="127000" y="211992"/>
                  <a:pt x="127000" y="211992"/>
                </a:cubicBezTo>
                <a:cubicBezTo>
                  <a:pt x="128984" y="211992"/>
                  <a:pt x="136922" y="211992"/>
                  <a:pt x="136922" y="211992"/>
                </a:cubicBezTo>
                <a:cubicBezTo>
                  <a:pt x="138906" y="211992"/>
                  <a:pt x="142875" y="211992"/>
                  <a:pt x="142875" y="214068"/>
                </a:cubicBezTo>
                <a:cubicBezTo>
                  <a:pt x="142875" y="214068"/>
                  <a:pt x="140891" y="216144"/>
                  <a:pt x="142875" y="218220"/>
                </a:cubicBezTo>
                <a:cubicBezTo>
                  <a:pt x="142875" y="218220"/>
                  <a:pt x="148828" y="218220"/>
                  <a:pt x="150813" y="216144"/>
                </a:cubicBezTo>
                <a:cubicBezTo>
                  <a:pt x="150813" y="216144"/>
                  <a:pt x="158750" y="216144"/>
                  <a:pt x="158750" y="216144"/>
                </a:cubicBezTo>
                <a:cubicBezTo>
                  <a:pt x="158750" y="216144"/>
                  <a:pt x="158750" y="220295"/>
                  <a:pt x="158750" y="222371"/>
                </a:cubicBezTo>
                <a:cubicBezTo>
                  <a:pt x="158750" y="224447"/>
                  <a:pt x="152797" y="224447"/>
                  <a:pt x="152797" y="224447"/>
                </a:cubicBezTo>
                <a:cubicBezTo>
                  <a:pt x="150813" y="224447"/>
                  <a:pt x="142875" y="224447"/>
                  <a:pt x="142875" y="224447"/>
                </a:cubicBezTo>
                <a:cubicBezTo>
                  <a:pt x="140891" y="224447"/>
                  <a:pt x="136922" y="224447"/>
                  <a:pt x="132953" y="226523"/>
                </a:cubicBezTo>
                <a:cubicBezTo>
                  <a:pt x="130969" y="226523"/>
                  <a:pt x="123031" y="228599"/>
                  <a:pt x="123031" y="228599"/>
                </a:cubicBezTo>
                <a:cubicBezTo>
                  <a:pt x="123031" y="228599"/>
                  <a:pt x="123031" y="222371"/>
                  <a:pt x="123031" y="222371"/>
                </a:cubicBezTo>
                <a:cubicBezTo>
                  <a:pt x="121047" y="220295"/>
                  <a:pt x="117078" y="222371"/>
                  <a:pt x="117078" y="220295"/>
                </a:cubicBezTo>
                <a:cubicBezTo>
                  <a:pt x="115094" y="220295"/>
                  <a:pt x="115094" y="218220"/>
                  <a:pt x="115094" y="218220"/>
                </a:cubicBezTo>
                <a:cubicBezTo>
                  <a:pt x="113109" y="218220"/>
                  <a:pt x="107156" y="218220"/>
                  <a:pt x="105172" y="218220"/>
                </a:cubicBezTo>
                <a:cubicBezTo>
                  <a:pt x="105172" y="218220"/>
                  <a:pt x="103187" y="218220"/>
                  <a:pt x="101203" y="218220"/>
                </a:cubicBezTo>
                <a:cubicBezTo>
                  <a:pt x="99219" y="218220"/>
                  <a:pt x="99219" y="216144"/>
                  <a:pt x="99219" y="216144"/>
                </a:cubicBezTo>
                <a:cubicBezTo>
                  <a:pt x="97234" y="214068"/>
                  <a:pt x="95250" y="216144"/>
                  <a:pt x="93265" y="216144"/>
                </a:cubicBezTo>
                <a:cubicBezTo>
                  <a:pt x="91281" y="214068"/>
                  <a:pt x="87312" y="216144"/>
                  <a:pt x="87312" y="211992"/>
                </a:cubicBezTo>
                <a:cubicBezTo>
                  <a:pt x="87312" y="209916"/>
                  <a:pt x="89297" y="205764"/>
                  <a:pt x="89297" y="205764"/>
                </a:cubicBezTo>
                <a:cubicBezTo>
                  <a:pt x="89297" y="205764"/>
                  <a:pt x="91281" y="201612"/>
                  <a:pt x="93265" y="201612"/>
                </a:cubicBezTo>
                <a:close/>
                <a:moveTo>
                  <a:pt x="71437" y="178196"/>
                </a:moveTo>
                <a:cubicBezTo>
                  <a:pt x="73024" y="176212"/>
                  <a:pt x="74612" y="176212"/>
                  <a:pt x="74612" y="178196"/>
                </a:cubicBezTo>
                <a:cubicBezTo>
                  <a:pt x="74612" y="178196"/>
                  <a:pt x="74612" y="180180"/>
                  <a:pt x="74612" y="182165"/>
                </a:cubicBezTo>
                <a:cubicBezTo>
                  <a:pt x="74612" y="182165"/>
                  <a:pt x="73024" y="184149"/>
                  <a:pt x="73024" y="184149"/>
                </a:cubicBezTo>
                <a:cubicBezTo>
                  <a:pt x="73024" y="184149"/>
                  <a:pt x="71437" y="184149"/>
                  <a:pt x="71437" y="182165"/>
                </a:cubicBezTo>
                <a:cubicBezTo>
                  <a:pt x="71437" y="180180"/>
                  <a:pt x="71437" y="178196"/>
                  <a:pt x="71437" y="178196"/>
                </a:cubicBezTo>
                <a:close/>
                <a:moveTo>
                  <a:pt x="111919" y="168804"/>
                </a:moveTo>
                <a:cubicBezTo>
                  <a:pt x="113904" y="166687"/>
                  <a:pt x="113904" y="166687"/>
                  <a:pt x="115888" y="168804"/>
                </a:cubicBezTo>
                <a:cubicBezTo>
                  <a:pt x="115888" y="168804"/>
                  <a:pt x="115888" y="170920"/>
                  <a:pt x="115888" y="170920"/>
                </a:cubicBezTo>
                <a:cubicBezTo>
                  <a:pt x="115888" y="170920"/>
                  <a:pt x="113904" y="170920"/>
                  <a:pt x="113904" y="173037"/>
                </a:cubicBezTo>
                <a:cubicBezTo>
                  <a:pt x="113904" y="173037"/>
                  <a:pt x="111919" y="173037"/>
                  <a:pt x="109935" y="173037"/>
                </a:cubicBezTo>
                <a:cubicBezTo>
                  <a:pt x="109935" y="170920"/>
                  <a:pt x="107950" y="170920"/>
                  <a:pt x="107950" y="170920"/>
                </a:cubicBezTo>
                <a:cubicBezTo>
                  <a:pt x="109935" y="168804"/>
                  <a:pt x="109935" y="168804"/>
                  <a:pt x="111919" y="168804"/>
                </a:cubicBezTo>
                <a:close/>
                <a:moveTo>
                  <a:pt x="117475" y="160337"/>
                </a:moveTo>
                <a:cubicBezTo>
                  <a:pt x="119062" y="160337"/>
                  <a:pt x="119062" y="164570"/>
                  <a:pt x="119062" y="164570"/>
                </a:cubicBezTo>
                <a:cubicBezTo>
                  <a:pt x="119062" y="164570"/>
                  <a:pt x="119062" y="166687"/>
                  <a:pt x="119062" y="166687"/>
                </a:cubicBezTo>
                <a:cubicBezTo>
                  <a:pt x="119062" y="166687"/>
                  <a:pt x="117475" y="166687"/>
                  <a:pt x="117475" y="166687"/>
                </a:cubicBezTo>
                <a:cubicBezTo>
                  <a:pt x="117475" y="166687"/>
                  <a:pt x="115887" y="164570"/>
                  <a:pt x="115887" y="162454"/>
                </a:cubicBezTo>
                <a:cubicBezTo>
                  <a:pt x="115887" y="162454"/>
                  <a:pt x="117475" y="160337"/>
                  <a:pt x="117475" y="160337"/>
                </a:cubicBezTo>
                <a:close/>
                <a:moveTo>
                  <a:pt x="112712" y="147955"/>
                </a:moveTo>
                <a:cubicBezTo>
                  <a:pt x="112712" y="147955"/>
                  <a:pt x="115094" y="146050"/>
                  <a:pt x="115094" y="147955"/>
                </a:cubicBezTo>
                <a:cubicBezTo>
                  <a:pt x="117475" y="147955"/>
                  <a:pt x="117475" y="155575"/>
                  <a:pt x="112712" y="151765"/>
                </a:cubicBezTo>
                <a:cubicBezTo>
                  <a:pt x="112712" y="151765"/>
                  <a:pt x="112712" y="149860"/>
                  <a:pt x="112712" y="147955"/>
                </a:cubicBezTo>
                <a:close/>
                <a:moveTo>
                  <a:pt x="129382" y="147637"/>
                </a:moveTo>
                <a:cubicBezTo>
                  <a:pt x="133086" y="147637"/>
                  <a:pt x="133086" y="147637"/>
                  <a:pt x="133086" y="149754"/>
                </a:cubicBezTo>
                <a:cubicBezTo>
                  <a:pt x="133086" y="151870"/>
                  <a:pt x="134938" y="153987"/>
                  <a:pt x="133086" y="153987"/>
                </a:cubicBezTo>
                <a:cubicBezTo>
                  <a:pt x="133086" y="156104"/>
                  <a:pt x="131234" y="158220"/>
                  <a:pt x="131234" y="158220"/>
                </a:cubicBezTo>
                <a:cubicBezTo>
                  <a:pt x="131234" y="158220"/>
                  <a:pt x="129382" y="160337"/>
                  <a:pt x="127530" y="160337"/>
                </a:cubicBezTo>
                <a:cubicBezTo>
                  <a:pt x="125677" y="160337"/>
                  <a:pt x="123825" y="158220"/>
                  <a:pt x="123825" y="158220"/>
                </a:cubicBezTo>
                <a:cubicBezTo>
                  <a:pt x="123825" y="156104"/>
                  <a:pt x="125677" y="156104"/>
                  <a:pt x="125677" y="156104"/>
                </a:cubicBezTo>
                <a:cubicBezTo>
                  <a:pt x="127530" y="153987"/>
                  <a:pt x="127530" y="153987"/>
                  <a:pt x="127530" y="151870"/>
                </a:cubicBezTo>
                <a:cubicBezTo>
                  <a:pt x="127530" y="151870"/>
                  <a:pt x="129382" y="147637"/>
                  <a:pt x="129382" y="147637"/>
                </a:cubicBezTo>
                <a:close/>
                <a:moveTo>
                  <a:pt x="138747" y="146050"/>
                </a:moveTo>
                <a:cubicBezTo>
                  <a:pt x="140652" y="146050"/>
                  <a:pt x="142557" y="146050"/>
                  <a:pt x="144462" y="148167"/>
                </a:cubicBezTo>
                <a:cubicBezTo>
                  <a:pt x="144462" y="150283"/>
                  <a:pt x="142557" y="156633"/>
                  <a:pt x="140652" y="158750"/>
                </a:cubicBezTo>
                <a:cubicBezTo>
                  <a:pt x="138747" y="158750"/>
                  <a:pt x="136842" y="158750"/>
                  <a:pt x="136842" y="156633"/>
                </a:cubicBezTo>
                <a:cubicBezTo>
                  <a:pt x="134937" y="152400"/>
                  <a:pt x="134937" y="148167"/>
                  <a:pt x="138747" y="146050"/>
                </a:cubicBezTo>
                <a:close/>
                <a:moveTo>
                  <a:pt x="133350" y="139700"/>
                </a:moveTo>
                <a:cubicBezTo>
                  <a:pt x="135467" y="139700"/>
                  <a:pt x="137584" y="139700"/>
                  <a:pt x="137584" y="139700"/>
                </a:cubicBezTo>
                <a:cubicBezTo>
                  <a:pt x="137584" y="142081"/>
                  <a:pt x="139700" y="142081"/>
                  <a:pt x="139700" y="142081"/>
                </a:cubicBezTo>
                <a:cubicBezTo>
                  <a:pt x="137584" y="144462"/>
                  <a:pt x="135467" y="144462"/>
                  <a:pt x="135467" y="144462"/>
                </a:cubicBezTo>
                <a:cubicBezTo>
                  <a:pt x="133350" y="142081"/>
                  <a:pt x="133350" y="142081"/>
                  <a:pt x="133350" y="139700"/>
                </a:cubicBezTo>
                <a:close/>
                <a:moveTo>
                  <a:pt x="121444" y="139700"/>
                </a:moveTo>
                <a:cubicBezTo>
                  <a:pt x="121444" y="139700"/>
                  <a:pt x="123429" y="139700"/>
                  <a:pt x="123429" y="139700"/>
                </a:cubicBezTo>
                <a:cubicBezTo>
                  <a:pt x="125413" y="142081"/>
                  <a:pt x="123429" y="144462"/>
                  <a:pt x="123429" y="144462"/>
                </a:cubicBezTo>
                <a:cubicBezTo>
                  <a:pt x="123429" y="144462"/>
                  <a:pt x="121444" y="144462"/>
                  <a:pt x="119460" y="144462"/>
                </a:cubicBezTo>
                <a:cubicBezTo>
                  <a:pt x="119460" y="144462"/>
                  <a:pt x="117475" y="144462"/>
                  <a:pt x="117475" y="142081"/>
                </a:cubicBezTo>
                <a:cubicBezTo>
                  <a:pt x="117475" y="139700"/>
                  <a:pt x="119460" y="139700"/>
                  <a:pt x="121444" y="139700"/>
                </a:cubicBezTo>
                <a:close/>
                <a:moveTo>
                  <a:pt x="113771" y="139700"/>
                </a:moveTo>
                <a:cubicBezTo>
                  <a:pt x="113771" y="139700"/>
                  <a:pt x="115887" y="141684"/>
                  <a:pt x="115887" y="143668"/>
                </a:cubicBezTo>
                <a:cubicBezTo>
                  <a:pt x="113771" y="143668"/>
                  <a:pt x="111654" y="147637"/>
                  <a:pt x="109537" y="145653"/>
                </a:cubicBezTo>
                <a:cubicBezTo>
                  <a:pt x="109537" y="143668"/>
                  <a:pt x="109537" y="143668"/>
                  <a:pt x="109537" y="141684"/>
                </a:cubicBezTo>
                <a:cubicBezTo>
                  <a:pt x="109537" y="139700"/>
                  <a:pt x="111654" y="139700"/>
                  <a:pt x="113771" y="139700"/>
                </a:cubicBezTo>
                <a:close/>
                <a:moveTo>
                  <a:pt x="125730" y="130323"/>
                </a:moveTo>
                <a:cubicBezTo>
                  <a:pt x="126683" y="130075"/>
                  <a:pt x="128588" y="130571"/>
                  <a:pt x="131445" y="130571"/>
                </a:cubicBezTo>
                <a:cubicBezTo>
                  <a:pt x="131445" y="130571"/>
                  <a:pt x="133350" y="130571"/>
                  <a:pt x="133350" y="132555"/>
                </a:cubicBezTo>
                <a:cubicBezTo>
                  <a:pt x="133350" y="134540"/>
                  <a:pt x="133350" y="134540"/>
                  <a:pt x="133350" y="136524"/>
                </a:cubicBezTo>
                <a:cubicBezTo>
                  <a:pt x="131445" y="136524"/>
                  <a:pt x="129540" y="136524"/>
                  <a:pt x="127635" y="136524"/>
                </a:cubicBezTo>
                <a:cubicBezTo>
                  <a:pt x="125730" y="136524"/>
                  <a:pt x="125730" y="134540"/>
                  <a:pt x="125730" y="134540"/>
                </a:cubicBezTo>
                <a:cubicBezTo>
                  <a:pt x="124778" y="131563"/>
                  <a:pt x="124778" y="130571"/>
                  <a:pt x="125730" y="130323"/>
                </a:cubicBezTo>
                <a:close/>
                <a:moveTo>
                  <a:pt x="11641" y="124278"/>
                </a:moveTo>
                <a:cubicBezTo>
                  <a:pt x="13493" y="124278"/>
                  <a:pt x="13493" y="122237"/>
                  <a:pt x="15345" y="124278"/>
                </a:cubicBezTo>
                <a:cubicBezTo>
                  <a:pt x="15345" y="126319"/>
                  <a:pt x="15345" y="126319"/>
                  <a:pt x="17198" y="128360"/>
                </a:cubicBezTo>
                <a:cubicBezTo>
                  <a:pt x="19050" y="130401"/>
                  <a:pt x="19050" y="134483"/>
                  <a:pt x="19050" y="136524"/>
                </a:cubicBezTo>
                <a:cubicBezTo>
                  <a:pt x="17198" y="136524"/>
                  <a:pt x="15345" y="136524"/>
                  <a:pt x="13493" y="134483"/>
                </a:cubicBezTo>
                <a:cubicBezTo>
                  <a:pt x="11641" y="134483"/>
                  <a:pt x="9789" y="130401"/>
                  <a:pt x="9789" y="130401"/>
                </a:cubicBezTo>
                <a:cubicBezTo>
                  <a:pt x="9789" y="130401"/>
                  <a:pt x="7937" y="126319"/>
                  <a:pt x="7937" y="126319"/>
                </a:cubicBezTo>
                <a:cubicBezTo>
                  <a:pt x="7937" y="124278"/>
                  <a:pt x="9789" y="124278"/>
                  <a:pt x="11641" y="124278"/>
                </a:cubicBezTo>
                <a:close/>
                <a:moveTo>
                  <a:pt x="31461" y="111125"/>
                </a:moveTo>
                <a:cubicBezTo>
                  <a:pt x="31461" y="111125"/>
                  <a:pt x="33482" y="111125"/>
                  <a:pt x="35502" y="113097"/>
                </a:cubicBezTo>
                <a:cubicBezTo>
                  <a:pt x="37522" y="115070"/>
                  <a:pt x="37522" y="115070"/>
                  <a:pt x="41563" y="113097"/>
                </a:cubicBezTo>
                <a:cubicBezTo>
                  <a:pt x="43584" y="111125"/>
                  <a:pt x="41563" y="111125"/>
                  <a:pt x="45604" y="111125"/>
                </a:cubicBezTo>
                <a:cubicBezTo>
                  <a:pt x="47625" y="111125"/>
                  <a:pt x="51666" y="113097"/>
                  <a:pt x="53686" y="113097"/>
                </a:cubicBezTo>
                <a:cubicBezTo>
                  <a:pt x="53686" y="115070"/>
                  <a:pt x="55707" y="117042"/>
                  <a:pt x="57727" y="119014"/>
                </a:cubicBezTo>
                <a:cubicBezTo>
                  <a:pt x="59747" y="120987"/>
                  <a:pt x="63788" y="122959"/>
                  <a:pt x="65809" y="122959"/>
                </a:cubicBezTo>
                <a:cubicBezTo>
                  <a:pt x="67829" y="122959"/>
                  <a:pt x="69850" y="122959"/>
                  <a:pt x="71870" y="120987"/>
                </a:cubicBezTo>
                <a:cubicBezTo>
                  <a:pt x="71870" y="119014"/>
                  <a:pt x="75911" y="119014"/>
                  <a:pt x="77932" y="119014"/>
                </a:cubicBezTo>
                <a:cubicBezTo>
                  <a:pt x="79952" y="119014"/>
                  <a:pt x="79952" y="119014"/>
                  <a:pt x="79952" y="119014"/>
                </a:cubicBezTo>
                <a:cubicBezTo>
                  <a:pt x="79952" y="120987"/>
                  <a:pt x="77932" y="124931"/>
                  <a:pt x="77932" y="124931"/>
                </a:cubicBezTo>
                <a:cubicBezTo>
                  <a:pt x="75911" y="124931"/>
                  <a:pt x="75911" y="124931"/>
                  <a:pt x="73891" y="126904"/>
                </a:cubicBezTo>
                <a:cubicBezTo>
                  <a:pt x="73891" y="128876"/>
                  <a:pt x="73891" y="130848"/>
                  <a:pt x="73891" y="132821"/>
                </a:cubicBezTo>
                <a:cubicBezTo>
                  <a:pt x="75911" y="134793"/>
                  <a:pt x="75911" y="136765"/>
                  <a:pt x="77932" y="136765"/>
                </a:cubicBezTo>
                <a:cubicBezTo>
                  <a:pt x="79952" y="138738"/>
                  <a:pt x="81972" y="138738"/>
                  <a:pt x="86013" y="140710"/>
                </a:cubicBezTo>
                <a:cubicBezTo>
                  <a:pt x="90055" y="140710"/>
                  <a:pt x="92075" y="142682"/>
                  <a:pt x="92075" y="142682"/>
                </a:cubicBezTo>
                <a:cubicBezTo>
                  <a:pt x="92075" y="144655"/>
                  <a:pt x="90055" y="146627"/>
                  <a:pt x="90055" y="146627"/>
                </a:cubicBezTo>
                <a:cubicBezTo>
                  <a:pt x="88034" y="144655"/>
                  <a:pt x="83993" y="142682"/>
                  <a:pt x="83993" y="144655"/>
                </a:cubicBezTo>
                <a:cubicBezTo>
                  <a:pt x="81972" y="144655"/>
                  <a:pt x="79952" y="148599"/>
                  <a:pt x="77932" y="148599"/>
                </a:cubicBezTo>
                <a:cubicBezTo>
                  <a:pt x="75911" y="148599"/>
                  <a:pt x="71870" y="148599"/>
                  <a:pt x="71870" y="146627"/>
                </a:cubicBezTo>
                <a:cubicBezTo>
                  <a:pt x="71870" y="144655"/>
                  <a:pt x="69850" y="142682"/>
                  <a:pt x="67829" y="144655"/>
                </a:cubicBezTo>
                <a:cubicBezTo>
                  <a:pt x="65809" y="144655"/>
                  <a:pt x="65809" y="144655"/>
                  <a:pt x="65809" y="146627"/>
                </a:cubicBezTo>
                <a:cubicBezTo>
                  <a:pt x="67829" y="148599"/>
                  <a:pt x="69850" y="152544"/>
                  <a:pt x="69850" y="152544"/>
                </a:cubicBezTo>
                <a:cubicBezTo>
                  <a:pt x="69850" y="152544"/>
                  <a:pt x="71870" y="156489"/>
                  <a:pt x="71870" y="156489"/>
                </a:cubicBezTo>
                <a:cubicBezTo>
                  <a:pt x="71870" y="158461"/>
                  <a:pt x="75911" y="160433"/>
                  <a:pt x="75911" y="160433"/>
                </a:cubicBezTo>
                <a:cubicBezTo>
                  <a:pt x="75911" y="160433"/>
                  <a:pt x="75911" y="164378"/>
                  <a:pt x="75911" y="166350"/>
                </a:cubicBezTo>
                <a:cubicBezTo>
                  <a:pt x="75911" y="168323"/>
                  <a:pt x="75911" y="170295"/>
                  <a:pt x="77932" y="170295"/>
                </a:cubicBezTo>
                <a:cubicBezTo>
                  <a:pt x="79952" y="172267"/>
                  <a:pt x="81972" y="172267"/>
                  <a:pt x="81972" y="174240"/>
                </a:cubicBezTo>
                <a:cubicBezTo>
                  <a:pt x="83993" y="174240"/>
                  <a:pt x="81972" y="176212"/>
                  <a:pt x="79952" y="176212"/>
                </a:cubicBezTo>
                <a:cubicBezTo>
                  <a:pt x="77932" y="176212"/>
                  <a:pt x="75911" y="174240"/>
                  <a:pt x="73891" y="174240"/>
                </a:cubicBezTo>
                <a:cubicBezTo>
                  <a:pt x="73891" y="174240"/>
                  <a:pt x="71870" y="170295"/>
                  <a:pt x="69850" y="170295"/>
                </a:cubicBezTo>
                <a:cubicBezTo>
                  <a:pt x="69850" y="170295"/>
                  <a:pt x="65809" y="166350"/>
                  <a:pt x="65809" y="168323"/>
                </a:cubicBezTo>
                <a:cubicBezTo>
                  <a:pt x="63788" y="168323"/>
                  <a:pt x="63788" y="168323"/>
                  <a:pt x="63788" y="170295"/>
                </a:cubicBezTo>
                <a:cubicBezTo>
                  <a:pt x="63788" y="172267"/>
                  <a:pt x="63788" y="176212"/>
                  <a:pt x="61768" y="176212"/>
                </a:cubicBezTo>
                <a:cubicBezTo>
                  <a:pt x="61768" y="176212"/>
                  <a:pt x="59747" y="174240"/>
                  <a:pt x="59747" y="174240"/>
                </a:cubicBezTo>
                <a:cubicBezTo>
                  <a:pt x="59747" y="172267"/>
                  <a:pt x="59747" y="166350"/>
                  <a:pt x="59747" y="164378"/>
                </a:cubicBezTo>
                <a:cubicBezTo>
                  <a:pt x="57727" y="164378"/>
                  <a:pt x="53686" y="162406"/>
                  <a:pt x="53686" y="162406"/>
                </a:cubicBezTo>
                <a:cubicBezTo>
                  <a:pt x="53686" y="162406"/>
                  <a:pt x="51666" y="160433"/>
                  <a:pt x="49645" y="160433"/>
                </a:cubicBezTo>
                <a:cubicBezTo>
                  <a:pt x="49645" y="160433"/>
                  <a:pt x="49645" y="158461"/>
                  <a:pt x="47625" y="156489"/>
                </a:cubicBezTo>
                <a:cubicBezTo>
                  <a:pt x="47625" y="154516"/>
                  <a:pt x="45604" y="154516"/>
                  <a:pt x="45604" y="156489"/>
                </a:cubicBezTo>
                <a:cubicBezTo>
                  <a:pt x="43584" y="158461"/>
                  <a:pt x="43584" y="160433"/>
                  <a:pt x="45604" y="160433"/>
                </a:cubicBezTo>
                <a:cubicBezTo>
                  <a:pt x="45604" y="162406"/>
                  <a:pt x="45604" y="164378"/>
                  <a:pt x="43584" y="164378"/>
                </a:cubicBezTo>
                <a:cubicBezTo>
                  <a:pt x="41563" y="164378"/>
                  <a:pt x="37522" y="164378"/>
                  <a:pt x="37522" y="164378"/>
                </a:cubicBezTo>
                <a:cubicBezTo>
                  <a:pt x="37522" y="164378"/>
                  <a:pt x="37522" y="160433"/>
                  <a:pt x="37522" y="160433"/>
                </a:cubicBezTo>
                <a:cubicBezTo>
                  <a:pt x="37522" y="158461"/>
                  <a:pt x="37522" y="156489"/>
                  <a:pt x="35502" y="156489"/>
                </a:cubicBezTo>
                <a:cubicBezTo>
                  <a:pt x="35502" y="154516"/>
                  <a:pt x="31461" y="154516"/>
                  <a:pt x="31461" y="152544"/>
                </a:cubicBezTo>
                <a:cubicBezTo>
                  <a:pt x="31461" y="152544"/>
                  <a:pt x="35502" y="146627"/>
                  <a:pt x="35502" y="144655"/>
                </a:cubicBezTo>
                <a:cubicBezTo>
                  <a:pt x="35502" y="142682"/>
                  <a:pt x="35502" y="138738"/>
                  <a:pt x="33482" y="136765"/>
                </a:cubicBezTo>
                <a:cubicBezTo>
                  <a:pt x="33482" y="136765"/>
                  <a:pt x="27420" y="128876"/>
                  <a:pt x="27420" y="128876"/>
                </a:cubicBezTo>
                <a:cubicBezTo>
                  <a:pt x="27420" y="126904"/>
                  <a:pt x="25400" y="124931"/>
                  <a:pt x="25400" y="122959"/>
                </a:cubicBezTo>
                <a:cubicBezTo>
                  <a:pt x="25400" y="120987"/>
                  <a:pt x="27420" y="119014"/>
                  <a:pt x="27420" y="119014"/>
                </a:cubicBezTo>
                <a:cubicBezTo>
                  <a:pt x="27420" y="119014"/>
                  <a:pt x="29441" y="120987"/>
                  <a:pt x="29441" y="119014"/>
                </a:cubicBezTo>
                <a:cubicBezTo>
                  <a:pt x="29441" y="117042"/>
                  <a:pt x="31461" y="111125"/>
                  <a:pt x="31461" y="111125"/>
                </a:cubicBezTo>
                <a:close/>
                <a:moveTo>
                  <a:pt x="15081" y="100012"/>
                </a:moveTo>
                <a:cubicBezTo>
                  <a:pt x="17065" y="100012"/>
                  <a:pt x="19050" y="100012"/>
                  <a:pt x="19050" y="102053"/>
                </a:cubicBezTo>
                <a:cubicBezTo>
                  <a:pt x="17065" y="104094"/>
                  <a:pt x="17065" y="108176"/>
                  <a:pt x="15081" y="108176"/>
                </a:cubicBezTo>
                <a:cubicBezTo>
                  <a:pt x="15081" y="110217"/>
                  <a:pt x="13097" y="110217"/>
                  <a:pt x="11112" y="110217"/>
                </a:cubicBezTo>
                <a:cubicBezTo>
                  <a:pt x="7144" y="110217"/>
                  <a:pt x="7144" y="112258"/>
                  <a:pt x="7144" y="112258"/>
                </a:cubicBezTo>
                <a:cubicBezTo>
                  <a:pt x="7144" y="114299"/>
                  <a:pt x="7144" y="114299"/>
                  <a:pt x="7144" y="114299"/>
                </a:cubicBezTo>
                <a:cubicBezTo>
                  <a:pt x="7144" y="114299"/>
                  <a:pt x="5159" y="114299"/>
                  <a:pt x="5159" y="114299"/>
                </a:cubicBezTo>
                <a:cubicBezTo>
                  <a:pt x="3175" y="114299"/>
                  <a:pt x="3175" y="112258"/>
                  <a:pt x="3175" y="110217"/>
                </a:cubicBezTo>
                <a:cubicBezTo>
                  <a:pt x="3175" y="108176"/>
                  <a:pt x="3175" y="104094"/>
                  <a:pt x="3175" y="104094"/>
                </a:cubicBezTo>
                <a:cubicBezTo>
                  <a:pt x="3175" y="104094"/>
                  <a:pt x="7144" y="106135"/>
                  <a:pt x="7144" y="106135"/>
                </a:cubicBezTo>
                <a:cubicBezTo>
                  <a:pt x="9128" y="106135"/>
                  <a:pt x="9128" y="104094"/>
                  <a:pt x="11112" y="102053"/>
                </a:cubicBezTo>
                <a:cubicBezTo>
                  <a:pt x="13097" y="102053"/>
                  <a:pt x="13097" y="102053"/>
                  <a:pt x="15081" y="100012"/>
                </a:cubicBezTo>
                <a:close/>
                <a:moveTo>
                  <a:pt x="115491" y="90487"/>
                </a:moveTo>
                <a:cubicBezTo>
                  <a:pt x="117475" y="92868"/>
                  <a:pt x="117475" y="92868"/>
                  <a:pt x="117475" y="92868"/>
                </a:cubicBezTo>
                <a:cubicBezTo>
                  <a:pt x="117475" y="95249"/>
                  <a:pt x="117475" y="95249"/>
                  <a:pt x="117475" y="95249"/>
                </a:cubicBezTo>
                <a:cubicBezTo>
                  <a:pt x="115491" y="95249"/>
                  <a:pt x="113506" y="95249"/>
                  <a:pt x="113506" y="95249"/>
                </a:cubicBezTo>
                <a:cubicBezTo>
                  <a:pt x="109537" y="95249"/>
                  <a:pt x="111522" y="90487"/>
                  <a:pt x="115491" y="90487"/>
                </a:cubicBezTo>
                <a:close/>
                <a:moveTo>
                  <a:pt x="109935" y="86254"/>
                </a:moveTo>
                <a:cubicBezTo>
                  <a:pt x="109935" y="86254"/>
                  <a:pt x="111919" y="84137"/>
                  <a:pt x="113904" y="86254"/>
                </a:cubicBezTo>
                <a:cubicBezTo>
                  <a:pt x="115888" y="88370"/>
                  <a:pt x="113904" y="88370"/>
                  <a:pt x="111919" y="90487"/>
                </a:cubicBezTo>
                <a:cubicBezTo>
                  <a:pt x="111919" y="90487"/>
                  <a:pt x="109935" y="90487"/>
                  <a:pt x="107950" y="90487"/>
                </a:cubicBezTo>
                <a:cubicBezTo>
                  <a:pt x="107950" y="88370"/>
                  <a:pt x="107950" y="88370"/>
                  <a:pt x="109935" y="86254"/>
                </a:cubicBezTo>
                <a:close/>
                <a:moveTo>
                  <a:pt x="105304" y="67071"/>
                </a:moveTo>
                <a:cubicBezTo>
                  <a:pt x="105304" y="65087"/>
                  <a:pt x="105304" y="65087"/>
                  <a:pt x="107421" y="67071"/>
                </a:cubicBezTo>
                <a:cubicBezTo>
                  <a:pt x="109537" y="69055"/>
                  <a:pt x="109537" y="69055"/>
                  <a:pt x="107421" y="71040"/>
                </a:cubicBezTo>
                <a:cubicBezTo>
                  <a:pt x="107421" y="73024"/>
                  <a:pt x="103187" y="73024"/>
                  <a:pt x="103187" y="71040"/>
                </a:cubicBezTo>
                <a:cubicBezTo>
                  <a:pt x="103187" y="69055"/>
                  <a:pt x="103187" y="67071"/>
                  <a:pt x="105304" y="67071"/>
                </a:cubicBezTo>
                <a:close/>
                <a:moveTo>
                  <a:pt x="138906" y="0"/>
                </a:moveTo>
                <a:cubicBezTo>
                  <a:pt x="138906" y="0"/>
                  <a:pt x="138906" y="0"/>
                  <a:pt x="142875" y="5987"/>
                </a:cubicBezTo>
                <a:cubicBezTo>
                  <a:pt x="142875" y="5987"/>
                  <a:pt x="142875" y="21953"/>
                  <a:pt x="140891" y="19957"/>
                </a:cubicBezTo>
                <a:cubicBezTo>
                  <a:pt x="138906" y="19957"/>
                  <a:pt x="136922" y="19957"/>
                  <a:pt x="132953" y="21953"/>
                </a:cubicBezTo>
                <a:cubicBezTo>
                  <a:pt x="128985" y="21953"/>
                  <a:pt x="127000" y="19957"/>
                  <a:pt x="127000" y="17961"/>
                </a:cubicBezTo>
                <a:cubicBezTo>
                  <a:pt x="127000" y="15966"/>
                  <a:pt x="121047" y="19957"/>
                  <a:pt x="121047" y="19957"/>
                </a:cubicBezTo>
                <a:cubicBezTo>
                  <a:pt x="121047" y="19957"/>
                  <a:pt x="113110" y="21953"/>
                  <a:pt x="111125" y="19957"/>
                </a:cubicBezTo>
                <a:cubicBezTo>
                  <a:pt x="109141" y="19957"/>
                  <a:pt x="105172" y="21953"/>
                  <a:pt x="105172" y="21953"/>
                </a:cubicBezTo>
                <a:cubicBezTo>
                  <a:pt x="105172" y="21953"/>
                  <a:pt x="93266" y="23948"/>
                  <a:pt x="91281" y="21953"/>
                </a:cubicBezTo>
                <a:cubicBezTo>
                  <a:pt x="87313" y="19957"/>
                  <a:pt x="89297" y="25944"/>
                  <a:pt x="89297" y="25944"/>
                </a:cubicBezTo>
                <a:cubicBezTo>
                  <a:pt x="89297" y="25944"/>
                  <a:pt x="93266" y="29936"/>
                  <a:pt x="93266" y="31931"/>
                </a:cubicBezTo>
                <a:cubicBezTo>
                  <a:pt x="93266" y="35923"/>
                  <a:pt x="89297" y="37918"/>
                  <a:pt x="87313" y="39914"/>
                </a:cubicBezTo>
                <a:cubicBezTo>
                  <a:pt x="85328" y="41910"/>
                  <a:pt x="83344" y="41910"/>
                  <a:pt x="85328" y="43906"/>
                </a:cubicBezTo>
                <a:cubicBezTo>
                  <a:pt x="87313" y="45901"/>
                  <a:pt x="89297" y="47897"/>
                  <a:pt x="89297" y="49893"/>
                </a:cubicBezTo>
                <a:cubicBezTo>
                  <a:pt x="91281" y="51888"/>
                  <a:pt x="87313" y="53884"/>
                  <a:pt x="85328" y="51888"/>
                </a:cubicBezTo>
                <a:cubicBezTo>
                  <a:pt x="83344" y="51888"/>
                  <a:pt x="83344" y="49893"/>
                  <a:pt x="83344" y="49893"/>
                </a:cubicBezTo>
                <a:cubicBezTo>
                  <a:pt x="83344" y="49893"/>
                  <a:pt x="79375" y="49893"/>
                  <a:pt x="77390" y="47897"/>
                </a:cubicBezTo>
                <a:cubicBezTo>
                  <a:pt x="75406" y="45901"/>
                  <a:pt x="79375" y="39914"/>
                  <a:pt x="77390" y="39914"/>
                </a:cubicBezTo>
                <a:cubicBezTo>
                  <a:pt x="75406" y="39914"/>
                  <a:pt x="69453" y="35923"/>
                  <a:pt x="69453" y="35923"/>
                </a:cubicBezTo>
                <a:cubicBezTo>
                  <a:pt x="69453" y="35923"/>
                  <a:pt x="65484" y="31931"/>
                  <a:pt x="63500" y="29936"/>
                </a:cubicBezTo>
                <a:cubicBezTo>
                  <a:pt x="61515" y="27940"/>
                  <a:pt x="61515" y="25944"/>
                  <a:pt x="59531" y="27940"/>
                </a:cubicBezTo>
                <a:cubicBezTo>
                  <a:pt x="57547" y="27940"/>
                  <a:pt x="57547" y="29936"/>
                  <a:pt x="57547" y="31931"/>
                </a:cubicBezTo>
                <a:cubicBezTo>
                  <a:pt x="59531" y="33927"/>
                  <a:pt x="57547" y="35923"/>
                  <a:pt x="55562" y="37918"/>
                </a:cubicBezTo>
                <a:cubicBezTo>
                  <a:pt x="53578" y="39914"/>
                  <a:pt x="55562" y="47897"/>
                  <a:pt x="55562" y="49893"/>
                </a:cubicBezTo>
                <a:cubicBezTo>
                  <a:pt x="57547" y="53884"/>
                  <a:pt x="63500" y="57876"/>
                  <a:pt x="65484" y="57876"/>
                </a:cubicBezTo>
                <a:cubicBezTo>
                  <a:pt x="67469" y="59871"/>
                  <a:pt x="69453" y="59871"/>
                  <a:pt x="73422" y="65858"/>
                </a:cubicBezTo>
                <a:cubicBezTo>
                  <a:pt x="77390" y="71846"/>
                  <a:pt x="73422" y="69850"/>
                  <a:pt x="73422" y="69850"/>
                </a:cubicBezTo>
                <a:cubicBezTo>
                  <a:pt x="73422" y="69850"/>
                  <a:pt x="67469" y="69850"/>
                  <a:pt x="65484" y="71846"/>
                </a:cubicBezTo>
                <a:cubicBezTo>
                  <a:pt x="63500" y="75837"/>
                  <a:pt x="67469" y="79828"/>
                  <a:pt x="69453" y="81824"/>
                </a:cubicBezTo>
                <a:cubicBezTo>
                  <a:pt x="71437" y="83820"/>
                  <a:pt x="67469" y="85816"/>
                  <a:pt x="65484" y="85816"/>
                </a:cubicBezTo>
                <a:cubicBezTo>
                  <a:pt x="61515" y="85816"/>
                  <a:pt x="59531" y="85816"/>
                  <a:pt x="61515" y="89807"/>
                </a:cubicBezTo>
                <a:cubicBezTo>
                  <a:pt x="61515" y="91803"/>
                  <a:pt x="69453" y="93798"/>
                  <a:pt x="71437" y="95794"/>
                </a:cubicBezTo>
                <a:cubicBezTo>
                  <a:pt x="75406" y="95794"/>
                  <a:pt x="79375" y="101781"/>
                  <a:pt x="81359" y="103777"/>
                </a:cubicBezTo>
                <a:cubicBezTo>
                  <a:pt x="81359" y="107768"/>
                  <a:pt x="83344" y="109764"/>
                  <a:pt x="87313" y="109764"/>
                </a:cubicBezTo>
                <a:cubicBezTo>
                  <a:pt x="89297" y="109764"/>
                  <a:pt x="87313" y="107768"/>
                  <a:pt x="89297" y="105773"/>
                </a:cubicBezTo>
                <a:cubicBezTo>
                  <a:pt x="89297" y="101781"/>
                  <a:pt x="87313" y="99786"/>
                  <a:pt x="85328" y="99786"/>
                </a:cubicBezTo>
                <a:cubicBezTo>
                  <a:pt x="83344" y="99786"/>
                  <a:pt x="79375" y="97790"/>
                  <a:pt x="79375" y="93798"/>
                </a:cubicBezTo>
                <a:cubicBezTo>
                  <a:pt x="79375" y="91803"/>
                  <a:pt x="75406" y="91803"/>
                  <a:pt x="75406" y="91803"/>
                </a:cubicBezTo>
                <a:cubicBezTo>
                  <a:pt x="75406" y="91803"/>
                  <a:pt x="69453" y="91803"/>
                  <a:pt x="69453" y="89807"/>
                </a:cubicBezTo>
                <a:cubicBezTo>
                  <a:pt x="67469" y="89807"/>
                  <a:pt x="75406" y="83820"/>
                  <a:pt x="79375" y="83820"/>
                </a:cubicBezTo>
                <a:cubicBezTo>
                  <a:pt x="83344" y="83820"/>
                  <a:pt x="85328" y="89807"/>
                  <a:pt x="87313" y="93798"/>
                </a:cubicBezTo>
                <a:cubicBezTo>
                  <a:pt x="87313" y="95794"/>
                  <a:pt x="91281" y="93798"/>
                  <a:pt x="95250" y="93798"/>
                </a:cubicBezTo>
                <a:cubicBezTo>
                  <a:pt x="99219" y="93798"/>
                  <a:pt x="99219" y="95794"/>
                  <a:pt x="99219" y="95794"/>
                </a:cubicBezTo>
                <a:cubicBezTo>
                  <a:pt x="99219" y="95794"/>
                  <a:pt x="103188" y="99786"/>
                  <a:pt x="103188" y="101781"/>
                </a:cubicBezTo>
                <a:cubicBezTo>
                  <a:pt x="103188" y="101781"/>
                  <a:pt x="105172" y="103777"/>
                  <a:pt x="105172" y="103777"/>
                </a:cubicBezTo>
                <a:cubicBezTo>
                  <a:pt x="105172" y="103777"/>
                  <a:pt x="107156" y="103777"/>
                  <a:pt x="107156" y="105773"/>
                </a:cubicBezTo>
                <a:cubicBezTo>
                  <a:pt x="107156" y="105773"/>
                  <a:pt x="109141" y="105773"/>
                  <a:pt x="109141" y="105773"/>
                </a:cubicBezTo>
                <a:cubicBezTo>
                  <a:pt x="109141" y="105773"/>
                  <a:pt x="111125" y="107768"/>
                  <a:pt x="111125" y="107768"/>
                </a:cubicBezTo>
                <a:cubicBezTo>
                  <a:pt x="111125" y="109764"/>
                  <a:pt x="113110" y="109764"/>
                  <a:pt x="115094" y="109764"/>
                </a:cubicBezTo>
                <a:cubicBezTo>
                  <a:pt x="115094" y="109764"/>
                  <a:pt x="117078" y="111760"/>
                  <a:pt x="117078" y="111760"/>
                </a:cubicBezTo>
                <a:cubicBezTo>
                  <a:pt x="117078" y="111760"/>
                  <a:pt x="119063" y="111760"/>
                  <a:pt x="119063" y="115751"/>
                </a:cubicBezTo>
                <a:cubicBezTo>
                  <a:pt x="119063" y="117747"/>
                  <a:pt x="117078" y="119743"/>
                  <a:pt x="113110" y="119743"/>
                </a:cubicBezTo>
                <a:cubicBezTo>
                  <a:pt x="107156" y="117747"/>
                  <a:pt x="105172" y="113756"/>
                  <a:pt x="103188" y="111760"/>
                </a:cubicBezTo>
                <a:cubicBezTo>
                  <a:pt x="101203" y="109764"/>
                  <a:pt x="97235" y="113756"/>
                  <a:pt x="99219" y="115751"/>
                </a:cubicBezTo>
                <a:cubicBezTo>
                  <a:pt x="99219" y="117747"/>
                  <a:pt x="103188" y="123734"/>
                  <a:pt x="103188" y="129721"/>
                </a:cubicBezTo>
                <a:cubicBezTo>
                  <a:pt x="103188" y="133713"/>
                  <a:pt x="97235" y="139700"/>
                  <a:pt x="93266" y="135708"/>
                </a:cubicBezTo>
                <a:cubicBezTo>
                  <a:pt x="89297" y="131717"/>
                  <a:pt x="87313" y="125730"/>
                  <a:pt x="87313" y="123734"/>
                </a:cubicBezTo>
                <a:cubicBezTo>
                  <a:pt x="85328" y="121738"/>
                  <a:pt x="81359" y="117747"/>
                  <a:pt x="77390" y="111760"/>
                </a:cubicBezTo>
                <a:cubicBezTo>
                  <a:pt x="71437" y="105773"/>
                  <a:pt x="63500" y="105773"/>
                  <a:pt x="59531" y="105773"/>
                </a:cubicBezTo>
                <a:cubicBezTo>
                  <a:pt x="57547" y="105773"/>
                  <a:pt x="53578" y="105773"/>
                  <a:pt x="53578" y="105773"/>
                </a:cubicBezTo>
                <a:cubicBezTo>
                  <a:pt x="51594" y="105773"/>
                  <a:pt x="51594" y="103777"/>
                  <a:pt x="49609" y="103777"/>
                </a:cubicBezTo>
                <a:cubicBezTo>
                  <a:pt x="47625" y="103777"/>
                  <a:pt x="45640" y="105773"/>
                  <a:pt x="43656" y="107768"/>
                </a:cubicBezTo>
                <a:cubicBezTo>
                  <a:pt x="41672" y="107768"/>
                  <a:pt x="41672" y="105773"/>
                  <a:pt x="39687" y="105773"/>
                </a:cubicBezTo>
                <a:cubicBezTo>
                  <a:pt x="35719" y="103777"/>
                  <a:pt x="33734" y="105773"/>
                  <a:pt x="33734" y="105773"/>
                </a:cubicBezTo>
                <a:cubicBezTo>
                  <a:pt x="31750" y="107768"/>
                  <a:pt x="27781" y="107768"/>
                  <a:pt x="25797" y="107768"/>
                </a:cubicBezTo>
                <a:cubicBezTo>
                  <a:pt x="23812" y="107768"/>
                  <a:pt x="23812" y="105773"/>
                  <a:pt x="23812" y="101781"/>
                </a:cubicBezTo>
                <a:cubicBezTo>
                  <a:pt x="23812" y="97790"/>
                  <a:pt x="21828" y="93798"/>
                  <a:pt x="21828" y="93798"/>
                </a:cubicBezTo>
                <a:cubicBezTo>
                  <a:pt x="21828" y="93798"/>
                  <a:pt x="17859" y="91803"/>
                  <a:pt x="19844" y="89807"/>
                </a:cubicBezTo>
                <a:cubicBezTo>
                  <a:pt x="19844" y="87811"/>
                  <a:pt x="23812" y="87811"/>
                  <a:pt x="25797" y="89807"/>
                </a:cubicBezTo>
                <a:cubicBezTo>
                  <a:pt x="27781" y="89807"/>
                  <a:pt x="29765" y="85816"/>
                  <a:pt x="27781" y="83820"/>
                </a:cubicBezTo>
                <a:cubicBezTo>
                  <a:pt x="23812" y="81824"/>
                  <a:pt x="21828" y="83820"/>
                  <a:pt x="19844" y="83820"/>
                </a:cubicBezTo>
                <a:cubicBezTo>
                  <a:pt x="15875" y="83820"/>
                  <a:pt x="15875" y="81824"/>
                  <a:pt x="15875" y="77833"/>
                </a:cubicBezTo>
                <a:cubicBezTo>
                  <a:pt x="15875" y="73841"/>
                  <a:pt x="9922" y="73841"/>
                  <a:pt x="9922" y="73841"/>
                </a:cubicBezTo>
                <a:cubicBezTo>
                  <a:pt x="9922" y="73841"/>
                  <a:pt x="5953" y="73841"/>
                  <a:pt x="3969" y="71846"/>
                </a:cubicBezTo>
                <a:cubicBezTo>
                  <a:pt x="1984" y="69850"/>
                  <a:pt x="3969" y="67854"/>
                  <a:pt x="3969" y="65858"/>
                </a:cubicBezTo>
                <a:cubicBezTo>
                  <a:pt x="3969" y="63863"/>
                  <a:pt x="3969" y="63863"/>
                  <a:pt x="1984" y="61867"/>
                </a:cubicBezTo>
                <a:cubicBezTo>
                  <a:pt x="0" y="59871"/>
                  <a:pt x="0" y="59871"/>
                  <a:pt x="0" y="57876"/>
                </a:cubicBezTo>
                <a:cubicBezTo>
                  <a:pt x="0" y="55880"/>
                  <a:pt x="9922" y="35923"/>
                  <a:pt x="9922" y="35923"/>
                </a:cubicBezTo>
                <a:cubicBezTo>
                  <a:pt x="9922" y="35923"/>
                  <a:pt x="9922" y="35923"/>
                  <a:pt x="11906" y="31931"/>
                </a:cubicBezTo>
                <a:cubicBezTo>
                  <a:pt x="11906" y="31931"/>
                  <a:pt x="5953" y="23948"/>
                  <a:pt x="5953" y="23948"/>
                </a:cubicBezTo>
                <a:cubicBezTo>
                  <a:pt x="5953" y="23948"/>
                  <a:pt x="15875" y="21953"/>
                  <a:pt x="19844" y="21953"/>
                </a:cubicBezTo>
                <a:cubicBezTo>
                  <a:pt x="23812" y="21953"/>
                  <a:pt x="25797" y="21953"/>
                  <a:pt x="27781" y="21953"/>
                </a:cubicBezTo>
                <a:cubicBezTo>
                  <a:pt x="31750" y="19957"/>
                  <a:pt x="33734" y="17961"/>
                  <a:pt x="33734" y="17961"/>
                </a:cubicBezTo>
                <a:cubicBezTo>
                  <a:pt x="33734" y="17961"/>
                  <a:pt x="39687" y="15966"/>
                  <a:pt x="41672" y="13970"/>
                </a:cubicBezTo>
                <a:cubicBezTo>
                  <a:pt x="41672" y="13970"/>
                  <a:pt x="45640" y="11974"/>
                  <a:pt x="47625" y="9978"/>
                </a:cubicBezTo>
                <a:cubicBezTo>
                  <a:pt x="49609" y="7983"/>
                  <a:pt x="57547" y="5987"/>
                  <a:pt x="61515" y="5987"/>
                </a:cubicBezTo>
                <a:cubicBezTo>
                  <a:pt x="65484" y="5987"/>
                  <a:pt x="77390" y="3991"/>
                  <a:pt x="77390" y="3991"/>
                </a:cubicBezTo>
                <a:cubicBezTo>
                  <a:pt x="77390" y="3991"/>
                  <a:pt x="87313" y="1996"/>
                  <a:pt x="89297" y="1996"/>
                </a:cubicBezTo>
                <a:cubicBezTo>
                  <a:pt x="91281" y="1996"/>
                  <a:pt x="101203" y="3991"/>
                  <a:pt x="103188" y="3991"/>
                </a:cubicBezTo>
                <a:cubicBezTo>
                  <a:pt x="105172" y="3991"/>
                  <a:pt x="111125" y="7983"/>
                  <a:pt x="111125" y="7983"/>
                </a:cubicBezTo>
                <a:cubicBezTo>
                  <a:pt x="111125" y="7983"/>
                  <a:pt x="111125" y="7983"/>
                  <a:pt x="127000" y="7983"/>
                </a:cubicBezTo>
                <a:cubicBezTo>
                  <a:pt x="127000" y="7983"/>
                  <a:pt x="127000" y="7983"/>
                  <a:pt x="13890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3" name="Cyprus"/>
          <p:cNvSpPr>
            <a:spLocks/>
          </p:cNvSpPr>
          <p:nvPr/>
        </p:nvSpPr>
        <p:spPr bwMode="auto">
          <a:xfrm>
            <a:off x="7030747" y="2894640"/>
            <a:ext cx="71860" cy="37563"/>
          </a:xfrm>
          <a:custGeom>
            <a:avLst/>
            <a:gdLst>
              <a:gd name="T0" fmla="*/ 5 w 35"/>
              <a:gd name="T1" fmla="*/ 8 h 18"/>
              <a:gd name="T2" fmla="*/ 8 w 35"/>
              <a:gd name="T3" fmla="*/ 6 h 18"/>
              <a:gd name="T4" fmla="*/ 11 w 35"/>
              <a:gd name="T5" fmla="*/ 4 h 18"/>
              <a:gd name="T6" fmla="*/ 14 w 35"/>
              <a:gd name="T7" fmla="*/ 5 h 18"/>
              <a:gd name="T8" fmla="*/ 19 w 35"/>
              <a:gd name="T9" fmla="*/ 5 h 18"/>
              <a:gd name="T10" fmla="*/ 23 w 35"/>
              <a:gd name="T11" fmla="*/ 4 h 18"/>
              <a:gd name="T12" fmla="*/ 28 w 35"/>
              <a:gd name="T13" fmla="*/ 2 h 18"/>
              <a:gd name="T14" fmla="*/ 31 w 35"/>
              <a:gd name="T15" fmla="*/ 2 h 18"/>
              <a:gd name="T16" fmla="*/ 33 w 35"/>
              <a:gd name="T17" fmla="*/ 1 h 18"/>
              <a:gd name="T18" fmla="*/ 32 w 35"/>
              <a:gd name="T19" fmla="*/ 2 h 18"/>
              <a:gd name="T20" fmla="*/ 29 w 35"/>
              <a:gd name="T21" fmla="*/ 4 h 18"/>
              <a:gd name="T22" fmla="*/ 26 w 35"/>
              <a:gd name="T23" fmla="*/ 7 h 18"/>
              <a:gd name="T24" fmla="*/ 26 w 35"/>
              <a:gd name="T25" fmla="*/ 8 h 18"/>
              <a:gd name="T26" fmla="*/ 27 w 35"/>
              <a:gd name="T27" fmla="*/ 10 h 18"/>
              <a:gd name="T28" fmla="*/ 25 w 35"/>
              <a:gd name="T29" fmla="*/ 12 h 18"/>
              <a:gd name="T30" fmla="*/ 21 w 35"/>
              <a:gd name="T31" fmla="*/ 13 h 18"/>
              <a:gd name="T32" fmla="*/ 19 w 35"/>
              <a:gd name="T33" fmla="*/ 15 h 18"/>
              <a:gd name="T34" fmla="*/ 16 w 35"/>
              <a:gd name="T35" fmla="*/ 15 h 18"/>
              <a:gd name="T36" fmla="*/ 14 w 35"/>
              <a:gd name="T37" fmla="*/ 17 h 18"/>
              <a:gd name="T38" fmla="*/ 11 w 35"/>
              <a:gd name="T39" fmla="*/ 16 h 18"/>
              <a:gd name="T40" fmla="*/ 10 w 35"/>
              <a:gd name="T41" fmla="*/ 15 h 18"/>
              <a:gd name="T42" fmla="*/ 8 w 35"/>
              <a:gd name="T43" fmla="*/ 16 h 18"/>
              <a:gd name="T44" fmla="*/ 5 w 35"/>
              <a:gd name="T45" fmla="*/ 15 h 18"/>
              <a:gd name="T46" fmla="*/ 3 w 35"/>
              <a:gd name="T47" fmla="*/ 13 h 18"/>
              <a:gd name="T48" fmla="*/ 1 w 35"/>
              <a:gd name="T49" fmla="*/ 11 h 18"/>
              <a:gd name="T50" fmla="*/ 1 w 35"/>
              <a:gd name="T51" fmla="*/ 9 h 18"/>
              <a:gd name="T52" fmla="*/ 4 w 35"/>
              <a:gd name="T53" fmla="*/ 9 h 18"/>
              <a:gd name="T54" fmla="*/ 5 w 35"/>
              <a:gd name="T55"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18">
                <a:moveTo>
                  <a:pt x="5" y="8"/>
                </a:moveTo>
                <a:cubicBezTo>
                  <a:pt x="5" y="8"/>
                  <a:pt x="7" y="7"/>
                  <a:pt x="8" y="6"/>
                </a:cubicBezTo>
                <a:cubicBezTo>
                  <a:pt x="10" y="5"/>
                  <a:pt x="10" y="4"/>
                  <a:pt x="11" y="4"/>
                </a:cubicBezTo>
                <a:cubicBezTo>
                  <a:pt x="12" y="4"/>
                  <a:pt x="13" y="5"/>
                  <a:pt x="14" y="5"/>
                </a:cubicBezTo>
                <a:cubicBezTo>
                  <a:pt x="15" y="5"/>
                  <a:pt x="18" y="5"/>
                  <a:pt x="19" y="5"/>
                </a:cubicBezTo>
                <a:cubicBezTo>
                  <a:pt x="20" y="5"/>
                  <a:pt x="22" y="5"/>
                  <a:pt x="23" y="4"/>
                </a:cubicBezTo>
                <a:cubicBezTo>
                  <a:pt x="24" y="3"/>
                  <a:pt x="27" y="2"/>
                  <a:pt x="28" y="2"/>
                </a:cubicBezTo>
                <a:cubicBezTo>
                  <a:pt x="29" y="2"/>
                  <a:pt x="30" y="3"/>
                  <a:pt x="31" y="2"/>
                </a:cubicBezTo>
                <a:cubicBezTo>
                  <a:pt x="31" y="1"/>
                  <a:pt x="32" y="0"/>
                  <a:pt x="33" y="1"/>
                </a:cubicBezTo>
                <a:cubicBezTo>
                  <a:pt x="35" y="1"/>
                  <a:pt x="32" y="2"/>
                  <a:pt x="32" y="2"/>
                </a:cubicBezTo>
                <a:cubicBezTo>
                  <a:pt x="32" y="2"/>
                  <a:pt x="29" y="4"/>
                  <a:pt x="29" y="4"/>
                </a:cubicBezTo>
                <a:cubicBezTo>
                  <a:pt x="28" y="5"/>
                  <a:pt x="26" y="6"/>
                  <a:pt x="26" y="7"/>
                </a:cubicBezTo>
                <a:cubicBezTo>
                  <a:pt x="25" y="7"/>
                  <a:pt x="25" y="8"/>
                  <a:pt x="26" y="8"/>
                </a:cubicBezTo>
                <a:cubicBezTo>
                  <a:pt x="27" y="8"/>
                  <a:pt x="27" y="9"/>
                  <a:pt x="27" y="10"/>
                </a:cubicBezTo>
                <a:cubicBezTo>
                  <a:pt x="27" y="11"/>
                  <a:pt x="26" y="12"/>
                  <a:pt x="25" y="12"/>
                </a:cubicBezTo>
                <a:cubicBezTo>
                  <a:pt x="24" y="11"/>
                  <a:pt x="21" y="12"/>
                  <a:pt x="21" y="13"/>
                </a:cubicBezTo>
                <a:cubicBezTo>
                  <a:pt x="21" y="13"/>
                  <a:pt x="20" y="15"/>
                  <a:pt x="19" y="15"/>
                </a:cubicBezTo>
                <a:cubicBezTo>
                  <a:pt x="18" y="15"/>
                  <a:pt x="17" y="15"/>
                  <a:pt x="16" y="15"/>
                </a:cubicBezTo>
                <a:cubicBezTo>
                  <a:pt x="16" y="15"/>
                  <a:pt x="16" y="17"/>
                  <a:pt x="14" y="17"/>
                </a:cubicBezTo>
                <a:cubicBezTo>
                  <a:pt x="13" y="17"/>
                  <a:pt x="13" y="18"/>
                  <a:pt x="11" y="16"/>
                </a:cubicBezTo>
                <a:cubicBezTo>
                  <a:pt x="9" y="15"/>
                  <a:pt x="11" y="16"/>
                  <a:pt x="10" y="15"/>
                </a:cubicBezTo>
                <a:cubicBezTo>
                  <a:pt x="8" y="15"/>
                  <a:pt x="8" y="16"/>
                  <a:pt x="8" y="16"/>
                </a:cubicBezTo>
                <a:cubicBezTo>
                  <a:pt x="8" y="16"/>
                  <a:pt x="6" y="15"/>
                  <a:pt x="5" y="15"/>
                </a:cubicBezTo>
                <a:cubicBezTo>
                  <a:pt x="5" y="14"/>
                  <a:pt x="4" y="14"/>
                  <a:pt x="3" y="13"/>
                </a:cubicBezTo>
                <a:cubicBezTo>
                  <a:pt x="3" y="12"/>
                  <a:pt x="1" y="11"/>
                  <a:pt x="1" y="11"/>
                </a:cubicBezTo>
                <a:cubicBezTo>
                  <a:pt x="1" y="10"/>
                  <a:pt x="0" y="9"/>
                  <a:pt x="1" y="9"/>
                </a:cubicBezTo>
                <a:cubicBezTo>
                  <a:pt x="2" y="9"/>
                  <a:pt x="4" y="9"/>
                  <a:pt x="4" y="9"/>
                </a:cubicBezTo>
                <a:lnTo>
                  <a:pt x="5" y="8"/>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4" name="Moldova"/>
          <p:cNvSpPr>
            <a:spLocks/>
          </p:cNvSpPr>
          <p:nvPr/>
        </p:nvSpPr>
        <p:spPr bwMode="auto">
          <a:xfrm>
            <a:off x="6870694" y="2422648"/>
            <a:ext cx="65327" cy="130656"/>
          </a:xfrm>
          <a:custGeom>
            <a:avLst/>
            <a:gdLst>
              <a:gd name="T0" fmla="*/ 0 w 32"/>
              <a:gd name="T1" fmla="*/ 6 h 63"/>
              <a:gd name="T2" fmla="*/ 2 w 32"/>
              <a:gd name="T3" fmla="*/ 10 h 63"/>
              <a:gd name="T4" fmla="*/ 4 w 32"/>
              <a:gd name="T5" fmla="*/ 15 h 63"/>
              <a:gd name="T6" fmla="*/ 6 w 32"/>
              <a:gd name="T7" fmla="*/ 19 h 63"/>
              <a:gd name="T8" fmla="*/ 10 w 32"/>
              <a:gd name="T9" fmla="*/ 25 h 63"/>
              <a:gd name="T10" fmla="*/ 15 w 32"/>
              <a:gd name="T11" fmla="*/ 33 h 63"/>
              <a:gd name="T12" fmla="*/ 18 w 32"/>
              <a:gd name="T13" fmla="*/ 40 h 63"/>
              <a:gd name="T14" fmla="*/ 19 w 32"/>
              <a:gd name="T15" fmla="*/ 50 h 63"/>
              <a:gd name="T16" fmla="*/ 16 w 32"/>
              <a:gd name="T17" fmla="*/ 56 h 63"/>
              <a:gd name="T18" fmla="*/ 17 w 32"/>
              <a:gd name="T19" fmla="*/ 62 h 63"/>
              <a:gd name="T20" fmla="*/ 20 w 32"/>
              <a:gd name="T21" fmla="*/ 63 h 63"/>
              <a:gd name="T22" fmla="*/ 23 w 32"/>
              <a:gd name="T23" fmla="*/ 61 h 63"/>
              <a:gd name="T24" fmla="*/ 24 w 32"/>
              <a:gd name="T25" fmla="*/ 52 h 63"/>
              <a:gd name="T26" fmla="*/ 26 w 32"/>
              <a:gd name="T27" fmla="*/ 44 h 63"/>
              <a:gd name="T28" fmla="*/ 28 w 32"/>
              <a:gd name="T29" fmla="*/ 41 h 63"/>
              <a:gd name="T30" fmla="*/ 32 w 32"/>
              <a:gd name="T31" fmla="*/ 38 h 63"/>
              <a:gd name="T32" fmla="*/ 30 w 32"/>
              <a:gd name="T33" fmla="*/ 28 h 63"/>
              <a:gd name="T34" fmla="*/ 27 w 32"/>
              <a:gd name="T35" fmla="*/ 21 h 63"/>
              <a:gd name="T36" fmla="*/ 24 w 32"/>
              <a:gd name="T37" fmla="*/ 15 h 63"/>
              <a:gd name="T38" fmla="*/ 23 w 32"/>
              <a:gd name="T39" fmla="*/ 11 h 63"/>
              <a:gd name="T40" fmla="*/ 17 w 32"/>
              <a:gd name="T41" fmla="*/ 6 h 63"/>
              <a:gd name="T42" fmla="*/ 12 w 32"/>
              <a:gd name="T43" fmla="*/ 3 h 63"/>
              <a:gd name="T44" fmla="*/ 9 w 32"/>
              <a:gd name="T45" fmla="*/ 0 h 63"/>
              <a:gd name="T46" fmla="*/ 5 w 32"/>
              <a:gd name="T47" fmla="*/ 0 h 63"/>
              <a:gd name="T48" fmla="*/ 3 w 32"/>
              <a:gd name="T49" fmla="*/ 3 h 63"/>
              <a:gd name="T50" fmla="*/ 0 w 32"/>
              <a:gd name="T51"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63">
                <a:moveTo>
                  <a:pt x="0" y="6"/>
                </a:moveTo>
                <a:cubicBezTo>
                  <a:pt x="0" y="6"/>
                  <a:pt x="2" y="9"/>
                  <a:pt x="2" y="10"/>
                </a:cubicBezTo>
                <a:cubicBezTo>
                  <a:pt x="2" y="11"/>
                  <a:pt x="4" y="14"/>
                  <a:pt x="4" y="15"/>
                </a:cubicBezTo>
                <a:cubicBezTo>
                  <a:pt x="4" y="16"/>
                  <a:pt x="6" y="19"/>
                  <a:pt x="6" y="19"/>
                </a:cubicBezTo>
                <a:cubicBezTo>
                  <a:pt x="7" y="20"/>
                  <a:pt x="9" y="24"/>
                  <a:pt x="10" y="25"/>
                </a:cubicBezTo>
                <a:cubicBezTo>
                  <a:pt x="11" y="27"/>
                  <a:pt x="14" y="31"/>
                  <a:pt x="15" y="33"/>
                </a:cubicBezTo>
                <a:cubicBezTo>
                  <a:pt x="16" y="35"/>
                  <a:pt x="17" y="38"/>
                  <a:pt x="18" y="40"/>
                </a:cubicBezTo>
                <a:cubicBezTo>
                  <a:pt x="19" y="42"/>
                  <a:pt x="19" y="48"/>
                  <a:pt x="19" y="50"/>
                </a:cubicBezTo>
                <a:cubicBezTo>
                  <a:pt x="18" y="51"/>
                  <a:pt x="16" y="54"/>
                  <a:pt x="16" y="56"/>
                </a:cubicBezTo>
                <a:cubicBezTo>
                  <a:pt x="16" y="57"/>
                  <a:pt x="16" y="61"/>
                  <a:pt x="17" y="62"/>
                </a:cubicBezTo>
                <a:cubicBezTo>
                  <a:pt x="18" y="63"/>
                  <a:pt x="19" y="63"/>
                  <a:pt x="20" y="63"/>
                </a:cubicBezTo>
                <a:cubicBezTo>
                  <a:pt x="22" y="62"/>
                  <a:pt x="22" y="61"/>
                  <a:pt x="23" y="61"/>
                </a:cubicBezTo>
                <a:cubicBezTo>
                  <a:pt x="24" y="61"/>
                  <a:pt x="24" y="54"/>
                  <a:pt x="24" y="52"/>
                </a:cubicBezTo>
                <a:cubicBezTo>
                  <a:pt x="24" y="51"/>
                  <a:pt x="26" y="46"/>
                  <a:pt x="26" y="44"/>
                </a:cubicBezTo>
                <a:cubicBezTo>
                  <a:pt x="27" y="43"/>
                  <a:pt x="27" y="42"/>
                  <a:pt x="28" y="41"/>
                </a:cubicBezTo>
                <a:cubicBezTo>
                  <a:pt x="30" y="40"/>
                  <a:pt x="32" y="39"/>
                  <a:pt x="32" y="38"/>
                </a:cubicBezTo>
                <a:cubicBezTo>
                  <a:pt x="32" y="37"/>
                  <a:pt x="30" y="30"/>
                  <a:pt x="30" y="28"/>
                </a:cubicBezTo>
                <a:cubicBezTo>
                  <a:pt x="29" y="27"/>
                  <a:pt x="27" y="22"/>
                  <a:pt x="27" y="21"/>
                </a:cubicBezTo>
                <a:cubicBezTo>
                  <a:pt x="26" y="20"/>
                  <a:pt x="25" y="17"/>
                  <a:pt x="24" y="15"/>
                </a:cubicBezTo>
                <a:cubicBezTo>
                  <a:pt x="24" y="14"/>
                  <a:pt x="23" y="12"/>
                  <a:pt x="23" y="11"/>
                </a:cubicBezTo>
                <a:cubicBezTo>
                  <a:pt x="22" y="10"/>
                  <a:pt x="18" y="6"/>
                  <a:pt x="17" y="6"/>
                </a:cubicBezTo>
                <a:cubicBezTo>
                  <a:pt x="16" y="6"/>
                  <a:pt x="13" y="4"/>
                  <a:pt x="12" y="3"/>
                </a:cubicBezTo>
                <a:cubicBezTo>
                  <a:pt x="11" y="2"/>
                  <a:pt x="11" y="1"/>
                  <a:pt x="9" y="0"/>
                </a:cubicBezTo>
                <a:cubicBezTo>
                  <a:pt x="7" y="0"/>
                  <a:pt x="6" y="0"/>
                  <a:pt x="5" y="0"/>
                </a:cubicBezTo>
                <a:cubicBezTo>
                  <a:pt x="4" y="1"/>
                  <a:pt x="3" y="3"/>
                  <a:pt x="3" y="3"/>
                </a:cubicBezTo>
                <a:cubicBezTo>
                  <a:pt x="2" y="4"/>
                  <a:pt x="0" y="6"/>
                  <a:pt x="0" y="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5" name="Romania"/>
          <p:cNvSpPr>
            <a:spLocks/>
          </p:cNvSpPr>
          <p:nvPr/>
        </p:nvSpPr>
        <p:spPr bwMode="auto">
          <a:xfrm>
            <a:off x="6712275" y="2435713"/>
            <a:ext cx="230281" cy="176385"/>
          </a:xfrm>
          <a:custGeom>
            <a:avLst/>
            <a:gdLst>
              <a:gd name="T0" fmla="*/ 96 w 112"/>
              <a:gd name="T1" fmla="*/ 82 h 86"/>
              <a:gd name="T2" fmla="*/ 87 w 112"/>
              <a:gd name="T3" fmla="*/ 80 h 86"/>
              <a:gd name="T4" fmla="*/ 72 w 112"/>
              <a:gd name="T5" fmla="*/ 81 h 86"/>
              <a:gd name="T6" fmla="*/ 59 w 112"/>
              <a:gd name="T7" fmla="*/ 84 h 86"/>
              <a:gd name="T8" fmla="*/ 41 w 112"/>
              <a:gd name="T9" fmla="*/ 83 h 86"/>
              <a:gd name="T10" fmla="*/ 27 w 112"/>
              <a:gd name="T11" fmla="*/ 75 h 86"/>
              <a:gd name="T12" fmla="*/ 26 w 112"/>
              <a:gd name="T13" fmla="*/ 69 h 86"/>
              <a:gd name="T14" fmla="*/ 17 w 112"/>
              <a:gd name="T15" fmla="*/ 66 h 86"/>
              <a:gd name="T16" fmla="*/ 13 w 112"/>
              <a:gd name="T17" fmla="*/ 59 h 86"/>
              <a:gd name="T18" fmla="*/ 5 w 112"/>
              <a:gd name="T19" fmla="*/ 53 h 86"/>
              <a:gd name="T20" fmla="*/ 2 w 112"/>
              <a:gd name="T21" fmla="*/ 44 h 86"/>
              <a:gd name="T22" fmla="*/ 0 w 112"/>
              <a:gd name="T23" fmla="*/ 39 h 86"/>
              <a:gd name="T24" fmla="*/ 7 w 112"/>
              <a:gd name="T25" fmla="*/ 36 h 86"/>
              <a:gd name="T26" fmla="*/ 12 w 112"/>
              <a:gd name="T27" fmla="*/ 28 h 86"/>
              <a:gd name="T28" fmla="*/ 20 w 112"/>
              <a:gd name="T29" fmla="*/ 15 h 86"/>
              <a:gd name="T30" fmla="*/ 24 w 112"/>
              <a:gd name="T31" fmla="*/ 4 h 86"/>
              <a:gd name="T32" fmla="*/ 31 w 112"/>
              <a:gd name="T33" fmla="*/ 6 h 86"/>
              <a:gd name="T34" fmla="*/ 42 w 112"/>
              <a:gd name="T35" fmla="*/ 8 h 86"/>
              <a:gd name="T36" fmla="*/ 50 w 112"/>
              <a:gd name="T37" fmla="*/ 9 h 86"/>
              <a:gd name="T38" fmla="*/ 56 w 112"/>
              <a:gd name="T39" fmla="*/ 11 h 86"/>
              <a:gd name="T40" fmla="*/ 67 w 112"/>
              <a:gd name="T41" fmla="*/ 7 h 86"/>
              <a:gd name="T42" fmla="*/ 73 w 112"/>
              <a:gd name="T43" fmla="*/ 2 h 86"/>
              <a:gd name="T44" fmla="*/ 79 w 112"/>
              <a:gd name="T45" fmla="*/ 4 h 86"/>
              <a:gd name="T46" fmla="*/ 83 w 112"/>
              <a:gd name="T47" fmla="*/ 13 h 86"/>
              <a:gd name="T48" fmla="*/ 92 w 112"/>
              <a:gd name="T49" fmla="*/ 27 h 86"/>
              <a:gd name="T50" fmla="*/ 96 w 112"/>
              <a:gd name="T51" fmla="*/ 44 h 86"/>
              <a:gd name="T52" fmla="*/ 94 w 112"/>
              <a:gd name="T53" fmla="*/ 56 h 86"/>
              <a:gd name="T54" fmla="*/ 100 w 112"/>
              <a:gd name="T55" fmla="*/ 55 h 86"/>
              <a:gd name="T56" fmla="*/ 107 w 112"/>
              <a:gd name="T57" fmla="*/ 56 h 86"/>
              <a:gd name="T58" fmla="*/ 111 w 112"/>
              <a:gd name="T59" fmla="*/ 59 h 86"/>
              <a:gd name="T60" fmla="*/ 106 w 112"/>
              <a:gd name="T61" fmla="*/ 63 h 86"/>
              <a:gd name="T62" fmla="*/ 111 w 112"/>
              <a:gd name="T63" fmla="*/ 66 h 86"/>
              <a:gd name="T64" fmla="*/ 107 w 112"/>
              <a:gd name="T65" fmla="*/ 72 h 86"/>
              <a:gd name="T66" fmla="*/ 107 w 112"/>
              <a:gd name="T67" fmla="*/ 79 h 86"/>
              <a:gd name="T68" fmla="*/ 105 w 112"/>
              <a:gd name="T69" fmla="*/ 85 h 86"/>
              <a:gd name="T70" fmla="*/ 100 w 112"/>
              <a:gd name="T71"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86">
                <a:moveTo>
                  <a:pt x="100" y="85"/>
                </a:moveTo>
                <a:cubicBezTo>
                  <a:pt x="100" y="85"/>
                  <a:pt x="98" y="83"/>
                  <a:pt x="96" y="82"/>
                </a:cubicBezTo>
                <a:cubicBezTo>
                  <a:pt x="94" y="81"/>
                  <a:pt x="93" y="81"/>
                  <a:pt x="92" y="81"/>
                </a:cubicBezTo>
                <a:cubicBezTo>
                  <a:pt x="91" y="81"/>
                  <a:pt x="87" y="80"/>
                  <a:pt x="87" y="80"/>
                </a:cubicBezTo>
                <a:cubicBezTo>
                  <a:pt x="87" y="80"/>
                  <a:pt x="80" y="79"/>
                  <a:pt x="79" y="80"/>
                </a:cubicBezTo>
                <a:cubicBezTo>
                  <a:pt x="78" y="80"/>
                  <a:pt x="72" y="81"/>
                  <a:pt x="72" y="81"/>
                </a:cubicBezTo>
                <a:cubicBezTo>
                  <a:pt x="72" y="81"/>
                  <a:pt x="67" y="82"/>
                  <a:pt x="67" y="83"/>
                </a:cubicBezTo>
                <a:cubicBezTo>
                  <a:pt x="65" y="83"/>
                  <a:pt x="59" y="84"/>
                  <a:pt x="59" y="84"/>
                </a:cubicBezTo>
                <a:cubicBezTo>
                  <a:pt x="59" y="84"/>
                  <a:pt x="50" y="84"/>
                  <a:pt x="49" y="84"/>
                </a:cubicBezTo>
                <a:cubicBezTo>
                  <a:pt x="48" y="84"/>
                  <a:pt x="43" y="83"/>
                  <a:pt x="41" y="83"/>
                </a:cubicBezTo>
                <a:cubicBezTo>
                  <a:pt x="39" y="82"/>
                  <a:pt x="34" y="80"/>
                  <a:pt x="33" y="79"/>
                </a:cubicBezTo>
                <a:cubicBezTo>
                  <a:pt x="32" y="79"/>
                  <a:pt x="27" y="75"/>
                  <a:pt x="27" y="75"/>
                </a:cubicBezTo>
                <a:cubicBezTo>
                  <a:pt x="27" y="75"/>
                  <a:pt x="26" y="72"/>
                  <a:pt x="26" y="72"/>
                </a:cubicBezTo>
                <a:cubicBezTo>
                  <a:pt x="26" y="72"/>
                  <a:pt x="26" y="69"/>
                  <a:pt x="26" y="69"/>
                </a:cubicBezTo>
                <a:cubicBezTo>
                  <a:pt x="26" y="69"/>
                  <a:pt x="23" y="70"/>
                  <a:pt x="21" y="69"/>
                </a:cubicBezTo>
                <a:cubicBezTo>
                  <a:pt x="19" y="69"/>
                  <a:pt x="18" y="67"/>
                  <a:pt x="17" y="66"/>
                </a:cubicBezTo>
                <a:cubicBezTo>
                  <a:pt x="16" y="65"/>
                  <a:pt x="16" y="63"/>
                  <a:pt x="16" y="62"/>
                </a:cubicBezTo>
                <a:cubicBezTo>
                  <a:pt x="16" y="61"/>
                  <a:pt x="14" y="60"/>
                  <a:pt x="13" y="59"/>
                </a:cubicBezTo>
                <a:cubicBezTo>
                  <a:pt x="12" y="57"/>
                  <a:pt x="9" y="56"/>
                  <a:pt x="8" y="56"/>
                </a:cubicBezTo>
                <a:cubicBezTo>
                  <a:pt x="7" y="56"/>
                  <a:pt x="6" y="54"/>
                  <a:pt x="5" y="53"/>
                </a:cubicBezTo>
                <a:cubicBezTo>
                  <a:pt x="4" y="51"/>
                  <a:pt x="3" y="49"/>
                  <a:pt x="3" y="48"/>
                </a:cubicBezTo>
                <a:cubicBezTo>
                  <a:pt x="3" y="47"/>
                  <a:pt x="2" y="45"/>
                  <a:pt x="2" y="44"/>
                </a:cubicBezTo>
                <a:cubicBezTo>
                  <a:pt x="2" y="44"/>
                  <a:pt x="1" y="42"/>
                  <a:pt x="0" y="40"/>
                </a:cubicBezTo>
                <a:cubicBezTo>
                  <a:pt x="0" y="39"/>
                  <a:pt x="0" y="39"/>
                  <a:pt x="0" y="39"/>
                </a:cubicBezTo>
                <a:cubicBezTo>
                  <a:pt x="1" y="39"/>
                  <a:pt x="2" y="38"/>
                  <a:pt x="3" y="38"/>
                </a:cubicBezTo>
                <a:cubicBezTo>
                  <a:pt x="3" y="38"/>
                  <a:pt x="6" y="37"/>
                  <a:pt x="7" y="36"/>
                </a:cubicBezTo>
                <a:cubicBezTo>
                  <a:pt x="9" y="35"/>
                  <a:pt x="10" y="34"/>
                  <a:pt x="11" y="33"/>
                </a:cubicBezTo>
                <a:cubicBezTo>
                  <a:pt x="12" y="32"/>
                  <a:pt x="12" y="28"/>
                  <a:pt x="12" y="28"/>
                </a:cubicBezTo>
                <a:cubicBezTo>
                  <a:pt x="16" y="20"/>
                  <a:pt x="16" y="20"/>
                  <a:pt x="16" y="20"/>
                </a:cubicBezTo>
                <a:cubicBezTo>
                  <a:pt x="16" y="20"/>
                  <a:pt x="19" y="16"/>
                  <a:pt x="20" y="15"/>
                </a:cubicBezTo>
                <a:cubicBezTo>
                  <a:pt x="21" y="13"/>
                  <a:pt x="23" y="11"/>
                  <a:pt x="23" y="10"/>
                </a:cubicBezTo>
                <a:cubicBezTo>
                  <a:pt x="24" y="9"/>
                  <a:pt x="24" y="4"/>
                  <a:pt x="24" y="4"/>
                </a:cubicBezTo>
                <a:cubicBezTo>
                  <a:pt x="27" y="4"/>
                  <a:pt x="27" y="4"/>
                  <a:pt x="27" y="4"/>
                </a:cubicBezTo>
                <a:cubicBezTo>
                  <a:pt x="27" y="4"/>
                  <a:pt x="30" y="6"/>
                  <a:pt x="31" y="6"/>
                </a:cubicBezTo>
                <a:cubicBezTo>
                  <a:pt x="31" y="6"/>
                  <a:pt x="38" y="7"/>
                  <a:pt x="38" y="7"/>
                </a:cubicBezTo>
                <a:cubicBezTo>
                  <a:pt x="42" y="8"/>
                  <a:pt x="42" y="8"/>
                  <a:pt x="42" y="8"/>
                </a:cubicBezTo>
                <a:cubicBezTo>
                  <a:pt x="45" y="9"/>
                  <a:pt x="45" y="9"/>
                  <a:pt x="45" y="9"/>
                </a:cubicBezTo>
                <a:cubicBezTo>
                  <a:pt x="50" y="9"/>
                  <a:pt x="50" y="9"/>
                  <a:pt x="50" y="9"/>
                </a:cubicBezTo>
                <a:cubicBezTo>
                  <a:pt x="50" y="9"/>
                  <a:pt x="52" y="11"/>
                  <a:pt x="53" y="11"/>
                </a:cubicBezTo>
                <a:cubicBezTo>
                  <a:pt x="54" y="12"/>
                  <a:pt x="56" y="12"/>
                  <a:pt x="56" y="11"/>
                </a:cubicBezTo>
                <a:cubicBezTo>
                  <a:pt x="57" y="10"/>
                  <a:pt x="60" y="7"/>
                  <a:pt x="60" y="7"/>
                </a:cubicBezTo>
                <a:cubicBezTo>
                  <a:pt x="67" y="7"/>
                  <a:pt x="67" y="7"/>
                  <a:pt x="67" y="7"/>
                </a:cubicBezTo>
                <a:cubicBezTo>
                  <a:pt x="67" y="7"/>
                  <a:pt x="68" y="5"/>
                  <a:pt x="69" y="4"/>
                </a:cubicBezTo>
                <a:cubicBezTo>
                  <a:pt x="70" y="4"/>
                  <a:pt x="73" y="2"/>
                  <a:pt x="73" y="2"/>
                </a:cubicBezTo>
                <a:cubicBezTo>
                  <a:pt x="77" y="0"/>
                  <a:pt x="77" y="0"/>
                  <a:pt x="77" y="0"/>
                </a:cubicBezTo>
                <a:cubicBezTo>
                  <a:pt x="77" y="0"/>
                  <a:pt x="79" y="3"/>
                  <a:pt x="79" y="4"/>
                </a:cubicBezTo>
                <a:cubicBezTo>
                  <a:pt x="79" y="5"/>
                  <a:pt x="81" y="8"/>
                  <a:pt x="81" y="9"/>
                </a:cubicBezTo>
                <a:cubicBezTo>
                  <a:pt x="81" y="10"/>
                  <a:pt x="83" y="13"/>
                  <a:pt x="83" y="13"/>
                </a:cubicBezTo>
                <a:cubicBezTo>
                  <a:pt x="84" y="14"/>
                  <a:pt x="86" y="18"/>
                  <a:pt x="87" y="19"/>
                </a:cubicBezTo>
                <a:cubicBezTo>
                  <a:pt x="88" y="21"/>
                  <a:pt x="91" y="25"/>
                  <a:pt x="92" y="27"/>
                </a:cubicBezTo>
                <a:cubicBezTo>
                  <a:pt x="93" y="29"/>
                  <a:pt x="94" y="32"/>
                  <a:pt x="95" y="34"/>
                </a:cubicBezTo>
                <a:cubicBezTo>
                  <a:pt x="96" y="36"/>
                  <a:pt x="96" y="42"/>
                  <a:pt x="96" y="44"/>
                </a:cubicBezTo>
                <a:cubicBezTo>
                  <a:pt x="95" y="45"/>
                  <a:pt x="93" y="48"/>
                  <a:pt x="93" y="50"/>
                </a:cubicBezTo>
                <a:cubicBezTo>
                  <a:pt x="93" y="51"/>
                  <a:pt x="93" y="55"/>
                  <a:pt x="94" y="56"/>
                </a:cubicBezTo>
                <a:cubicBezTo>
                  <a:pt x="95" y="57"/>
                  <a:pt x="96" y="57"/>
                  <a:pt x="97" y="57"/>
                </a:cubicBezTo>
                <a:cubicBezTo>
                  <a:pt x="99" y="56"/>
                  <a:pt x="99" y="55"/>
                  <a:pt x="100" y="55"/>
                </a:cubicBezTo>
                <a:cubicBezTo>
                  <a:pt x="101" y="55"/>
                  <a:pt x="102" y="56"/>
                  <a:pt x="102" y="56"/>
                </a:cubicBezTo>
                <a:cubicBezTo>
                  <a:pt x="102" y="56"/>
                  <a:pt x="106" y="56"/>
                  <a:pt x="107" y="56"/>
                </a:cubicBezTo>
                <a:cubicBezTo>
                  <a:pt x="108" y="56"/>
                  <a:pt x="111" y="57"/>
                  <a:pt x="111" y="57"/>
                </a:cubicBezTo>
                <a:cubicBezTo>
                  <a:pt x="111" y="58"/>
                  <a:pt x="111" y="59"/>
                  <a:pt x="111" y="59"/>
                </a:cubicBezTo>
                <a:cubicBezTo>
                  <a:pt x="111" y="59"/>
                  <a:pt x="107" y="59"/>
                  <a:pt x="107" y="60"/>
                </a:cubicBezTo>
                <a:cubicBezTo>
                  <a:pt x="107" y="61"/>
                  <a:pt x="106" y="61"/>
                  <a:pt x="106" y="63"/>
                </a:cubicBezTo>
                <a:cubicBezTo>
                  <a:pt x="107" y="64"/>
                  <a:pt x="109" y="63"/>
                  <a:pt x="110" y="64"/>
                </a:cubicBezTo>
                <a:cubicBezTo>
                  <a:pt x="111" y="64"/>
                  <a:pt x="112" y="65"/>
                  <a:pt x="111" y="66"/>
                </a:cubicBezTo>
                <a:cubicBezTo>
                  <a:pt x="111" y="66"/>
                  <a:pt x="109" y="67"/>
                  <a:pt x="109" y="68"/>
                </a:cubicBezTo>
                <a:cubicBezTo>
                  <a:pt x="108" y="69"/>
                  <a:pt x="107" y="71"/>
                  <a:pt x="107" y="72"/>
                </a:cubicBezTo>
                <a:cubicBezTo>
                  <a:pt x="107" y="73"/>
                  <a:pt x="107" y="75"/>
                  <a:pt x="107" y="76"/>
                </a:cubicBezTo>
                <a:cubicBezTo>
                  <a:pt x="107" y="77"/>
                  <a:pt x="107" y="78"/>
                  <a:pt x="107" y="79"/>
                </a:cubicBezTo>
                <a:cubicBezTo>
                  <a:pt x="106" y="79"/>
                  <a:pt x="106" y="81"/>
                  <a:pt x="106" y="81"/>
                </a:cubicBezTo>
                <a:cubicBezTo>
                  <a:pt x="106" y="81"/>
                  <a:pt x="105" y="84"/>
                  <a:pt x="105" y="85"/>
                </a:cubicBezTo>
                <a:cubicBezTo>
                  <a:pt x="105" y="86"/>
                  <a:pt x="104" y="86"/>
                  <a:pt x="104" y="86"/>
                </a:cubicBezTo>
                <a:lnTo>
                  <a:pt x="100" y="85"/>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6" name="Bulgaria"/>
          <p:cNvSpPr>
            <a:spLocks/>
          </p:cNvSpPr>
          <p:nvPr/>
        </p:nvSpPr>
        <p:spPr bwMode="auto">
          <a:xfrm>
            <a:off x="6759638" y="2582701"/>
            <a:ext cx="158420" cy="112690"/>
          </a:xfrm>
          <a:custGeom>
            <a:avLst/>
            <a:gdLst>
              <a:gd name="T0" fmla="*/ 77 w 77"/>
              <a:gd name="T1" fmla="*/ 41 h 55"/>
              <a:gd name="T2" fmla="*/ 72 w 77"/>
              <a:gd name="T3" fmla="*/ 42 h 55"/>
              <a:gd name="T4" fmla="*/ 65 w 77"/>
              <a:gd name="T5" fmla="*/ 43 h 55"/>
              <a:gd name="T6" fmla="*/ 60 w 77"/>
              <a:gd name="T7" fmla="*/ 43 h 55"/>
              <a:gd name="T8" fmla="*/ 59 w 77"/>
              <a:gd name="T9" fmla="*/ 45 h 55"/>
              <a:gd name="T10" fmla="*/ 55 w 77"/>
              <a:gd name="T11" fmla="*/ 45 h 55"/>
              <a:gd name="T12" fmla="*/ 49 w 77"/>
              <a:gd name="T13" fmla="*/ 48 h 55"/>
              <a:gd name="T14" fmla="*/ 49 w 77"/>
              <a:gd name="T15" fmla="*/ 51 h 55"/>
              <a:gd name="T16" fmla="*/ 43 w 77"/>
              <a:gd name="T17" fmla="*/ 55 h 55"/>
              <a:gd name="T18" fmla="*/ 35 w 77"/>
              <a:gd name="T19" fmla="*/ 55 h 55"/>
              <a:gd name="T20" fmla="*/ 31 w 77"/>
              <a:gd name="T21" fmla="*/ 53 h 55"/>
              <a:gd name="T22" fmla="*/ 24 w 77"/>
              <a:gd name="T23" fmla="*/ 52 h 55"/>
              <a:gd name="T24" fmla="*/ 18 w 77"/>
              <a:gd name="T25" fmla="*/ 53 h 55"/>
              <a:gd name="T26" fmla="*/ 10 w 77"/>
              <a:gd name="T27" fmla="*/ 54 h 55"/>
              <a:gd name="T28" fmla="*/ 9 w 77"/>
              <a:gd name="T29" fmla="*/ 52 h 55"/>
              <a:gd name="T30" fmla="*/ 8 w 77"/>
              <a:gd name="T31" fmla="*/ 51 h 55"/>
              <a:gd name="T32" fmla="*/ 9 w 77"/>
              <a:gd name="T33" fmla="*/ 49 h 55"/>
              <a:gd name="T34" fmla="*/ 11 w 77"/>
              <a:gd name="T35" fmla="*/ 48 h 55"/>
              <a:gd name="T36" fmla="*/ 10 w 77"/>
              <a:gd name="T37" fmla="*/ 46 h 55"/>
              <a:gd name="T38" fmla="*/ 9 w 77"/>
              <a:gd name="T39" fmla="*/ 44 h 55"/>
              <a:gd name="T40" fmla="*/ 9 w 77"/>
              <a:gd name="T41" fmla="*/ 43 h 55"/>
              <a:gd name="T42" fmla="*/ 6 w 77"/>
              <a:gd name="T43" fmla="*/ 41 h 55"/>
              <a:gd name="T44" fmla="*/ 5 w 77"/>
              <a:gd name="T45" fmla="*/ 40 h 55"/>
              <a:gd name="T46" fmla="*/ 4 w 77"/>
              <a:gd name="T47" fmla="*/ 38 h 55"/>
              <a:gd name="T48" fmla="*/ 2 w 77"/>
              <a:gd name="T49" fmla="*/ 36 h 55"/>
              <a:gd name="T50" fmla="*/ 1 w 77"/>
              <a:gd name="T51" fmla="*/ 34 h 55"/>
              <a:gd name="T52" fmla="*/ 3 w 77"/>
              <a:gd name="T53" fmla="*/ 32 h 55"/>
              <a:gd name="T54" fmla="*/ 2 w 77"/>
              <a:gd name="T55" fmla="*/ 29 h 55"/>
              <a:gd name="T56" fmla="*/ 0 w 77"/>
              <a:gd name="T57" fmla="*/ 26 h 55"/>
              <a:gd name="T58" fmla="*/ 1 w 77"/>
              <a:gd name="T59" fmla="*/ 22 h 55"/>
              <a:gd name="T60" fmla="*/ 1 w 77"/>
              <a:gd name="T61" fmla="*/ 16 h 55"/>
              <a:gd name="T62" fmla="*/ 0 w 77"/>
              <a:gd name="T63" fmla="*/ 10 h 55"/>
              <a:gd name="T64" fmla="*/ 2 w 77"/>
              <a:gd name="T65" fmla="*/ 5 h 55"/>
              <a:gd name="T66" fmla="*/ 3 w 77"/>
              <a:gd name="T67" fmla="*/ 0 h 55"/>
              <a:gd name="T68" fmla="*/ 4 w 77"/>
              <a:gd name="T69" fmla="*/ 3 h 55"/>
              <a:gd name="T70" fmla="*/ 10 w 77"/>
              <a:gd name="T71" fmla="*/ 7 h 55"/>
              <a:gd name="T72" fmla="*/ 18 w 77"/>
              <a:gd name="T73" fmla="*/ 11 h 55"/>
              <a:gd name="T74" fmla="*/ 26 w 77"/>
              <a:gd name="T75" fmla="*/ 12 h 55"/>
              <a:gd name="T76" fmla="*/ 36 w 77"/>
              <a:gd name="T77" fmla="*/ 12 h 55"/>
              <a:gd name="T78" fmla="*/ 44 w 77"/>
              <a:gd name="T79" fmla="*/ 11 h 55"/>
              <a:gd name="T80" fmla="*/ 49 w 77"/>
              <a:gd name="T81" fmla="*/ 9 h 55"/>
              <a:gd name="T82" fmla="*/ 56 w 77"/>
              <a:gd name="T83" fmla="*/ 8 h 55"/>
              <a:gd name="T84" fmla="*/ 64 w 77"/>
              <a:gd name="T85" fmla="*/ 8 h 55"/>
              <a:gd name="T86" fmla="*/ 69 w 77"/>
              <a:gd name="T87" fmla="*/ 9 h 55"/>
              <a:gd name="T88" fmla="*/ 73 w 77"/>
              <a:gd name="T89" fmla="*/ 10 h 55"/>
              <a:gd name="T90" fmla="*/ 77 w 77"/>
              <a:gd name="T91" fmla="*/ 13 h 55"/>
              <a:gd name="T92" fmla="*/ 75 w 77"/>
              <a:gd name="T93" fmla="*/ 19 h 55"/>
              <a:gd name="T94" fmla="*/ 73 w 77"/>
              <a:gd name="T95" fmla="*/ 30 h 55"/>
              <a:gd name="T96" fmla="*/ 73 w 77"/>
              <a:gd name="T97" fmla="*/ 35 h 55"/>
              <a:gd name="T98" fmla="*/ 76 w 77"/>
              <a:gd name="T99" fmla="*/ 38 h 55"/>
              <a:gd name="T100" fmla="*/ 77 w 77"/>
              <a:gd name="T101" fmla="*/ 4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55">
                <a:moveTo>
                  <a:pt x="77" y="41"/>
                </a:moveTo>
                <a:cubicBezTo>
                  <a:pt x="77" y="41"/>
                  <a:pt x="74" y="42"/>
                  <a:pt x="72" y="42"/>
                </a:cubicBezTo>
                <a:cubicBezTo>
                  <a:pt x="71" y="42"/>
                  <a:pt x="66" y="43"/>
                  <a:pt x="65" y="43"/>
                </a:cubicBezTo>
                <a:cubicBezTo>
                  <a:pt x="63" y="44"/>
                  <a:pt x="61" y="43"/>
                  <a:pt x="60" y="43"/>
                </a:cubicBezTo>
                <a:cubicBezTo>
                  <a:pt x="59" y="43"/>
                  <a:pt x="59" y="44"/>
                  <a:pt x="59" y="45"/>
                </a:cubicBezTo>
                <a:cubicBezTo>
                  <a:pt x="57" y="45"/>
                  <a:pt x="56" y="45"/>
                  <a:pt x="55" y="45"/>
                </a:cubicBezTo>
                <a:cubicBezTo>
                  <a:pt x="54" y="45"/>
                  <a:pt x="49" y="47"/>
                  <a:pt x="49" y="48"/>
                </a:cubicBezTo>
                <a:cubicBezTo>
                  <a:pt x="49" y="48"/>
                  <a:pt x="49" y="51"/>
                  <a:pt x="49" y="51"/>
                </a:cubicBezTo>
                <a:cubicBezTo>
                  <a:pt x="43" y="55"/>
                  <a:pt x="43" y="55"/>
                  <a:pt x="43" y="55"/>
                </a:cubicBezTo>
                <a:cubicBezTo>
                  <a:pt x="35" y="55"/>
                  <a:pt x="35" y="55"/>
                  <a:pt x="35" y="55"/>
                </a:cubicBezTo>
                <a:cubicBezTo>
                  <a:pt x="35" y="55"/>
                  <a:pt x="32" y="53"/>
                  <a:pt x="31" y="53"/>
                </a:cubicBezTo>
                <a:cubicBezTo>
                  <a:pt x="30" y="53"/>
                  <a:pt x="25" y="52"/>
                  <a:pt x="24" y="52"/>
                </a:cubicBezTo>
                <a:cubicBezTo>
                  <a:pt x="23" y="52"/>
                  <a:pt x="18" y="53"/>
                  <a:pt x="18" y="53"/>
                </a:cubicBezTo>
                <a:cubicBezTo>
                  <a:pt x="18" y="53"/>
                  <a:pt x="12" y="54"/>
                  <a:pt x="10" y="54"/>
                </a:cubicBezTo>
                <a:cubicBezTo>
                  <a:pt x="10" y="54"/>
                  <a:pt x="9" y="53"/>
                  <a:pt x="9" y="52"/>
                </a:cubicBezTo>
                <a:cubicBezTo>
                  <a:pt x="8" y="52"/>
                  <a:pt x="8" y="51"/>
                  <a:pt x="8" y="51"/>
                </a:cubicBezTo>
                <a:cubicBezTo>
                  <a:pt x="8" y="49"/>
                  <a:pt x="9" y="49"/>
                  <a:pt x="9" y="49"/>
                </a:cubicBezTo>
                <a:cubicBezTo>
                  <a:pt x="10" y="49"/>
                  <a:pt x="11" y="49"/>
                  <a:pt x="11" y="48"/>
                </a:cubicBezTo>
                <a:cubicBezTo>
                  <a:pt x="11" y="47"/>
                  <a:pt x="11" y="46"/>
                  <a:pt x="10" y="46"/>
                </a:cubicBezTo>
                <a:cubicBezTo>
                  <a:pt x="10" y="45"/>
                  <a:pt x="9" y="45"/>
                  <a:pt x="9" y="44"/>
                </a:cubicBezTo>
                <a:cubicBezTo>
                  <a:pt x="9" y="44"/>
                  <a:pt x="9" y="43"/>
                  <a:pt x="9" y="43"/>
                </a:cubicBezTo>
                <a:cubicBezTo>
                  <a:pt x="8" y="42"/>
                  <a:pt x="7" y="42"/>
                  <a:pt x="6" y="41"/>
                </a:cubicBezTo>
                <a:cubicBezTo>
                  <a:pt x="6" y="41"/>
                  <a:pt x="5" y="40"/>
                  <a:pt x="5" y="40"/>
                </a:cubicBezTo>
                <a:cubicBezTo>
                  <a:pt x="4" y="40"/>
                  <a:pt x="4" y="39"/>
                  <a:pt x="4" y="38"/>
                </a:cubicBezTo>
                <a:cubicBezTo>
                  <a:pt x="3" y="38"/>
                  <a:pt x="2" y="37"/>
                  <a:pt x="2" y="36"/>
                </a:cubicBezTo>
                <a:cubicBezTo>
                  <a:pt x="2" y="36"/>
                  <a:pt x="1" y="34"/>
                  <a:pt x="1" y="34"/>
                </a:cubicBezTo>
                <a:cubicBezTo>
                  <a:pt x="1" y="34"/>
                  <a:pt x="3" y="33"/>
                  <a:pt x="3" y="32"/>
                </a:cubicBezTo>
                <a:cubicBezTo>
                  <a:pt x="3" y="31"/>
                  <a:pt x="2" y="29"/>
                  <a:pt x="2" y="29"/>
                </a:cubicBezTo>
                <a:cubicBezTo>
                  <a:pt x="0" y="26"/>
                  <a:pt x="0" y="26"/>
                  <a:pt x="0" y="26"/>
                </a:cubicBezTo>
                <a:cubicBezTo>
                  <a:pt x="0" y="26"/>
                  <a:pt x="1" y="23"/>
                  <a:pt x="1" y="22"/>
                </a:cubicBezTo>
                <a:cubicBezTo>
                  <a:pt x="1" y="21"/>
                  <a:pt x="2" y="18"/>
                  <a:pt x="1" y="16"/>
                </a:cubicBezTo>
                <a:cubicBezTo>
                  <a:pt x="0" y="14"/>
                  <a:pt x="0" y="11"/>
                  <a:pt x="0" y="10"/>
                </a:cubicBezTo>
                <a:cubicBezTo>
                  <a:pt x="0" y="9"/>
                  <a:pt x="1" y="6"/>
                  <a:pt x="2" y="5"/>
                </a:cubicBezTo>
                <a:cubicBezTo>
                  <a:pt x="2" y="4"/>
                  <a:pt x="3" y="1"/>
                  <a:pt x="3" y="0"/>
                </a:cubicBezTo>
                <a:cubicBezTo>
                  <a:pt x="3" y="0"/>
                  <a:pt x="4" y="3"/>
                  <a:pt x="4" y="3"/>
                </a:cubicBezTo>
                <a:cubicBezTo>
                  <a:pt x="4" y="3"/>
                  <a:pt x="9" y="7"/>
                  <a:pt x="10" y="7"/>
                </a:cubicBezTo>
                <a:cubicBezTo>
                  <a:pt x="11" y="8"/>
                  <a:pt x="16" y="10"/>
                  <a:pt x="18" y="11"/>
                </a:cubicBezTo>
                <a:cubicBezTo>
                  <a:pt x="20" y="11"/>
                  <a:pt x="25" y="12"/>
                  <a:pt x="26" y="12"/>
                </a:cubicBezTo>
                <a:cubicBezTo>
                  <a:pt x="27" y="12"/>
                  <a:pt x="36" y="12"/>
                  <a:pt x="36" y="12"/>
                </a:cubicBezTo>
                <a:cubicBezTo>
                  <a:pt x="36" y="12"/>
                  <a:pt x="42" y="11"/>
                  <a:pt x="44" y="11"/>
                </a:cubicBezTo>
                <a:cubicBezTo>
                  <a:pt x="44" y="10"/>
                  <a:pt x="49" y="9"/>
                  <a:pt x="49" y="9"/>
                </a:cubicBezTo>
                <a:cubicBezTo>
                  <a:pt x="49" y="9"/>
                  <a:pt x="55" y="8"/>
                  <a:pt x="56" y="8"/>
                </a:cubicBezTo>
                <a:cubicBezTo>
                  <a:pt x="57" y="7"/>
                  <a:pt x="64" y="8"/>
                  <a:pt x="64" y="8"/>
                </a:cubicBezTo>
                <a:cubicBezTo>
                  <a:pt x="64" y="8"/>
                  <a:pt x="68" y="9"/>
                  <a:pt x="69" y="9"/>
                </a:cubicBezTo>
                <a:cubicBezTo>
                  <a:pt x="70" y="9"/>
                  <a:pt x="71" y="9"/>
                  <a:pt x="73" y="10"/>
                </a:cubicBezTo>
                <a:cubicBezTo>
                  <a:pt x="75" y="11"/>
                  <a:pt x="77" y="13"/>
                  <a:pt x="77" y="13"/>
                </a:cubicBezTo>
                <a:cubicBezTo>
                  <a:pt x="77" y="13"/>
                  <a:pt x="76" y="17"/>
                  <a:pt x="75" y="19"/>
                </a:cubicBezTo>
                <a:cubicBezTo>
                  <a:pt x="74" y="21"/>
                  <a:pt x="73" y="28"/>
                  <a:pt x="73" y="30"/>
                </a:cubicBezTo>
                <a:cubicBezTo>
                  <a:pt x="73" y="32"/>
                  <a:pt x="73" y="34"/>
                  <a:pt x="73" y="35"/>
                </a:cubicBezTo>
                <a:cubicBezTo>
                  <a:pt x="74" y="36"/>
                  <a:pt x="76" y="37"/>
                  <a:pt x="76" y="38"/>
                </a:cubicBezTo>
                <a:cubicBezTo>
                  <a:pt x="76" y="39"/>
                  <a:pt x="77" y="41"/>
                  <a:pt x="77" y="41"/>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7" name="Macedonia"/>
          <p:cNvSpPr>
            <a:spLocks/>
          </p:cNvSpPr>
          <p:nvPr/>
        </p:nvSpPr>
        <p:spPr bwMode="auto">
          <a:xfrm>
            <a:off x="6718807" y="2652928"/>
            <a:ext cx="63695" cy="60428"/>
          </a:xfrm>
          <a:custGeom>
            <a:avLst/>
            <a:gdLst>
              <a:gd name="T0" fmla="*/ 30 w 31"/>
              <a:gd name="T1" fmla="*/ 20 h 29"/>
              <a:gd name="T2" fmla="*/ 23 w 31"/>
              <a:gd name="T3" fmla="*/ 22 h 29"/>
              <a:gd name="T4" fmla="*/ 20 w 31"/>
              <a:gd name="T5" fmla="*/ 24 h 29"/>
              <a:gd name="T6" fmla="*/ 16 w 31"/>
              <a:gd name="T7" fmla="*/ 26 h 29"/>
              <a:gd name="T8" fmla="*/ 13 w 31"/>
              <a:gd name="T9" fmla="*/ 28 h 29"/>
              <a:gd name="T10" fmla="*/ 9 w 31"/>
              <a:gd name="T11" fmla="*/ 28 h 29"/>
              <a:gd name="T12" fmla="*/ 2 w 31"/>
              <a:gd name="T13" fmla="*/ 29 h 29"/>
              <a:gd name="T14" fmla="*/ 0 w 31"/>
              <a:gd name="T15" fmla="*/ 23 h 29"/>
              <a:gd name="T16" fmla="*/ 0 w 31"/>
              <a:gd name="T17" fmla="*/ 15 h 29"/>
              <a:gd name="T18" fmla="*/ 1 w 31"/>
              <a:gd name="T19" fmla="*/ 8 h 29"/>
              <a:gd name="T20" fmla="*/ 4 w 31"/>
              <a:gd name="T21" fmla="*/ 8 h 29"/>
              <a:gd name="T22" fmla="*/ 9 w 31"/>
              <a:gd name="T23" fmla="*/ 6 h 29"/>
              <a:gd name="T24" fmla="*/ 14 w 31"/>
              <a:gd name="T25" fmla="*/ 4 h 29"/>
              <a:gd name="T26" fmla="*/ 21 w 31"/>
              <a:gd name="T27" fmla="*/ 0 h 29"/>
              <a:gd name="T28" fmla="*/ 22 w 31"/>
              <a:gd name="T29" fmla="*/ 2 h 29"/>
              <a:gd name="T30" fmla="*/ 24 w 31"/>
              <a:gd name="T31" fmla="*/ 4 h 29"/>
              <a:gd name="T32" fmla="*/ 25 w 31"/>
              <a:gd name="T33" fmla="*/ 6 h 29"/>
              <a:gd name="T34" fmla="*/ 26 w 31"/>
              <a:gd name="T35" fmla="*/ 7 h 29"/>
              <a:gd name="T36" fmla="*/ 29 w 31"/>
              <a:gd name="T37" fmla="*/ 9 h 29"/>
              <a:gd name="T38" fmla="*/ 29 w 31"/>
              <a:gd name="T39" fmla="*/ 10 h 29"/>
              <a:gd name="T40" fmla="*/ 30 w 31"/>
              <a:gd name="T41" fmla="*/ 12 h 29"/>
              <a:gd name="T42" fmla="*/ 31 w 31"/>
              <a:gd name="T43" fmla="*/ 14 h 29"/>
              <a:gd name="T44" fmla="*/ 29 w 31"/>
              <a:gd name="T45" fmla="*/ 15 h 29"/>
              <a:gd name="T46" fmla="*/ 28 w 31"/>
              <a:gd name="T47" fmla="*/ 17 h 29"/>
              <a:gd name="T48" fmla="*/ 29 w 31"/>
              <a:gd name="T49" fmla="*/ 18 h 29"/>
              <a:gd name="T50" fmla="*/ 30 w 31"/>
              <a:gd name="T51"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9">
                <a:moveTo>
                  <a:pt x="30" y="20"/>
                </a:moveTo>
                <a:cubicBezTo>
                  <a:pt x="28" y="20"/>
                  <a:pt x="24" y="21"/>
                  <a:pt x="23" y="22"/>
                </a:cubicBezTo>
                <a:cubicBezTo>
                  <a:pt x="22" y="23"/>
                  <a:pt x="20" y="24"/>
                  <a:pt x="20" y="24"/>
                </a:cubicBezTo>
                <a:cubicBezTo>
                  <a:pt x="19" y="25"/>
                  <a:pt x="16" y="26"/>
                  <a:pt x="16" y="26"/>
                </a:cubicBezTo>
                <a:cubicBezTo>
                  <a:pt x="16" y="26"/>
                  <a:pt x="15" y="27"/>
                  <a:pt x="13" y="28"/>
                </a:cubicBezTo>
                <a:cubicBezTo>
                  <a:pt x="12" y="28"/>
                  <a:pt x="11" y="28"/>
                  <a:pt x="9" y="28"/>
                </a:cubicBezTo>
                <a:cubicBezTo>
                  <a:pt x="7" y="28"/>
                  <a:pt x="2" y="29"/>
                  <a:pt x="2" y="29"/>
                </a:cubicBezTo>
                <a:cubicBezTo>
                  <a:pt x="1" y="28"/>
                  <a:pt x="0" y="24"/>
                  <a:pt x="0" y="23"/>
                </a:cubicBezTo>
                <a:cubicBezTo>
                  <a:pt x="0" y="21"/>
                  <a:pt x="0" y="15"/>
                  <a:pt x="0" y="15"/>
                </a:cubicBezTo>
                <a:cubicBezTo>
                  <a:pt x="1" y="8"/>
                  <a:pt x="1" y="8"/>
                  <a:pt x="1" y="8"/>
                </a:cubicBezTo>
                <a:cubicBezTo>
                  <a:pt x="1" y="8"/>
                  <a:pt x="3" y="8"/>
                  <a:pt x="4" y="8"/>
                </a:cubicBezTo>
                <a:cubicBezTo>
                  <a:pt x="4" y="8"/>
                  <a:pt x="8" y="7"/>
                  <a:pt x="9" y="6"/>
                </a:cubicBezTo>
                <a:cubicBezTo>
                  <a:pt x="9" y="6"/>
                  <a:pt x="14" y="4"/>
                  <a:pt x="14" y="4"/>
                </a:cubicBezTo>
                <a:cubicBezTo>
                  <a:pt x="21" y="0"/>
                  <a:pt x="21" y="0"/>
                  <a:pt x="21" y="0"/>
                </a:cubicBezTo>
                <a:cubicBezTo>
                  <a:pt x="21" y="0"/>
                  <a:pt x="22" y="2"/>
                  <a:pt x="22" y="2"/>
                </a:cubicBezTo>
                <a:cubicBezTo>
                  <a:pt x="22" y="3"/>
                  <a:pt x="23" y="4"/>
                  <a:pt x="24" y="4"/>
                </a:cubicBezTo>
                <a:cubicBezTo>
                  <a:pt x="24" y="5"/>
                  <a:pt x="24" y="6"/>
                  <a:pt x="25" y="6"/>
                </a:cubicBezTo>
                <a:cubicBezTo>
                  <a:pt x="25" y="6"/>
                  <a:pt x="26" y="7"/>
                  <a:pt x="26" y="7"/>
                </a:cubicBezTo>
                <a:cubicBezTo>
                  <a:pt x="27" y="8"/>
                  <a:pt x="28" y="8"/>
                  <a:pt x="29" y="9"/>
                </a:cubicBezTo>
                <a:cubicBezTo>
                  <a:pt x="29" y="9"/>
                  <a:pt x="29" y="10"/>
                  <a:pt x="29" y="10"/>
                </a:cubicBezTo>
                <a:cubicBezTo>
                  <a:pt x="29" y="11"/>
                  <a:pt x="30" y="11"/>
                  <a:pt x="30" y="12"/>
                </a:cubicBezTo>
                <a:cubicBezTo>
                  <a:pt x="31" y="12"/>
                  <a:pt x="31" y="13"/>
                  <a:pt x="31" y="14"/>
                </a:cubicBezTo>
                <a:cubicBezTo>
                  <a:pt x="31" y="15"/>
                  <a:pt x="30" y="15"/>
                  <a:pt x="29" y="15"/>
                </a:cubicBezTo>
                <a:cubicBezTo>
                  <a:pt x="29" y="15"/>
                  <a:pt x="28" y="15"/>
                  <a:pt x="28" y="17"/>
                </a:cubicBezTo>
                <a:cubicBezTo>
                  <a:pt x="28" y="17"/>
                  <a:pt x="28" y="18"/>
                  <a:pt x="29" y="18"/>
                </a:cubicBezTo>
                <a:cubicBezTo>
                  <a:pt x="29" y="19"/>
                  <a:pt x="30" y="20"/>
                  <a:pt x="30" y="2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8" name="Belarus"/>
          <p:cNvSpPr>
            <a:spLocks/>
          </p:cNvSpPr>
          <p:nvPr/>
        </p:nvSpPr>
        <p:spPr bwMode="auto">
          <a:xfrm>
            <a:off x="6774336" y="2118875"/>
            <a:ext cx="235179" cy="197615"/>
          </a:xfrm>
          <a:custGeom>
            <a:avLst/>
            <a:gdLst>
              <a:gd name="T0" fmla="*/ 100 w 115"/>
              <a:gd name="T1" fmla="*/ 78 h 96"/>
              <a:gd name="T2" fmla="*/ 92 w 115"/>
              <a:gd name="T3" fmla="*/ 88 h 96"/>
              <a:gd name="T4" fmla="*/ 86 w 115"/>
              <a:gd name="T5" fmla="*/ 96 h 96"/>
              <a:gd name="T6" fmla="*/ 77 w 115"/>
              <a:gd name="T7" fmla="*/ 91 h 96"/>
              <a:gd name="T8" fmla="*/ 70 w 115"/>
              <a:gd name="T9" fmla="*/ 92 h 96"/>
              <a:gd name="T10" fmla="*/ 56 w 115"/>
              <a:gd name="T11" fmla="*/ 91 h 96"/>
              <a:gd name="T12" fmla="*/ 49 w 115"/>
              <a:gd name="T13" fmla="*/ 86 h 96"/>
              <a:gd name="T14" fmla="*/ 43 w 115"/>
              <a:gd name="T15" fmla="*/ 86 h 96"/>
              <a:gd name="T16" fmla="*/ 30 w 115"/>
              <a:gd name="T17" fmla="*/ 82 h 96"/>
              <a:gd name="T18" fmla="*/ 23 w 115"/>
              <a:gd name="T19" fmla="*/ 84 h 96"/>
              <a:gd name="T20" fmla="*/ 17 w 115"/>
              <a:gd name="T21" fmla="*/ 86 h 96"/>
              <a:gd name="T22" fmla="*/ 12 w 115"/>
              <a:gd name="T23" fmla="*/ 89 h 96"/>
              <a:gd name="T24" fmla="*/ 8 w 115"/>
              <a:gd name="T25" fmla="*/ 84 h 96"/>
              <a:gd name="T26" fmla="*/ 2 w 115"/>
              <a:gd name="T27" fmla="*/ 78 h 96"/>
              <a:gd name="T28" fmla="*/ 8 w 115"/>
              <a:gd name="T29" fmla="*/ 66 h 96"/>
              <a:gd name="T30" fmla="*/ 5 w 115"/>
              <a:gd name="T31" fmla="*/ 53 h 96"/>
              <a:gd name="T32" fmla="*/ 0 w 115"/>
              <a:gd name="T33" fmla="*/ 49 h 96"/>
              <a:gd name="T34" fmla="*/ 2 w 115"/>
              <a:gd name="T35" fmla="*/ 43 h 96"/>
              <a:gd name="T36" fmla="*/ 12 w 115"/>
              <a:gd name="T37" fmla="*/ 46 h 96"/>
              <a:gd name="T38" fmla="*/ 21 w 115"/>
              <a:gd name="T39" fmla="*/ 43 h 96"/>
              <a:gd name="T40" fmla="*/ 25 w 115"/>
              <a:gd name="T41" fmla="*/ 37 h 96"/>
              <a:gd name="T42" fmla="*/ 31 w 115"/>
              <a:gd name="T43" fmla="*/ 36 h 96"/>
              <a:gd name="T44" fmla="*/ 32 w 115"/>
              <a:gd name="T45" fmla="*/ 27 h 96"/>
              <a:gd name="T46" fmla="*/ 41 w 115"/>
              <a:gd name="T47" fmla="*/ 22 h 96"/>
              <a:gd name="T48" fmla="*/ 43 w 115"/>
              <a:gd name="T49" fmla="*/ 15 h 96"/>
              <a:gd name="T50" fmla="*/ 39 w 115"/>
              <a:gd name="T51" fmla="*/ 12 h 96"/>
              <a:gd name="T52" fmla="*/ 37 w 115"/>
              <a:gd name="T53" fmla="*/ 8 h 96"/>
              <a:gd name="T54" fmla="*/ 39 w 115"/>
              <a:gd name="T55" fmla="*/ 6 h 96"/>
              <a:gd name="T56" fmla="*/ 45 w 115"/>
              <a:gd name="T57" fmla="*/ 8 h 96"/>
              <a:gd name="T58" fmla="*/ 54 w 115"/>
              <a:gd name="T59" fmla="*/ 5 h 96"/>
              <a:gd name="T60" fmla="*/ 62 w 115"/>
              <a:gd name="T61" fmla="*/ 0 h 96"/>
              <a:gd name="T62" fmla="*/ 69 w 115"/>
              <a:gd name="T63" fmla="*/ 4 h 96"/>
              <a:gd name="T64" fmla="*/ 75 w 115"/>
              <a:gd name="T65" fmla="*/ 8 h 96"/>
              <a:gd name="T66" fmla="*/ 86 w 115"/>
              <a:gd name="T67" fmla="*/ 8 h 96"/>
              <a:gd name="T68" fmla="*/ 92 w 115"/>
              <a:gd name="T69" fmla="*/ 13 h 96"/>
              <a:gd name="T70" fmla="*/ 94 w 115"/>
              <a:gd name="T71" fmla="*/ 23 h 96"/>
              <a:gd name="T72" fmla="*/ 96 w 115"/>
              <a:gd name="T73" fmla="*/ 36 h 96"/>
              <a:gd name="T74" fmla="*/ 106 w 115"/>
              <a:gd name="T75" fmla="*/ 43 h 96"/>
              <a:gd name="T76" fmla="*/ 105 w 115"/>
              <a:gd name="T77" fmla="*/ 49 h 96"/>
              <a:gd name="T78" fmla="*/ 113 w 115"/>
              <a:gd name="T79" fmla="*/ 54 h 96"/>
              <a:gd name="T80" fmla="*/ 111 w 115"/>
              <a:gd name="T81" fmla="*/ 61 h 96"/>
              <a:gd name="T82" fmla="*/ 103 w 115"/>
              <a:gd name="T83" fmla="*/ 59 h 96"/>
              <a:gd name="T84" fmla="*/ 99 w 115"/>
              <a:gd name="T85" fmla="*/ 63 h 96"/>
              <a:gd name="T86" fmla="*/ 102 w 115"/>
              <a:gd name="T87" fmla="*/ 69 h 96"/>
              <a:gd name="T88" fmla="*/ 103 w 115"/>
              <a:gd name="T89"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96">
                <a:moveTo>
                  <a:pt x="103" y="77"/>
                </a:moveTo>
                <a:cubicBezTo>
                  <a:pt x="102" y="77"/>
                  <a:pt x="101" y="78"/>
                  <a:pt x="100" y="78"/>
                </a:cubicBezTo>
                <a:cubicBezTo>
                  <a:pt x="99" y="79"/>
                  <a:pt x="97" y="80"/>
                  <a:pt x="96" y="81"/>
                </a:cubicBezTo>
                <a:cubicBezTo>
                  <a:pt x="94" y="83"/>
                  <a:pt x="93" y="86"/>
                  <a:pt x="92" y="88"/>
                </a:cubicBezTo>
                <a:cubicBezTo>
                  <a:pt x="91" y="89"/>
                  <a:pt x="91" y="94"/>
                  <a:pt x="90" y="95"/>
                </a:cubicBezTo>
                <a:cubicBezTo>
                  <a:pt x="90" y="95"/>
                  <a:pt x="88" y="96"/>
                  <a:pt x="86" y="96"/>
                </a:cubicBezTo>
                <a:cubicBezTo>
                  <a:pt x="85" y="95"/>
                  <a:pt x="82" y="93"/>
                  <a:pt x="81" y="93"/>
                </a:cubicBezTo>
                <a:cubicBezTo>
                  <a:pt x="80" y="92"/>
                  <a:pt x="79" y="91"/>
                  <a:pt x="77" y="91"/>
                </a:cubicBezTo>
                <a:cubicBezTo>
                  <a:pt x="76" y="90"/>
                  <a:pt x="74" y="89"/>
                  <a:pt x="73" y="90"/>
                </a:cubicBezTo>
                <a:cubicBezTo>
                  <a:pt x="71" y="90"/>
                  <a:pt x="70" y="92"/>
                  <a:pt x="70" y="92"/>
                </a:cubicBezTo>
                <a:cubicBezTo>
                  <a:pt x="70" y="92"/>
                  <a:pt x="62" y="92"/>
                  <a:pt x="61" y="92"/>
                </a:cubicBezTo>
                <a:cubicBezTo>
                  <a:pt x="60" y="93"/>
                  <a:pt x="57" y="91"/>
                  <a:pt x="56" y="91"/>
                </a:cubicBezTo>
                <a:cubicBezTo>
                  <a:pt x="55" y="90"/>
                  <a:pt x="53" y="90"/>
                  <a:pt x="52" y="89"/>
                </a:cubicBezTo>
                <a:cubicBezTo>
                  <a:pt x="51" y="88"/>
                  <a:pt x="50" y="87"/>
                  <a:pt x="49" y="86"/>
                </a:cubicBezTo>
                <a:cubicBezTo>
                  <a:pt x="48" y="86"/>
                  <a:pt x="46" y="86"/>
                  <a:pt x="46" y="87"/>
                </a:cubicBezTo>
                <a:cubicBezTo>
                  <a:pt x="45" y="87"/>
                  <a:pt x="44" y="87"/>
                  <a:pt x="43" y="86"/>
                </a:cubicBezTo>
                <a:cubicBezTo>
                  <a:pt x="42" y="85"/>
                  <a:pt x="38" y="86"/>
                  <a:pt x="37" y="85"/>
                </a:cubicBezTo>
                <a:cubicBezTo>
                  <a:pt x="37" y="85"/>
                  <a:pt x="32" y="83"/>
                  <a:pt x="30" y="82"/>
                </a:cubicBezTo>
                <a:cubicBezTo>
                  <a:pt x="28" y="82"/>
                  <a:pt x="27" y="83"/>
                  <a:pt x="26" y="83"/>
                </a:cubicBezTo>
                <a:cubicBezTo>
                  <a:pt x="25" y="83"/>
                  <a:pt x="25" y="84"/>
                  <a:pt x="23" y="84"/>
                </a:cubicBezTo>
                <a:cubicBezTo>
                  <a:pt x="21" y="84"/>
                  <a:pt x="20" y="84"/>
                  <a:pt x="18" y="84"/>
                </a:cubicBezTo>
                <a:cubicBezTo>
                  <a:pt x="17" y="84"/>
                  <a:pt x="17" y="85"/>
                  <a:pt x="17" y="86"/>
                </a:cubicBezTo>
                <a:cubicBezTo>
                  <a:pt x="17" y="87"/>
                  <a:pt x="17" y="88"/>
                  <a:pt x="16" y="88"/>
                </a:cubicBezTo>
                <a:cubicBezTo>
                  <a:pt x="16" y="89"/>
                  <a:pt x="13" y="89"/>
                  <a:pt x="12" y="89"/>
                </a:cubicBezTo>
                <a:cubicBezTo>
                  <a:pt x="11" y="89"/>
                  <a:pt x="11" y="88"/>
                  <a:pt x="10" y="88"/>
                </a:cubicBezTo>
                <a:cubicBezTo>
                  <a:pt x="8" y="88"/>
                  <a:pt x="8" y="85"/>
                  <a:pt x="8" y="84"/>
                </a:cubicBezTo>
                <a:cubicBezTo>
                  <a:pt x="8" y="83"/>
                  <a:pt x="7" y="82"/>
                  <a:pt x="6" y="81"/>
                </a:cubicBezTo>
                <a:cubicBezTo>
                  <a:pt x="5" y="81"/>
                  <a:pt x="2" y="79"/>
                  <a:pt x="2" y="78"/>
                </a:cubicBezTo>
                <a:cubicBezTo>
                  <a:pt x="2" y="77"/>
                  <a:pt x="3" y="73"/>
                  <a:pt x="4" y="72"/>
                </a:cubicBezTo>
                <a:cubicBezTo>
                  <a:pt x="5" y="71"/>
                  <a:pt x="8" y="68"/>
                  <a:pt x="8" y="66"/>
                </a:cubicBezTo>
                <a:cubicBezTo>
                  <a:pt x="8" y="64"/>
                  <a:pt x="8" y="60"/>
                  <a:pt x="8" y="59"/>
                </a:cubicBezTo>
                <a:cubicBezTo>
                  <a:pt x="8" y="58"/>
                  <a:pt x="5" y="53"/>
                  <a:pt x="5" y="53"/>
                </a:cubicBezTo>
                <a:cubicBezTo>
                  <a:pt x="5" y="53"/>
                  <a:pt x="2" y="52"/>
                  <a:pt x="1" y="51"/>
                </a:cubicBezTo>
                <a:cubicBezTo>
                  <a:pt x="1" y="50"/>
                  <a:pt x="0" y="49"/>
                  <a:pt x="0" y="49"/>
                </a:cubicBezTo>
                <a:cubicBezTo>
                  <a:pt x="0" y="49"/>
                  <a:pt x="1" y="48"/>
                  <a:pt x="1" y="47"/>
                </a:cubicBezTo>
                <a:cubicBezTo>
                  <a:pt x="2" y="46"/>
                  <a:pt x="2" y="43"/>
                  <a:pt x="2" y="43"/>
                </a:cubicBezTo>
                <a:cubicBezTo>
                  <a:pt x="2" y="43"/>
                  <a:pt x="4" y="42"/>
                  <a:pt x="6" y="43"/>
                </a:cubicBezTo>
                <a:cubicBezTo>
                  <a:pt x="8" y="44"/>
                  <a:pt x="12" y="46"/>
                  <a:pt x="12" y="46"/>
                </a:cubicBezTo>
                <a:cubicBezTo>
                  <a:pt x="14" y="46"/>
                  <a:pt x="17" y="46"/>
                  <a:pt x="18" y="46"/>
                </a:cubicBezTo>
                <a:cubicBezTo>
                  <a:pt x="20" y="46"/>
                  <a:pt x="21" y="44"/>
                  <a:pt x="21" y="43"/>
                </a:cubicBezTo>
                <a:cubicBezTo>
                  <a:pt x="21" y="42"/>
                  <a:pt x="21" y="41"/>
                  <a:pt x="21" y="40"/>
                </a:cubicBezTo>
                <a:cubicBezTo>
                  <a:pt x="22" y="38"/>
                  <a:pt x="23" y="37"/>
                  <a:pt x="25" y="37"/>
                </a:cubicBezTo>
                <a:cubicBezTo>
                  <a:pt x="26" y="37"/>
                  <a:pt x="29" y="38"/>
                  <a:pt x="30" y="38"/>
                </a:cubicBezTo>
                <a:cubicBezTo>
                  <a:pt x="31" y="37"/>
                  <a:pt x="31" y="36"/>
                  <a:pt x="31" y="36"/>
                </a:cubicBezTo>
                <a:cubicBezTo>
                  <a:pt x="31" y="36"/>
                  <a:pt x="32" y="33"/>
                  <a:pt x="32" y="32"/>
                </a:cubicBezTo>
                <a:cubicBezTo>
                  <a:pt x="31" y="31"/>
                  <a:pt x="31" y="27"/>
                  <a:pt x="32" y="27"/>
                </a:cubicBezTo>
                <a:cubicBezTo>
                  <a:pt x="32" y="26"/>
                  <a:pt x="33" y="25"/>
                  <a:pt x="35" y="25"/>
                </a:cubicBezTo>
                <a:cubicBezTo>
                  <a:pt x="35" y="24"/>
                  <a:pt x="40" y="23"/>
                  <a:pt x="41" y="22"/>
                </a:cubicBezTo>
                <a:cubicBezTo>
                  <a:pt x="42" y="21"/>
                  <a:pt x="43" y="22"/>
                  <a:pt x="43" y="21"/>
                </a:cubicBezTo>
                <a:cubicBezTo>
                  <a:pt x="44" y="19"/>
                  <a:pt x="43" y="16"/>
                  <a:pt x="43" y="15"/>
                </a:cubicBezTo>
                <a:cubicBezTo>
                  <a:pt x="43" y="14"/>
                  <a:pt x="43" y="14"/>
                  <a:pt x="42" y="13"/>
                </a:cubicBezTo>
                <a:cubicBezTo>
                  <a:pt x="41" y="13"/>
                  <a:pt x="39" y="12"/>
                  <a:pt x="39" y="12"/>
                </a:cubicBezTo>
                <a:cubicBezTo>
                  <a:pt x="38" y="12"/>
                  <a:pt x="37" y="10"/>
                  <a:pt x="37" y="10"/>
                </a:cubicBezTo>
                <a:cubicBezTo>
                  <a:pt x="36" y="9"/>
                  <a:pt x="36" y="8"/>
                  <a:pt x="37" y="8"/>
                </a:cubicBezTo>
                <a:cubicBezTo>
                  <a:pt x="37" y="8"/>
                  <a:pt x="38" y="8"/>
                  <a:pt x="38" y="8"/>
                </a:cubicBezTo>
                <a:cubicBezTo>
                  <a:pt x="38" y="8"/>
                  <a:pt x="39" y="6"/>
                  <a:pt x="39" y="6"/>
                </a:cubicBezTo>
                <a:cubicBezTo>
                  <a:pt x="40" y="6"/>
                  <a:pt x="42" y="6"/>
                  <a:pt x="42" y="6"/>
                </a:cubicBezTo>
                <a:cubicBezTo>
                  <a:pt x="43" y="7"/>
                  <a:pt x="44" y="8"/>
                  <a:pt x="45" y="8"/>
                </a:cubicBezTo>
                <a:cubicBezTo>
                  <a:pt x="46" y="8"/>
                  <a:pt x="49" y="7"/>
                  <a:pt x="50" y="7"/>
                </a:cubicBezTo>
                <a:cubicBezTo>
                  <a:pt x="51" y="7"/>
                  <a:pt x="54" y="6"/>
                  <a:pt x="54" y="5"/>
                </a:cubicBezTo>
                <a:cubicBezTo>
                  <a:pt x="55" y="5"/>
                  <a:pt x="57" y="1"/>
                  <a:pt x="58" y="0"/>
                </a:cubicBezTo>
                <a:cubicBezTo>
                  <a:pt x="59" y="0"/>
                  <a:pt x="62" y="0"/>
                  <a:pt x="62" y="0"/>
                </a:cubicBezTo>
                <a:cubicBezTo>
                  <a:pt x="62" y="0"/>
                  <a:pt x="65" y="3"/>
                  <a:pt x="66" y="3"/>
                </a:cubicBezTo>
                <a:cubicBezTo>
                  <a:pt x="67" y="4"/>
                  <a:pt x="69" y="4"/>
                  <a:pt x="69" y="4"/>
                </a:cubicBezTo>
                <a:cubicBezTo>
                  <a:pt x="69" y="4"/>
                  <a:pt x="71" y="6"/>
                  <a:pt x="72" y="8"/>
                </a:cubicBezTo>
                <a:cubicBezTo>
                  <a:pt x="73" y="9"/>
                  <a:pt x="74" y="9"/>
                  <a:pt x="75" y="8"/>
                </a:cubicBezTo>
                <a:cubicBezTo>
                  <a:pt x="76" y="7"/>
                  <a:pt x="79" y="6"/>
                  <a:pt x="80" y="6"/>
                </a:cubicBezTo>
                <a:cubicBezTo>
                  <a:pt x="81" y="6"/>
                  <a:pt x="84" y="7"/>
                  <a:pt x="86" y="8"/>
                </a:cubicBezTo>
                <a:cubicBezTo>
                  <a:pt x="88" y="10"/>
                  <a:pt x="87" y="11"/>
                  <a:pt x="88" y="11"/>
                </a:cubicBezTo>
                <a:cubicBezTo>
                  <a:pt x="90" y="10"/>
                  <a:pt x="92" y="12"/>
                  <a:pt x="92" y="13"/>
                </a:cubicBezTo>
                <a:cubicBezTo>
                  <a:pt x="93" y="14"/>
                  <a:pt x="93" y="19"/>
                  <a:pt x="93" y="19"/>
                </a:cubicBezTo>
                <a:cubicBezTo>
                  <a:pt x="93" y="19"/>
                  <a:pt x="93" y="22"/>
                  <a:pt x="94" y="23"/>
                </a:cubicBezTo>
                <a:cubicBezTo>
                  <a:pt x="94" y="25"/>
                  <a:pt x="96" y="25"/>
                  <a:pt x="96" y="27"/>
                </a:cubicBezTo>
                <a:cubicBezTo>
                  <a:pt x="96" y="28"/>
                  <a:pt x="95" y="34"/>
                  <a:pt x="96" y="36"/>
                </a:cubicBezTo>
                <a:cubicBezTo>
                  <a:pt x="97" y="37"/>
                  <a:pt x="105" y="40"/>
                  <a:pt x="105" y="41"/>
                </a:cubicBezTo>
                <a:cubicBezTo>
                  <a:pt x="106" y="42"/>
                  <a:pt x="106" y="43"/>
                  <a:pt x="106" y="43"/>
                </a:cubicBezTo>
                <a:cubicBezTo>
                  <a:pt x="106" y="43"/>
                  <a:pt x="103" y="45"/>
                  <a:pt x="104" y="46"/>
                </a:cubicBezTo>
                <a:cubicBezTo>
                  <a:pt x="104" y="46"/>
                  <a:pt x="105" y="49"/>
                  <a:pt x="105" y="49"/>
                </a:cubicBezTo>
                <a:cubicBezTo>
                  <a:pt x="105" y="49"/>
                  <a:pt x="109" y="49"/>
                  <a:pt x="110" y="50"/>
                </a:cubicBezTo>
                <a:cubicBezTo>
                  <a:pt x="111" y="51"/>
                  <a:pt x="113" y="54"/>
                  <a:pt x="113" y="54"/>
                </a:cubicBezTo>
                <a:cubicBezTo>
                  <a:pt x="113" y="54"/>
                  <a:pt x="115" y="58"/>
                  <a:pt x="114" y="59"/>
                </a:cubicBezTo>
                <a:cubicBezTo>
                  <a:pt x="113" y="59"/>
                  <a:pt x="111" y="61"/>
                  <a:pt x="111" y="61"/>
                </a:cubicBezTo>
                <a:cubicBezTo>
                  <a:pt x="110" y="62"/>
                  <a:pt x="108" y="62"/>
                  <a:pt x="107" y="62"/>
                </a:cubicBezTo>
                <a:cubicBezTo>
                  <a:pt x="106" y="61"/>
                  <a:pt x="103" y="59"/>
                  <a:pt x="103" y="59"/>
                </a:cubicBezTo>
                <a:cubicBezTo>
                  <a:pt x="103" y="59"/>
                  <a:pt x="100" y="59"/>
                  <a:pt x="100" y="60"/>
                </a:cubicBezTo>
                <a:cubicBezTo>
                  <a:pt x="99" y="60"/>
                  <a:pt x="99" y="62"/>
                  <a:pt x="99" y="63"/>
                </a:cubicBezTo>
                <a:cubicBezTo>
                  <a:pt x="100" y="64"/>
                  <a:pt x="101" y="66"/>
                  <a:pt x="101" y="66"/>
                </a:cubicBezTo>
                <a:cubicBezTo>
                  <a:pt x="101" y="66"/>
                  <a:pt x="102" y="69"/>
                  <a:pt x="102" y="69"/>
                </a:cubicBezTo>
                <a:cubicBezTo>
                  <a:pt x="102" y="70"/>
                  <a:pt x="102" y="72"/>
                  <a:pt x="102" y="72"/>
                </a:cubicBezTo>
                <a:cubicBezTo>
                  <a:pt x="102" y="73"/>
                  <a:pt x="102" y="75"/>
                  <a:pt x="103" y="76"/>
                </a:cubicBezTo>
                <a:cubicBezTo>
                  <a:pt x="103" y="76"/>
                  <a:pt x="103" y="77"/>
                  <a:pt x="103" y="77"/>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69" name="Lithuania"/>
          <p:cNvSpPr>
            <a:spLocks/>
          </p:cNvSpPr>
          <p:nvPr/>
        </p:nvSpPr>
        <p:spPr bwMode="auto">
          <a:xfrm>
            <a:off x="6717175" y="2107443"/>
            <a:ext cx="146988" cy="106157"/>
          </a:xfrm>
          <a:custGeom>
            <a:avLst/>
            <a:gdLst>
              <a:gd name="T0" fmla="*/ 30 w 72"/>
              <a:gd name="T1" fmla="*/ 49 h 52"/>
              <a:gd name="T2" fmla="*/ 34 w 72"/>
              <a:gd name="T3" fmla="*/ 49 h 52"/>
              <a:gd name="T4" fmla="*/ 40 w 72"/>
              <a:gd name="T5" fmla="*/ 52 h 52"/>
              <a:gd name="T6" fmla="*/ 46 w 72"/>
              <a:gd name="T7" fmla="*/ 52 h 52"/>
              <a:gd name="T8" fmla="*/ 49 w 72"/>
              <a:gd name="T9" fmla="*/ 49 h 52"/>
              <a:gd name="T10" fmla="*/ 49 w 72"/>
              <a:gd name="T11" fmla="*/ 46 h 52"/>
              <a:gd name="T12" fmla="*/ 53 w 72"/>
              <a:gd name="T13" fmla="*/ 43 h 52"/>
              <a:gd name="T14" fmla="*/ 58 w 72"/>
              <a:gd name="T15" fmla="*/ 44 h 52"/>
              <a:gd name="T16" fmla="*/ 59 w 72"/>
              <a:gd name="T17" fmla="*/ 42 h 52"/>
              <a:gd name="T18" fmla="*/ 60 w 72"/>
              <a:gd name="T19" fmla="*/ 38 h 52"/>
              <a:gd name="T20" fmla="*/ 60 w 72"/>
              <a:gd name="T21" fmla="*/ 33 h 52"/>
              <a:gd name="T22" fmla="*/ 63 w 72"/>
              <a:gd name="T23" fmla="*/ 31 h 52"/>
              <a:gd name="T24" fmla="*/ 69 w 72"/>
              <a:gd name="T25" fmla="*/ 28 h 52"/>
              <a:gd name="T26" fmla="*/ 71 w 72"/>
              <a:gd name="T27" fmla="*/ 27 h 52"/>
              <a:gd name="T28" fmla="*/ 71 w 72"/>
              <a:gd name="T29" fmla="*/ 21 h 52"/>
              <a:gd name="T30" fmla="*/ 70 w 72"/>
              <a:gd name="T31" fmla="*/ 19 h 52"/>
              <a:gd name="T32" fmla="*/ 67 w 72"/>
              <a:gd name="T33" fmla="*/ 18 h 52"/>
              <a:gd name="T34" fmla="*/ 65 w 72"/>
              <a:gd name="T35" fmla="*/ 16 h 52"/>
              <a:gd name="T36" fmla="*/ 60 w 72"/>
              <a:gd name="T37" fmla="*/ 12 h 52"/>
              <a:gd name="T38" fmla="*/ 56 w 72"/>
              <a:gd name="T39" fmla="*/ 8 h 52"/>
              <a:gd name="T40" fmla="*/ 52 w 72"/>
              <a:gd name="T41" fmla="*/ 6 h 52"/>
              <a:gd name="T42" fmla="*/ 49 w 72"/>
              <a:gd name="T43" fmla="*/ 5 h 52"/>
              <a:gd name="T44" fmla="*/ 44 w 72"/>
              <a:gd name="T45" fmla="*/ 4 h 52"/>
              <a:gd name="T46" fmla="*/ 42 w 72"/>
              <a:gd name="T47" fmla="*/ 7 h 52"/>
              <a:gd name="T48" fmla="*/ 38 w 72"/>
              <a:gd name="T49" fmla="*/ 6 h 52"/>
              <a:gd name="T50" fmla="*/ 36 w 72"/>
              <a:gd name="T51" fmla="*/ 3 h 52"/>
              <a:gd name="T52" fmla="*/ 30 w 72"/>
              <a:gd name="T53" fmla="*/ 2 h 52"/>
              <a:gd name="T54" fmla="*/ 24 w 72"/>
              <a:gd name="T55" fmla="*/ 2 h 52"/>
              <a:gd name="T56" fmla="*/ 20 w 72"/>
              <a:gd name="T57" fmla="*/ 2 h 52"/>
              <a:gd name="T58" fmla="*/ 19 w 72"/>
              <a:gd name="T59" fmla="*/ 1 h 52"/>
              <a:gd name="T60" fmla="*/ 15 w 72"/>
              <a:gd name="T61" fmla="*/ 1 h 52"/>
              <a:gd name="T62" fmla="*/ 10 w 72"/>
              <a:gd name="T63" fmla="*/ 1 h 52"/>
              <a:gd name="T64" fmla="*/ 6 w 72"/>
              <a:gd name="T65" fmla="*/ 3 h 52"/>
              <a:gd name="T66" fmla="*/ 3 w 72"/>
              <a:gd name="T67" fmla="*/ 9 h 52"/>
              <a:gd name="T68" fmla="*/ 0 w 72"/>
              <a:gd name="T69" fmla="*/ 14 h 52"/>
              <a:gd name="T70" fmla="*/ 1 w 72"/>
              <a:gd name="T71" fmla="*/ 17 h 52"/>
              <a:gd name="T72" fmla="*/ 4 w 72"/>
              <a:gd name="T73" fmla="*/ 23 h 52"/>
              <a:gd name="T74" fmla="*/ 4 w 72"/>
              <a:gd name="T75" fmla="*/ 24 h 52"/>
              <a:gd name="T76" fmla="*/ 6 w 72"/>
              <a:gd name="T77" fmla="*/ 25 h 52"/>
              <a:gd name="T78" fmla="*/ 10 w 72"/>
              <a:gd name="T79" fmla="*/ 28 h 52"/>
              <a:gd name="T80" fmla="*/ 13 w 72"/>
              <a:gd name="T81" fmla="*/ 30 h 52"/>
              <a:gd name="T82" fmla="*/ 18 w 72"/>
              <a:gd name="T83" fmla="*/ 31 h 52"/>
              <a:gd name="T84" fmla="*/ 23 w 72"/>
              <a:gd name="T85" fmla="*/ 33 h 52"/>
              <a:gd name="T86" fmla="*/ 27 w 72"/>
              <a:gd name="T87" fmla="*/ 37 h 52"/>
              <a:gd name="T88" fmla="*/ 26 w 72"/>
              <a:gd name="T89" fmla="*/ 40 h 52"/>
              <a:gd name="T90" fmla="*/ 25 w 72"/>
              <a:gd name="T91" fmla="*/ 44 h 52"/>
              <a:gd name="T92" fmla="*/ 23 w 72"/>
              <a:gd name="T93" fmla="*/ 45 h 52"/>
              <a:gd name="T94" fmla="*/ 25 w 72"/>
              <a:gd name="T95" fmla="*/ 47 h 52"/>
              <a:gd name="T96" fmla="*/ 27 w 72"/>
              <a:gd name="T97" fmla="*/ 49 h 52"/>
              <a:gd name="T98" fmla="*/ 30 w 72"/>
              <a:gd name="T99"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52">
                <a:moveTo>
                  <a:pt x="30" y="49"/>
                </a:moveTo>
                <a:cubicBezTo>
                  <a:pt x="30" y="49"/>
                  <a:pt x="32" y="48"/>
                  <a:pt x="34" y="49"/>
                </a:cubicBezTo>
                <a:cubicBezTo>
                  <a:pt x="36" y="50"/>
                  <a:pt x="40" y="52"/>
                  <a:pt x="40" y="52"/>
                </a:cubicBezTo>
                <a:cubicBezTo>
                  <a:pt x="42" y="52"/>
                  <a:pt x="45" y="52"/>
                  <a:pt x="46" y="52"/>
                </a:cubicBezTo>
                <a:cubicBezTo>
                  <a:pt x="48" y="52"/>
                  <a:pt x="49" y="50"/>
                  <a:pt x="49" y="49"/>
                </a:cubicBezTo>
                <a:cubicBezTo>
                  <a:pt x="49" y="48"/>
                  <a:pt x="49" y="47"/>
                  <a:pt x="49" y="46"/>
                </a:cubicBezTo>
                <a:cubicBezTo>
                  <a:pt x="50" y="44"/>
                  <a:pt x="51" y="43"/>
                  <a:pt x="53" y="43"/>
                </a:cubicBezTo>
                <a:cubicBezTo>
                  <a:pt x="54" y="43"/>
                  <a:pt x="57" y="44"/>
                  <a:pt x="58" y="44"/>
                </a:cubicBezTo>
                <a:cubicBezTo>
                  <a:pt x="59" y="43"/>
                  <a:pt x="59" y="42"/>
                  <a:pt x="59" y="42"/>
                </a:cubicBezTo>
                <a:cubicBezTo>
                  <a:pt x="59" y="42"/>
                  <a:pt x="60" y="39"/>
                  <a:pt x="60" y="38"/>
                </a:cubicBezTo>
                <a:cubicBezTo>
                  <a:pt x="59" y="37"/>
                  <a:pt x="59" y="33"/>
                  <a:pt x="60" y="33"/>
                </a:cubicBezTo>
                <a:cubicBezTo>
                  <a:pt x="60" y="32"/>
                  <a:pt x="61" y="31"/>
                  <a:pt x="63" y="31"/>
                </a:cubicBezTo>
                <a:cubicBezTo>
                  <a:pt x="63" y="30"/>
                  <a:pt x="68" y="29"/>
                  <a:pt x="69" y="28"/>
                </a:cubicBezTo>
                <a:cubicBezTo>
                  <a:pt x="70" y="27"/>
                  <a:pt x="71" y="28"/>
                  <a:pt x="71" y="27"/>
                </a:cubicBezTo>
                <a:cubicBezTo>
                  <a:pt x="72" y="25"/>
                  <a:pt x="71" y="22"/>
                  <a:pt x="71" y="21"/>
                </a:cubicBezTo>
                <a:cubicBezTo>
                  <a:pt x="71" y="20"/>
                  <a:pt x="71" y="20"/>
                  <a:pt x="70" y="19"/>
                </a:cubicBezTo>
                <a:cubicBezTo>
                  <a:pt x="69" y="19"/>
                  <a:pt x="67" y="18"/>
                  <a:pt x="67" y="18"/>
                </a:cubicBezTo>
                <a:cubicBezTo>
                  <a:pt x="66" y="18"/>
                  <a:pt x="65" y="16"/>
                  <a:pt x="65" y="16"/>
                </a:cubicBezTo>
                <a:cubicBezTo>
                  <a:pt x="64" y="15"/>
                  <a:pt x="60" y="12"/>
                  <a:pt x="60" y="12"/>
                </a:cubicBezTo>
                <a:cubicBezTo>
                  <a:pt x="60" y="12"/>
                  <a:pt x="57" y="8"/>
                  <a:pt x="56" y="8"/>
                </a:cubicBezTo>
                <a:cubicBezTo>
                  <a:pt x="55" y="7"/>
                  <a:pt x="52" y="6"/>
                  <a:pt x="52" y="6"/>
                </a:cubicBezTo>
                <a:cubicBezTo>
                  <a:pt x="52" y="6"/>
                  <a:pt x="50" y="5"/>
                  <a:pt x="49" y="5"/>
                </a:cubicBezTo>
                <a:cubicBezTo>
                  <a:pt x="47" y="5"/>
                  <a:pt x="45" y="3"/>
                  <a:pt x="44" y="4"/>
                </a:cubicBezTo>
                <a:cubicBezTo>
                  <a:pt x="43" y="5"/>
                  <a:pt x="43" y="7"/>
                  <a:pt x="42" y="7"/>
                </a:cubicBezTo>
                <a:cubicBezTo>
                  <a:pt x="40" y="6"/>
                  <a:pt x="39" y="6"/>
                  <a:pt x="38" y="6"/>
                </a:cubicBezTo>
                <a:cubicBezTo>
                  <a:pt x="38" y="5"/>
                  <a:pt x="38" y="3"/>
                  <a:pt x="36" y="3"/>
                </a:cubicBezTo>
                <a:cubicBezTo>
                  <a:pt x="33" y="3"/>
                  <a:pt x="32" y="2"/>
                  <a:pt x="30" y="2"/>
                </a:cubicBezTo>
                <a:cubicBezTo>
                  <a:pt x="28" y="2"/>
                  <a:pt x="25" y="2"/>
                  <a:pt x="24" y="2"/>
                </a:cubicBezTo>
                <a:cubicBezTo>
                  <a:pt x="23" y="3"/>
                  <a:pt x="20" y="2"/>
                  <a:pt x="20" y="2"/>
                </a:cubicBezTo>
                <a:cubicBezTo>
                  <a:pt x="20" y="2"/>
                  <a:pt x="20" y="1"/>
                  <a:pt x="19" y="1"/>
                </a:cubicBezTo>
                <a:cubicBezTo>
                  <a:pt x="17" y="0"/>
                  <a:pt x="16" y="1"/>
                  <a:pt x="15" y="1"/>
                </a:cubicBezTo>
                <a:cubicBezTo>
                  <a:pt x="14" y="1"/>
                  <a:pt x="12" y="1"/>
                  <a:pt x="10" y="1"/>
                </a:cubicBezTo>
                <a:cubicBezTo>
                  <a:pt x="9" y="2"/>
                  <a:pt x="7" y="2"/>
                  <a:pt x="6" y="3"/>
                </a:cubicBezTo>
                <a:cubicBezTo>
                  <a:pt x="6" y="4"/>
                  <a:pt x="4" y="8"/>
                  <a:pt x="3" y="9"/>
                </a:cubicBezTo>
                <a:cubicBezTo>
                  <a:pt x="2" y="11"/>
                  <a:pt x="0" y="14"/>
                  <a:pt x="0" y="14"/>
                </a:cubicBezTo>
                <a:cubicBezTo>
                  <a:pt x="0" y="15"/>
                  <a:pt x="0" y="16"/>
                  <a:pt x="1" y="17"/>
                </a:cubicBezTo>
                <a:cubicBezTo>
                  <a:pt x="2" y="19"/>
                  <a:pt x="4" y="21"/>
                  <a:pt x="4" y="23"/>
                </a:cubicBezTo>
                <a:cubicBezTo>
                  <a:pt x="4" y="23"/>
                  <a:pt x="4" y="23"/>
                  <a:pt x="4" y="24"/>
                </a:cubicBezTo>
                <a:cubicBezTo>
                  <a:pt x="4" y="23"/>
                  <a:pt x="6" y="25"/>
                  <a:pt x="6" y="25"/>
                </a:cubicBezTo>
                <a:cubicBezTo>
                  <a:pt x="6" y="25"/>
                  <a:pt x="9" y="28"/>
                  <a:pt x="10" y="28"/>
                </a:cubicBezTo>
                <a:cubicBezTo>
                  <a:pt x="10" y="29"/>
                  <a:pt x="12" y="29"/>
                  <a:pt x="13" y="30"/>
                </a:cubicBezTo>
                <a:cubicBezTo>
                  <a:pt x="14" y="30"/>
                  <a:pt x="17" y="31"/>
                  <a:pt x="18" y="31"/>
                </a:cubicBezTo>
                <a:cubicBezTo>
                  <a:pt x="19" y="31"/>
                  <a:pt x="21" y="32"/>
                  <a:pt x="23" y="33"/>
                </a:cubicBezTo>
                <a:cubicBezTo>
                  <a:pt x="24" y="34"/>
                  <a:pt x="27" y="36"/>
                  <a:pt x="27" y="37"/>
                </a:cubicBezTo>
                <a:cubicBezTo>
                  <a:pt x="27" y="37"/>
                  <a:pt x="27" y="40"/>
                  <a:pt x="26" y="40"/>
                </a:cubicBezTo>
                <a:cubicBezTo>
                  <a:pt x="26" y="41"/>
                  <a:pt x="25" y="44"/>
                  <a:pt x="25" y="44"/>
                </a:cubicBezTo>
                <a:cubicBezTo>
                  <a:pt x="25" y="44"/>
                  <a:pt x="24" y="44"/>
                  <a:pt x="23" y="45"/>
                </a:cubicBezTo>
                <a:cubicBezTo>
                  <a:pt x="24" y="44"/>
                  <a:pt x="24" y="47"/>
                  <a:pt x="25" y="47"/>
                </a:cubicBezTo>
                <a:cubicBezTo>
                  <a:pt x="25" y="48"/>
                  <a:pt x="27" y="49"/>
                  <a:pt x="27" y="49"/>
                </a:cubicBezTo>
                <a:cubicBezTo>
                  <a:pt x="27" y="49"/>
                  <a:pt x="30" y="49"/>
                  <a:pt x="30" y="4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0" name="Latvia"/>
          <p:cNvSpPr>
            <a:spLocks/>
          </p:cNvSpPr>
          <p:nvPr/>
        </p:nvSpPr>
        <p:spPr bwMode="auto">
          <a:xfrm>
            <a:off x="6710642" y="2043748"/>
            <a:ext cx="182918" cy="96358"/>
          </a:xfrm>
          <a:custGeom>
            <a:avLst/>
            <a:gdLst>
              <a:gd name="T0" fmla="*/ 89 w 89"/>
              <a:gd name="T1" fmla="*/ 37 h 47"/>
              <a:gd name="T2" fmla="*/ 85 w 89"/>
              <a:gd name="T3" fmla="*/ 42 h 47"/>
              <a:gd name="T4" fmla="*/ 81 w 89"/>
              <a:gd name="T5" fmla="*/ 44 h 47"/>
              <a:gd name="T6" fmla="*/ 76 w 89"/>
              <a:gd name="T7" fmla="*/ 45 h 47"/>
              <a:gd name="T8" fmla="*/ 73 w 89"/>
              <a:gd name="T9" fmla="*/ 43 h 47"/>
              <a:gd name="T10" fmla="*/ 70 w 89"/>
              <a:gd name="T11" fmla="*/ 43 h 47"/>
              <a:gd name="T12" fmla="*/ 69 w 89"/>
              <a:gd name="T13" fmla="*/ 45 h 47"/>
              <a:gd name="T14" fmla="*/ 68 w 89"/>
              <a:gd name="T15" fmla="*/ 45 h 47"/>
              <a:gd name="T16" fmla="*/ 68 w 89"/>
              <a:gd name="T17" fmla="*/ 47 h 47"/>
              <a:gd name="T18" fmla="*/ 63 w 89"/>
              <a:gd name="T19" fmla="*/ 43 h 47"/>
              <a:gd name="T20" fmla="*/ 59 w 89"/>
              <a:gd name="T21" fmla="*/ 39 h 47"/>
              <a:gd name="T22" fmla="*/ 55 w 89"/>
              <a:gd name="T23" fmla="*/ 37 h 47"/>
              <a:gd name="T24" fmla="*/ 52 w 89"/>
              <a:gd name="T25" fmla="*/ 36 h 47"/>
              <a:gd name="T26" fmla="*/ 47 w 89"/>
              <a:gd name="T27" fmla="*/ 35 h 47"/>
              <a:gd name="T28" fmla="*/ 45 w 89"/>
              <a:gd name="T29" fmla="*/ 38 h 47"/>
              <a:gd name="T30" fmla="*/ 41 w 89"/>
              <a:gd name="T31" fmla="*/ 37 h 47"/>
              <a:gd name="T32" fmla="*/ 39 w 89"/>
              <a:gd name="T33" fmla="*/ 34 h 47"/>
              <a:gd name="T34" fmla="*/ 33 w 89"/>
              <a:gd name="T35" fmla="*/ 33 h 47"/>
              <a:gd name="T36" fmla="*/ 27 w 89"/>
              <a:gd name="T37" fmla="*/ 33 h 47"/>
              <a:gd name="T38" fmla="*/ 23 w 89"/>
              <a:gd name="T39" fmla="*/ 33 h 47"/>
              <a:gd name="T40" fmla="*/ 22 w 89"/>
              <a:gd name="T41" fmla="*/ 32 h 47"/>
              <a:gd name="T42" fmla="*/ 18 w 89"/>
              <a:gd name="T43" fmla="*/ 32 h 47"/>
              <a:gd name="T44" fmla="*/ 13 w 89"/>
              <a:gd name="T45" fmla="*/ 32 h 47"/>
              <a:gd name="T46" fmla="*/ 9 w 89"/>
              <a:gd name="T47" fmla="*/ 34 h 47"/>
              <a:gd name="T48" fmla="*/ 6 w 89"/>
              <a:gd name="T49" fmla="*/ 40 h 47"/>
              <a:gd name="T50" fmla="*/ 3 w 89"/>
              <a:gd name="T51" fmla="*/ 45 h 47"/>
              <a:gd name="T52" fmla="*/ 4 w 89"/>
              <a:gd name="T53" fmla="*/ 41 h 47"/>
              <a:gd name="T54" fmla="*/ 1 w 89"/>
              <a:gd name="T55" fmla="*/ 36 h 47"/>
              <a:gd name="T56" fmla="*/ 1 w 89"/>
              <a:gd name="T57" fmla="*/ 31 h 47"/>
              <a:gd name="T58" fmla="*/ 3 w 89"/>
              <a:gd name="T59" fmla="*/ 26 h 47"/>
              <a:gd name="T60" fmla="*/ 7 w 89"/>
              <a:gd name="T61" fmla="*/ 21 h 47"/>
              <a:gd name="T62" fmla="*/ 5 w 89"/>
              <a:gd name="T63" fmla="*/ 16 h 47"/>
              <a:gd name="T64" fmla="*/ 6 w 89"/>
              <a:gd name="T65" fmla="*/ 13 h 47"/>
              <a:gd name="T66" fmla="*/ 8 w 89"/>
              <a:gd name="T67" fmla="*/ 9 h 47"/>
              <a:gd name="T68" fmla="*/ 13 w 89"/>
              <a:gd name="T69" fmla="*/ 7 h 47"/>
              <a:gd name="T70" fmla="*/ 19 w 89"/>
              <a:gd name="T71" fmla="*/ 4 h 47"/>
              <a:gd name="T72" fmla="*/ 20 w 89"/>
              <a:gd name="T73" fmla="*/ 4 h 47"/>
              <a:gd name="T74" fmla="*/ 20 w 89"/>
              <a:gd name="T75" fmla="*/ 8 h 47"/>
              <a:gd name="T76" fmla="*/ 26 w 89"/>
              <a:gd name="T77" fmla="*/ 13 h 47"/>
              <a:gd name="T78" fmla="*/ 27 w 89"/>
              <a:gd name="T79" fmla="*/ 15 h 47"/>
              <a:gd name="T80" fmla="*/ 29 w 89"/>
              <a:gd name="T81" fmla="*/ 20 h 47"/>
              <a:gd name="T82" fmla="*/ 37 w 89"/>
              <a:gd name="T83" fmla="*/ 19 h 47"/>
              <a:gd name="T84" fmla="*/ 40 w 89"/>
              <a:gd name="T85" fmla="*/ 15 h 47"/>
              <a:gd name="T86" fmla="*/ 40 w 89"/>
              <a:gd name="T87" fmla="*/ 9 h 47"/>
              <a:gd name="T88" fmla="*/ 41 w 89"/>
              <a:gd name="T89" fmla="*/ 4 h 47"/>
              <a:gd name="T90" fmla="*/ 41 w 89"/>
              <a:gd name="T91" fmla="*/ 2 h 47"/>
              <a:gd name="T92" fmla="*/ 44 w 89"/>
              <a:gd name="T93" fmla="*/ 2 h 47"/>
              <a:gd name="T94" fmla="*/ 46 w 89"/>
              <a:gd name="T95" fmla="*/ 1 h 47"/>
              <a:gd name="T96" fmla="*/ 48 w 89"/>
              <a:gd name="T97" fmla="*/ 0 h 47"/>
              <a:gd name="T98" fmla="*/ 53 w 89"/>
              <a:gd name="T99" fmla="*/ 0 h 47"/>
              <a:gd name="T100" fmla="*/ 58 w 89"/>
              <a:gd name="T101" fmla="*/ 1 h 47"/>
              <a:gd name="T102" fmla="*/ 61 w 89"/>
              <a:gd name="T103" fmla="*/ 2 h 47"/>
              <a:gd name="T104" fmla="*/ 66 w 89"/>
              <a:gd name="T105" fmla="*/ 6 h 47"/>
              <a:gd name="T106" fmla="*/ 68 w 89"/>
              <a:gd name="T107" fmla="*/ 9 h 47"/>
              <a:gd name="T108" fmla="*/ 72 w 89"/>
              <a:gd name="T109" fmla="*/ 8 h 47"/>
              <a:gd name="T110" fmla="*/ 77 w 89"/>
              <a:gd name="T111" fmla="*/ 8 h 47"/>
              <a:gd name="T112" fmla="*/ 81 w 89"/>
              <a:gd name="T113" fmla="*/ 11 h 47"/>
              <a:gd name="T114" fmla="*/ 84 w 89"/>
              <a:gd name="T115" fmla="*/ 16 h 47"/>
              <a:gd name="T116" fmla="*/ 85 w 89"/>
              <a:gd name="T117" fmla="*/ 20 h 47"/>
              <a:gd name="T118" fmla="*/ 86 w 89"/>
              <a:gd name="T119" fmla="*/ 25 h 47"/>
              <a:gd name="T120" fmla="*/ 88 w 89"/>
              <a:gd name="T121" fmla="*/ 29 h 47"/>
              <a:gd name="T122" fmla="*/ 89 w 89"/>
              <a:gd name="T123" fmla="*/ 35 h 47"/>
              <a:gd name="T124" fmla="*/ 89 w 89"/>
              <a:gd name="T12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 h="47">
                <a:moveTo>
                  <a:pt x="89" y="37"/>
                </a:moveTo>
                <a:cubicBezTo>
                  <a:pt x="88" y="38"/>
                  <a:pt x="86" y="42"/>
                  <a:pt x="85" y="42"/>
                </a:cubicBezTo>
                <a:cubicBezTo>
                  <a:pt x="85" y="43"/>
                  <a:pt x="82" y="44"/>
                  <a:pt x="81" y="44"/>
                </a:cubicBezTo>
                <a:cubicBezTo>
                  <a:pt x="80" y="44"/>
                  <a:pt x="77" y="45"/>
                  <a:pt x="76" y="45"/>
                </a:cubicBezTo>
                <a:cubicBezTo>
                  <a:pt x="75" y="45"/>
                  <a:pt x="74" y="44"/>
                  <a:pt x="73" y="43"/>
                </a:cubicBezTo>
                <a:cubicBezTo>
                  <a:pt x="73" y="43"/>
                  <a:pt x="71" y="43"/>
                  <a:pt x="70" y="43"/>
                </a:cubicBezTo>
                <a:cubicBezTo>
                  <a:pt x="70" y="43"/>
                  <a:pt x="69" y="45"/>
                  <a:pt x="69" y="45"/>
                </a:cubicBezTo>
                <a:cubicBezTo>
                  <a:pt x="69" y="45"/>
                  <a:pt x="68" y="45"/>
                  <a:pt x="68" y="45"/>
                </a:cubicBezTo>
                <a:cubicBezTo>
                  <a:pt x="67" y="45"/>
                  <a:pt x="67" y="46"/>
                  <a:pt x="68" y="47"/>
                </a:cubicBezTo>
                <a:cubicBezTo>
                  <a:pt x="67" y="46"/>
                  <a:pt x="63" y="43"/>
                  <a:pt x="63" y="43"/>
                </a:cubicBezTo>
                <a:cubicBezTo>
                  <a:pt x="63" y="43"/>
                  <a:pt x="60" y="39"/>
                  <a:pt x="59" y="39"/>
                </a:cubicBezTo>
                <a:cubicBezTo>
                  <a:pt x="58" y="38"/>
                  <a:pt x="55" y="37"/>
                  <a:pt x="55" y="37"/>
                </a:cubicBezTo>
                <a:cubicBezTo>
                  <a:pt x="55" y="37"/>
                  <a:pt x="53" y="36"/>
                  <a:pt x="52" y="36"/>
                </a:cubicBezTo>
                <a:cubicBezTo>
                  <a:pt x="50" y="36"/>
                  <a:pt x="48" y="34"/>
                  <a:pt x="47" y="35"/>
                </a:cubicBezTo>
                <a:cubicBezTo>
                  <a:pt x="46" y="36"/>
                  <a:pt x="46" y="38"/>
                  <a:pt x="45" y="38"/>
                </a:cubicBezTo>
                <a:cubicBezTo>
                  <a:pt x="43" y="37"/>
                  <a:pt x="42" y="37"/>
                  <a:pt x="41" y="37"/>
                </a:cubicBezTo>
                <a:cubicBezTo>
                  <a:pt x="41" y="36"/>
                  <a:pt x="41" y="34"/>
                  <a:pt x="39" y="34"/>
                </a:cubicBezTo>
                <a:cubicBezTo>
                  <a:pt x="36" y="34"/>
                  <a:pt x="35" y="33"/>
                  <a:pt x="33" y="33"/>
                </a:cubicBezTo>
                <a:cubicBezTo>
                  <a:pt x="31" y="33"/>
                  <a:pt x="28" y="33"/>
                  <a:pt x="27" y="33"/>
                </a:cubicBezTo>
                <a:cubicBezTo>
                  <a:pt x="26" y="34"/>
                  <a:pt x="23" y="33"/>
                  <a:pt x="23" y="33"/>
                </a:cubicBezTo>
                <a:cubicBezTo>
                  <a:pt x="23" y="33"/>
                  <a:pt x="23" y="32"/>
                  <a:pt x="22" y="32"/>
                </a:cubicBezTo>
                <a:cubicBezTo>
                  <a:pt x="20" y="31"/>
                  <a:pt x="19" y="32"/>
                  <a:pt x="18" y="32"/>
                </a:cubicBezTo>
                <a:cubicBezTo>
                  <a:pt x="17" y="32"/>
                  <a:pt x="15" y="32"/>
                  <a:pt x="13" y="32"/>
                </a:cubicBezTo>
                <a:cubicBezTo>
                  <a:pt x="12" y="33"/>
                  <a:pt x="10" y="33"/>
                  <a:pt x="9" y="34"/>
                </a:cubicBezTo>
                <a:cubicBezTo>
                  <a:pt x="9" y="35"/>
                  <a:pt x="7" y="39"/>
                  <a:pt x="6" y="40"/>
                </a:cubicBezTo>
                <a:cubicBezTo>
                  <a:pt x="5" y="42"/>
                  <a:pt x="3" y="45"/>
                  <a:pt x="3" y="45"/>
                </a:cubicBezTo>
                <a:cubicBezTo>
                  <a:pt x="3" y="44"/>
                  <a:pt x="4" y="42"/>
                  <a:pt x="4" y="41"/>
                </a:cubicBezTo>
                <a:cubicBezTo>
                  <a:pt x="4" y="39"/>
                  <a:pt x="1" y="36"/>
                  <a:pt x="1" y="36"/>
                </a:cubicBezTo>
                <a:cubicBezTo>
                  <a:pt x="1" y="36"/>
                  <a:pt x="0" y="34"/>
                  <a:pt x="1" y="31"/>
                </a:cubicBezTo>
                <a:cubicBezTo>
                  <a:pt x="2" y="29"/>
                  <a:pt x="3" y="26"/>
                  <a:pt x="3" y="26"/>
                </a:cubicBezTo>
                <a:cubicBezTo>
                  <a:pt x="3" y="26"/>
                  <a:pt x="7" y="24"/>
                  <a:pt x="7" y="21"/>
                </a:cubicBezTo>
                <a:cubicBezTo>
                  <a:pt x="7" y="19"/>
                  <a:pt x="6" y="17"/>
                  <a:pt x="5" y="16"/>
                </a:cubicBezTo>
                <a:cubicBezTo>
                  <a:pt x="5" y="15"/>
                  <a:pt x="6" y="13"/>
                  <a:pt x="6" y="13"/>
                </a:cubicBezTo>
                <a:cubicBezTo>
                  <a:pt x="6" y="13"/>
                  <a:pt x="7" y="11"/>
                  <a:pt x="8" y="9"/>
                </a:cubicBezTo>
                <a:cubicBezTo>
                  <a:pt x="9" y="8"/>
                  <a:pt x="11" y="8"/>
                  <a:pt x="13" y="7"/>
                </a:cubicBezTo>
                <a:cubicBezTo>
                  <a:pt x="16" y="7"/>
                  <a:pt x="18" y="4"/>
                  <a:pt x="19" y="4"/>
                </a:cubicBezTo>
                <a:cubicBezTo>
                  <a:pt x="20" y="3"/>
                  <a:pt x="20" y="4"/>
                  <a:pt x="20" y="4"/>
                </a:cubicBezTo>
                <a:cubicBezTo>
                  <a:pt x="20" y="4"/>
                  <a:pt x="20" y="6"/>
                  <a:pt x="20" y="8"/>
                </a:cubicBezTo>
                <a:cubicBezTo>
                  <a:pt x="20" y="10"/>
                  <a:pt x="23" y="11"/>
                  <a:pt x="26" y="13"/>
                </a:cubicBezTo>
                <a:cubicBezTo>
                  <a:pt x="28" y="14"/>
                  <a:pt x="27" y="15"/>
                  <a:pt x="27" y="15"/>
                </a:cubicBezTo>
                <a:cubicBezTo>
                  <a:pt x="27" y="15"/>
                  <a:pt x="26" y="19"/>
                  <a:pt x="29" y="20"/>
                </a:cubicBezTo>
                <a:cubicBezTo>
                  <a:pt x="32" y="22"/>
                  <a:pt x="36" y="20"/>
                  <a:pt x="37" y="19"/>
                </a:cubicBezTo>
                <a:cubicBezTo>
                  <a:pt x="39" y="19"/>
                  <a:pt x="40" y="17"/>
                  <a:pt x="40" y="15"/>
                </a:cubicBezTo>
                <a:cubicBezTo>
                  <a:pt x="41" y="13"/>
                  <a:pt x="41" y="11"/>
                  <a:pt x="40" y="9"/>
                </a:cubicBezTo>
                <a:cubicBezTo>
                  <a:pt x="40" y="7"/>
                  <a:pt x="40" y="5"/>
                  <a:pt x="41" y="4"/>
                </a:cubicBezTo>
                <a:cubicBezTo>
                  <a:pt x="41" y="3"/>
                  <a:pt x="41" y="3"/>
                  <a:pt x="41" y="2"/>
                </a:cubicBezTo>
                <a:cubicBezTo>
                  <a:pt x="41" y="2"/>
                  <a:pt x="43" y="2"/>
                  <a:pt x="44" y="2"/>
                </a:cubicBezTo>
                <a:cubicBezTo>
                  <a:pt x="45" y="2"/>
                  <a:pt x="46" y="1"/>
                  <a:pt x="46" y="1"/>
                </a:cubicBezTo>
                <a:cubicBezTo>
                  <a:pt x="47" y="0"/>
                  <a:pt x="47" y="0"/>
                  <a:pt x="48" y="0"/>
                </a:cubicBezTo>
                <a:cubicBezTo>
                  <a:pt x="49" y="0"/>
                  <a:pt x="52" y="0"/>
                  <a:pt x="53" y="0"/>
                </a:cubicBezTo>
                <a:cubicBezTo>
                  <a:pt x="53" y="0"/>
                  <a:pt x="57" y="1"/>
                  <a:pt x="58" y="1"/>
                </a:cubicBezTo>
                <a:cubicBezTo>
                  <a:pt x="58" y="1"/>
                  <a:pt x="60" y="1"/>
                  <a:pt x="61" y="2"/>
                </a:cubicBezTo>
                <a:cubicBezTo>
                  <a:pt x="62" y="2"/>
                  <a:pt x="65" y="5"/>
                  <a:pt x="66" y="6"/>
                </a:cubicBezTo>
                <a:cubicBezTo>
                  <a:pt x="66" y="7"/>
                  <a:pt x="67" y="8"/>
                  <a:pt x="68" y="9"/>
                </a:cubicBezTo>
                <a:cubicBezTo>
                  <a:pt x="69" y="9"/>
                  <a:pt x="72" y="9"/>
                  <a:pt x="72" y="8"/>
                </a:cubicBezTo>
                <a:cubicBezTo>
                  <a:pt x="74" y="8"/>
                  <a:pt x="75" y="7"/>
                  <a:pt x="77" y="8"/>
                </a:cubicBezTo>
                <a:cubicBezTo>
                  <a:pt x="79" y="8"/>
                  <a:pt x="81" y="11"/>
                  <a:pt x="81" y="11"/>
                </a:cubicBezTo>
                <a:cubicBezTo>
                  <a:pt x="82" y="11"/>
                  <a:pt x="84" y="15"/>
                  <a:pt x="84" y="16"/>
                </a:cubicBezTo>
                <a:cubicBezTo>
                  <a:pt x="84" y="17"/>
                  <a:pt x="85" y="19"/>
                  <a:pt x="85" y="20"/>
                </a:cubicBezTo>
                <a:cubicBezTo>
                  <a:pt x="85" y="22"/>
                  <a:pt x="85" y="24"/>
                  <a:pt x="86" y="25"/>
                </a:cubicBezTo>
                <a:cubicBezTo>
                  <a:pt x="87" y="26"/>
                  <a:pt x="88" y="28"/>
                  <a:pt x="88" y="29"/>
                </a:cubicBezTo>
                <a:cubicBezTo>
                  <a:pt x="89" y="30"/>
                  <a:pt x="89" y="35"/>
                  <a:pt x="89" y="35"/>
                </a:cubicBezTo>
                <a:lnTo>
                  <a:pt x="89" y="37"/>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1" name="Estonia"/>
          <p:cNvSpPr>
            <a:spLocks/>
          </p:cNvSpPr>
          <p:nvPr/>
        </p:nvSpPr>
        <p:spPr bwMode="auto">
          <a:xfrm>
            <a:off x="6728607" y="1976300"/>
            <a:ext cx="148621" cy="85414"/>
          </a:xfrm>
          <a:custGeom>
            <a:avLst/>
            <a:gdLst>
              <a:gd name="connsiteX0" fmla="*/ 10055 w 144463"/>
              <a:gd name="connsiteY0" fmla="*/ 65562 h 83024"/>
              <a:gd name="connsiteX1" fmla="*/ 12172 w 144463"/>
              <a:gd name="connsiteY1" fmla="*/ 65562 h 83024"/>
              <a:gd name="connsiteX2" fmla="*/ 7938 w 144463"/>
              <a:gd name="connsiteY2" fmla="*/ 69266 h 83024"/>
              <a:gd name="connsiteX3" fmla="*/ 10055 w 144463"/>
              <a:gd name="connsiteY3" fmla="*/ 65562 h 83024"/>
              <a:gd name="connsiteX4" fmla="*/ 36095 w 144463"/>
              <a:gd name="connsiteY4" fmla="*/ 38574 h 83024"/>
              <a:gd name="connsiteX5" fmla="*/ 38100 w 144463"/>
              <a:gd name="connsiteY5" fmla="*/ 44924 h 83024"/>
              <a:gd name="connsiteX6" fmla="*/ 38100 w 144463"/>
              <a:gd name="connsiteY6" fmla="*/ 51274 h 83024"/>
              <a:gd name="connsiteX7" fmla="*/ 36095 w 144463"/>
              <a:gd name="connsiteY7" fmla="*/ 55507 h 83024"/>
              <a:gd name="connsiteX8" fmla="*/ 30079 w 144463"/>
              <a:gd name="connsiteY8" fmla="*/ 55507 h 83024"/>
              <a:gd name="connsiteX9" fmla="*/ 28074 w 144463"/>
              <a:gd name="connsiteY9" fmla="*/ 57624 h 83024"/>
              <a:gd name="connsiteX10" fmla="*/ 24063 w 144463"/>
              <a:gd name="connsiteY10" fmla="*/ 57624 h 83024"/>
              <a:gd name="connsiteX11" fmla="*/ 20053 w 144463"/>
              <a:gd name="connsiteY11" fmla="*/ 57624 h 83024"/>
              <a:gd name="connsiteX12" fmla="*/ 16042 w 144463"/>
              <a:gd name="connsiteY12" fmla="*/ 55507 h 83024"/>
              <a:gd name="connsiteX13" fmla="*/ 14037 w 144463"/>
              <a:gd name="connsiteY13" fmla="*/ 59741 h 83024"/>
              <a:gd name="connsiteX14" fmla="*/ 12032 w 144463"/>
              <a:gd name="connsiteY14" fmla="*/ 63974 h 83024"/>
              <a:gd name="connsiteX15" fmla="*/ 10027 w 144463"/>
              <a:gd name="connsiteY15" fmla="*/ 61857 h 83024"/>
              <a:gd name="connsiteX16" fmla="*/ 8021 w 144463"/>
              <a:gd name="connsiteY16" fmla="*/ 57624 h 83024"/>
              <a:gd name="connsiteX17" fmla="*/ 4011 w 144463"/>
              <a:gd name="connsiteY17" fmla="*/ 57624 h 83024"/>
              <a:gd name="connsiteX18" fmla="*/ 2006 w 144463"/>
              <a:gd name="connsiteY18" fmla="*/ 55507 h 83024"/>
              <a:gd name="connsiteX19" fmla="*/ 0 w 144463"/>
              <a:gd name="connsiteY19" fmla="*/ 51274 h 83024"/>
              <a:gd name="connsiteX20" fmla="*/ 6016 w 144463"/>
              <a:gd name="connsiteY20" fmla="*/ 47041 h 83024"/>
              <a:gd name="connsiteX21" fmla="*/ 14037 w 144463"/>
              <a:gd name="connsiteY21" fmla="*/ 44924 h 83024"/>
              <a:gd name="connsiteX22" fmla="*/ 22058 w 144463"/>
              <a:gd name="connsiteY22" fmla="*/ 42807 h 83024"/>
              <a:gd name="connsiteX23" fmla="*/ 30079 w 144463"/>
              <a:gd name="connsiteY23" fmla="*/ 42807 h 83024"/>
              <a:gd name="connsiteX24" fmla="*/ 34090 w 144463"/>
              <a:gd name="connsiteY24" fmla="*/ 40691 h 83024"/>
              <a:gd name="connsiteX25" fmla="*/ 36095 w 144463"/>
              <a:gd name="connsiteY25" fmla="*/ 38574 h 83024"/>
              <a:gd name="connsiteX26" fmla="*/ 16741 w 144463"/>
              <a:gd name="connsiteY26" fmla="*/ 24816 h 83024"/>
              <a:gd name="connsiteX27" fmla="*/ 22803 w 144463"/>
              <a:gd name="connsiteY27" fmla="*/ 26932 h 83024"/>
              <a:gd name="connsiteX28" fmla="*/ 24823 w 144463"/>
              <a:gd name="connsiteY28" fmla="*/ 29049 h 83024"/>
              <a:gd name="connsiteX29" fmla="*/ 30884 w 144463"/>
              <a:gd name="connsiteY29" fmla="*/ 29049 h 83024"/>
              <a:gd name="connsiteX30" fmla="*/ 32905 w 144463"/>
              <a:gd name="connsiteY30" fmla="*/ 31166 h 83024"/>
              <a:gd name="connsiteX31" fmla="*/ 30884 w 144463"/>
              <a:gd name="connsiteY31" fmla="*/ 35399 h 83024"/>
              <a:gd name="connsiteX32" fmla="*/ 24823 w 144463"/>
              <a:gd name="connsiteY32" fmla="*/ 35399 h 83024"/>
              <a:gd name="connsiteX33" fmla="*/ 20782 w 144463"/>
              <a:gd name="connsiteY33" fmla="*/ 37516 h 83024"/>
              <a:gd name="connsiteX34" fmla="*/ 18762 w 144463"/>
              <a:gd name="connsiteY34" fmla="*/ 41749 h 83024"/>
              <a:gd name="connsiteX35" fmla="*/ 14721 w 144463"/>
              <a:gd name="connsiteY35" fmla="*/ 41749 h 83024"/>
              <a:gd name="connsiteX36" fmla="*/ 12700 w 144463"/>
              <a:gd name="connsiteY36" fmla="*/ 35399 h 83024"/>
              <a:gd name="connsiteX37" fmla="*/ 12700 w 144463"/>
              <a:gd name="connsiteY37" fmla="*/ 33282 h 83024"/>
              <a:gd name="connsiteX38" fmla="*/ 12700 w 144463"/>
              <a:gd name="connsiteY38" fmla="*/ 26932 h 83024"/>
              <a:gd name="connsiteX39" fmla="*/ 16741 w 144463"/>
              <a:gd name="connsiteY39" fmla="*/ 24816 h 83024"/>
              <a:gd name="connsiteX40" fmla="*/ 72497 w 144463"/>
              <a:gd name="connsiteY40" fmla="*/ 890 h 83024"/>
              <a:gd name="connsiteX41" fmla="*/ 76495 w 144463"/>
              <a:gd name="connsiteY41" fmla="*/ 890 h 83024"/>
              <a:gd name="connsiteX42" fmla="*/ 78494 w 144463"/>
              <a:gd name="connsiteY42" fmla="*/ 4897 h 83024"/>
              <a:gd name="connsiteX43" fmla="*/ 84491 w 144463"/>
              <a:gd name="connsiteY43" fmla="*/ 2893 h 83024"/>
              <a:gd name="connsiteX44" fmla="*/ 88489 w 144463"/>
              <a:gd name="connsiteY44" fmla="*/ 2893 h 83024"/>
              <a:gd name="connsiteX45" fmla="*/ 90488 w 144463"/>
              <a:gd name="connsiteY45" fmla="*/ 890 h 83024"/>
              <a:gd name="connsiteX46" fmla="*/ 94486 w 144463"/>
              <a:gd name="connsiteY46" fmla="*/ 890 h 83024"/>
              <a:gd name="connsiteX47" fmla="*/ 100484 w 144463"/>
              <a:gd name="connsiteY47" fmla="*/ 2893 h 83024"/>
              <a:gd name="connsiteX48" fmla="*/ 106481 w 144463"/>
              <a:gd name="connsiteY48" fmla="*/ 2893 h 83024"/>
              <a:gd name="connsiteX49" fmla="*/ 116476 w 144463"/>
              <a:gd name="connsiteY49" fmla="*/ 4897 h 83024"/>
              <a:gd name="connsiteX50" fmla="*/ 126472 w 144463"/>
              <a:gd name="connsiteY50" fmla="*/ 6900 h 83024"/>
              <a:gd name="connsiteX51" fmla="*/ 134468 w 144463"/>
              <a:gd name="connsiteY51" fmla="*/ 4897 h 83024"/>
              <a:gd name="connsiteX52" fmla="*/ 144463 w 144463"/>
              <a:gd name="connsiteY52" fmla="*/ 8903 h 83024"/>
              <a:gd name="connsiteX53" fmla="*/ 142464 w 144463"/>
              <a:gd name="connsiteY53" fmla="*/ 18919 h 83024"/>
              <a:gd name="connsiteX54" fmla="*/ 140465 w 144463"/>
              <a:gd name="connsiteY54" fmla="*/ 22926 h 83024"/>
              <a:gd name="connsiteX55" fmla="*/ 136467 w 144463"/>
              <a:gd name="connsiteY55" fmla="*/ 24929 h 83024"/>
              <a:gd name="connsiteX56" fmla="*/ 128471 w 144463"/>
              <a:gd name="connsiteY56" fmla="*/ 28936 h 83024"/>
              <a:gd name="connsiteX57" fmla="*/ 128471 w 144463"/>
              <a:gd name="connsiteY57" fmla="*/ 32942 h 83024"/>
              <a:gd name="connsiteX58" fmla="*/ 130470 w 144463"/>
              <a:gd name="connsiteY58" fmla="*/ 38952 h 83024"/>
              <a:gd name="connsiteX59" fmla="*/ 132469 w 144463"/>
              <a:gd name="connsiteY59" fmla="*/ 44962 h 83024"/>
              <a:gd name="connsiteX60" fmla="*/ 136467 w 144463"/>
              <a:gd name="connsiteY60" fmla="*/ 52975 h 83024"/>
              <a:gd name="connsiteX61" fmla="*/ 140465 w 144463"/>
              <a:gd name="connsiteY61" fmla="*/ 60988 h 83024"/>
              <a:gd name="connsiteX62" fmla="*/ 136467 w 144463"/>
              <a:gd name="connsiteY62" fmla="*/ 71005 h 83024"/>
              <a:gd name="connsiteX63" fmla="*/ 134468 w 144463"/>
              <a:gd name="connsiteY63" fmla="*/ 79018 h 83024"/>
              <a:gd name="connsiteX64" fmla="*/ 126472 w 144463"/>
              <a:gd name="connsiteY64" fmla="*/ 81021 h 83024"/>
              <a:gd name="connsiteX65" fmla="*/ 118475 w 144463"/>
              <a:gd name="connsiteY65" fmla="*/ 83024 h 83024"/>
              <a:gd name="connsiteX66" fmla="*/ 114477 w 144463"/>
              <a:gd name="connsiteY66" fmla="*/ 77014 h 83024"/>
              <a:gd name="connsiteX67" fmla="*/ 104482 w 144463"/>
              <a:gd name="connsiteY67" fmla="*/ 69001 h 83024"/>
              <a:gd name="connsiteX68" fmla="*/ 98485 w 144463"/>
              <a:gd name="connsiteY68" fmla="*/ 66998 h 83024"/>
              <a:gd name="connsiteX69" fmla="*/ 88489 w 144463"/>
              <a:gd name="connsiteY69" fmla="*/ 64995 h 83024"/>
              <a:gd name="connsiteX70" fmla="*/ 78494 w 144463"/>
              <a:gd name="connsiteY70" fmla="*/ 64995 h 83024"/>
              <a:gd name="connsiteX71" fmla="*/ 74496 w 144463"/>
              <a:gd name="connsiteY71" fmla="*/ 66998 h 83024"/>
              <a:gd name="connsiteX72" fmla="*/ 70498 w 144463"/>
              <a:gd name="connsiteY72" fmla="*/ 69001 h 83024"/>
              <a:gd name="connsiteX73" fmla="*/ 64500 w 144463"/>
              <a:gd name="connsiteY73" fmla="*/ 69001 h 83024"/>
              <a:gd name="connsiteX74" fmla="*/ 62501 w 144463"/>
              <a:gd name="connsiteY74" fmla="*/ 66998 h 83024"/>
              <a:gd name="connsiteX75" fmla="*/ 64500 w 144463"/>
              <a:gd name="connsiteY75" fmla="*/ 60988 h 83024"/>
              <a:gd name="connsiteX76" fmla="*/ 66499 w 144463"/>
              <a:gd name="connsiteY76" fmla="*/ 56982 h 83024"/>
              <a:gd name="connsiteX77" fmla="*/ 64500 w 144463"/>
              <a:gd name="connsiteY77" fmla="*/ 50972 h 83024"/>
              <a:gd name="connsiteX78" fmla="*/ 58503 w 144463"/>
              <a:gd name="connsiteY78" fmla="*/ 54978 h 83024"/>
              <a:gd name="connsiteX79" fmla="*/ 50507 w 144463"/>
              <a:gd name="connsiteY79" fmla="*/ 56982 h 83024"/>
              <a:gd name="connsiteX80" fmla="*/ 46509 w 144463"/>
              <a:gd name="connsiteY80" fmla="*/ 52975 h 83024"/>
              <a:gd name="connsiteX81" fmla="*/ 42510 w 144463"/>
              <a:gd name="connsiteY81" fmla="*/ 46965 h 83024"/>
              <a:gd name="connsiteX82" fmla="*/ 46509 w 144463"/>
              <a:gd name="connsiteY82" fmla="*/ 40956 h 83024"/>
              <a:gd name="connsiteX83" fmla="*/ 42510 w 144463"/>
              <a:gd name="connsiteY83" fmla="*/ 36949 h 83024"/>
              <a:gd name="connsiteX84" fmla="*/ 44510 w 144463"/>
              <a:gd name="connsiteY84" fmla="*/ 32942 h 83024"/>
              <a:gd name="connsiteX85" fmla="*/ 46509 w 144463"/>
              <a:gd name="connsiteY85" fmla="*/ 30939 h 83024"/>
              <a:gd name="connsiteX86" fmla="*/ 40511 w 144463"/>
              <a:gd name="connsiteY86" fmla="*/ 28936 h 83024"/>
              <a:gd name="connsiteX87" fmla="*/ 36513 w 144463"/>
              <a:gd name="connsiteY87" fmla="*/ 26933 h 83024"/>
              <a:gd name="connsiteX88" fmla="*/ 38512 w 144463"/>
              <a:gd name="connsiteY88" fmla="*/ 22926 h 83024"/>
              <a:gd name="connsiteX89" fmla="*/ 38512 w 144463"/>
              <a:gd name="connsiteY89" fmla="*/ 20923 h 83024"/>
              <a:gd name="connsiteX90" fmla="*/ 42510 w 144463"/>
              <a:gd name="connsiteY90" fmla="*/ 18919 h 83024"/>
              <a:gd name="connsiteX91" fmla="*/ 46509 w 144463"/>
              <a:gd name="connsiteY91" fmla="*/ 18919 h 83024"/>
              <a:gd name="connsiteX92" fmla="*/ 50507 w 144463"/>
              <a:gd name="connsiteY92" fmla="*/ 18919 h 83024"/>
              <a:gd name="connsiteX93" fmla="*/ 52506 w 144463"/>
              <a:gd name="connsiteY93" fmla="*/ 16916 h 83024"/>
              <a:gd name="connsiteX94" fmla="*/ 54505 w 144463"/>
              <a:gd name="connsiteY94" fmla="*/ 12910 h 83024"/>
              <a:gd name="connsiteX95" fmla="*/ 62501 w 144463"/>
              <a:gd name="connsiteY95" fmla="*/ 6900 h 83024"/>
              <a:gd name="connsiteX96" fmla="*/ 68498 w 144463"/>
              <a:gd name="connsiteY96" fmla="*/ 8903 h 83024"/>
              <a:gd name="connsiteX97" fmla="*/ 72497 w 144463"/>
              <a:gd name="connsiteY97" fmla="*/ 2893 h 83024"/>
              <a:gd name="connsiteX98" fmla="*/ 72497 w 144463"/>
              <a:gd name="connsiteY98" fmla="*/ 890 h 8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4463" h="83024">
                <a:moveTo>
                  <a:pt x="10055" y="65562"/>
                </a:moveTo>
                <a:cubicBezTo>
                  <a:pt x="10055" y="65562"/>
                  <a:pt x="12172" y="65562"/>
                  <a:pt x="12172" y="65562"/>
                </a:cubicBezTo>
                <a:cubicBezTo>
                  <a:pt x="14288" y="69266"/>
                  <a:pt x="7938" y="76674"/>
                  <a:pt x="7938" y="69266"/>
                </a:cubicBezTo>
                <a:cubicBezTo>
                  <a:pt x="7938" y="67414"/>
                  <a:pt x="7938" y="67414"/>
                  <a:pt x="10055" y="65562"/>
                </a:cubicBezTo>
                <a:close/>
                <a:moveTo>
                  <a:pt x="36095" y="38574"/>
                </a:moveTo>
                <a:cubicBezTo>
                  <a:pt x="38100" y="40691"/>
                  <a:pt x="38100" y="44924"/>
                  <a:pt x="38100" y="44924"/>
                </a:cubicBezTo>
                <a:cubicBezTo>
                  <a:pt x="36095" y="47041"/>
                  <a:pt x="38100" y="49157"/>
                  <a:pt x="38100" y="51274"/>
                </a:cubicBezTo>
                <a:cubicBezTo>
                  <a:pt x="38100" y="53391"/>
                  <a:pt x="38100" y="55507"/>
                  <a:pt x="36095" y="55507"/>
                </a:cubicBezTo>
                <a:cubicBezTo>
                  <a:pt x="34090" y="55507"/>
                  <a:pt x="32084" y="57624"/>
                  <a:pt x="30079" y="55507"/>
                </a:cubicBezTo>
                <a:cubicBezTo>
                  <a:pt x="30079" y="55507"/>
                  <a:pt x="28074" y="55507"/>
                  <a:pt x="28074" y="57624"/>
                </a:cubicBezTo>
                <a:cubicBezTo>
                  <a:pt x="26069" y="57624"/>
                  <a:pt x="26069" y="57624"/>
                  <a:pt x="24063" y="57624"/>
                </a:cubicBezTo>
                <a:cubicBezTo>
                  <a:pt x="24063" y="57624"/>
                  <a:pt x="22058" y="59741"/>
                  <a:pt x="20053" y="57624"/>
                </a:cubicBezTo>
                <a:cubicBezTo>
                  <a:pt x="20053" y="57624"/>
                  <a:pt x="18048" y="55507"/>
                  <a:pt x="16042" y="55507"/>
                </a:cubicBezTo>
                <a:cubicBezTo>
                  <a:pt x="16042" y="57624"/>
                  <a:pt x="14037" y="57624"/>
                  <a:pt x="14037" y="59741"/>
                </a:cubicBezTo>
                <a:cubicBezTo>
                  <a:pt x="14037" y="61857"/>
                  <a:pt x="14037" y="63974"/>
                  <a:pt x="12032" y="63974"/>
                </a:cubicBezTo>
                <a:cubicBezTo>
                  <a:pt x="10027" y="63974"/>
                  <a:pt x="10027" y="61857"/>
                  <a:pt x="10027" y="61857"/>
                </a:cubicBezTo>
                <a:cubicBezTo>
                  <a:pt x="10027" y="59741"/>
                  <a:pt x="8021" y="57624"/>
                  <a:pt x="8021" y="57624"/>
                </a:cubicBezTo>
                <a:cubicBezTo>
                  <a:pt x="8021" y="57624"/>
                  <a:pt x="6016" y="57624"/>
                  <a:pt x="4011" y="57624"/>
                </a:cubicBezTo>
                <a:cubicBezTo>
                  <a:pt x="4011" y="57624"/>
                  <a:pt x="2006" y="57624"/>
                  <a:pt x="2006" y="55507"/>
                </a:cubicBezTo>
                <a:cubicBezTo>
                  <a:pt x="0" y="53391"/>
                  <a:pt x="0" y="53391"/>
                  <a:pt x="0" y="51274"/>
                </a:cubicBezTo>
                <a:cubicBezTo>
                  <a:pt x="2006" y="49157"/>
                  <a:pt x="4011" y="49157"/>
                  <a:pt x="6016" y="47041"/>
                </a:cubicBezTo>
                <a:cubicBezTo>
                  <a:pt x="8021" y="47041"/>
                  <a:pt x="14037" y="44924"/>
                  <a:pt x="14037" y="44924"/>
                </a:cubicBezTo>
                <a:cubicBezTo>
                  <a:pt x="16042" y="44924"/>
                  <a:pt x="22058" y="42807"/>
                  <a:pt x="22058" y="42807"/>
                </a:cubicBezTo>
                <a:cubicBezTo>
                  <a:pt x="22058" y="42807"/>
                  <a:pt x="26069" y="44924"/>
                  <a:pt x="30079" y="42807"/>
                </a:cubicBezTo>
                <a:cubicBezTo>
                  <a:pt x="30079" y="42807"/>
                  <a:pt x="32084" y="42807"/>
                  <a:pt x="34090" y="40691"/>
                </a:cubicBezTo>
                <a:cubicBezTo>
                  <a:pt x="34090" y="40691"/>
                  <a:pt x="34090" y="38574"/>
                  <a:pt x="36095" y="38574"/>
                </a:cubicBezTo>
                <a:close/>
                <a:moveTo>
                  <a:pt x="16741" y="24816"/>
                </a:moveTo>
                <a:cubicBezTo>
                  <a:pt x="18762" y="22699"/>
                  <a:pt x="20782" y="24816"/>
                  <a:pt x="22803" y="26932"/>
                </a:cubicBezTo>
                <a:cubicBezTo>
                  <a:pt x="22803" y="26932"/>
                  <a:pt x="22803" y="29049"/>
                  <a:pt x="24823" y="29049"/>
                </a:cubicBezTo>
                <a:cubicBezTo>
                  <a:pt x="26843" y="29049"/>
                  <a:pt x="28864" y="29049"/>
                  <a:pt x="30884" y="29049"/>
                </a:cubicBezTo>
                <a:cubicBezTo>
                  <a:pt x="30884" y="29049"/>
                  <a:pt x="34925" y="29049"/>
                  <a:pt x="32905" y="31166"/>
                </a:cubicBezTo>
                <a:cubicBezTo>
                  <a:pt x="32905" y="33282"/>
                  <a:pt x="30884" y="35399"/>
                  <a:pt x="30884" y="35399"/>
                </a:cubicBezTo>
                <a:cubicBezTo>
                  <a:pt x="28864" y="35399"/>
                  <a:pt x="26843" y="35399"/>
                  <a:pt x="24823" y="35399"/>
                </a:cubicBezTo>
                <a:cubicBezTo>
                  <a:pt x="22803" y="35399"/>
                  <a:pt x="20782" y="37516"/>
                  <a:pt x="20782" y="37516"/>
                </a:cubicBezTo>
                <a:cubicBezTo>
                  <a:pt x="18762" y="39632"/>
                  <a:pt x="20782" y="41749"/>
                  <a:pt x="18762" y="41749"/>
                </a:cubicBezTo>
                <a:cubicBezTo>
                  <a:pt x="16741" y="41749"/>
                  <a:pt x="14721" y="41749"/>
                  <a:pt x="14721" y="41749"/>
                </a:cubicBezTo>
                <a:cubicBezTo>
                  <a:pt x="14721" y="39632"/>
                  <a:pt x="14721" y="35399"/>
                  <a:pt x="12700" y="35399"/>
                </a:cubicBezTo>
                <a:cubicBezTo>
                  <a:pt x="12700" y="33282"/>
                  <a:pt x="12700" y="33282"/>
                  <a:pt x="12700" y="33282"/>
                </a:cubicBezTo>
                <a:cubicBezTo>
                  <a:pt x="12700" y="33282"/>
                  <a:pt x="12700" y="29049"/>
                  <a:pt x="12700" y="26932"/>
                </a:cubicBezTo>
                <a:cubicBezTo>
                  <a:pt x="14721" y="26932"/>
                  <a:pt x="12700" y="24816"/>
                  <a:pt x="16741" y="24816"/>
                </a:cubicBezTo>
                <a:close/>
                <a:moveTo>
                  <a:pt x="72497" y="890"/>
                </a:moveTo>
                <a:cubicBezTo>
                  <a:pt x="72497" y="890"/>
                  <a:pt x="76495" y="-1113"/>
                  <a:pt x="76495" y="890"/>
                </a:cubicBezTo>
                <a:cubicBezTo>
                  <a:pt x="76495" y="2893"/>
                  <a:pt x="76495" y="4897"/>
                  <a:pt x="78494" y="4897"/>
                </a:cubicBezTo>
                <a:cubicBezTo>
                  <a:pt x="80493" y="6900"/>
                  <a:pt x="84491" y="4897"/>
                  <a:pt x="84491" y="2893"/>
                </a:cubicBezTo>
                <a:cubicBezTo>
                  <a:pt x="86490" y="890"/>
                  <a:pt x="88489" y="890"/>
                  <a:pt x="88489" y="2893"/>
                </a:cubicBezTo>
                <a:cubicBezTo>
                  <a:pt x="88489" y="2893"/>
                  <a:pt x="90488" y="890"/>
                  <a:pt x="90488" y="890"/>
                </a:cubicBezTo>
                <a:cubicBezTo>
                  <a:pt x="90488" y="890"/>
                  <a:pt x="94486" y="-1113"/>
                  <a:pt x="94486" y="890"/>
                </a:cubicBezTo>
                <a:cubicBezTo>
                  <a:pt x="96485" y="2893"/>
                  <a:pt x="100484" y="2893"/>
                  <a:pt x="100484" y="2893"/>
                </a:cubicBezTo>
                <a:cubicBezTo>
                  <a:pt x="100484" y="2893"/>
                  <a:pt x="104482" y="890"/>
                  <a:pt x="106481" y="2893"/>
                </a:cubicBezTo>
                <a:cubicBezTo>
                  <a:pt x="110479" y="4897"/>
                  <a:pt x="112478" y="4897"/>
                  <a:pt x="116476" y="4897"/>
                </a:cubicBezTo>
                <a:cubicBezTo>
                  <a:pt x="118475" y="4897"/>
                  <a:pt x="122473" y="4897"/>
                  <a:pt x="126472" y="6900"/>
                </a:cubicBezTo>
                <a:cubicBezTo>
                  <a:pt x="130470" y="8903"/>
                  <a:pt x="134468" y="4897"/>
                  <a:pt x="134468" y="4897"/>
                </a:cubicBezTo>
                <a:cubicBezTo>
                  <a:pt x="134468" y="4897"/>
                  <a:pt x="144463" y="4897"/>
                  <a:pt x="144463" y="8903"/>
                </a:cubicBezTo>
                <a:cubicBezTo>
                  <a:pt x="144463" y="14913"/>
                  <a:pt x="142464" y="18919"/>
                  <a:pt x="142464" y="18919"/>
                </a:cubicBezTo>
                <a:cubicBezTo>
                  <a:pt x="140465" y="22926"/>
                  <a:pt x="140465" y="22926"/>
                  <a:pt x="140465" y="22926"/>
                </a:cubicBezTo>
                <a:cubicBezTo>
                  <a:pt x="136467" y="24929"/>
                  <a:pt x="136467" y="24929"/>
                  <a:pt x="136467" y="24929"/>
                </a:cubicBezTo>
                <a:cubicBezTo>
                  <a:pt x="136467" y="24929"/>
                  <a:pt x="132469" y="26933"/>
                  <a:pt x="128471" y="28936"/>
                </a:cubicBezTo>
                <a:cubicBezTo>
                  <a:pt x="124473" y="28936"/>
                  <a:pt x="128471" y="32942"/>
                  <a:pt x="128471" y="32942"/>
                </a:cubicBezTo>
                <a:cubicBezTo>
                  <a:pt x="128471" y="34946"/>
                  <a:pt x="126472" y="38952"/>
                  <a:pt x="130470" y="38952"/>
                </a:cubicBezTo>
                <a:cubicBezTo>
                  <a:pt x="132469" y="40956"/>
                  <a:pt x="132469" y="42959"/>
                  <a:pt x="132469" y="44962"/>
                </a:cubicBezTo>
                <a:cubicBezTo>
                  <a:pt x="130470" y="48969"/>
                  <a:pt x="132469" y="50972"/>
                  <a:pt x="136467" y="52975"/>
                </a:cubicBezTo>
                <a:cubicBezTo>
                  <a:pt x="140465" y="52975"/>
                  <a:pt x="140465" y="56982"/>
                  <a:pt x="140465" y="60988"/>
                </a:cubicBezTo>
                <a:cubicBezTo>
                  <a:pt x="138466" y="64995"/>
                  <a:pt x="136467" y="71005"/>
                  <a:pt x="136467" y="71005"/>
                </a:cubicBezTo>
                <a:cubicBezTo>
                  <a:pt x="136467" y="73008"/>
                  <a:pt x="134468" y="79018"/>
                  <a:pt x="134468" y="79018"/>
                </a:cubicBezTo>
                <a:cubicBezTo>
                  <a:pt x="132469" y="79018"/>
                  <a:pt x="128471" y="81021"/>
                  <a:pt x="126472" y="81021"/>
                </a:cubicBezTo>
                <a:cubicBezTo>
                  <a:pt x="126472" y="83024"/>
                  <a:pt x="120474" y="83024"/>
                  <a:pt x="118475" y="83024"/>
                </a:cubicBezTo>
                <a:cubicBezTo>
                  <a:pt x="116476" y="81021"/>
                  <a:pt x="114477" y="79018"/>
                  <a:pt x="114477" y="77014"/>
                </a:cubicBezTo>
                <a:cubicBezTo>
                  <a:pt x="112478" y="75011"/>
                  <a:pt x="106481" y="69001"/>
                  <a:pt x="104482" y="69001"/>
                </a:cubicBezTo>
                <a:cubicBezTo>
                  <a:pt x="102483" y="66998"/>
                  <a:pt x="98485" y="66998"/>
                  <a:pt x="98485" y="66998"/>
                </a:cubicBezTo>
                <a:cubicBezTo>
                  <a:pt x="96485" y="66998"/>
                  <a:pt x="88489" y="64995"/>
                  <a:pt x="88489" y="64995"/>
                </a:cubicBezTo>
                <a:cubicBezTo>
                  <a:pt x="86490" y="64995"/>
                  <a:pt x="80493" y="64995"/>
                  <a:pt x="78494" y="64995"/>
                </a:cubicBezTo>
                <a:cubicBezTo>
                  <a:pt x="76495" y="64995"/>
                  <a:pt x="76495" y="64995"/>
                  <a:pt x="74496" y="66998"/>
                </a:cubicBezTo>
                <a:cubicBezTo>
                  <a:pt x="74496" y="66998"/>
                  <a:pt x="72497" y="69001"/>
                  <a:pt x="70498" y="69001"/>
                </a:cubicBezTo>
                <a:cubicBezTo>
                  <a:pt x="70498" y="69001"/>
                  <a:pt x="66499" y="69001"/>
                  <a:pt x="64500" y="69001"/>
                </a:cubicBezTo>
                <a:cubicBezTo>
                  <a:pt x="64500" y="69001"/>
                  <a:pt x="64500" y="66998"/>
                  <a:pt x="62501" y="66998"/>
                </a:cubicBezTo>
                <a:cubicBezTo>
                  <a:pt x="60502" y="64995"/>
                  <a:pt x="62501" y="60988"/>
                  <a:pt x="64500" y="60988"/>
                </a:cubicBezTo>
                <a:cubicBezTo>
                  <a:pt x="64500" y="60988"/>
                  <a:pt x="66499" y="58985"/>
                  <a:pt x="66499" y="56982"/>
                </a:cubicBezTo>
                <a:cubicBezTo>
                  <a:pt x="66499" y="54978"/>
                  <a:pt x="66499" y="50972"/>
                  <a:pt x="64500" y="50972"/>
                </a:cubicBezTo>
                <a:cubicBezTo>
                  <a:pt x="62501" y="48969"/>
                  <a:pt x="60502" y="48969"/>
                  <a:pt x="58503" y="54978"/>
                </a:cubicBezTo>
                <a:cubicBezTo>
                  <a:pt x="56504" y="58985"/>
                  <a:pt x="50507" y="56982"/>
                  <a:pt x="50507" y="56982"/>
                </a:cubicBezTo>
                <a:cubicBezTo>
                  <a:pt x="50507" y="56982"/>
                  <a:pt x="48508" y="52975"/>
                  <a:pt x="46509" y="52975"/>
                </a:cubicBezTo>
                <a:cubicBezTo>
                  <a:pt x="42510" y="50972"/>
                  <a:pt x="42510" y="50972"/>
                  <a:pt x="42510" y="46965"/>
                </a:cubicBezTo>
                <a:cubicBezTo>
                  <a:pt x="42510" y="42959"/>
                  <a:pt x="44510" y="40956"/>
                  <a:pt x="46509" y="40956"/>
                </a:cubicBezTo>
                <a:cubicBezTo>
                  <a:pt x="46509" y="38952"/>
                  <a:pt x="44510" y="38952"/>
                  <a:pt x="42510" y="36949"/>
                </a:cubicBezTo>
                <a:cubicBezTo>
                  <a:pt x="38512" y="34946"/>
                  <a:pt x="42510" y="32942"/>
                  <a:pt x="44510" y="32942"/>
                </a:cubicBezTo>
                <a:cubicBezTo>
                  <a:pt x="46509" y="32942"/>
                  <a:pt x="46509" y="30939"/>
                  <a:pt x="46509" y="30939"/>
                </a:cubicBezTo>
                <a:cubicBezTo>
                  <a:pt x="46509" y="28936"/>
                  <a:pt x="42510" y="26933"/>
                  <a:pt x="40511" y="28936"/>
                </a:cubicBezTo>
                <a:cubicBezTo>
                  <a:pt x="38512" y="28936"/>
                  <a:pt x="36513" y="28936"/>
                  <a:pt x="36513" y="26933"/>
                </a:cubicBezTo>
                <a:cubicBezTo>
                  <a:pt x="36513" y="24929"/>
                  <a:pt x="38512" y="22926"/>
                  <a:pt x="38512" y="22926"/>
                </a:cubicBezTo>
                <a:cubicBezTo>
                  <a:pt x="38512" y="22926"/>
                  <a:pt x="40511" y="22926"/>
                  <a:pt x="38512" y="20923"/>
                </a:cubicBezTo>
                <a:cubicBezTo>
                  <a:pt x="38512" y="18919"/>
                  <a:pt x="42510" y="18919"/>
                  <a:pt x="42510" y="18919"/>
                </a:cubicBezTo>
                <a:cubicBezTo>
                  <a:pt x="42510" y="18919"/>
                  <a:pt x="46509" y="16916"/>
                  <a:pt x="46509" y="18919"/>
                </a:cubicBezTo>
                <a:cubicBezTo>
                  <a:pt x="48508" y="18919"/>
                  <a:pt x="50507" y="18919"/>
                  <a:pt x="50507" y="18919"/>
                </a:cubicBezTo>
                <a:cubicBezTo>
                  <a:pt x="50507" y="18919"/>
                  <a:pt x="50507" y="16916"/>
                  <a:pt x="52506" y="16916"/>
                </a:cubicBezTo>
                <a:cubicBezTo>
                  <a:pt x="54505" y="16916"/>
                  <a:pt x="54505" y="12910"/>
                  <a:pt x="54505" y="12910"/>
                </a:cubicBezTo>
                <a:cubicBezTo>
                  <a:pt x="54505" y="12910"/>
                  <a:pt x="58503" y="8903"/>
                  <a:pt x="62501" y="6900"/>
                </a:cubicBezTo>
                <a:cubicBezTo>
                  <a:pt x="66499" y="6900"/>
                  <a:pt x="66499" y="8903"/>
                  <a:pt x="68498" y="8903"/>
                </a:cubicBezTo>
                <a:cubicBezTo>
                  <a:pt x="70498" y="8903"/>
                  <a:pt x="72497" y="2893"/>
                  <a:pt x="72497" y="2893"/>
                </a:cubicBezTo>
                <a:cubicBezTo>
                  <a:pt x="72497" y="890"/>
                  <a:pt x="72497" y="890"/>
                  <a:pt x="72497" y="89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2" name="Sri Lanka"/>
          <p:cNvSpPr>
            <a:spLocks/>
          </p:cNvSpPr>
          <p:nvPr/>
        </p:nvSpPr>
        <p:spPr bwMode="auto">
          <a:xfrm>
            <a:off x="8350365" y="3756966"/>
            <a:ext cx="73494" cy="129022"/>
          </a:xfrm>
          <a:custGeom>
            <a:avLst/>
            <a:gdLst>
              <a:gd name="T0" fmla="*/ 3 w 36"/>
              <a:gd name="T1" fmla="*/ 1 h 63"/>
              <a:gd name="T2" fmla="*/ 6 w 36"/>
              <a:gd name="T3" fmla="*/ 1 h 63"/>
              <a:gd name="T4" fmla="*/ 11 w 36"/>
              <a:gd name="T5" fmla="*/ 3 h 63"/>
              <a:gd name="T6" fmla="*/ 13 w 36"/>
              <a:gd name="T7" fmla="*/ 5 h 63"/>
              <a:gd name="T8" fmla="*/ 17 w 36"/>
              <a:gd name="T9" fmla="*/ 8 h 63"/>
              <a:gd name="T10" fmla="*/ 18 w 36"/>
              <a:gd name="T11" fmla="*/ 12 h 63"/>
              <a:gd name="T12" fmla="*/ 19 w 36"/>
              <a:gd name="T13" fmla="*/ 15 h 63"/>
              <a:gd name="T14" fmla="*/ 22 w 36"/>
              <a:gd name="T15" fmla="*/ 17 h 63"/>
              <a:gd name="T16" fmla="*/ 23 w 36"/>
              <a:gd name="T17" fmla="*/ 21 h 63"/>
              <a:gd name="T18" fmla="*/ 27 w 36"/>
              <a:gd name="T19" fmla="*/ 24 h 63"/>
              <a:gd name="T20" fmla="*/ 28 w 36"/>
              <a:gd name="T21" fmla="*/ 30 h 63"/>
              <a:gd name="T22" fmla="*/ 30 w 36"/>
              <a:gd name="T23" fmla="*/ 31 h 63"/>
              <a:gd name="T24" fmla="*/ 31 w 36"/>
              <a:gd name="T25" fmla="*/ 35 h 63"/>
              <a:gd name="T26" fmla="*/ 33 w 36"/>
              <a:gd name="T27" fmla="*/ 35 h 63"/>
              <a:gd name="T28" fmla="*/ 34 w 36"/>
              <a:gd name="T29" fmla="*/ 34 h 63"/>
              <a:gd name="T30" fmla="*/ 36 w 36"/>
              <a:gd name="T31" fmla="*/ 38 h 63"/>
              <a:gd name="T32" fmla="*/ 36 w 36"/>
              <a:gd name="T33" fmla="*/ 44 h 63"/>
              <a:gd name="T34" fmla="*/ 36 w 36"/>
              <a:gd name="T35" fmla="*/ 50 h 63"/>
              <a:gd name="T36" fmla="*/ 31 w 36"/>
              <a:gd name="T37" fmla="*/ 56 h 63"/>
              <a:gd name="T38" fmla="*/ 27 w 36"/>
              <a:gd name="T39" fmla="*/ 59 h 63"/>
              <a:gd name="T40" fmla="*/ 23 w 36"/>
              <a:gd name="T41" fmla="*/ 61 h 63"/>
              <a:gd name="T42" fmla="*/ 18 w 36"/>
              <a:gd name="T43" fmla="*/ 62 h 63"/>
              <a:gd name="T44" fmla="*/ 12 w 36"/>
              <a:gd name="T45" fmla="*/ 63 h 63"/>
              <a:gd name="T46" fmla="*/ 8 w 36"/>
              <a:gd name="T47" fmla="*/ 61 h 63"/>
              <a:gd name="T48" fmla="*/ 5 w 36"/>
              <a:gd name="T49" fmla="*/ 58 h 63"/>
              <a:gd name="T50" fmla="*/ 2 w 36"/>
              <a:gd name="T51" fmla="*/ 55 h 63"/>
              <a:gd name="T52" fmla="*/ 1 w 36"/>
              <a:gd name="T53" fmla="*/ 51 h 63"/>
              <a:gd name="T54" fmla="*/ 3 w 36"/>
              <a:gd name="T55" fmla="*/ 46 h 63"/>
              <a:gd name="T56" fmla="*/ 3 w 36"/>
              <a:gd name="T57" fmla="*/ 43 h 63"/>
              <a:gd name="T58" fmla="*/ 1 w 36"/>
              <a:gd name="T59" fmla="*/ 38 h 63"/>
              <a:gd name="T60" fmla="*/ 0 w 36"/>
              <a:gd name="T61" fmla="*/ 34 h 63"/>
              <a:gd name="T62" fmla="*/ 0 w 36"/>
              <a:gd name="T63" fmla="*/ 29 h 63"/>
              <a:gd name="T64" fmla="*/ 1 w 36"/>
              <a:gd name="T65" fmla="*/ 27 h 63"/>
              <a:gd name="T66" fmla="*/ 2 w 36"/>
              <a:gd name="T67" fmla="*/ 23 h 63"/>
              <a:gd name="T68" fmla="*/ 3 w 36"/>
              <a:gd name="T69" fmla="*/ 20 h 63"/>
              <a:gd name="T70" fmla="*/ 3 w 36"/>
              <a:gd name="T71" fmla="*/ 17 h 63"/>
              <a:gd name="T72" fmla="*/ 4 w 36"/>
              <a:gd name="T73" fmla="*/ 15 h 63"/>
              <a:gd name="T74" fmla="*/ 5 w 36"/>
              <a:gd name="T75" fmla="*/ 13 h 63"/>
              <a:gd name="T76" fmla="*/ 5 w 36"/>
              <a:gd name="T77" fmla="*/ 10 h 63"/>
              <a:gd name="T78" fmla="*/ 6 w 36"/>
              <a:gd name="T79" fmla="*/ 8 h 63"/>
              <a:gd name="T80" fmla="*/ 7 w 36"/>
              <a:gd name="T81" fmla="*/ 7 h 63"/>
              <a:gd name="T82" fmla="*/ 5 w 36"/>
              <a:gd name="T83" fmla="*/ 5 h 63"/>
              <a:gd name="T84" fmla="*/ 3 w 36"/>
              <a:gd name="T85" fmla="*/ 3 h 63"/>
              <a:gd name="T86" fmla="*/ 3 w 36"/>
              <a:gd name="T87"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63">
                <a:moveTo>
                  <a:pt x="3" y="1"/>
                </a:moveTo>
                <a:cubicBezTo>
                  <a:pt x="3" y="1"/>
                  <a:pt x="5" y="0"/>
                  <a:pt x="6" y="1"/>
                </a:cubicBezTo>
                <a:cubicBezTo>
                  <a:pt x="7" y="1"/>
                  <a:pt x="10" y="2"/>
                  <a:pt x="11" y="3"/>
                </a:cubicBezTo>
                <a:cubicBezTo>
                  <a:pt x="11" y="4"/>
                  <a:pt x="13" y="4"/>
                  <a:pt x="13" y="5"/>
                </a:cubicBezTo>
                <a:cubicBezTo>
                  <a:pt x="14" y="6"/>
                  <a:pt x="16" y="6"/>
                  <a:pt x="17" y="8"/>
                </a:cubicBezTo>
                <a:cubicBezTo>
                  <a:pt x="18" y="9"/>
                  <a:pt x="18" y="11"/>
                  <a:pt x="18" y="12"/>
                </a:cubicBezTo>
                <a:cubicBezTo>
                  <a:pt x="18" y="13"/>
                  <a:pt x="19" y="14"/>
                  <a:pt x="19" y="15"/>
                </a:cubicBezTo>
                <a:cubicBezTo>
                  <a:pt x="20" y="16"/>
                  <a:pt x="22" y="17"/>
                  <a:pt x="22" y="17"/>
                </a:cubicBezTo>
                <a:cubicBezTo>
                  <a:pt x="23" y="18"/>
                  <a:pt x="23" y="20"/>
                  <a:pt x="23" y="21"/>
                </a:cubicBezTo>
                <a:cubicBezTo>
                  <a:pt x="23" y="22"/>
                  <a:pt x="26" y="23"/>
                  <a:pt x="27" y="24"/>
                </a:cubicBezTo>
                <a:cubicBezTo>
                  <a:pt x="27" y="25"/>
                  <a:pt x="27" y="28"/>
                  <a:pt x="28" y="30"/>
                </a:cubicBezTo>
                <a:cubicBezTo>
                  <a:pt x="29" y="31"/>
                  <a:pt x="30" y="29"/>
                  <a:pt x="30" y="31"/>
                </a:cubicBezTo>
                <a:cubicBezTo>
                  <a:pt x="31" y="33"/>
                  <a:pt x="30" y="34"/>
                  <a:pt x="31" y="35"/>
                </a:cubicBezTo>
                <a:cubicBezTo>
                  <a:pt x="31" y="36"/>
                  <a:pt x="33" y="36"/>
                  <a:pt x="33" y="35"/>
                </a:cubicBezTo>
                <a:cubicBezTo>
                  <a:pt x="33" y="34"/>
                  <a:pt x="33" y="34"/>
                  <a:pt x="34" y="34"/>
                </a:cubicBezTo>
                <a:cubicBezTo>
                  <a:pt x="34" y="34"/>
                  <a:pt x="35" y="37"/>
                  <a:pt x="36" y="38"/>
                </a:cubicBezTo>
                <a:cubicBezTo>
                  <a:pt x="36" y="39"/>
                  <a:pt x="35" y="42"/>
                  <a:pt x="36" y="44"/>
                </a:cubicBezTo>
                <a:cubicBezTo>
                  <a:pt x="36" y="46"/>
                  <a:pt x="36" y="49"/>
                  <a:pt x="36" y="50"/>
                </a:cubicBezTo>
                <a:cubicBezTo>
                  <a:pt x="35" y="51"/>
                  <a:pt x="32" y="55"/>
                  <a:pt x="31" y="56"/>
                </a:cubicBezTo>
                <a:cubicBezTo>
                  <a:pt x="30" y="56"/>
                  <a:pt x="28" y="58"/>
                  <a:pt x="27" y="59"/>
                </a:cubicBezTo>
                <a:cubicBezTo>
                  <a:pt x="26" y="59"/>
                  <a:pt x="23" y="61"/>
                  <a:pt x="23" y="61"/>
                </a:cubicBezTo>
                <a:cubicBezTo>
                  <a:pt x="22" y="61"/>
                  <a:pt x="19" y="62"/>
                  <a:pt x="18" y="62"/>
                </a:cubicBezTo>
                <a:cubicBezTo>
                  <a:pt x="17" y="63"/>
                  <a:pt x="13" y="63"/>
                  <a:pt x="12" y="63"/>
                </a:cubicBezTo>
                <a:cubicBezTo>
                  <a:pt x="11" y="63"/>
                  <a:pt x="9" y="62"/>
                  <a:pt x="8" y="61"/>
                </a:cubicBezTo>
                <a:cubicBezTo>
                  <a:pt x="7" y="61"/>
                  <a:pt x="6" y="59"/>
                  <a:pt x="5" y="58"/>
                </a:cubicBezTo>
                <a:cubicBezTo>
                  <a:pt x="4" y="57"/>
                  <a:pt x="3" y="55"/>
                  <a:pt x="2" y="55"/>
                </a:cubicBezTo>
                <a:cubicBezTo>
                  <a:pt x="2" y="54"/>
                  <a:pt x="1" y="52"/>
                  <a:pt x="1" y="51"/>
                </a:cubicBezTo>
                <a:cubicBezTo>
                  <a:pt x="2" y="50"/>
                  <a:pt x="3" y="46"/>
                  <a:pt x="3" y="46"/>
                </a:cubicBezTo>
                <a:cubicBezTo>
                  <a:pt x="3" y="45"/>
                  <a:pt x="3" y="44"/>
                  <a:pt x="3" y="43"/>
                </a:cubicBezTo>
                <a:cubicBezTo>
                  <a:pt x="3" y="42"/>
                  <a:pt x="2" y="39"/>
                  <a:pt x="1" y="38"/>
                </a:cubicBezTo>
                <a:cubicBezTo>
                  <a:pt x="1" y="37"/>
                  <a:pt x="0" y="35"/>
                  <a:pt x="0" y="34"/>
                </a:cubicBezTo>
                <a:cubicBezTo>
                  <a:pt x="0" y="33"/>
                  <a:pt x="0" y="30"/>
                  <a:pt x="0" y="29"/>
                </a:cubicBezTo>
                <a:cubicBezTo>
                  <a:pt x="0" y="27"/>
                  <a:pt x="0" y="27"/>
                  <a:pt x="1" y="27"/>
                </a:cubicBezTo>
                <a:cubicBezTo>
                  <a:pt x="2" y="26"/>
                  <a:pt x="2" y="24"/>
                  <a:pt x="2" y="23"/>
                </a:cubicBezTo>
                <a:cubicBezTo>
                  <a:pt x="2" y="23"/>
                  <a:pt x="3" y="20"/>
                  <a:pt x="3" y="20"/>
                </a:cubicBezTo>
                <a:cubicBezTo>
                  <a:pt x="3" y="19"/>
                  <a:pt x="3" y="18"/>
                  <a:pt x="3" y="17"/>
                </a:cubicBezTo>
                <a:cubicBezTo>
                  <a:pt x="3" y="16"/>
                  <a:pt x="3" y="15"/>
                  <a:pt x="4" y="15"/>
                </a:cubicBezTo>
                <a:cubicBezTo>
                  <a:pt x="4" y="14"/>
                  <a:pt x="4" y="13"/>
                  <a:pt x="5" y="13"/>
                </a:cubicBezTo>
                <a:cubicBezTo>
                  <a:pt x="5" y="12"/>
                  <a:pt x="5" y="11"/>
                  <a:pt x="5" y="10"/>
                </a:cubicBezTo>
                <a:cubicBezTo>
                  <a:pt x="5" y="9"/>
                  <a:pt x="5" y="9"/>
                  <a:pt x="6" y="8"/>
                </a:cubicBezTo>
                <a:cubicBezTo>
                  <a:pt x="6" y="8"/>
                  <a:pt x="7" y="8"/>
                  <a:pt x="7" y="7"/>
                </a:cubicBezTo>
                <a:cubicBezTo>
                  <a:pt x="7" y="6"/>
                  <a:pt x="5" y="6"/>
                  <a:pt x="5" y="5"/>
                </a:cubicBezTo>
                <a:cubicBezTo>
                  <a:pt x="4" y="5"/>
                  <a:pt x="3" y="4"/>
                  <a:pt x="3" y="3"/>
                </a:cubicBezTo>
                <a:cubicBezTo>
                  <a:pt x="2" y="1"/>
                  <a:pt x="3" y="1"/>
                  <a:pt x="3" y="1"/>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3" name="Pakistan"/>
          <p:cNvSpPr>
            <a:spLocks/>
          </p:cNvSpPr>
          <p:nvPr/>
        </p:nvSpPr>
        <p:spPr bwMode="auto">
          <a:xfrm>
            <a:off x="7799980" y="2845645"/>
            <a:ext cx="390333" cy="463826"/>
          </a:xfrm>
          <a:custGeom>
            <a:avLst/>
            <a:gdLst>
              <a:gd name="T0" fmla="*/ 17 w 190"/>
              <a:gd name="T1" fmla="*/ 181 h 226"/>
              <a:gd name="T2" fmla="*/ 31 w 190"/>
              <a:gd name="T3" fmla="*/ 163 h 226"/>
              <a:gd name="T4" fmla="*/ 24 w 190"/>
              <a:gd name="T5" fmla="*/ 149 h 226"/>
              <a:gd name="T6" fmla="*/ 6 w 190"/>
              <a:gd name="T7" fmla="*/ 126 h 226"/>
              <a:gd name="T8" fmla="*/ 9 w 190"/>
              <a:gd name="T9" fmla="*/ 121 h 226"/>
              <a:gd name="T10" fmla="*/ 45 w 190"/>
              <a:gd name="T11" fmla="*/ 123 h 226"/>
              <a:gd name="T12" fmla="*/ 67 w 190"/>
              <a:gd name="T13" fmla="*/ 110 h 226"/>
              <a:gd name="T14" fmla="*/ 78 w 190"/>
              <a:gd name="T15" fmla="*/ 96 h 226"/>
              <a:gd name="T16" fmla="*/ 96 w 190"/>
              <a:gd name="T17" fmla="*/ 88 h 226"/>
              <a:gd name="T18" fmla="*/ 101 w 190"/>
              <a:gd name="T19" fmla="*/ 86 h 226"/>
              <a:gd name="T20" fmla="*/ 103 w 190"/>
              <a:gd name="T21" fmla="*/ 67 h 226"/>
              <a:gd name="T22" fmla="*/ 106 w 190"/>
              <a:gd name="T23" fmla="*/ 53 h 226"/>
              <a:gd name="T24" fmla="*/ 119 w 190"/>
              <a:gd name="T25" fmla="*/ 50 h 226"/>
              <a:gd name="T26" fmla="*/ 124 w 190"/>
              <a:gd name="T27" fmla="*/ 36 h 226"/>
              <a:gd name="T28" fmla="*/ 121 w 190"/>
              <a:gd name="T29" fmla="*/ 16 h 226"/>
              <a:gd name="T30" fmla="*/ 138 w 190"/>
              <a:gd name="T31" fmla="*/ 1 h 226"/>
              <a:gd name="T32" fmla="*/ 160 w 190"/>
              <a:gd name="T33" fmla="*/ 0 h 226"/>
              <a:gd name="T34" fmla="*/ 165 w 190"/>
              <a:gd name="T35" fmla="*/ 3 h 226"/>
              <a:gd name="T36" fmla="*/ 158 w 190"/>
              <a:gd name="T37" fmla="*/ 4 h 226"/>
              <a:gd name="T38" fmla="*/ 152 w 190"/>
              <a:gd name="T39" fmla="*/ 10 h 226"/>
              <a:gd name="T40" fmla="*/ 158 w 190"/>
              <a:gd name="T41" fmla="*/ 17 h 226"/>
              <a:gd name="T42" fmla="*/ 164 w 190"/>
              <a:gd name="T43" fmla="*/ 25 h 226"/>
              <a:gd name="T44" fmla="*/ 171 w 190"/>
              <a:gd name="T45" fmla="*/ 31 h 226"/>
              <a:gd name="T46" fmla="*/ 164 w 190"/>
              <a:gd name="T47" fmla="*/ 43 h 226"/>
              <a:gd name="T48" fmla="*/ 166 w 190"/>
              <a:gd name="T49" fmla="*/ 64 h 226"/>
              <a:gd name="T50" fmla="*/ 184 w 190"/>
              <a:gd name="T51" fmla="*/ 76 h 226"/>
              <a:gd name="T52" fmla="*/ 184 w 190"/>
              <a:gd name="T53" fmla="*/ 85 h 226"/>
              <a:gd name="T54" fmla="*/ 183 w 190"/>
              <a:gd name="T55" fmla="*/ 102 h 226"/>
              <a:gd name="T56" fmla="*/ 171 w 190"/>
              <a:gd name="T57" fmla="*/ 110 h 226"/>
              <a:gd name="T58" fmla="*/ 164 w 190"/>
              <a:gd name="T59" fmla="*/ 125 h 226"/>
              <a:gd name="T60" fmla="*/ 156 w 190"/>
              <a:gd name="T61" fmla="*/ 140 h 226"/>
              <a:gd name="T62" fmla="*/ 146 w 190"/>
              <a:gd name="T63" fmla="*/ 154 h 226"/>
              <a:gd name="T64" fmla="*/ 131 w 190"/>
              <a:gd name="T65" fmla="*/ 152 h 226"/>
              <a:gd name="T66" fmla="*/ 121 w 190"/>
              <a:gd name="T67" fmla="*/ 164 h 226"/>
              <a:gd name="T68" fmla="*/ 124 w 190"/>
              <a:gd name="T69" fmla="*/ 174 h 226"/>
              <a:gd name="T70" fmla="*/ 128 w 190"/>
              <a:gd name="T71" fmla="*/ 184 h 226"/>
              <a:gd name="T72" fmla="*/ 136 w 190"/>
              <a:gd name="T73" fmla="*/ 193 h 226"/>
              <a:gd name="T74" fmla="*/ 140 w 190"/>
              <a:gd name="T75" fmla="*/ 204 h 226"/>
              <a:gd name="T76" fmla="*/ 138 w 190"/>
              <a:gd name="T77" fmla="*/ 215 h 226"/>
              <a:gd name="T78" fmla="*/ 130 w 190"/>
              <a:gd name="T79" fmla="*/ 215 h 226"/>
              <a:gd name="T80" fmla="*/ 120 w 190"/>
              <a:gd name="T81" fmla="*/ 217 h 226"/>
              <a:gd name="T82" fmla="*/ 110 w 190"/>
              <a:gd name="T83" fmla="*/ 216 h 226"/>
              <a:gd name="T84" fmla="*/ 106 w 190"/>
              <a:gd name="T85" fmla="*/ 222 h 226"/>
              <a:gd name="T86" fmla="*/ 96 w 190"/>
              <a:gd name="T87" fmla="*/ 223 h 226"/>
              <a:gd name="T88" fmla="*/ 92 w 190"/>
              <a:gd name="T89" fmla="*/ 205 h 226"/>
              <a:gd name="T90" fmla="*/ 84 w 190"/>
              <a:gd name="T91" fmla="*/ 198 h 226"/>
              <a:gd name="T92" fmla="*/ 64 w 190"/>
              <a:gd name="T93" fmla="*/ 196 h 226"/>
              <a:gd name="T94" fmla="*/ 55 w 190"/>
              <a:gd name="T95" fmla="*/ 197 h 226"/>
              <a:gd name="T96" fmla="*/ 38 w 190"/>
              <a:gd name="T97" fmla="*/ 199 h 226"/>
              <a:gd name="T98" fmla="*/ 29 w 190"/>
              <a:gd name="T99" fmla="*/ 198 h 226"/>
              <a:gd name="T100" fmla="*/ 20 w 190"/>
              <a:gd name="T101" fmla="*/ 20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0" h="226">
                <a:moveTo>
                  <a:pt x="15" y="201"/>
                </a:moveTo>
                <a:cubicBezTo>
                  <a:pt x="15" y="201"/>
                  <a:pt x="15" y="199"/>
                  <a:pt x="15" y="197"/>
                </a:cubicBezTo>
                <a:cubicBezTo>
                  <a:pt x="16" y="196"/>
                  <a:pt x="16" y="189"/>
                  <a:pt x="16" y="186"/>
                </a:cubicBezTo>
                <a:cubicBezTo>
                  <a:pt x="16" y="184"/>
                  <a:pt x="16" y="183"/>
                  <a:pt x="17" y="181"/>
                </a:cubicBezTo>
                <a:cubicBezTo>
                  <a:pt x="18" y="179"/>
                  <a:pt x="22" y="177"/>
                  <a:pt x="23" y="176"/>
                </a:cubicBezTo>
                <a:cubicBezTo>
                  <a:pt x="24" y="176"/>
                  <a:pt x="31" y="171"/>
                  <a:pt x="31" y="171"/>
                </a:cubicBezTo>
                <a:cubicBezTo>
                  <a:pt x="31" y="171"/>
                  <a:pt x="33" y="168"/>
                  <a:pt x="33" y="166"/>
                </a:cubicBezTo>
                <a:cubicBezTo>
                  <a:pt x="33" y="165"/>
                  <a:pt x="32" y="163"/>
                  <a:pt x="31" y="163"/>
                </a:cubicBezTo>
                <a:cubicBezTo>
                  <a:pt x="30" y="163"/>
                  <a:pt x="30" y="163"/>
                  <a:pt x="29" y="164"/>
                </a:cubicBezTo>
                <a:cubicBezTo>
                  <a:pt x="28" y="164"/>
                  <a:pt x="27" y="164"/>
                  <a:pt x="26" y="163"/>
                </a:cubicBezTo>
                <a:cubicBezTo>
                  <a:pt x="25" y="163"/>
                  <a:pt x="25" y="162"/>
                  <a:pt x="25" y="160"/>
                </a:cubicBezTo>
                <a:cubicBezTo>
                  <a:pt x="25" y="159"/>
                  <a:pt x="25" y="150"/>
                  <a:pt x="24" y="149"/>
                </a:cubicBezTo>
                <a:cubicBezTo>
                  <a:pt x="24" y="147"/>
                  <a:pt x="23" y="145"/>
                  <a:pt x="22" y="143"/>
                </a:cubicBezTo>
                <a:cubicBezTo>
                  <a:pt x="22" y="142"/>
                  <a:pt x="19" y="143"/>
                  <a:pt x="17" y="142"/>
                </a:cubicBezTo>
                <a:cubicBezTo>
                  <a:pt x="15" y="142"/>
                  <a:pt x="12" y="140"/>
                  <a:pt x="12" y="140"/>
                </a:cubicBezTo>
                <a:cubicBezTo>
                  <a:pt x="6" y="126"/>
                  <a:pt x="6" y="126"/>
                  <a:pt x="6" y="126"/>
                </a:cubicBezTo>
                <a:cubicBezTo>
                  <a:pt x="1" y="123"/>
                  <a:pt x="1" y="123"/>
                  <a:pt x="1" y="123"/>
                </a:cubicBezTo>
                <a:cubicBezTo>
                  <a:pt x="0" y="116"/>
                  <a:pt x="0" y="116"/>
                  <a:pt x="0" y="116"/>
                </a:cubicBezTo>
                <a:cubicBezTo>
                  <a:pt x="0" y="116"/>
                  <a:pt x="4" y="118"/>
                  <a:pt x="5" y="118"/>
                </a:cubicBezTo>
                <a:cubicBezTo>
                  <a:pt x="6" y="119"/>
                  <a:pt x="9" y="121"/>
                  <a:pt x="9" y="121"/>
                </a:cubicBezTo>
                <a:cubicBezTo>
                  <a:pt x="10" y="122"/>
                  <a:pt x="14" y="122"/>
                  <a:pt x="15" y="122"/>
                </a:cubicBezTo>
                <a:cubicBezTo>
                  <a:pt x="17" y="123"/>
                  <a:pt x="23" y="123"/>
                  <a:pt x="24" y="123"/>
                </a:cubicBezTo>
                <a:cubicBezTo>
                  <a:pt x="26" y="123"/>
                  <a:pt x="37" y="122"/>
                  <a:pt x="38" y="122"/>
                </a:cubicBezTo>
                <a:cubicBezTo>
                  <a:pt x="39" y="122"/>
                  <a:pt x="43" y="122"/>
                  <a:pt x="45" y="123"/>
                </a:cubicBezTo>
                <a:cubicBezTo>
                  <a:pt x="46" y="123"/>
                  <a:pt x="52" y="125"/>
                  <a:pt x="53" y="124"/>
                </a:cubicBezTo>
                <a:cubicBezTo>
                  <a:pt x="54" y="124"/>
                  <a:pt x="61" y="122"/>
                  <a:pt x="62" y="121"/>
                </a:cubicBezTo>
                <a:cubicBezTo>
                  <a:pt x="62" y="121"/>
                  <a:pt x="67" y="118"/>
                  <a:pt x="67" y="117"/>
                </a:cubicBezTo>
                <a:cubicBezTo>
                  <a:pt x="68" y="116"/>
                  <a:pt x="68" y="111"/>
                  <a:pt x="67" y="110"/>
                </a:cubicBezTo>
                <a:cubicBezTo>
                  <a:pt x="67" y="108"/>
                  <a:pt x="66" y="103"/>
                  <a:pt x="66" y="103"/>
                </a:cubicBezTo>
                <a:cubicBezTo>
                  <a:pt x="66" y="103"/>
                  <a:pt x="69" y="97"/>
                  <a:pt x="70" y="96"/>
                </a:cubicBezTo>
                <a:cubicBezTo>
                  <a:pt x="71" y="95"/>
                  <a:pt x="72" y="96"/>
                  <a:pt x="73" y="96"/>
                </a:cubicBezTo>
                <a:cubicBezTo>
                  <a:pt x="74" y="96"/>
                  <a:pt x="77" y="97"/>
                  <a:pt x="78" y="96"/>
                </a:cubicBezTo>
                <a:cubicBezTo>
                  <a:pt x="79" y="96"/>
                  <a:pt x="80" y="94"/>
                  <a:pt x="81" y="93"/>
                </a:cubicBezTo>
                <a:cubicBezTo>
                  <a:pt x="81" y="92"/>
                  <a:pt x="85" y="88"/>
                  <a:pt x="87" y="87"/>
                </a:cubicBezTo>
                <a:cubicBezTo>
                  <a:pt x="88" y="86"/>
                  <a:pt x="92" y="88"/>
                  <a:pt x="92" y="88"/>
                </a:cubicBezTo>
                <a:cubicBezTo>
                  <a:pt x="93" y="87"/>
                  <a:pt x="95" y="88"/>
                  <a:pt x="96" y="88"/>
                </a:cubicBezTo>
                <a:cubicBezTo>
                  <a:pt x="97" y="89"/>
                  <a:pt x="97" y="90"/>
                  <a:pt x="97" y="91"/>
                </a:cubicBezTo>
                <a:cubicBezTo>
                  <a:pt x="97" y="92"/>
                  <a:pt x="99" y="94"/>
                  <a:pt x="101" y="93"/>
                </a:cubicBezTo>
                <a:cubicBezTo>
                  <a:pt x="103" y="93"/>
                  <a:pt x="102" y="91"/>
                  <a:pt x="103" y="89"/>
                </a:cubicBezTo>
                <a:cubicBezTo>
                  <a:pt x="103" y="87"/>
                  <a:pt x="102" y="87"/>
                  <a:pt x="101" y="86"/>
                </a:cubicBezTo>
                <a:cubicBezTo>
                  <a:pt x="100" y="84"/>
                  <a:pt x="101" y="81"/>
                  <a:pt x="101" y="80"/>
                </a:cubicBezTo>
                <a:cubicBezTo>
                  <a:pt x="101" y="79"/>
                  <a:pt x="102" y="77"/>
                  <a:pt x="102" y="75"/>
                </a:cubicBezTo>
                <a:cubicBezTo>
                  <a:pt x="102" y="74"/>
                  <a:pt x="101" y="72"/>
                  <a:pt x="101" y="71"/>
                </a:cubicBezTo>
                <a:cubicBezTo>
                  <a:pt x="101" y="69"/>
                  <a:pt x="102" y="68"/>
                  <a:pt x="103" y="67"/>
                </a:cubicBezTo>
                <a:cubicBezTo>
                  <a:pt x="104" y="66"/>
                  <a:pt x="109" y="65"/>
                  <a:pt x="109" y="65"/>
                </a:cubicBezTo>
                <a:cubicBezTo>
                  <a:pt x="109" y="65"/>
                  <a:pt x="110" y="63"/>
                  <a:pt x="111" y="62"/>
                </a:cubicBezTo>
                <a:cubicBezTo>
                  <a:pt x="111" y="61"/>
                  <a:pt x="110" y="58"/>
                  <a:pt x="109" y="57"/>
                </a:cubicBezTo>
                <a:cubicBezTo>
                  <a:pt x="109" y="56"/>
                  <a:pt x="108" y="55"/>
                  <a:pt x="106" y="53"/>
                </a:cubicBezTo>
                <a:cubicBezTo>
                  <a:pt x="104" y="51"/>
                  <a:pt x="105" y="50"/>
                  <a:pt x="105" y="49"/>
                </a:cubicBezTo>
                <a:cubicBezTo>
                  <a:pt x="105" y="48"/>
                  <a:pt x="106" y="49"/>
                  <a:pt x="107" y="49"/>
                </a:cubicBezTo>
                <a:cubicBezTo>
                  <a:pt x="108" y="49"/>
                  <a:pt x="112" y="51"/>
                  <a:pt x="113" y="51"/>
                </a:cubicBezTo>
                <a:cubicBezTo>
                  <a:pt x="115" y="51"/>
                  <a:pt x="117" y="51"/>
                  <a:pt x="119" y="50"/>
                </a:cubicBezTo>
                <a:cubicBezTo>
                  <a:pt x="120" y="50"/>
                  <a:pt x="122" y="48"/>
                  <a:pt x="122" y="48"/>
                </a:cubicBezTo>
                <a:cubicBezTo>
                  <a:pt x="122" y="48"/>
                  <a:pt x="122" y="45"/>
                  <a:pt x="121" y="43"/>
                </a:cubicBezTo>
                <a:cubicBezTo>
                  <a:pt x="121" y="42"/>
                  <a:pt x="121" y="39"/>
                  <a:pt x="122" y="39"/>
                </a:cubicBezTo>
                <a:cubicBezTo>
                  <a:pt x="122" y="38"/>
                  <a:pt x="124" y="37"/>
                  <a:pt x="124" y="36"/>
                </a:cubicBezTo>
                <a:cubicBezTo>
                  <a:pt x="124" y="35"/>
                  <a:pt x="125" y="32"/>
                  <a:pt x="125" y="31"/>
                </a:cubicBezTo>
                <a:cubicBezTo>
                  <a:pt x="125" y="30"/>
                  <a:pt x="124" y="28"/>
                  <a:pt x="123" y="27"/>
                </a:cubicBezTo>
                <a:cubicBezTo>
                  <a:pt x="123" y="25"/>
                  <a:pt x="122" y="24"/>
                  <a:pt x="122" y="22"/>
                </a:cubicBezTo>
                <a:cubicBezTo>
                  <a:pt x="121" y="20"/>
                  <a:pt x="121" y="18"/>
                  <a:pt x="121" y="16"/>
                </a:cubicBezTo>
                <a:cubicBezTo>
                  <a:pt x="122" y="14"/>
                  <a:pt x="126" y="12"/>
                  <a:pt x="126" y="12"/>
                </a:cubicBezTo>
                <a:cubicBezTo>
                  <a:pt x="127" y="12"/>
                  <a:pt x="130" y="9"/>
                  <a:pt x="131" y="8"/>
                </a:cubicBezTo>
                <a:cubicBezTo>
                  <a:pt x="132" y="7"/>
                  <a:pt x="134" y="4"/>
                  <a:pt x="134" y="3"/>
                </a:cubicBezTo>
                <a:cubicBezTo>
                  <a:pt x="134" y="3"/>
                  <a:pt x="138" y="1"/>
                  <a:pt x="138" y="1"/>
                </a:cubicBezTo>
                <a:cubicBezTo>
                  <a:pt x="138" y="1"/>
                  <a:pt x="144" y="1"/>
                  <a:pt x="145" y="1"/>
                </a:cubicBezTo>
                <a:cubicBezTo>
                  <a:pt x="145" y="1"/>
                  <a:pt x="148" y="1"/>
                  <a:pt x="149" y="1"/>
                </a:cubicBezTo>
                <a:cubicBezTo>
                  <a:pt x="149" y="1"/>
                  <a:pt x="153" y="0"/>
                  <a:pt x="153" y="0"/>
                </a:cubicBezTo>
                <a:cubicBezTo>
                  <a:pt x="154" y="0"/>
                  <a:pt x="160" y="0"/>
                  <a:pt x="160" y="0"/>
                </a:cubicBezTo>
                <a:cubicBezTo>
                  <a:pt x="160" y="0"/>
                  <a:pt x="162" y="0"/>
                  <a:pt x="162" y="0"/>
                </a:cubicBezTo>
                <a:cubicBezTo>
                  <a:pt x="163" y="0"/>
                  <a:pt x="166" y="0"/>
                  <a:pt x="166" y="0"/>
                </a:cubicBezTo>
                <a:cubicBezTo>
                  <a:pt x="166" y="0"/>
                  <a:pt x="166" y="2"/>
                  <a:pt x="166" y="2"/>
                </a:cubicBezTo>
                <a:cubicBezTo>
                  <a:pt x="166" y="3"/>
                  <a:pt x="166" y="3"/>
                  <a:pt x="165" y="3"/>
                </a:cubicBezTo>
                <a:cubicBezTo>
                  <a:pt x="164" y="3"/>
                  <a:pt x="163" y="3"/>
                  <a:pt x="163" y="3"/>
                </a:cubicBezTo>
                <a:cubicBezTo>
                  <a:pt x="163" y="3"/>
                  <a:pt x="162" y="3"/>
                  <a:pt x="162" y="3"/>
                </a:cubicBezTo>
                <a:cubicBezTo>
                  <a:pt x="161" y="3"/>
                  <a:pt x="160" y="3"/>
                  <a:pt x="160" y="4"/>
                </a:cubicBezTo>
                <a:cubicBezTo>
                  <a:pt x="159" y="4"/>
                  <a:pt x="159" y="4"/>
                  <a:pt x="158" y="4"/>
                </a:cubicBezTo>
                <a:cubicBezTo>
                  <a:pt x="158" y="5"/>
                  <a:pt x="158" y="6"/>
                  <a:pt x="158" y="6"/>
                </a:cubicBezTo>
                <a:cubicBezTo>
                  <a:pt x="158" y="6"/>
                  <a:pt x="157" y="7"/>
                  <a:pt x="156" y="8"/>
                </a:cubicBezTo>
                <a:cubicBezTo>
                  <a:pt x="156" y="8"/>
                  <a:pt x="155" y="8"/>
                  <a:pt x="155" y="8"/>
                </a:cubicBezTo>
                <a:cubicBezTo>
                  <a:pt x="154" y="9"/>
                  <a:pt x="152" y="10"/>
                  <a:pt x="152" y="10"/>
                </a:cubicBezTo>
                <a:cubicBezTo>
                  <a:pt x="152" y="11"/>
                  <a:pt x="152" y="13"/>
                  <a:pt x="152" y="14"/>
                </a:cubicBezTo>
                <a:cubicBezTo>
                  <a:pt x="152" y="15"/>
                  <a:pt x="152" y="16"/>
                  <a:pt x="153" y="17"/>
                </a:cubicBezTo>
                <a:cubicBezTo>
                  <a:pt x="154" y="18"/>
                  <a:pt x="156" y="17"/>
                  <a:pt x="156" y="17"/>
                </a:cubicBezTo>
                <a:cubicBezTo>
                  <a:pt x="156" y="17"/>
                  <a:pt x="157" y="17"/>
                  <a:pt x="158" y="17"/>
                </a:cubicBezTo>
                <a:cubicBezTo>
                  <a:pt x="160" y="18"/>
                  <a:pt x="160" y="19"/>
                  <a:pt x="161" y="20"/>
                </a:cubicBezTo>
                <a:cubicBezTo>
                  <a:pt x="161" y="20"/>
                  <a:pt x="162" y="21"/>
                  <a:pt x="162" y="22"/>
                </a:cubicBezTo>
                <a:cubicBezTo>
                  <a:pt x="161" y="24"/>
                  <a:pt x="160" y="24"/>
                  <a:pt x="161" y="25"/>
                </a:cubicBezTo>
                <a:cubicBezTo>
                  <a:pt x="162" y="26"/>
                  <a:pt x="164" y="25"/>
                  <a:pt x="164" y="25"/>
                </a:cubicBezTo>
                <a:cubicBezTo>
                  <a:pt x="165" y="23"/>
                  <a:pt x="166" y="22"/>
                  <a:pt x="167" y="22"/>
                </a:cubicBezTo>
                <a:cubicBezTo>
                  <a:pt x="169" y="23"/>
                  <a:pt x="170" y="24"/>
                  <a:pt x="170" y="25"/>
                </a:cubicBezTo>
                <a:cubicBezTo>
                  <a:pt x="171" y="26"/>
                  <a:pt x="169" y="27"/>
                  <a:pt x="169" y="29"/>
                </a:cubicBezTo>
                <a:cubicBezTo>
                  <a:pt x="170" y="30"/>
                  <a:pt x="171" y="30"/>
                  <a:pt x="171" y="31"/>
                </a:cubicBezTo>
                <a:cubicBezTo>
                  <a:pt x="171" y="31"/>
                  <a:pt x="171" y="33"/>
                  <a:pt x="170" y="33"/>
                </a:cubicBezTo>
                <a:cubicBezTo>
                  <a:pt x="170" y="34"/>
                  <a:pt x="167" y="35"/>
                  <a:pt x="166" y="36"/>
                </a:cubicBezTo>
                <a:cubicBezTo>
                  <a:pt x="166" y="36"/>
                  <a:pt x="164" y="37"/>
                  <a:pt x="164" y="38"/>
                </a:cubicBezTo>
                <a:cubicBezTo>
                  <a:pt x="164" y="39"/>
                  <a:pt x="164" y="42"/>
                  <a:pt x="164" y="43"/>
                </a:cubicBezTo>
                <a:cubicBezTo>
                  <a:pt x="164" y="45"/>
                  <a:pt x="164" y="48"/>
                  <a:pt x="164" y="49"/>
                </a:cubicBezTo>
                <a:cubicBezTo>
                  <a:pt x="164" y="50"/>
                  <a:pt x="163" y="53"/>
                  <a:pt x="163" y="54"/>
                </a:cubicBezTo>
                <a:cubicBezTo>
                  <a:pt x="163" y="55"/>
                  <a:pt x="165" y="59"/>
                  <a:pt x="165" y="60"/>
                </a:cubicBezTo>
                <a:cubicBezTo>
                  <a:pt x="165" y="61"/>
                  <a:pt x="166" y="62"/>
                  <a:pt x="166" y="64"/>
                </a:cubicBezTo>
                <a:cubicBezTo>
                  <a:pt x="167" y="65"/>
                  <a:pt x="169" y="68"/>
                  <a:pt x="170" y="69"/>
                </a:cubicBezTo>
                <a:cubicBezTo>
                  <a:pt x="171" y="71"/>
                  <a:pt x="173" y="71"/>
                  <a:pt x="174" y="71"/>
                </a:cubicBezTo>
                <a:cubicBezTo>
                  <a:pt x="176" y="72"/>
                  <a:pt x="181" y="72"/>
                  <a:pt x="181" y="72"/>
                </a:cubicBezTo>
                <a:cubicBezTo>
                  <a:pt x="181" y="72"/>
                  <a:pt x="183" y="75"/>
                  <a:pt x="184" y="76"/>
                </a:cubicBezTo>
                <a:cubicBezTo>
                  <a:pt x="185" y="78"/>
                  <a:pt x="186" y="78"/>
                  <a:pt x="188" y="79"/>
                </a:cubicBezTo>
                <a:cubicBezTo>
                  <a:pt x="190" y="80"/>
                  <a:pt x="190" y="80"/>
                  <a:pt x="190" y="81"/>
                </a:cubicBezTo>
                <a:cubicBezTo>
                  <a:pt x="190" y="82"/>
                  <a:pt x="189" y="82"/>
                  <a:pt x="188" y="83"/>
                </a:cubicBezTo>
                <a:cubicBezTo>
                  <a:pt x="187" y="83"/>
                  <a:pt x="185" y="84"/>
                  <a:pt x="184" y="85"/>
                </a:cubicBezTo>
                <a:cubicBezTo>
                  <a:pt x="183" y="86"/>
                  <a:pt x="182" y="88"/>
                  <a:pt x="181" y="90"/>
                </a:cubicBezTo>
                <a:cubicBezTo>
                  <a:pt x="181" y="91"/>
                  <a:pt x="181" y="93"/>
                  <a:pt x="180" y="95"/>
                </a:cubicBezTo>
                <a:cubicBezTo>
                  <a:pt x="180" y="96"/>
                  <a:pt x="180" y="98"/>
                  <a:pt x="181" y="99"/>
                </a:cubicBezTo>
                <a:cubicBezTo>
                  <a:pt x="181" y="99"/>
                  <a:pt x="183" y="101"/>
                  <a:pt x="183" y="102"/>
                </a:cubicBezTo>
                <a:cubicBezTo>
                  <a:pt x="182" y="103"/>
                  <a:pt x="181" y="104"/>
                  <a:pt x="180" y="104"/>
                </a:cubicBezTo>
                <a:cubicBezTo>
                  <a:pt x="179" y="105"/>
                  <a:pt x="178" y="105"/>
                  <a:pt x="177" y="106"/>
                </a:cubicBezTo>
                <a:cubicBezTo>
                  <a:pt x="175" y="106"/>
                  <a:pt x="174" y="107"/>
                  <a:pt x="173" y="107"/>
                </a:cubicBezTo>
                <a:cubicBezTo>
                  <a:pt x="173" y="108"/>
                  <a:pt x="171" y="109"/>
                  <a:pt x="171" y="110"/>
                </a:cubicBezTo>
                <a:cubicBezTo>
                  <a:pt x="171" y="111"/>
                  <a:pt x="172" y="111"/>
                  <a:pt x="173" y="112"/>
                </a:cubicBezTo>
                <a:cubicBezTo>
                  <a:pt x="173" y="114"/>
                  <a:pt x="172" y="116"/>
                  <a:pt x="171" y="117"/>
                </a:cubicBezTo>
                <a:cubicBezTo>
                  <a:pt x="171" y="118"/>
                  <a:pt x="169" y="120"/>
                  <a:pt x="168" y="121"/>
                </a:cubicBezTo>
                <a:cubicBezTo>
                  <a:pt x="168" y="121"/>
                  <a:pt x="164" y="124"/>
                  <a:pt x="164" y="125"/>
                </a:cubicBezTo>
                <a:cubicBezTo>
                  <a:pt x="164" y="126"/>
                  <a:pt x="164" y="128"/>
                  <a:pt x="164" y="130"/>
                </a:cubicBezTo>
                <a:cubicBezTo>
                  <a:pt x="164" y="131"/>
                  <a:pt x="162" y="133"/>
                  <a:pt x="162" y="134"/>
                </a:cubicBezTo>
                <a:cubicBezTo>
                  <a:pt x="161" y="134"/>
                  <a:pt x="160" y="135"/>
                  <a:pt x="159" y="136"/>
                </a:cubicBezTo>
                <a:cubicBezTo>
                  <a:pt x="158" y="137"/>
                  <a:pt x="157" y="139"/>
                  <a:pt x="156" y="140"/>
                </a:cubicBezTo>
                <a:cubicBezTo>
                  <a:pt x="156" y="141"/>
                  <a:pt x="155" y="143"/>
                  <a:pt x="154" y="144"/>
                </a:cubicBezTo>
                <a:cubicBezTo>
                  <a:pt x="154" y="145"/>
                  <a:pt x="151" y="147"/>
                  <a:pt x="151" y="147"/>
                </a:cubicBezTo>
                <a:cubicBezTo>
                  <a:pt x="151" y="148"/>
                  <a:pt x="150" y="150"/>
                  <a:pt x="149" y="151"/>
                </a:cubicBezTo>
                <a:cubicBezTo>
                  <a:pt x="149" y="151"/>
                  <a:pt x="147" y="153"/>
                  <a:pt x="146" y="154"/>
                </a:cubicBezTo>
                <a:cubicBezTo>
                  <a:pt x="145" y="155"/>
                  <a:pt x="141" y="156"/>
                  <a:pt x="141" y="156"/>
                </a:cubicBezTo>
                <a:cubicBezTo>
                  <a:pt x="140" y="156"/>
                  <a:pt x="138" y="157"/>
                  <a:pt x="137" y="157"/>
                </a:cubicBezTo>
                <a:cubicBezTo>
                  <a:pt x="137" y="157"/>
                  <a:pt x="134" y="155"/>
                  <a:pt x="134" y="155"/>
                </a:cubicBezTo>
                <a:cubicBezTo>
                  <a:pt x="134" y="154"/>
                  <a:pt x="132" y="152"/>
                  <a:pt x="131" y="152"/>
                </a:cubicBezTo>
                <a:cubicBezTo>
                  <a:pt x="130" y="152"/>
                  <a:pt x="130" y="154"/>
                  <a:pt x="130" y="155"/>
                </a:cubicBezTo>
                <a:cubicBezTo>
                  <a:pt x="129" y="156"/>
                  <a:pt x="127" y="158"/>
                  <a:pt x="127" y="158"/>
                </a:cubicBezTo>
                <a:cubicBezTo>
                  <a:pt x="127" y="158"/>
                  <a:pt x="124" y="161"/>
                  <a:pt x="124" y="162"/>
                </a:cubicBezTo>
                <a:cubicBezTo>
                  <a:pt x="123" y="162"/>
                  <a:pt x="121" y="164"/>
                  <a:pt x="121" y="164"/>
                </a:cubicBezTo>
                <a:cubicBezTo>
                  <a:pt x="120" y="165"/>
                  <a:pt x="119" y="166"/>
                  <a:pt x="119" y="167"/>
                </a:cubicBezTo>
                <a:cubicBezTo>
                  <a:pt x="119" y="167"/>
                  <a:pt x="118" y="169"/>
                  <a:pt x="119" y="170"/>
                </a:cubicBezTo>
                <a:cubicBezTo>
                  <a:pt x="119" y="171"/>
                  <a:pt x="120" y="173"/>
                  <a:pt x="121" y="173"/>
                </a:cubicBezTo>
                <a:cubicBezTo>
                  <a:pt x="122" y="174"/>
                  <a:pt x="124" y="174"/>
                  <a:pt x="124" y="174"/>
                </a:cubicBezTo>
                <a:cubicBezTo>
                  <a:pt x="126" y="175"/>
                  <a:pt x="127" y="175"/>
                  <a:pt x="128" y="175"/>
                </a:cubicBezTo>
                <a:cubicBezTo>
                  <a:pt x="128" y="175"/>
                  <a:pt x="129" y="177"/>
                  <a:pt x="129" y="177"/>
                </a:cubicBezTo>
                <a:cubicBezTo>
                  <a:pt x="129" y="178"/>
                  <a:pt x="129" y="180"/>
                  <a:pt x="129" y="181"/>
                </a:cubicBezTo>
                <a:cubicBezTo>
                  <a:pt x="129" y="181"/>
                  <a:pt x="128" y="183"/>
                  <a:pt x="128" y="184"/>
                </a:cubicBezTo>
                <a:cubicBezTo>
                  <a:pt x="128" y="184"/>
                  <a:pt x="128" y="187"/>
                  <a:pt x="129" y="188"/>
                </a:cubicBezTo>
                <a:cubicBezTo>
                  <a:pt x="129" y="189"/>
                  <a:pt x="131" y="189"/>
                  <a:pt x="131" y="189"/>
                </a:cubicBezTo>
                <a:cubicBezTo>
                  <a:pt x="132" y="190"/>
                  <a:pt x="134" y="190"/>
                  <a:pt x="134" y="191"/>
                </a:cubicBezTo>
                <a:cubicBezTo>
                  <a:pt x="135" y="191"/>
                  <a:pt x="136" y="192"/>
                  <a:pt x="136" y="193"/>
                </a:cubicBezTo>
                <a:cubicBezTo>
                  <a:pt x="136" y="193"/>
                  <a:pt x="135" y="196"/>
                  <a:pt x="135" y="197"/>
                </a:cubicBezTo>
                <a:cubicBezTo>
                  <a:pt x="136" y="198"/>
                  <a:pt x="136" y="199"/>
                  <a:pt x="136" y="199"/>
                </a:cubicBezTo>
                <a:cubicBezTo>
                  <a:pt x="137" y="200"/>
                  <a:pt x="138" y="202"/>
                  <a:pt x="139" y="202"/>
                </a:cubicBezTo>
                <a:cubicBezTo>
                  <a:pt x="139" y="203"/>
                  <a:pt x="140" y="203"/>
                  <a:pt x="140" y="204"/>
                </a:cubicBezTo>
                <a:cubicBezTo>
                  <a:pt x="141" y="205"/>
                  <a:pt x="142" y="209"/>
                  <a:pt x="142" y="209"/>
                </a:cubicBezTo>
                <a:cubicBezTo>
                  <a:pt x="142" y="210"/>
                  <a:pt x="142" y="211"/>
                  <a:pt x="142" y="212"/>
                </a:cubicBezTo>
                <a:cubicBezTo>
                  <a:pt x="142" y="213"/>
                  <a:pt x="141" y="213"/>
                  <a:pt x="141" y="213"/>
                </a:cubicBezTo>
                <a:cubicBezTo>
                  <a:pt x="140" y="214"/>
                  <a:pt x="139" y="215"/>
                  <a:pt x="138" y="215"/>
                </a:cubicBezTo>
                <a:cubicBezTo>
                  <a:pt x="137" y="216"/>
                  <a:pt x="136" y="215"/>
                  <a:pt x="136" y="214"/>
                </a:cubicBezTo>
                <a:cubicBezTo>
                  <a:pt x="135" y="213"/>
                  <a:pt x="135" y="213"/>
                  <a:pt x="134" y="212"/>
                </a:cubicBezTo>
                <a:cubicBezTo>
                  <a:pt x="134" y="212"/>
                  <a:pt x="133" y="212"/>
                  <a:pt x="133" y="212"/>
                </a:cubicBezTo>
                <a:cubicBezTo>
                  <a:pt x="132" y="213"/>
                  <a:pt x="131" y="214"/>
                  <a:pt x="130" y="215"/>
                </a:cubicBezTo>
                <a:cubicBezTo>
                  <a:pt x="130" y="216"/>
                  <a:pt x="129" y="217"/>
                  <a:pt x="129" y="217"/>
                </a:cubicBezTo>
                <a:cubicBezTo>
                  <a:pt x="128" y="217"/>
                  <a:pt x="126" y="219"/>
                  <a:pt x="126" y="219"/>
                </a:cubicBezTo>
                <a:cubicBezTo>
                  <a:pt x="125" y="219"/>
                  <a:pt x="122" y="220"/>
                  <a:pt x="122" y="219"/>
                </a:cubicBezTo>
                <a:cubicBezTo>
                  <a:pt x="121" y="218"/>
                  <a:pt x="120" y="217"/>
                  <a:pt x="120" y="217"/>
                </a:cubicBezTo>
                <a:cubicBezTo>
                  <a:pt x="120" y="216"/>
                  <a:pt x="119" y="216"/>
                  <a:pt x="118" y="216"/>
                </a:cubicBezTo>
                <a:cubicBezTo>
                  <a:pt x="118" y="216"/>
                  <a:pt x="115" y="217"/>
                  <a:pt x="115" y="217"/>
                </a:cubicBezTo>
                <a:cubicBezTo>
                  <a:pt x="114" y="217"/>
                  <a:pt x="113" y="217"/>
                  <a:pt x="112" y="217"/>
                </a:cubicBezTo>
                <a:cubicBezTo>
                  <a:pt x="111" y="217"/>
                  <a:pt x="111" y="217"/>
                  <a:pt x="110" y="216"/>
                </a:cubicBezTo>
                <a:cubicBezTo>
                  <a:pt x="109" y="216"/>
                  <a:pt x="109" y="217"/>
                  <a:pt x="109" y="218"/>
                </a:cubicBezTo>
                <a:cubicBezTo>
                  <a:pt x="109" y="218"/>
                  <a:pt x="108" y="220"/>
                  <a:pt x="108" y="221"/>
                </a:cubicBezTo>
                <a:cubicBezTo>
                  <a:pt x="108" y="221"/>
                  <a:pt x="108" y="221"/>
                  <a:pt x="108" y="222"/>
                </a:cubicBezTo>
                <a:cubicBezTo>
                  <a:pt x="107" y="221"/>
                  <a:pt x="106" y="222"/>
                  <a:pt x="106" y="222"/>
                </a:cubicBezTo>
                <a:cubicBezTo>
                  <a:pt x="106" y="222"/>
                  <a:pt x="104" y="224"/>
                  <a:pt x="103" y="223"/>
                </a:cubicBezTo>
                <a:cubicBezTo>
                  <a:pt x="103" y="222"/>
                  <a:pt x="101" y="223"/>
                  <a:pt x="100" y="224"/>
                </a:cubicBezTo>
                <a:cubicBezTo>
                  <a:pt x="100" y="226"/>
                  <a:pt x="98" y="225"/>
                  <a:pt x="98" y="225"/>
                </a:cubicBezTo>
                <a:cubicBezTo>
                  <a:pt x="98" y="225"/>
                  <a:pt x="99" y="224"/>
                  <a:pt x="96" y="223"/>
                </a:cubicBezTo>
                <a:cubicBezTo>
                  <a:pt x="94" y="222"/>
                  <a:pt x="94" y="218"/>
                  <a:pt x="94" y="218"/>
                </a:cubicBezTo>
                <a:cubicBezTo>
                  <a:pt x="94" y="218"/>
                  <a:pt x="95" y="214"/>
                  <a:pt x="95" y="212"/>
                </a:cubicBezTo>
                <a:cubicBezTo>
                  <a:pt x="95" y="211"/>
                  <a:pt x="94" y="206"/>
                  <a:pt x="94" y="206"/>
                </a:cubicBezTo>
                <a:cubicBezTo>
                  <a:pt x="94" y="206"/>
                  <a:pt x="93" y="205"/>
                  <a:pt x="92" y="205"/>
                </a:cubicBezTo>
                <a:cubicBezTo>
                  <a:pt x="90" y="205"/>
                  <a:pt x="87" y="204"/>
                  <a:pt x="87" y="204"/>
                </a:cubicBezTo>
                <a:cubicBezTo>
                  <a:pt x="87" y="204"/>
                  <a:pt x="84" y="204"/>
                  <a:pt x="82" y="203"/>
                </a:cubicBezTo>
                <a:cubicBezTo>
                  <a:pt x="81" y="202"/>
                  <a:pt x="81" y="201"/>
                  <a:pt x="83" y="200"/>
                </a:cubicBezTo>
                <a:cubicBezTo>
                  <a:pt x="85" y="200"/>
                  <a:pt x="84" y="199"/>
                  <a:pt x="84" y="198"/>
                </a:cubicBezTo>
                <a:cubicBezTo>
                  <a:pt x="83" y="196"/>
                  <a:pt x="84" y="196"/>
                  <a:pt x="80" y="194"/>
                </a:cubicBezTo>
                <a:cubicBezTo>
                  <a:pt x="76" y="192"/>
                  <a:pt x="74" y="194"/>
                  <a:pt x="74" y="194"/>
                </a:cubicBezTo>
                <a:cubicBezTo>
                  <a:pt x="74" y="194"/>
                  <a:pt x="71" y="196"/>
                  <a:pt x="69" y="195"/>
                </a:cubicBezTo>
                <a:cubicBezTo>
                  <a:pt x="67" y="195"/>
                  <a:pt x="64" y="196"/>
                  <a:pt x="64" y="196"/>
                </a:cubicBezTo>
                <a:cubicBezTo>
                  <a:pt x="64" y="196"/>
                  <a:pt x="62" y="197"/>
                  <a:pt x="60" y="196"/>
                </a:cubicBezTo>
                <a:cubicBezTo>
                  <a:pt x="59" y="196"/>
                  <a:pt x="58" y="197"/>
                  <a:pt x="58" y="197"/>
                </a:cubicBezTo>
                <a:cubicBezTo>
                  <a:pt x="58" y="197"/>
                  <a:pt x="58" y="199"/>
                  <a:pt x="56" y="198"/>
                </a:cubicBezTo>
                <a:cubicBezTo>
                  <a:pt x="55" y="198"/>
                  <a:pt x="55" y="196"/>
                  <a:pt x="55" y="197"/>
                </a:cubicBezTo>
                <a:cubicBezTo>
                  <a:pt x="54" y="198"/>
                  <a:pt x="54" y="199"/>
                  <a:pt x="52" y="198"/>
                </a:cubicBezTo>
                <a:cubicBezTo>
                  <a:pt x="50" y="196"/>
                  <a:pt x="48" y="198"/>
                  <a:pt x="47" y="198"/>
                </a:cubicBezTo>
                <a:cubicBezTo>
                  <a:pt x="46" y="198"/>
                  <a:pt x="43" y="199"/>
                  <a:pt x="41" y="198"/>
                </a:cubicBezTo>
                <a:cubicBezTo>
                  <a:pt x="38" y="198"/>
                  <a:pt x="38" y="199"/>
                  <a:pt x="38" y="199"/>
                </a:cubicBezTo>
                <a:cubicBezTo>
                  <a:pt x="38" y="199"/>
                  <a:pt x="36" y="200"/>
                  <a:pt x="35" y="200"/>
                </a:cubicBezTo>
                <a:cubicBezTo>
                  <a:pt x="33" y="199"/>
                  <a:pt x="34" y="200"/>
                  <a:pt x="32" y="200"/>
                </a:cubicBezTo>
                <a:cubicBezTo>
                  <a:pt x="31" y="200"/>
                  <a:pt x="31" y="199"/>
                  <a:pt x="30" y="199"/>
                </a:cubicBezTo>
                <a:cubicBezTo>
                  <a:pt x="30" y="198"/>
                  <a:pt x="29" y="198"/>
                  <a:pt x="29" y="198"/>
                </a:cubicBezTo>
                <a:cubicBezTo>
                  <a:pt x="28" y="199"/>
                  <a:pt x="26" y="200"/>
                  <a:pt x="26" y="200"/>
                </a:cubicBezTo>
                <a:cubicBezTo>
                  <a:pt x="26" y="200"/>
                  <a:pt x="24" y="202"/>
                  <a:pt x="22" y="201"/>
                </a:cubicBezTo>
                <a:cubicBezTo>
                  <a:pt x="20" y="201"/>
                  <a:pt x="23" y="200"/>
                  <a:pt x="22" y="199"/>
                </a:cubicBezTo>
                <a:cubicBezTo>
                  <a:pt x="20" y="198"/>
                  <a:pt x="20" y="199"/>
                  <a:pt x="20" y="201"/>
                </a:cubicBezTo>
                <a:cubicBezTo>
                  <a:pt x="20" y="202"/>
                  <a:pt x="17" y="202"/>
                  <a:pt x="15" y="201"/>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4" name="Nepal"/>
          <p:cNvSpPr>
            <a:spLocks/>
          </p:cNvSpPr>
          <p:nvPr/>
        </p:nvSpPr>
        <p:spPr bwMode="auto">
          <a:xfrm>
            <a:off x="8325867" y="3080824"/>
            <a:ext cx="217214" cy="122489"/>
          </a:xfrm>
          <a:custGeom>
            <a:avLst/>
            <a:gdLst>
              <a:gd name="T0" fmla="*/ 101 w 106"/>
              <a:gd name="T1" fmla="*/ 38 h 60"/>
              <a:gd name="T2" fmla="*/ 94 w 106"/>
              <a:gd name="T3" fmla="*/ 37 h 60"/>
              <a:gd name="T4" fmla="*/ 88 w 106"/>
              <a:gd name="T5" fmla="*/ 36 h 60"/>
              <a:gd name="T6" fmla="*/ 81 w 106"/>
              <a:gd name="T7" fmla="*/ 32 h 60"/>
              <a:gd name="T8" fmla="*/ 73 w 106"/>
              <a:gd name="T9" fmla="*/ 31 h 60"/>
              <a:gd name="T10" fmla="*/ 69 w 106"/>
              <a:gd name="T11" fmla="*/ 27 h 60"/>
              <a:gd name="T12" fmla="*/ 62 w 106"/>
              <a:gd name="T13" fmla="*/ 23 h 60"/>
              <a:gd name="T14" fmla="*/ 58 w 106"/>
              <a:gd name="T15" fmla="*/ 21 h 60"/>
              <a:gd name="T16" fmla="*/ 54 w 106"/>
              <a:gd name="T17" fmla="*/ 20 h 60"/>
              <a:gd name="T18" fmla="*/ 52 w 106"/>
              <a:gd name="T19" fmla="*/ 15 h 60"/>
              <a:gd name="T20" fmla="*/ 46 w 106"/>
              <a:gd name="T21" fmla="*/ 17 h 60"/>
              <a:gd name="T22" fmla="*/ 42 w 106"/>
              <a:gd name="T23" fmla="*/ 11 h 60"/>
              <a:gd name="T24" fmla="*/ 35 w 106"/>
              <a:gd name="T25" fmla="*/ 9 h 60"/>
              <a:gd name="T26" fmla="*/ 30 w 106"/>
              <a:gd name="T27" fmla="*/ 5 h 60"/>
              <a:gd name="T28" fmla="*/ 23 w 106"/>
              <a:gd name="T29" fmla="*/ 0 h 60"/>
              <a:gd name="T30" fmla="*/ 18 w 106"/>
              <a:gd name="T31" fmla="*/ 4 h 60"/>
              <a:gd name="T32" fmla="*/ 11 w 106"/>
              <a:gd name="T33" fmla="*/ 3 h 60"/>
              <a:gd name="T34" fmla="*/ 4 w 106"/>
              <a:gd name="T35" fmla="*/ 7 h 60"/>
              <a:gd name="T36" fmla="*/ 2 w 106"/>
              <a:gd name="T37" fmla="*/ 19 h 60"/>
              <a:gd name="T38" fmla="*/ 4 w 106"/>
              <a:gd name="T39" fmla="*/ 25 h 60"/>
              <a:gd name="T40" fmla="*/ 15 w 106"/>
              <a:gd name="T41" fmla="*/ 29 h 60"/>
              <a:gd name="T42" fmla="*/ 21 w 106"/>
              <a:gd name="T43" fmla="*/ 36 h 60"/>
              <a:gd name="T44" fmla="*/ 29 w 106"/>
              <a:gd name="T45" fmla="*/ 38 h 60"/>
              <a:gd name="T46" fmla="*/ 35 w 106"/>
              <a:gd name="T47" fmla="*/ 40 h 60"/>
              <a:gd name="T48" fmla="*/ 41 w 106"/>
              <a:gd name="T49" fmla="*/ 46 h 60"/>
              <a:gd name="T50" fmla="*/ 50 w 106"/>
              <a:gd name="T51" fmla="*/ 45 h 60"/>
              <a:gd name="T52" fmla="*/ 56 w 106"/>
              <a:gd name="T53" fmla="*/ 44 h 60"/>
              <a:gd name="T54" fmla="*/ 61 w 106"/>
              <a:gd name="T55" fmla="*/ 51 h 60"/>
              <a:gd name="T56" fmla="*/ 73 w 106"/>
              <a:gd name="T57" fmla="*/ 53 h 60"/>
              <a:gd name="T58" fmla="*/ 83 w 106"/>
              <a:gd name="T59" fmla="*/ 57 h 60"/>
              <a:gd name="T60" fmla="*/ 92 w 106"/>
              <a:gd name="T61" fmla="*/ 57 h 60"/>
              <a:gd name="T62" fmla="*/ 101 w 106"/>
              <a:gd name="T63" fmla="*/ 58 h 60"/>
              <a:gd name="T64" fmla="*/ 105 w 106"/>
              <a:gd name="T65" fmla="*/ 57 h 60"/>
              <a:gd name="T66" fmla="*/ 104 w 106"/>
              <a:gd name="T67" fmla="*/ 45 h 60"/>
              <a:gd name="T68" fmla="*/ 103 w 106"/>
              <a:gd name="T69"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60">
                <a:moveTo>
                  <a:pt x="103" y="38"/>
                </a:moveTo>
                <a:cubicBezTo>
                  <a:pt x="103" y="38"/>
                  <a:pt x="102" y="38"/>
                  <a:pt x="101" y="38"/>
                </a:cubicBezTo>
                <a:cubicBezTo>
                  <a:pt x="100" y="38"/>
                  <a:pt x="99" y="38"/>
                  <a:pt x="98" y="38"/>
                </a:cubicBezTo>
                <a:cubicBezTo>
                  <a:pt x="96" y="37"/>
                  <a:pt x="95" y="37"/>
                  <a:pt x="94" y="37"/>
                </a:cubicBezTo>
                <a:cubicBezTo>
                  <a:pt x="92" y="37"/>
                  <a:pt x="92" y="37"/>
                  <a:pt x="91" y="37"/>
                </a:cubicBezTo>
                <a:cubicBezTo>
                  <a:pt x="89" y="37"/>
                  <a:pt x="89" y="37"/>
                  <a:pt x="88" y="36"/>
                </a:cubicBezTo>
                <a:cubicBezTo>
                  <a:pt x="87" y="36"/>
                  <a:pt x="85" y="36"/>
                  <a:pt x="85" y="35"/>
                </a:cubicBezTo>
                <a:cubicBezTo>
                  <a:pt x="84" y="34"/>
                  <a:pt x="82" y="33"/>
                  <a:pt x="81" y="32"/>
                </a:cubicBezTo>
                <a:cubicBezTo>
                  <a:pt x="79" y="32"/>
                  <a:pt x="78" y="31"/>
                  <a:pt x="77" y="32"/>
                </a:cubicBezTo>
                <a:cubicBezTo>
                  <a:pt x="77" y="32"/>
                  <a:pt x="75" y="31"/>
                  <a:pt x="73" y="31"/>
                </a:cubicBezTo>
                <a:cubicBezTo>
                  <a:pt x="71" y="31"/>
                  <a:pt x="71" y="32"/>
                  <a:pt x="71" y="31"/>
                </a:cubicBezTo>
                <a:cubicBezTo>
                  <a:pt x="70" y="30"/>
                  <a:pt x="69" y="28"/>
                  <a:pt x="69" y="27"/>
                </a:cubicBezTo>
                <a:cubicBezTo>
                  <a:pt x="68" y="26"/>
                  <a:pt x="66" y="25"/>
                  <a:pt x="65" y="24"/>
                </a:cubicBezTo>
                <a:cubicBezTo>
                  <a:pt x="65" y="23"/>
                  <a:pt x="63" y="23"/>
                  <a:pt x="62" y="23"/>
                </a:cubicBezTo>
                <a:cubicBezTo>
                  <a:pt x="61" y="23"/>
                  <a:pt x="60" y="23"/>
                  <a:pt x="59" y="23"/>
                </a:cubicBezTo>
                <a:cubicBezTo>
                  <a:pt x="58" y="22"/>
                  <a:pt x="58" y="21"/>
                  <a:pt x="58" y="21"/>
                </a:cubicBezTo>
                <a:cubicBezTo>
                  <a:pt x="58" y="21"/>
                  <a:pt x="57" y="21"/>
                  <a:pt x="56" y="21"/>
                </a:cubicBezTo>
                <a:cubicBezTo>
                  <a:pt x="55" y="21"/>
                  <a:pt x="54" y="21"/>
                  <a:pt x="54" y="20"/>
                </a:cubicBezTo>
                <a:cubicBezTo>
                  <a:pt x="54" y="18"/>
                  <a:pt x="54" y="16"/>
                  <a:pt x="54" y="15"/>
                </a:cubicBezTo>
                <a:cubicBezTo>
                  <a:pt x="53" y="14"/>
                  <a:pt x="52" y="15"/>
                  <a:pt x="52" y="15"/>
                </a:cubicBezTo>
                <a:cubicBezTo>
                  <a:pt x="52" y="15"/>
                  <a:pt x="50" y="15"/>
                  <a:pt x="49" y="15"/>
                </a:cubicBezTo>
                <a:cubicBezTo>
                  <a:pt x="49" y="16"/>
                  <a:pt x="48" y="18"/>
                  <a:pt x="46" y="17"/>
                </a:cubicBezTo>
                <a:cubicBezTo>
                  <a:pt x="44" y="16"/>
                  <a:pt x="45" y="16"/>
                  <a:pt x="44" y="15"/>
                </a:cubicBezTo>
                <a:cubicBezTo>
                  <a:pt x="42" y="14"/>
                  <a:pt x="43" y="12"/>
                  <a:pt x="42" y="11"/>
                </a:cubicBezTo>
                <a:cubicBezTo>
                  <a:pt x="41" y="10"/>
                  <a:pt x="38" y="11"/>
                  <a:pt x="38" y="11"/>
                </a:cubicBezTo>
                <a:cubicBezTo>
                  <a:pt x="38" y="11"/>
                  <a:pt x="36" y="10"/>
                  <a:pt x="35" y="9"/>
                </a:cubicBezTo>
                <a:cubicBezTo>
                  <a:pt x="33" y="8"/>
                  <a:pt x="33" y="8"/>
                  <a:pt x="32" y="7"/>
                </a:cubicBezTo>
                <a:cubicBezTo>
                  <a:pt x="31" y="6"/>
                  <a:pt x="31" y="5"/>
                  <a:pt x="30" y="5"/>
                </a:cubicBezTo>
                <a:cubicBezTo>
                  <a:pt x="29" y="4"/>
                  <a:pt x="27" y="2"/>
                  <a:pt x="26" y="1"/>
                </a:cubicBezTo>
                <a:cubicBezTo>
                  <a:pt x="25" y="0"/>
                  <a:pt x="23" y="0"/>
                  <a:pt x="23" y="0"/>
                </a:cubicBezTo>
                <a:cubicBezTo>
                  <a:pt x="23" y="0"/>
                  <a:pt x="21" y="2"/>
                  <a:pt x="21" y="3"/>
                </a:cubicBezTo>
                <a:cubicBezTo>
                  <a:pt x="20" y="3"/>
                  <a:pt x="18" y="4"/>
                  <a:pt x="18" y="4"/>
                </a:cubicBezTo>
                <a:cubicBezTo>
                  <a:pt x="18" y="4"/>
                  <a:pt x="16" y="3"/>
                  <a:pt x="14" y="3"/>
                </a:cubicBezTo>
                <a:cubicBezTo>
                  <a:pt x="13" y="3"/>
                  <a:pt x="11" y="3"/>
                  <a:pt x="11" y="3"/>
                </a:cubicBezTo>
                <a:cubicBezTo>
                  <a:pt x="11" y="4"/>
                  <a:pt x="8" y="5"/>
                  <a:pt x="7" y="5"/>
                </a:cubicBezTo>
                <a:cubicBezTo>
                  <a:pt x="7" y="6"/>
                  <a:pt x="5" y="6"/>
                  <a:pt x="4" y="7"/>
                </a:cubicBezTo>
                <a:cubicBezTo>
                  <a:pt x="3" y="8"/>
                  <a:pt x="2" y="13"/>
                  <a:pt x="2" y="14"/>
                </a:cubicBezTo>
                <a:cubicBezTo>
                  <a:pt x="2" y="16"/>
                  <a:pt x="3" y="18"/>
                  <a:pt x="2" y="19"/>
                </a:cubicBezTo>
                <a:cubicBezTo>
                  <a:pt x="1" y="20"/>
                  <a:pt x="0" y="21"/>
                  <a:pt x="0" y="23"/>
                </a:cubicBezTo>
                <a:cubicBezTo>
                  <a:pt x="0" y="25"/>
                  <a:pt x="2" y="25"/>
                  <a:pt x="4" y="25"/>
                </a:cubicBezTo>
                <a:cubicBezTo>
                  <a:pt x="5" y="25"/>
                  <a:pt x="8" y="26"/>
                  <a:pt x="9" y="27"/>
                </a:cubicBezTo>
                <a:cubicBezTo>
                  <a:pt x="10" y="28"/>
                  <a:pt x="13" y="28"/>
                  <a:pt x="15" y="29"/>
                </a:cubicBezTo>
                <a:cubicBezTo>
                  <a:pt x="16" y="29"/>
                  <a:pt x="18" y="31"/>
                  <a:pt x="18" y="31"/>
                </a:cubicBezTo>
                <a:cubicBezTo>
                  <a:pt x="18" y="32"/>
                  <a:pt x="21" y="35"/>
                  <a:pt x="21" y="36"/>
                </a:cubicBezTo>
                <a:cubicBezTo>
                  <a:pt x="22" y="37"/>
                  <a:pt x="23" y="37"/>
                  <a:pt x="24" y="37"/>
                </a:cubicBezTo>
                <a:cubicBezTo>
                  <a:pt x="25" y="37"/>
                  <a:pt x="29" y="37"/>
                  <a:pt x="29" y="38"/>
                </a:cubicBezTo>
                <a:cubicBezTo>
                  <a:pt x="30" y="39"/>
                  <a:pt x="31" y="39"/>
                  <a:pt x="32" y="40"/>
                </a:cubicBezTo>
                <a:cubicBezTo>
                  <a:pt x="33" y="40"/>
                  <a:pt x="34" y="40"/>
                  <a:pt x="35" y="40"/>
                </a:cubicBezTo>
                <a:cubicBezTo>
                  <a:pt x="36" y="41"/>
                  <a:pt x="38" y="42"/>
                  <a:pt x="38" y="43"/>
                </a:cubicBezTo>
                <a:cubicBezTo>
                  <a:pt x="39" y="44"/>
                  <a:pt x="40" y="45"/>
                  <a:pt x="41" y="46"/>
                </a:cubicBezTo>
                <a:cubicBezTo>
                  <a:pt x="42" y="46"/>
                  <a:pt x="45" y="47"/>
                  <a:pt x="45" y="46"/>
                </a:cubicBezTo>
                <a:cubicBezTo>
                  <a:pt x="46" y="46"/>
                  <a:pt x="49" y="45"/>
                  <a:pt x="50" y="45"/>
                </a:cubicBezTo>
                <a:cubicBezTo>
                  <a:pt x="50" y="46"/>
                  <a:pt x="51" y="47"/>
                  <a:pt x="52" y="46"/>
                </a:cubicBezTo>
                <a:cubicBezTo>
                  <a:pt x="53" y="45"/>
                  <a:pt x="55" y="44"/>
                  <a:pt x="56" y="44"/>
                </a:cubicBezTo>
                <a:cubicBezTo>
                  <a:pt x="57" y="44"/>
                  <a:pt x="59" y="45"/>
                  <a:pt x="59" y="46"/>
                </a:cubicBezTo>
                <a:cubicBezTo>
                  <a:pt x="59" y="48"/>
                  <a:pt x="60" y="50"/>
                  <a:pt x="61" y="51"/>
                </a:cubicBezTo>
                <a:cubicBezTo>
                  <a:pt x="61" y="52"/>
                  <a:pt x="63" y="53"/>
                  <a:pt x="66" y="52"/>
                </a:cubicBezTo>
                <a:cubicBezTo>
                  <a:pt x="69" y="52"/>
                  <a:pt x="71" y="51"/>
                  <a:pt x="73" y="53"/>
                </a:cubicBezTo>
                <a:cubicBezTo>
                  <a:pt x="76" y="55"/>
                  <a:pt x="77" y="56"/>
                  <a:pt x="78" y="57"/>
                </a:cubicBezTo>
                <a:cubicBezTo>
                  <a:pt x="79" y="57"/>
                  <a:pt x="81" y="57"/>
                  <a:pt x="83" y="57"/>
                </a:cubicBezTo>
                <a:cubicBezTo>
                  <a:pt x="84" y="58"/>
                  <a:pt x="85" y="59"/>
                  <a:pt x="86" y="59"/>
                </a:cubicBezTo>
                <a:cubicBezTo>
                  <a:pt x="87" y="60"/>
                  <a:pt x="90" y="57"/>
                  <a:pt x="92" y="57"/>
                </a:cubicBezTo>
                <a:cubicBezTo>
                  <a:pt x="94" y="57"/>
                  <a:pt x="93" y="58"/>
                  <a:pt x="96" y="58"/>
                </a:cubicBezTo>
                <a:cubicBezTo>
                  <a:pt x="99" y="59"/>
                  <a:pt x="100" y="59"/>
                  <a:pt x="101" y="58"/>
                </a:cubicBezTo>
                <a:cubicBezTo>
                  <a:pt x="102" y="58"/>
                  <a:pt x="104" y="59"/>
                  <a:pt x="104" y="59"/>
                </a:cubicBezTo>
                <a:cubicBezTo>
                  <a:pt x="105" y="57"/>
                  <a:pt x="105" y="57"/>
                  <a:pt x="105" y="57"/>
                </a:cubicBezTo>
                <a:cubicBezTo>
                  <a:pt x="106" y="57"/>
                  <a:pt x="105" y="54"/>
                  <a:pt x="105" y="53"/>
                </a:cubicBezTo>
                <a:cubicBezTo>
                  <a:pt x="105" y="52"/>
                  <a:pt x="104" y="46"/>
                  <a:pt x="104" y="45"/>
                </a:cubicBezTo>
                <a:cubicBezTo>
                  <a:pt x="104" y="44"/>
                  <a:pt x="105" y="42"/>
                  <a:pt x="104" y="41"/>
                </a:cubicBezTo>
                <a:cubicBezTo>
                  <a:pt x="104" y="40"/>
                  <a:pt x="103" y="38"/>
                  <a:pt x="103" y="3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5" name="Bhutan"/>
          <p:cNvSpPr>
            <a:spLocks/>
          </p:cNvSpPr>
          <p:nvPr/>
        </p:nvSpPr>
        <p:spPr bwMode="auto">
          <a:xfrm>
            <a:off x="8557780" y="3139619"/>
            <a:ext cx="88192" cy="47362"/>
          </a:xfrm>
          <a:custGeom>
            <a:avLst/>
            <a:gdLst>
              <a:gd name="T0" fmla="*/ 35 w 43"/>
              <a:gd name="T1" fmla="*/ 6 h 23"/>
              <a:gd name="T2" fmla="*/ 34 w 43"/>
              <a:gd name="T3" fmla="*/ 5 h 23"/>
              <a:gd name="T4" fmla="*/ 32 w 43"/>
              <a:gd name="T5" fmla="*/ 4 h 23"/>
              <a:gd name="T6" fmla="*/ 30 w 43"/>
              <a:gd name="T7" fmla="*/ 4 h 23"/>
              <a:gd name="T8" fmla="*/ 28 w 43"/>
              <a:gd name="T9" fmla="*/ 3 h 23"/>
              <a:gd name="T10" fmla="*/ 24 w 43"/>
              <a:gd name="T11" fmla="*/ 5 h 23"/>
              <a:gd name="T12" fmla="*/ 22 w 43"/>
              <a:gd name="T13" fmla="*/ 4 h 23"/>
              <a:gd name="T14" fmla="*/ 22 w 43"/>
              <a:gd name="T15" fmla="*/ 0 h 23"/>
              <a:gd name="T16" fmla="*/ 18 w 43"/>
              <a:gd name="T17" fmla="*/ 2 h 23"/>
              <a:gd name="T18" fmla="*/ 13 w 43"/>
              <a:gd name="T19" fmla="*/ 4 h 23"/>
              <a:gd name="T20" fmla="*/ 7 w 43"/>
              <a:gd name="T21" fmla="*/ 8 h 23"/>
              <a:gd name="T22" fmla="*/ 2 w 43"/>
              <a:gd name="T23" fmla="*/ 13 h 23"/>
              <a:gd name="T24" fmla="*/ 0 w 43"/>
              <a:gd name="T25" fmla="*/ 17 h 23"/>
              <a:gd name="T26" fmla="*/ 2 w 43"/>
              <a:gd name="T27" fmla="*/ 20 h 23"/>
              <a:gd name="T28" fmla="*/ 7 w 43"/>
              <a:gd name="T29" fmla="*/ 21 h 23"/>
              <a:gd name="T30" fmla="*/ 11 w 43"/>
              <a:gd name="T31" fmla="*/ 21 h 23"/>
              <a:gd name="T32" fmla="*/ 15 w 43"/>
              <a:gd name="T33" fmla="*/ 22 h 23"/>
              <a:gd name="T34" fmla="*/ 18 w 43"/>
              <a:gd name="T35" fmla="*/ 21 h 23"/>
              <a:gd name="T36" fmla="*/ 23 w 43"/>
              <a:gd name="T37" fmla="*/ 22 h 23"/>
              <a:gd name="T38" fmla="*/ 26 w 43"/>
              <a:gd name="T39" fmla="*/ 22 h 23"/>
              <a:gd name="T40" fmla="*/ 29 w 43"/>
              <a:gd name="T41" fmla="*/ 21 h 23"/>
              <a:gd name="T42" fmla="*/ 32 w 43"/>
              <a:gd name="T43" fmla="*/ 20 h 23"/>
              <a:gd name="T44" fmla="*/ 37 w 43"/>
              <a:gd name="T45" fmla="*/ 21 h 23"/>
              <a:gd name="T46" fmla="*/ 39 w 43"/>
              <a:gd name="T47" fmla="*/ 21 h 23"/>
              <a:gd name="T48" fmla="*/ 43 w 43"/>
              <a:gd name="T49" fmla="*/ 21 h 23"/>
              <a:gd name="T50" fmla="*/ 43 w 43"/>
              <a:gd name="T51" fmla="*/ 17 h 23"/>
              <a:gd name="T52" fmla="*/ 43 w 43"/>
              <a:gd name="T53" fmla="*/ 13 h 23"/>
              <a:gd name="T54" fmla="*/ 41 w 43"/>
              <a:gd name="T55" fmla="*/ 11 h 23"/>
              <a:gd name="T56" fmla="*/ 37 w 43"/>
              <a:gd name="T57" fmla="*/ 9 h 23"/>
              <a:gd name="T58" fmla="*/ 35 w 43"/>
              <a:gd name="T5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23">
                <a:moveTo>
                  <a:pt x="35" y="6"/>
                </a:moveTo>
                <a:cubicBezTo>
                  <a:pt x="35" y="6"/>
                  <a:pt x="35" y="6"/>
                  <a:pt x="34" y="5"/>
                </a:cubicBezTo>
                <a:cubicBezTo>
                  <a:pt x="34" y="4"/>
                  <a:pt x="32" y="4"/>
                  <a:pt x="32" y="4"/>
                </a:cubicBezTo>
                <a:cubicBezTo>
                  <a:pt x="32" y="4"/>
                  <a:pt x="30" y="4"/>
                  <a:pt x="30" y="4"/>
                </a:cubicBezTo>
                <a:cubicBezTo>
                  <a:pt x="30" y="3"/>
                  <a:pt x="29" y="3"/>
                  <a:pt x="28" y="3"/>
                </a:cubicBezTo>
                <a:cubicBezTo>
                  <a:pt x="27" y="4"/>
                  <a:pt x="25" y="5"/>
                  <a:pt x="24" y="5"/>
                </a:cubicBezTo>
                <a:cubicBezTo>
                  <a:pt x="22" y="5"/>
                  <a:pt x="22" y="6"/>
                  <a:pt x="22" y="4"/>
                </a:cubicBezTo>
                <a:cubicBezTo>
                  <a:pt x="22" y="2"/>
                  <a:pt x="24" y="1"/>
                  <a:pt x="22" y="0"/>
                </a:cubicBezTo>
                <a:cubicBezTo>
                  <a:pt x="20" y="0"/>
                  <a:pt x="20" y="1"/>
                  <a:pt x="18" y="2"/>
                </a:cubicBezTo>
                <a:cubicBezTo>
                  <a:pt x="16" y="2"/>
                  <a:pt x="14" y="3"/>
                  <a:pt x="13" y="4"/>
                </a:cubicBezTo>
                <a:cubicBezTo>
                  <a:pt x="12" y="4"/>
                  <a:pt x="8" y="7"/>
                  <a:pt x="7" y="8"/>
                </a:cubicBezTo>
                <a:cubicBezTo>
                  <a:pt x="5" y="9"/>
                  <a:pt x="3" y="12"/>
                  <a:pt x="2" y="13"/>
                </a:cubicBezTo>
                <a:cubicBezTo>
                  <a:pt x="1" y="14"/>
                  <a:pt x="0" y="15"/>
                  <a:pt x="0" y="17"/>
                </a:cubicBezTo>
                <a:cubicBezTo>
                  <a:pt x="0" y="18"/>
                  <a:pt x="0" y="19"/>
                  <a:pt x="2" y="20"/>
                </a:cubicBezTo>
                <a:cubicBezTo>
                  <a:pt x="3" y="22"/>
                  <a:pt x="5" y="22"/>
                  <a:pt x="7" y="21"/>
                </a:cubicBezTo>
                <a:cubicBezTo>
                  <a:pt x="9" y="21"/>
                  <a:pt x="10" y="20"/>
                  <a:pt x="11" y="21"/>
                </a:cubicBezTo>
                <a:cubicBezTo>
                  <a:pt x="12" y="21"/>
                  <a:pt x="14" y="23"/>
                  <a:pt x="15" y="22"/>
                </a:cubicBezTo>
                <a:cubicBezTo>
                  <a:pt x="16" y="22"/>
                  <a:pt x="18" y="20"/>
                  <a:pt x="18" y="21"/>
                </a:cubicBezTo>
                <a:cubicBezTo>
                  <a:pt x="19" y="21"/>
                  <a:pt x="22" y="22"/>
                  <a:pt x="23" y="22"/>
                </a:cubicBezTo>
                <a:cubicBezTo>
                  <a:pt x="24" y="22"/>
                  <a:pt x="25" y="22"/>
                  <a:pt x="26" y="22"/>
                </a:cubicBezTo>
                <a:cubicBezTo>
                  <a:pt x="27" y="21"/>
                  <a:pt x="28" y="21"/>
                  <a:pt x="29" y="21"/>
                </a:cubicBezTo>
                <a:cubicBezTo>
                  <a:pt x="30" y="20"/>
                  <a:pt x="30" y="20"/>
                  <a:pt x="32" y="20"/>
                </a:cubicBezTo>
                <a:cubicBezTo>
                  <a:pt x="34" y="20"/>
                  <a:pt x="36" y="21"/>
                  <a:pt x="37" y="21"/>
                </a:cubicBezTo>
                <a:cubicBezTo>
                  <a:pt x="39" y="21"/>
                  <a:pt x="37" y="20"/>
                  <a:pt x="39" y="21"/>
                </a:cubicBezTo>
                <a:cubicBezTo>
                  <a:pt x="41" y="22"/>
                  <a:pt x="43" y="21"/>
                  <a:pt x="43" y="21"/>
                </a:cubicBezTo>
                <a:cubicBezTo>
                  <a:pt x="43" y="20"/>
                  <a:pt x="43" y="18"/>
                  <a:pt x="43" y="17"/>
                </a:cubicBezTo>
                <a:cubicBezTo>
                  <a:pt x="43" y="16"/>
                  <a:pt x="43" y="14"/>
                  <a:pt x="43" y="13"/>
                </a:cubicBezTo>
                <a:cubicBezTo>
                  <a:pt x="43" y="12"/>
                  <a:pt x="42" y="11"/>
                  <a:pt x="41" y="11"/>
                </a:cubicBezTo>
                <a:cubicBezTo>
                  <a:pt x="40" y="10"/>
                  <a:pt x="38" y="10"/>
                  <a:pt x="37" y="9"/>
                </a:cubicBezTo>
                <a:cubicBezTo>
                  <a:pt x="36" y="9"/>
                  <a:pt x="35" y="6"/>
                  <a:pt x="35" y="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6" name="Bangladesh"/>
          <p:cNvSpPr>
            <a:spLocks/>
          </p:cNvSpPr>
          <p:nvPr/>
        </p:nvSpPr>
        <p:spPr bwMode="auto">
          <a:xfrm>
            <a:off x="8539815" y="3198413"/>
            <a:ext cx="137188" cy="171484"/>
          </a:xfrm>
          <a:custGeom>
            <a:avLst/>
            <a:gdLst>
              <a:gd name="T0" fmla="*/ 63 w 67"/>
              <a:gd name="T1" fmla="*/ 65 h 83"/>
              <a:gd name="T2" fmla="*/ 60 w 67"/>
              <a:gd name="T3" fmla="*/ 55 h 83"/>
              <a:gd name="T4" fmla="*/ 58 w 67"/>
              <a:gd name="T5" fmla="*/ 47 h 83"/>
              <a:gd name="T6" fmla="*/ 55 w 67"/>
              <a:gd name="T7" fmla="*/ 42 h 83"/>
              <a:gd name="T8" fmla="*/ 52 w 67"/>
              <a:gd name="T9" fmla="*/ 46 h 83"/>
              <a:gd name="T10" fmla="*/ 49 w 67"/>
              <a:gd name="T11" fmla="*/ 52 h 83"/>
              <a:gd name="T12" fmla="*/ 44 w 67"/>
              <a:gd name="T13" fmla="*/ 41 h 83"/>
              <a:gd name="T14" fmla="*/ 48 w 67"/>
              <a:gd name="T15" fmla="*/ 34 h 83"/>
              <a:gd name="T16" fmla="*/ 54 w 67"/>
              <a:gd name="T17" fmla="*/ 33 h 83"/>
              <a:gd name="T18" fmla="*/ 57 w 67"/>
              <a:gd name="T19" fmla="*/ 27 h 83"/>
              <a:gd name="T20" fmla="*/ 59 w 67"/>
              <a:gd name="T21" fmla="*/ 23 h 83"/>
              <a:gd name="T22" fmla="*/ 54 w 67"/>
              <a:gd name="T23" fmla="*/ 20 h 83"/>
              <a:gd name="T24" fmla="*/ 51 w 67"/>
              <a:gd name="T25" fmla="*/ 18 h 83"/>
              <a:gd name="T26" fmla="*/ 43 w 67"/>
              <a:gd name="T27" fmla="*/ 18 h 83"/>
              <a:gd name="T28" fmla="*/ 35 w 67"/>
              <a:gd name="T29" fmla="*/ 18 h 83"/>
              <a:gd name="T30" fmla="*/ 27 w 67"/>
              <a:gd name="T31" fmla="*/ 16 h 83"/>
              <a:gd name="T32" fmla="*/ 25 w 67"/>
              <a:gd name="T33" fmla="*/ 11 h 83"/>
              <a:gd name="T34" fmla="*/ 22 w 67"/>
              <a:gd name="T35" fmla="*/ 4 h 83"/>
              <a:gd name="T36" fmla="*/ 17 w 67"/>
              <a:gd name="T37" fmla="*/ 6 h 83"/>
              <a:gd name="T38" fmla="*/ 13 w 67"/>
              <a:gd name="T39" fmla="*/ 1 h 83"/>
              <a:gd name="T40" fmla="*/ 10 w 67"/>
              <a:gd name="T41" fmla="*/ 5 h 83"/>
              <a:gd name="T42" fmla="*/ 5 w 67"/>
              <a:gd name="T43" fmla="*/ 1 h 83"/>
              <a:gd name="T44" fmla="*/ 5 w 67"/>
              <a:gd name="T45" fmla="*/ 6 h 83"/>
              <a:gd name="T46" fmla="*/ 1 w 67"/>
              <a:gd name="T47" fmla="*/ 10 h 83"/>
              <a:gd name="T48" fmla="*/ 5 w 67"/>
              <a:gd name="T49" fmla="*/ 16 h 83"/>
              <a:gd name="T50" fmla="*/ 8 w 67"/>
              <a:gd name="T51" fmla="*/ 21 h 83"/>
              <a:gd name="T52" fmla="*/ 2 w 67"/>
              <a:gd name="T53" fmla="*/ 26 h 83"/>
              <a:gd name="T54" fmla="*/ 1 w 67"/>
              <a:gd name="T55" fmla="*/ 35 h 83"/>
              <a:gd name="T56" fmla="*/ 7 w 67"/>
              <a:gd name="T57" fmla="*/ 35 h 83"/>
              <a:gd name="T58" fmla="*/ 10 w 67"/>
              <a:gd name="T59" fmla="*/ 32 h 83"/>
              <a:gd name="T60" fmla="*/ 10 w 67"/>
              <a:gd name="T61" fmla="*/ 37 h 83"/>
              <a:gd name="T62" fmla="*/ 7 w 67"/>
              <a:gd name="T63" fmla="*/ 44 h 83"/>
              <a:gd name="T64" fmla="*/ 14 w 67"/>
              <a:gd name="T65" fmla="*/ 54 h 83"/>
              <a:gd name="T66" fmla="*/ 14 w 67"/>
              <a:gd name="T67" fmla="*/ 61 h 83"/>
              <a:gd name="T68" fmla="*/ 17 w 67"/>
              <a:gd name="T69" fmla="*/ 66 h 83"/>
              <a:gd name="T70" fmla="*/ 18 w 67"/>
              <a:gd name="T71" fmla="*/ 74 h 83"/>
              <a:gd name="T72" fmla="*/ 23 w 67"/>
              <a:gd name="T73" fmla="*/ 74 h 83"/>
              <a:gd name="T74" fmla="*/ 28 w 67"/>
              <a:gd name="T75" fmla="*/ 75 h 83"/>
              <a:gd name="T76" fmla="*/ 35 w 67"/>
              <a:gd name="T77" fmla="*/ 68 h 83"/>
              <a:gd name="T78" fmla="*/ 37 w 67"/>
              <a:gd name="T79" fmla="*/ 57 h 83"/>
              <a:gd name="T80" fmla="*/ 50 w 67"/>
              <a:gd name="T81" fmla="*/ 67 h 83"/>
              <a:gd name="T82" fmla="*/ 57 w 67"/>
              <a:gd name="T83" fmla="*/ 83 h 83"/>
              <a:gd name="T84" fmla="*/ 58 w 67"/>
              <a:gd name="T85" fmla="*/ 79 h 83"/>
              <a:gd name="T86" fmla="*/ 59 w 67"/>
              <a:gd name="T87" fmla="*/ 77 h 83"/>
              <a:gd name="T88" fmla="*/ 63 w 67"/>
              <a:gd name="T89" fmla="*/ 78 h 83"/>
              <a:gd name="T90" fmla="*/ 65 w 67"/>
              <a:gd name="T91" fmla="*/ 75 h 83"/>
              <a:gd name="T92" fmla="*/ 67 w 67"/>
              <a:gd name="T93" fmla="*/ 73 h 83"/>
              <a:gd name="T94" fmla="*/ 65 w 67"/>
              <a:gd name="T95"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 h="83">
                <a:moveTo>
                  <a:pt x="65" y="68"/>
                </a:moveTo>
                <a:cubicBezTo>
                  <a:pt x="63" y="67"/>
                  <a:pt x="63" y="66"/>
                  <a:pt x="63" y="65"/>
                </a:cubicBezTo>
                <a:cubicBezTo>
                  <a:pt x="62" y="64"/>
                  <a:pt x="62" y="63"/>
                  <a:pt x="62" y="61"/>
                </a:cubicBezTo>
                <a:cubicBezTo>
                  <a:pt x="61" y="59"/>
                  <a:pt x="61" y="56"/>
                  <a:pt x="60" y="55"/>
                </a:cubicBezTo>
                <a:cubicBezTo>
                  <a:pt x="60" y="54"/>
                  <a:pt x="60" y="53"/>
                  <a:pt x="59" y="52"/>
                </a:cubicBezTo>
                <a:cubicBezTo>
                  <a:pt x="58" y="51"/>
                  <a:pt x="58" y="48"/>
                  <a:pt x="58" y="47"/>
                </a:cubicBezTo>
                <a:cubicBezTo>
                  <a:pt x="58" y="46"/>
                  <a:pt x="58" y="44"/>
                  <a:pt x="58" y="43"/>
                </a:cubicBezTo>
                <a:cubicBezTo>
                  <a:pt x="57" y="41"/>
                  <a:pt x="57" y="42"/>
                  <a:pt x="55" y="42"/>
                </a:cubicBezTo>
                <a:cubicBezTo>
                  <a:pt x="54" y="42"/>
                  <a:pt x="54" y="43"/>
                  <a:pt x="53" y="43"/>
                </a:cubicBezTo>
                <a:cubicBezTo>
                  <a:pt x="52" y="44"/>
                  <a:pt x="52" y="45"/>
                  <a:pt x="52" y="46"/>
                </a:cubicBezTo>
                <a:cubicBezTo>
                  <a:pt x="52" y="47"/>
                  <a:pt x="52" y="49"/>
                  <a:pt x="52" y="50"/>
                </a:cubicBezTo>
                <a:cubicBezTo>
                  <a:pt x="51" y="51"/>
                  <a:pt x="50" y="52"/>
                  <a:pt x="49" y="52"/>
                </a:cubicBezTo>
                <a:cubicBezTo>
                  <a:pt x="48" y="51"/>
                  <a:pt x="47" y="50"/>
                  <a:pt x="46" y="48"/>
                </a:cubicBezTo>
                <a:cubicBezTo>
                  <a:pt x="45" y="47"/>
                  <a:pt x="44" y="42"/>
                  <a:pt x="44" y="41"/>
                </a:cubicBezTo>
                <a:cubicBezTo>
                  <a:pt x="44" y="40"/>
                  <a:pt x="45" y="37"/>
                  <a:pt x="45" y="36"/>
                </a:cubicBezTo>
                <a:cubicBezTo>
                  <a:pt x="45" y="35"/>
                  <a:pt x="46" y="35"/>
                  <a:pt x="48" y="34"/>
                </a:cubicBezTo>
                <a:cubicBezTo>
                  <a:pt x="48" y="33"/>
                  <a:pt x="51" y="33"/>
                  <a:pt x="52" y="34"/>
                </a:cubicBezTo>
                <a:cubicBezTo>
                  <a:pt x="53" y="34"/>
                  <a:pt x="54" y="33"/>
                  <a:pt x="54" y="33"/>
                </a:cubicBezTo>
                <a:cubicBezTo>
                  <a:pt x="54" y="32"/>
                  <a:pt x="54" y="30"/>
                  <a:pt x="54" y="30"/>
                </a:cubicBezTo>
                <a:cubicBezTo>
                  <a:pt x="54" y="29"/>
                  <a:pt x="57" y="27"/>
                  <a:pt x="57" y="27"/>
                </a:cubicBezTo>
                <a:cubicBezTo>
                  <a:pt x="57" y="27"/>
                  <a:pt x="56" y="26"/>
                  <a:pt x="57" y="25"/>
                </a:cubicBezTo>
                <a:cubicBezTo>
                  <a:pt x="57" y="25"/>
                  <a:pt x="58" y="24"/>
                  <a:pt x="59" y="23"/>
                </a:cubicBezTo>
                <a:cubicBezTo>
                  <a:pt x="59" y="22"/>
                  <a:pt x="58" y="21"/>
                  <a:pt x="57" y="21"/>
                </a:cubicBezTo>
                <a:cubicBezTo>
                  <a:pt x="56" y="21"/>
                  <a:pt x="54" y="20"/>
                  <a:pt x="54" y="20"/>
                </a:cubicBezTo>
                <a:cubicBezTo>
                  <a:pt x="54" y="19"/>
                  <a:pt x="54" y="19"/>
                  <a:pt x="54" y="19"/>
                </a:cubicBezTo>
                <a:cubicBezTo>
                  <a:pt x="54" y="19"/>
                  <a:pt x="52" y="18"/>
                  <a:pt x="51" y="18"/>
                </a:cubicBezTo>
                <a:cubicBezTo>
                  <a:pt x="50" y="18"/>
                  <a:pt x="48" y="18"/>
                  <a:pt x="48" y="18"/>
                </a:cubicBezTo>
                <a:cubicBezTo>
                  <a:pt x="48" y="18"/>
                  <a:pt x="43" y="18"/>
                  <a:pt x="43" y="18"/>
                </a:cubicBezTo>
                <a:cubicBezTo>
                  <a:pt x="41" y="18"/>
                  <a:pt x="40" y="18"/>
                  <a:pt x="39" y="18"/>
                </a:cubicBezTo>
                <a:cubicBezTo>
                  <a:pt x="37" y="18"/>
                  <a:pt x="36" y="18"/>
                  <a:pt x="35" y="18"/>
                </a:cubicBezTo>
                <a:cubicBezTo>
                  <a:pt x="34" y="18"/>
                  <a:pt x="32" y="17"/>
                  <a:pt x="31" y="17"/>
                </a:cubicBezTo>
                <a:cubicBezTo>
                  <a:pt x="30" y="17"/>
                  <a:pt x="28" y="17"/>
                  <a:pt x="27" y="16"/>
                </a:cubicBezTo>
                <a:cubicBezTo>
                  <a:pt x="26" y="16"/>
                  <a:pt x="26" y="16"/>
                  <a:pt x="26" y="14"/>
                </a:cubicBezTo>
                <a:cubicBezTo>
                  <a:pt x="25" y="14"/>
                  <a:pt x="25" y="12"/>
                  <a:pt x="25" y="11"/>
                </a:cubicBezTo>
                <a:cubicBezTo>
                  <a:pt x="25" y="10"/>
                  <a:pt x="24" y="8"/>
                  <a:pt x="24" y="7"/>
                </a:cubicBezTo>
                <a:cubicBezTo>
                  <a:pt x="23" y="6"/>
                  <a:pt x="23" y="5"/>
                  <a:pt x="22" y="4"/>
                </a:cubicBezTo>
                <a:cubicBezTo>
                  <a:pt x="20" y="3"/>
                  <a:pt x="20" y="4"/>
                  <a:pt x="19" y="4"/>
                </a:cubicBezTo>
                <a:cubicBezTo>
                  <a:pt x="18" y="5"/>
                  <a:pt x="18" y="5"/>
                  <a:pt x="17" y="6"/>
                </a:cubicBezTo>
                <a:cubicBezTo>
                  <a:pt x="16" y="7"/>
                  <a:pt x="16" y="6"/>
                  <a:pt x="15" y="5"/>
                </a:cubicBezTo>
                <a:cubicBezTo>
                  <a:pt x="14" y="4"/>
                  <a:pt x="14" y="2"/>
                  <a:pt x="13" y="1"/>
                </a:cubicBezTo>
                <a:cubicBezTo>
                  <a:pt x="12" y="0"/>
                  <a:pt x="11" y="1"/>
                  <a:pt x="11" y="2"/>
                </a:cubicBezTo>
                <a:cubicBezTo>
                  <a:pt x="10" y="3"/>
                  <a:pt x="10" y="5"/>
                  <a:pt x="10" y="5"/>
                </a:cubicBezTo>
                <a:cubicBezTo>
                  <a:pt x="10" y="5"/>
                  <a:pt x="9" y="6"/>
                  <a:pt x="9" y="5"/>
                </a:cubicBezTo>
                <a:cubicBezTo>
                  <a:pt x="8" y="5"/>
                  <a:pt x="7" y="1"/>
                  <a:pt x="5" y="1"/>
                </a:cubicBezTo>
                <a:cubicBezTo>
                  <a:pt x="4" y="1"/>
                  <a:pt x="4" y="1"/>
                  <a:pt x="4" y="2"/>
                </a:cubicBezTo>
                <a:cubicBezTo>
                  <a:pt x="4" y="3"/>
                  <a:pt x="5" y="5"/>
                  <a:pt x="5" y="6"/>
                </a:cubicBezTo>
                <a:cubicBezTo>
                  <a:pt x="5" y="6"/>
                  <a:pt x="4" y="7"/>
                  <a:pt x="4" y="8"/>
                </a:cubicBezTo>
                <a:cubicBezTo>
                  <a:pt x="3" y="8"/>
                  <a:pt x="1" y="9"/>
                  <a:pt x="1" y="10"/>
                </a:cubicBezTo>
                <a:cubicBezTo>
                  <a:pt x="1" y="11"/>
                  <a:pt x="1" y="12"/>
                  <a:pt x="1" y="13"/>
                </a:cubicBezTo>
                <a:cubicBezTo>
                  <a:pt x="1" y="13"/>
                  <a:pt x="4" y="16"/>
                  <a:pt x="5" y="16"/>
                </a:cubicBezTo>
                <a:cubicBezTo>
                  <a:pt x="5" y="17"/>
                  <a:pt x="7" y="17"/>
                  <a:pt x="8" y="18"/>
                </a:cubicBezTo>
                <a:cubicBezTo>
                  <a:pt x="9" y="18"/>
                  <a:pt x="9" y="20"/>
                  <a:pt x="8" y="21"/>
                </a:cubicBezTo>
                <a:cubicBezTo>
                  <a:pt x="7" y="22"/>
                  <a:pt x="5" y="22"/>
                  <a:pt x="4" y="23"/>
                </a:cubicBezTo>
                <a:cubicBezTo>
                  <a:pt x="4" y="24"/>
                  <a:pt x="3" y="25"/>
                  <a:pt x="2" y="26"/>
                </a:cubicBezTo>
                <a:cubicBezTo>
                  <a:pt x="2" y="26"/>
                  <a:pt x="1" y="30"/>
                  <a:pt x="1" y="31"/>
                </a:cubicBezTo>
                <a:cubicBezTo>
                  <a:pt x="0" y="32"/>
                  <a:pt x="1" y="33"/>
                  <a:pt x="1" y="35"/>
                </a:cubicBezTo>
                <a:cubicBezTo>
                  <a:pt x="1" y="36"/>
                  <a:pt x="3" y="37"/>
                  <a:pt x="4" y="37"/>
                </a:cubicBezTo>
                <a:cubicBezTo>
                  <a:pt x="5" y="37"/>
                  <a:pt x="6" y="36"/>
                  <a:pt x="7" y="35"/>
                </a:cubicBezTo>
                <a:cubicBezTo>
                  <a:pt x="7" y="35"/>
                  <a:pt x="8" y="34"/>
                  <a:pt x="8" y="33"/>
                </a:cubicBezTo>
                <a:cubicBezTo>
                  <a:pt x="8" y="33"/>
                  <a:pt x="9" y="32"/>
                  <a:pt x="10" y="32"/>
                </a:cubicBezTo>
                <a:cubicBezTo>
                  <a:pt x="11" y="31"/>
                  <a:pt x="11" y="36"/>
                  <a:pt x="11" y="36"/>
                </a:cubicBezTo>
                <a:cubicBezTo>
                  <a:pt x="11" y="36"/>
                  <a:pt x="11" y="36"/>
                  <a:pt x="10" y="37"/>
                </a:cubicBezTo>
                <a:cubicBezTo>
                  <a:pt x="9" y="38"/>
                  <a:pt x="8" y="39"/>
                  <a:pt x="8" y="40"/>
                </a:cubicBezTo>
                <a:cubicBezTo>
                  <a:pt x="7" y="41"/>
                  <a:pt x="7" y="43"/>
                  <a:pt x="7" y="44"/>
                </a:cubicBezTo>
                <a:cubicBezTo>
                  <a:pt x="7" y="46"/>
                  <a:pt x="10" y="48"/>
                  <a:pt x="10" y="49"/>
                </a:cubicBezTo>
                <a:cubicBezTo>
                  <a:pt x="11" y="50"/>
                  <a:pt x="13" y="53"/>
                  <a:pt x="14" y="54"/>
                </a:cubicBezTo>
                <a:cubicBezTo>
                  <a:pt x="14" y="54"/>
                  <a:pt x="14" y="56"/>
                  <a:pt x="14" y="57"/>
                </a:cubicBezTo>
                <a:cubicBezTo>
                  <a:pt x="14" y="58"/>
                  <a:pt x="14" y="61"/>
                  <a:pt x="14" y="61"/>
                </a:cubicBezTo>
                <a:cubicBezTo>
                  <a:pt x="14" y="62"/>
                  <a:pt x="16" y="64"/>
                  <a:pt x="16" y="64"/>
                </a:cubicBezTo>
                <a:cubicBezTo>
                  <a:pt x="16" y="65"/>
                  <a:pt x="17" y="66"/>
                  <a:pt x="17" y="66"/>
                </a:cubicBezTo>
                <a:cubicBezTo>
                  <a:pt x="17" y="67"/>
                  <a:pt x="18" y="69"/>
                  <a:pt x="18" y="69"/>
                </a:cubicBezTo>
                <a:cubicBezTo>
                  <a:pt x="18" y="69"/>
                  <a:pt x="18" y="74"/>
                  <a:pt x="18" y="74"/>
                </a:cubicBezTo>
                <a:cubicBezTo>
                  <a:pt x="19" y="74"/>
                  <a:pt x="19" y="74"/>
                  <a:pt x="20" y="75"/>
                </a:cubicBezTo>
                <a:cubicBezTo>
                  <a:pt x="20" y="76"/>
                  <a:pt x="22" y="75"/>
                  <a:pt x="23" y="74"/>
                </a:cubicBezTo>
                <a:cubicBezTo>
                  <a:pt x="24" y="72"/>
                  <a:pt x="24" y="71"/>
                  <a:pt x="26" y="71"/>
                </a:cubicBezTo>
                <a:cubicBezTo>
                  <a:pt x="27" y="71"/>
                  <a:pt x="26" y="74"/>
                  <a:pt x="28" y="75"/>
                </a:cubicBezTo>
                <a:cubicBezTo>
                  <a:pt x="30" y="75"/>
                  <a:pt x="29" y="70"/>
                  <a:pt x="31" y="70"/>
                </a:cubicBezTo>
                <a:cubicBezTo>
                  <a:pt x="33" y="70"/>
                  <a:pt x="35" y="71"/>
                  <a:pt x="35" y="68"/>
                </a:cubicBezTo>
                <a:cubicBezTo>
                  <a:pt x="36" y="66"/>
                  <a:pt x="35" y="64"/>
                  <a:pt x="35" y="62"/>
                </a:cubicBezTo>
                <a:cubicBezTo>
                  <a:pt x="34" y="60"/>
                  <a:pt x="34" y="56"/>
                  <a:pt x="37" y="57"/>
                </a:cubicBezTo>
                <a:cubicBezTo>
                  <a:pt x="39" y="58"/>
                  <a:pt x="41" y="60"/>
                  <a:pt x="43" y="60"/>
                </a:cubicBezTo>
                <a:cubicBezTo>
                  <a:pt x="45" y="61"/>
                  <a:pt x="47" y="62"/>
                  <a:pt x="50" y="67"/>
                </a:cubicBezTo>
                <a:cubicBezTo>
                  <a:pt x="52" y="71"/>
                  <a:pt x="54" y="75"/>
                  <a:pt x="56" y="79"/>
                </a:cubicBezTo>
                <a:cubicBezTo>
                  <a:pt x="57" y="81"/>
                  <a:pt x="57" y="82"/>
                  <a:pt x="57" y="83"/>
                </a:cubicBezTo>
                <a:cubicBezTo>
                  <a:pt x="57" y="83"/>
                  <a:pt x="58" y="83"/>
                  <a:pt x="58" y="82"/>
                </a:cubicBezTo>
                <a:cubicBezTo>
                  <a:pt x="58" y="81"/>
                  <a:pt x="58" y="80"/>
                  <a:pt x="58" y="79"/>
                </a:cubicBezTo>
                <a:cubicBezTo>
                  <a:pt x="58" y="79"/>
                  <a:pt x="58" y="78"/>
                  <a:pt x="58" y="77"/>
                </a:cubicBezTo>
                <a:cubicBezTo>
                  <a:pt x="58" y="77"/>
                  <a:pt x="58" y="76"/>
                  <a:pt x="59" y="77"/>
                </a:cubicBezTo>
                <a:cubicBezTo>
                  <a:pt x="59" y="77"/>
                  <a:pt x="60" y="78"/>
                  <a:pt x="61" y="78"/>
                </a:cubicBezTo>
                <a:cubicBezTo>
                  <a:pt x="62" y="78"/>
                  <a:pt x="62" y="78"/>
                  <a:pt x="63" y="78"/>
                </a:cubicBezTo>
                <a:cubicBezTo>
                  <a:pt x="64" y="78"/>
                  <a:pt x="64" y="78"/>
                  <a:pt x="65" y="77"/>
                </a:cubicBezTo>
                <a:cubicBezTo>
                  <a:pt x="65" y="77"/>
                  <a:pt x="65" y="76"/>
                  <a:pt x="65" y="75"/>
                </a:cubicBezTo>
                <a:cubicBezTo>
                  <a:pt x="65" y="75"/>
                  <a:pt x="66" y="75"/>
                  <a:pt x="66" y="74"/>
                </a:cubicBezTo>
                <a:cubicBezTo>
                  <a:pt x="66" y="73"/>
                  <a:pt x="67" y="73"/>
                  <a:pt x="67" y="73"/>
                </a:cubicBezTo>
                <a:cubicBezTo>
                  <a:pt x="66" y="72"/>
                  <a:pt x="65" y="73"/>
                  <a:pt x="65" y="72"/>
                </a:cubicBezTo>
                <a:cubicBezTo>
                  <a:pt x="65" y="72"/>
                  <a:pt x="65" y="70"/>
                  <a:pt x="65" y="69"/>
                </a:cubicBezTo>
                <a:cubicBezTo>
                  <a:pt x="66" y="69"/>
                  <a:pt x="65" y="68"/>
                  <a:pt x="65" y="6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7" name="Afganistan"/>
          <p:cNvSpPr>
            <a:spLocks/>
          </p:cNvSpPr>
          <p:nvPr/>
        </p:nvSpPr>
        <p:spPr bwMode="auto">
          <a:xfrm>
            <a:off x="7775481" y="2795016"/>
            <a:ext cx="388700" cy="307039"/>
          </a:xfrm>
          <a:custGeom>
            <a:avLst/>
            <a:gdLst>
              <a:gd name="T0" fmla="*/ 90 w 189"/>
              <a:gd name="T1" fmla="*/ 25 h 150"/>
              <a:gd name="T2" fmla="*/ 99 w 189"/>
              <a:gd name="T3" fmla="*/ 13 h 150"/>
              <a:gd name="T4" fmla="*/ 113 w 189"/>
              <a:gd name="T5" fmla="*/ 13 h 150"/>
              <a:gd name="T6" fmla="*/ 122 w 189"/>
              <a:gd name="T7" fmla="*/ 1 h 150"/>
              <a:gd name="T8" fmla="*/ 131 w 189"/>
              <a:gd name="T9" fmla="*/ 11 h 150"/>
              <a:gd name="T10" fmla="*/ 136 w 189"/>
              <a:gd name="T11" fmla="*/ 29 h 150"/>
              <a:gd name="T12" fmla="*/ 146 w 189"/>
              <a:gd name="T13" fmla="*/ 24 h 150"/>
              <a:gd name="T14" fmla="*/ 158 w 189"/>
              <a:gd name="T15" fmla="*/ 20 h 150"/>
              <a:gd name="T16" fmla="*/ 171 w 189"/>
              <a:gd name="T17" fmla="*/ 19 h 150"/>
              <a:gd name="T18" fmla="*/ 178 w 189"/>
              <a:gd name="T19" fmla="*/ 19 h 150"/>
              <a:gd name="T20" fmla="*/ 189 w 189"/>
              <a:gd name="T21" fmla="*/ 21 h 150"/>
              <a:gd name="T22" fmla="*/ 188 w 189"/>
              <a:gd name="T23" fmla="*/ 22 h 150"/>
              <a:gd name="T24" fmla="*/ 184 w 189"/>
              <a:gd name="T25" fmla="*/ 24 h 150"/>
              <a:gd name="T26" fmla="*/ 178 w 189"/>
              <a:gd name="T27" fmla="*/ 25 h 150"/>
              <a:gd name="T28" fmla="*/ 165 w 189"/>
              <a:gd name="T29" fmla="*/ 25 h 150"/>
              <a:gd name="T30" fmla="*/ 150 w 189"/>
              <a:gd name="T31" fmla="*/ 26 h 150"/>
              <a:gd name="T32" fmla="*/ 138 w 189"/>
              <a:gd name="T33" fmla="*/ 37 h 150"/>
              <a:gd name="T34" fmla="*/ 135 w 189"/>
              <a:gd name="T35" fmla="*/ 52 h 150"/>
              <a:gd name="T36" fmla="*/ 134 w 189"/>
              <a:gd name="T37" fmla="*/ 64 h 150"/>
              <a:gd name="T38" fmla="*/ 131 w 189"/>
              <a:gd name="T39" fmla="*/ 75 h 150"/>
              <a:gd name="T40" fmla="*/ 117 w 189"/>
              <a:gd name="T41" fmla="*/ 74 h 150"/>
              <a:gd name="T42" fmla="*/ 123 w 189"/>
              <a:gd name="T43" fmla="*/ 87 h 150"/>
              <a:gd name="T44" fmla="*/ 113 w 189"/>
              <a:gd name="T45" fmla="*/ 96 h 150"/>
              <a:gd name="T46" fmla="*/ 113 w 189"/>
              <a:gd name="T47" fmla="*/ 111 h 150"/>
              <a:gd name="T48" fmla="*/ 109 w 189"/>
              <a:gd name="T49" fmla="*/ 116 h 150"/>
              <a:gd name="T50" fmla="*/ 99 w 189"/>
              <a:gd name="T51" fmla="*/ 112 h 150"/>
              <a:gd name="T52" fmla="*/ 85 w 189"/>
              <a:gd name="T53" fmla="*/ 121 h 150"/>
              <a:gd name="T54" fmla="*/ 79 w 189"/>
              <a:gd name="T55" fmla="*/ 135 h 150"/>
              <a:gd name="T56" fmla="*/ 65 w 189"/>
              <a:gd name="T57" fmla="*/ 149 h 150"/>
              <a:gd name="T58" fmla="*/ 36 w 189"/>
              <a:gd name="T59" fmla="*/ 148 h 150"/>
              <a:gd name="T60" fmla="*/ 17 w 189"/>
              <a:gd name="T61" fmla="*/ 143 h 150"/>
              <a:gd name="T62" fmla="*/ 20 w 189"/>
              <a:gd name="T63" fmla="*/ 130 h 150"/>
              <a:gd name="T64" fmla="*/ 17 w 189"/>
              <a:gd name="T65" fmla="*/ 119 h 150"/>
              <a:gd name="T66" fmla="*/ 6 w 189"/>
              <a:gd name="T67" fmla="*/ 113 h 150"/>
              <a:gd name="T68" fmla="*/ 5 w 189"/>
              <a:gd name="T69" fmla="*/ 98 h 150"/>
              <a:gd name="T70" fmla="*/ 4 w 189"/>
              <a:gd name="T71" fmla="*/ 84 h 150"/>
              <a:gd name="T72" fmla="*/ 1 w 189"/>
              <a:gd name="T73" fmla="*/ 73 h 150"/>
              <a:gd name="T74" fmla="*/ 9 w 189"/>
              <a:gd name="T75" fmla="*/ 60 h 150"/>
              <a:gd name="T76" fmla="*/ 15 w 189"/>
              <a:gd name="T77" fmla="*/ 53 h 150"/>
              <a:gd name="T78" fmla="*/ 28 w 189"/>
              <a:gd name="T79" fmla="*/ 53 h 150"/>
              <a:gd name="T80" fmla="*/ 38 w 189"/>
              <a:gd name="T81" fmla="*/ 43 h 150"/>
              <a:gd name="T82" fmla="*/ 47 w 189"/>
              <a:gd name="T83" fmla="*/ 31 h 150"/>
              <a:gd name="T84" fmla="*/ 57 w 189"/>
              <a:gd name="T85" fmla="*/ 20 h 150"/>
              <a:gd name="T86" fmla="*/ 69 w 189"/>
              <a:gd name="T87" fmla="*/ 18 h 150"/>
              <a:gd name="T88" fmla="*/ 80 w 189"/>
              <a:gd name="T89" fmla="*/ 19 h 150"/>
              <a:gd name="T90" fmla="*/ 86 w 189"/>
              <a:gd name="T9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 h="150">
                <a:moveTo>
                  <a:pt x="86" y="18"/>
                </a:moveTo>
                <a:cubicBezTo>
                  <a:pt x="86" y="18"/>
                  <a:pt x="87" y="20"/>
                  <a:pt x="87" y="20"/>
                </a:cubicBezTo>
                <a:cubicBezTo>
                  <a:pt x="87" y="21"/>
                  <a:pt x="90" y="24"/>
                  <a:pt x="90" y="25"/>
                </a:cubicBezTo>
                <a:cubicBezTo>
                  <a:pt x="91" y="25"/>
                  <a:pt x="94" y="25"/>
                  <a:pt x="95" y="25"/>
                </a:cubicBezTo>
                <a:cubicBezTo>
                  <a:pt x="96" y="25"/>
                  <a:pt x="98" y="21"/>
                  <a:pt x="98" y="20"/>
                </a:cubicBezTo>
                <a:cubicBezTo>
                  <a:pt x="98" y="19"/>
                  <a:pt x="99" y="14"/>
                  <a:pt x="99" y="13"/>
                </a:cubicBezTo>
                <a:cubicBezTo>
                  <a:pt x="100" y="12"/>
                  <a:pt x="100" y="10"/>
                  <a:pt x="103" y="11"/>
                </a:cubicBezTo>
                <a:cubicBezTo>
                  <a:pt x="105" y="11"/>
                  <a:pt x="106" y="12"/>
                  <a:pt x="106" y="12"/>
                </a:cubicBezTo>
                <a:cubicBezTo>
                  <a:pt x="107" y="12"/>
                  <a:pt x="111" y="12"/>
                  <a:pt x="113" y="13"/>
                </a:cubicBezTo>
                <a:cubicBezTo>
                  <a:pt x="114" y="13"/>
                  <a:pt x="117" y="13"/>
                  <a:pt x="119" y="12"/>
                </a:cubicBezTo>
                <a:cubicBezTo>
                  <a:pt x="121" y="11"/>
                  <a:pt x="119" y="2"/>
                  <a:pt x="119" y="1"/>
                </a:cubicBezTo>
                <a:cubicBezTo>
                  <a:pt x="119" y="0"/>
                  <a:pt x="121" y="1"/>
                  <a:pt x="122" y="1"/>
                </a:cubicBezTo>
                <a:cubicBezTo>
                  <a:pt x="123" y="1"/>
                  <a:pt x="126" y="3"/>
                  <a:pt x="127" y="3"/>
                </a:cubicBezTo>
                <a:cubicBezTo>
                  <a:pt x="127" y="4"/>
                  <a:pt x="129" y="6"/>
                  <a:pt x="129" y="7"/>
                </a:cubicBezTo>
                <a:cubicBezTo>
                  <a:pt x="129" y="7"/>
                  <a:pt x="131" y="10"/>
                  <a:pt x="131" y="11"/>
                </a:cubicBezTo>
                <a:cubicBezTo>
                  <a:pt x="131" y="13"/>
                  <a:pt x="132" y="17"/>
                  <a:pt x="132" y="18"/>
                </a:cubicBezTo>
                <a:cubicBezTo>
                  <a:pt x="132" y="20"/>
                  <a:pt x="133" y="25"/>
                  <a:pt x="133" y="26"/>
                </a:cubicBezTo>
                <a:cubicBezTo>
                  <a:pt x="134" y="27"/>
                  <a:pt x="135" y="28"/>
                  <a:pt x="136" y="29"/>
                </a:cubicBezTo>
                <a:cubicBezTo>
                  <a:pt x="136" y="29"/>
                  <a:pt x="139" y="28"/>
                  <a:pt x="139" y="28"/>
                </a:cubicBezTo>
                <a:cubicBezTo>
                  <a:pt x="139" y="28"/>
                  <a:pt x="142" y="25"/>
                  <a:pt x="142" y="25"/>
                </a:cubicBezTo>
                <a:cubicBezTo>
                  <a:pt x="143" y="24"/>
                  <a:pt x="146" y="24"/>
                  <a:pt x="146" y="24"/>
                </a:cubicBezTo>
                <a:cubicBezTo>
                  <a:pt x="147" y="24"/>
                  <a:pt x="149" y="24"/>
                  <a:pt x="150" y="23"/>
                </a:cubicBezTo>
                <a:cubicBezTo>
                  <a:pt x="151" y="23"/>
                  <a:pt x="153" y="21"/>
                  <a:pt x="153" y="21"/>
                </a:cubicBezTo>
                <a:cubicBezTo>
                  <a:pt x="154" y="20"/>
                  <a:pt x="157" y="20"/>
                  <a:pt x="158" y="20"/>
                </a:cubicBezTo>
                <a:cubicBezTo>
                  <a:pt x="159" y="20"/>
                  <a:pt x="161" y="21"/>
                  <a:pt x="162" y="21"/>
                </a:cubicBezTo>
                <a:cubicBezTo>
                  <a:pt x="163" y="21"/>
                  <a:pt x="166" y="20"/>
                  <a:pt x="167" y="20"/>
                </a:cubicBezTo>
                <a:cubicBezTo>
                  <a:pt x="168" y="20"/>
                  <a:pt x="171" y="19"/>
                  <a:pt x="171" y="19"/>
                </a:cubicBezTo>
                <a:cubicBezTo>
                  <a:pt x="172" y="19"/>
                  <a:pt x="174" y="19"/>
                  <a:pt x="175" y="19"/>
                </a:cubicBezTo>
                <a:cubicBezTo>
                  <a:pt x="176" y="19"/>
                  <a:pt x="177" y="18"/>
                  <a:pt x="177" y="18"/>
                </a:cubicBezTo>
                <a:cubicBezTo>
                  <a:pt x="177" y="18"/>
                  <a:pt x="178" y="19"/>
                  <a:pt x="178" y="19"/>
                </a:cubicBezTo>
                <a:cubicBezTo>
                  <a:pt x="179" y="19"/>
                  <a:pt x="182" y="19"/>
                  <a:pt x="184" y="19"/>
                </a:cubicBezTo>
                <a:cubicBezTo>
                  <a:pt x="186" y="19"/>
                  <a:pt x="187" y="18"/>
                  <a:pt x="188" y="19"/>
                </a:cubicBezTo>
                <a:cubicBezTo>
                  <a:pt x="189" y="20"/>
                  <a:pt x="189" y="20"/>
                  <a:pt x="189" y="21"/>
                </a:cubicBezTo>
                <a:cubicBezTo>
                  <a:pt x="189" y="21"/>
                  <a:pt x="189" y="21"/>
                  <a:pt x="189" y="22"/>
                </a:cubicBezTo>
                <a:cubicBezTo>
                  <a:pt x="189" y="22"/>
                  <a:pt x="189" y="22"/>
                  <a:pt x="189" y="22"/>
                </a:cubicBezTo>
                <a:cubicBezTo>
                  <a:pt x="188" y="22"/>
                  <a:pt x="188" y="22"/>
                  <a:pt x="188" y="22"/>
                </a:cubicBezTo>
                <a:cubicBezTo>
                  <a:pt x="187" y="22"/>
                  <a:pt x="187" y="22"/>
                  <a:pt x="187" y="23"/>
                </a:cubicBezTo>
                <a:cubicBezTo>
                  <a:pt x="186" y="23"/>
                  <a:pt x="186" y="24"/>
                  <a:pt x="185" y="24"/>
                </a:cubicBezTo>
                <a:cubicBezTo>
                  <a:pt x="185" y="24"/>
                  <a:pt x="184" y="24"/>
                  <a:pt x="184" y="24"/>
                </a:cubicBezTo>
                <a:cubicBezTo>
                  <a:pt x="183" y="24"/>
                  <a:pt x="182" y="24"/>
                  <a:pt x="181" y="24"/>
                </a:cubicBezTo>
                <a:cubicBezTo>
                  <a:pt x="181" y="24"/>
                  <a:pt x="180" y="24"/>
                  <a:pt x="180" y="24"/>
                </a:cubicBezTo>
                <a:cubicBezTo>
                  <a:pt x="179" y="24"/>
                  <a:pt x="178" y="24"/>
                  <a:pt x="178" y="25"/>
                </a:cubicBezTo>
                <a:cubicBezTo>
                  <a:pt x="178" y="25"/>
                  <a:pt x="175" y="25"/>
                  <a:pt x="174" y="25"/>
                </a:cubicBezTo>
                <a:cubicBezTo>
                  <a:pt x="174" y="25"/>
                  <a:pt x="172" y="25"/>
                  <a:pt x="172" y="25"/>
                </a:cubicBezTo>
                <a:cubicBezTo>
                  <a:pt x="172" y="25"/>
                  <a:pt x="166" y="25"/>
                  <a:pt x="165" y="25"/>
                </a:cubicBezTo>
                <a:cubicBezTo>
                  <a:pt x="165" y="25"/>
                  <a:pt x="161" y="26"/>
                  <a:pt x="161" y="26"/>
                </a:cubicBezTo>
                <a:cubicBezTo>
                  <a:pt x="160" y="26"/>
                  <a:pt x="157" y="26"/>
                  <a:pt x="157" y="26"/>
                </a:cubicBezTo>
                <a:cubicBezTo>
                  <a:pt x="156" y="26"/>
                  <a:pt x="150" y="26"/>
                  <a:pt x="150" y="26"/>
                </a:cubicBezTo>
                <a:cubicBezTo>
                  <a:pt x="150" y="26"/>
                  <a:pt x="146" y="28"/>
                  <a:pt x="146" y="28"/>
                </a:cubicBezTo>
                <a:cubicBezTo>
                  <a:pt x="146" y="29"/>
                  <a:pt x="144" y="32"/>
                  <a:pt x="143" y="33"/>
                </a:cubicBezTo>
                <a:cubicBezTo>
                  <a:pt x="142" y="34"/>
                  <a:pt x="139" y="37"/>
                  <a:pt x="138" y="37"/>
                </a:cubicBezTo>
                <a:cubicBezTo>
                  <a:pt x="138" y="37"/>
                  <a:pt x="134" y="39"/>
                  <a:pt x="133" y="41"/>
                </a:cubicBezTo>
                <a:cubicBezTo>
                  <a:pt x="133" y="43"/>
                  <a:pt x="133" y="45"/>
                  <a:pt x="134" y="47"/>
                </a:cubicBezTo>
                <a:cubicBezTo>
                  <a:pt x="134" y="49"/>
                  <a:pt x="135" y="50"/>
                  <a:pt x="135" y="52"/>
                </a:cubicBezTo>
                <a:cubicBezTo>
                  <a:pt x="136" y="53"/>
                  <a:pt x="137" y="55"/>
                  <a:pt x="137" y="56"/>
                </a:cubicBezTo>
                <a:cubicBezTo>
                  <a:pt x="137" y="57"/>
                  <a:pt x="136" y="60"/>
                  <a:pt x="136" y="61"/>
                </a:cubicBezTo>
                <a:cubicBezTo>
                  <a:pt x="136" y="62"/>
                  <a:pt x="134" y="63"/>
                  <a:pt x="134" y="64"/>
                </a:cubicBezTo>
                <a:cubicBezTo>
                  <a:pt x="133" y="64"/>
                  <a:pt x="133" y="67"/>
                  <a:pt x="133" y="68"/>
                </a:cubicBezTo>
                <a:cubicBezTo>
                  <a:pt x="134" y="70"/>
                  <a:pt x="134" y="73"/>
                  <a:pt x="134" y="73"/>
                </a:cubicBezTo>
                <a:cubicBezTo>
                  <a:pt x="134" y="73"/>
                  <a:pt x="132" y="75"/>
                  <a:pt x="131" y="75"/>
                </a:cubicBezTo>
                <a:cubicBezTo>
                  <a:pt x="129" y="76"/>
                  <a:pt x="127" y="76"/>
                  <a:pt x="125" y="76"/>
                </a:cubicBezTo>
                <a:cubicBezTo>
                  <a:pt x="124" y="76"/>
                  <a:pt x="120" y="74"/>
                  <a:pt x="119" y="74"/>
                </a:cubicBezTo>
                <a:cubicBezTo>
                  <a:pt x="118" y="74"/>
                  <a:pt x="117" y="73"/>
                  <a:pt x="117" y="74"/>
                </a:cubicBezTo>
                <a:cubicBezTo>
                  <a:pt x="117" y="75"/>
                  <a:pt x="116" y="76"/>
                  <a:pt x="118" y="78"/>
                </a:cubicBezTo>
                <a:cubicBezTo>
                  <a:pt x="120" y="80"/>
                  <a:pt x="121" y="81"/>
                  <a:pt x="121" y="82"/>
                </a:cubicBezTo>
                <a:cubicBezTo>
                  <a:pt x="122" y="83"/>
                  <a:pt x="123" y="86"/>
                  <a:pt x="123" y="87"/>
                </a:cubicBezTo>
                <a:cubicBezTo>
                  <a:pt x="122" y="88"/>
                  <a:pt x="121" y="90"/>
                  <a:pt x="121" y="90"/>
                </a:cubicBezTo>
                <a:cubicBezTo>
                  <a:pt x="121" y="90"/>
                  <a:pt x="116" y="91"/>
                  <a:pt x="115" y="92"/>
                </a:cubicBezTo>
                <a:cubicBezTo>
                  <a:pt x="114" y="93"/>
                  <a:pt x="113" y="94"/>
                  <a:pt x="113" y="96"/>
                </a:cubicBezTo>
                <a:cubicBezTo>
                  <a:pt x="113" y="97"/>
                  <a:pt x="114" y="99"/>
                  <a:pt x="114" y="100"/>
                </a:cubicBezTo>
                <a:cubicBezTo>
                  <a:pt x="114" y="102"/>
                  <a:pt x="113" y="104"/>
                  <a:pt x="113" y="105"/>
                </a:cubicBezTo>
                <a:cubicBezTo>
                  <a:pt x="113" y="106"/>
                  <a:pt x="112" y="109"/>
                  <a:pt x="113" y="111"/>
                </a:cubicBezTo>
                <a:cubicBezTo>
                  <a:pt x="114" y="112"/>
                  <a:pt x="115" y="112"/>
                  <a:pt x="115" y="114"/>
                </a:cubicBezTo>
                <a:cubicBezTo>
                  <a:pt x="114" y="116"/>
                  <a:pt x="115" y="118"/>
                  <a:pt x="113" y="118"/>
                </a:cubicBezTo>
                <a:cubicBezTo>
                  <a:pt x="111" y="119"/>
                  <a:pt x="109" y="117"/>
                  <a:pt x="109" y="116"/>
                </a:cubicBezTo>
                <a:cubicBezTo>
                  <a:pt x="109" y="115"/>
                  <a:pt x="109" y="114"/>
                  <a:pt x="108" y="113"/>
                </a:cubicBezTo>
                <a:cubicBezTo>
                  <a:pt x="107" y="113"/>
                  <a:pt x="105" y="112"/>
                  <a:pt x="104" y="113"/>
                </a:cubicBezTo>
                <a:cubicBezTo>
                  <a:pt x="104" y="113"/>
                  <a:pt x="100" y="111"/>
                  <a:pt x="99" y="112"/>
                </a:cubicBezTo>
                <a:cubicBezTo>
                  <a:pt x="97" y="113"/>
                  <a:pt x="93" y="117"/>
                  <a:pt x="93" y="118"/>
                </a:cubicBezTo>
                <a:cubicBezTo>
                  <a:pt x="92" y="119"/>
                  <a:pt x="91" y="121"/>
                  <a:pt x="90" y="121"/>
                </a:cubicBezTo>
                <a:cubicBezTo>
                  <a:pt x="89" y="122"/>
                  <a:pt x="86" y="121"/>
                  <a:pt x="85" y="121"/>
                </a:cubicBezTo>
                <a:cubicBezTo>
                  <a:pt x="84" y="121"/>
                  <a:pt x="83" y="120"/>
                  <a:pt x="82" y="121"/>
                </a:cubicBezTo>
                <a:cubicBezTo>
                  <a:pt x="81" y="122"/>
                  <a:pt x="78" y="128"/>
                  <a:pt x="78" y="128"/>
                </a:cubicBezTo>
                <a:cubicBezTo>
                  <a:pt x="78" y="128"/>
                  <a:pt x="79" y="133"/>
                  <a:pt x="79" y="135"/>
                </a:cubicBezTo>
                <a:cubicBezTo>
                  <a:pt x="80" y="136"/>
                  <a:pt x="80" y="141"/>
                  <a:pt x="79" y="142"/>
                </a:cubicBezTo>
                <a:cubicBezTo>
                  <a:pt x="79" y="143"/>
                  <a:pt x="74" y="146"/>
                  <a:pt x="74" y="146"/>
                </a:cubicBezTo>
                <a:cubicBezTo>
                  <a:pt x="73" y="147"/>
                  <a:pt x="66" y="149"/>
                  <a:pt x="65" y="149"/>
                </a:cubicBezTo>
                <a:cubicBezTo>
                  <a:pt x="64" y="150"/>
                  <a:pt x="58" y="148"/>
                  <a:pt x="57" y="148"/>
                </a:cubicBezTo>
                <a:cubicBezTo>
                  <a:pt x="55" y="147"/>
                  <a:pt x="51" y="147"/>
                  <a:pt x="50" y="147"/>
                </a:cubicBezTo>
                <a:cubicBezTo>
                  <a:pt x="49" y="147"/>
                  <a:pt x="38" y="148"/>
                  <a:pt x="36" y="148"/>
                </a:cubicBezTo>
                <a:cubicBezTo>
                  <a:pt x="35" y="148"/>
                  <a:pt x="29" y="148"/>
                  <a:pt x="27" y="147"/>
                </a:cubicBezTo>
                <a:cubicBezTo>
                  <a:pt x="26" y="147"/>
                  <a:pt x="22" y="147"/>
                  <a:pt x="21" y="146"/>
                </a:cubicBezTo>
                <a:cubicBezTo>
                  <a:pt x="21" y="146"/>
                  <a:pt x="18" y="144"/>
                  <a:pt x="17" y="143"/>
                </a:cubicBezTo>
                <a:cubicBezTo>
                  <a:pt x="16" y="143"/>
                  <a:pt x="12" y="141"/>
                  <a:pt x="12" y="141"/>
                </a:cubicBezTo>
                <a:cubicBezTo>
                  <a:pt x="19" y="132"/>
                  <a:pt x="19" y="132"/>
                  <a:pt x="19" y="132"/>
                </a:cubicBezTo>
                <a:cubicBezTo>
                  <a:pt x="19" y="132"/>
                  <a:pt x="20" y="131"/>
                  <a:pt x="20" y="130"/>
                </a:cubicBezTo>
                <a:cubicBezTo>
                  <a:pt x="20" y="129"/>
                  <a:pt x="21" y="125"/>
                  <a:pt x="21" y="124"/>
                </a:cubicBezTo>
                <a:cubicBezTo>
                  <a:pt x="21" y="123"/>
                  <a:pt x="21" y="122"/>
                  <a:pt x="21" y="122"/>
                </a:cubicBezTo>
                <a:cubicBezTo>
                  <a:pt x="17" y="119"/>
                  <a:pt x="17" y="119"/>
                  <a:pt x="17" y="119"/>
                </a:cubicBezTo>
                <a:cubicBezTo>
                  <a:pt x="17" y="119"/>
                  <a:pt x="13" y="119"/>
                  <a:pt x="13" y="119"/>
                </a:cubicBezTo>
                <a:cubicBezTo>
                  <a:pt x="11" y="119"/>
                  <a:pt x="9" y="118"/>
                  <a:pt x="8" y="117"/>
                </a:cubicBezTo>
                <a:cubicBezTo>
                  <a:pt x="7" y="116"/>
                  <a:pt x="6" y="113"/>
                  <a:pt x="6" y="113"/>
                </a:cubicBezTo>
                <a:cubicBezTo>
                  <a:pt x="6" y="112"/>
                  <a:pt x="5" y="112"/>
                  <a:pt x="5" y="111"/>
                </a:cubicBezTo>
                <a:cubicBezTo>
                  <a:pt x="5" y="109"/>
                  <a:pt x="5" y="106"/>
                  <a:pt x="5" y="105"/>
                </a:cubicBezTo>
                <a:cubicBezTo>
                  <a:pt x="5" y="103"/>
                  <a:pt x="5" y="98"/>
                  <a:pt x="5" y="98"/>
                </a:cubicBezTo>
                <a:cubicBezTo>
                  <a:pt x="5" y="98"/>
                  <a:pt x="4" y="94"/>
                  <a:pt x="3" y="92"/>
                </a:cubicBezTo>
                <a:cubicBezTo>
                  <a:pt x="3" y="91"/>
                  <a:pt x="3" y="90"/>
                  <a:pt x="3" y="90"/>
                </a:cubicBezTo>
                <a:cubicBezTo>
                  <a:pt x="3" y="89"/>
                  <a:pt x="4" y="85"/>
                  <a:pt x="4" y="84"/>
                </a:cubicBezTo>
                <a:cubicBezTo>
                  <a:pt x="4" y="83"/>
                  <a:pt x="3" y="82"/>
                  <a:pt x="2" y="81"/>
                </a:cubicBezTo>
                <a:cubicBezTo>
                  <a:pt x="1" y="80"/>
                  <a:pt x="1" y="78"/>
                  <a:pt x="0" y="76"/>
                </a:cubicBezTo>
                <a:cubicBezTo>
                  <a:pt x="0" y="74"/>
                  <a:pt x="0" y="73"/>
                  <a:pt x="1" y="73"/>
                </a:cubicBezTo>
                <a:cubicBezTo>
                  <a:pt x="1" y="72"/>
                  <a:pt x="3" y="70"/>
                  <a:pt x="3" y="69"/>
                </a:cubicBezTo>
                <a:cubicBezTo>
                  <a:pt x="3" y="67"/>
                  <a:pt x="5" y="64"/>
                  <a:pt x="5" y="63"/>
                </a:cubicBezTo>
                <a:cubicBezTo>
                  <a:pt x="6" y="62"/>
                  <a:pt x="8" y="61"/>
                  <a:pt x="9" y="60"/>
                </a:cubicBezTo>
                <a:cubicBezTo>
                  <a:pt x="9" y="58"/>
                  <a:pt x="10" y="57"/>
                  <a:pt x="10" y="55"/>
                </a:cubicBezTo>
                <a:cubicBezTo>
                  <a:pt x="10" y="54"/>
                  <a:pt x="11" y="51"/>
                  <a:pt x="11" y="51"/>
                </a:cubicBezTo>
                <a:cubicBezTo>
                  <a:pt x="15" y="53"/>
                  <a:pt x="15" y="53"/>
                  <a:pt x="15" y="53"/>
                </a:cubicBezTo>
                <a:cubicBezTo>
                  <a:pt x="15" y="53"/>
                  <a:pt x="19" y="54"/>
                  <a:pt x="20" y="54"/>
                </a:cubicBezTo>
                <a:cubicBezTo>
                  <a:pt x="21" y="54"/>
                  <a:pt x="24" y="54"/>
                  <a:pt x="24" y="53"/>
                </a:cubicBezTo>
                <a:cubicBezTo>
                  <a:pt x="25" y="53"/>
                  <a:pt x="27" y="53"/>
                  <a:pt x="28" y="53"/>
                </a:cubicBezTo>
                <a:cubicBezTo>
                  <a:pt x="30" y="52"/>
                  <a:pt x="31" y="52"/>
                  <a:pt x="32" y="50"/>
                </a:cubicBezTo>
                <a:cubicBezTo>
                  <a:pt x="32" y="49"/>
                  <a:pt x="34" y="45"/>
                  <a:pt x="34" y="45"/>
                </a:cubicBezTo>
                <a:cubicBezTo>
                  <a:pt x="34" y="45"/>
                  <a:pt x="38" y="43"/>
                  <a:pt x="38" y="43"/>
                </a:cubicBezTo>
                <a:cubicBezTo>
                  <a:pt x="40" y="42"/>
                  <a:pt x="41" y="40"/>
                  <a:pt x="42" y="39"/>
                </a:cubicBezTo>
                <a:cubicBezTo>
                  <a:pt x="42" y="38"/>
                  <a:pt x="46" y="36"/>
                  <a:pt x="47" y="35"/>
                </a:cubicBezTo>
                <a:cubicBezTo>
                  <a:pt x="47" y="34"/>
                  <a:pt x="47" y="32"/>
                  <a:pt x="47" y="31"/>
                </a:cubicBezTo>
                <a:cubicBezTo>
                  <a:pt x="47" y="30"/>
                  <a:pt x="49" y="26"/>
                  <a:pt x="49" y="24"/>
                </a:cubicBezTo>
                <a:cubicBezTo>
                  <a:pt x="50" y="23"/>
                  <a:pt x="50" y="22"/>
                  <a:pt x="51" y="21"/>
                </a:cubicBezTo>
                <a:cubicBezTo>
                  <a:pt x="52" y="21"/>
                  <a:pt x="57" y="21"/>
                  <a:pt x="57" y="20"/>
                </a:cubicBezTo>
                <a:cubicBezTo>
                  <a:pt x="58" y="20"/>
                  <a:pt x="60" y="18"/>
                  <a:pt x="60" y="17"/>
                </a:cubicBezTo>
                <a:cubicBezTo>
                  <a:pt x="62" y="17"/>
                  <a:pt x="64" y="17"/>
                  <a:pt x="64" y="17"/>
                </a:cubicBezTo>
                <a:cubicBezTo>
                  <a:pt x="65" y="17"/>
                  <a:pt x="67" y="18"/>
                  <a:pt x="69" y="18"/>
                </a:cubicBezTo>
                <a:cubicBezTo>
                  <a:pt x="70" y="18"/>
                  <a:pt x="71" y="18"/>
                  <a:pt x="72" y="18"/>
                </a:cubicBezTo>
                <a:cubicBezTo>
                  <a:pt x="74" y="18"/>
                  <a:pt x="76" y="17"/>
                  <a:pt x="77" y="17"/>
                </a:cubicBezTo>
                <a:cubicBezTo>
                  <a:pt x="78" y="17"/>
                  <a:pt x="79" y="18"/>
                  <a:pt x="80" y="19"/>
                </a:cubicBezTo>
                <a:cubicBezTo>
                  <a:pt x="81" y="19"/>
                  <a:pt x="82" y="19"/>
                  <a:pt x="82" y="18"/>
                </a:cubicBezTo>
                <a:cubicBezTo>
                  <a:pt x="83" y="18"/>
                  <a:pt x="84" y="18"/>
                  <a:pt x="85" y="18"/>
                </a:cubicBezTo>
                <a:cubicBezTo>
                  <a:pt x="85" y="18"/>
                  <a:pt x="86" y="18"/>
                  <a:pt x="86" y="1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8" name="Iran"/>
          <p:cNvSpPr>
            <a:spLocks/>
          </p:cNvSpPr>
          <p:nvPr/>
        </p:nvSpPr>
        <p:spPr bwMode="auto">
          <a:xfrm>
            <a:off x="7332886" y="2742753"/>
            <a:ext cx="535686" cy="516088"/>
          </a:xfrm>
          <a:custGeom>
            <a:avLst/>
            <a:gdLst>
              <a:gd name="connsiteX0" fmla="*/ 349250 w 520700"/>
              <a:gd name="connsiteY0" fmla="*/ 441325 h 501650"/>
              <a:gd name="connsiteX1" fmla="*/ 345168 w 520700"/>
              <a:gd name="connsiteY1" fmla="*/ 447278 h 501650"/>
              <a:gd name="connsiteX2" fmla="*/ 339045 w 520700"/>
              <a:gd name="connsiteY2" fmla="*/ 451247 h 501650"/>
              <a:gd name="connsiteX3" fmla="*/ 337004 w 520700"/>
              <a:gd name="connsiteY3" fmla="*/ 453231 h 501650"/>
              <a:gd name="connsiteX4" fmla="*/ 332922 w 520700"/>
              <a:gd name="connsiteY4" fmla="*/ 451247 h 501650"/>
              <a:gd name="connsiteX5" fmla="*/ 328840 w 520700"/>
              <a:gd name="connsiteY5" fmla="*/ 453231 h 501650"/>
              <a:gd name="connsiteX6" fmla="*/ 322716 w 520700"/>
              <a:gd name="connsiteY6" fmla="*/ 453231 h 501650"/>
              <a:gd name="connsiteX7" fmla="*/ 324757 w 520700"/>
              <a:gd name="connsiteY7" fmla="*/ 449263 h 501650"/>
              <a:gd name="connsiteX8" fmla="*/ 326798 w 520700"/>
              <a:gd name="connsiteY8" fmla="*/ 447278 h 501650"/>
              <a:gd name="connsiteX9" fmla="*/ 328840 w 520700"/>
              <a:gd name="connsiteY9" fmla="*/ 443310 h 501650"/>
              <a:gd name="connsiteX10" fmla="*/ 334963 w 520700"/>
              <a:gd name="connsiteY10" fmla="*/ 445294 h 501650"/>
              <a:gd name="connsiteX11" fmla="*/ 343127 w 520700"/>
              <a:gd name="connsiteY11" fmla="*/ 443310 h 501650"/>
              <a:gd name="connsiteX12" fmla="*/ 349250 w 520700"/>
              <a:gd name="connsiteY12" fmla="*/ 441325 h 501650"/>
              <a:gd name="connsiteX13" fmla="*/ 9975 w 520700"/>
              <a:gd name="connsiteY13" fmla="*/ 0 h 501650"/>
              <a:gd name="connsiteX14" fmla="*/ 15960 w 520700"/>
              <a:gd name="connsiteY14" fmla="*/ 0 h 501650"/>
              <a:gd name="connsiteX15" fmla="*/ 25935 w 520700"/>
              <a:gd name="connsiteY15" fmla="*/ 3997 h 501650"/>
              <a:gd name="connsiteX16" fmla="*/ 39900 w 520700"/>
              <a:gd name="connsiteY16" fmla="*/ 13990 h 501650"/>
              <a:gd name="connsiteX17" fmla="*/ 47880 w 520700"/>
              <a:gd name="connsiteY17" fmla="*/ 25982 h 501650"/>
              <a:gd name="connsiteX18" fmla="*/ 57855 w 520700"/>
              <a:gd name="connsiteY18" fmla="*/ 29979 h 501650"/>
              <a:gd name="connsiteX19" fmla="*/ 67830 w 520700"/>
              <a:gd name="connsiteY19" fmla="*/ 31978 h 501650"/>
              <a:gd name="connsiteX20" fmla="*/ 73815 w 520700"/>
              <a:gd name="connsiteY20" fmla="*/ 31978 h 501650"/>
              <a:gd name="connsiteX21" fmla="*/ 81796 w 520700"/>
              <a:gd name="connsiteY21" fmla="*/ 25982 h 501650"/>
              <a:gd name="connsiteX22" fmla="*/ 91771 w 520700"/>
              <a:gd name="connsiteY22" fmla="*/ 13990 h 501650"/>
              <a:gd name="connsiteX23" fmla="*/ 101746 w 520700"/>
              <a:gd name="connsiteY23" fmla="*/ 1998 h 501650"/>
              <a:gd name="connsiteX24" fmla="*/ 105736 w 520700"/>
              <a:gd name="connsiteY24" fmla="*/ 0 h 501650"/>
              <a:gd name="connsiteX25" fmla="*/ 113716 w 520700"/>
              <a:gd name="connsiteY25" fmla="*/ 5996 h 501650"/>
              <a:gd name="connsiteX26" fmla="*/ 107731 w 520700"/>
              <a:gd name="connsiteY26" fmla="*/ 17987 h 501650"/>
              <a:gd name="connsiteX27" fmla="*/ 113716 w 520700"/>
              <a:gd name="connsiteY27" fmla="*/ 21985 h 501650"/>
              <a:gd name="connsiteX28" fmla="*/ 119701 w 520700"/>
              <a:gd name="connsiteY28" fmla="*/ 27980 h 501650"/>
              <a:gd name="connsiteX29" fmla="*/ 119701 w 520700"/>
              <a:gd name="connsiteY29" fmla="*/ 33976 h 501650"/>
              <a:gd name="connsiteX30" fmla="*/ 121696 w 520700"/>
              <a:gd name="connsiteY30" fmla="*/ 43969 h 501650"/>
              <a:gd name="connsiteX31" fmla="*/ 131671 w 520700"/>
              <a:gd name="connsiteY31" fmla="*/ 49965 h 501650"/>
              <a:gd name="connsiteX32" fmla="*/ 133666 w 520700"/>
              <a:gd name="connsiteY32" fmla="*/ 51964 h 501650"/>
              <a:gd name="connsiteX33" fmla="*/ 131671 w 520700"/>
              <a:gd name="connsiteY33" fmla="*/ 63955 h 501650"/>
              <a:gd name="connsiteX34" fmla="*/ 139651 w 520700"/>
              <a:gd name="connsiteY34" fmla="*/ 75947 h 501650"/>
              <a:gd name="connsiteX35" fmla="*/ 145636 w 520700"/>
              <a:gd name="connsiteY35" fmla="*/ 79944 h 501650"/>
              <a:gd name="connsiteX36" fmla="*/ 151621 w 520700"/>
              <a:gd name="connsiteY36" fmla="*/ 83941 h 501650"/>
              <a:gd name="connsiteX37" fmla="*/ 163591 w 520700"/>
              <a:gd name="connsiteY37" fmla="*/ 85940 h 501650"/>
              <a:gd name="connsiteX38" fmla="*/ 173566 w 520700"/>
              <a:gd name="connsiteY38" fmla="*/ 89937 h 501650"/>
              <a:gd name="connsiteX39" fmla="*/ 179551 w 520700"/>
              <a:gd name="connsiteY39" fmla="*/ 97932 h 501650"/>
              <a:gd name="connsiteX40" fmla="*/ 189527 w 520700"/>
              <a:gd name="connsiteY40" fmla="*/ 105926 h 501650"/>
              <a:gd name="connsiteX41" fmla="*/ 195512 w 520700"/>
              <a:gd name="connsiteY41" fmla="*/ 109923 h 501650"/>
              <a:gd name="connsiteX42" fmla="*/ 207482 w 520700"/>
              <a:gd name="connsiteY42" fmla="*/ 111922 h 501650"/>
              <a:gd name="connsiteX43" fmla="*/ 219452 w 520700"/>
              <a:gd name="connsiteY43" fmla="*/ 111922 h 501650"/>
              <a:gd name="connsiteX44" fmla="*/ 237407 w 520700"/>
              <a:gd name="connsiteY44" fmla="*/ 111922 h 501650"/>
              <a:gd name="connsiteX45" fmla="*/ 245387 w 520700"/>
              <a:gd name="connsiteY45" fmla="*/ 107925 h 501650"/>
              <a:gd name="connsiteX46" fmla="*/ 255362 w 520700"/>
              <a:gd name="connsiteY46" fmla="*/ 105926 h 501650"/>
              <a:gd name="connsiteX47" fmla="*/ 259352 w 520700"/>
              <a:gd name="connsiteY47" fmla="*/ 105926 h 501650"/>
              <a:gd name="connsiteX48" fmla="*/ 263342 w 520700"/>
              <a:gd name="connsiteY48" fmla="*/ 107925 h 501650"/>
              <a:gd name="connsiteX49" fmla="*/ 267332 w 520700"/>
              <a:gd name="connsiteY49" fmla="*/ 105926 h 501650"/>
              <a:gd name="connsiteX50" fmla="*/ 269327 w 520700"/>
              <a:gd name="connsiteY50" fmla="*/ 101929 h 501650"/>
              <a:gd name="connsiteX51" fmla="*/ 267332 w 520700"/>
              <a:gd name="connsiteY51" fmla="*/ 95933 h 501650"/>
              <a:gd name="connsiteX52" fmla="*/ 265337 w 520700"/>
              <a:gd name="connsiteY52" fmla="*/ 87939 h 501650"/>
              <a:gd name="connsiteX53" fmla="*/ 267332 w 520700"/>
              <a:gd name="connsiteY53" fmla="*/ 83941 h 501650"/>
              <a:gd name="connsiteX54" fmla="*/ 273317 w 520700"/>
              <a:gd name="connsiteY54" fmla="*/ 85940 h 501650"/>
              <a:gd name="connsiteX55" fmla="*/ 283292 w 520700"/>
              <a:gd name="connsiteY55" fmla="*/ 87939 h 501650"/>
              <a:gd name="connsiteX56" fmla="*/ 287283 w 520700"/>
              <a:gd name="connsiteY56" fmla="*/ 83941 h 501650"/>
              <a:gd name="connsiteX57" fmla="*/ 281297 w 520700"/>
              <a:gd name="connsiteY57" fmla="*/ 75947 h 501650"/>
              <a:gd name="connsiteX58" fmla="*/ 287283 w 520700"/>
              <a:gd name="connsiteY58" fmla="*/ 69951 h 501650"/>
              <a:gd name="connsiteX59" fmla="*/ 293268 w 520700"/>
              <a:gd name="connsiteY59" fmla="*/ 67952 h 501650"/>
              <a:gd name="connsiteX60" fmla="*/ 297258 w 520700"/>
              <a:gd name="connsiteY60" fmla="*/ 63955 h 501650"/>
              <a:gd name="connsiteX61" fmla="*/ 305238 w 520700"/>
              <a:gd name="connsiteY61" fmla="*/ 61957 h 501650"/>
              <a:gd name="connsiteX62" fmla="*/ 309228 w 520700"/>
              <a:gd name="connsiteY62" fmla="*/ 61957 h 501650"/>
              <a:gd name="connsiteX63" fmla="*/ 317208 w 520700"/>
              <a:gd name="connsiteY63" fmla="*/ 59958 h 501650"/>
              <a:gd name="connsiteX64" fmla="*/ 327183 w 520700"/>
              <a:gd name="connsiteY64" fmla="*/ 55961 h 501650"/>
              <a:gd name="connsiteX65" fmla="*/ 339153 w 520700"/>
              <a:gd name="connsiteY65" fmla="*/ 61957 h 501650"/>
              <a:gd name="connsiteX66" fmla="*/ 347134 w 520700"/>
              <a:gd name="connsiteY66" fmla="*/ 67952 h 501650"/>
              <a:gd name="connsiteX67" fmla="*/ 357109 w 520700"/>
              <a:gd name="connsiteY67" fmla="*/ 69951 h 501650"/>
              <a:gd name="connsiteX68" fmla="*/ 369079 w 520700"/>
              <a:gd name="connsiteY68" fmla="*/ 75947 h 501650"/>
              <a:gd name="connsiteX69" fmla="*/ 379054 w 520700"/>
              <a:gd name="connsiteY69" fmla="*/ 77945 h 501650"/>
              <a:gd name="connsiteX70" fmla="*/ 393019 w 520700"/>
              <a:gd name="connsiteY70" fmla="*/ 85940 h 501650"/>
              <a:gd name="connsiteX71" fmla="*/ 399004 w 520700"/>
              <a:gd name="connsiteY71" fmla="*/ 93934 h 501650"/>
              <a:gd name="connsiteX72" fmla="*/ 406984 w 520700"/>
              <a:gd name="connsiteY72" fmla="*/ 97932 h 501650"/>
              <a:gd name="connsiteX73" fmla="*/ 414964 w 520700"/>
              <a:gd name="connsiteY73" fmla="*/ 103927 h 501650"/>
              <a:gd name="connsiteX74" fmla="*/ 422944 w 520700"/>
              <a:gd name="connsiteY74" fmla="*/ 113920 h 501650"/>
              <a:gd name="connsiteX75" fmla="*/ 438904 w 520700"/>
              <a:gd name="connsiteY75" fmla="*/ 115919 h 501650"/>
              <a:gd name="connsiteX76" fmla="*/ 442894 w 520700"/>
              <a:gd name="connsiteY76" fmla="*/ 123913 h 501650"/>
              <a:gd name="connsiteX77" fmla="*/ 442894 w 520700"/>
              <a:gd name="connsiteY77" fmla="*/ 135905 h 501650"/>
              <a:gd name="connsiteX78" fmla="*/ 448880 w 520700"/>
              <a:gd name="connsiteY78" fmla="*/ 143899 h 501650"/>
              <a:gd name="connsiteX79" fmla="*/ 452870 w 520700"/>
              <a:gd name="connsiteY79" fmla="*/ 151894 h 501650"/>
              <a:gd name="connsiteX80" fmla="*/ 450875 w 520700"/>
              <a:gd name="connsiteY80" fmla="*/ 159888 h 501650"/>
              <a:gd name="connsiteX81" fmla="*/ 448880 w 520700"/>
              <a:gd name="connsiteY81" fmla="*/ 169881 h 501650"/>
              <a:gd name="connsiteX82" fmla="*/ 440899 w 520700"/>
              <a:gd name="connsiteY82" fmla="*/ 175877 h 501650"/>
              <a:gd name="connsiteX83" fmla="*/ 436909 w 520700"/>
              <a:gd name="connsiteY83" fmla="*/ 187869 h 501650"/>
              <a:gd name="connsiteX84" fmla="*/ 432919 w 520700"/>
              <a:gd name="connsiteY84" fmla="*/ 195863 h 501650"/>
              <a:gd name="connsiteX85" fmla="*/ 430924 w 520700"/>
              <a:gd name="connsiteY85" fmla="*/ 201859 h 501650"/>
              <a:gd name="connsiteX86" fmla="*/ 434914 w 520700"/>
              <a:gd name="connsiteY86" fmla="*/ 211852 h 501650"/>
              <a:gd name="connsiteX87" fmla="*/ 438904 w 520700"/>
              <a:gd name="connsiteY87" fmla="*/ 217848 h 501650"/>
              <a:gd name="connsiteX88" fmla="*/ 436909 w 520700"/>
              <a:gd name="connsiteY88" fmla="*/ 229840 h 501650"/>
              <a:gd name="connsiteX89" fmla="*/ 436909 w 520700"/>
              <a:gd name="connsiteY89" fmla="*/ 233837 h 501650"/>
              <a:gd name="connsiteX90" fmla="*/ 440899 w 520700"/>
              <a:gd name="connsiteY90" fmla="*/ 245828 h 501650"/>
              <a:gd name="connsiteX91" fmla="*/ 440899 w 520700"/>
              <a:gd name="connsiteY91" fmla="*/ 259819 h 501650"/>
              <a:gd name="connsiteX92" fmla="*/ 440899 w 520700"/>
              <a:gd name="connsiteY92" fmla="*/ 271810 h 501650"/>
              <a:gd name="connsiteX93" fmla="*/ 442894 w 520700"/>
              <a:gd name="connsiteY93" fmla="*/ 275807 h 501650"/>
              <a:gd name="connsiteX94" fmla="*/ 446885 w 520700"/>
              <a:gd name="connsiteY94" fmla="*/ 283802 h 501650"/>
              <a:gd name="connsiteX95" fmla="*/ 456860 w 520700"/>
              <a:gd name="connsiteY95" fmla="*/ 287799 h 501650"/>
              <a:gd name="connsiteX96" fmla="*/ 464840 w 520700"/>
              <a:gd name="connsiteY96" fmla="*/ 287799 h 501650"/>
              <a:gd name="connsiteX97" fmla="*/ 472820 w 520700"/>
              <a:gd name="connsiteY97" fmla="*/ 293795 h 501650"/>
              <a:gd name="connsiteX98" fmla="*/ 472820 w 520700"/>
              <a:gd name="connsiteY98" fmla="*/ 297792 h 501650"/>
              <a:gd name="connsiteX99" fmla="*/ 470825 w 520700"/>
              <a:gd name="connsiteY99" fmla="*/ 309784 h 501650"/>
              <a:gd name="connsiteX100" fmla="*/ 468830 w 520700"/>
              <a:gd name="connsiteY100" fmla="*/ 313781 h 501650"/>
              <a:gd name="connsiteX101" fmla="*/ 454865 w 520700"/>
              <a:gd name="connsiteY101" fmla="*/ 331768 h 501650"/>
              <a:gd name="connsiteX102" fmla="*/ 456860 w 520700"/>
              <a:gd name="connsiteY102" fmla="*/ 345759 h 501650"/>
              <a:gd name="connsiteX103" fmla="*/ 466835 w 520700"/>
              <a:gd name="connsiteY103" fmla="*/ 351754 h 501650"/>
              <a:gd name="connsiteX104" fmla="*/ 478805 w 520700"/>
              <a:gd name="connsiteY104" fmla="*/ 379735 h 501650"/>
              <a:gd name="connsiteX105" fmla="*/ 488780 w 520700"/>
              <a:gd name="connsiteY105" fmla="*/ 383732 h 501650"/>
              <a:gd name="connsiteX106" fmla="*/ 498755 w 520700"/>
              <a:gd name="connsiteY106" fmla="*/ 385731 h 501650"/>
              <a:gd name="connsiteX107" fmla="*/ 502745 w 520700"/>
              <a:gd name="connsiteY107" fmla="*/ 397722 h 501650"/>
              <a:gd name="connsiteX108" fmla="*/ 504740 w 520700"/>
              <a:gd name="connsiteY108" fmla="*/ 419707 h 501650"/>
              <a:gd name="connsiteX109" fmla="*/ 506735 w 520700"/>
              <a:gd name="connsiteY109" fmla="*/ 425703 h 501650"/>
              <a:gd name="connsiteX110" fmla="*/ 512720 w 520700"/>
              <a:gd name="connsiteY110" fmla="*/ 427701 h 501650"/>
              <a:gd name="connsiteX111" fmla="*/ 516710 w 520700"/>
              <a:gd name="connsiteY111" fmla="*/ 425703 h 501650"/>
              <a:gd name="connsiteX112" fmla="*/ 520700 w 520700"/>
              <a:gd name="connsiteY112" fmla="*/ 431699 h 501650"/>
              <a:gd name="connsiteX113" fmla="*/ 516710 w 520700"/>
              <a:gd name="connsiteY113" fmla="*/ 441692 h 501650"/>
              <a:gd name="connsiteX114" fmla="*/ 500750 w 520700"/>
              <a:gd name="connsiteY114" fmla="*/ 451685 h 501650"/>
              <a:gd name="connsiteX115" fmla="*/ 488780 w 520700"/>
              <a:gd name="connsiteY115" fmla="*/ 461678 h 501650"/>
              <a:gd name="connsiteX116" fmla="*/ 486785 w 520700"/>
              <a:gd name="connsiteY116" fmla="*/ 471671 h 501650"/>
              <a:gd name="connsiteX117" fmla="*/ 484790 w 520700"/>
              <a:gd name="connsiteY117" fmla="*/ 493656 h 501650"/>
              <a:gd name="connsiteX118" fmla="*/ 484790 w 520700"/>
              <a:gd name="connsiteY118" fmla="*/ 501650 h 501650"/>
              <a:gd name="connsiteX119" fmla="*/ 474815 w 520700"/>
              <a:gd name="connsiteY119" fmla="*/ 499652 h 501650"/>
              <a:gd name="connsiteX120" fmla="*/ 472820 w 520700"/>
              <a:gd name="connsiteY120" fmla="*/ 495654 h 501650"/>
              <a:gd name="connsiteX121" fmla="*/ 468830 w 520700"/>
              <a:gd name="connsiteY121" fmla="*/ 493656 h 501650"/>
              <a:gd name="connsiteX122" fmla="*/ 456860 w 520700"/>
              <a:gd name="connsiteY122" fmla="*/ 495654 h 501650"/>
              <a:gd name="connsiteX123" fmla="*/ 452870 w 520700"/>
              <a:gd name="connsiteY123" fmla="*/ 493656 h 501650"/>
              <a:gd name="connsiteX124" fmla="*/ 446885 w 520700"/>
              <a:gd name="connsiteY124" fmla="*/ 493656 h 501650"/>
              <a:gd name="connsiteX125" fmla="*/ 440899 w 520700"/>
              <a:gd name="connsiteY125" fmla="*/ 493656 h 501650"/>
              <a:gd name="connsiteX126" fmla="*/ 432919 w 520700"/>
              <a:gd name="connsiteY126" fmla="*/ 493656 h 501650"/>
              <a:gd name="connsiteX127" fmla="*/ 428929 w 520700"/>
              <a:gd name="connsiteY127" fmla="*/ 491657 h 501650"/>
              <a:gd name="connsiteX128" fmla="*/ 426934 w 520700"/>
              <a:gd name="connsiteY128" fmla="*/ 493656 h 501650"/>
              <a:gd name="connsiteX129" fmla="*/ 426934 w 520700"/>
              <a:gd name="connsiteY129" fmla="*/ 497653 h 501650"/>
              <a:gd name="connsiteX130" fmla="*/ 420949 w 520700"/>
              <a:gd name="connsiteY130" fmla="*/ 493656 h 501650"/>
              <a:gd name="connsiteX131" fmla="*/ 416959 w 520700"/>
              <a:gd name="connsiteY131" fmla="*/ 487660 h 501650"/>
              <a:gd name="connsiteX132" fmla="*/ 408979 w 520700"/>
              <a:gd name="connsiteY132" fmla="*/ 487660 h 501650"/>
              <a:gd name="connsiteX133" fmla="*/ 404989 w 520700"/>
              <a:gd name="connsiteY133" fmla="*/ 489659 h 501650"/>
              <a:gd name="connsiteX134" fmla="*/ 399004 w 520700"/>
              <a:gd name="connsiteY134" fmla="*/ 487660 h 501650"/>
              <a:gd name="connsiteX135" fmla="*/ 393019 w 520700"/>
              <a:gd name="connsiteY135" fmla="*/ 483663 h 501650"/>
              <a:gd name="connsiteX136" fmla="*/ 387034 w 520700"/>
              <a:gd name="connsiteY136" fmla="*/ 479665 h 501650"/>
              <a:gd name="connsiteX137" fmla="*/ 383044 w 520700"/>
              <a:gd name="connsiteY137" fmla="*/ 479665 h 501650"/>
              <a:gd name="connsiteX138" fmla="*/ 375064 w 520700"/>
              <a:gd name="connsiteY138" fmla="*/ 465675 h 501650"/>
              <a:gd name="connsiteX139" fmla="*/ 369079 w 520700"/>
              <a:gd name="connsiteY139" fmla="*/ 449686 h 501650"/>
              <a:gd name="connsiteX140" fmla="*/ 365089 w 520700"/>
              <a:gd name="connsiteY140" fmla="*/ 441692 h 501650"/>
              <a:gd name="connsiteX141" fmla="*/ 359104 w 520700"/>
              <a:gd name="connsiteY141" fmla="*/ 437694 h 501650"/>
              <a:gd name="connsiteX142" fmla="*/ 357109 w 520700"/>
              <a:gd name="connsiteY142" fmla="*/ 435696 h 501650"/>
              <a:gd name="connsiteX143" fmla="*/ 353119 w 520700"/>
              <a:gd name="connsiteY143" fmla="*/ 433697 h 501650"/>
              <a:gd name="connsiteX144" fmla="*/ 349129 w 520700"/>
              <a:gd name="connsiteY144" fmla="*/ 433697 h 501650"/>
              <a:gd name="connsiteX145" fmla="*/ 343144 w 520700"/>
              <a:gd name="connsiteY145" fmla="*/ 435696 h 501650"/>
              <a:gd name="connsiteX146" fmla="*/ 337158 w 520700"/>
              <a:gd name="connsiteY146" fmla="*/ 439693 h 501650"/>
              <a:gd name="connsiteX147" fmla="*/ 329178 w 520700"/>
              <a:gd name="connsiteY147" fmla="*/ 441692 h 501650"/>
              <a:gd name="connsiteX148" fmla="*/ 321198 w 520700"/>
              <a:gd name="connsiteY148" fmla="*/ 447688 h 501650"/>
              <a:gd name="connsiteX149" fmla="*/ 313218 w 520700"/>
              <a:gd name="connsiteY149" fmla="*/ 451685 h 501650"/>
              <a:gd name="connsiteX150" fmla="*/ 307233 w 520700"/>
              <a:gd name="connsiteY150" fmla="*/ 447688 h 501650"/>
              <a:gd name="connsiteX151" fmla="*/ 301248 w 520700"/>
              <a:gd name="connsiteY151" fmla="*/ 445689 h 501650"/>
              <a:gd name="connsiteX152" fmla="*/ 293268 w 520700"/>
              <a:gd name="connsiteY152" fmla="*/ 445689 h 501650"/>
              <a:gd name="connsiteX153" fmla="*/ 285288 w 520700"/>
              <a:gd name="connsiteY153" fmla="*/ 445689 h 501650"/>
              <a:gd name="connsiteX154" fmla="*/ 279302 w 520700"/>
              <a:gd name="connsiteY154" fmla="*/ 439693 h 501650"/>
              <a:gd name="connsiteX155" fmla="*/ 277307 w 520700"/>
              <a:gd name="connsiteY155" fmla="*/ 435696 h 501650"/>
              <a:gd name="connsiteX156" fmla="*/ 269327 w 520700"/>
              <a:gd name="connsiteY156" fmla="*/ 435696 h 501650"/>
              <a:gd name="connsiteX157" fmla="*/ 259352 w 520700"/>
              <a:gd name="connsiteY157" fmla="*/ 433697 h 501650"/>
              <a:gd name="connsiteX158" fmla="*/ 255362 w 520700"/>
              <a:gd name="connsiteY158" fmla="*/ 431699 h 501650"/>
              <a:gd name="connsiteX159" fmla="*/ 251372 w 520700"/>
              <a:gd name="connsiteY159" fmla="*/ 425703 h 501650"/>
              <a:gd name="connsiteX160" fmla="*/ 253367 w 520700"/>
              <a:gd name="connsiteY160" fmla="*/ 419707 h 501650"/>
              <a:gd name="connsiteX161" fmla="*/ 251372 w 520700"/>
              <a:gd name="connsiteY161" fmla="*/ 419707 h 501650"/>
              <a:gd name="connsiteX162" fmla="*/ 249377 w 520700"/>
              <a:gd name="connsiteY162" fmla="*/ 415710 h 501650"/>
              <a:gd name="connsiteX163" fmla="*/ 245387 w 520700"/>
              <a:gd name="connsiteY163" fmla="*/ 413711 h 501650"/>
              <a:gd name="connsiteX164" fmla="*/ 239402 w 520700"/>
              <a:gd name="connsiteY164" fmla="*/ 415710 h 501650"/>
              <a:gd name="connsiteX165" fmla="*/ 233417 w 520700"/>
              <a:gd name="connsiteY165" fmla="*/ 413711 h 501650"/>
              <a:gd name="connsiteX166" fmla="*/ 227432 w 520700"/>
              <a:gd name="connsiteY166" fmla="*/ 413711 h 501650"/>
              <a:gd name="connsiteX167" fmla="*/ 225437 w 520700"/>
              <a:gd name="connsiteY167" fmla="*/ 407715 h 501650"/>
              <a:gd name="connsiteX168" fmla="*/ 223442 w 520700"/>
              <a:gd name="connsiteY168" fmla="*/ 405717 h 501650"/>
              <a:gd name="connsiteX169" fmla="*/ 219452 w 520700"/>
              <a:gd name="connsiteY169" fmla="*/ 401720 h 501650"/>
              <a:gd name="connsiteX170" fmla="*/ 217457 w 520700"/>
              <a:gd name="connsiteY170" fmla="*/ 397722 h 501650"/>
              <a:gd name="connsiteX171" fmla="*/ 211472 w 520700"/>
              <a:gd name="connsiteY171" fmla="*/ 393725 h 501650"/>
              <a:gd name="connsiteX172" fmla="*/ 211472 w 520700"/>
              <a:gd name="connsiteY172" fmla="*/ 385731 h 501650"/>
              <a:gd name="connsiteX173" fmla="*/ 205487 w 520700"/>
              <a:gd name="connsiteY173" fmla="*/ 377736 h 501650"/>
              <a:gd name="connsiteX174" fmla="*/ 205487 w 520700"/>
              <a:gd name="connsiteY174" fmla="*/ 369742 h 501650"/>
              <a:gd name="connsiteX175" fmla="*/ 201497 w 520700"/>
              <a:gd name="connsiteY175" fmla="*/ 365745 h 501650"/>
              <a:gd name="connsiteX176" fmla="*/ 197507 w 520700"/>
              <a:gd name="connsiteY176" fmla="*/ 361747 h 501650"/>
              <a:gd name="connsiteX177" fmla="*/ 197507 w 520700"/>
              <a:gd name="connsiteY177" fmla="*/ 357750 h 501650"/>
              <a:gd name="connsiteX178" fmla="*/ 193517 w 520700"/>
              <a:gd name="connsiteY178" fmla="*/ 353753 h 501650"/>
              <a:gd name="connsiteX179" fmla="*/ 191522 w 520700"/>
              <a:gd name="connsiteY179" fmla="*/ 347757 h 501650"/>
              <a:gd name="connsiteX180" fmla="*/ 185537 w 520700"/>
              <a:gd name="connsiteY180" fmla="*/ 343760 h 501650"/>
              <a:gd name="connsiteX181" fmla="*/ 183542 w 520700"/>
              <a:gd name="connsiteY181" fmla="*/ 337764 h 501650"/>
              <a:gd name="connsiteX182" fmla="*/ 181547 w 520700"/>
              <a:gd name="connsiteY182" fmla="*/ 327771 h 501650"/>
              <a:gd name="connsiteX183" fmla="*/ 175561 w 520700"/>
              <a:gd name="connsiteY183" fmla="*/ 331768 h 501650"/>
              <a:gd name="connsiteX184" fmla="*/ 171571 w 520700"/>
              <a:gd name="connsiteY184" fmla="*/ 337764 h 501650"/>
              <a:gd name="connsiteX185" fmla="*/ 169576 w 520700"/>
              <a:gd name="connsiteY185" fmla="*/ 335766 h 501650"/>
              <a:gd name="connsiteX186" fmla="*/ 161596 w 520700"/>
              <a:gd name="connsiteY186" fmla="*/ 335766 h 501650"/>
              <a:gd name="connsiteX187" fmla="*/ 155611 w 520700"/>
              <a:gd name="connsiteY187" fmla="*/ 327771 h 501650"/>
              <a:gd name="connsiteX188" fmla="*/ 153616 w 520700"/>
              <a:gd name="connsiteY188" fmla="*/ 333767 h 501650"/>
              <a:gd name="connsiteX189" fmla="*/ 149626 w 520700"/>
              <a:gd name="connsiteY189" fmla="*/ 339763 h 501650"/>
              <a:gd name="connsiteX190" fmla="*/ 147631 w 520700"/>
              <a:gd name="connsiteY190" fmla="*/ 339763 h 501650"/>
              <a:gd name="connsiteX191" fmla="*/ 143641 w 520700"/>
              <a:gd name="connsiteY191" fmla="*/ 337764 h 501650"/>
              <a:gd name="connsiteX192" fmla="*/ 141646 w 520700"/>
              <a:gd name="connsiteY192" fmla="*/ 335766 h 501650"/>
              <a:gd name="connsiteX193" fmla="*/ 141646 w 520700"/>
              <a:gd name="connsiteY193" fmla="*/ 333767 h 501650"/>
              <a:gd name="connsiteX194" fmla="*/ 139651 w 520700"/>
              <a:gd name="connsiteY194" fmla="*/ 327771 h 501650"/>
              <a:gd name="connsiteX195" fmla="*/ 137656 w 520700"/>
              <a:gd name="connsiteY195" fmla="*/ 321775 h 501650"/>
              <a:gd name="connsiteX196" fmla="*/ 131671 w 520700"/>
              <a:gd name="connsiteY196" fmla="*/ 313781 h 501650"/>
              <a:gd name="connsiteX197" fmla="*/ 125686 w 520700"/>
              <a:gd name="connsiteY197" fmla="*/ 305787 h 501650"/>
              <a:gd name="connsiteX198" fmla="*/ 125686 w 520700"/>
              <a:gd name="connsiteY198" fmla="*/ 293795 h 501650"/>
              <a:gd name="connsiteX199" fmla="*/ 119701 w 520700"/>
              <a:gd name="connsiteY199" fmla="*/ 285800 h 501650"/>
              <a:gd name="connsiteX200" fmla="*/ 115711 w 520700"/>
              <a:gd name="connsiteY200" fmla="*/ 273809 h 501650"/>
              <a:gd name="connsiteX201" fmla="*/ 109726 w 520700"/>
              <a:gd name="connsiteY201" fmla="*/ 261817 h 501650"/>
              <a:gd name="connsiteX202" fmla="*/ 103741 w 520700"/>
              <a:gd name="connsiteY202" fmla="*/ 253823 h 501650"/>
              <a:gd name="connsiteX203" fmla="*/ 97756 w 520700"/>
              <a:gd name="connsiteY203" fmla="*/ 249826 h 501650"/>
              <a:gd name="connsiteX204" fmla="*/ 89776 w 520700"/>
              <a:gd name="connsiteY204" fmla="*/ 245828 h 501650"/>
              <a:gd name="connsiteX205" fmla="*/ 83791 w 520700"/>
              <a:gd name="connsiteY205" fmla="*/ 245828 h 501650"/>
              <a:gd name="connsiteX206" fmla="*/ 81796 w 520700"/>
              <a:gd name="connsiteY206" fmla="*/ 243830 h 501650"/>
              <a:gd name="connsiteX207" fmla="*/ 73815 w 520700"/>
              <a:gd name="connsiteY207" fmla="*/ 243830 h 501650"/>
              <a:gd name="connsiteX208" fmla="*/ 67830 w 520700"/>
              <a:gd name="connsiteY208" fmla="*/ 243830 h 501650"/>
              <a:gd name="connsiteX209" fmla="*/ 63840 w 520700"/>
              <a:gd name="connsiteY209" fmla="*/ 239833 h 501650"/>
              <a:gd name="connsiteX210" fmla="*/ 57855 w 520700"/>
              <a:gd name="connsiteY210" fmla="*/ 225842 h 501650"/>
              <a:gd name="connsiteX211" fmla="*/ 55860 w 520700"/>
              <a:gd name="connsiteY211" fmla="*/ 207855 h 501650"/>
              <a:gd name="connsiteX212" fmla="*/ 57855 w 520700"/>
              <a:gd name="connsiteY212" fmla="*/ 199860 h 501650"/>
              <a:gd name="connsiteX213" fmla="*/ 63840 w 520700"/>
              <a:gd name="connsiteY213" fmla="*/ 183872 h 501650"/>
              <a:gd name="connsiteX214" fmla="*/ 61845 w 520700"/>
              <a:gd name="connsiteY214" fmla="*/ 171880 h 501650"/>
              <a:gd name="connsiteX215" fmla="*/ 57855 w 520700"/>
              <a:gd name="connsiteY215" fmla="*/ 163886 h 501650"/>
              <a:gd name="connsiteX216" fmla="*/ 53865 w 520700"/>
              <a:gd name="connsiteY216" fmla="*/ 157890 h 501650"/>
              <a:gd name="connsiteX217" fmla="*/ 55860 w 520700"/>
              <a:gd name="connsiteY217" fmla="*/ 147897 h 501650"/>
              <a:gd name="connsiteX218" fmla="*/ 49875 w 520700"/>
              <a:gd name="connsiteY218" fmla="*/ 141901 h 501650"/>
              <a:gd name="connsiteX219" fmla="*/ 41895 w 520700"/>
              <a:gd name="connsiteY219" fmla="*/ 135905 h 501650"/>
              <a:gd name="connsiteX220" fmla="*/ 35910 w 520700"/>
              <a:gd name="connsiteY220" fmla="*/ 131908 h 501650"/>
              <a:gd name="connsiteX221" fmla="*/ 25935 w 520700"/>
              <a:gd name="connsiteY221" fmla="*/ 123913 h 501650"/>
              <a:gd name="connsiteX222" fmla="*/ 21945 w 520700"/>
              <a:gd name="connsiteY222" fmla="*/ 113920 h 501650"/>
              <a:gd name="connsiteX223" fmla="*/ 19950 w 520700"/>
              <a:gd name="connsiteY223" fmla="*/ 103927 h 501650"/>
              <a:gd name="connsiteX224" fmla="*/ 17955 w 520700"/>
              <a:gd name="connsiteY224" fmla="*/ 93934 h 501650"/>
              <a:gd name="connsiteX225" fmla="*/ 15960 w 520700"/>
              <a:gd name="connsiteY225" fmla="*/ 87939 h 501650"/>
              <a:gd name="connsiteX226" fmla="*/ 7980 w 520700"/>
              <a:gd name="connsiteY226" fmla="*/ 89937 h 501650"/>
              <a:gd name="connsiteX227" fmla="*/ 0 w 520700"/>
              <a:gd name="connsiteY227" fmla="*/ 89937 h 501650"/>
              <a:gd name="connsiteX228" fmla="*/ 0 w 520700"/>
              <a:gd name="connsiteY228" fmla="*/ 87939 h 501650"/>
              <a:gd name="connsiteX229" fmla="*/ 7980 w 520700"/>
              <a:gd name="connsiteY229" fmla="*/ 75947 h 501650"/>
              <a:gd name="connsiteX230" fmla="*/ 5985 w 520700"/>
              <a:gd name="connsiteY230" fmla="*/ 65954 h 501650"/>
              <a:gd name="connsiteX231" fmla="*/ 5985 w 520700"/>
              <a:gd name="connsiteY231" fmla="*/ 45968 h 501650"/>
              <a:gd name="connsiteX232" fmla="*/ 3990 w 520700"/>
              <a:gd name="connsiteY232" fmla="*/ 17987 h 501650"/>
              <a:gd name="connsiteX233" fmla="*/ 9975 w 520700"/>
              <a:gd name="connsiteY233" fmla="*/ 11992 h 501650"/>
              <a:gd name="connsiteX234" fmla="*/ 9975 w 520700"/>
              <a:gd name="connsiteY234" fmla="*/ 5996 h 501650"/>
              <a:gd name="connsiteX235" fmla="*/ 9975 w 520700"/>
              <a:gd name="connsiteY235" fmla="*/ 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20700" h="501650">
                <a:moveTo>
                  <a:pt x="349250" y="441325"/>
                </a:moveTo>
                <a:cubicBezTo>
                  <a:pt x="349250" y="443310"/>
                  <a:pt x="347209" y="445294"/>
                  <a:pt x="345168" y="447278"/>
                </a:cubicBezTo>
                <a:cubicBezTo>
                  <a:pt x="343127" y="449263"/>
                  <a:pt x="339045" y="451247"/>
                  <a:pt x="339045" y="451247"/>
                </a:cubicBezTo>
                <a:cubicBezTo>
                  <a:pt x="339045" y="451247"/>
                  <a:pt x="339045" y="451247"/>
                  <a:pt x="337004" y="453231"/>
                </a:cubicBezTo>
                <a:cubicBezTo>
                  <a:pt x="334963" y="453231"/>
                  <a:pt x="334963" y="453231"/>
                  <a:pt x="332922" y="451247"/>
                </a:cubicBezTo>
                <a:cubicBezTo>
                  <a:pt x="332922" y="449263"/>
                  <a:pt x="328840" y="453231"/>
                  <a:pt x="328840" y="453231"/>
                </a:cubicBezTo>
                <a:cubicBezTo>
                  <a:pt x="326798" y="455216"/>
                  <a:pt x="322716" y="457200"/>
                  <a:pt x="322716" y="453231"/>
                </a:cubicBezTo>
                <a:cubicBezTo>
                  <a:pt x="320675" y="449263"/>
                  <a:pt x="324757" y="449263"/>
                  <a:pt x="324757" y="449263"/>
                </a:cubicBezTo>
                <a:cubicBezTo>
                  <a:pt x="324757" y="449263"/>
                  <a:pt x="326798" y="449263"/>
                  <a:pt x="326798" y="447278"/>
                </a:cubicBezTo>
                <a:cubicBezTo>
                  <a:pt x="326798" y="445294"/>
                  <a:pt x="324757" y="443310"/>
                  <a:pt x="328840" y="443310"/>
                </a:cubicBezTo>
                <a:cubicBezTo>
                  <a:pt x="332922" y="443310"/>
                  <a:pt x="332922" y="445294"/>
                  <a:pt x="334963" y="445294"/>
                </a:cubicBezTo>
                <a:cubicBezTo>
                  <a:pt x="334963" y="445294"/>
                  <a:pt x="339045" y="443310"/>
                  <a:pt x="343127" y="443310"/>
                </a:cubicBezTo>
                <a:cubicBezTo>
                  <a:pt x="345168" y="441325"/>
                  <a:pt x="347209" y="441325"/>
                  <a:pt x="349250" y="441325"/>
                </a:cubicBezTo>
                <a:close/>
                <a:moveTo>
                  <a:pt x="9975" y="0"/>
                </a:moveTo>
                <a:cubicBezTo>
                  <a:pt x="11970" y="0"/>
                  <a:pt x="13965" y="0"/>
                  <a:pt x="15960" y="0"/>
                </a:cubicBezTo>
                <a:cubicBezTo>
                  <a:pt x="17955" y="0"/>
                  <a:pt x="23940" y="1998"/>
                  <a:pt x="25935" y="3997"/>
                </a:cubicBezTo>
                <a:cubicBezTo>
                  <a:pt x="27930" y="3997"/>
                  <a:pt x="39900" y="11992"/>
                  <a:pt x="39900" y="13990"/>
                </a:cubicBezTo>
                <a:cubicBezTo>
                  <a:pt x="39900" y="15989"/>
                  <a:pt x="47880" y="25982"/>
                  <a:pt x="47880" y="25982"/>
                </a:cubicBezTo>
                <a:cubicBezTo>
                  <a:pt x="47880" y="25982"/>
                  <a:pt x="47880" y="25982"/>
                  <a:pt x="57855" y="29979"/>
                </a:cubicBezTo>
                <a:cubicBezTo>
                  <a:pt x="57855" y="29979"/>
                  <a:pt x="57855" y="29979"/>
                  <a:pt x="67830" y="31978"/>
                </a:cubicBezTo>
                <a:cubicBezTo>
                  <a:pt x="67830" y="31978"/>
                  <a:pt x="67830" y="31978"/>
                  <a:pt x="73815" y="31978"/>
                </a:cubicBezTo>
                <a:cubicBezTo>
                  <a:pt x="73815" y="31978"/>
                  <a:pt x="81796" y="27980"/>
                  <a:pt x="81796" y="25982"/>
                </a:cubicBezTo>
                <a:cubicBezTo>
                  <a:pt x="83791" y="23983"/>
                  <a:pt x="89776" y="15989"/>
                  <a:pt x="91771" y="13990"/>
                </a:cubicBezTo>
                <a:cubicBezTo>
                  <a:pt x="91771" y="13990"/>
                  <a:pt x="101746" y="1998"/>
                  <a:pt x="101746" y="1998"/>
                </a:cubicBezTo>
                <a:cubicBezTo>
                  <a:pt x="101746" y="0"/>
                  <a:pt x="105736" y="0"/>
                  <a:pt x="105736" y="0"/>
                </a:cubicBezTo>
                <a:cubicBezTo>
                  <a:pt x="107731" y="0"/>
                  <a:pt x="113716" y="5996"/>
                  <a:pt x="113716" y="5996"/>
                </a:cubicBezTo>
                <a:cubicBezTo>
                  <a:pt x="113716" y="5996"/>
                  <a:pt x="107731" y="15989"/>
                  <a:pt x="107731" y="17987"/>
                </a:cubicBezTo>
                <a:cubicBezTo>
                  <a:pt x="107731" y="17987"/>
                  <a:pt x="111721" y="21985"/>
                  <a:pt x="113716" y="21985"/>
                </a:cubicBezTo>
                <a:cubicBezTo>
                  <a:pt x="113716" y="23983"/>
                  <a:pt x="119701" y="27980"/>
                  <a:pt x="119701" y="27980"/>
                </a:cubicBezTo>
                <a:cubicBezTo>
                  <a:pt x="119701" y="27980"/>
                  <a:pt x="119701" y="27980"/>
                  <a:pt x="119701" y="33976"/>
                </a:cubicBezTo>
                <a:cubicBezTo>
                  <a:pt x="119701" y="33976"/>
                  <a:pt x="119701" y="33976"/>
                  <a:pt x="121696" y="43969"/>
                </a:cubicBezTo>
                <a:cubicBezTo>
                  <a:pt x="121696" y="43969"/>
                  <a:pt x="121696" y="43969"/>
                  <a:pt x="131671" y="49965"/>
                </a:cubicBezTo>
                <a:cubicBezTo>
                  <a:pt x="131671" y="49965"/>
                  <a:pt x="133666" y="49965"/>
                  <a:pt x="133666" y="51964"/>
                </a:cubicBezTo>
                <a:cubicBezTo>
                  <a:pt x="131671" y="53962"/>
                  <a:pt x="131671" y="59958"/>
                  <a:pt x="131671" y="63955"/>
                </a:cubicBezTo>
                <a:cubicBezTo>
                  <a:pt x="133666" y="67952"/>
                  <a:pt x="137656" y="73948"/>
                  <a:pt x="139651" y="75947"/>
                </a:cubicBezTo>
                <a:cubicBezTo>
                  <a:pt x="139651" y="75947"/>
                  <a:pt x="143641" y="77945"/>
                  <a:pt x="145636" y="79944"/>
                </a:cubicBezTo>
                <a:cubicBezTo>
                  <a:pt x="145636" y="81943"/>
                  <a:pt x="147631" y="83941"/>
                  <a:pt x="151621" y="83941"/>
                </a:cubicBezTo>
                <a:cubicBezTo>
                  <a:pt x="155611" y="83941"/>
                  <a:pt x="159601" y="85940"/>
                  <a:pt x="163591" y="85940"/>
                </a:cubicBezTo>
                <a:cubicBezTo>
                  <a:pt x="165586" y="87939"/>
                  <a:pt x="171571" y="89937"/>
                  <a:pt x="173566" y="89937"/>
                </a:cubicBezTo>
                <a:cubicBezTo>
                  <a:pt x="173566" y="91936"/>
                  <a:pt x="177556" y="97932"/>
                  <a:pt x="179551" y="97932"/>
                </a:cubicBezTo>
                <a:cubicBezTo>
                  <a:pt x="181547" y="99930"/>
                  <a:pt x="187532" y="103927"/>
                  <a:pt x="189527" y="105926"/>
                </a:cubicBezTo>
                <a:cubicBezTo>
                  <a:pt x="191522" y="105926"/>
                  <a:pt x="195512" y="107925"/>
                  <a:pt x="195512" y="109923"/>
                </a:cubicBezTo>
                <a:cubicBezTo>
                  <a:pt x="197507" y="109923"/>
                  <a:pt x="203492" y="111922"/>
                  <a:pt x="207482" y="111922"/>
                </a:cubicBezTo>
                <a:cubicBezTo>
                  <a:pt x="209477" y="111922"/>
                  <a:pt x="215462" y="111922"/>
                  <a:pt x="219452" y="111922"/>
                </a:cubicBezTo>
                <a:cubicBezTo>
                  <a:pt x="221447" y="111922"/>
                  <a:pt x="233417" y="111922"/>
                  <a:pt x="237407" y="111922"/>
                </a:cubicBezTo>
                <a:cubicBezTo>
                  <a:pt x="239402" y="109923"/>
                  <a:pt x="243392" y="107925"/>
                  <a:pt x="245387" y="107925"/>
                </a:cubicBezTo>
                <a:cubicBezTo>
                  <a:pt x="249377" y="107925"/>
                  <a:pt x="253367" y="105926"/>
                  <a:pt x="255362" y="105926"/>
                </a:cubicBezTo>
                <a:cubicBezTo>
                  <a:pt x="259352" y="103927"/>
                  <a:pt x="259352" y="103927"/>
                  <a:pt x="259352" y="105926"/>
                </a:cubicBezTo>
                <a:cubicBezTo>
                  <a:pt x="261347" y="107925"/>
                  <a:pt x="263342" y="109923"/>
                  <a:pt x="263342" y="107925"/>
                </a:cubicBezTo>
                <a:cubicBezTo>
                  <a:pt x="265337" y="105926"/>
                  <a:pt x="267332" y="105926"/>
                  <a:pt x="267332" y="105926"/>
                </a:cubicBezTo>
                <a:cubicBezTo>
                  <a:pt x="267332" y="105926"/>
                  <a:pt x="269327" y="103927"/>
                  <a:pt x="269327" y="101929"/>
                </a:cubicBezTo>
                <a:cubicBezTo>
                  <a:pt x="269327" y="99930"/>
                  <a:pt x="267332" y="97932"/>
                  <a:pt x="267332" y="95933"/>
                </a:cubicBezTo>
                <a:cubicBezTo>
                  <a:pt x="265337" y="91936"/>
                  <a:pt x="265337" y="89937"/>
                  <a:pt x="265337" y="87939"/>
                </a:cubicBezTo>
                <a:cubicBezTo>
                  <a:pt x="265337" y="85940"/>
                  <a:pt x="267332" y="83941"/>
                  <a:pt x="267332" y="83941"/>
                </a:cubicBezTo>
                <a:cubicBezTo>
                  <a:pt x="267332" y="83941"/>
                  <a:pt x="269327" y="85940"/>
                  <a:pt x="273317" y="85940"/>
                </a:cubicBezTo>
                <a:cubicBezTo>
                  <a:pt x="275312" y="85940"/>
                  <a:pt x="283292" y="87939"/>
                  <a:pt x="283292" y="87939"/>
                </a:cubicBezTo>
                <a:cubicBezTo>
                  <a:pt x="283292" y="87939"/>
                  <a:pt x="283292" y="87939"/>
                  <a:pt x="287283" y="83941"/>
                </a:cubicBezTo>
                <a:cubicBezTo>
                  <a:pt x="287283" y="83941"/>
                  <a:pt x="287283" y="83941"/>
                  <a:pt x="281297" y="75947"/>
                </a:cubicBezTo>
                <a:cubicBezTo>
                  <a:pt x="281297" y="75947"/>
                  <a:pt x="287283" y="69951"/>
                  <a:pt x="287283" y="69951"/>
                </a:cubicBezTo>
                <a:cubicBezTo>
                  <a:pt x="291273" y="67952"/>
                  <a:pt x="291273" y="67952"/>
                  <a:pt x="293268" y="67952"/>
                </a:cubicBezTo>
                <a:cubicBezTo>
                  <a:pt x="295263" y="65954"/>
                  <a:pt x="295263" y="65954"/>
                  <a:pt x="297258" y="63955"/>
                </a:cubicBezTo>
                <a:cubicBezTo>
                  <a:pt x="299253" y="63955"/>
                  <a:pt x="303243" y="61957"/>
                  <a:pt x="305238" y="61957"/>
                </a:cubicBezTo>
                <a:cubicBezTo>
                  <a:pt x="305238" y="59958"/>
                  <a:pt x="309228" y="61957"/>
                  <a:pt x="309228" y="61957"/>
                </a:cubicBezTo>
                <a:cubicBezTo>
                  <a:pt x="311223" y="61957"/>
                  <a:pt x="317208" y="61957"/>
                  <a:pt x="317208" y="59958"/>
                </a:cubicBezTo>
                <a:cubicBezTo>
                  <a:pt x="319203" y="59958"/>
                  <a:pt x="323193" y="55961"/>
                  <a:pt x="327183" y="55961"/>
                </a:cubicBezTo>
                <a:cubicBezTo>
                  <a:pt x="329178" y="57959"/>
                  <a:pt x="337158" y="59958"/>
                  <a:pt x="339153" y="61957"/>
                </a:cubicBezTo>
                <a:cubicBezTo>
                  <a:pt x="339153" y="63955"/>
                  <a:pt x="345139" y="67952"/>
                  <a:pt x="347134" y="67952"/>
                </a:cubicBezTo>
                <a:cubicBezTo>
                  <a:pt x="351124" y="69951"/>
                  <a:pt x="355114" y="69951"/>
                  <a:pt x="357109" y="69951"/>
                </a:cubicBezTo>
                <a:cubicBezTo>
                  <a:pt x="359104" y="71950"/>
                  <a:pt x="365089" y="73948"/>
                  <a:pt x="369079" y="75947"/>
                </a:cubicBezTo>
                <a:cubicBezTo>
                  <a:pt x="371074" y="75947"/>
                  <a:pt x="375064" y="75947"/>
                  <a:pt x="379054" y="77945"/>
                </a:cubicBezTo>
                <a:cubicBezTo>
                  <a:pt x="381049" y="77945"/>
                  <a:pt x="391024" y="83941"/>
                  <a:pt x="393019" y="85940"/>
                </a:cubicBezTo>
                <a:cubicBezTo>
                  <a:pt x="393019" y="87939"/>
                  <a:pt x="397009" y="93934"/>
                  <a:pt x="399004" y="93934"/>
                </a:cubicBezTo>
                <a:cubicBezTo>
                  <a:pt x="399004" y="95933"/>
                  <a:pt x="406984" y="97932"/>
                  <a:pt x="406984" y="97932"/>
                </a:cubicBezTo>
                <a:cubicBezTo>
                  <a:pt x="408979" y="97932"/>
                  <a:pt x="414964" y="101929"/>
                  <a:pt x="414964" y="103927"/>
                </a:cubicBezTo>
                <a:cubicBezTo>
                  <a:pt x="416959" y="105926"/>
                  <a:pt x="422944" y="113920"/>
                  <a:pt x="422944" y="113920"/>
                </a:cubicBezTo>
                <a:cubicBezTo>
                  <a:pt x="422944" y="113920"/>
                  <a:pt x="422944" y="113920"/>
                  <a:pt x="438904" y="115919"/>
                </a:cubicBezTo>
                <a:cubicBezTo>
                  <a:pt x="438904" y="115919"/>
                  <a:pt x="442894" y="121915"/>
                  <a:pt x="442894" y="123913"/>
                </a:cubicBezTo>
                <a:cubicBezTo>
                  <a:pt x="444890" y="125912"/>
                  <a:pt x="442894" y="135905"/>
                  <a:pt x="442894" y="135905"/>
                </a:cubicBezTo>
                <a:cubicBezTo>
                  <a:pt x="442894" y="135905"/>
                  <a:pt x="446885" y="141901"/>
                  <a:pt x="448880" y="143899"/>
                </a:cubicBezTo>
                <a:cubicBezTo>
                  <a:pt x="448880" y="145898"/>
                  <a:pt x="452870" y="151894"/>
                  <a:pt x="452870" y="151894"/>
                </a:cubicBezTo>
                <a:cubicBezTo>
                  <a:pt x="452870" y="151894"/>
                  <a:pt x="450875" y="157890"/>
                  <a:pt x="450875" y="159888"/>
                </a:cubicBezTo>
                <a:cubicBezTo>
                  <a:pt x="450875" y="163886"/>
                  <a:pt x="448880" y="165884"/>
                  <a:pt x="448880" y="169881"/>
                </a:cubicBezTo>
                <a:cubicBezTo>
                  <a:pt x="446885" y="171880"/>
                  <a:pt x="442894" y="173879"/>
                  <a:pt x="440899" y="175877"/>
                </a:cubicBezTo>
                <a:cubicBezTo>
                  <a:pt x="440899" y="177876"/>
                  <a:pt x="436909" y="183872"/>
                  <a:pt x="436909" y="187869"/>
                </a:cubicBezTo>
                <a:cubicBezTo>
                  <a:pt x="436909" y="189867"/>
                  <a:pt x="432919" y="193865"/>
                  <a:pt x="432919" y="195863"/>
                </a:cubicBezTo>
                <a:cubicBezTo>
                  <a:pt x="430924" y="195863"/>
                  <a:pt x="430924" y="197862"/>
                  <a:pt x="430924" y="201859"/>
                </a:cubicBezTo>
                <a:cubicBezTo>
                  <a:pt x="432919" y="205856"/>
                  <a:pt x="432919" y="209853"/>
                  <a:pt x="434914" y="211852"/>
                </a:cubicBezTo>
                <a:cubicBezTo>
                  <a:pt x="436909" y="213851"/>
                  <a:pt x="438904" y="215849"/>
                  <a:pt x="438904" y="217848"/>
                </a:cubicBezTo>
                <a:cubicBezTo>
                  <a:pt x="438904" y="219846"/>
                  <a:pt x="436909" y="227841"/>
                  <a:pt x="436909" y="229840"/>
                </a:cubicBezTo>
                <a:cubicBezTo>
                  <a:pt x="436909" y="229840"/>
                  <a:pt x="436909" y="231838"/>
                  <a:pt x="436909" y="233837"/>
                </a:cubicBezTo>
                <a:cubicBezTo>
                  <a:pt x="438904" y="237834"/>
                  <a:pt x="440899" y="245828"/>
                  <a:pt x="440899" y="245828"/>
                </a:cubicBezTo>
                <a:cubicBezTo>
                  <a:pt x="440899" y="245828"/>
                  <a:pt x="440899" y="255821"/>
                  <a:pt x="440899" y="259819"/>
                </a:cubicBezTo>
                <a:cubicBezTo>
                  <a:pt x="440899" y="261817"/>
                  <a:pt x="440899" y="267813"/>
                  <a:pt x="440899" y="271810"/>
                </a:cubicBezTo>
                <a:cubicBezTo>
                  <a:pt x="440899" y="273809"/>
                  <a:pt x="442894" y="273809"/>
                  <a:pt x="442894" y="275807"/>
                </a:cubicBezTo>
                <a:cubicBezTo>
                  <a:pt x="442894" y="275807"/>
                  <a:pt x="444890" y="281803"/>
                  <a:pt x="446885" y="283802"/>
                </a:cubicBezTo>
                <a:cubicBezTo>
                  <a:pt x="448880" y="285800"/>
                  <a:pt x="452870" y="287799"/>
                  <a:pt x="456860" y="287799"/>
                </a:cubicBezTo>
                <a:cubicBezTo>
                  <a:pt x="456860" y="287799"/>
                  <a:pt x="464840" y="287799"/>
                  <a:pt x="464840" y="287799"/>
                </a:cubicBezTo>
                <a:cubicBezTo>
                  <a:pt x="464840" y="287799"/>
                  <a:pt x="464840" y="287799"/>
                  <a:pt x="472820" y="293795"/>
                </a:cubicBezTo>
                <a:cubicBezTo>
                  <a:pt x="472820" y="293795"/>
                  <a:pt x="472820" y="295793"/>
                  <a:pt x="472820" y="297792"/>
                </a:cubicBezTo>
                <a:cubicBezTo>
                  <a:pt x="472820" y="299791"/>
                  <a:pt x="470825" y="307785"/>
                  <a:pt x="470825" y="309784"/>
                </a:cubicBezTo>
                <a:cubicBezTo>
                  <a:pt x="470825" y="311782"/>
                  <a:pt x="468830" y="313781"/>
                  <a:pt x="468830" y="313781"/>
                </a:cubicBezTo>
                <a:cubicBezTo>
                  <a:pt x="468830" y="313781"/>
                  <a:pt x="468830" y="313781"/>
                  <a:pt x="454865" y="331768"/>
                </a:cubicBezTo>
                <a:cubicBezTo>
                  <a:pt x="454865" y="331768"/>
                  <a:pt x="454865" y="331768"/>
                  <a:pt x="456860" y="345759"/>
                </a:cubicBezTo>
                <a:cubicBezTo>
                  <a:pt x="456860" y="345759"/>
                  <a:pt x="456860" y="345759"/>
                  <a:pt x="466835" y="351754"/>
                </a:cubicBezTo>
                <a:cubicBezTo>
                  <a:pt x="466835" y="351754"/>
                  <a:pt x="466835" y="351754"/>
                  <a:pt x="478805" y="379735"/>
                </a:cubicBezTo>
                <a:cubicBezTo>
                  <a:pt x="478805" y="379735"/>
                  <a:pt x="484790" y="383732"/>
                  <a:pt x="488780" y="383732"/>
                </a:cubicBezTo>
                <a:cubicBezTo>
                  <a:pt x="492770" y="385731"/>
                  <a:pt x="498755" y="383732"/>
                  <a:pt x="498755" y="385731"/>
                </a:cubicBezTo>
                <a:cubicBezTo>
                  <a:pt x="500750" y="389728"/>
                  <a:pt x="502745" y="393725"/>
                  <a:pt x="502745" y="397722"/>
                </a:cubicBezTo>
                <a:cubicBezTo>
                  <a:pt x="504740" y="399721"/>
                  <a:pt x="504740" y="417708"/>
                  <a:pt x="504740" y="419707"/>
                </a:cubicBezTo>
                <a:cubicBezTo>
                  <a:pt x="504740" y="423704"/>
                  <a:pt x="504740" y="425703"/>
                  <a:pt x="506735" y="425703"/>
                </a:cubicBezTo>
                <a:cubicBezTo>
                  <a:pt x="508730" y="427701"/>
                  <a:pt x="510725" y="427701"/>
                  <a:pt x="512720" y="427701"/>
                </a:cubicBezTo>
                <a:cubicBezTo>
                  <a:pt x="514715" y="425703"/>
                  <a:pt x="514715" y="425703"/>
                  <a:pt x="516710" y="425703"/>
                </a:cubicBezTo>
                <a:cubicBezTo>
                  <a:pt x="518705" y="425703"/>
                  <a:pt x="520700" y="429700"/>
                  <a:pt x="520700" y="431699"/>
                </a:cubicBezTo>
                <a:cubicBezTo>
                  <a:pt x="520700" y="435696"/>
                  <a:pt x="516710" y="441692"/>
                  <a:pt x="516710" y="441692"/>
                </a:cubicBezTo>
                <a:cubicBezTo>
                  <a:pt x="516710" y="441692"/>
                  <a:pt x="502745" y="451685"/>
                  <a:pt x="500750" y="451685"/>
                </a:cubicBezTo>
                <a:cubicBezTo>
                  <a:pt x="498755" y="453684"/>
                  <a:pt x="490775" y="457681"/>
                  <a:pt x="488780" y="461678"/>
                </a:cubicBezTo>
                <a:cubicBezTo>
                  <a:pt x="486785" y="465675"/>
                  <a:pt x="486785" y="467674"/>
                  <a:pt x="486785" y="471671"/>
                </a:cubicBezTo>
                <a:cubicBezTo>
                  <a:pt x="486785" y="477667"/>
                  <a:pt x="486785" y="491657"/>
                  <a:pt x="484790" y="493656"/>
                </a:cubicBezTo>
                <a:cubicBezTo>
                  <a:pt x="484790" y="497653"/>
                  <a:pt x="484790" y="501650"/>
                  <a:pt x="484790" y="501650"/>
                </a:cubicBezTo>
                <a:cubicBezTo>
                  <a:pt x="478805" y="497653"/>
                  <a:pt x="478805" y="499652"/>
                  <a:pt x="474815" y="499652"/>
                </a:cubicBezTo>
                <a:cubicBezTo>
                  <a:pt x="470825" y="501650"/>
                  <a:pt x="472820" y="499652"/>
                  <a:pt x="472820" y="495654"/>
                </a:cubicBezTo>
                <a:cubicBezTo>
                  <a:pt x="472820" y="495654"/>
                  <a:pt x="468830" y="493656"/>
                  <a:pt x="468830" y="493656"/>
                </a:cubicBezTo>
                <a:cubicBezTo>
                  <a:pt x="466835" y="493656"/>
                  <a:pt x="460850" y="493656"/>
                  <a:pt x="456860" y="495654"/>
                </a:cubicBezTo>
                <a:cubicBezTo>
                  <a:pt x="454865" y="495654"/>
                  <a:pt x="452870" y="495654"/>
                  <a:pt x="452870" y="493656"/>
                </a:cubicBezTo>
                <a:cubicBezTo>
                  <a:pt x="450875" y="491657"/>
                  <a:pt x="446885" y="493656"/>
                  <a:pt x="446885" y="493656"/>
                </a:cubicBezTo>
                <a:cubicBezTo>
                  <a:pt x="446885" y="493656"/>
                  <a:pt x="442894" y="495654"/>
                  <a:pt x="440899" y="493656"/>
                </a:cubicBezTo>
                <a:cubicBezTo>
                  <a:pt x="438904" y="491657"/>
                  <a:pt x="434914" y="493656"/>
                  <a:pt x="432919" y="493656"/>
                </a:cubicBezTo>
                <a:cubicBezTo>
                  <a:pt x="430924" y="495654"/>
                  <a:pt x="432919" y="491657"/>
                  <a:pt x="428929" y="491657"/>
                </a:cubicBezTo>
                <a:cubicBezTo>
                  <a:pt x="424939" y="489659"/>
                  <a:pt x="426934" y="493656"/>
                  <a:pt x="426934" y="493656"/>
                </a:cubicBezTo>
                <a:cubicBezTo>
                  <a:pt x="426934" y="493656"/>
                  <a:pt x="430924" y="495654"/>
                  <a:pt x="426934" y="497653"/>
                </a:cubicBezTo>
                <a:cubicBezTo>
                  <a:pt x="426934" y="497653"/>
                  <a:pt x="422944" y="497653"/>
                  <a:pt x="420949" y="493656"/>
                </a:cubicBezTo>
                <a:cubicBezTo>
                  <a:pt x="418954" y="487660"/>
                  <a:pt x="416959" y="487660"/>
                  <a:pt x="416959" y="487660"/>
                </a:cubicBezTo>
                <a:cubicBezTo>
                  <a:pt x="416959" y="487660"/>
                  <a:pt x="410974" y="487660"/>
                  <a:pt x="408979" y="487660"/>
                </a:cubicBezTo>
                <a:cubicBezTo>
                  <a:pt x="406984" y="485661"/>
                  <a:pt x="404989" y="487660"/>
                  <a:pt x="404989" y="489659"/>
                </a:cubicBezTo>
                <a:cubicBezTo>
                  <a:pt x="402994" y="489659"/>
                  <a:pt x="400999" y="487660"/>
                  <a:pt x="399004" y="487660"/>
                </a:cubicBezTo>
                <a:cubicBezTo>
                  <a:pt x="395014" y="485661"/>
                  <a:pt x="393019" y="483663"/>
                  <a:pt x="393019" y="483663"/>
                </a:cubicBezTo>
                <a:cubicBezTo>
                  <a:pt x="393019" y="481664"/>
                  <a:pt x="391024" y="479665"/>
                  <a:pt x="387034" y="479665"/>
                </a:cubicBezTo>
                <a:cubicBezTo>
                  <a:pt x="383044" y="481664"/>
                  <a:pt x="383044" y="479665"/>
                  <a:pt x="383044" y="479665"/>
                </a:cubicBezTo>
                <a:cubicBezTo>
                  <a:pt x="381049" y="473670"/>
                  <a:pt x="377059" y="471671"/>
                  <a:pt x="375064" y="465675"/>
                </a:cubicBezTo>
                <a:cubicBezTo>
                  <a:pt x="375064" y="461678"/>
                  <a:pt x="369079" y="451685"/>
                  <a:pt x="369079" y="449686"/>
                </a:cubicBezTo>
                <a:cubicBezTo>
                  <a:pt x="367084" y="445689"/>
                  <a:pt x="365089" y="443691"/>
                  <a:pt x="365089" y="441692"/>
                </a:cubicBezTo>
                <a:cubicBezTo>
                  <a:pt x="365089" y="437694"/>
                  <a:pt x="363094" y="437694"/>
                  <a:pt x="359104" y="437694"/>
                </a:cubicBezTo>
                <a:cubicBezTo>
                  <a:pt x="357109" y="437694"/>
                  <a:pt x="357109" y="437694"/>
                  <a:pt x="357109" y="435696"/>
                </a:cubicBezTo>
                <a:cubicBezTo>
                  <a:pt x="357109" y="433697"/>
                  <a:pt x="355114" y="431699"/>
                  <a:pt x="353119" y="433697"/>
                </a:cubicBezTo>
                <a:cubicBezTo>
                  <a:pt x="353119" y="435696"/>
                  <a:pt x="351124" y="433697"/>
                  <a:pt x="349129" y="433697"/>
                </a:cubicBezTo>
                <a:cubicBezTo>
                  <a:pt x="347134" y="431699"/>
                  <a:pt x="343144" y="433697"/>
                  <a:pt x="343144" y="435696"/>
                </a:cubicBezTo>
                <a:cubicBezTo>
                  <a:pt x="343144" y="437694"/>
                  <a:pt x="339153" y="439693"/>
                  <a:pt x="337158" y="439693"/>
                </a:cubicBezTo>
                <a:cubicBezTo>
                  <a:pt x="333168" y="439693"/>
                  <a:pt x="331173" y="441692"/>
                  <a:pt x="329178" y="441692"/>
                </a:cubicBezTo>
                <a:cubicBezTo>
                  <a:pt x="325188" y="441692"/>
                  <a:pt x="321198" y="447688"/>
                  <a:pt x="321198" y="447688"/>
                </a:cubicBezTo>
                <a:cubicBezTo>
                  <a:pt x="321198" y="447688"/>
                  <a:pt x="317208" y="451685"/>
                  <a:pt x="313218" y="451685"/>
                </a:cubicBezTo>
                <a:cubicBezTo>
                  <a:pt x="311223" y="453684"/>
                  <a:pt x="311223" y="451685"/>
                  <a:pt x="307233" y="447688"/>
                </a:cubicBezTo>
                <a:cubicBezTo>
                  <a:pt x="305238" y="445689"/>
                  <a:pt x="301248" y="445689"/>
                  <a:pt x="301248" y="445689"/>
                </a:cubicBezTo>
                <a:cubicBezTo>
                  <a:pt x="301248" y="445689"/>
                  <a:pt x="299253" y="445689"/>
                  <a:pt x="293268" y="445689"/>
                </a:cubicBezTo>
                <a:cubicBezTo>
                  <a:pt x="287283" y="443691"/>
                  <a:pt x="291273" y="443691"/>
                  <a:pt x="285288" y="445689"/>
                </a:cubicBezTo>
                <a:cubicBezTo>
                  <a:pt x="279302" y="445689"/>
                  <a:pt x="281297" y="443691"/>
                  <a:pt x="279302" y="439693"/>
                </a:cubicBezTo>
                <a:cubicBezTo>
                  <a:pt x="279302" y="437694"/>
                  <a:pt x="277307" y="435696"/>
                  <a:pt x="277307" y="435696"/>
                </a:cubicBezTo>
                <a:cubicBezTo>
                  <a:pt x="277307" y="435696"/>
                  <a:pt x="271322" y="437694"/>
                  <a:pt x="269327" y="435696"/>
                </a:cubicBezTo>
                <a:cubicBezTo>
                  <a:pt x="267332" y="433697"/>
                  <a:pt x="263342" y="431699"/>
                  <a:pt x="259352" y="433697"/>
                </a:cubicBezTo>
                <a:cubicBezTo>
                  <a:pt x="255362" y="435696"/>
                  <a:pt x="255362" y="431699"/>
                  <a:pt x="255362" y="431699"/>
                </a:cubicBezTo>
                <a:cubicBezTo>
                  <a:pt x="255362" y="431699"/>
                  <a:pt x="251372" y="427701"/>
                  <a:pt x="251372" y="425703"/>
                </a:cubicBezTo>
                <a:cubicBezTo>
                  <a:pt x="249377" y="423704"/>
                  <a:pt x="251372" y="421706"/>
                  <a:pt x="253367" y="419707"/>
                </a:cubicBezTo>
                <a:cubicBezTo>
                  <a:pt x="255362" y="417708"/>
                  <a:pt x="253367" y="419707"/>
                  <a:pt x="251372" y="419707"/>
                </a:cubicBezTo>
                <a:cubicBezTo>
                  <a:pt x="249377" y="419707"/>
                  <a:pt x="249377" y="417708"/>
                  <a:pt x="249377" y="415710"/>
                </a:cubicBezTo>
                <a:cubicBezTo>
                  <a:pt x="249377" y="415710"/>
                  <a:pt x="245387" y="413711"/>
                  <a:pt x="245387" y="413711"/>
                </a:cubicBezTo>
                <a:cubicBezTo>
                  <a:pt x="243392" y="415710"/>
                  <a:pt x="239402" y="415710"/>
                  <a:pt x="239402" y="415710"/>
                </a:cubicBezTo>
                <a:cubicBezTo>
                  <a:pt x="239402" y="415710"/>
                  <a:pt x="237407" y="411713"/>
                  <a:pt x="233417" y="413711"/>
                </a:cubicBezTo>
                <a:cubicBezTo>
                  <a:pt x="227432" y="413711"/>
                  <a:pt x="227432" y="413711"/>
                  <a:pt x="227432" y="413711"/>
                </a:cubicBezTo>
                <a:cubicBezTo>
                  <a:pt x="227432" y="413711"/>
                  <a:pt x="227432" y="413711"/>
                  <a:pt x="225437" y="407715"/>
                </a:cubicBezTo>
                <a:cubicBezTo>
                  <a:pt x="225437" y="407715"/>
                  <a:pt x="227432" y="407715"/>
                  <a:pt x="223442" y="405717"/>
                </a:cubicBezTo>
                <a:cubicBezTo>
                  <a:pt x="219452" y="405717"/>
                  <a:pt x="219452" y="401720"/>
                  <a:pt x="219452" y="401720"/>
                </a:cubicBezTo>
                <a:cubicBezTo>
                  <a:pt x="219452" y="401720"/>
                  <a:pt x="221447" y="397722"/>
                  <a:pt x="217457" y="397722"/>
                </a:cubicBezTo>
                <a:cubicBezTo>
                  <a:pt x="213467" y="397722"/>
                  <a:pt x="215462" y="395724"/>
                  <a:pt x="211472" y="393725"/>
                </a:cubicBezTo>
                <a:cubicBezTo>
                  <a:pt x="209477" y="391727"/>
                  <a:pt x="211472" y="389728"/>
                  <a:pt x="211472" y="385731"/>
                </a:cubicBezTo>
                <a:cubicBezTo>
                  <a:pt x="211472" y="383732"/>
                  <a:pt x="205487" y="377736"/>
                  <a:pt x="205487" y="377736"/>
                </a:cubicBezTo>
                <a:cubicBezTo>
                  <a:pt x="205487" y="377736"/>
                  <a:pt x="203492" y="373739"/>
                  <a:pt x="205487" y="369742"/>
                </a:cubicBezTo>
                <a:cubicBezTo>
                  <a:pt x="205487" y="367743"/>
                  <a:pt x="201497" y="365745"/>
                  <a:pt x="201497" y="365745"/>
                </a:cubicBezTo>
                <a:cubicBezTo>
                  <a:pt x="201497" y="365745"/>
                  <a:pt x="199502" y="363746"/>
                  <a:pt x="197507" y="361747"/>
                </a:cubicBezTo>
                <a:cubicBezTo>
                  <a:pt x="195512" y="359749"/>
                  <a:pt x="195512" y="359749"/>
                  <a:pt x="197507" y="357750"/>
                </a:cubicBezTo>
                <a:cubicBezTo>
                  <a:pt x="199502" y="355752"/>
                  <a:pt x="197507" y="355752"/>
                  <a:pt x="193517" y="353753"/>
                </a:cubicBezTo>
                <a:cubicBezTo>
                  <a:pt x="189527" y="351754"/>
                  <a:pt x="189527" y="349756"/>
                  <a:pt x="191522" y="347757"/>
                </a:cubicBezTo>
                <a:cubicBezTo>
                  <a:pt x="191522" y="345759"/>
                  <a:pt x="189527" y="343760"/>
                  <a:pt x="185537" y="343760"/>
                </a:cubicBezTo>
                <a:cubicBezTo>
                  <a:pt x="183542" y="341761"/>
                  <a:pt x="183542" y="339763"/>
                  <a:pt x="183542" y="337764"/>
                </a:cubicBezTo>
                <a:cubicBezTo>
                  <a:pt x="185537" y="333767"/>
                  <a:pt x="185537" y="329770"/>
                  <a:pt x="181547" y="327771"/>
                </a:cubicBezTo>
                <a:cubicBezTo>
                  <a:pt x="175561" y="327771"/>
                  <a:pt x="175561" y="331768"/>
                  <a:pt x="175561" y="331768"/>
                </a:cubicBezTo>
                <a:cubicBezTo>
                  <a:pt x="175561" y="331768"/>
                  <a:pt x="175561" y="337764"/>
                  <a:pt x="171571" y="337764"/>
                </a:cubicBezTo>
                <a:cubicBezTo>
                  <a:pt x="167581" y="337764"/>
                  <a:pt x="169576" y="337764"/>
                  <a:pt x="169576" y="335766"/>
                </a:cubicBezTo>
                <a:cubicBezTo>
                  <a:pt x="169576" y="331768"/>
                  <a:pt x="163591" y="335766"/>
                  <a:pt x="161596" y="335766"/>
                </a:cubicBezTo>
                <a:cubicBezTo>
                  <a:pt x="157606" y="333767"/>
                  <a:pt x="157606" y="327771"/>
                  <a:pt x="155611" y="327771"/>
                </a:cubicBezTo>
                <a:cubicBezTo>
                  <a:pt x="153616" y="327771"/>
                  <a:pt x="153616" y="331768"/>
                  <a:pt x="153616" y="333767"/>
                </a:cubicBezTo>
                <a:cubicBezTo>
                  <a:pt x="155611" y="335766"/>
                  <a:pt x="155611" y="339763"/>
                  <a:pt x="149626" y="339763"/>
                </a:cubicBezTo>
                <a:cubicBezTo>
                  <a:pt x="149626" y="339763"/>
                  <a:pt x="149626" y="339763"/>
                  <a:pt x="147631" y="339763"/>
                </a:cubicBezTo>
                <a:cubicBezTo>
                  <a:pt x="147631" y="339763"/>
                  <a:pt x="145636" y="339763"/>
                  <a:pt x="143641" y="337764"/>
                </a:cubicBezTo>
                <a:cubicBezTo>
                  <a:pt x="143641" y="337764"/>
                  <a:pt x="143641" y="337764"/>
                  <a:pt x="141646" y="335766"/>
                </a:cubicBezTo>
                <a:cubicBezTo>
                  <a:pt x="141646" y="335766"/>
                  <a:pt x="141646" y="333767"/>
                  <a:pt x="141646" y="333767"/>
                </a:cubicBezTo>
                <a:cubicBezTo>
                  <a:pt x="141646" y="333767"/>
                  <a:pt x="139651" y="329770"/>
                  <a:pt x="139651" y="327771"/>
                </a:cubicBezTo>
                <a:cubicBezTo>
                  <a:pt x="139651" y="327771"/>
                  <a:pt x="137656" y="321775"/>
                  <a:pt x="137656" y="321775"/>
                </a:cubicBezTo>
                <a:cubicBezTo>
                  <a:pt x="135661" y="319777"/>
                  <a:pt x="133666" y="315780"/>
                  <a:pt x="131671" y="313781"/>
                </a:cubicBezTo>
                <a:cubicBezTo>
                  <a:pt x="129676" y="311782"/>
                  <a:pt x="125686" y="307785"/>
                  <a:pt x="125686" y="305787"/>
                </a:cubicBezTo>
                <a:cubicBezTo>
                  <a:pt x="125686" y="303788"/>
                  <a:pt x="125686" y="297792"/>
                  <a:pt x="125686" y="293795"/>
                </a:cubicBezTo>
                <a:cubicBezTo>
                  <a:pt x="125686" y="291796"/>
                  <a:pt x="121696" y="287799"/>
                  <a:pt x="119701" y="285800"/>
                </a:cubicBezTo>
                <a:cubicBezTo>
                  <a:pt x="117706" y="281803"/>
                  <a:pt x="117706" y="275807"/>
                  <a:pt x="115711" y="273809"/>
                </a:cubicBezTo>
                <a:cubicBezTo>
                  <a:pt x="115711" y="271810"/>
                  <a:pt x="109726" y="261817"/>
                  <a:pt x="109726" y="261817"/>
                </a:cubicBezTo>
                <a:cubicBezTo>
                  <a:pt x="109726" y="259819"/>
                  <a:pt x="105736" y="253823"/>
                  <a:pt x="103741" y="253823"/>
                </a:cubicBezTo>
                <a:cubicBezTo>
                  <a:pt x="101746" y="251824"/>
                  <a:pt x="99751" y="249826"/>
                  <a:pt x="97756" y="249826"/>
                </a:cubicBezTo>
                <a:cubicBezTo>
                  <a:pt x="95761" y="247827"/>
                  <a:pt x="93766" y="247827"/>
                  <a:pt x="89776" y="245828"/>
                </a:cubicBezTo>
                <a:cubicBezTo>
                  <a:pt x="87781" y="245828"/>
                  <a:pt x="85786" y="245828"/>
                  <a:pt x="83791" y="245828"/>
                </a:cubicBezTo>
                <a:cubicBezTo>
                  <a:pt x="81796" y="245828"/>
                  <a:pt x="81796" y="245828"/>
                  <a:pt x="81796" y="243830"/>
                </a:cubicBezTo>
                <a:cubicBezTo>
                  <a:pt x="79801" y="243830"/>
                  <a:pt x="75810" y="243830"/>
                  <a:pt x="73815" y="243830"/>
                </a:cubicBezTo>
                <a:cubicBezTo>
                  <a:pt x="71820" y="243830"/>
                  <a:pt x="69825" y="243830"/>
                  <a:pt x="67830" y="243830"/>
                </a:cubicBezTo>
                <a:cubicBezTo>
                  <a:pt x="67830" y="241831"/>
                  <a:pt x="63840" y="241831"/>
                  <a:pt x="63840" y="239833"/>
                </a:cubicBezTo>
                <a:cubicBezTo>
                  <a:pt x="61845" y="235835"/>
                  <a:pt x="57855" y="231838"/>
                  <a:pt x="57855" y="225842"/>
                </a:cubicBezTo>
                <a:cubicBezTo>
                  <a:pt x="55860" y="221845"/>
                  <a:pt x="55860" y="211852"/>
                  <a:pt x="55860" y="207855"/>
                </a:cubicBezTo>
                <a:cubicBezTo>
                  <a:pt x="55860" y="205856"/>
                  <a:pt x="55860" y="201859"/>
                  <a:pt x="57855" y="199860"/>
                </a:cubicBezTo>
                <a:cubicBezTo>
                  <a:pt x="57855" y="197862"/>
                  <a:pt x="63840" y="185870"/>
                  <a:pt x="63840" y="183872"/>
                </a:cubicBezTo>
                <a:cubicBezTo>
                  <a:pt x="63840" y="179874"/>
                  <a:pt x="61845" y="173879"/>
                  <a:pt x="61845" y="171880"/>
                </a:cubicBezTo>
                <a:cubicBezTo>
                  <a:pt x="61845" y="171880"/>
                  <a:pt x="57855" y="163886"/>
                  <a:pt x="57855" y="163886"/>
                </a:cubicBezTo>
                <a:cubicBezTo>
                  <a:pt x="57855" y="163886"/>
                  <a:pt x="57855" y="163886"/>
                  <a:pt x="53865" y="157890"/>
                </a:cubicBezTo>
                <a:cubicBezTo>
                  <a:pt x="53865" y="157890"/>
                  <a:pt x="53865" y="157890"/>
                  <a:pt x="55860" y="147897"/>
                </a:cubicBezTo>
                <a:cubicBezTo>
                  <a:pt x="55860" y="147897"/>
                  <a:pt x="51870" y="141901"/>
                  <a:pt x="49875" y="141901"/>
                </a:cubicBezTo>
                <a:cubicBezTo>
                  <a:pt x="47880" y="139902"/>
                  <a:pt x="41895" y="137904"/>
                  <a:pt x="41895" y="135905"/>
                </a:cubicBezTo>
                <a:cubicBezTo>
                  <a:pt x="41895" y="133906"/>
                  <a:pt x="35910" y="131908"/>
                  <a:pt x="35910" y="131908"/>
                </a:cubicBezTo>
                <a:cubicBezTo>
                  <a:pt x="35910" y="131908"/>
                  <a:pt x="27930" y="123913"/>
                  <a:pt x="25935" y="123913"/>
                </a:cubicBezTo>
                <a:cubicBezTo>
                  <a:pt x="25935" y="121915"/>
                  <a:pt x="21945" y="115919"/>
                  <a:pt x="21945" y="113920"/>
                </a:cubicBezTo>
                <a:cubicBezTo>
                  <a:pt x="21945" y="111922"/>
                  <a:pt x="19950" y="105926"/>
                  <a:pt x="19950" y="103927"/>
                </a:cubicBezTo>
                <a:cubicBezTo>
                  <a:pt x="19950" y="99930"/>
                  <a:pt x="17955" y="93934"/>
                  <a:pt x="17955" y="93934"/>
                </a:cubicBezTo>
                <a:cubicBezTo>
                  <a:pt x="17955" y="91936"/>
                  <a:pt x="17955" y="87939"/>
                  <a:pt x="15960" y="87939"/>
                </a:cubicBezTo>
                <a:cubicBezTo>
                  <a:pt x="13965" y="87939"/>
                  <a:pt x="9975" y="89937"/>
                  <a:pt x="7980" y="89937"/>
                </a:cubicBezTo>
                <a:cubicBezTo>
                  <a:pt x="5985" y="89937"/>
                  <a:pt x="0" y="89937"/>
                  <a:pt x="0" y="89937"/>
                </a:cubicBezTo>
                <a:cubicBezTo>
                  <a:pt x="0" y="89937"/>
                  <a:pt x="0" y="89937"/>
                  <a:pt x="0" y="87939"/>
                </a:cubicBezTo>
                <a:cubicBezTo>
                  <a:pt x="0" y="85940"/>
                  <a:pt x="5985" y="77945"/>
                  <a:pt x="7980" y="75947"/>
                </a:cubicBezTo>
                <a:cubicBezTo>
                  <a:pt x="7980" y="73948"/>
                  <a:pt x="7980" y="67952"/>
                  <a:pt x="5985" y="65954"/>
                </a:cubicBezTo>
                <a:cubicBezTo>
                  <a:pt x="5985" y="63955"/>
                  <a:pt x="5985" y="45968"/>
                  <a:pt x="5985" y="45968"/>
                </a:cubicBezTo>
                <a:cubicBezTo>
                  <a:pt x="5985" y="45968"/>
                  <a:pt x="3990" y="19986"/>
                  <a:pt x="3990" y="17987"/>
                </a:cubicBezTo>
                <a:cubicBezTo>
                  <a:pt x="3990" y="15989"/>
                  <a:pt x="7980" y="13990"/>
                  <a:pt x="9975" y="11992"/>
                </a:cubicBezTo>
                <a:cubicBezTo>
                  <a:pt x="9975" y="11992"/>
                  <a:pt x="9975" y="5996"/>
                  <a:pt x="9975" y="5996"/>
                </a:cubicBezTo>
                <a:cubicBezTo>
                  <a:pt x="9975" y="5996"/>
                  <a:pt x="7980" y="0"/>
                  <a:pt x="9975" y="0"/>
                </a:cubicBezTo>
                <a:close/>
              </a:path>
            </a:pathLst>
          </a:custGeom>
          <a:solidFill>
            <a:srgbClr val="D9D9D9"/>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79" name="Turkmenistan"/>
          <p:cNvSpPr>
            <a:spLocks/>
          </p:cNvSpPr>
          <p:nvPr/>
        </p:nvSpPr>
        <p:spPr bwMode="auto">
          <a:xfrm>
            <a:off x="7553367" y="2643130"/>
            <a:ext cx="370735" cy="262944"/>
          </a:xfrm>
          <a:custGeom>
            <a:avLst/>
            <a:gdLst>
              <a:gd name="T0" fmla="*/ 128 w 180"/>
              <a:gd name="T1" fmla="*/ 128 h 128"/>
              <a:gd name="T2" fmla="*/ 140 w 180"/>
              <a:gd name="T3" fmla="*/ 124 h 128"/>
              <a:gd name="T4" fmla="*/ 150 w 180"/>
              <a:gd name="T5" fmla="*/ 113 h 128"/>
              <a:gd name="T6" fmla="*/ 157 w 180"/>
              <a:gd name="T7" fmla="*/ 98 h 128"/>
              <a:gd name="T8" fmla="*/ 168 w 180"/>
              <a:gd name="T9" fmla="*/ 91 h 128"/>
              <a:gd name="T10" fmla="*/ 179 w 180"/>
              <a:gd name="T11" fmla="*/ 92 h 128"/>
              <a:gd name="T12" fmla="*/ 177 w 180"/>
              <a:gd name="T13" fmla="*/ 81 h 128"/>
              <a:gd name="T14" fmla="*/ 169 w 180"/>
              <a:gd name="T15" fmla="*/ 77 h 128"/>
              <a:gd name="T16" fmla="*/ 163 w 180"/>
              <a:gd name="T17" fmla="*/ 75 h 128"/>
              <a:gd name="T18" fmla="*/ 154 w 180"/>
              <a:gd name="T19" fmla="*/ 70 h 128"/>
              <a:gd name="T20" fmla="*/ 145 w 180"/>
              <a:gd name="T21" fmla="*/ 62 h 128"/>
              <a:gd name="T22" fmla="*/ 135 w 180"/>
              <a:gd name="T23" fmla="*/ 55 h 128"/>
              <a:gd name="T24" fmla="*/ 127 w 180"/>
              <a:gd name="T25" fmla="*/ 43 h 128"/>
              <a:gd name="T26" fmla="*/ 119 w 180"/>
              <a:gd name="T27" fmla="*/ 32 h 128"/>
              <a:gd name="T28" fmla="*/ 114 w 180"/>
              <a:gd name="T29" fmla="*/ 22 h 128"/>
              <a:gd name="T30" fmla="*/ 101 w 180"/>
              <a:gd name="T31" fmla="*/ 27 h 128"/>
              <a:gd name="T32" fmla="*/ 92 w 180"/>
              <a:gd name="T33" fmla="*/ 20 h 128"/>
              <a:gd name="T34" fmla="*/ 86 w 180"/>
              <a:gd name="T35" fmla="*/ 11 h 128"/>
              <a:gd name="T36" fmla="*/ 79 w 180"/>
              <a:gd name="T37" fmla="*/ 6 h 128"/>
              <a:gd name="T38" fmla="*/ 74 w 180"/>
              <a:gd name="T39" fmla="*/ 1 h 128"/>
              <a:gd name="T40" fmla="*/ 66 w 180"/>
              <a:gd name="T41" fmla="*/ 4 h 128"/>
              <a:gd name="T42" fmla="*/ 62 w 180"/>
              <a:gd name="T43" fmla="*/ 9 h 128"/>
              <a:gd name="T44" fmla="*/ 56 w 180"/>
              <a:gd name="T45" fmla="*/ 16 h 128"/>
              <a:gd name="T46" fmla="*/ 56 w 180"/>
              <a:gd name="T47" fmla="*/ 27 h 128"/>
              <a:gd name="T48" fmla="*/ 43 w 180"/>
              <a:gd name="T49" fmla="*/ 24 h 128"/>
              <a:gd name="T50" fmla="*/ 34 w 180"/>
              <a:gd name="T51" fmla="*/ 24 h 128"/>
              <a:gd name="T52" fmla="*/ 27 w 180"/>
              <a:gd name="T53" fmla="*/ 14 h 128"/>
              <a:gd name="T54" fmla="*/ 15 w 180"/>
              <a:gd name="T55" fmla="*/ 5 h 128"/>
              <a:gd name="T56" fmla="*/ 6 w 180"/>
              <a:gd name="T57" fmla="*/ 9 h 128"/>
              <a:gd name="T58" fmla="*/ 0 w 180"/>
              <a:gd name="T59" fmla="*/ 14 h 128"/>
              <a:gd name="T60" fmla="*/ 3 w 180"/>
              <a:gd name="T61" fmla="*/ 21 h 128"/>
              <a:gd name="T62" fmla="*/ 7 w 180"/>
              <a:gd name="T63" fmla="*/ 9 h 128"/>
              <a:gd name="T64" fmla="*/ 18 w 180"/>
              <a:gd name="T65" fmla="*/ 12 h 128"/>
              <a:gd name="T66" fmla="*/ 22 w 180"/>
              <a:gd name="T67" fmla="*/ 22 h 128"/>
              <a:gd name="T68" fmla="*/ 30 w 180"/>
              <a:gd name="T69" fmla="*/ 30 h 128"/>
              <a:gd name="T70" fmla="*/ 25 w 180"/>
              <a:gd name="T71" fmla="*/ 35 h 128"/>
              <a:gd name="T72" fmla="*/ 18 w 180"/>
              <a:gd name="T73" fmla="*/ 33 h 128"/>
              <a:gd name="T74" fmla="*/ 9 w 180"/>
              <a:gd name="T75" fmla="*/ 33 h 128"/>
              <a:gd name="T76" fmla="*/ 9 w 180"/>
              <a:gd name="T77" fmla="*/ 47 h 128"/>
              <a:gd name="T78" fmla="*/ 15 w 180"/>
              <a:gd name="T79" fmla="*/ 50 h 128"/>
              <a:gd name="T80" fmla="*/ 15 w 180"/>
              <a:gd name="T81" fmla="*/ 56 h 128"/>
              <a:gd name="T82" fmla="*/ 22 w 180"/>
              <a:gd name="T83" fmla="*/ 67 h 128"/>
              <a:gd name="T84" fmla="*/ 23 w 180"/>
              <a:gd name="T85" fmla="*/ 82 h 128"/>
              <a:gd name="T86" fmla="*/ 29 w 180"/>
              <a:gd name="T87" fmla="*/ 92 h 128"/>
              <a:gd name="T88" fmla="*/ 33 w 180"/>
              <a:gd name="T89" fmla="*/ 87 h 128"/>
              <a:gd name="T90" fmla="*/ 41 w 180"/>
              <a:gd name="T91" fmla="*/ 81 h 128"/>
              <a:gd name="T92" fmla="*/ 51 w 180"/>
              <a:gd name="T93" fmla="*/ 79 h 128"/>
              <a:gd name="T94" fmla="*/ 66 w 180"/>
              <a:gd name="T95" fmla="*/ 83 h 128"/>
              <a:gd name="T96" fmla="*/ 82 w 180"/>
              <a:gd name="T97" fmla="*/ 88 h 128"/>
              <a:gd name="T98" fmla="*/ 96 w 180"/>
              <a:gd name="T99" fmla="*/ 98 h 128"/>
              <a:gd name="T100" fmla="*/ 112 w 180"/>
              <a:gd name="T101" fmla="*/ 107 h 128"/>
              <a:gd name="T102" fmla="*/ 117 w 180"/>
              <a:gd name="T103"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28">
                <a:moveTo>
                  <a:pt x="119" y="125"/>
                </a:moveTo>
                <a:cubicBezTo>
                  <a:pt x="123" y="127"/>
                  <a:pt x="123" y="127"/>
                  <a:pt x="123" y="127"/>
                </a:cubicBezTo>
                <a:cubicBezTo>
                  <a:pt x="123" y="127"/>
                  <a:pt x="127" y="128"/>
                  <a:pt x="128" y="128"/>
                </a:cubicBezTo>
                <a:cubicBezTo>
                  <a:pt x="129" y="128"/>
                  <a:pt x="132" y="128"/>
                  <a:pt x="132" y="127"/>
                </a:cubicBezTo>
                <a:cubicBezTo>
                  <a:pt x="133" y="127"/>
                  <a:pt x="135" y="127"/>
                  <a:pt x="136" y="127"/>
                </a:cubicBezTo>
                <a:cubicBezTo>
                  <a:pt x="138" y="126"/>
                  <a:pt x="139" y="126"/>
                  <a:pt x="140" y="124"/>
                </a:cubicBezTo>
                <a:cubicBezTo>
                  <a:pt x="140" y="123"/>
                  <a:pt x="142" y="119"/>
                  <a:pt x="142" y="119"/>
                </a:cubicBezTo>
                <a:cubicBezTo>
                  <a:pt x="142" y="119"/>
                  <a:pt x="146" y="117"/>
                  <a:pt x="146" y="117"/>
                </a:cubicBezTo>
                <a:cubicBezTo>
                  <a:pt x="148" y="116"/>
                  <a:pt x="149" y="114"/>
                  <a:pt x="150" y="113"/>
                </a:cubicBezTo>
                <a:cubicBezTo>
                  <a:pt x="150" y="112"/>
                  <a:pt x="154" y="110"/>
                  <a:pt x="155" y="109"/>
                </a:cubicBezTo>
                <a:cubicBezTo>
                  <a:pt x="155" y="108"/>
                  <a:pt x="155" y="106"/>
                  <a:pt x="155" y="105"/>
                </a:cubicBezTo>
                <a:cubicBezTo>
                  <a:pt x="155" y="104"/>
                  <a:pt x="157" y="100"/>
                  <a:pt x="157" y="98"/>
                </a:cubicBezTo>
                <a:cubicBezTo>
                  <a:pt x="158" y="97"/>
                  <a:pt x="158" y="96"/>
                  <a:pt x="159" y="95"/>
                </a:cubicBezTo>
                <a:cubicBezTo>
                  <a:pt x="160" y="95"/>
                  <a:pt x="165" y="95"/>
                  <a:pt x="165" y="94"/>
                </a:cubicBezTo>
                <a:cubicBezTo>
                  <a:pt x="166" y="94"/>
                  <a:pt x="168" y="92"/>
                  <a:pt x="168" y="91"/>
                </a:cubicBezTo>
                <a:cubicBezTo>
                  <a:pt x="170" y="91"/>
                  <a:pt x="172" y="91"/>
                  <a:pt x="172" y="91"/>
                </a:cubicBezTo>
                <a:cubicBezTo>
                  <a:pt x="173" y="91"/>
                  <a:pt x="175" y="92"/>
                  <a:pt x="177" y="92"/>
                </a:cubicBezTo>
                <a:cubicBezTo>
                  <a:pt x="178" y="92"/>
                  <a:pt x="178" y="92"/>
                  <a:pt x="179" y="92"/>
                </a:cubicBezTo>
                <a:cubicBezTo>
                  <a:pt x="180" y="92"/>
                  <a:pt x="180" y="88"/>
                  <a:pt x="180" y="88"/>
                </a:cubicBezTo>
                <a:cubicBezTo>
                  <a:pt x="180" y="87"/>
                  <a:pt x="179" y="85"/>
                  <a:pt x="178" y="84"/>
                </a:cubicBezTo>
                <a:cubicBezTo>
                  <a:pt x="178" y="83"/>
                  <a:pt x="177" y="81"/>
                  <a:pt x="177" y="81"/>
                </a:cubicBezTo>
                <a:cubicBezTo>
                  <a:pt x="176" y="80"/>
                  <a:pt x="175" y="79"/>
                  <a:pt x="174" y="79"/>
                </a:cubicBezTo>
                <a:cubicBezTo>
                  <a:pt x="174" y="78"/>
                  <a:pt x="172" y="77"/>
                  <a:pt x="171" y="77"/>
                </a:cubicBezTo>
                <a:cubicBezTo>
                  <a:pt x="171" y="77"/>
                  <a:pt x="170" y="77"/>
                  <a:pt x="169" y="77"/>
                </a:cubicBezTo>
                <a:cubicBezTo>
                  <a:pt x="169" y="77"/>
                  <a:pt x="168" y="77"/>
                  <a:pt x="167" y="77"/>
                </a:cubicBezTo>
                <a:cubicBezTo>
                  <a:pt x="167" y="78"/>
                  <a:pt x="166" y="78"/>
                  <a:pt x="165" y="77"/>
                </a:cubicBezTo>
                <a:cubicBezTo>
                  <a:pt x="165" y="77"/>
                  <a:pt x="164" y="76"/>
                  <a:pt x="163" y="75"/>
                </a:cubicBezTo>
                <a:cubicBezTo>
                  <a:pt x="162" y="74"/>
                  <a:pt x="159" y="75"/>
                  <a:pt x="158" y="74"/>
                </a:cubicBezTo>
                <a:cubicBezTo>
                  <a:pt x="158" y="73"/>
                  <a:pt x="158" y="72"/>
                  <a:pt x="158" y="71"/>
                </a:cubicBezTo>
                <a:cubicBezTo>
                  <a:pt x="157" y="71"/>
                  <a:pt x="155" y="71"/>
                  <a:pt x="154" y="70"/>
                </a:cubicBezTo>
                <a:cubicBezTo>
                  <a:pt x="153" y="69"/>
                  <a:pt x="150" y="68"/>
                  <a:pt x="150" y="68"/>
                </a:cubicBezTo>
                <a:cubicBezTo>
                  <a:pt x="150" y="68"/>
                  <a:pt x="149" y="66"/>
                  <a:pt x="149" y="65"/>
                </a:cubicBezTo>
                <a:cubicBezTo>
                  <a:pt x="148" y="65"/>
                  <a:pt x="146" y="63"/>
                  <a:pt x="145" y="62"/>
                </a:cubicBezTo>
                <a:cubicBezTo>
                  <a:pt x="144" y="61"/>
                  <a:pt x="140" y="60"/>
                  <a:pt x="140" y="59"/>
                </a:cubicBezTo>
                <a:cubicBezTo>
                  <a:pt x="139" y="58"/>
                  <a:pt x="140" y="57"/>
                  <a:pt x="139" y="56"/>
                </a:cubicBezTo>
                <a:cubicBezTo>
                  <a:pt x="138" y="56"/>
                  <a:pt x="135" y="55"/>
                  <a:pt x="135" y="55"/>
                </a:cubicBezTo>
                <a:cubicBezTo>
                  <a:pt x="135" y="55"/>
                  <a:pt x="132" y="50"/>
                  <a:pt x="132" y="50"/>
                </a:cubicBezTo>
                <a:cubicBezTo>
                  <a:pt x="131" y="49"/>
                  <a:pt x="128" y="46"/>
                  <a:pt x="128" y="45"/>
                </a:cubicBezTo>
                <a:cubicBezTo>
                  <a:pt x="127" y="44"/>
                  <a:pt x="127" y="43"/>
                  <a:pt x="127" y="43"/>
                </a:cubicBezTo>
                <a:cubicBezTo>
                  <a:pt x="127" y="42"/>
                  <a:pt x="126" y="39"/>
                  <a:pt x="126" y="39"/>
                </a:cubicBezTo>
                <a:cubicBezTo>
                  <a:pt x="126" y="38"/>
                  <a:pt x="123" y="37"/>
                  <a:pt x="123" y="37"/>
                </a:cubicBezTo>
                <a:cubicBezTo>
                  <a:pt x="123" y="37"/>
                  <a:pt x="119" y="33"/>
                  <a:pt x="119" y="32"/>
                </a:cubicBezTo>
                <a:cubicBezTo>
                  <a:pt x="119" y="31"/>
                  <a:pt x="118" y="28"/>
                  <a:pt x="117" y="27"/>
                </a:cubicBezTo>
                <a:cubicBezTo>
                  <a:pt x="117" y="26"/>
                  <a:pt x="117" y="25"/>
                  <a:pt x="116" y="24"/>
                </a:cubicBezTo>
                <a:cubicBezTo>
                  <a:pt x="116" y="24"/>
                  <a:pt x="115" y="23"/>
                  <a:pt x="114" y="22"/>
                </a:cubicBezTo>
                <a:cubicBezTo>
                  <a:pt x="113" y="22"/>
                  <a:pt x="110" y="22"/>
                  <a:pt x="109" y="23"/>
                </a:cubicBezTo>
                <a:cubicBezTo>
                  <a:pt x="109" y="23"/>
                  <a:pt x="107" y="25"/>
                  <a:pt x="106" y="26"/>
                </a:cubicBezTo>
                <a:cubicBezTo>
                  <a:pt x="105" y="26"/>
                  <a:pt x="102" y="26"/>
                  <a:pt x="101" y="27"/>
                </a:cubicBezTo>
                <a:cubicBezTo>
                  <a:pt x="100" y="27"/>
                  <a:pt x="98" y="28"/>
                  <a:pt x="98" y="27"/>
                </a:cubicBezTo>
                <a:cubicBezTo>
                  <a:pt x="96" y="26"/>
                  <a:pt x="95" y="24"/>
                  <a:pt x="94" y="24"/>
                </a:cubicBezTo>
                <a:cubicBezTo>
                  <a:pt x="94" y="23"/>
                  <a:pt x="93" y="21"/>
                  <a:pt x="92" y="20"/>
                </a:cubicBezTo>
                <a:cubicBezTo>
                  <a:pt x="91" y="20"/>
                  <a:pt x="91" y="17"/>
                  <a:pt x="91" y="16"/>
                </a:cubicBezTo>
                <a:cubicBezTo>
                  <a:pt x="91" y="16"/>
                  <a:pt x="91" y="15"/>
                  <a:pt x="91" y="14"/>
                </a:cubicBezTo>
                <a:cubicBezTo>
                  <a:pt x="90" y="14"/>
                  <a:pt x="87" y="12"/>
                  <a:pt x="86" y="11"/>
                </a:cubicBezTo>
                <a:cubicBezTo>
                  <a:pt x="86" y="11"/>
                  <a:pt x="84" y="9"/>
                  <a:pt x="84" y="9"/>
                </a:cubicBezTo>
                <a:cubicBezTo>
                  <a:pt x="84" y="9"/>
                  <a:pt x="82" y="7"/>
                  <a:pt x="81" y="7"/>
                </a:cubicBezTo>
                <a:cubicBezTo>
                  <a:pt x="80" y="7"/>
                  <a:pt x="80" y="6"/>
                  <a:pt x="79" y="6"/>
                </a:cubicBezTo>
                <a:cubicBezTo>
                  <a:pt x="78" y="6"/>
                  <a:pt x="78" y="6"/>
                  <a:pt x="77" y="6"/>
                </a:cubicBezTo>
                <a:cubicBezTo>
                  <a:pt x="77" y="5"/>
                  <a:pt x="76" y="3"/>
                  <a:pt x="76" y="3"/>
                </a:cubicBezTo>
                <a:cubicBezTo>
                  <a:pt x="76" y="3"/>
                  <a:pt x="75" y="1"/>
                  <a:pt x="74" y="1"/>
                </a:cubicBezTo>
                <a:cubicBezTo>
                  <a:pt x="73" y="1"/>
                  <a:pt x="72" y="0"/>
                  <a:pt x="70" y="0"/>
                </a:cubicBezTo>
                <a:cubicBezTo>
                  <a:pt x="70" y="0"/>
                  <a:pt x="69" y="0"/>
                  <a:pt x="68" y="1"/>
                </a:cubicBezTo>
                <a:cubicBezTo>
                  <a:pt x="68" y="1"/>
                  <a:pt x="66" y="4"/>
                  <a:pt x="66" y="4"/>
                </a:cubicBezTo>
                <a:cubicBezTo>
                  <a:pt x="66" y="4"/>
                  <a:pt x="64" y="5"/>
                  <a:pt x="64" y="5"/>
                </a:cubicBezTo>
                <a:cubicBezTo>
                  <a:pt x="64" y="7"/>
                  <a:pt x="64" y="8"/>
                  <a:pt x="64" y="8"/>
                </a:cubicBezTo>
                <a:cubicBezTo>
                  <a:pt x="63" y="9"/>
                  <a:pt x="62" y="9"/>
                  <a:pt x="62" y="9"/>
                </a:cubicBezTo>
                <a:cubicBezTo>
                  <a:pt x="61" y="9"/>
                  <a:pt x="60" y="9"/>
                  <a:pt x="59" y="9"/>
                </a:cubicBezTo>
                <a:cubicBezTo>
                  <a:pt x="58" y="10"/>
                  <a:pt x="57" y="11"/>
                  <a:pt x="57" y="12"/>
                </a:cubicBezTo>
                <a:cubicBezTo>
                  <a:pt x="57" y="13"/>
                  <a:pt x="56" y="15"/>
                  <a:pt x="56" y="16"/>
                </a:cubicBezTo>
                <a:cubicBezTo>
                  <a:pt x="56" y="17"/>
                  <a:pt x="56" y="18"/>
                  <a:pt x="56" y="19"/>
                </a:cubicBezTo>
                <a:cubicBezTo>
                  <a:pt x="57" y="21"/>
                  <a:pt x="58" y="24"/>
                  <a:pt x="57" y="25"/>
                </a:cubicBezTo>
                <a:cubicBezTo>
                  <a:pt x="57" y="27"/>
                  <a:pt x="57" y="27"/>
                  <a:pt x="56" y="27"/>
                </a:cubicBezTo>
                <a:cubicBezTo>
                  <a:pt x="55" y="26"/>
                  <a:pt x="53" y="26"/>
                  <a:pt x="51" y="26"/>
                </a:cubicBezTo>
                <a:cubicBezTo>
                  <a:pt x="49" y="25"/>
                  <a:pt x="49" y="24"/>
                  <a:pt x="48" y="24"/>
                </a:cubicBezTo>
                <a:cubicBezTo>
                  <a:pt x="46" y="23"/>
                  <a:pt x="43" y="24"/>
                  <a:pt x="43" y="24"/>
                </a:cubicBezTo>
                <a:cubicBezTo>
                  <a:pt x="43" y="24"/>
                  <a:pt x="43" y="26"/>
                  <a:pt x="42" y="26"/>
                </a:cubicBezTo>
                <a:cubicBezTo>
                  <a:pt x="41" y="26"/>
                  <a:pt x="38" y="26"/>
                  <a:pt x="37" y="25"/>
                </a:cubicBezTo>
                <a:cubicBezTo>
                  <a:pt x="36" y="25"/>
                  <a:pt x="35" y="24"/>
                  <a:pt x="34" y="24"/>
                </a:cubicBezTo>
                <a:cubicBezTo>
                  <a:pt x="33" y="23"/>
                  <a:pt x="32" y="22"/>
                  <a:pt x="32" y="22"/>
                </a:cubicBezTo>
                <a:cubicBezTo>
                  <a:pt x="31" y="21"/>
                  <a:pt x="30" y="20"/>
                  <a:pt x="29" y="18"/>
                </a:cubicBezTo>
                <a:cubicBezTo>
                  <a:pt x="28" y="17"/>
                  <a:pt x="28" y="15"/>
                  <a:pt x="27" y="14"/>
                </a:cubicBezTo>
                <a:cubicBezTo>
                  <a:pt x="27" y="13"/>
                  <a:pt x="26" y="10"/>
                  <a:pt x="25" y="9"/>
                </a:cubicBezTo>
                <a:cubicBezTo>
                  <a:pt x="24" y="8"/>
                  <a:pt x="22" y="7"/>
                  <a:pt x="21" y="6"/>
                </a:cubicBezTo>
                <a:cubicBezTo>
                  <a:pt x="19" y="6"/>
                  <a:pt x="16" y="5"/>
                  <a:pt x="15" y="5"/>
                </a:cubicBezTo>
                <a:cubicBezTo>
                  <a:pt x="15" y="5"/>
                  <a:pt x="12" y="5"/>
                  <a:pt x="11" y="5"/>
                </a:cubicBezTo>
                <a:cubicBezTo>
                  <a:pt x="10" y="5"/>
                  <a:pt x="9" y="6"/>
                  <a:pt x="8" y="7"/>
                </a:cubicBezTo>
                <a:cubicBezTo>
                  <a:pt x="7" y="7"/>
                  <a:pt x="6" y="8"/>
                  <a:pt x="6" y="9"/>
                </a:cubicBezTo>
                <a:cubicBezTo>
                  <a:pt x="5" y="10"/>
                  <a:pt x="3" y="12"/>
                  <a:pt x="3" y="12"/>
                </a:cubicBezTo>
                <a:cubicBezTo>
                  <a:pt x="2" y="13"/>
                  <a:pt x="1" y="14"/>
                  <a:pt x="1" y="14"/>
                </a:cubicBezTo>
                <a:cubicBezTo>
                  <a:pt x="0" y="14"/>
                  <a:pt x="0" y="14"/>
                  <a:pt x="0" y="14"/>
                </a:cubicBezTo>
                <a:cubicBezTo>
                  <a:pt x="1" y="16"/>
                  <a:pt x="1" y="16"/>
                  <a:pt x="1" y="16"/>
                </a:cubicBezTo>
                <a:cubicBezTo>
                  <a:pt x="1" y="16"/>
                  <a:pt x="1" y="17"/>
                  <a:pt x="2" y="18"/>
                </a:cubicBezTo>
                <a:cubicBezTo>
                  <a:pt x="2" y="19"/>
                  <a:pt x="2" y="21"/>
                  <a:pt x="3" y="21"/>
                </a:cubicBezTo>
                <a:cubicBezTo>
                  <a:pt x="4" y="22"/>
                  <a:pt x="5" y="20"/>
                  <a:pt x="5" y="20"/>
                </a:cubicBezTo>
                <a:cubicBezTo>
                  <a:pt x="6" y="19"/>
                  <a:pt x="5" y="13"/>
                  <a:pt x="5" y="12"/>
                </a:cubicBezTo>
                <a:cubicBezTo>
                  <a:pt x="6" y="11"/>
                  <a:pt x="5" y="9"/>
                  <a:pt x="7" y="9"/>
                </a:cubicBezTo>
                <a:cubicBezTo>
                  <a:pt x="9" y="9"/>
                  <a:pt x="11" y="8"/>
                  <a:pt x="11" y="8"/>
                </a:cubicBezTo>
                <a:cubicBezTo>
                  <a:pt x="12" y="8"/>
                  <a:pt x="15" y="8"/>
                  <a:pt x="16" y="9"/>
                </a:cubicBezTo>
                <a:cubicBezTo>
                  <a:pt x="17" y="9"/>
                  <a:pt x="18" y="10"/>
                  <a:pt x="18" y="12"/>
                </a:cubicBezTo>
                <a:cubicBezTo>
                  <a:pt x="18" y="14"/>
                  <a:pt x="17" y="16"/>
                  <a:pt x="18" y="18"/>
                </a:cubicBezTo>
                <a:cubicBezTo>
                  <a:pt x="19" y="19"/>
                  <a:pt x="19" y="19"/>
                  <a:pt x="20" y="20"/>
                </a:cubicBezTo>
                <a:cubicBezTo>
                  <a:pt x="22" y="22"/>
                  <a:pt x="21" y="22"/>
                  <a:pt x="22" y="22"/>
                </a:cubicBezTo>
                <a:cubicBezTo>
                  <a:pt x="24" y="22"/>
                  <a:pt x="25" y="23"/>
                  <a:pt x="26" y="23"/>
                </a:cubicBezTo>
                <a:cubicBezTo>
                  <a:pt x="26" y="23"/>
                  <a:pt x="29" y="24"/>
                  <a:pt x="29" y="25"/>
                </a:cubicBezTo>
                <a:cubicBezTo>
                  <a:pt x="30" y="26"/>
                  <a:pt x="30" y="29"/>
                  <a:pt x="30" y="30"/>
                </a:cubicBezTo>
                <a:cubicBezTo>
                  <a:pt x="30" y="31"/>
                  <a:pt x="32" y="32"/>
                  <a:pt x="30" y="32"/>
                </a:cubicBezTo>
                <a:cubicBezTo>
                  <a:pt x="28" y="32"/>
                  <a:pt x="26" y="32"/>
                  <a:pt x="26" y="33"/>
                </a:cubicBezTo>
                <a:cubicBezTo>
                  <a:pt x="26" y="34"/>
                  <a:pt x="26" y="35"/>
                  <a:pt x="25" y="35"/>
                </a:cubicBezTo>
                <a:cubicBezTo>
                  <a:pt x="24" y="35"/>
                  <a:pt x="22" y="35"/>
                  <a:pt x="22" y="35"/>
                </a:cubicBezTo>
                <a:cubicBezTo>
                  <a:pt x="22" y="35"/>
                  <a:pt x="22" y="36"/>
                  <a:pt x="21" y="35"/>
                </a:cubicBezTo>
                <a:cubicBezTo>
                  <a:pt x="20" y="35"/>
                  <a:pt x="19" y="33"/>
                  <a:pt x="18" y="33"/>
                </a:cubicBezTo>
                <a:cubicBezTo>
                  <a:pt x="17" y="33"/>
                  <a:pt x="17" y="33"/>
                  <a:pt x="16" y="33"/>
                </a:cubicBezTo>
                <a:cubicBezTo>
                  <a:pt x="15" y="33"/>
                  <a:pt x="14" y="34"/>
                  <a:pt x="13" y="34"/>
                </a:cubicBezTo>
                <a:cubicBezTo>
                  <a:pt x="12" y="34"/>
                  <a:pt x="11" y="33"/>
                  <a:pt x="9" y="33"/>
                </a:cubicBezTo>
                <a:cubicBezTo>
                  <a:pt x="8" y="33"/>
                  <a:pt x="6" y="33"/>
                  <a:pt x="5" y="34"/>
                </a:cubicBezTo>
                <a:cubicBezTo>
                  <a:pt x="4" y="35"/>
                  <a:pt x="4" y="35"/>
                  <a:pt x="4" y="37"/>
                </a:cubicBezTo>
                <a:cubicBezTo>
                  <a:pt x="5" y="37"/>
                  <a:pt x="8" y="47"/>
                  <a:pt x="9" y="47"/>
                </a:cubicBezTo>
                <a:cubicBezTo>
                  <a:pt x="9" y="47"/>
                  <a:pt x="11" y="47"/>
                  <a:pt x="13" y="46"/>
                </a:cubicBezTo>
                <a:cubicBezTo>
                  <a:pt x="15" y="46"/>
                  <a:pt x="17" y="46"/>
                  <a:pt x="17" y="47"/>
                </a:cubicBezTo>
                <a:cubicBezTo>
                  <a:pt x="16" y="48"/>
                  <a:pt x="15" y="49"/>
                  <a:pt x="15" y="50"/>
                </a:cubicBezTo>
                <a:cubicBezTo>
                  <a:pt x="16" y="52"/>
                  <a:pt x="18" y="51"/>
                  <a:pt x="18" y="52"/>
                </a:cubicBezTo>
                <a:cubicBezTo>
                  <a:pt x="18" y="52"/>
                  <a:pt x="18" y="54"/>
                  <a:pt x="18" y="54"/>
                </a:cubicBezTo>
                <a:cubicBezTo>
                  <a:pt x="18" y="54"/>
                  <a:pt x="15" y="55"/>
                  <a:pt x="15" y="56"/>
                </a:cubicBezTo>
                <a:cubicBezTo>
                  <a:pt x="14" y="57"/>
                  <a:pt x="15" y="58"/>
                  <a:pt x="16" y="58"/>
                </a:cubicBezTo>
                <a:cubicBezTo>
                  <a:pt x="17" y="58"/>
                  <a:pt x="19" y="60"/>
                  <a:pt x="20" y="61"/>
                </a:cubicBezTo>
                <a:cubicBezTo>
                  <a:pt x="21" y="63"/>
                  <a:pt x="22" y="65"/>
                  <a:pt x="22" y="67"/>
                </a:cubicBezTo>
                <a:cubicBezTo>
                  <a:pt x="22" y="69"/>
                  <a:pt x="21" y="71"/>
                  <a:pt x="22" y="72"/>
                </a:cubicBezTo>
                <a:cubicBezTo>
                  <a:pt x="22" y="73"/>
                  <a:pt x="23" y="76"/>
                  <a:pt x="23" y="77"/>
                </a:cubicBezTo>
                <a:cubicBezTo>
                  <a:pt x="23" y="78"/>
                  <a:pt x="23" y="81"/>
                  <a:pt x="23" y="82"/>
                </a:cubicBezTo>
                <a:cubicBezTo>
                  <a:pt x="23" y="83"/>
                  <a:pt x="23" y="86"/>
                  <a:pt x="24" y="87"/>
                </a:cubicBezTo>
                <a:cubicBezTo>
                  <a:pt x="24" y="88"/>
                  <a:pt x="25" y="90"/>
                  <a:pt x="26" y="91"/>
                </a:cubicBezTo>
                <a:cubicBezTo>
                  <a:pt x="26" y="91"/>
                  <a:pt x="27" y="92"/>
                  <a:pt x="29" y="92"/>
                </a:cubicBezTo>
                <a:cubicBezTo>
                  <a:pt x="30" y="92"/>
                  <a:pt x="34" y="93"/>
                  <a:pt x="34" y="93"/>
                </a:cubicBezTo>
                <a:cubicBezTo>
                  <a:pt x="36" y="91"/>
                  <a:pt x="36" y="91"/>
                  <a:pt x="36" y="91"/>
                </a:cubicBezTo>
                <a:cubicBezTo>
                  <a:pt x="33" y="87"/>
                  <a:pt x="33" y="87"/>
                  <a:pt x="33" y="87"/>
                </a:cubicBezTo>
                <a:cubicBezTo>
                  <a:pt x="33" y="87"/>
                  <a:pt x="36" y="84"/>
                  <a:pt x="36" y="84"/>
                </a:cubicBezTo>
                <a:cubicBezTo>
                  <a:pt x="38" y="83"/>
                  <a:pt x="38" y="83"/>
                  <a:pt x="39" y="83"/>
                </a:cubicBezTo>
                <a:cubicBezTo>
                  <a:pt x="40" y="82"/>
                  <a:pt x="40" y="82"/>
                  <a:pt x="41" y="81"/>
                </a:cubicBezTo>
                <a:cubicBezTo>
                  <a:pt x="42" y="81"/>
                  <a:pt x="44" y="80"/>
                  <a:pt x="45" y="80"/>
                </a:cubicBezTo>
                <a:cubicBezTo>
                  <a:pt x="45" y="79"/>
                  <a:pt x="47" y="80"/>
                  <a:pt x="47" y="80"/>
                </a:cubicBezTo>
                <a:cubicBezTo>
                  <a:pt x="48" y="80"/>
                  <a:pt x="51" y="80"/>
                  <a:pt x="51" y="79"/>
                </a:cubicBezTo>
                <a:cubicBezTo>
                  <a:pt x="52" y="79"/>
                  <a:pt x="54" y="77"/>
                  <a:pt x="56" y="77"/>
                </a:cubicBezTo>
                <a:cubicBezTo>
                  <a:pt x="57" y="78"/>
                  <a:pt x="61" y="79"/>
                  <a:pt x="62" y="80"/>
                </a:cubicBezTo>
                <a:cubicBezTo>
                  <a:pt x="62" y="81"/>
                  <a:pt x="65" y="83"/>
                  <a:pt x="66" y="83"/>
                </a:cubicBezTo>
                <a:cubicBezTo>
                  <a:pt x="68" y="84"/>
                  <a:pt x="70" y="84"/>
                  <a:pt x="71" y="84"/>
                </a:cubicBezTo>
                <a:cubicBezTo>
                  <a:pt x="72" y="85"/>
                  <a:pt x="75" y="86"/>
                  <a:pt x="77" y="87"/>
                </a:cubicBezTo>
                <a:cubicBezTo>
                  <a:pt x="78" y="87"/>
                  <a:pt x="80" y="87"/>
                  <a:pt x="82" y="88"/>
                </a:cubicBezTo>
                <a:cubicBezTo>
                  <a:pt x="83" y="88"/>
                  <a:pt x="88" y="91"/>
                  <a:pt x="89" y="92"/>
                </a:cubicBezTo>
                <a:cubicBezTo>
                  <a:pt x="89" y="93"/>
                  <a:pt x="91" y="96"/>
                  <a:pt x="92" y="96"/>
                </a:cubicBezTo>
                <a:cubicBezTo>
                  <a:pt x="92" y="97"/>
                  <a:pt x="96" y="98"/>
                  <a:pt x="96" y="98"/>
                </a:cubicBezTo>
                <a:cubicBezTo>
                  <a:pt x="97" y="98"/>
                  <a:pt x="100" y="100"/>
                  <a:pt x="100" y="101"/>
                </a:cubicBezTo>
                <a:cubicBezTo>
                  <a:pt x="101" y="102"/>
                  <a:pt x="104" y="106"/>
                  <a:pt x="104" y="106"/>
                </a:cubicBezTo>
                <a:cubicBezTo>
                  <a:pt x="112" y="107"/>
                  <a:pt x="112" y="107"/>
                  <a:pt x="112" y="107"/>
                </a:cubicBezTo>
                <a:cubicBezTo>
                  <a:pt x="112" y="107"/>
                  <a:pt x="114" y="110"/>
                  <a:pt x="114" y="111"/>
                </a:cubicBezTo>
                <a:cubicBezTo>
                  <a:pt x="115" y="112"/>
                  <a:pt x="114" y="117"/>
                  <a:pt x="114" y="117"/>
                </a:cubicBezTo>
                <a:cubicBezTo>
                  <a:pt x="114" y="117"/>
                  <a:pt x="116" y="120"/>
                  <a:pt x="117" y="121"/>
                </a:cubicBezTo>
                <a:cubicBezTo>
                  <a:pt x="117" y="122"/>
                  <a:pt x="119" y="125"/>
                  <a:pt x="119" y="125"/>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0" name="Uzbekistan"/>
          <p:cNvSpPr>
            <a:spLocks/>
          </p:cNvSpPr>
          <p:nvPr/>
        </p:nvSpPr>
        <p:spPr bwMode="auto">
          <a:xfrm>
            <a:off x="7631760" y="2530439"/>
            <a:ext cx="357669" cy="303773"/>
          </a:xfrm>
          <a:custGeom>
            <a:avLst/>
            <a:gdLst>
              <a:gd name="T0" fmla="*/ 34 w 174"/>
              <a:gd name="T1" fmla="*/ 56 h 148"/>
              <a:gd name="T2" fmla="*/ 39 w 174"/>
              <a:gd name="T3" fmla="*/ 61 h 148"/>
              <a:gd name="T4" fmla="*/ 46 w 174"/>
              <a:gd name="T5" fmla="*/ 64 h 148"/>
              <a:gd name="T6" fmla="*/ 53 w 174"/>
              <a:gd name="T7" fmla="*/ 71 h 148"/>
              <a:gd name="T8" fmla="*/ 60 w 174"/>
              <a:gd name="T9" fmla="*/ 82 h 148"/>
              <a:gd name="T10" fmla="*/ 71 w 174"/>
              <a:gd name="T11" fmla="*/ 78 h 148"/>
              <a:gd name="T12" fmla="*/ 79 w 174"/>
              <a:gd name="T13" fmla="*/ 82 h 148"/>
              <a:gd name="T14" fmla="*/ 88 w 174"/>
              <a:gd name="T15" fmla="*/ 94 h 148"/>
              <a:gd name="T16" fmla="*/ 94 w 174"/>
              <a:gd name="T17" fmla="*/ 105 h 148"/>
              <a:gd name="T18" fmla="*/ 102 w 174"/>
              <a:gd name="T19" fmla="*/ 114 h 148"/>
              <a:gd name="T20" fmla="*/ 112 w 174"/>
              <a:gd name="T21" fmla="*/ 123 h 148"/>
              <a:gd name="T22" fmla="*/ 120 w 174"/>
              <a:gd name="T23" fmla="*/ 129 h 148"/>
              <a:gd name="T24" fmla="*/ 129 w 174"/>
              <a:gd name="T25" fmla="*/ 132 h 148"/>
              <a:gd name="T26" fmla="*/ 136 w 174"/>
              <a:gd name="T27" fmla="*/ 134 h 148"/>
              <a:gd name="T28" fmla="*/ 142 w 174"/>
              <a:gd name="T29" fmla="*/ 143 h 148"/>
              <a:gd name="T30" fmla="*/ 147 w 174"/>
              <a:gd name="T31" fmla="*/ 146 h 148"/>
              <a:gd name="T32" fmla="*/ 155 w 174"/>
              <a:gd name="T33" fmla="*/ 147 h 148"/>
              <a:gd name="T34" fmla="*/ 160 w 174"/>
              <a:gd name="T35" fmla="*/ 140 h 148"/>
              <a:gd name="T36" fmla="*/ 163 w 174"/>
              <a:gd name="T37" fmla="*/ 130 h 148"/>
              <a:gd name="T38" fmla="*/ 158 w 174"/>
              <a:gd name="T39" fmla="*/ 122 h 148"/>
              <a:gd name="T40" fmla="*/ 152 w 174"/>
              <a:gd name="T41" fmla="*/ 118 h 148"/>
              <a:gd name="T42" fmla="*/ 156 w 174"/>
              <a:gd name="T43" fmla="*/ 110 h 148"/>
              <a:gd name="T44" fmla="*/ 165 w 174"/>
              <a:gd name="T45" fmla="*/ 105 h 148"/>
              <a:gd name="T46" fmla="*/ 167 w 174"/>
              <a:gd name="T47" fmla="*/ 99 h 148"/>
              <a:gd name="T48" fmla="*/ 174 w 174"/>
              <a:gd name="T49" fmla="*/ 95 h 148"/>
              <a:gd name="T50" fmla="*/ 166 w 174"/>
              <a:gd name="T51" fmla="*/ 91 h 148"/>
              <a:gd name="T52" fmla="*/ 160 w 174"/>
              <a:gd name="T53" fmla="*/ 86 h 148"/>
              <a:gd name="T54" fmla="*/ 155 w 174"/>
              <a:gd name="T55" fmla="*/ 83 h 148"/>
              <a:gd name="T56" fmla="*/ 144 w 174"/>
              <a:gd name="T57" fmla="*/ 82 h 148"/>
              <a:gd name="T58" fmla="*/ 134 w 174"/>
              <a:gd name="T59" fmla="*/ 81 h 148"/>
              <a:gd name="T60" fmla="*/ 127 w 174"/>
              <a:gd name="T61" fmla="*/ 73 h 148"/>
              <a:gd name="T62" fmla="*/ 124 w 174"/>
              <a:gd name="T63" fmla="*/ 62 h 148"/>
              <a:gd name="T64" fmla="*/ 122 w 174"/>
              <a:gd name="T65" fmla="*/ 49 h 148"/>
              <a:gd name="T66" fmla="*/ 116 w 174"/>
              <a:gd name="T67" fmla="*/ 43 h 148"/>
              <a:gd name="T68" fmla="*/ 111 w 174"/>
              <a:gd name="T69" fmla="*/ 38 h 148"/>
              <a:gd name="T70" fmla="*/ 102 w 174"/>
              <a:gd name="T71" fmla="*/ 41 h 148"/>
              <a:gd name="T72" fmla="*/ 90 w 174"/>
              <a:gd name="T73" fmla="*/ 39 h 148"/>
              <a:gd name="T74" fmla="*/ 80 w 174"/>
              <a:gd name="T75" fmla="*/ 40 h 148"/>
              <a:gd name="T76" fmla="*/ 70 w 174"/>
              <a:gd name="T77" fmla="*/ 41 h 148"/>
              <a:gd name="T78" fmla="*/ 68 w 174"/>
              <a:gd name="T79" fmla="*/ 35 h 148"/>
              <a:gd name="T80" fmla="*/ 68 w 174"/>
              <a:gd name="T81" fmla="*/ 36 h 148"/>
              <a:gd name="T82" fmla="*/ 61 w 174"/>
              <a:gd name="T83" fmla="*/ 39 h 148"/>
              <a:gd name="T84" fmla="*/ 58 w 174"/>
              <a:gd name="T85" fmla="*/ 41 h 148"/>
              <a:gd name="T86" fmla="*/ 56 w 174"/>
              <a:gd name="T87" fmla="*/ 41 h 148"/>
              <a:gd name="T88" fmla="*/ 39 w 174"/>
              <a:gd name="T89" fmla="*/ 33 h 148"/>
              <a:gd name="T90" fmla="*/ 40 w 174"/>
              <a:gd name="T91" fmla="*/ 38 h 148"/>
              <a:gd name="T92" fmla="*/ 31 w 174"/>
              <a:gd name="T93" fmla="*/ 25 h 148"/>
              <a:gd name="T94" fmla="*/ 31 w 174"/>
              <a:gd name="T95" fmla="*/ 11 h 148"/>
              <a:gd name="T96" fmla="*/ 29 w 174"/>
              <a:gd name="T97" fmla="*/ 1 h 148"/>
              <a:gd name="T98" fmla="*/ 18 w 174"/>
              <a:gd name="T99" fmla="*/ 4 h 148"/>
              <a:gd name="T100" fmla="*/ 5 w 174"/>
              <a:gd name="T101" fmla="*/ 9 h 148"/>
              <a:gd name="T102" fmla="*/ 0 w 174"/>
              <a:gd name="T103" fmla="*/ 24 h 148"/>
              <a:gd name="T104" fmla="*/ 5 w 174"/>
              <a:gd name="T105" fmla="*/ 67 h 148"/>
              <a:gd name="T106" fmla="*/ 10 w 174"/>
              <a:gd name="T107" fmla="*/ 79 h 148"/>
              <a:gd name="T108" fmla="*/ 19 w 174"/>
              <a:gd name="T109" fmla="*/ 80 h 148"/>
              <a:gd name="T110" fmla="*/ 19 w 174"/>
              <a:gd name="T111" fmla="*/ 67 h 148"/>
              <a:gd name="T112" fmla="*/ 26 w 174"/>
              <a:gd name="T113" fmla="*/ 63 h 148"/>
              <a:gd name="T114" fmla="*/ 30 w 174"/>
              <a:gd name="T115" fmla="*/ 57 h 148"/>
              <a:gd name="T116" fmla="*/ 32 w 174"/>
              <a:gd name="T117" fmla="*/ 5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 h="148">
                <a:moveTo>
                  <a:pt x="32" y="55"/>
                </a:moveTo>
                <a:cubicBezTo>
                  <a:pt x="33" y="55"/>
                  <a:pt x="33" y="56"/>
                  <a:pt x="34" y="56"/>
                </a:cubicBezTo>
                <a:cubicBezTo>
                  <a:pt x="34" y="56"/>
                  <a:pt x="34" y="56"/>
                  <a:pt x="34" y="56"/>
                </a:cubicBezTo>
                <a:cubicBezTo>
                  <a:pt x="34" y="56"/>
                  <a:pt x="35" y="56"/>
                  <a:pt x="36" y="56"/>
                </a:cubicBezTo>
                <a:cubicBezTo>
                  <a:pt x="37" y="56"/>
                  <a:pt x="38" y="58"/>
                  <a:pt x="38" y="58"/>
                </a:cubicBezTo>
                <a:cubicBezTo>
                  <a:pt x="38" y="58"/>
                  <a:pt x="39" y="60"/>
                  <a:pt x="39" y="61"/>
                </a:cubicBezTo>
                <a:cubicBezTo>
                  <a:pt x="40" y="61"/>
                  <a:pt x="40" y="61"/>
                  <a:pt x="41" y="61"/>
                </a:cubicBezTo>
                <a:cubicBezTo>
                  <a:pt x="42" y="61"/>
                  <a:pt x="42" y="62"/>
                  <a:pt x="43" y="62"/>
                </a:cubicBezTo>
                <a:cubicBezTo>
                  <a:pt x="44" y="62"/>
                  <a:pt x="46" y="64"/>
                  <a:pt x="46" y="64"/>
                </a:cubicBezTo>
                <a:cubicBezTo>
                  <a:pt x="46" y="64"/>
                  <a:pt x="48" y="66"/>
                  <a:pt x="48" y="66"/>
                </a:cubicBezTo>
                <a:cubicBezTo>
                  <a:pt x="49" y="67"/>
                  <a:pt x="52" y="69"/>
                  <a:pt x="53" y="69"/>
                </a:cubicBezTo>
                <a:cubicBezTo>
                  <a:pt x="53" y="70"/>
                  <a:pt x="53" y="71"/>
                  <a:pt x="53" y="71"/>
                </a:cubicBezTo>
                <a:cubicBezTo>
                  <a:pt x="53" y="72"/>
                  <a:pt x="53" y="75"/>
                  <a:pt x="54" y="75"/>
                </a:cubicBezTo>
                <a:cubicBezTo>
                  <a:pt x="55" y="76"/>
                  <a:pt x="56" y="78"/>
                  <a:pt x="56" y="79"/>
                </a:cubicBezTo>
                <a:cubicBezTo>
                  <a:pt x="57" y="79"/>
                  <a:pt x="58" y="81"/>
                  <a:pt x="60" y="82"/>
                </a:cubicBezTo>
                <a:cubicBezTo>
                  <a:pt x="60" y="83"/>
                  <a:pt x="62" y="82"/>
                  <a:pt x="63" y="82"/>
                </a:cubicBezTo>
                <a:cubicBezTo>
                  <a:pt x="64" y="81"/>
                  <a:pt x="67" y="81"/>
                  <a:pt x="68" y="81"/>
                </a:cubicBezTo>
                <a:cubicBezTo>
                  <a:pt x="69" y="80"/>
                  <a:pt x="71" y="78"/>
                  <a:pt x="71" y="78"/>
                </a:cubicBezTo>
                <a:cubicBezTo>
                  <a:pt x="72" y="77"/>
                  <a:pt x="75" y="77"/>
                  <a:pt x="76" y="77"/>
                </a:cubicBezTo>
                <a:cubicBezTo>
                  <a:pt x="77" y="78"/>
                  <a:pt x="78" y="79"/>
                  <a:pt x="78" y="79"/>
                </a:cubicBezTo>
                <a:cubicBezTo>
                  <a:pt x="79" y="80"/>
                  <a:pt x="79" y="81"/>
                  <a:pt x="79" y="82"/>
                </a:cubicBezTo>
                <a:cubicBezTo>
                  <a:pt x="80" y="83"/>
                  <a:pt x="81" y="86"/>
                  <a:pt x="81" y="87"/>
                </a:cubicBezTo>
                <a:cubicBezTo>
                  <a:pt x="81" y="88"/>
                  <a:pt x="85" y="92"/>
                  <a:pt x="85" y="92"/>
                </a:cubicBezTo>
                <a:cubicBezTo>
                  <a:pt x="85" y="92"/>
                  <a:pt x="88" y="93"/>
                  <a:pt x="88" y="94"/>
                </a:cubicBezTo>
                <a:cubicBezTo>
                  <a:pt x="88" y="94"/>
                  <a:pt x="89" y="97"/>
                  <a:pt x="89" y="98"/>
                </a:cubicBezTo>
                <a:cubicBezTo>
                  <a:pt x="89" y="98"/>
                  <a:pt x="89" y="99"/>
                  <a:pt x="90" y="100"/>
                </a:cubicBezTo>
                <a:cubicBezTo>
                  <a:pt x="90" y="101"/>
                  <a:pt x="93" y="104"/>
                  <a:pt x="94" y="105"/>
                </a:cubicBezTo>
                <a:cubicBezTo>
                  <a:pt x="94" y="105"/>
                  <a:pt x="97" y="110"/>
                  <a:pt x="97" y="110"/>
                </a:cubicBezTo>
                <a:cubicBezTo>
                  <a:pt x="97" y="110"/>
                  <a:pt x="100" y="111"/>
                  <a:pt x="101" y="111"/>
                </a:cubicBezTo>
                <a:cubicBezTo>
                  <a:pt x="102" y="112"/>
                  <a:pt x="101" y="113"/>
                  <a:pt x="102" y="114"/>
                </a:cubicBezTo>
                <a:cubicBezTo>
                  <a:pt x="102" y="115"/>
                  <a:pt x="106" y="116"/>
                  <a:pt x="107" y="117"/>
                </a:cubicBezTo>
                <a:cubicBezTo>
                  <a:pt x="108" y="118"/>
                  <a:pt x="110" y="120"/>
                  <a:pt x="111" y="120"/>
                </a:cubicBezTo>
                <a:cubicBezTo>
                  <a:pt x="111" y="121"/>
                  <a:pt x="112" y="123"/>
                  <a:pt x="112" y="123"/>
                </a:cubicBezTo>
                <a:cubicBezTo>
                  <a:pt x="112" y="123"/>
                  <a:pt x="115" y="124"/>
                  <a:pt x="116" y="125"/>
                </a:cubicBezTo>
                <a:cubicBezTo>
                  <a:pt x="117" y="126"/>
                  <a:pt x="119" y="126"/>
                  <a:pt x="120" y="126"/>
                </a:cubicBezTo>
                <a:cubicBezTo>
                  <a:pt x="120" y="127"/>
                  <a:pt x="120" y="128"/>
                  <a:pt x="120" y="129"/>
                </a:cubicBezTo>
                <a:cubicBezTo>
                  <a:pt x="121" y="130"/>
                  <a:pt x="124" y="129"/>
                  <a:pt x="125" y="130"/>
                </a:cubicBezTo>
                <a:cubicBezTo>
                  <a:pt x="126" y="131"/>
                  <a:pt x="127" y="132"/>
                  <a:pt x="127" y="132"/>
                </a:cubicBezTo>
                <a:cubicBezTo>
                  <a:pt x="128" y="133"/>
                  <a:pt x="129" y="133"/>
                  <a:pt x="129" y="132"/>
                </a:cubicBezTo>
                <a:cubicBezTo>
                  <a:pt x="130" y="132"/>
                  <a:pt x="131" y="132"/>
                  <a:pt x="131" y="132"/>
                </a:cubicBezTo>
                <a:cubicBezTo>
                  <a:pt x="132" y="132"/>
                  <a:pt x="133" y="132"/>
                  <a:pt x="133" y="132"/>
                </a:cubicBezTo>
                <a:cubicBezTo>
                  <a:pt x="134" y="132"/>
                  <a:pt x="136" y="133"/>
                  <a:pt x="136" y="134"/>
                </a:cubicBezTo>
                <a:cubicBezTo>
                  <a:pt x="137" y="134"/>
                  <a:pt x="138" y="135"/>
                  <a:pt x="139" y="136"/>
                </a:cubicBezTo>
                <a:cubicBezTo>
                  <a:pt x="139" y="136"/>
                  <a:pt x="140" y="138"/>
                  <a:pt x="140" y="139"/>
                </a:cubicBezTo>
                <a:cubicBezTo>
                  <a:pt x="141" y="140"/>
                  <a:pt x="142" y="142"/>
                  <a:pt x="142" y="143"/>
                </a:cubicBezTo>
                <a:cubicBezTo>
                  <a:pt x="142" y="143"/>
                  <a:pt x="142" y="147"/>
                  <a:pt x="141" y="147"/>
                </a:cubicBezTo>
                <a:cubicBezTo>
                  <a:pt x="141" y="147"/>
                  <a:pt x="142" y="147"/>
                  <a:pt x="142" y="147"/>
                </a:cubicBezTo>
                <a:cubicBezTo>
                  <a:pt x="144" y="147"/>
                  <a:pt x="146" y="146"/>
                  <a:pt x="147" y="146"/>
                </a:cubicBezTo>
                <a:cubicBezTo>
                  <a:pt x="148" y="146"/>
                  <a:pt x="149" y="147"/>
                  <a:pt x="150" y="148"/>
                </a:cubicBezTo>
                <a:cubicBezTo>
                  <a:pt x="151" y="148"/>
                  <a:pt x="152" y="148"/>
                  <a:pt x="152" y="147"/>
                </a:cubicBezTo>
                <a:cubicBezTo>
                  <a:pt x="153" y="147"/>
                  <a:pt x="154" y="147"/>
                  <a:pt x="155" y="147"/>
                </a:cubicBezTo>
                <a:cubicBezTo>
                  <a:pt x="155" y="147"/>
                  <a:pt x="156" y="147"/>
                  <a:pt x="156" y="147"/>
                </a:cubicBezTo>
                <a:cubicBezTo>
                  <a:pt x="159" y="141"/>
                  <a:pt x="159" y="141"/>
                  <a:pt x="159" y="141"/>
                </a:cubicBezTo>
                <a:cubicBezTo>
                  <a:pt x="159" y="141"/>
                  <a:pt x="160" y="141"/>
                  <a:pt x="160" y="140"/>
                </a:cubicBezTo>
                <a:cubicBezTo>
                  <a:pt x="160" y="140"/>
                  <a:pt x="160" y="139"/>
                  <a:pt x="160" y="139"/>
                </a:cubicBezTo>
                <a:cubicBezTo>
                  <a:pt x="160" y="139"/>
                  <a:pt x="163" y="138"/>
                  <a:pt x="163" y="138"/>
                </a:cubicBezTo>
                <a:cubicBezTo>
                  <a:pt x="163" y="137"/>
                  <a:pt x="163" y="130"/>
                  <a:pt x="163" y="130"/>
                </a:cubicBezTo>
                <a:cubicBezTo>
                  <a:pt x="163" y="130"/>
                  <a:pt x="161" y="128"/>
                  <a:pt x="160" y="127"/>
                </a:cubicBezTo>
                <a:cubicBezTo>
                  <a:pt x="160" y="126"/>
                  <a:pt x="160" y="123"/>
                  <a:pt x="160" y="123"/>
                </a:cubicBezTo>
                <a:cubicBezTo>
                  <a:pt x="158" y="122"/>
                  <a:pt x="158" y="122"/>
                  <a:pt x="158" y="122"/>
                </a:cubicBezTo>
                <a:cubicBezTo>
                  <a:pt x="157" y="121"/>
                  <a:pt x="157" y="121"/>
                  <a:pt x="157" y="121"/>
                </a:cubicBezTo>
                <a:cubicBezTo>
                  <a:pt x="154" y="120"/>
                  <a:pt x="154" y="120"/>
                  <a:pt x="154" y="120"/>
                </a:cubicBezTo>
                <a:cubicBezTo>
                  <a:pt x="152" y="118"/>
                  <a:pt x="152" y="118"/>
                  <a:pt x="152" y="118"/>
                </a:cubicBezTo>
                <a:cubicBezTo>
                  <a:pt x="152" y="112"/>
                  <a:pt x="152" y="112"/>
                  <a:pt x="152" y="112"/>
                </a:cubicBezTo>
                <a:cubicBezTo>
                  <a:pt x="152" y="112"/>
                  <a:pt x="152" y="111"/>
                  <a:pt x="154" y="111"/>
                </a:cubicBezTo>
                <a:cubicBezTo>
                  <a:pt x="155" y="111"/>
                  <a:pt x="155" y="110"/>
                  <a:pt x="156" y="110"/>
                </a:cubicBezTo>
                <a:cubicBezTo>
                  <a:pt x="157" y="109"/>
                  <a:pt x="158" y="110"/>
                  <a:pt x="159" y="109"/>
                </a:cubicBezTo>
                <a:cubicBezTo>
                  <a:pt x="159" y="109"/>
                  <a:pt x="161" y="108"/>
                  <a:pt x="161" y="108"/>
                </a:cubicBezTo>
                <a:cubicBezTo>
                  <a:pt x="162" y="108"/>
                  <a:pt x="165" y="107"/>
                  <a:pt x="165" y="105"/>
                </a:cubicBezTo>
                <a:cubicBezTo>
                  <a:pt x="165" y="104"/>
                  <a:pt x="163" y="103"/>
                  <a:pt x="163" y="102"/>
                </a:cubicBezTo>
                <a:cubicBezTo>
                  <a:pt x="163" y="101"/>
                  <a:pt x="164" y="100"/>
                  <a:pt x="164" y="100"/>
                </a:cubicBezTo>
                <a:cubicBezTo>
                  <a:pt x="164" y="100"/>
                  <a:pt x="166" y="100"/>
                  <a:pt x="167" y="99"/>
                </a:cubicBezTo>
                <a:cubicBezTo>
                  <a:pt x="168" y="99"/>
                  <a:pt x="168" y="98"/>
                  <a:pt x="168" y="98"/>
                </a:cubicBezTo>
                <a:cubicBezTo>
                  <a:pt x="168" y="98"/>
                  <a:pt x="170" y="98"/>
                  <a:pt x="172" y="97"/>
                </a:cubicBezTo>
                <a:cubicBezTo>
                  <a:pt x="173" y="97"/>
                  <a:pt x="174" y="95"/>
                  <a:pt x="174" y="95"/>
                </a:cubicBezTo>
                <a:cubicBezTo>
                  <a:pt x="173" y="93"/>
                  <a:pt x="173" y="93"/>
                  <a:pt x="173" y="93"/>
                </a:cubicBezTo>
                <a:cubicBezTo>
                  <a:pt x="173" y="93"/>
                  <a:pt x="171" y="94"/>
                  <a:pt x="170" y="94"/>
                </a:cubicBezTo>
                <a:cubicBezTo>
                  <a:pt x="169" y="93"/>
                  <a:pt x="166" y="92"/>
                  <a:pt x="166" y="91"/>
                </a:cubicBezTo>
                <a:cubicBezTo>
                  <a:pt x="166" y="91"/>
                  <a:pt x="165" y="89"/>
                  <a:pt x="165" y="88"/>
                </a:cubicBezTo>
                <a:cubicBezTo>
                  <a:pt x="165" y="87"/>
                  <a:pt x="164" y="86"/>
                  <a:pt x="163" y="85"/>
                </a:cubicBezTo>
                <a:cubicBezTo>
                  <a:pt x="163" y="85"/>
                  <a:pt x="160" y="86"/>
                  <a:pt x="160" y="86"/>
                </a:cubicBezTo>
                <a:cubicBezTo>
                  <a:pt x="160" y="86"/>
                  <a:pt x="158" y="86"/>
                  <a:pt x="158" y="86"/>
                </a:cubicBezTo>
                <a:cubicBezTo>
                  <a:pt x="157" y="85"/>
                  <a:pt x="157" y="85"/>
                  <a:pt x="156" y="85"/>
                </a:cubicBezTo>
                <a:cubicBezTo>
                  <a:pt x="156" y="85"/>
                  <a:pt x="155" y="84"/>
                  <a:pt x="155" y="83"/>
                </a:cubicBezTo>
                <a:cubicBezTo>
                  <a:pt x="154" y="83"/>
                  <a:pt x="151" y="81"/>
                  <a:pt x="150" y="81"/>
                </a:cubicBezTo>
                <a:cubicBezTo>
                  <a:pt x="149" y="81"/>
                  <a:pt x="148" y="81"/>
                  <a:pt x="147" y="81"/>
                </a:cubicBezTo>
                <a:cubicBezTo>
                  <a:pt x="145" y="82"/>
                  <a:pt x="144" y="81"/>
                  <a:pt x="144" y="82"/>
                </a:cubicBezTo>
                <a:cubicBezTo>
                  <a:pt x="143" y="83"/>
                  <a:pt x="141" y="85"/>
                  <a:pt x="140" y="85"/>
                </a:cubicBezTo>
                <a:cubicBezTo>
                  <a:pt x="140" y="85"/>
                  <a:pt x="137" y="83"/>
                  <a:pt x="136" y="83"/>
                </a:cubicBezTo>
                <a:cubicBezTo>
                  <a:pt x="136" y="83"/>
                  <a:pt x="134" y="82"/>
                  <a:pt x="134" y="81"/>
                </a:cubicBezTo>
                <a:cubicBezTo>
                  <a:pt x="134" y="81"/>
                  <a:pt x="132" y="79"/>
                  <a:pt x="132" y="78"/>
                </a:cubicBezTo>
                <a:cubicBezTo>
                  <a:pt x="132" y="77"/>
                  <a:pt x="131" y="76"/>
                  <a:pt x="130" y="75"/>
                </a:cubicBezTo>
                <a:cubicBezTo>
                  <a:pt x="130" y="74"/>
                  <a:pt x="127" y="73"/>
                  <a:pt x="127" y="73"/>
                </a:cubicBezTo>
                <a:cubicBezTo>
                  <a:pt x="127" y="72"/>
                  <a:pt x="125" y="71"/>
                  <a:pt x="125" y="70"/>
                </a:cubicBezTo>
                <a:cubicBezTo>
                  <a:pt x="125" y="70"/>
                  <a:pt x="124" y="67"/>
                  <a:pt x="124" y="66"/>
                </a:cubicBezTo>
                <a:cubicBezTo>
                  <a:pt x="124" y="66"/>
                  <a:pt x="124" y="63"/>
                  <a:pt x="124" y="62"/>
                </a:cubicBezTo>
                <a:cubicBezTo>
                  <a:pt x="124" y="61"/>
                  <a:pt x="124" y="59"/>
                  <a:pt x="124" y="58"/>
                </a:cubicBezTo>
                <a:cubicBezTo>
                  <a:pt x="125" y="58"/>
                  <a:pt x="125" y="57"/>
                  <a:pt x="124" y="56"/>
                </a:cubicBezTo>
                <a:cubicBezTo>
                  <a:pt x="124" y="55"/>
                  <a:pt x="122" y="49"/>
                  <a:pt x="122" y="49"/>
                </a:cubicBezTo>
                <a:cubicBezTo>
                  <a:pt x="122" y="49"/>
                  <a:pt x="122" y="48"/>
                  <a:pt x="121" y="47"/>
                </a:cubicBezTo>
                <a:cubicBezTo>
                  <a:pt x="120" y="47"/>
                  <a:pt x="119" y="46"/>
                  <a:pt x="119" y="46"/>
                </a:cubicBezTo>
                <a:cubicBezTo>
                  <a:pt x="118" y="45"/>
                  <a:pt x="116" y="43"/>
                  <a:pt x="116" y="43"/>
                </a:cubicBezTo>
                <a:cubicBezTo>
                  <a:pt x="115" y="42"/>
                  <a:pt x="114" y="41"/>
                  <a:pt x="114" y="41"/>
                </a:cubicBezTo>
                <a:cubicBezTo>
                  <a:pt x="114" y="41"/>
                  <a:pt x="113" y="39"/>
                  <a:pt x="113" y="39"/>
                </a:cubicBezTo>
                <a:cubicBezTo>
                  <a:pt x="113" y="38"/>
                  <a:pt x="112" y="38"/>
                  <a:pt x="111" y="38"/>
                </a:cubicBezTo>
                <a:cubicBezTo>
                  <a:pt x="110" y="37"/>
                  <a:pt x="109" y="38"/>
                  <a:pt x="108" y="38"/>
                </a:cubicBezTo>
                <a:cubicBezTo>
                  <a:pt x="108" y="39"/>
                  <a:pt x="106" y="41"/>
                  <a:pt x="106" y="41"/>
                </a:cubicBezTo>
                <a:cubicBezTo>
                  <a:pt x="106" y="41"/>
                  <a:pt x="102" y="42"/>
                  <a:pt x="102" y="41"/>
                </a:cubicBezTo>
                <a:cubicBezTo>
                  <a:pt x="101" y="41"/>
                  <a:pt x="99" y="41"/>
                  <a:pt x="98" y="41"/>
                </a:cubicBezTo>
                <a:cubicBezTo>
                  <a:pt x="97" y="41"/>
                  <a:pt x="96" y="41"/>
                  <a:pt x="95" y="40"/>
                </a:cubicBezTo>
                <a:cubicBezTo>
                  <a:pt x="94" y="40"/>
                  <a:pt x="91" y="39"/>
                  <a:pt x="90" y="39"/>
                </a:cubicBezTo>
                <a:cubicBezTo>
                  <a:pt x="89" y="39"/>
                  <a:pt x="87" y="39"/>
                  <a:pt x="86" y="39"/>
                </a:cubicBezTo>
                <a:cubicBezTo>
                  <a:pt x="85" y="38"/>
                  <a:pt x="83" y="38"/>
                  <a:pt x="83" y="39"/>
                </a:cubicBezTo>
                <a:cubicBezTo>
                  <a:pt x="82" y="39"/>
                  <a:pt x="80" y="40"/>
                  <a:pt x="80" y="40"/>
                </a:cubicBezTo>
                <a:cubicBezTo>
                  <a:pt x="79" y="41"/>
                  <a:pt x="77" y="41"/>
                  <a:pt x="76" y="41"/>
                </a:cubicBezTo>
                <a:cubicBezTo>
                  <a:pt x="75" y="42"/>
                  <a:pt x="75" y="42"/>
                  <a:pt x="73" y="42"/>
                </a:cubicBezTo>
                <a:cubicBezTo>
                  <a:pt x="72" y="42"/>
                  <a:pt x="70" y="41"/>
                  <a:pt x="70" y="41"/>
                </a:cubicBezTo>
                <a:cubicBezTo>
                  <a:pt x="70" y="41"/>
                  <a:pt x="69" y="39"/>
                  <a:pt x="69" y="38"/>
                </a:cubicBezTo>
                <a:cubicBezTo>
                  <a:pt x="69" y="37"/>
                  <a:pt x="68" y="35"/>
                  <a:pt x="68" y="35"/>
                </a:cubicBezTo>
                <a:cubicBezTo>
                  <a:pt x="68" y="35"/>
                  <a:pt x="68" y="35"/>
                  <a:pt x="68" y="35"/>
                </a:cubicBezTo>
                <a:cubicBezTo>
                  <a:pt x="68" y="35"/>
                  <a:pt x="68" y="35"/>
                  <a:pt x="68" y="35"/>
                </a:cubicBezTo>
                <a:cubicBezTo>
                  <a:pt x="68" y="35"/>
                  <a:pt x="68" y="35"/>
                  <a:pt x="68" y="35"/>
                </a:cubicBezTo>
                <a:cubicBezTo>
                  <a:pt x="68" y="36"/>
                  <a:pt x="68" y="36"/>
                  <a:pt x="68" y="36"/>
                </a:cubicBezTo>
                <a:cubicBezTo>
                  <a:pt x="67" y="37"/>
                  <a:pt x="66" y="39"/>
                  <a:pt x="66" y="40"/>
                </a:cubicBezTo>
                <a:cubicBezTo>
                  <a:pt x="65" y="40"/>
                  <a:pt x="62" y="39"/>
                  <a:pt x="62" y="39"/>
                </a:cubicBezTo>
                <a:cubicBezTo>
                  <a:pt x="61" y="39"/>
                  <a:pt x="61" y="39"/>
                  <a:pt x="61" y="39"/>
                </a:cubicBezTo>
                <a:cubicBezTo>
                  <a:pt x="61" y="39"/>
                  <a:pt x="61" y="39"/>
                  <a:pt x="61" y="39"/>
                </a:cubicBezTo>
                <a:cubicBezTo>
                  <a:pt x="60" y="39"/>
                  <a:pt x="59" y="40"/>
                  <a:pt x="59" y="41"/>
                </a:cubicBezTo>
                <a:cubicBezTo>
                  <a:pt x="58" y="41"/>
                  <a:pt x="58" y="41"/>
                  <a:pt x="58" y="41"/>
                </a:cubicBezTo>
                <a:cubicBezTo>
                  <a:pt x="58" y="41"/>
                  <a:pt x="57" y="41"/>
                  <a:pt x="57" y="41"/>
                </a:cubicBezTo>
                <a:cubicBezTo>
                  <a:pt x="57" y="41"/>
                  <a:pt x="57" y="41"/>
                  <a:pt x="57" y="41"/>
                </a:cubicBezTo>
                <a:cubicBezTo>
                  <a:pt x="57" y="41"/>
                  <a:pt x="56" y="41"/>
                  <a:pt x="56" y="41"/>
                </a:cubicBezTo>
                <a:cubicBezTo>
                  <a:pt x="55" y="41"/>
                  <a:pt x="50" y="35"/>
                  <a:pt x="49" y="35"/>
                </a:cubicBezTo>
                <a:cubicBezTo>
                  <a:pt x="47" y="34"/>
                  <a:pt x="44" y="32"/>
                  <a:pt x="43" y="32"/>
                </a:cubicBezTo>
                <a:cubicBezTo>
                  <a:pt x="41" y="32"/>
                  <a:pt x="40" y="32"/>
                  <a:pt x="39" y="33"/>
                </a:cubicBezTo>
                <a:cubicBezTo>
                  <a:pt x="39" y="34"/>
                  <a:pt x="40" y="34"/>
                  <a:pt x="41" y="35"/>
                </a:cubicBezTo>
                <a:cubicBezTo>
                  <a:pt x="41" y="35"/>
                  <a:pt x="41" y="35"/>
                  <a:pt x="42" y="35"/>
                </a:cubicBezTo>
                <a:cubicBezTo>
                  <a:pt x="42" y="36"/>
                  <a:pt x="41" y="37"/>
                  <a:pt x="40" y="38"/>
                </a:cubicBezTo>
                <a:cubicBezTo>
                  <a:pt x="39" y="38"/>
                  <a:pt x="36" y="37"/>
                  <a:pt x="35" y="36"/>
                </a:cubicBezTo>
                <a:cubicBezTo>
                  <a:pt x="34" y="35"/>
                  <a:pt x="33" y="33"/>
                  <a:pt x="32" y="32"/>
                </a:cubicBezTo>
                <a:cubicBezTo>
                  <a:pt x="32" y="30"/>
                  <a:pt x="31" y="26"/>
                  <a:pt x="31" y="25"/>
                </a:cubicBezTo>
                <a:cubicBezTo>
                  <a:pt x="31" y="24"/>
                  <a:pt x="30" y="22"/>
                  <a:pt x="30" y="21"/>
                </a:cubicBezTo>
                <a:cubicBezTo>
                  <a:pt x="30" y="20"/>
                  <a:pt x="30" y="18"/>
                  <a:pt x="30" y="16"/>
                </a:cubicBezTo>
                <a:cubicBezTo>
                  <a:pt x="30" y="14"/>
                  <a:pt x="31" y="11"/>
                  <a:pt x="31" y="11"/>
                </a:cubicBezTo>
                <a:cubicBezTo>
                  <a:pt x="31" y="10"/>
                  <a:pt x="32" y="6"/>
                  <a:pt x="32" y="5"/>
                </a:cubicBezTo>
                <a:cubicBezTo>
                  <a:pt x="32" y="4"/>
                  <a:pt x="33" y="0"/>
                  <a:pt x="33" y="0"/>
                </a:cubicBezTo>
                <a:cubicBezTo>
                  <a:pt x="33" y="0"/>
                  <a:pt x="30" y="1"/>
                  <a:pt x="29" y="1"/>
                </a:cubicBezTo>
                <a:cubicBezTo>
                  <a:pt x="28" y="2"/>
                  <a:pt x="27" y="2"/>
                  <a:pt x="26" y="3"/>
                </a:cubicBezTo>
                <a:cubicBezTo>
                  <a:pt x="25" y="3"/>
                  <a:pt x="23" y="3"/>
                  <a:pt x="22" y="3"/>
                </a:cubicBezTo>
                <a:cubicBezTo>
                  <a:pt x="20" y="3"/>
                  <a:pt x="19" y="4"/>
                  <a:pt x="18" y="4"/>
                </a:cubicBezTo>
                <a:cubicBezTo>
                  <a:pt x="17" y="5"/>
                  <a:pt x="15" y="5"/>
                  <a:pt x="14" y="5"/>
                </a:cubicBezTo>
                <a:cubicBezTo>
                  <a:pt x="12" y="6"/>
                  <a:pt x="11" y="7"/>
                  <a:pt x="10" y="7"/>
                </a:cubicBezTo>
                <a:cubicBezTo>
                  <a:pt x="8" y="8"/>
                  <a:pt x="6" y="8"/>
                  <a:pt x="5" y="9"/>
                </a:cubicBezTo>
                <a:cubicBezTo>
                  <a:pt x="4" y="9"/>
                  <a:pt x="2" y="13"/>
                  <a:pt x="1" y="14"/>
                </a:cubicBezTo>
                <a:cubicBezTo>
                  <a:pt x="1" y="15"/>
                  <a:pt x="0" y="18"/>
                  <a:pt x="0" y="19"/>
                </a:cubicBezTo>
                <a:cubicBezTo>
                  <a:pt x="0" y="21"/>
                  <a:pt x="0" y="24"/>
                  <a:pt x="0" y="24"/>
                </a:cubicBezTo>
                <a:cubicBezTo>
                  <a:pt x="2" y="42"/>
                  <a:pt x="2" y="42"/>
                  <a:pt x="2" y="42"/>
                </a:cubicBezTo>
                <a:cubicBezTo>
                  <a:pt x="2" y="42"/>
                  <a:pt x="4" y="58"/>
                  <a:pt x="4" y="59"/>
                </a:cubicBezTo>
                <a:cubicBezTo>
                  <a:pt x="4" y="61"/>
                  <a:pt x="5" y="66"/>
                  <a:pt x="5" y="67"/>
                </a:cubicBezTo>
                <a:cubicBezTo>
                  <a:pt x="5" y="68"/>
                  <a:pt x="6" y="74"/>
                  <a:pt x="6" y="75"/>
                </a:cubicBezTo>
                <a:cubicBezTo>
                  <a:pt x="5" y="77"/>
                  <a:pt x="5" y="79"/>
                  <a:pt x="5" y="79"/>
                </a:cubicBezTo>
                <a:cubicBezTo>
                  <a:pt x="5" y="79"/>
                  <a:pt x="8" y="78"/>
                  <a:pt x="10" y="79"/>
                </a:cubicBezTo>
                <a:cubicBezTo>
                  <a:pt x="11" y="79"/>
                  <a:pt x="11" y="80"/>
                  <a:pt x="13" y="81"/>
                </a:cubicBezTo>
                <a:cubicBezTo>
                  <a:pt x="15" y="81"/>
                  <a:pt x="17" y="81"/>
                  <a:pt x="18" y="82"/>
                </a:cubicBezTo>
                <a:cubicBezTo>
                  <a:pt x="19" y="82"/>
                  <a:pt x="19" y="82"/>
                  <a:pt x="19" y="80"/>
                </a:cubicBezTo>
                <a:cubicBezTo>
                  <a:pt x="20" y="79"/>
                  <a:pt x="19" y="76"/>
                  <a:pt x="18" y="74"/>
                </a:cubicBezTo>
                <a:cubicBezTo>
                  <a:pt x="18" y="73"/>
                  <a:pt x="18" y="72"/>
                  <a:pt x="18" y="71"/>
                </a:cubicBezTo>
                <a:cubicBezTo>
                  <a:pt x="18" y="70"/>
                  <a:pt x="19" y="68"/>
                  <a:pt x="19" y="67"/>
                </a:cubicBezTo>
                <a:cubicBezTo>
                  <a:pt x="19" y="66"/>
                  <a:pt x="20" y="65"/>
                  <a:pt x="21" y="64"/>
                </a:cubicBezTo>
                <a:cubicBezTo>
                  <a:pt x="22" y="64"/>
                  <a:pt x="23" y="64"/>
                  <a:pt x="24" y="64"/>
                </a:cubicBezTo>
                <a:cubicBezTo>
                  <a:pt x="24" y="64"/>
                  <a:pt x="25" y="64"/>
                  <a:pt x="26" y="63"/>
                </a:cubicBezTo>
                <a:cubicBezTo>
                  <a:pt x="26" y="63"/>
                  <a:pt x="26" y="62"/>
                  <a:pt x="26" y="60"/>
                </a:cubicBezTo>
                <a:cubicBezTo>
                  <a:pt x="26" y="60"/>
                  <a:pt x="28" y="59"/>
                  <a:pt x="28" y="59"/>
                </a:cubicBezTo>
                <a:cubicBezTo>
                  <a:pt x="30" y="57"/>
                  <a:pt x="30" y="57"/>
                  <a:pt x="30" y="57"/>
                </a:cubicBezTo>
                <a:cubicBezTo>
                  <a:pt x="30" y="57"/>
                  <a:pt x="30" y="56"/>
                  <a:pt x="31" y="55"/>
                </a:cubicBezTo>
                <a:cubicBezTo>
                  <a:pt x="31" y="55"/>
                  <a:pt x="32" y="55"/>
                  <a:pt x="32" y="55"/>
                </a:cubicBezTo>
                <a:cubicBezTo>
                  <a:pt x="32" y="55"/>
                  <a:pt x="32" y="55"/>
                  <a:pt x="32" y="55"/>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1" name="Kazakhstan"/>
          <p:cNvSpPr>
            <a:spLocks/>
          </p:cNvSpPr>
          <p:nvPr/>
        </p:nvSpPr>
        <p:spPr bwMode="auto">
          <a:xfrm>
            <a:off x="7390050" y="2149905"/>
            <a:ext cx="1019111" cy="573249"/>
          </a:xfrm>
          <a:custGeom>
            <a:avLst/>
            <a:gdLst>
              <a:gd name="T0" fmla="*/ 19 w 497"/>
              <a:gd name="T1" fmla="*/ 150 h 279"/>
              <a:gd name="T2" fmla="*/ 2 w 497"/>
              <a:gd name="T3" fmla="*/ 131 h 279"/>
              <a:gd name="T4" fmla="*/ 14 w 497"/>
              <a:gd name="T5" fmla="*/ 103 h 279"/>
              <a:gd name="T6" fmla="*/ 24 w 497"/>
              <a:gd name="T7" fmla="*/ 95 h 279"/>
              <a:gd name="T8" fmla="*/ 42 w 497"/>
              <a:gd name="T9" fmla="*/ 81 h 279"/>
              <a:gd name="T10" fmla="*/ 60 w 497"/>
              <a:gd name="T11" fmla="*/ 79 h 279"/>
              <a:gd name="T12" fmla="*/ 88 w 497"/>
              <a:gd name="T13" fmla="*/ 87 h 279"/>
              <a:gd name="T14" fmla="*/ 108 w 497"/>
              <a:gd name="T15" fmla="*/ 93 h 279"/>
              <a:gd name="T16" fmla="*/ 131 w 497"/>
              <a:gd name="T17" fmla="*/ 86 h 279"/>
              <a:gd name="T18" fmla="*/ 154 w 497"/>
              <a:gd name="T19" fmla="*/ 92 h 279"/>
              <a:gd name="T20" fmla="*/ 173 w 497"/>
              <a:gd name="T21" fmla="*/ 82 h 279"/>
              <a:gd name="T22" fmla="*/ 161 w 497"/>
              <a:gd name="T23" fmla="*/ 67 h 279"/>
              <a:gd name="T24" fmla="*/ 170 w 497"/>
              <a:gd name="T25" fmla="*/ 46 h 279"/>
              <a:gd name="T26" fmla="*/ 173 w 497"/>
              <a:gd name="T27" fmla="*/ 29 h 279"/>
              <a:gd name="T28" fmla="*/ 205 w 497"/>
              <a:gd name="T29" fmla="*/ 23 h 279"/>
              <a:gd name="T30" fmla="*/ 241 w 497"/>
              <a:gd name="T31" fmla="*/ 12 h 279"/>
              <a:gd name="T32" fmla="*/ 267 w 497"/>
              <a:gd name="T33" fmla="*/ 6 h 279"/>
              <a:gd name="T34" fmla="*/ 285 w 497"/>
              <a:gd name="T35" fmla="*/ 25 h 279"/>
              <a:gd name="T36" fmla="*/ 309 w 497"/>
              <a:gd name="T37" fmla="*/ 31 h 279"/>
              <a:gd name="T38" fmla="*/ 329 w 497"/>
              <a:gd name="T39" fmla="*/ 31 h 279"/>
              <a:gd name="T40" fmla="*/ 349 w 497"/>
              <a:gd name="T41" fmla="*/ 26 h 279"/>
              <a:gd name="T42" fmla="*/ 370 w 497"/>
              <a:gd name="T43" fmla="*/ 54 h 279"/>
              <a:gd name="T44" fmla="*/ 388 w 497"/>
              <a:gd name="T45" fmla="*/ 82 h 279"/>
              <a:gd name="T46" fmla="*/ 405 w 497"/>
              <a:gd name="T47" fmla="*/ 83 h 279"/>
              <a:gd name="T48" fmla="*/ 420 w 497"/>
              <a:gd name="T49" fmla="*/ 93 h 279"/>
              <a:gd name="T50" fmla="*/ 442 w 497"/>
              <a:gd name="T51" fmla="*/ 91 h 279"/>
              <a:gd name="T52" fmla="*/ 462 w 497"/>
              <a:gd name="T53" fmla="*/ 106 h 279"/>
              <a:gd name="T54" fmla="*/ 483 w 497"/>
              <a:gd name="T55" fmla="*/ 116 h 279"/>
              <a:gd name="T56" fmla="*/ 490 w 497"/>
              <a:gd name="T57" fmla="*/ 124 h 279"/>
              <a:gd name="T58" fmla="*/ 474 w 497"/>
              <a:gd name="T59" fmla="*/ 144 h 279"/>
              <a:gd name="T60" fmla="*/ 467 w 497"/>
              <a:gd name="T61" fmla="*/ 166 h 279"/>
              <a:gd name="T62" fmla="*/ 443 w 497"/>
              <a:gd name="T63" fmla="*/ 170 h 279"/>
              <a:gd name="T64" fmla="*/ 442 w 497"/>
              <a:gd name="T65" fmla="*/ 198 h 279"/>
              <a:gd name="T66" fmla="*/ 414 w 497"/>
              <a:gd name="T67" fmla="*/ 202 h 279"/>
              <a:gd name="T68" fmla="*/ 419 w 497"/>
              <a:gd name="T69" fmla="*/ 222 h 279"/>
              <a:gd name="T70" fmla="*/ 419 w 497"/>
              <a:gd name="T71" fmla="*/ 243 h 279"/>
              <a:gd name="T72" fmla="*/ 398 w 497"/>
              <a:gd name="T73" fmla="*/ 236 h 279"/>
              <a:gd name="T74" fmla="*/ 356 w 497"/>
              <a:gd name="T75" fmla="*/ 234 h 279"/>
              <a:gd name="T76" fmla="*/ 330 w 497"/>
              <a:gd name="T77" fmla="*/ 245 h 279"/>
              <a:gd name="T78" fmla="*/ 306 w 497"/>
              <a:gd name="T79" fmla="*/ 262 h 279"/>
              <a:gd name="T80" fmla="*/ 299 w 497"/>
              <a:gd name="T81" fmla="*/ 274 h 279"/>
              <a:gd name="T82" fmla="*/ 274 w 497"/>
              <a:gd name="T83" fmla="*/ 270 h 279"/>
              <a:gd name="T84" fmla="*/ 245 w 497"/>
              <a:gd name="T85" fmla="*/ 258 h 279"/>
              <a:gd name="T86" fmla="*/ 232 w 497"/>
              <a:gd name="T87" fmla="*/ 226 h 279"/>
              <a:gd name="T88" fmla="*/ 201 w 497"/>
              <a:gd name="T89" fmla="*/ 224 h 279"/>
              <a:gd name="T90" fmla="*/ 190 w 497"/>
              <a:gd name="T91" fmla="*/ 204 h 279"/>
              <a:gd name="T92" fmla="*/ 182 w 497"/>
              <a:gd name="T93" fmla="*/ 184 h 279"/>
              <a:gd name="T94" fmla="*/ 178 w 497"/>
              <a:gd name="T95" fmla="*/ 164 h 279"/>
              <a:gd name="T96" fmla="*/ 159 w 497"/>
              <a:gd name="T97" fmla="*/ 179 h 279"/>
              <a:gd name="T98" fmla="*/ 128 w 497"/>
              <a:gd name="T99" fmla="*/ 192 h 279"/>
              <a:gd name="T100" fmla="*/ 122 w 497"/>
              <a:gd name="T101" fmla="*/ 266 h 279"/>
              <a:gd name="T102" fmla="*/ 88 w 497"/>
              <a:gd name="T103" fmla="*/ 247 h 279"/>
              <a:gd name="T104" fmla="*/ 73 w 497"/>
              <a:gd name="T105" fmla="*/ 236 h 279"/>
              <a:gd name="T106" fmla="*/ 56 w 497"/>
              <a:gd name="T107" fmla="*/ 214 h 279"/>
              <a:gd name="T108" fmla="*/ 60 w 497"/>
              <a:gd name="T109" fmla="*/ 208 h 279"/>
              <a:gd name="T110" fmla="*/ 56 w 497"/>
              <a:gd name="T111" fmla="*/ 197 h 279"/>
              <a:gd name="T112" fmla="*/ 81 w 497"/>
              <a:gd name="T113" fmla="*/ 190 h 279"/>
              <a:gd name="T114" fmla="*/ 80 w 497"/>
              <a:gd name="T115" fmla="*/ 171 h 279"/>
              <a:gd name="T116" fmla="*/ 62 w 497"/>
              <a:gd name="T117" fmla="*/ 164 h 279"/>
              <a:gd name="T118" fmla="*/ 42 w 497"/>
              <a:gd name="T119" fmla="*/ 16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7" h="279">
                <a:moveTo>
                  <a:pt x="36" y="170"/>
                </a:moveTo>
                <a:cubicBezTo>
                  <a:pt x="34" y="167"/>
                  <a:pt x="34" y="167"/>
                  <a:pt x="34" y="167"/>
                </a:cubicBezTo>
                <a:cubicBezTo>
                  <a:pt x="29" y="167"/>
                  <a:pt x="29" y="167"/>
                  <a:pt x="29" y="167"/>
                </a:cubicBezTo>
                <a:cubicBezTo>
                  <a:pt x="29" y="167"/>
                  <a:pt x="29" y="165"/>
                  <a:pt x="29" y="164"/>
                </a:cubicBezTo>
                <a:cubicBezTo>
                  <a:pt x="28" y="164"/>
                  <a:pt x="27" y="162"/>
                  <a:pt x="27" y="161"/>
                </a:cubicBezTo>
                <a:cubicBezTo>
                  <a:pt x="26" y="160"/>
                  <a:pt x="23" y="158"/>
                  <a:pt x="23" y="158"/>
                </a:cubicBezTo>
                <a:cubicBezTo>
                  <a:pt x="23" y="157"/>
                  <a:pt x="22" y="155"/>
                  <a:pt x="22" y="155"/>
                </a:cubicBezTo>
                <a:cubicBezTo>
                  <a:pt x="22" y="155"/>
                  <a:pt x="21" y="154"/>
                  <a:pt x="20" y="153"/>
                </a:cubicBezTo>
                <a:cubicBezTo>
                  <a:pt x="20" y="153"/>
                  <a:pt x="19" y="152"/>
                  <a:pt x="19" y="151"/>
                </a:cubicBezTo>
                <a:cubicBezTo>
                  <a:pt x="19" y="151"/>
                  <a:pt x="19" y="150"/>
                  <a:pt x="19" y="150"/>
                </a:cubicBezTo>
                <a:cubicBezTo>
                  <a:pt x="19" y="150"/>
                  <a:pt x="17" y="150"/>
                  <a:pt x="16" y="150"/>
                </a:cubicBezTo>
                <a:cubicBezTo>
                  <a:pt x="16" y="150"/>
                  <a:pt x="15" y="149"/>
                  <a:pt x="14" y="150"/>
                </a:cubicBezTo>
                <a:cubicBezTo>
                  <a:pt x="13" y="150"/>
                  <a:pt x="12" y="152"/>
                  <a:pt x="11" y="152"/>
                </a:cubicBezTo>
                <a:cubicBezTo>
                  <a:pt x="9" y="152"/>
                  <a:pt x="8" y="151"/>
                  <a:pt x="8" y="150"/>
                </a:cubicBezTo>
                <a:cubicBezTo>
                  <a:pt x="8" y="150"/>
                  <a:pt x="8" y="148"/>
                  <a:pt x="8" y="146"/>
                </a:cubicBezTo>
                <a:cubicBezTo>
                  <a:pt x="8" y="145"/>
                  <a:pt x="8" y="143"/>
                  <a:pt x="8" y="143"/>
                </a:cubicBezTo>
                <a:cubicBezTo>
                  <a:pt x="7" y="142"/>
                  <a:pt x="6" y="139"/>
                  <a:pt x="4" y="139"/>
                </a:cubicBezTo>
                <a:cubicBezTo>
                  <a:pt x="3" y="139"/>
                  <a:pt x="2" y="139"/>
                  <a:pt x="1" y="138"/>
                </a:cubicBezTo>
                <a:cubicBezTo>
                  <a:pt x="0" y="137"/>
                  <a:pt x="0" y="136"/>
                  <a:pt x="1" y="135"/>
                </a:cubicBezTo>
                <a:cubicBezTo>
                  <a:pt x="1" y="134"/>
                  <a:pt x="2" y="132"/>
                  <a:pt x="2" y="131"/>
                </a:cubicBezTo>
                <a:cubicBezTo>
                  <a:pt x="2" y="130"/>
                  <a:pt x="2" y="124"/>
                  <a:pt x="2" y="124"/>
                </a:cubicBezTo>
                <a:cubicBezTo>
                  <a:pt x="2" y="118"/>
                  <a:pt x="2" y="118"/>
                  <a:pt x="2" y="118"/>
                </a:cubicBezTo>
                <a:cubicBezTo>
                  <a:pt x="2" y="118"/>
                  <a:pt x="2" y="116"/>
                  <a:pt x="2" y="115"/>
                </a:cubicBezTo>
                <a:cubicBezTo>
                  <a:pt x="2" y="113"/>
                  <a:pt x="2" y="110"/>
                  <a:pt x="2" y="110"/>
                </a:cubicBezTo>
                <a:cubicBezTo>
                  <a:pt x="2" y="110"/>
                  <a:pt x="4" y="108"/>
                  <a:pt x="4" y="107"/>
                </a:cubicBezTo>
                <a:cubicBezTo>
                  <a:pt x="4" y="106"/>
                  <a:pt x="6" y="105"/>
                  <a:pt x="6" y="104"/>
                </a:cubicBezTo>
                <a:cubicBezTo>
                  <a:pt x="6" y="103"/>
                  <a:pt x="5" y="101"/>
                  <a:pt x="6" y="99"/>
                </a:cubicBezTo>
                <a:cubicBezTo>
                  <a:pt x="6" y="98"/>
                  <a:pt x="9" y="97"/>
                  <a:pt x="10" y="98"/>
                </a:cubicBezTo>
                <a:cubicBezTo>
                  <a:pt x="11" y="99"/>
                  <a:pt x="13" y="99"/>
                  <a:pt x="13" y="101"/>
                </a:cubicBezTo>
                <a:cubicBezTo>
                  <a:pt x="13" y="102"/>
                  <a:pt x="14" y="103"/>
                  <a:pt x="14" y="103"/>
                </a:cubicBezTo>
                <a:cubicBezTo>
                  <a:pt x="14" y="103"/>
                  <a:pt x="14" y="104"/>
                  <a:pt x="15" y="105"/>
                </a:cubicBezTo>
                <a:cubicBezTo>
                  <a:pt x="16" y="105"/>
                  <a:pt x="17" y="105"/>
                  <a:pt x="18" y="106"/>
                </a:cubicBezTo>
                <a:cubicBezTo>
                  <a:pt x="19" y="108"/>
                  <a:pt x="19" y="108"/>
                  <a:pt x="19" y="109"/>
                </a:cubicBezTo>
                <a:cubicBezTo>
                  <a:pt x="20" y="110"/>
                  <a:pt x="23" y="111"/>
                  <a:pt x="23" y="111"/>
                </a:cubicBezTo>
                <a:cubicBezTo>
                  <a:pt x="23" y="111"/>
                  <a:pt x="24" y="107"/>
                  <a:pt x="24" y="106"/>
                </a:cubicBezTo>
                <a:cubicBezTo>
                  <a:pt x="24" y="105"/>
                  <a:pt x="23" y="102"/>
                  <a:pt x="23" y="102"/>
                </a:cubicBezTo>
                <a:cubicBezTo>
                  <a:pt x="23" y="102"/>
                  <a:pt x="22" y="101"/>
                  <a:pt x="21" y="100"/>
                </a:cubicBezTo>
                <a:cubicBezTo>
                  <a:pt x="21" y="100"/>
                  <a:pt x="19" y="98"/>
                  <a:pt x="19" y="97"/>
                </a:cubicBezTo>
                <a:cubicBezTo>
                  <a:pt x="19" y="96"/>
                  <a:pt x="21" y="95"/>
                  <a:pt x="22" y="96"/>
                </a:cubicBezTo>
                <a:cubicBezTo>
                  <a:pt x="23" y="96"/>
                  <a:pt x="24" y="96"/>
                  <a:pt x="24" y="95"/>
                </a:cubicBezTo>
                <a:cubicBezTo>
                  <a:pt x="25" y="95"/>
                  <a:pt x="25" y="94"/>
                  <a:pt x="26" y="94"/>
                </a:cubicBezTo>
                <a:cubicBezTo>
                  <a:pt x="27" y="93"/>
                  <a:pt x="29" y="93"/>
                  <a:pt x="29" y="92"/>
                </a:cubicBezTo>
                <a:cubicBezTo>
                  <a:pt x="30" y="91"/>
                  <a:pt x="30" y="90"/>
                  <a:pt x="30" y="90"/>
                </a:cubicBezTo>
                <a:cubicBezTo>
                  <a:pt x="29" y="89"/>
                  <a:pt x="29" y="88"/>
                  <a:pt x="29" y="87"/>
                </a:cubicBezTo>
                <a:cubicBezTo>
                  <a:pt x="29" y="86"/>
                  <a:pt x="30" y="84"/>
                  <a:pt x="31" y="84"/>
                </a:cubicBezTo>
                <a:cubicBezTo>
                  <a:pt x="31" y="84"/>
                  <a:pt x="33" y="84"/>
                  <a:pt x="34" y="84"/>
                </a:cubicBezTo>
                <a:cubicBezTo>
                  <a:pt x="34" y="85"/>
                  <a:pt x="35" y="85"/>
                  <a:pt x="36" y="84"/>
                </a:cubicBezTo>
                <a:cubicBezTo>
                  <a:pt x="37" y="84"/>
                  <a:pt x="38" y="83"/>
                  <a:pt x="38" y="82"/>
                </a:cubicBezTo>
                <a:cubicBezTo>
                  <a:pt x="38" y="82"/>
                  <a:pt x="38" y="81"/>
                  <a:pt x="39" y="81"/>
                </a:cubicBezTo>
                <a:cubicBezTo>
                  <a:pt x="40" y="81"/>
                  <a:pt x="41" y="82"/>
                  <a:pt x="42" y="81"/>
                </a:cubicBezTo>
                <a:cubicBezTo>
                  <a:pt x="42" y="80"/>
                  <a:pt x="42" y="80"/>
                  <a:pt x="43" y="79"/>
                </a:cubicBezTo>
                <a:cubicBezTo>
                  <a:pt x="44" y="78"/>
                  <a:pt x="44" y="77"/>
                  <a:pt x="45" y="76"/>
                </a:cubicBezTo>
                <a:cubicBezTo>
                  <a:pt x="46" y="76"/>
                  <a:pt x="44" y="75"/>
                  <a:pt x="46" y="76"/>
                </a:cubicBezTo>
                <a:cubicBezTo>
                  <a:pt x="49" y="76"/>
                  <a:pt x="49" y="76"/>
                  <a:pt x="50" y="77"/>
                </a:cubicBezTo>
                <a:cubicBezTo>
                  <a:pt x="50" y="78"/>
                  <a:pt x="49" y="80"/>
                  <a:pt x="50" y="80"/>
                </a:cubicBezTo>
                <a:cubicBezTo>
                  <a:pt x="50" y="81"/>
                  <a:pt x="50" y="82"/>
                  <a:pt x="51" y="82"/>
                </a:cubicBezTo>
                <a:cubicBezTo>
                  <a:pt x="52" y="81"/>
                  <a:pt x="52" y="81"/>
                  <a:pt x="53" y="82"/>
                </a:cubicBezTo>
                <a:cubicBezTo>
                  <a:pt x="54" y="82"/>
                  <a:pt x="55" y="83"/>
                  <a:pt x="55" y="83"/>
                </a:cubicBezTo>
                <a:cubicBezTo>
                  <a:pt x="56" y="82"/>
                  <a:pt x="57" y="81"/>
                  <a:pt x="57" y="80"/>
                </a:cubicBezTo>
                <a:cubicBezTo>
                  <a:pt x="58" y="80"/>
                  <a:pt x="59" y="80"/>
                  <a:pt x="60" y="79"/>
                </a:cubicBezTo>
                <a:cubicBezTo>
                  <a:pt x="62" y="79"/>
                  <a:pt x="62" y="79"/>
                  <a:pt x="64" y="79"/>
                </a:cubicBezTo>
                <a:cubicBezTo>
                  <a:pt x="65" y="78"/>
                  <a:pt x="65" y="78"/>
                  <a:pt x="66" y="78"/>
                </a:cubicBezTo>
                <a:cubicBezTo>
                  <a:pt x="68" y="77"/>
                  <a:pt x="68" y="77"/>
                  <a:pt x="70" y="77"/>
                </a:cubicBezTo>
                <a:cubicBezTo>
                  <a:pt x="71" y="77"/>
                  <a:pt x="73" y="77"/>
                  <a:pt x="74" y="78"/>
                </a:cubicBezTo>
                <a:cubicBezTo>
                  <a:pt x="74" y="78"/>
                  <a:pt x="76" y="78"/>
                  <a:pt x="76" y="79"/>
                </a:cubicBezTo>
                <a:cubicBezTo>
                  <a:pt x="77" y="80"/>
                  <a:pt x="77" y="81"/>
                  <a:pt x="78" y="81"/>
                </a:cubicBezTo>
                <a:cubicBezTo>
                  <a:pt x="80" y="82"/>
                  <a:pt x="81" y="83"/>
                  <a:pt x="81" y="83"/>
                </a:cubicBezTo>
                <a:cubicBezTo>
                  <a:pt x="82" y="83"/>
                  <a:pt x="82" y="84"/>
                  <a:pt x="82" y="84"/>
                </a:cubicBezTo>
                <a:cubicBezTo>
                  <a:pt x="83" y="84"/>
                  <a:pt x="84" y="86"/>
                  <a:pt x="85" y="86"/>
                </a:cubicBezTo>
                <a:cubicBezTo>
                  <a:pt x="86" y="87"/>
                  <a:pt x="87" y="87"/>
                  <a:pt x="88" y="87"/>
                </a:cubicBezTo>
                <a:cubicBezTo>
                  <a:pt x="89" y="87"/>
                  <a:pt x="89" y="87"/>
                  <a:pt x="89" y="89"/>
                </a:cubicBezTo>
                <a:cubicBezTo>
                  <a:pt x="90" y="90"/>
                  <a:pt x="90" y="91"/>
                  <a:pt x="91" y="92"/>
                </a:cubicBezTo>
                <a:cubicBezTo>
                  <a:pt x="91" y="92"/>
                  <a:pt x="93" y="93"/>
                  <a:pt x="93" y="93"/>
                </a:cubicBezTo>
                <a:cubicBezTo>
                  <a:pt x="93" y="93"/>
                  <a:pt x="94" y="91"/>
                  <a:pt x="94" y="90"/>
                </a:cubicBezTo>
                <a:cubicBezTo>
                  <a:pt x="94" y="89"/>
                  <a:pt x="94" y="89"/>
                  <a:pt x="95" y="88"/>
                </a:cubicBezTo>
                <a:cubicBezTo>
                  <a:pt x="96" y="88"/>
                  <a:pt x="97" y="87"/>
                  <a:pt x="97" y="89"/>
                </a:cubicBezTo>
                <a:cubicBezTo>
                  <a:pt x="98" y="90"/>
                  <a:pt x="98" y="92"/>
                  <a:pt x="98" y="92"/>
                </a:cubicBezTo>
                <a:cubicBezTo>
                  <a:pt x="98" y="93"/>
                  <a:pt x="98" y="94"/>
                  <a:pt x="100" y="94"/>
                </a:cubicBezTo>
                <a:cubicBezTo>
                  <a:pt x="102" y="94"/>
                  <a:pt x="103" y="95"/>
                  <a:pt x="104" y="94"/>
                </a:cubicBezTo>
                <a:cubicBezTo>
                  <a:pt x="105" y="94"/>
                  <a:pt x="108" y="93"/>
                  <a:pt x="108" y="93"/>
                </a:cubicBezTo>
                <a:cubicBezTo>
                  <a:pt x="108" y="93"/>
                  <a:pt x="108" y="93"/>
                  <a:pt x="110" y="93"/>
                </a:cubicBezTo>
                <a:cubicBezTo>
                  <a:pt x="111" y="93"/>
                  <a:pt x="112" y="93"/>
                  <a:pt x="112" y="93"/>
                </a:cubicBezTo>
                <a:cubicBezTo>
                  <a:pt x="113" y="92"/>
                  <a:pt x="116" y="91"/>
                  <a:pt x="116" y="91"/>
                </a:cubicBezTo>
                <a:cubicBezTo>
                  <a:pt x="116" y="91"/>
                  <a:pt x="118" y="91"/>
                  <a:pt x="119" y="90"/>
                </a:cubicBezTo>
                <a:cubicBezTo>
                  <a:pt x="121" y="90"/>
                  <a:pt x="121" y="90"/>
                  <a:pt x="122" y="89"/>
                </a:cubicBezTo>
                <a:cubicBezTo>
                  <a:pt x="123" y="89"/>
                  <a:pt x="123" y="89"/>
                  <a:pt x="124" y="89"/>
                </a:cubicBezTo>
                <a:cubicBezTo>
                  <a:pt x="126" y="89"/>
                  <a:pt x="125" y="90"/>
                  <a:pt x="126" y="89"/>
                </a:cubicBezTo>
                <a:cubicBezTo>
                  <a:pt x="127" y="88"/>
                  <a:pt x="127" y="87"/>
                  <a:pt x="127" y="86"/>
                </a:cubicBezTo>
                <a:cubicBezTo>
                  <a:pt x="127" y="86"/>
                  <a:pt x="126" y="86"/>
                  <a:pt x="128" y="86"/>
                </a:cubicBezTo>
                <a:cubicBezTo>
                  <a:pt x="129" y="85"/>
                  <a:pt x="130" y="86"/>
                  <a:pt x="131" y="86"/>
                </a:cubicBezTo>
                <a:cubicBezTo>
                  <a:pt x="132" y="86"/>
                  <a:pt x="133" y="86"/>
                  <a:pt x="134" y="87"/>
                </a:cubicBezTo>
                <a:cubicBezTo>
                  <a:pt x="134" y="88"/>
                  <a:pt x="136" y="88"/>
                  <a:pt x="137" y="89"/>
                </a:cubicBezTo>
                <a:cubicBezTo>
                  <a:pt x="138" y="89"/>
                  <a:pt x="137" y="90"/>
                  <a:pt x="138" y="91"/>
                </a:cubicBezTo>
                <a:cubicBezTo>
                  <a:pt x="138" y="92"/>
                  <a:pt x="141" y="93"/>
                  <a:pt x="141" y="93"/>
                </a:cubicBezTo>
                <a:cubicBezTo>
                  <a:pt x="141" y="93"/>
                  <a:pt x="143" y="93"/>
                  <a:pt x="144" y="94"/>
                </a:cubicBezTo>
                <a:cubicBezTo>
                  <a:pt x="145" y="94"/>
                  <a:pt x="145" y="94"/>
                  <a:pt x="146" y="94"/>
                </a:cubicBezTo>
                <a:cubicBezTo>
                  <a:pt x="147" y="94"/>
                  <a:pt x="147" y="94"/>
                  <a:pt x="148" y="94"/>
                </a:cubicBezTo>
                <a:cubicBezTo>
                  <a:pt x="149" y="94"/>
                  <a:pt x="149" y="94"/>
                  <a:pt x="150" y="94"/>
                </a:cubicBezTo>
                <a:cubicBezTo>
                  <a:pt x="152" y="94"/>
                  <a:pt x="153" y="94"/>
                  <a:pt x="153" y="94"/>
                </a:cubicBezTo>
                <a:cubicBezTo>
                  <a:pt x="153" y="94"/>
                  <a:pt x="153" y="93"/>
                  <a:pt x="154" y="92"/>
                </a:cubicBezTo>
                <a:cubicBezTo>
                  <a:pt x="154" y="91"/>
                  <a:pt x="155" y="90"/>
                  <a:pt x="157" y="90"/>
                </a:cubicBezTo>
                <a:cubicBezTo>
                  <a:pt x="158" y="90"/>
                  <a:pt x="159" y="90"/>
                  <a:pt x="160" y="90"/>
                </a:cubicBezTo>
                <a:cubicBezTo>
                  <a:pt x="161" y="90"/>
                  <a:pt x="161" y="90"/>
                  <a:pt x="162" y="91"/>
                </a:cubicBezTo>
                <a:cubicBezTo>
                  <a:pt x="162" y="92"/>
                  <a:pt x="163" y="93"/>
                  <a:pt x="163" y="92"/>
                </a:cubicBezTo>
                <a:cubicBezTo>
                  <a:pt x="164" y="92"/>
                  <a:pt x="165" y="92"/>
                  <a:pt x="165" y="92"/>
                </a:cubicBezTo>
                <a:cubicBezTo>
                  <a:pt x="166" y="92"/>
                  <a:pt x="168" y="92"/>
                  <a:pt x="169" y="92"/>
                </a:cubicBezTo>
                <a:cubicBezTo>
                  <a:pt x="170" y="91"/>
                  <a:pt x="172" y="90"/>
                  <a:pt x="172" y="90"/>
                </a:cubicBezTo>
                <a:cubicBezTo>
                  <a:pt x="172" y="90"/>
                  <a:pt x="171" y="88"/>
                  <a:pt x="172" y="88"/>
                </a:cubicBezTo>
                <a:cubicBezTo>
                  <a:pt x="172" y="87"/>
                  <a:pt x="171" y="86"/>
                  <a:pt x="172" y="85"/>
                </a:cubicBezTo>
                <a:cubicBezTo>
                  <a:pt x="172" y="84"/>
                  <a:pt x="173" y="83"/>
                  <a:pt x="173" y="82"/>
                </a:cubicBezTo>
                <a:cubicBezTo>
                  <a:pt x="173" y="81"/>
                  <a:pt x="173" y="80"/>
                  <a:pt x="173" y="79"/>
                </a:cubicBezTo>
                <a:cubicBezTo>
                  <a:pt x="172" y="78"/>
                  <a:pt x="172" y="78"/>
                  <a:pt x="171" y="78"/>
                </a:cubicBezTo>
                <a:cubicBezTo>
                  <a:pt x="170" y="77"/>
                  <a:pt x="168" y="80"/>
                  <a:pt x="167" y="80"/>
                </a:cubicBezTo>
                <a:cubicBezTo>
                  <a:pt x="166" y="80"/>
                  <a:pt x="164" y="80"/>
                  <a:pt x="163" y="79"/>
                </a:cubicBezTo>
                <a:cubicBezTo>
                  <a:pt x="163" y="79"/>
                  <a:pt x="162" y="78"/>
                  <a:pt x="162" y="77"/>
                </a:cubicBezTo>
                <a:cubicBezTo>
                  <a:pt x="161" y="76"/>
                  <a:pt x="161" y="76"/>
                  <a:pt x="161" y="75"/>
                </a:cubicBezTo>
                <a:cubicBezTo>
                  <a:pt x="161" y="74"/>
                  <a:pt x="160" y="73"/>
                  <a:pt x="159" y="72"/>
                </a:cubicBezTo>
                <a:cubicBezTo>
                  <a:pt x="159" y="72"/>
                  <a:pt x="158" y="71"/>
                  <a:pt x="158" y="70"/>
                </a:cubicBezTo>
                <a:cubicBezTo>
                  <a:pt x="157" y="70"/>
                  <a:pt x="157" y="69"/>
                  <a:pt x="157" y="68"/>
                </a:cubicBezTo>
                <a:cubicBezTo>
                  <a:pt x="158" y="68"/>
                  <a:pt x="160" y="68"/>
                  <a:pt x="161" y="67"/>
                </a:cubicBezTo>
                <a:cubicBezTo>
                  <a:pt x="161" y="66"/>
                  <a:pt x="162" y="64"/>
                  <a:pt x="162" y="63"/>
                </a:cubicBezTo>
                <a:cubicBezTo>
                  <a:pt x="163" y="63"/>
                  <a:pt x="163" y="62"/>
                  <a:pt x="163" y="61"/>
                </a:cubicBezTo>
                <a:cubicBezTo>
                  <a:pt x="162" y="60"/>
                  <a:pt x="162" y="59"/>
                  <a:pt x="162" y="58"/>
                </a:cubicBezTo>
                <a:cubicBezTo>
                  <a:pt x="161" y="57"/>
                  <a:pt x="161" y="56"/>
                  <a:pt x="161" y="55"/>
                </a:cubicBezTo>
                <a:cubicBezTo>
                  <a:pt x="160" y="54"/>
                  <a:pt x="160" y="54"/>
                  <a:pt x="161" y="53"/>
                </a:cubicBezTo>
                <a:cubicBezTo>
                  <a:pt x="161" y="52"/>
                  <a:pt x="163" y="51"/>
                  <a:pt x="164" y="50"/>
                </a:cubicBezTo>
                <a:cubicBezTo>
                  <a:pt x="165" y="49"/>
                  <a:pt x="166" y="49"/>
                  <a:pt x="167" y="49"/>
                </a:cubicBezTo>
                <a:cubicBezTo>
                  <a:pt x="169" y="50"/>
                  <a:pt x="170" y="49"/>
                  <a:pt x="170" y="49"/>
                </a:cubicBezTo>
                <a:cubicBezTo>
                  <a:pt x="171" y="48"/>
                  <a:pt x="171" y="48"/>
                  <a:pt x="171" y="47"/>
                </a:cubicBezTo>
                <a:cubicBezTo>
                  <a:pt x="171" y="46"/>
                  <a:pt x="171" y="46"/>
                  <a:pt x="170" y="46"/>
                </a:cubicBezTo>
                <a:cubicBezTo>
                  <a:pt x="170" y="46"/>
                  <a:pt x="169" y="45"/>
                  <a:pt x="169" y="45"/>
                </a:cubicBezTo>
                <a:cubicBezTo>
                  <a:pt x="168" y="44"/>
                  <a:pt x="166" y="44"/>
                  <a:pt x="166" y="44"/>
                </a:cubicBezTo>
                <a:cubicBezTo>
                  <a:pt x="166" y="44"/>
                  <a:pt x="165" y="44"/>
                  <a:pt x="165" y="43"/>
                </a:cubicBezTo>
                <a:cubicBezTo>
                  <a:pt x="165" y="42"/>
                  <a:pt x="165" y="41"/>
                  <a:pt x="165" y="40"/>
                </a:cubicBezTo>
                <a:cubicBezTo>
                  <a:pt x="165" y="40"/>
                  <a:pt x="166" y="39"/>
                  <a:pt x="165" y="39"/>
                </a:cubicBezTo>
                <a:cubicBezTo>
                  <a:pt x="165" y="38"/>
                  <a:pt x="164" y="37"/>
                  <a:pt x="163" y="37"/>
                </a:cubicBezTo>
                <a:cubicBezTo>
                  <a:pt x="163" y="36"/>
                  <a:pt x="162" y="33"/>
                  <a:pt x="162" y="33"/>
                </a:cubicBezTo>
                <a:cubicBezTo>
                  <a:pt x="162" y="32"/>
                  <a:pt x="164" y="31"/>
                  <a:pt x="164" y="30"/>
                </a:cubicBezTo>
                <a:cubicBezTo>
                  <a:pt x="165" y="30"/>
                  <a:pt x="168" y="29"/>
                  <a:pt x="169" y="29"/>
                </a:cubicBezTo>
                <a:cubicBezTo>
                  <a:pt x="170" y="29"/>
                  <a:pt x="172" y="29"/>
                  <a:pt x="173" y="29"/>
                </a:cubicBezTo>
                <a:cubicBezTo>
                  <a:pt x="174" y="29"/>
                  <a:pt x="176" y="29"/>
                  <a:pt x="176" y="30"/>
                </a:cubicBezTo>
                <a:cubicBezTo>
                  <a:pt x="177" y="30"/>
                  <a:pt x="179" y="31"/>
                  <a:pt x="180" y="31"/>
                </a:cubicBezTo>
                <a:cubicBezTo>
                  <a:pt x="180" y="31"/>
                  <a:pt x="182" y="31"/>
                  <a:pt x="182" y="30"/>
                </a:cubicBezTo>
                <a:cubicBezTo>
                  <a:pt x="183" y="30"/>
                  <a:pt x="183" y="30"/>
                  <a:pt x="184" y="29"/>
                </a:cubicBezTo>
                <a:cubicBezTo>
                  <a:pt x="185" y="28"/>
                  <a:pt x="185" y="28"/>
                  <a:pt x="186" y="28"/>
                </a:cubicBezTo>
                <a:cubicBezTo>
                  <a:pt x="188" y="28"/>
                  <a:pt x="190" y="28"/>
                  <a:pt x="190" y="28"/>
                </a:cubicBezTo>
                <a:cubicBezTo>
                  <a:pt x="190" y="28"/>
                  <a:pt x="195" y="28"/>
                  <a:pt x="195" y="28"/>
                </a:cubicBezTo>
                <a:cubicBezTo>
                  <a:pt x="196" y="27"/>
                  <a:pt x="198" y="26"/>
                  <a:pt x="199" y="26"/>
                </a:cubicBezTo>
                <a:cubicBezTo>
                  <a:pt x="199" y="25"/>
                  <a:pt x="201" y="24"/>
                  <a:pt x="202" y="24"/>
                </a:cubicBezTo>
                <a:cubicBezTo>
                  <a:pt x="203" y="23"/>
                  <a:pt x="204" y="23"/>
                  <a:pt x="205" y="23"/>
                </a:cubicBezTo>
                <a:cubicBezTo>
                  <a:pt x="206" y="23"/>
                  <a:pt x="207" y="25"/>
                  <a:pt x="209" y="24"/>
                </a:cubicBezTo>
                <a:cubicBezTo>
                  <a:pt x="210" y="24"/>
                  <a:pt x="212" y="23"/>
                  <a:pt x="213" y="21"/>
                </a:cubicBezTo>
                <a:cubicBezTo>
                  <a:pt x="213" y="20"/>
                  <a:pt x="215" y="19"/>
                  <a:pt x="215" y="18"/>
                </a:cubicBezTo>
                <a:cubicBezTo>
                  <a:pt x="216" y="18"/>
                  <a:pt x="218" y="18"/>
                  <a:pt x="219" y="17"/>
                </a:cubicBezTo>
                <a:cubicBezTo>
                  <a:pt x="220" y="17"/>
                  <a:pt x="221" y="16"/>
                  <a:pt x="222" y="16"/>
                </a:cubicBezTo>
                <a:cubicBezTo>
                  <a:pt x="223" y="15"/>
                  <a:pt x="224" y="15"/>
                  <a:pt x="225" y="15"/>
                </a:cubicBezTo>
                <a:cubicBezTo>
                  <a:pt x="226" y="15"/>
                  <a:pt x="228" y="15"/>
                  <a:pt x="229" y="15"/>
                </a:cubicBezTo>
                <a:cubicBezTo>
                  <a:pt x="230" y="15"/>
                  <a:pt x="231" y="14"/>
                  <a:pt x="232" y="14"/>
                </a:cubicBezTo>
                <a:cubicBezTo>
                  <a:pt x="233" y="13"/>
                  <a:pt x="237" y="13"/>
                  <a:pt x="238" y="13"/>
                </a:cubicBezTo>
                <a:cubicBezTo>
                  <a:pt x="239" y="13"/>
                  <a:pt x="240" y="12"/>
                  <a:pt x="241" y="12"/>
                </a:cubicBezTo>
                <a:cubicBezTo>
                  <a:pt x="242" y="11"/>
                  <a:pt x="243" y="11"/>
                  <a:pt x="244" y="10"/>
                </a:cubicBezTo>
                <a:cubicBezTo>
                  <a:pt x="245" y="9"/>
                  <a:pt x="245" y="8"/>
                  <a:pt x="246" y="7"/>
                </a:cubicBezTo>
                <a:cubicBezTo>
                  <a:pt x="247" y="6"/>
                  <a:pt x="247" y="6"/>
                  <a:pt x="248" y="5"/>
                </a:cubicBezTo>
                <a:cubicBezTo>
                  <a:pt x="248" y="4"/>
                  <a:pt x="249" y="3"/>
                  <a:pt x="250" y="3"/>
                </a:cubicBezTo>
                <a:cubicBezTo>
                  <a:pt x="250" y="2"/>
                  <a:pt x="252" y="1"/>
                  <a:pt x="253" y="1"/>
                </a:cubicBezTo>
                <a:cubicBezTo>
                  <a:pt x="254" y="1"/>
                  <a:pt x="256" y="1"/>
                  <a:pt x="257" y="1"/>
                </a:cubicBezTo>
                <a:cubicBezTo>
                  <a:pt x="258" y="1"/>
                  <a:pt x="259" y="0"/>
                  <a:pt x="260" y="1"/>
                </a:cubicBezTo>
                <a:cubicBezTo>
                  <a:pt x="262" y="1"/>
                  <a:pt x="263" y="2"/>
                  <a:pt x="263" y="3"/>
                </a:cubicBezTo>
                <a:cubicBezTo>
                  <a:pt x="264" y="4"/>
                  <a:pt x="264" y="5"/>
                  <a:pt x="265" y="6"/>
                </a:cubicBezTo>
                <a:cubicBezTo>
                  <a:pt x="265" y="6"/>
                  <a:pt x="266" y="6"/>
                  <a:pt x="267" y="6"/>
                </a:cubicBezTo>
                <a:cubicBezTo>
                  <a:pt x="267" y="5"/>
                  <a:pt x="268" y="5"/>
                  <a:pt x="269" y="5"/>
                </a:cubicBezTo>
                <a:cubicBezTo>
                  <a:pt x="269" y="5"/>
                  <a:pt x="273" y="5"/>
                  <a:pt x="273" y="5"/>
                </a:cubicBezTo>
                <a:cubicBezTo>
                  <a:pt x="273" y="5"/>
                  <a:pt x="275" y="6"/>
                  <a:pt x="276" y="6"/>
                </a:cubicBezTo>
                <a:cubicBezTo>
                  <a:pt x="277" y="6"/>
                  <a:pt x="278" y="6"/>
                  <a:pt x="278" y="7"/>
                </a:cubicBezTo>
                <a:cubicBezTo>
                  <a:pt x="278" y="8"/>
                  <a:pt x="278" y="9"/>
                  <a:pt x="278" y="10"/>
                </a:cubicBezTo>
                <a:cubicBezTo>
                  <a:pt x="279" y="11"/>
                  <a:pt x="279" y="12"/>
                  <a:pt x="279" y="13"/>
                </a:cubicBezTo>
                <a:cubicBezTo>
                  <a:pt x="279" y="14"/>
                  <a:pt x="279" y="15"/>
                  <a:pt x="279" y="16"/>
                </a:cubicBezTo>
                <a:cubicBezTo>
                  <a:pt x="279" y="17"/>
                  <a:pt x="279" y="19"/>
                  <a:pt x="280" y="20"/>
                </a:cubicBezTo>
                <a:cubicBezTo>
                  <a:pt x="280" y="21"/>
                  <a:pt x="281" y="24"/>
                  <a:pt x="282" y="24"/>
                </a:cubicBezTo>
                <a:cubicBezTo>
                  <a:pt x="283" y="25"/>
                  <a:pt x="285" y="25"/>
                  <a:pt x="285" y="25"/>
                </a:cubicBezTo>
                <a:cubicBezTo>
                  <a:pt x="286" y="25"/>
                  <a:pt x="288" y="25"/>
                  <a:pt x="289" y="24"/>
                </a:cubicBezTo>
                <a:cubicBezTo>
                  <a:pt x="290" y="24"/>
                  <a:pt x="290" y="23"/>
                  <a:pt x="291" y="23"/>
                </a:cubicBezTo>
                <a:cubicBezTo>
                  <a:pt x="292" y="23"/>
                  <a:pt x="294" y="22"/>
                  <a:pt x="294" y="22"/>
                </a:cubicBezTo>
                <a:cubicBezTo>
                  <a:pt x="294" y="22"/>
                  <a:pt x="295" y="22"/>
                  <a:pt x="295" y="22"/>
                </a:cubicBezTo>
                <a:cubicBezTo>
                  <a:pt x="295" y="23"/>
                  <a:pt x="295" y="25"/>
                  <a:pt x="295" y="25"/>
                </a:cubicBezTo>
                <a:cubicBezTo>
                  <a:pt x="295" y="25"/>
                  <a:pt x="298" y="28"/>
                  <a:pt x="299" y="27"/>
                </a:cubicBezTo>
                <a:cubicBezTo>
                  <a:pt x="301" y="27"/>
                  <a:pt x="301" y="26"/>
                  <a:pt x="301" y="26"/>
                </a:cubicBezTo>
                <a:cubicBezTo>
                  <a:pt x="302" y="26"/>
                  <a:pt x="304" y="27"/>
                  <a:pt x="305" y="27"/>
                </a:cubicBezTo>
                <a:cubicBezTo>
                  <a:pt x="306" y="27"/>
                  <a:pt x="309" y="27"/>
                  <a:pt x="309" y="28"/>
                </a:cubicBezTo>
                <a:cubicBezTo>
                  <a:pt x="309" y="29"/>
                  <a:pt x="309" y="31"/>
                  <a:pt x="309" y="31"/>
                </a:cubicBezTo>
                <a:cubicBezTo>
                  <a:pt x="309" y="32"/>
                  <a:pt x="308" y="32"/>
                  <a:pt x="308" y="33"/>
                </a:cubicBezTo>
                <a:cubicBezTo>
                  <a:pt x="309" y="34"/>
                  <a:pt x="308" y="35"/>
                  <a:pt x="310" y="35"/>
                </a:cubicBezTo>
                <a:cubicBezTo>
                  <a:pt x="311" y="36"/>
                  <a:pt x="312" y="36"/>
                  <a:pt x="313" y="35"/>
                </a:cubicBezTo>
                <a:cubicBezTo>
                  <a:pt x="313" y="35"/>
                  <a:pt x="313" y="35"/>
                  <a:pt x="315" y="34"/>
                </a:cubicBezTo>
                <a:cubicBezTo>
                  <a:pt x="316" y="34"/>
                  <a:pt x="320" y="35"/>
                  <a:pt x="321" y="35"/>
                </a:cubicBezTo>
                <a:cubicBezTo>
                  <a:pt x="321" y="36"/>
                  <a:pt x="321" y="36"/>
                  <a:pt x="322" y="36"/>
                </a:cubicBezTo>
                <a:cubicBezTo>
                  <a:pt x="323" y="36"/>
                  <a:pt x="323" y="35"/>
                  <a:pt x="323" y="34"/>
                </a:cubicBezTo>
                <a:cubicBezTo>
                  <a:pt x="323" y="33"/>
                  <a:pt x="323" y="32"/>
                  <a:pt x="324" y="32"/>
                </a:cubicBezTo>
                <a:cubicBezTo>
                  <a:pt x="325" y="32"/>
                  <a:pt x="325" y="32"/>
                  <a:pt x="326" y="32"/>
                </a:cubicBezTo>
                <a:cubicBezTo>
                  <a:pt x="327" y="32"/>
                  <a:pt x="328" y="32"/>
                  <a:pt x="329" y="31"/>
                </a:cubicBezTo>
                <a:cubicBezTo>
                  <a:pt x="329" y="30"/>
                  <a:pt x="330" y="29"/>
                  <a:pt x="330" y="29"/>
                </a:cubicBezTo>
                <a:cubicBezTo>
                  <a:pt x="330" y="29"/>
                  <a:pt x="331" y="28"/>
                  <a:pt x="331" y="27"/>
                </a:cubicBezTo>
                <a:cubicBezTo>
                  <a:pt x="332" y="27"/>
                  <a:pt x="331" y="27"/>
                  <a:pt x="332" y="26"/>
                </a:cubicBezTo>
                <a:cubicBezTo>
                  <a:pt x="333" y="26"/>
                  <a:pt x="334" y="25"/>
                  <a:pt x="335" y="25"/>
                </a:cubicBezTo>
                <a:cubicBezTo>
                  <a:pt x="336" y="26"/>
                  <a:pt x="338" y="26"/>
                  <a:pt x="338" y="26"/>
                </a:cubicBezTo>
                <a:cubicBezTo>
                  <a:pt x="339" y="26"/>
                  <a:pt x="339" y="27"/>
                  <a:pt x="340" y="26"/>
                </a:cubicBezTo>
                <a:cubicBezTo>
                  <a:pt x="341" y="26"/>
                  <a:pt x="342" y="24"/>
                  <a:pt x="343" y="24"/>
                </a:cubicBezTo>
                <a:cubicBezTo>
                  <a:pt x="344" y="24"/>
                  <a:pt x="345" y="23"/>
                  <a:pt x="345" y="23"/>
                </a:cubicBezTo>
                <a:cubicBezTo>
                  <a:pt x="346" y="23"/>
                  <a:pt x="348" y="23"/>
                  <a:pt x="348" y="23"/>
                </a:cubicBezTo>
                <a:cubicBezTo>
                  <a:pt x="349" y="24"/>
                  <a:pt x="349" y="26"/>
                  <a:pt x="349" y="26"/>
                </a:cubicBezTo>
                <a:cubicBezTo>
                  <a:pt x="348" y="27"/>
                  <a:pt x="345" y="28"/>
                  <a:pt x="344" y="29"/>
                </a:cubicBezTo>
                <a:cubicBezTo>
                  <a:pt x="343" y="30"/>
                  <a:pt x="343" y="31"/>
                  <a:pt x="343" y="31"/>
                </a:cubicBezTo>
                <a:cubicBezTo>
                  <a:pt x="344" y="32"/>
                  <a:pt x="345" y="33"/>
                  <a:pt x="347" y="33"/>
                </a:cubicBezTo>
                <a:cubicBezTo>
                  <a:pt x="349" y="33"/>
                  <a:pt x="353" y="37"/>
                  <a:pt x="354" y="37"/>
                </a:cubicBezTo>
                <a:cubicBezTo>
                  <a:pt x="354" y="37"/>
                  <a:pt x="358" y="40"/>
                  <a:pt x="359" y="40"/>
                </a:cubicBezTo>
                <a:cubicBezTo>
                  <a:pt x="360" y="41"/>
                  <a:pt x="360" y="41"/>
                  <a:pt x="361" y="42"/>
                </a:cubicBezTo>
                <a:cubicBezTo>
                  <a:pt x="361" y="42"/>
                  <a:pt x="362" y="43"/>
                  <a:pt x="363" y="44"/>
                </a:cubicBezTo>
                <a:cubicBezTo>
                  <a:pt x="364" y="45"/>
                  <a:pt x="364" y="46"/>
                  <a:pt x="365" y="46"/>
                </a:cubicBezTo>
                <a:cubicBezTo>
                  <a:pt x="365" y="47"/>
                  <a:pt x="366" y="48"/>
                  <a:pt x="367" y="49"/>
                </a:cubicBezTo>
                <a:cubicBezTo>
                  <a:pt x="368" y="50"/>
                  <a:pt x="369" y="53"/>
                  <a:pt x="370" y="54"/>
                </a:cubicBezTo>
                <a:cubicBezTo>
                  <a:pt x="371" y="55"/>
                  <a:pt x="373" y="58"/>
                  <a:pt x="373" y="58"/>
                </a:cubicBezTo>
                <a:cubicBezTo>
                  <a:pt x="374" y="59"/>
                  <a:pt x="375" y="60"/>
                  <a:pt x="375" y="61"/>
                </a:cubicBezTo>
                <a:cubicBezTo>
                  <a:pt x="376" y="62"/>
                  <a:pt x="376" y="63"/>
                  <a:pt x="377" y="64"/>
                </a:cubicBezTo>
                <a:cubicBezTo>
                  <a:pt x="378" y="64"/>
                  <a:pt x="378" y="65"/>
                  <a:pt x="378" y="66"/>
                </a:cubicBezTo>
                <a:cubicBezTo>
                  <a:pt x="378" y="67"/>
                  <a:pt x="380" y="70"/>
                  <a:pt x="380" y="70"/>
                </a:cubicBezTo>
                <a:cubicBezTo>
                  <a:pt x="380" y="70"/>
                  <a:pt x="381" y="71"/>
                  <a:pt x="381" y="71"/>
                </a:cubicBezTo>
                <a:cubicBezTo>
                  <a:pt x="381" y="72"/>
                  <a:pt x="382" y="74"/>
                  <a:pt x="383" y="74"/>
                </a:cubicBezTo>
                <a:cubicBezTo>
                  <a:pt x="383" y="75"/>
                  <a:pt x="385" y="78"/>
                  <a:pt x="385" y="78"/>
                </a:cubicBezTo>
                <a:cubicBezTo>
                  <a:pt x="385" y="78"/>
                  <a:pt x="386" y="80"/>
                  <a:pt x="387" y="80"/>
                </a:cubicBezTo>
                <a:cubicBezTo>
                  <a:pt x="387" y="81"/>
                  <a:pt x="387" y="82"/>
                  <a:pt x="388" y="82"/>
                </a:cubicBezTo>
                <a:cubicBezTo>
                  <a:pt x="389" y="83"/>
                  <a:pt x="388" y="82"/>
                  <a:pt x="390" y="83"/>
                </a:cubicBezTo>
                <a:cubicBezTo>
                  <a:pt x="392" y="84"/>
                  <a:pt x="392" y="85"/>
                  <a:pt x="393" y="86"/>
                </a:cubicBezTo>
                <a:cubicBezTo>
                  <a:pt x="393" y="87"/>
                  <a:pt x="394" y="88"/>
                  <a:pt x="395" y="89"/>
                </a:cubicBezTo>
                <a:cubicBezTo>
                  <a:pt x="396" y="90"/>
                  <a:pt x="396" y="90"/>
                  <a:pt x="397" y="90"/>
                </a:cubicBezTo>
                <a:cubicBezTo>
                  <a:pt x="398" y="90"/>
                  <a:pt x="398" y="91"/>
                  <a:pt x="399" y="90"/>
                </a:cubicBezTo>
                <a:cubicBezTo>
                  <a:pt x="399" y="90"/>
                  <a:pt x="400" y="89"/>
                  <a:pt x="401" y="89"/>
                </a:cubicBezTo>
                <a:cubicBezTo>
                  <a:pt x="401" y="88"/>
                  <a:pt x="401" y="88"/>
                  <a:pt x="401" y="87"/>
                </a:cubicBezTo>
                <a:cubicBezTo>
                  <a:pt x="401" y="86"/>
                  <a:pt x="401" y="85"/>
                  <a:pt x="401" y="84"/>
                </a:cubicBezTo>
                <a:cubicBezTo>
                  <a:pt x="401" y="83"/>
                  <a:pt x="401" y="83"/>
                  <a:pt x="402" y="83"/>
                </a:cubicBezTo>
                <a:cubicBezTo>
                  <a:pt x="402" y="82"/>
                  <a:pt x="404" y="83"/>
                  <a:pt x="405" y="83"/>
                </a:cubicBezTo>
                <a:cubicBezTo>
                  <a:pt x="405" y="84"/>
                  <a:pt x="406" y="84"/>
                  <a:pt x="406" y="84"/>
                </a:cubicBezTo>
                <a:cubicBezTo>
                  <a:pt x="406" y="85"/>
                  <a:pt x="406" y="86"/>
                  <a:pt x="407" y="86"/>
                </a:cubicBezTo>
                <a:cubicBezTo>
                  <a:pt x="407" y="88"/>
                  <a:pt x="407" y="88"/>
                  <a:pt x="408" y="89"/>
                </a:cubicBezTo>
                <a:cubicBezTo>
                  <a:pt x="409" y="89"/>
                  <a:pt x="411" y="90"/>
                  <a:pt x="411" y="90"/>
                </a:cubicBezTo>
                <a:cubicBezTo>
                  <a:pt x="411" y="90"/>
                  <a:pt x="411" y="89"/>
                  <a:pt x="412" y="90"/>
                </a:cubicBezTo>
                <a:cubicBezTo>
                  <a:pt x="413" y="90"/>
                  <a:pt x="413" y="91"/>
                  <a:pt x="413" y="91"/>
                </a:cubicBezTo>
                <a:cubicBezTo>
                  <a:pt x="414" y="92"/>
                  <a:pt x="413" y="92"/>
                  <a:pt x="415" y="92"/>
                </a:cubicBezTo>
                <a:cubicBezTo>
                  <a:pt x="415" y="92"/>
                  <a:pt x="415" y="92"/>
                  <a:pt x="417" y="92"/>
                </a:cubicBezTo>
                <a:cubicBezTo>
                  <a:pt x="417" y="92"/>
                  <a:pt x="418" y="93"/>
                  <a:pt x="418" y="93"/>
                </a:cubicBezTo>
                <a:cubicBezTo>
                  <a:pt x="418" y="93"/>
                  <a:pt x="419" y="93"/>
                  <a:pt x="420" y="93"/>
                </a:cubicBezTo>
                <a:cubicBezTo>
                  <a:pt x="421" y="93"/>
                  <a:pt x="422" y="94"/>
                  <a:pt x="423" y="94"/>
                </a:cubicBezTo>
                <a:cubicBezTo>
                  <a:pt x="423" y="94"/>
                  <a:pt x="425" y="95"/>
                  <a:pt x="426" y="95"/>
                </a:cubicBezTo>
                <a:cubicBezTo>
                  <a:pt x="427" y="95"/>
                  <a:pt x="429" y="96"/>
                  <a:pt x="430" y="96"/>
                </a:cubicBezTo>
                <a:cubicBezTo>
                  <a:pt x="431" y="96"/>
                  <a:pt x="432" y="95"/>
                  <a:pt x="432" y="94"/>
                </a:cubicBezTo>
                <a:cubicBezTo>
                  <a:pt x="432" y="93"/>
                  <a:pt x="432" y="92"/>
                  <a:pt x="432" y="91"/>
                </a:cubicBezTo>
                <a:cubicBezTo>
                  <a:pt x="433" y="91"/>
                  <a:pt x="433" y="90"/>
                  <a:pt x="434" y="90"/>
                </a:cubicBezTo>
                <a:cubicBezTo>
                  <a:pt x="434" y="89"/>
                  <a:pt x="435" y="88"/>
                  <a:pt x="436" y="88"/>
                </a:cubicBezTo>
                <a:cubicBezTo>
                  <a:pt x="437" y="88"/>
                  <a:pt x="438" y="88"/>
                  <a:pt x="439" y="88"/>
                </a:cubicBezTo>
                <a:cubicBezTo>
                  <a:pt x="439" y="88"/>
                  <a:pt x="440" y="89"/>
                  <a:pt x="441" y="89"/>
                </a:cubicBezTo>
                <a:cubicBezTo>
                  <a:pt x="441" y="90"/>
                  <a:pt x="442" y="90"/>
                  <a:pt x="442" y="91"/>
                </a:cubicBezTo>
                <a:cubicBezTo>
                  <a:pt x="443" y="92"/>
                  <a:pt x="443" y="92"/>
                  <a:pt x="444" y="93"/>
                </a:cubicBezTo>
                <a:cubicBezTo>
                  <a:pt x="445" y="93"/>
                  <a:pt x="445" y="93"/>
                  <a:pt x="446" y="93"/>
                </a:cubicBezTo>
                <a:cubicBezTo>
                  <a:pt x="447" y="93"/>
                  <a:pt x="448" y="93"/>
                  <a:pt x="448" y="94"/>
                </a:cubicBezTo>
                <a:cubicBezTo>
                  <a:pt x="448" y="95"/>
                  <a:pt x="448" y="97"/>
                  <a:pt x="448" y="97"/>
                </a:cubicBezTo>
                <a:cubicBezTo>
                  <a:pt x="449" y="97"/>
                  <a:pt x="450" y="98"/>
                  <a:pt x="450" y="98"/>
                </a:cubicBezTo>
                <a:cubicBezTo>
                  <a:pt x="451" y="99"/>
                  <a:pt x="451" y="100"/>
                  <a:pt x="451" y="101"/>
                </a:cubicBezTo>
                <a:cubicBezTo>
                  <a:pt x="451" y="102"/>
                  <a:pt x="452" y="104"/>
                  <a:pt x="453" y="104"/>
                </a:cubicBezTo>
                <a:cubicBezTo>
                  <a:pt x="454" y="104"/>
                  <a:pt x="455" y="105"/>
                  <a:pt x="456" y="105"/>
                </a:cubicBezTo>
                <a:cubicBezTo>
                  <a:pt x="457" y="105"/>
                  <a:pt x="458" y="105"/>
                  <a:pt x="459" y="105"/>
                </a:cubicBezTo>
                <a:cubicBezTo>
                  <a:pt x="460" y="105"/>
                  <a:pt x="460" y="105"/>
                  <a:pt x="462" y="106"/>
                </a:cubicBezTo>
                <a:cubicBezTo>
                  <a:pt x="463" y="107"/>
                  <a:pt x="464" y="107"/>
                  <a:pt x="464" y="108"/>
                </a:cubicBezTo>
                <a:cubicBezTo>
                  <a:pt x="465" y="109"/>
                  <a:pt x="465" y="109"/>
                  <a:pt x="466" y="110"/>
                </a:cubicBezTo>
                <a:cubicBezTo>
                  <a:pt x="468" y="111"/>
                  <a:pt x="468" y="112"/>
                  <a:pt x="470" y="112"/>
                </a:cubicBezTo>
                <a:cubicBezTo>
                  <a:pt x="470" y="112"/>
                  <a:pt x="472" y="111"/>
                  <a:pt x="473" y="111"/>
                </a:cubicBezTo>
                <a:cubicBezTo>
                  <a:pt x="474" y="111"/>
                  <a:pt x="474" y="111"/>
                  <a:pt x="475" y="111"/>
                </a:cubicBezTo>
                <a:cubicBezTo>
                  <a:pt x="476" y="111"/>
                  <a:pt x="476" y="110"/>
                  <a:pt x="477" y="111"/>
                </a:cubicBezTo>
                <a:cubicBezTo>
                  <a:pt x="477" y="112"/>
                  <a:pt x="476" y="113"/>
                  <a:pt x="477" y="113"/>
                </a:cubicBezTo>
                <a:cubicBezTo>
                  <a:pt x="478" y="113"/>
                  <a:pt x="479" y="113"/>
                  <a:pt x="480" y="113"/>
                </a:cubicBezTo>
                <a:cubicBezTo>
                  <a:pt x="481" y="113"/>
                  <a:pt x="482" y="113"/>
                  <a:pt x="482" y="114"/>
                </a:cubicBezTo>
                <a:cubicBezTo>
                  <a:pt x="483" y="115"/>
                  <a:pt x="483" y="115"/>
                  <a:pt x="483" y="116"/>
                </a:cubicBezTo>
                <a:cubicBezTo>
                  <a:pt x="484" y="117"/>
                  <a:pt x="484" y="118"/>
                  <a:pt x="484" y="118"/>
                </a:cubicBezTo>
                <a:cubicBezTo>
                  <a:pt x="484" y="118"/>
                  <a:pt x="484" y="118"/>
                  <a:pt x="485" y="118"/>
                </a:cubicBezTo>
                <a:cubicBezTo>
                  <a:pt x="487" y="118"/>
                  <a:pt x="489" y="119"/>
                  <a:pt x="489" y="119"/>
                </a:cubicBezTo>
                <a:cubicBezTo>
                  <a:pt x="490" y="119"/>
                  <a:pt x="491" y="118"/>
                  <a:pt x="491" y="118"/>
                </a:cubicBezTo>
                <a:cubicBezTo>
                  <a:pt x="492" y="119"/>
                  <a:pt x="493" y="120"/>
                  <a:pt x="494" y="120"/>
                </a:cubicBezTo>
                <a:cubicBezTo>
                  <a:pt x="495" y="121"/>
                  <a:pt x="495" y="121"/>
                  <a:pt x="496" y="122"/>
                </a:cubicBezTo>
                <a:cubicBezTo>
                  <a:pt x="497" y="122"/>
                  <a:pt x="497" y="122"/>
                  <a:pt x="497" y="122"/>
                </a:cubicBezTo>
                <a:cubicBezTo>
                  <a:pt x="497" y="122"/>
                  <a:pt x="496" y="124"/>
                  <a:pt x="495" y="124"/>
                </a:cubicBezTo>
                <a:cubicBezTo>
                  <a:pt x="495" y="124"/>
                  <a:pt x="493" y="123"/>
                  <a:pt x="493" y="123"/>
                </a:cubicBezTo>
                <a:cubicBezTo>
                  <a:pt x="492" y="124"/>
                  <a:pt x="491" y="123"/>
                  <a:pt x="490" y="124"/>
                </a:cubicBezTo>
                <a:cubicBezTo>
                  <a:pt x="490" y="124"/>
                  <a:pt x="489" y="125"/>
                  <a:pt x="489" y="125"/>
                </a:cubicBezTo>
                <a:cubicBezTo>
                  <a:pt x="489" y="125"/>
                  <a:pt x="487" y="128"/>
                  <a:pt x="486" y="128"/>
                </a:cubicBezTo>
                <a:cubicBezTo>
                  <a:pt x="486" y="129"/>
                  <a:pt x="484" y="131"/>
                  <a:pt x="484" y="131"/>
                </a:cubicBezTo>
                <a:cubicBezTo>
                  <a:pt x="483" y="131"/>
                  <a:pt x="482" y="132"/>
                  <a:pt x="482" y="132"/>
                </a:cubicBezTo>
                <a:cubicBezTo>
                  <a:pt x="481" y="133"/>
                  <a:pt x="479" y="133"/>
                  <a:pt x="479" y="134"/>
                </a:cubicBezTo>
                <a:cubicBezTo>
                  <a:pt x="478" y="134"/>
                  <a:pt x="478" y="135"/>
                  <a:pt x="478" y="135"/>
                </a:cubicBezTo>
                <a:cubicBezTo>
                  <a:pt x="478" y="136"/>
                  <a:pt x="477" y="137"/>
                  <a:pt x="477" y="137"/>
                </a:cubicBezTo>
                <a:cubicBezTo>
                  <a:pt x="477" y="138"/>
                  <a:pt x="476" y="139"/>
                  <a:pt x="476" y="140"/>
                </a:cubicBezTo>
                <a:cubicBezTo>
                  <a:pt x="476" y="140"/>
                  <a:pt x="475" y="141"/>
                  <a:pt x="474" y="141"/>
                </a:cubicBezTo>
                <a:cubicBezTo>
                  <a:pt x="474" y="141"/>
                  <a:pt x="474" y="144"/>
                  <a:pt x="474" y="144"/>
                </a:cubicBezTo>
                <a:cubicBezTo>
                  <a:pt x="474" y="145"/>
                  <a:pt x="474" y="146"/>
                  <a:pt x="475" y="148"/>
                </a:cubicBezTo>
                <a:cubicBezTo>
                  <a:pt x="475" y="149"/>
                  <a:pt x="475" y="150"/>
                  <a:pt x="475" y="151"/>
                </a:cubicBezTo>
                <a:cubicBezTo>
                  <a:pt x="475" y="152"/>
                  <a:pt x="475" y="153"/>
                  <a:pt x="475" y="154"/>
                </a:cubicBezTo>
                <a:cubicBezTo>
                  <a:pt x="475" y="155"/>
                  <a:pt x="476" y="156"/>
                  <a:pt x="477" y="158"/>
                </a:cubicBezTo>
                <a:cubicBezTo>
                  <a:pt x="477" y="159"/>
                  <a:pt x="477" y="161"/>
                  <a:pt x="476" y="162"/>
                </a:cubicBezTo>
                <a:cubicBezTo>
                  <a:pt x="476" y="162"/>
                  <a:pt x="475" y="164"/>
                  <a:pt x="474" y="165"/>
                </a:cubicBezTo>
                <a:cubicBezTo>
                  <a:pt x="474" y="165"/>
                  <a:pt x="474" y="165"/>
                  <a:pt x="473" y="165"/>
                </a:cubicBezTo>
                <a:cubicBezTo>
                  <a:pt x="472" y="165"/>
                  <a:pt x="471" y="166"/>
                  <a:pt x="471" y="166"/>
                </a:cubicBezTo>
                <a:cubicBezTo>
                  <a:pt x="470" y="167"/>
                  <a:pt x="470" y="168"/>
                  <a:pt x="469" y="168"/>
                </a:cubicBezTo>
                <a:cubicBezTo>
                  <a:pt x="468" y="168"/>
                  <a:pt x="468" y="167"/>
                  <a:pt x="467" y="166"/>
                </a:cubicBezTo>
                <a:cubicBezTo>
                  <a:pt x="466" y="166"/>
                  <a:pt x="465" y="165"/>
                  <a:pt x="464" y="165"/>
                </a:cubicBezTo>
                <a:cubicBezTo>
                  <a:pt x="463" y="165"/>
                  <a:pt x="462" y="165"/>
                  <a:pt x="461" y="165"/>
                </a:cubicBezTo>
                <a:cubicBezTo>
                  <a:pt x="460" y="165"/>
                  <a:pt x="459" y="165"/>
                  <a:pt x="458" y="165"/>
                </a:cubicBezTo>
                <a:cubicBezTo>
                  <a:pt x="458" y="165"/>
                  <a:pt x="456" y="165"/>
                  <a:pt x="455" y="164"/>
                </a:cubicBezTo>
                <a:cubicBezTo>
                  <a:pt x="454" y="164"/>
                  <a:pt x="453" y="163"/>
                  <a:pt x="452" y="163"/>
                </a:cubicBezTo>
                <a:cubicBezTo>
                  <a:pt x="452" y="163"/>
                  <a:pt x="451" y="162"/>
                  <a:pt x="450" y="162"/>
                </a:cubicBezTo>
                <a:cubicBezTo>
                  <a:pt x="449" y="162"/>
                  <a:pt x="447" y="162"/>
                  <a:pt x="447" y="162"/>
                </a:cubicBezTo>
                <a:cubicBezTo>
                  <a:pt x="447" y="162"/>
                  <a:pt x="445" y="162"/>
                  <a:pt x="445" y="164"/>
                </a:cubicBezTo>
                <a:cubicBezTo>
                  <a:pt x="445" y="166"/>
                  <a:pt x="445" y="167"/>
                  <a:pt x="445" y="168"/>
                </a:cubicBezTo>
                <a:cubicBezTo>
                  <a:pt x="445" y="169"/>
                  <a:pt x="444" y="169"/>
                  <a:pt x="443" y="170"/>
                </a:cubicBezTo>
                <a:cubicBezTo>
                  <a:pt x="443" y="171"/>
                  <a:pt x="442" y="173"/>
                  <a:pt x="442" y="174"/>
                </a:cubicBezTo>
                <a:cubicBezTo>
                  <a:pt x="443" y="174"/>
                  <a:pt x="443" y="176"/>
                  <a:pt x="443" y="176"/>
                </a:cubicBezTo>
                <a:cubicBezTo>
                  <a:pt x="443" y="176"/>
                  <a:pt x="441" y="178"/>
                  <a:pt x="441" y="179"/>
                </a:cubicBezTo>
                <a:cubicBezTo>
                  <a:pt x="441" y="179"/>
                  <a:pt x="442" y="182"/>
                  <a:pt x="442" y="183"/>
                </a:cubicBezTo>
                <a:cubicBezTo>
                  <a:pt x="442" y="184"/>
                  <a:pt x="442" y="185"/>
                  <a:pt x="442" y="186"/>
                </a:cubicBezTo>
                <a:cubicBezTo>
                  <a:pt x="442" y="186"/>
                  <a:pt x="442" y="187"/>
                  <a:pt x="441" y="188"/>
                </a:cubicBezTo>
                <a:cubicBezTo>
                  <a:pt x="441" y="188"/>
                  <a:pt x="441" y="189"/>
                  <a:pt x="441" y="190"/>
                </a:cubicBezTo>
                <a:cubicBezTo>
                  <a:pt x="441" y="192"/>
                  <a:pt x="441" y="192"/>
                  <a:pt x="442" y="193"/>
                </a:cubicBezTo>
                <a:cubicBezTo>
                  <a:pt x="442" y="193"/>
                  <a:pt x="443" y="193"/>
                  <a:pt x="444" y="195"/>
                </a:cubicBezTo>
                <a:cubicBezTo>
                  <a:pt x="444" y="196"/>
                  <a:pt x="442" y="198"/>
                  <a:pt x="442" y="198"/>
                </a:cubicBezTo>
                <a:cubicBezTo>
                  <a:pt x="440" y="199"/>
                  <a:pt x="438" y="199"/>
                  <a:pt x="438" y="199"/>
                </a:cubicBezTo>
                <a:cubicBezTo>
                  <a:pt x="438" y="199"/>
                  <a:pt x="436" y="198"/>
                  <a:pt x="436" y="198"/>
                </a:cubicBezTo>
                <a:cubicBezTo>
                  <a:pt x="435" y="198"/>
                  <a:pt x="434" y="198"/>
                  <a:pt x="434" y="198"/>
                </a:cubicBezTo>
                <a:cubicBezTo>
                  <a:pt x="434" y="198"/>
                  <a:pt x="433" y="197"/>
                  <a:pt x="432" y="197"/>
                </a:cubicBezTo>
                <a:cubicBezTo>
                  <a:pt x="430" y="197"/>
                  <a:pt x="429" y="196"/>
                  <a:pt x="428" y="197"/>
                </a:cubicBezTo>
                <a:cubicBezTo>
                  <a:pt x="428" y="197"/>
                  <a:pt x="427" y="198"/>
                  <a:pt x="426" y="198"/>
                </a:cubicBezTo>
                <a:cubicBezTo>
                  <a:pt x="425" y="199"/>
                  <a:pt x="424" y="199"/>
                  <a:pt x="423" y="199"/>
                </a:cubicBezTo>
                <a:cubicBezTo>
                  <a:pt x="423" y="199"/>
                  <a:pt x="423" y="200"/>
                  <a:pt x="422" y="200"/>
                </a:cubicBezTo>
                <a:cubicBezTo>
                  <a:pt x="421" y="200"/>
                  <a:pt x="419" y="200"/>
                  <a:pt x="417" y="201"/>
                </a:cubicBezTo>
                <a:cubicBezTo>
                  <a:pt x="417" y="201"/>
                  <a:pt x="415" y="202"/>
                  <a:pt x="414" y="202"/>
                </a:cubicBezTo>
                <a:cubicBezTo>
                  <a:pt x="413" y="202"/>
                  <a:pt x="411" y="201"/>
                  <a:pt x="411" y="202"/>
                </a:cubicBezTo>
                <a:cubicBezTo>
                  <a:pt x="411" y="203"/>
                  <a:pt x="411" y="203"/>
                  <a:pt x="412" y="204"/>
                </a:cubicBezTo>
                <a:cubicBezTo>
                  <a:pt x="413" y="204"/>
                  <a:pt x="413" y="204"/>
                  <a:pt x="414" y="204"/>
                </a:cubicBezTo>
                <a:cubicBezTo>
                  <a:pt x="415" y="205"/>
                  <a:pt x="416" y="205"/>
                  <a:pt x="417" y="206"/>
                </a:cubicBezTo>
                <a:cubicBezTo>
                  <a:pt x="417" y="206"/>
                  <a:pt x="417" y="207"/>
                  <a:pt x="417" y="208"/>
                </a:cubicBezTo>
                <a:cubicBezTo>
                  <a:pt x="417" y="209"/>
                  <a:pt x="417" y="210"/>
                  <a:pt x="417" y="211"/>
                </a:cubicBezTo>
                <a:cubicBezTo>
                  <a:pt x="417" y="211"/>
                  <a:pt x="416" y="213"/>
                  <a:pt x="416" y="213"/>
                </a:cubicBezTo>
                <a:cubicBezTo>
                  <a:pt x="416" y="213"/>
                  <a:pt x="416" y="217"/>
                  <a:pt x="417" y="218"/>
                </a:cubicBezTo>
                <a:cubicBezTo>
                  <a:pt x="417" y="219"/>
                  <a:pt x="417" y="220"/>
                  <a:pt x="418" y="221"/>
                </a:cubicBezTo>
                <a:cubicBezTo>
                  <a:pt x="418" y="222"/>
                  <a:pt x="419" y="221"/>
                  <a:pt x="419" y="222"/>
                </a:cubicBezTo>
                <a:cubicBezTo>
                  <a:pt x="419" y="224"/>
                  <a:pt x="419" y="224"/>
                  <a:pt x="419" y="224"/>
                </a:cubicBezTo>
                <a:cubicBezTo>
                  <a:pt x="419" y="224"/>
                  <a:pt x="421" y="225"/>
                  <a:pt x="421" y="226"/>
                </a:cubicBezTo>
                <a:cubicBezTo>
                  <a:pt x="421" y="226"/>
                  <a:pt x="421" y="226"/>
                  <a:pt x="421" y="227"/>
                </a:cubicBezTo>
                <a:cubicBezTo>
                  <a:pt x="421" y="228"/>
                  <a:pt x="421" y="229"/>
                  <a:pt x="422" y="230"/>
                </a:cubicBezTo>
                <a:cubicBezTo>
                  <a:pt x="423" y="230"/>
                  <a:pt x="423" y="230"/>
                  <a:pt x="424" y="232"/>
                </a:cubicBezTo>
                <a:cubicBezTo>
                  <a:pt x="425" y="233"/>
                  <a:pt x="424" y="235"/>
                  <a:pt x="424" y="236"/>
                </a:cubicBezTo>
                <a:cubicBezTo>
                  <a:pt x="423" y="237"/>
                  <a:pt x="422" y="237"/>
                  <a:pt x="422" y="238"/>
                </a:cubicBezTo>
                <a:cubicBezTo>
                  <a:pt x="422" y="239"/>
                  <a:pt x="422" y="240"/>
                  <a:pt x="421" y="241"/>
                </a:cubicBezTo>
                <a:cubicBezTo>
                  <a:pt x="421" y="241"/>
                  <a:pt x="419" y="242"/>
                  <a:pt x="419" y="242"/>
                </a:cubicBezTo>
                <a:cubicBezTo>
                  <a:pt x="419" y="242"/>
                  <a:pt x="419" y="242"/>
                  <a:pt x="419" y="243"/>
                </a:cubicBezTo>
                <a:cubicBezTo>
                  <a:pt x="419" y="244"/>
                  <a:pt x="419" y="246"/>
                  <a:pt x="419" y="246"/>
                </a:cubicBezTo>
                <a:cubicBezTo>
                  <a:pt x="419" y="246"/>
                  <a:pt x="416" y="245"/>
                  <a:pt x="415" y="245"/>
                </a:cubicBezTo>
                <a:cubicBezTo>
                  <a:pt x="414" y="245"/>
                  <a:pt x="413" y="245"/>
                  <a:pt x="413" y="245"/>
                </a:cubicBezTo>
                <a:cubicBezTo>
                  <a:pt x="411" y="244"/>
                  <a:pt x="411" y="244"/>
                  <a:pt x="411" y="244"/>
                </a:cubicBezTo>
                <a:cubicBezTo>
                  <a:pt x="411" y="244"/>
                  <a:pt x="409" y="242"/>
                  <a:pt x="409" y="241"/>
                </a:cubicBezTo>
                <a:cubicBezTo>
                  <a:pt x="409" y="241"/>
                  <a:pt x="408" y="240"/>
                  <a:pt x="407" y="239"/>
                </a:cubicBezTo>
                <a:cubicBezTo>
                  <a:pt x="406" y="239"/>
                  <a:pt x="405" y="239"/>
                  <a:pt x="404" y="238"/>
                </a:cubicBezTo>
                <a:cubicBezTo>
                  <a:pt x="404" y="237"/>
                  <a:pt x="404" y="237"/>
                  <a:pt x="403" y="237"/>
                </a:cubicBezTo>
                <a:cubicBezTo>
                  <a:pt x="402" y="237"/>
                  <a:pt x="400" y="237"/>
                  <a:pt x="400" y="237"/>
                </a:cubicBezTo>
                <a:cubicBezTo>
                  <a:pt x="400" y="237"/>
                  <a:pt x="398" y="236"/>
                  <a:pt x="398" y="236"/>
                </a:cubicBezTo>
                <a:cubicBezTo>
                  <a:pt x="397" y="236"/>
                  <a:pt x="396" y="236"/>
                  <a:pt x="395" y="236"/>
                </a:cubicBezTo>
                <a:cubicBezTo>
                  <a:pt x="394" y="236"/>
                  <a:pt x="393" y="236"/>
                  <a:pt x="392" y="236"/>
                </a:cubicBezTo>
                <a:cubicBezTo>
                  <a:pt x="392" y="236"/>
                  <a:pt x="389" y="237"/>
                  <a:pt x="388" y="236"/>
                </a:cubicBezTo>
                <a:cubicBezTo>
                  <a:pt x="386" y="236"/>
                  <a:pt x="385" y="237"/>
                  <a:pt x="383" y="237"/>
                </a:cubicBezTo>
                <a:cubicBezTo>
                  <a:pt x="382" y="237"/>
                  <a:pt x="380" y="237"/>
                  <a:pt x="379" y="237"/>
                </a:cubicBezTo>
                <a:cubicBezTo>
                  <a:pt x="378" y="237"/>
                  <a:pt x="377" y="237"/>
                  <a:pt x="376" y="237"/>
                </a:cubicBezTo>
                <a:cubicBezTo>
                  <a:pt x="375" y="237"/>
                  <a:pt x="372" y="237"/>
                  <a:pt x="371" y="237"/>
                </a:cubicBezTo>
                <a:cubicBezTo>
                  <a:pt x="370" y="237"/>
                  <a:pt x="365" y="236"/>
                  <a:pt x="364" y="236"/>
                </a:cubicBezTo>
                <a:cubicBezTo>
                  <a:pt x="363" y="235"/>
                  <a:pt x="360" y="235"/>
                  <a:pt x="360" y="235"/>
                </a:cubicBezTo>
                <a:cubicBezTo>
                  <a:pt x="360" y="235"/>
                  <a:pt x="357" y="235"/>
                  <a:pt x="356" y="234"/>
                </a:cubicBezTo>
                <a:cubicBezTo>
                  <a:pt x="356" y="234"/>
                  <a:pt x="352" y="232"/>
                  <a:pt x="351" y="231"/>
                </a:cubicBezTo>
                <a:cubicBezTo>
                  <a:pt x="351" y="231"/>
                  <a:pt x="347" y="230"/>
                  <a:pt x="347" y="230"/>
                </a:cubicBezTo>
                <a:cubicBezTo>
                  <a:pt x="346" y="230"/>
                  <a:pt x="344" y="230"/>
                  <a:pt x="344" y="230"/>
                </a:cubicBezTo>
                <a:cubicBezTo>
                  <a:pt x="344" y="230"/>
                  <a:pt x="343" y="229"/>
                  <a:pt x="343" y="228"/>
                </a:cubicBezTo>
                <a:cubicBezTo>
                  <a:pt x="342" y="228"/>
                  <a:pt x="341" y="228"/>
                  <a:pt x="340" y="228"/>
                </a:cubicBezTo>
                <a:cubicBezTo>
                  <a:pt x="339" y="229"/>
                  <a:pt x="337" y="231"/>
                  <a:pt x="337" y="231"/>
                </a:cubicBezTo>
                <a:cubicBezTo>
                  <a:pt x="336" y="232"/>
                  <a:pt x="335" y="234"/>
                  <a:pt x="335" y="236"/>
                </a:cubicBezTo>
                <a:cubicBezTo>
                  <a:pt x="335" y="237"/>
                  <a:pt x="334" y="239"/>
                  <a:pt x="334" y="240"/>
                </a:cubicBezTo>
                <a:cubicBezTo>
                  <a:pt x="334" y="241"/>
                  <a:pt x="335" y="242"/>
                  <a:pt x="334" y="243"/>
                </a:cubicBezTo>
                <a:cubicBezTo>
                  <a:pt x="332" y="243"/>
                  <a:pt x="331" y="245"/>
                  <a:pt x="330" y="245"/>
                </a:cubicBezTo>
                <a:cubicBezTo>
                  <a:pt x="330" y="245"/>
                  <a:pt x="324" y="244"/>
                  <a:pt x="323" y="244"/>
                </a:cubicBezTo>
                <a:cubicBezTo>
                  <a:pt x="322" y="243"/>
                  <a:pt x="322" y="243"/>
                  <a:pt x="320" y="243"/>
                </a:cubicBezTo>
                <a:cubicBezTo>
                  <a:pt x="320" y="242"/>
                  <a:pt x="316" y="241"/>
                  <a:pt x="316" y="241"/>
                </a:cubicBezTo>
                <a:cubicBezTo>
                  <a:pt x="316" y="241"/>
                  <a:pt x="312" y="242"/>
                  <a:pt x="311" y="242"/>
                </a:cubicBezTo>
                <a:cubicBezTo>
                  <a:pt x="310" y="243"/>
                  <a:pt x="309" y="243"/>
                  <a:pt x="308" y="244"/>
                </a:cubicBezTo>
                <a:cubicBezTo>
                  <a:pt x="307" y="244"/>
                  <a:pt x="308" y="245"/>
                  <a:pt x="309" y="247"/>
                </a:cubicBezTo>
                <a:cubicBezTo>
                  <a:pt x="309" y="248"/>
                  <a:pt x="310" y="251"/>
                  <a:pt x="310" y="251"/>
                </a:cubicBezTo>
                <a:cubicBezTo>
                  <a:pt x="306" y="255"/>
                  <a:pt x="306" y="255"/>
                  <a:pt x="306" y="255"/>
                </a:cubicBezTo>
                <a:cubicBezTo>
                  <a:pt x="306" y="255"/>
                  <a:pt x="305" y="257"/>
                  <a:pt x="305" y="258"/>
                </a:cubicBezTo>
                <a:cubicBezTo>
                  <a:pt x="306" y="259"/>
                  <a:pt x="306" y="261"/>
                  <a:pt x="306" y="262"/>
                </a:cubicBezTo>
                <a:cubicBezTo>
                  <a:pt x="307" y="262"/>
                  <a:pt x="308" y="263"/>
                  <a:pt x="309" y="262"/>
                </a:cubicBezTo>
                <a:cubicBezTo>
                  <a:pt x="309" y="262"/>
                  <a:pt x="310" y="261"/>
                  <a:pt x="310" y="262"/>
                </a:cubicBezTo>
                <a:cubicBezTo>
                  <a:pt x="310" y="262"/>
                  <a:pt x="310" y="264"/>
                  <a:pt x="309" y="264"/>
                </a:cubicBezTo>
                <a:cubicBezTo>
                  <a:pt x="308" y="265"/>
                  <a:pt x="307" y="264"/>
                  <a:pt x="307" y="264"/>
                </a:cubicBezTo>
                <a:cubicBezTo>
                  <a:pt x="307" y="264"/>
                  <a:pt x="309" y="268"/>
                  <a:pt x="309" y="269"/>
                </a:cubicBezTo>
                <a:cubicBezTo>
                  <a:pt x="309" y="269"/>
                  <a:pt x="316" y="273"/>
                  <a:pt x="315" y="273"/>
                </a:cubicBezTo>
                <a:cubicBezTo>
                  <a:pt x="313" y="273"/>
                  <a:pt x="311" y="272"/>
                  <a:pt x="310" y="272"/>
                </a:cubicBezTo>
                <a:cubicBezTo>
                  <a:pt x="309" y="272"/>
                  <a:pt x="306" y="272"/>
                  <a:pt x="306" y="272"/>
                </a:cubicBezTo>
                <a:cubicBezTo>
                  <a:pt x="306" y="272"/>
                  <a:pt x="302" y="273"/>
                  <a:pt x="302" y="273"/>
                </a:cubicBezTo>
                <a:cubicBezTo>
                  <a:pt x="301" y="273"/>
                  <a:pt x="300" y="273"/>
                  <a:pt x="299" y="274"/>
                </a:cubicBezTo>
                <a:cubicBezTo>
                  <a:pt x="298" y="274"/>
                  <a:pt x="297" y="276"/>
                  <a:pt x="296" y="276"/>
                </a:cubicBezTo>
                <a:cubicBezTo>
                  <a:pt x="296" y="277"/>
                  <a:pt x="296" y="277"/>
                  <a:pt x="295" y="277"/>
                </a:cubicBezTo>
                <a:cubicBezTo>
                  <a:pt x="294" y="278"/>
                  <a:pt x="291" y="278"/>
                  <a:pt x="291" y="278"/>
                </a:cubicBezTo>
                <a:cubicBezTo>
                  <a:pt x="291" y="278"/>
                  <a:pt x="289" y="279"/>
                  <a:pt x="288" y="279"/>
                </a:cubicBezTo>
                <a:cubicBezTo>
                  <a:pt x="287" y="278"/>
                  <a:pt x="284" y="277"/>
                  <a:pt x="284" y="276"/>
                </a:cubicBezTo>
                <a:cubicBezTo>
                  <a:pt x="284" y="276"/>
                  <a:pt x="283" y="274"/>
                  <a:pt x="283" y="273"/>
                </a:cubicBezTo>
                <a:cubicBezTo>
                  <a:pt x="283" y="272"/>
                  <a:pt x="282" y="271"/>
                  <a:pt x="281" y="270"/>
                </a:cubicBezTo>
                <a:cubicBezTo>
                  <a:pt x="281" y="270"/>
                  <a:pt x="278" y="271"/>
                  <a:pt x="278" y="271"/>
                </a:cubicBezTo>
                <a:cubicBezTo>
                  <a:pt x="278" y="271"/>
                  <a:pt x="276" y="271"/>
                  <a:pt x="276" y="271"/>
                </a:cubicBezTo>
                <a:cubicBezTo>
                  <a:pt x="275" y="270"/>
                  <a:pt x="275" y="270"/>
                  <a:pt x="274" y="270"/>
                </a:cubicBezTo>
                <a:cubicBezTo>
                  <a:pt x="274" y="270"/>
                  <a:pt x="273" y="269"/>
                  <a:pt x="273" y="268"/>
                </a:cubicBezTo>
                <a:cubicBezTo>
                  <a:pt x="272" y="268"/>
                  <a:pt x="269" y="266"/>
                  <a:pt x="268" y="266"/>
                </a:cubicBezTo>
                <a:cubicBezTo>
                  <a:pt x="267" y="266"/>
                  <a:pt x="266" y="266"/>
                  <a:pt x="265" y="266"/>
                </a:cubicBezTo>
                <a:cubicBezTo>
                  <a:pt x="263" y="267"/>
                  <a:pt x="262" y="266"/>
                  <a:pt x="262" y="267"/>
                </a:cubicBezTo>
                <a:cubicBezTo>
                  <a:pt x="261" y="268"/>
                  <a:pt x="259" y="270"/>
                  <a:pt x="258" y="270"/>
                </a:cubicBezTo>
                <a:cubicBezTo>
                  <a:pt x="258" y="270"/>
                  <a:pt x="255" y="268"/>
                  <a:pt x="254" y="268"/>
                </a:cubicBezTo>
                <a:cubicBezTo>
                  <a:pt x="254" y="268"/>
                  <a:pt x="252" y="267"/>
                  <a:pt x="252" y="266"/>
                </a:cubicBezTo>
                <a:cubicBezTo>
                  <a:pt x="252" y="266"/>
                  <a:pt x="250" y="264"/>
                  <a:pt x="250" y="263"/>
                </a:cubicBezTo>
                <a:cubicBezTo>
                  <a:pt x="250" y="262"/>
                  <a:pt x="249" y="261"/>
                  <a:pt x="248" y="260"/>
                </a:cubicBezTo>
                <a:cubicBezTo>
                  <a:pt x="248" y="259"/>
                  <a:pt x="245" y="258"/>
                  <a:pt x="245" y="258"/>
                </a:cubicBezTo>
                <a:cubicBezTo>
                  <a:pt x="245" y="257"/>
                  <a:pt x="243" y="256"/>
                  <a:pt x="243" y="255"/>
                </a:cubicBezTo>
                <a:cubicBezTo>
                  <a:pt x="243" y="255"/>
                  <a:pt x="242" y="252"/>
                  <a:pt x="242" y="251"/>
                </a:cubicBezTo>
                <a:cubicBezTo>
                  <a:pt x="242" y="251"/>
                  <a:pt x="242" y="248"/>
                  <a:pt x="242" y="247"/>
                </a:cubicBezTo>
                <a:cubicBezTo>
                  <a:pt x="242" y="246"/>
                  <a:pt x="242" y="244"/>
                  <a:pt x="242" y="243"/>
                </a:cubicBezTo>
                <a:cubicBezTo>
                  <a:pt x="243" y="243"/>
                  <a:pt x="243" y="242"/>
                  <a:pt x="242" y="241"/>
                </a:cubicBezTo>
                <a:cubicBezTo>
                  <a:pt x="242" y="240"/>
                  <a:pt x="240" y="234"/>
                  <a:pt x="240" y="234"/>
                </a:cubicBezTo>
                <a:cubicBezTo>
                  <a:pt x="240" y="234"/>
                  <a:pt x="240" y="233"/>
                  <a:pt x="239" y="232"/>
                </a:cubicBezTo>
                <a:cubicBezTo>
                  <a:pt x="238" y="232"/>
                  <a:pt x="237" y="231"/>
                  <a:pt x="237" y="231"/>
                </a:cubicBezTo>
                <a:cubicBezTo>
                  <a:pt x="236" y="230"/>
                  <a:pt x="234" y="228"/>
                  <a:pt x="234" y="228"/>
                </a:cubicBezTo>
                <a:cubicBezTo>
                  <a:pt x="233" y="227"/>
                  <a:pt x="232" y="226"/>
                  <a:pt x="232" y="226"/>
                </a:cubicBezTo>
                <a:cubicBezTo>
                  <a:pt x="232" y="226"/>
                  <a:pt x="231" y="224"/>
                  <a:pt x="231" y="224"/>
                </a:cubicBezTo>
                <a:cubicBezTo>
                  <a:pt x="231" y="223"/>
                  <a:pt x="230" y="223"/>
                  <a:pt x="229" y="223"/>
                </a:cubicBezTo>
                <a:cubicBezTo>
                  <a:pt x="228" y="222"/>
                  <a:pt x="227" y="223"/>
                  <a:pt x="226" y="223"/>
                </a:cubicBezTo>
                <a:cubicBezTo>
                  <a:pt x="226" y="224"/>
                  <a:pt x="224" y="226"/>
                  <a:pt x="224" y="226"/>
                </a:cubicBezTo>
                <a:cubicBezTo>
                  <a:pt x="224" y="226"/>
                  <a:pt x="220" y="227"/>
                  <a:pt x="220" y="226"/>
                </a:cubicBezTo>
                <a:cubicBezTo>
                  <a:pt x="219" y="226"/>
                  <a:pt x="217" y="226"/>
                  <a:pt x="216" y="226"/>
                </a:cubicBezTo>
                <a:cubicBezTo>
                  <a:pt x="215" y="226"/>
                  <a:pt x="214" y="226"/>
                  <a:pt x="213" y="225"/>
                </a:cubicBezTo>
                <a:cubicBezTo>
                  <a:pt x="212" y="225"/>
                  <a:pt x="209" y="224"/>
                  <a:pt x="208" y="224"/>
                </a:cubicBezTo>
                <a:cubicBezTo>
                  <a:pt x="207" y="224"/>
                  <a:pt x="205" y="224"/>
                  <a:pt x="204" y="224"/>
                </a:cubicBezTo>
                <a:cubicBezTo>
                  <a:pt x="203" y="223"/>
                  <a:pt x="201" y="223"/>
                  <a:pt x="201" y="224"/>
                </a:cubicBezTo>
                <a:cubicBezTo>
                  <a:pt x="200" y="224"/>
                  <a:pt x="198" y="225"/>
                  <a:pt x="198" y="225"/>
                </a:cubicBezTo>
                <a:cubicBezTo>
                  <a:pt x="197" y="226"/>
                  <a:pt x="195" y="226"/>
                  <a:pt x="194" y="226"/>
                </a:cubicBezTo>
                <a:cubicBezTo>
                  <a:pt x="193" y="227"/>
                  <a:pt x="193" y="227"/>
                  <a:pt x="191" y="227"/>
                </a:cubicBezTo>
                <a:cubicBezTo>
                  <a:pt x="190" y="227"/>
                  <a:pt x="188" y="226"/>
                  <a:pt x="188" y="226"/>
                </a:cubicBezTo>
                <a:cubicBezTo>
                  <a:pt x="188" y="226"/>
                  <a:pt x="187" y="224"/>
                  <a:pt x="187" y="223"/>
                </a:cubicBezTo>
                <a:cubicBezTo>
                  <a:pt x="187" y="222"/>
                  <a:pt x="186" y="220"/>
                  <a:pt x="186" y="220"/>
                </a:cubicBezTo>
                <a:cubicBezTo>
                  <a:pt x="185" y="218"/>
                  <a:pt x="185" y="218"/>
                  <a:pt x="185" y="218"/>
                </a:cubicBezTo>
                <a:cubicBezTo>
                  <a:pt x="185" y="218"/>
                  <a:pt x="184" y="217"/>
                  <a:pt x="184" y="216"/>
                </a:cubicBezTo>
                <a:cubicBezTo>
                  <a:pt x="184" y="215"/>
                  <a:pt x="186" y="209"/>
                  <a:pt x="186" y="208"/>
                </a:cubicBezTo>
                <a:cubicBezTo>
                  <a:pt x="187" y="208"/>
                  <a:pt x="189" y="205"/>
                  <a:pt x="190" y="204"/>
                </a:cubicBezTo>
                <a:cubicBezTo>
                  <a:pt x="190" y="203"/>
                  <a:pt x="192" y="202"/>
                  <a:pt x="193" y="201"/>
                </a:cubicBezTo>
                <a:cubicBezTo>
                  <a:pt x="193" y="201"/>
                  <a:pt x="193" y="200"/>
                  <a:pt x="193" y="200"/>
                </a:cubicBezTo>
                <a:cubicBezTo>
                  <a:pt x="193" y="200"/>
                  <a:pt x="192" y="196"/>
                  <a:pt x="192" y="196"/>
                </a:cubicBezTo>
                <a:cubicBezTo>
                  <a:pt x="192" y="195"/>
                  <a:pt x="192" y="193"/>
                  <a:pt x="192" y="193"/>
                </a:cubicBezTo>
                <a:cubicBezTo>
                  <a:pt x="192" y="192"/>
                  <a:pt x="192" y="191"/>
                  <a:pt x="191" y="192"/>
                </a:cubicBezTo>
                <a:cubicBezTo>
                  <a:pt x="190" y="192"/>
                  <a:pt x="189" y="192"/>
                  <a:pt x="189" y="192"/>
                </a:cubicBezTo>
                <a:cubicBezTo>
                  <a:pt x="186" y="192"/>
                  <a:pt x="186" y="192"/>
                  <a:pt x="186" y="192"/>
                </a:cubicBezTo>
                <a:cubicBezTo>
                  <a:pt x="186" y="192"/>
                  <a:pt x="185" y="190"/>
                  <a:pt x="184" y="189"/>
                </a:cubicBezTo>
                <a:cubicBezTo>
                  <a:pt x="184" y="189"/>
                  <a:pt x="184" y="187"/>
                  <a:pt x="183" y="186"/>
                </a:cubicBezTo>
                <a:cubicBezTo>
                  <a:pt x="183" y="186"/>
                  <a:pt x="182" y="185"/>
                  <a:pt x="182" y="184"/>
                </a:cubicBezTo>
                <a:cubicBezTo>
                  <a:pt x="182" y="183"/>
                  <a:pt x="185" y="179"/>
                  <a:pt x="183" y="179"/>
                </a:cubicBezTo>
                <a:cubicBezTo>
                  <a:pt x="181" y="178"/>
                  <a:pt x="181" y="178"/>
                  <a:pt x="181" y="177"/>
                </a:cubicBezTo>
                <a:cubicBezTo>
                  <a:pt x="181" y="177"/>
                  <a:pt x="184" y="175"/>
                  <a:pt x="184" y="175"/>
                </a:cubicBezTo>
                <a:cubicBezTo>
                  <a:pt x="185" y="174"/>
                  <a:pt x="186" y="171"/>
                  <a:pt x="186" y="170"/>
                </a:cubicBezTo>
                <a:cubicBezTo>
                  <a:pt x="186" y="169"/>
                  <a:pt x="187" y="167"/>
                  <a:pt x="186" y="166"/>
                </a:cubicBezTo>
                <a:cubicBezTo>
                  <a:pt x="185" y="166"/>
                  <a:pt x="184" y="167"/>
                  <a:pt x="184" y="167"/>
                </a:cubicBezTo>
                <a:cubicBezTo>
                  <a:pt x="183" y="168"/>
                  <a:pt x="182" y="171"/>
                  <a:pt x="181" y="171"/>
                </a:cubicBezTo>
                <a:cubicBezTo>
                  <a:pt x="180" y="171"/>
                  <a:pt x="179" y="172"/>
                  <a:pt x="179" y="171"/>
                </a:cubicBezTo>
                <a:cubicBezTo>
                  <a:pt x="178" y="171"/>
                  <a:pt x="178" y="168"/>
                  <a:pt x="178" y="167"/>
                </a:cubicBezTo>
                <a:cubicBezTo>
                  <a:pt x="178" y="166"/>
                  <a:pt x="178" y="164"/>
                  <a:pt x="178" y="164"/>
                </a:cubicBezTo>
                <a:cubicBezTo>
                  <a:pt x="178" y="164"/>
                  <a:pt x="177" y="163"/>
                  <a:pt x="176" y="163"/>
                </a:cubicBezTo>
                <a:cubicBezTo>
                  <a:pt x="175" y="163"/>
                  <a:pt x="174" y="164"/>
                  <a:pt x="173" y="165"/>
                </a:cubicBezTo>
                <a:cubicBezTo>
                  <a:pt x="173" y="165"/>
                  <a:pt x="172" y="166"/>
                  <a:pt x="171" y="166"/>
                </a:cubicBezTo>
                <a:cubicBezTo>
                  <a:pt x="170" y="167"/>
                  <a:pt x="169" y="167"/>
                  <a:pt x="168" y="167"/>
                </a:cubicBezTo>
                <a:cubicBezTo>
                  <a:pt x="167" y="168"/>
                  <a:pt x="167" y="168"/>
                  <a:pt x="167" y="169"/>
                </a:cubicBezTo>
                <a:cubicBezTo>
                  <a:pt x="167" y="169"/>
                  <a:pt x="167" y="171"/>
                  <a:pt x="166" y="171"/>
                </a:cubicBezTo>
                <a:cubicBezTo>
                  <a:pt x="166" y="172"/>
                  <a:pt x="162" y="174"/>
                  <a:pt x="162" y="174"/>
                </a:cubicBezTo>
                <a:cubicBezTo>
                  <a:pt x="162" y="174"/>
                  <a:pt x="162" y="177"/>
                  <a:pt x="162" y="177"/>
                </a:cubicBezTo>
                <a:cubicBezTo>
                  <a:pt x="162" y="177"/>
                  <a:pt x="162" y="179"/>
                  <a:pt x="161" y="180"/>
                </a:cubicBezTo>
                <a:cubicBezTo>
                  <a:pt x="161" y="180"/>
                  <a:pt x="160" y="180"/>
                  <a:pt x="159" y="179"/>
                </a:cubicBezTo>
                <a:cubicBezTo>
                  <a:pt x="158" y="179"/>
                  <a:pt x="156" y="179"/>
                  <a:pt x="155" y="179"/>
                </a:cubicBezTo>
                <a:cubicBezTo>
                  <a:pt x="155" y="179"/>
                  <a:pt x="153" y="180"/>
                  <a:pt x="153" y="180"/>
                </a:cubicBezTo>
                <a:cubicBezTo>
                  <a:pt x="153" y="180"/>
                  <a:pt x="151" y="183"/>
                  <a:pt x="151" y="184"/>
                </a:cubicBezTo>
                <a:cubicBezTo>
                  <a:pt x="151" y="184"/>
                  <a:pt x="151" y="185"/>
                  <a:pt x="151" y="185"/>
                </a:cubicBezTo>
                <a:cubicBezTo>
                  <a:pt x="151" y="185"/>
                  <a:pt x="148" y="186"/>
                  <a:pt x="147" y="186"/>
                </a:cubicBezTo>
                <a:cubicBezTo>
                  <a:pt x="146" y="187"/>
                  <a:pt x="145" y="187"/>
                  <a:pt x="144" y="188"/>
                </a:cubicBezTo>
                <a:cubicBezTo>
                  <a:pt x="143" y="188"/>
                  <a:pt x="141" y="188"/>
                  <a:pt x="140" y="188"/>
                </a:cubicBezTo>
                <a:cubicBezTo>
                  <a:pt x="138" y="188"/>
                  <a:pt x="137" y="189"/>
                  <a:pt x="136" y="189"/>
                </a:cubicBezTo>
                <a:cubicBezTo>
                  <a:pt x="135" y="190"/>
                  <a:pt x="133" y="190"/>
                  <a:pt x="132" y="190"/>
                </a:cubicBezTo>
                <a:cubicBezTo>
                  <a:pt x="130" y="191"/>
                  <a:pt x="129" y="192"/>
                  <a:pt x="128" y="192"/>
                </a:cubicBezTo>
                <a:cubicBezTo>
                  <a:pt x="126" y="193"/>
                  <a:pt x="124" y="193"/>
                  <a:pt x="123" y="194"/>
                </a:cubicBezTo>
                <a:cubicBezTo>
                  <a:pt x="122" y="194"/>
                  <a:pt x="120" y="198"/>
                  <a:pt x="119" y="199"/>
                </a:cubicBezTo>
                <a:cubicBezTo>
                  <a:pt x="119" y="200"/>
                  <a:pt x="118" y="203"/>
                  <a:pt x="118" y="204"/>
                </a:cubicBezTo>
                <a:cubicBezTo>
                  <a:pt x="118" y="206"/>
                  <a:pt x="118" y="209"/>
                  <a:pt x="118" y="209"/>
                </a:cubicBezTo>
                <a:cubicBezTo>
                  <a:pt x="120" y="227"/>
                  <a:pt x="120" y="227"/>
                  <a:pt x="120" y="227"/>
                </a:cubicBezTo>
                <a:cubicBezTo>
                  <a:pt x="120" y="227"/>
                  <a:pt x="122" y="243"/>
                  <a:pt x="122" y="244"/>
                </a:cubicBezTo>
                <a:cubicBezTo>
                  <a:pt x="122" y="246"/>
                  <a:pt x="123" y="251"/>
                  <a:pt x="123" y="252"/>
                </a:cubicBezTo>
                <a:cubicBezTo>
                  <a:pt x="123" y="253"/>
                  <a:pt x="124" y="259"/>
                  <a:pt x="124" y="260"/>
                </a:cubicBezTo>
                <a:cubicBezTo>
                  <a:pt x="123" y="262"/>
                  <a:pt x="123" y="264"/>
                  <a:pt x="123" y="264"/>
                </a:cubicBezTo>
                <a:cubicBezTo>
                  <a:pt x="123" y="264"/>
                  <a:pt x="123" y="266"/>
                  <a:pt x="122" y="266"/>
                </a:cubicBezTo>
                <a:cubicBezTo>
                  <a:pt x="121" y="266"/>
                  <a:pt x="118" y="266"/>
                  <a:pt x="117" y="265"/>
                </a:cubicBezTo>
                <a:cubicBezTo>
                  <a:pt x="116" y="265"/>
                  <a:pt x="115" y="264"/>
                  <a:pt x="114" y="264"/>
                </a:cubicBezTo>
                <a:cubicBezTo>
                  <a:pt x="113" y="263"/>
                  <a:pt x="112" y="262"/>
                  <a:pt x="112" y="262"/>
                </a:cubicBezTo>
                <a:cubicBezTo>
                  <a:pt x="111" y="261"/>
                  <a:pt x="110" y="260"/>
                  <a:pt x="109" y="258"/>
                </a:cubicBezTo>
                <a:cubicBezTo>
                  <a:pt x="108" y="257"/>
                  <a:pt x="108" y="255"/>
                  <a:pt x="107" y="254"/>
                </a:cubicBezTo>
                <a:cubicBezTo>
                  <a:pt x="107" y="253"/>
                  <a:pt x="106" y="250"/>
                  <a:pt x="105" y="249"/>
                </a:cubicBezTo>
                <a:cubicBezTo>
                  <a:pt x="104" y="248"/>
                  <a:pt x="102" y="247"/>
                  <a:pt x="101" y="246"/>
                </a:cubicBezTo>
                <a:cubicBezTo>
                  <a:pt x="99" y="246"/>
                  <a:pt x="96" y="245"/>
                  <a:pt x="95" y="245"/>
                </a:cubicBezTo>
                <a:cubicBezTo>
                  <a:pt x="95" y="245"/>
                  <a:pt x="92" y="245"/>
                  <a:pt x="91" y="245"/>
                </a:cubicBezTo>
                <a:cubicBezTo>
                  <a:pt x="90" y="245"/>
                  <a:pt x="89" y="246"/>
                  <a:pt x="88" y="247"/>
                </a:cubicBezTo>
                <a:cubicBezTo>
                  <a:pt x="87" y="247"/>
                  <a:pt x="86" y="248"/>
                  <a:pt x="85" y="249"/>
                </a:cubicBezTo>
                <a:cubicBezTo>
                  <a:pt x="85" y="250"/>
                  <a:pt x="83" y="252"/>
                  <a:pt x="83" y="252"/>
                </a:cubicBezTo>
                <a:cubicBezTo>
                  <a:pt x="82" y="253"/>
                  <a:pt x="81" y="254"/>
                  <a:pt x="81" y="254"/>
                </a:cubicBezTo>
                <a:cubicBezTo>
                  <a:pt x="80" y="254"/>
                  <a:pt x="80" y="254"/>
                  <a:pt x="80" y="254"/>
                </a:cubicBezTo>
                <a:cubicBezTo>
                  <a:pt x="80" y="254"/>
                  <a:pt x="80" y="251"/>
                  <a:pt x="80" y="250"/>
                </a:cubicBezTo>
                <a:cubicBezTo>
                  <a:pt x="80" y="249"/>
                  <a:pt x="79" y="246"/>
                  <a:pt x="80" y="245"/>
                </a:cubicBezTo>
                <a:cubicBezTo>
                  <a:pt x="80" y="244"/>
                  <a:pt x="81" y="241"/>
                  <a:pt x="81" y="240"/>
                </a:cubicBezTo>
                <a:cubicBezTo>
                  <a:pt x="81" y="239"/>
                  <a:pt x="80" y="237"/>
                  <a:pt x="79" y="237"/>
                </a:cubicBezTo>
                <a:cubicBezTo>
                  <a:pt x="78" y="236"/>
                  <a:pt x="76" y="236"/>
                  <a:pt x="76" y="236"/>
                </a:cubicBezTo>
                <a:cubicBezTo>
                  <a:pt x="75" y="236"/>
                  <a:pt x="74" y="237"/>
                  <a:pt x="73" y="236"/>
                </a:cubicBezTo>
                <a:cubicBezTo>
                  <a:pt x="72" y="236"/>
                  <a:pt x="72" y="236"/>
                  <a:pt x="72" y="234"/>
                </a:cubicBezTo>
                <a:cubicBezTo>
                  <a:pt x="72" y="234"/>
                  <a:pt x="70" y="232"/>
                  <a:pt x="70" y="232"/>
                </a:cubicBezTo>
                <a:cubicBezTo>
                  <a:pt x="69" y="231"/>
                  <a:pt x="68" y="232"/>
                  <a:pt x="66" y="230"/>
                </a:cubicBezTo>
                <a:cubicBezTo>
                  <a:pt x="65" y="230"/>
                  <a:pt x="64" y="228"/>
                  <a:pt x="64" y="228"/>
                </a:cubicBezTo>
                <a:cubicBezTo>
                  <a:pt x="64" y="227"/>
                  <a:pt x="63" y="225"/>
                  <a:pt x="63" y="224"/>
                </a:cubicBezTo>
                <a:cubicBezTo>
                  <a:pt x="63" y="224"/>
                  <a:pt x="61" y="222"/>
                  <a:pt x="61" y="222"/>
                </a:cubicBezTo>
                <a:cubicBezTo>
                  <a:pt x="59" y="221"/>
                  <a:pt x="59" y="221"/>
                  <a:pt x="59" y="221"/>
                </a:cubicBezTo>
                <a:cubicBezTo>
                  <a:pt x="59" y="221"/>
                  <a:pt x="58" y="219"/>
                  <a:pt x="58" y="218"/>
                </a:cubicBezTo>
                <a:cubicBezTo>
                  <a:pt x="58" y="218"/>
                  <a:pt x="58" y="217"/>
                  <a:pt x="58" y="216"/>
                </a:cubicBezTo>
                <a:cubicBezTo>
                  <a:pt x="58" y="215"/>
                  <a:pt x="56" y="214"/>
                  <a:pt x="56" y="214"/>
                </a:cubicBezTo>
                <a:cubicBezTo>
                  <a:pt x="54" y="212"/>
                  <a:pt x="54" y="212"/>
                  <a:pt x="54" y="212"/>
                </a:cubicBezTo>
                <a:cubicBezTo>
                  <a:pt x="54" y="212"/>
                  <a:pt x="53" y="211"/>
                  <a:pt x="52" y="211"/>
                </a:cubicBezTo>
                <a:cubicBezTo>
                  <a:pt x="51" y="211"/>
                  <a:pt x="50" y="210"/>
                  <a:pt x="50" y="210"/>
                </a:cubicBezTo>
                <a:cubicBezTo>
                  <a:pt x="50" y="210"/>
                  <a:pt x="48" y="209"/>
                  <a:pt x="47" y="209"/>
                </a:cubicBezTo>
                <a:cubicBezTo>
                  <a:pt x="47" y="208"/>
                  <a:pt x="46" y="208"/>
                  <a:pt x="47" y="207"/>
                </a:cubicBezTo>
                <a:cubicBezTo>
                  <a:pt x="47" y="205"/>
                  <a:pt x="48" y="205"/>
                  <a:pt x="49" y="205"/>
                </a:cubicBezTo>
                <a:cubicBezTo>
                  <a:pt x="50" y="204"/>
                  <a:pt x="53" y="205"/>
                  <a:pt x="54" y="205"/>
                </a:cubicBezTo>
                <a:cubicBezTo>
                  <a:pt x="55" y="205"/>
                  <a:pt x="56" y="205"/>
                  <a:pt x="57" y="206"/>
                </a:cubicBezTo>
                <a:cubicBezTo>
                  <a:pt x="57" y="206"/>
                  <a:pt x="58" y="207"/>
                  <a:pt x="59" y="207"/>
                </a:cubicBezTo>
                <a:cubicBezTo>
                  <a:pt x="60" y="208"/>
                  <a:pt x="59" y="208"/>
                  <a:pt x="60" y="208"/>
                </a:cubicBezTo>
                <a:cubicBezTo>
                  <a:pt x="61" y="207"/>
                  <a:pt x="61" y="207"/>
                  <a:pt x="61" y="207"/>
                </a:cubicBezTo>
                <a:cubicBezTo>
                  <a:pt x="61" y="207"/>
                  <a:pt x="61" y="207"/>
                  <a:pt x="63" y="207"/>
                </a:cubicBezTo>
                <a:cubicBezTo>
                  <a:pt x="63" y="207"/>
                  <a:pt x="64" y="207"/>
                  <a:pt x="65" y="207"/>
                </a:cubicBezTo>
                <a:cubicBezTo>
                  <a:pt x="66" y="207"/>
                  <a:pt x="66" y="205"/>
                  <a:pt x="66" y="205"/>
                </a:cubicBezTo>
                <a:cubicBezTo>
                  <a:pt x="66" y="205"/>
                  <a:pt x="64" y="204"/>
                  <a:pt x="63" y="204"/>
                </a:cubicBezTo>
                <a:cubicBezTo>
                  <a:pt x="62" y="204"/>
                  <a:pt x="61" y="204"/>
                  <a:pt x="61" y="203"/>
                </a:cubicBezTo>
                <a:cubicBezTo>
                  <a:pt x="60" y="203"/>
                  <a:pt x="59" y="204"/>
                  <a:pt x="58" y="203"/>
                </a:cubicBezTo>
                <a:cubicBezTo>
                  <a:pt x="58" y="203"/>
                  <a:pt x="58" y="201"/>
                  <a:pt x="58" y="201"/>
                </a:cubicBezTo>
                <a:cubicBezTo>
                  <a:pt x="58" y="200"/>
                  <a:pt x="57" y="199"/>
                  <a:pt x="56" y="199"/>
                </a:cubicBezTo>
                <a:cubicBezTo>
                  <a:pt x="56" y="198"/>
                  <a:pt x="55" y="198"/>
                  <a:pt x="56" y="197"/>
                </a:cubicBezTo>
                <a:cubicBezTo>
                  <a:pt x="57" y="197"/>
                  <a:pt x="60" y="196"/>
                  <a:pt x="60" y="195"/>
                </a:cubicBezTo>
                <a:cubicBezTo>
                  <a:pt x="60" y="195"/>
                  <a:pt x="62" y="190"/>
                  <a:pt x="62" y="190"/>
                </a:cubicBezTo>
                <a:cubicBezTo>
                  <a:pt x="63" y="190"/>
                  <a:pt x="65" y="191"/>
                  <a:pt x="67" y="191"/>
                </a:cubicBezTo>
                <a:cubicBezTo>
                  <a:pt x="69" y="192"/>
                  <a:pt x="69" y="192"/>
                  <a:pt x="70" y="192"/>
                </a:cubicBezTo>
                <a:cubicBezTo>
                  <a:pt x="71" y="192"/>
                  <a:pt x="72" y="192"/>
                  <a:pt x="73" y="192"/>
                </a:cubicBezTo>
                <a:cubicBezTo>
                  <a:pt x="74" y="192"/>
                  <a:pt x="77" y="193"/>
                  <a:pt x="78" y="194"/>
                </a:cubicBezTo>
                <a:cubicBezTo>
                  <a:pt x="80" y="194"/>
                  <a:pt x="81" y="194"/>
                  <a:pt x="82" y="194"/>
                </a:cubicBezTo>
                <a:cubicBezTo>
                  <a:pt x="82" y="194"/>
                  <a:pt x="83" y="194"/>
                  <a:pt x="84" y="193"/>
                </a:cubicBezTo>
                <a:cubicBezTo>
                  <a:pt x="84" y="193"/>
                  <a:pt x="85" y="192"/>
                  <a:pt x="84" y="191"/>
                </a:cubicBezTo>
                <a:cubicBezTo>
                  <a:pt x="83" y="190"/>
                  <a:pt x="82" y="190"/>
                  <a:pt x="81" y="190"/>
                </a:cubicBezTo>
                <a:cubicBezTo>
                  <a:pt x="81" y="190"/>
                  <a:pt x="79" y="190"/>
                  <a:pt x="79" y="189"/>
                </a:cubicBezTo>
                <a:cubicBezTo>
                  <a:pt x="78" y="188"/>
                  <a:pt x="78" y="187"/>
                  <a:pt x="78" y="187"/>
                </a:cubicBezTo>
                <a:cubicBezTo>
                  <a:pt x="78" y="187"/>
                  <a:pt x="79" y="185"/>
                  <a:pt x="79" y="185"/>
                </a:cubicBezTo>
                <a:cubicBezTo>
                  <a:pt x="79" y="184"/>
                  <a:pt x="78" y="184"/>
                  <a:pt x="78" y="183"/>
                </a:cubicBezTo>
                <a:cubicBezTo>
                  <a:pt x="78" y="181"/>
                  <a:pt x="79" y="179"/>
                  <a:pt x="79" y="179"/>
                </a:cubicBezTo>
                <a:cubicBezTo>
                  <a:pt x="79" y="179"/>
                  <a:pt x="80" y="179"/>
                  <a:pt x="80" y="178"/>
                </a:cubicBezTo>
                <a:cubicBezTo>
                  <a:pt x="80" y="177"/>
                  <a:pt x="80" y="176"/>
                  <a:pt x="80" y="176"/>
                </a:cubicBezTo>
                <a:cubicBezTo>
                  <a:pt x="80" y="176"/>
                  <a:pt x="80" y="175"/>
                  <a:pt x="80" y="174"/>
                </a:cubicBezTo>
                <a:cubicBezTo>
                  <a:pt x="80" y="173"/>
                  <a:pt x="80" y="173"/>
                  <a:pt x="80" y="172"/>
                </a:cubicBezTo>
                <a:cubicBezTo>
                  <a:pt x="80" y="172"/>
                  <a:pt x="81" y="172"/>
                  <a:pt x="80" y="171"/>
                </a:cubicBezTo>
                <a:cubicBezTo>
                  <a:pt x="80" y="170"/>
                  <a:pt x="80" y="170"/>
                  <a:pt x="80" y="170"/>
                </a:cubicBezTo>
                <a:cubicBezTo>
                  <a:pt x="80" y="169"/>
                  <a:pt x="80" y="169"/>
                  <a:pt x="80" y="168"/>
                </a:cubicBezTo>
                <a:cubicBezTo>
                  <a:pt x="80" y="167"/>
                  <a:pt x="79" y="167"/>
                  <a:pt x="79" y="167"/>
                </a:cubicBezTo>
                <a:cubicBezTo>
                  <a:pt x="79" y="167"/>
                  <a:pt x="78" y="167"/>
                  <a:pt x="78" y="166"/>
                </a:cubicBezTo>
                <a:cubicBezTo>
                  <a:pt x="77" y="165"/>
                  <a:pt x="77" y="164"/>
                  <a:pt x="76" y="164"/>
                </a:cubicBezTo>
                <a:cubicBezTo>
                  <a:pt x="75" y="163"/>
                  <a:pt x="73" y="163"/>
                  <a:pt x="73" y="163"/>
                </a:cubicBezTo>
                <a:cubicBezTo>
                  <a:pt x="72" y="164"/>
                  <a:pt x="71" y="165"/>
                  <a:pt x="70" y="165"/>
                </a:cubicBezTo>
                <a:cubicBezTo>
                  <a:pt x="70" y="166"/>
                  <a:pt x="69" y="166"/>
                  <a:pt x="68" y="166"/>
                </a:cubicBezTo>
                <a:cubicBezTo>
                  <a:pt x="67" y="166"/>
                  <a:pt x="65" y="165"/>
                  <a:pt x="65" y="165"/>
                </a:cubicBezTo>
                <a:cubicBezTo>
                  <a:pt x="64" y="164"/>
                  <a:pt x="63" y="164"/>
                  <a:pt x="62" y="164"/>
                </a:cubicBezTo>
                <a:cubicBezTo>
                  <a:pt x="62" y="164"/>
                  <a:pt x="60" y="164"/>
                  <a:pt x="60" y="164"/>
                </a:cubicBezTo>
                <a:cubicBezTo>
                  <a:pt x="59" y="162"/>
                  <a:pt x="59" y="162"/>
                  <a:pt x="59" y="162"/>
                </a:cubicBezTo>
                <a:cubicBezTo>
                  <a:pt x="59" y="162"/>
                  <a:pt x="58" y="162"/>
                  <a:pt x="57" y="161"/>
                </a:cubicBezTo>
                <a:cubicBezTo>
                  <a:pt x="57" y="161"/>
                  <a:pt x="55" y="161"/>
                  <a:pt x="54" y="161"/>
                </a:cubicBezTo>
                <a:cubicBezTo>
                  <a:pt x="54" y="162"/>
                  <a:pt x="51" y="163"/>
                  <a:pt x="51" y="163"/>
                </a:cubicBezTo>
                <a:cubicBezTo>
                  <a:pt x="51" y="163"/>
                  <a:pt x="50" y="164"/>
                  <a:pt x="49" y="165"/>
                </a:cubicBezTo>
                <a:cubicBezTo>
                  <a:pt x="48" y="165"/>
                  <a:pt x="46" y="166"/>
                  <a:pt x="46" y="166"/>
                </a:cubicBezTo>
                <a:cubicBezTo>
                  <a:pt x="44" y="166"/>
                  <a:pt x="44" y="166"/>
                  <a:pt x="44" y="166"/>
                </a:cubicBezTo>
                <a:cubicBezTo>
                  <a:pt x="44" y="166"/>
                  <a:pt x="43" y="166"/>
                  <a:pt x="43" y="167"/>
                </a:cubicBezTo>
                <a:cubicBezTo>
                  <a:pt x="43" y="168"/>
                  <a:pt x="42" y="169"/>
                  <a:pt x="42" y="169"/>
                </a:cubicBezTo>
                <a:cubicBezTo>
                  <a:pt x="42" y="169"/>
                  <a:pt x="41" y="169"/>
                  <a:pt x="40" y="170"/>
                </a:cubicBezTo>
                <a:cubicBezTo>
                  <a:pt x="40" y="170"/>
                  <a:pt x="39" y="170"/>
                  <a:pt x="38" y="171"/>
                </a:cubicBezTo>
                <a:cubicBezTo>
                  <a:pt x="38" y="171"/>
                  <a:pt x="36" y="170"/>
                  <a:pt x="36" y="17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2" name="Kyrgyzstan"/>
          <p:cNvSpPr>
            <a:spLocks/>
          </p:cNvSpPr>
          <p:nvPr/>
        </p:nvSpPr>
        <p:spPr bwMode="auto">
          <a:xfrm>
            <a:off x="7984530" y="2618631"/>
            <a:ext cx="269477" cy="140455"/>
          </a:xfrm>
          <a:custGeom>
            <a:avLst/>
            <a:gdLst>
              <a:gd name="T0" fmla="*/ 125 w 131"/>
              <a:gd name="T1" fmla="*/ 17 h 69"/>
              <a:gd name="T2" fmla="*/ 121 w 131"/>
              <a:gd name="T3" fmla="*/ 16 h 69"/>
              <a:gd name="T4" fmla="*/ 117 w 131"/>
              <a:gd name="T5" fmla="*/ 11 h 69"/>
              <a:gd name="T6" fmla="*/ 113 w 131"/>
              <a:gd name="T7" fmla="*/ 9 h 69"/>
              <a:gd name="T8" fmla="*/ 108 w 131"/>
              <a:gd name="T9" fmla="*/ 8 h 69"/>
              <a:gd name="T10" fmla="*/ 102 w 131"/>
              <a:gd name="T11" fmla="*/ 8 h 69"/>
              <a:gd name="T12" fmla="*/ 93 w 131"/>
              <a:gd name="T13" fmla="*/ 9 h 69"/>
              <a:gd name="T14" fmla="*/ 86 w 131"/>
              <a:gd name="T15" fmla="*/ 9 h 69"/>
              <a:gd name="T16" fmla="*/ 74 w 131"/>
              <a:gd name="T17" fmla="*/ 8 h 69"/>
              <a:gd name="T18" fmla="*/ 66 w 131"/>
              <a:gd name="T19" fmla="*/ 6 h 69"/>
              <a:gd name="T20" fmla="*/ 57 w 131"/>
              <a:gd name="T21" fmla="*/ 2 h 69"/>
              <a:gd name="T22" fmla="*/ 53 w 131"/>
              <a:gd name="T23" fmla="*/ 0 h 69"/>
              <a:gd name="T24" fmla="*/ 47 w 131"/>
              <a:gd name="T25" fmla="*/ 3 h 69"/>
              <a:gd name="T26" fmla="*/ 44 w 131"/>
              <a:gd name="T27" fmla="*/ 12 h 69"/>
              <a:gd name="T28" fmla="*/ 40 w 131"/>
              <a:gd name="T29" fmla="*/ 17 h 69"/>
              <a:gd name="T30" fmla="*/ 30 w 131"/>
              <a:gd name="T31" fmla="*/ 15 h 69"/>
              <a:gd name="T32" fmla="*/ 21 w 131"/>
              <a:gd name="T33" fmla="*/ 14 h 69"/>
              <a:gd name="T34" fmla="*/ 19 w 131"/>
              <a:gd name="T35" fmla="*/ 19 h 69"/>
              <a:gd name="T36" fmla="*/ 16 w 131"/>
              <a:gd name="T37" fmla="*/ 27 h 69"/>
              <a:gd name="T38" fmla="*/ 16 w 131"/>
              <a:gd name="T39" fmla="*/ 34 h 69"/>
              <a:gd name="T40" fmla="*/ 20 w 131"/>
              <a:gd name="T41" fmla="*/ 34 h 69"/>
              <a:gd name="T42" fmla="*/ 17 w 131"/>
              <a:gd name="T43" fmla="*/ 36 h 69"/>
              <a:gd name="T44" fmla="*/ 25 w 131"/>
              <a:gd name="T45" fmla="*/ 45 h 69"/>
              <a:gd name="T46" fmla="*/ 16 w 131"/>
              <a:gd name="T47" fmla="*/ 44 h 69"/>
              <a:gd name="T48" fmla="*/ 11 w 131"/>
              <a:gd name="T49" fmla="*/ 45 h 69"/>
              <a:gd name="T50" fmla="*/ 9 w 131"/>
              <a:gd name="T51" fmla="*/ 56 h 69"/>
              <a:gd name="T52" fmla="*/ 0 w 131"/>
              <a:gd name="T53" fmla="*/ 66 h 69"/>
              <a:gd name="T54" fmla="*/ 13 w 131"/>
              <a:gd name="T55" fmla="*/ 67 h 69"/>
              <a:gd name="T56" fmla="*/ 21 w 131"/>
              <a:gd name="T57" fmla="*/ 64 h 69"/>
              <a:gd name="T58" fmla="*/ 30 w 131"/>
              <a:gd name="T59" fmla="*/ 65 h 69"/>
              <a:gd name="T60" fmla="*/ 38 w 131"/>
              <a:gd name="T61" fmla="*/ 67 h 69"/>
              <a:gd name="T62" fmla="*/ 54 w 131"/>
              <a:gd name="T63" fmla="*/ 69 h 69"/>
              <a:gd name="T64" fmla="*/ 56 w 131"/>
              <a:gd name="T65" fmla="*/ 62 h 69"/>
              <a:gd name="T66" fmla="*/ 61 w 131"/>
              <a:gd name="T67" fmla="*/ 57 h 69"/>
              <a:gd name="T68" fmla="*/ 65 w 131"/>
              <a:gd name="T69" fmla="*/ 54 h 69"/>
              <a:gd name="T70" fmla="*/ 70 w 131"/>
              <a:gd name="T71" fmla="*/ 53 h 69"/>
              <a:gd name="T72" fmla="*/ 73 w 131"/>
              <a:gd name="T73" fmla="*/ 53 h 69"/>
              <a:gd name="T74" fmla="*/ 76 w 131"/>
              <a:gd name="T75" fmla="*/ 50 h 69"/>
              <a:gd name="T76" fmla="*/ 78 w 131"/>
              <a:gd name="T77" fmla="*/ 52 h 69"/>
              <a:gd name="T78" fmla="*/ 77 w 131"/>
              <a:gd name="T79" fmla="*/ 55 h 69"/>
              <a:gd name="T80" fmla="*/ 83 w 131"/>
              <a:gd name="T81" fmla="*/ 54 h 69"/>
              <a:gd name="T82" fmla="*/ 89 w 131"/>
              <a:gd name="T83" fmla="*/ 51 h 69"/>
              <a:gd name="T84" fmla="*/ 91 w 131"/>
              <a:gd name="T85" fmla="*/ 44 h 69"/>
              <a:gd name="T86" fmla="*/ 98 w 131"/>
              <a:gd name="T87" fmla="*/ 42 h 69"/>
              <a:gd name="T88" fmla="*/ 103 w 131"/>
              <a:gd name="T89" fmla="*/ 42 h 69"/>
              <a:gd name="T90" fmla="*/ 108 w 131"/>
              <a:gd name="T91" fmla="*/ 40 h 69"/>
              <a:gd name="T92" fmla="*/ 112 w 131"/>
              <a:gd name="T93" fmla="*/ 34 h 69"/>
              <a:gd name="T94" fmla="*/ 117 w 131"/>
              <a:gd name="T95" fmla="*/ 31 h 69"/>
              <a:gd name="T96" fmla="*/ 120 w 131"/>
              <a:gd name="T97" fmla="*/ 28 h 69"/>
              <a:gd name="T98" fmla="*/ 125 w 131"/>
              <a:gd name="T99" fmla="*/ 28 h 69"/>
              <a:gd name="T100" fmla="*/ 128 w 131"/>
              <a:gd name="T101" fmla="*/ 24 h 69"/>
              <a:gd name="T102" fmla="*/ 131 w 131"/>
              <a:gd name="T103" fmla="*/ 2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69">
                <a:moveTo>
                  <a:pt x="129" y="18"/>
                </a:moveTo>
                <a:cubicBezTo>
                  <a:pt x="129" y="18"/>
                  <a:pt x="126" y="17"/>
                  <a:pt x="125" y="17"/>
                </a:cubicBezTo>
                <a:cubicBezTo>
                  <a:pt x="124" y="17"/>
                  <a:pt x="123" y="17"/>
                  <a:pt x="123" y="17"/>
                </a:cubicBezTo>
                <a:cubicBezTo>
                  <a:pt x="121" y="16"/>
                  <a:pt x="121" y="16"/>
                  <a:pt x="121" y="16"/>
                </a:cubicBezTo>
                <a:cubicBezTo>
                  <a:pt x="121" y="16"/>
                  <a:pt x="119" y="14"/>
                  <a:pt x="119" y="13"/>
                </a:cubicBezTo>
                <a:cubicBezTo>
                  <a:pt x="119" y="13"/>
                  <a:pt x="118" y="12"/>
                  <a:pt x="117" y="11"/>
                </a:cubicBezTo>
                <a:cubicBezTo>
                  <a:pt x="116" y="11"/>
                  <a:pt x="115" y="11"/>
                  <a:pt x="114" y="10"/>
                </a:cubicBezTo>
                <a:cubicBezTo>
                  <a:pt x="114" y="9"/>
                  <a:pt x="114" y="9"/>
                  <a:pt x="113" y="9"/>
                </a:cubicBezTo>
                <a:cubicBezTo>
                  <a:pt x="112" y="9"/>
                  <a:pt x="110" y="9"/>
                  <a:pt x="110" y="9"/>
                </a:cubicBezTo>
                <a:cubicBezTo>
                  <a:pt x="110" y="9"/>
                  <a:pt x="108" y="8"/>
                  <a:pt x="108" y="8"/>
                </a:cubicBezTo>
                <a:cubicBezTo>
                  <a:pt x="107" y="8"/>
                  <a:pt x="106" y="8"/>
                  <a:pt x="105" y="8"/>
                </a:cubicBezTo>
                <a:cubicBezTo>
                  <a:pt x="104" y="8"/>
                  <a:pt x="103" y="8"/>
                  <a:pt x="102" y="8"/>
                </a:cubicBezTo>
                <a:cubicBezTo>
                  <a:pt x="102" y="8"/>
                  <a:pt x="99" y="9"/>
                  <a:pt x="98" y="8"/>
                </a:cubicBezTo>
                <a:cubicBezTo>
                  <a:pt x="96" y="8"/>
                  <a:pt x="95" y="9"/>
                  <a:pt x="93" y="9"/>
                </a:cubicBezTo>
                <a:cubicBezTo>
                  <a:pt x="92" y="9"/>
                  <a:pt x="90" y="9"/>
                  <a:pt x="89" y="9"/>
                </a:cubicBezTo>
                <a:cubicBezTo>
                  <a:pt x="88" y="9"/>
                  <a:pt x="87" y="9"/>
                  <a:pt x="86" y="9"/>
                </a:cubicBezTo>
                <a:cubicBezTo>
                  <a:pt x="85" y="9"/>
                  <a:pt x="82" y="9"/>
                  <a:pt x="81" y="9"/>
                </a:cubicBezTo>
                <a:cubicBezTo>
                  <a:pt x="80" y="9"/>
                  <a:pt x="75" y="8"/>
                  <a:pt x="74" y="8"/>
                </a:cubicBezTo>
                <a:cubicBezTo>
                  <a:pt x="73" y="7"/>
                  <a:pt x="70" y="7"/>
                  <a:pt x="70" y="7"/>
                </a:cubicBezTo>
                <a:cubicBezTo>
                  <a:pt x="70" y="7"/>
                  <a:pt x="67" y="7"/>
                  <a:pt x="66" y="6"/>
                </a:cubicBezTo>
                <a:cubicBezTo>
                  <a:pt x="66" y="6"/>
                  <a:pt x="62" y="4"/>
                  <a:pt x="61" y="3"/>
                </a:cubicBezTo>
                <a:cubicBezTo>
                  <a:pt x="61" y="3"/>
                  <a:pt x="57" y="2"/>
                  <a:pt x="57" y="2"/>
                </a:cubicBezTo>
                <a:cubicBezTo>
                  <a:pt x="56" y="2"/>
                  <a:pt x="54" y="2"/>
                  <a:pt x="54" y="2"/>
                </a:cubicBezTo>
                <a:cubicBezTo>
                  <a:pt x="54" y="2"/>
                  <a:pt x="53" y="1"/>
                  <a:pt x="53" y="0"/>
                </a:cubicBezTo>
                <a:cubicBezTo>
                  <a:pt x="52" y="0"/>
                  <a:pt x="51" y="0"/>
                  <a:pt x="50" y="0"/>
                </a:cubicBezTo>
                <a:cubicBezTo>
                  <a:pt x="49" y="1"/>
                  <a:pt x="47" y="3"/>
                  <a:pt x="47" y="3"/>
                </a:cubicBezTo>
                <a:cubicBezTo>
                  <a:pt x="46" y="4"/>
                  <a:pt x="45" y="6"/>
                  <a:pt x="45" y="8"/>
                </a:cubicBezTo>
                <a:cubicBezTo>
                  <a:pt x="45" y="9"/>
                  <a:pt x="44" y="11"/>
                  <a:pt x="44" y="12"/>
                </a:cubicBezTo>
                <a:cubicBezTo>
                  <a:pt x="44" y="13"/>
                  <a:pt x="45" y="14"/>
                  <a:pt x="44" y="15"/>
                </a:cubicBezTo>
                <a:cubicBezTo>
                  <a:pt x="42" y="15"/>
                  <a:pt x="41" y="17"/>
                  <a:pt x="40" y="17"/>
                </a:cubicBezTo>
                <a:cubicBezTo>
                  <a:pt x="40" y="17"/>
                  <a:pt x="34" y="16"/>
                  <a:pt x="33" y="16"/>
                </a:cubicBezTo>
                <a:cubicBezTo>
                  <a:pt x="32" y="15"/>
                  <a:pt x="32" y="15"/>
                  <a:pt x="30" y="15"/>
                </a:cubicBezTo>
                <a:cubicBezTo>
                  <a:pt x="30" y="14"/>
                  <a:pt x="26" y="13"/>
                  <a:pt x="26" y="13"/>
                </a:cubicBezTo>
                <a:cubicBezTo>
                  <a:pt x="26" y="13"/>
                  <a:pt x="22" y="14"/>
                  <a:pt x="21" y="14"/>
                </a:cubicBezTo>
                <a:cubicBezTo>
                  <a:pt x="20" y="15"/>
                  <a:pt x="19" y="15"/>
                  <a:pt x="18" y="16"/>
                </a:cubicBezTo>
                <a:cubicBezTo>
                  <a:pt x="17" y="16"/>
                  <a:pt x="18" y="17"/>
                  <a:pt x="19" y="19"/>
                </a:cubicBezTo>
                <a:cubicBezTo>
                  <a:pt x="19" y="20"/>
                  <a:pt x="20" y="23"/>
                  <a:pt x="20" y="23"/>
                </a:cubicBezTo>
                <a:cubicBezTo>
                  <a:pt x="16" y="27"/>
                  <a:pt x="16" y="27"/>
                  <a:pt x="16" y="27"/>
                </a:cubicBezTo>
                <a:cubicBezTo>
                  <a:pt x="16" y="27"/>
                  <a:pt x="15" y="29"/>
                  <a:pt x="15" y="30"/>
                </a:cubicBezTo>
                <a:cubicBezTo>
                  <a:pt x="16" y="31"/>
                  <a:pt x="16" y="33"/>
                  <a:pt x="16" y="34"/>
                </a:cubicBezTo>
                <a:cubicBezTo>
                  <a:pt x="17" y="34"/>
                  <a:pt x="18" y="35"/>
                  <a:pt x="19" y="34"/>
                </a:cubicBezTo>
                <a:cubicBezTo>
                  <a:pt x="19" y="34"/>
                  <a:pt x="20" y="33"/>
                  <a:pt x="20" y="34"/>
                </a:cubicBezTo>
                <a:cubicBezTo>
                  <a:pt x="20" y="34"/>
                  <a:pt x="20" y="36"/>
                  <a:pt x="19" y="36"/>
                </a:cubicBezTo>
                <a:cubicBezTo>
                  <a:pt x="18" y="37"/>
                  <a:pt x="17" y="36"/>
                  <a:pt x="17" y="36"/>
                </a:cubicBezTo>
                <a:cubicBezTo>
                  <a:pt x="17" y="36"/>
                  <a:pt x="19" y="40"/>
                  <a:pt x="19" y="41"/>
                </a:cubicBezTo>
                <a:cubicBezTo>
                  <a:pt x="19" y="41"/>
                  <a:pt x="26" y="45"/>
                  <a:pt x="25" y="45"/>
                </a:cubicBezTo>
                <a:cubicBezTo>
                  <a:pt x="23" y="45"/>
                  <a:pt x="21" y="44"/>
                  <a:pt x="20" y="44"/>
                </a:cubicBezTo>
                <a:cubicBezTo>
                  <a:pt x="19" y="44"/>
                  <a:pt x="16" y="44"/>
                  <a:pt x="16" y="44"/>
                </a:cubicBezTo>
                <a:cubicBezTo>
                  <a:pt x="16" y="44"/>
                  <a:pt x="12" y="45"/>
                  <a:pt x="12" y="45"/>
                </a:cubicBezTo>
                <a:cubicBezTo>
                  <a:pt x="11" y="45"/>
                  <a:pt x="11" y="45"/>
                  <a:pt x="11" y="45"/>
                </a:cubicBezTo>
                <a:cubicBezTo>
                  <a:pt x="11" y="45"/>
                  <a:pt x="11" y="49"/>
                  <a:pt x="11" y="50"/>
                </a:cubicBezTo>
                <a:cubicBezTo>
                  <a:pt x="10" y="51"/>
                  <a:pt x="9" y="55"/>
                  <a:pt x="9" y="56"/>
                </a:cubicBezTo>
                <a:cubicBezTo>
                  <a:pt x="8" y="57"/>
                  <a:pt x="6" y="59"/>
                  <a:pt x="6" y="59"/>
                </a:cubicBezTo>
                <a:cubicBezTo>
                  <a:pt x="6" y="59"/>
                  <a:pt x="0" y="66"/>
                  <a:pt x="0" y="66"/>
                </a:cubicBezTo>
                <a:cubicBezTo>
                  <a:pt x="1" y="66"/>
                  <a:pt x="6" y="67"/>
                  <a:pt x="6" y="67"/>
                </a:cubicBezTo>
                <a:cubicBezTo>
                  <a:pt x="6" y="67"/>
                  <a:pt x="12" y="67"/>
                  <a:pt x="13" y="67"/>
                </a:cubicBezTo>
                <a:cubicBezTo>
                  <a:pt x="15" y="66"/>
                  <a:pt x="17" y="66"/>
                  <a:pt x="18" y="65"/>
                </a:cubicBezTo>
                <a:cubicBezTo>
                  <a:pt x="19" y="64"/>
                  <a:pt x="20" y="64"/>
                  <a:pt x="21" y="64"/>
                </a:cubicBezTo>
                <a:cubicBezTo>
                  <a:pt x="22" y="63"/>
                  <a:pt x="23" y="63"/>
                  <a:pt x="25" y="63"/>
                </a:cubicBezTo>
                <a:cubicBezTo>
                  <a:pt x="25" y="64"/>
                  <a:pt x="29" y="65"/>
                  <a:pt x="30" y="65"/>
                </a:cubicBezTo>
                <a:cubicBezTo>
                  <a:pt x="32" y="66"/>
                  <a:pt x="33" y="67"/>
                  <a:pt x="34" y="68"/>
                </a:cubicBezTo>
                <a:cubicBezTo>
                  <a:pt x="35" y="68"/>
                  <a:pt x="37" y="68"/>
                  <a:pt x="38" y="67"/>
                </a:cubicBezTo>
                <a:cubicBezTo>
                  <a:pt x="39" y="67"/>
                  <a:pt x="44" y="66"/>
                  <a:pt x="45" y="66"/>
                </a:cubicBezTo>
                <a:cubicBezTo>
                  <a:pt x="46" y="66"/>
                  <a:pt x="53" y="68"/>
                  <a:pt x="54" y="69"/>
                </a:cubicBezTo>
                <a:cubicBezTo>
                  <a:pt x="54" y="67"/>
                  <a:pt x="55" y="65"/>
                  <a:pt x="55" y="64"/>
                </a:cubicBezTo>
                <a:cubicBezTo>
                  <a:pt x="56" y="63"/>
                  <a:pt x="56" y="62"/>
                  <a:pt x="56" y="62"/>
                </a:cubicBezTo>
                <a:cubicBezTo>
                  <a:pt x="56" y="61"/>
                  <a:pt x="57" y="58"/>
                  <a:pt x="57" y="58"/>
                </a:cubicBezTo>
                <a:cubicBezTo>
                  <a:pt x="57" y="57"/>
                  <a:pt x="60" y="57"/>
                  <a:pt x="61" y="57"/>
                </a:cubicBezTo>
                <a:cubicBezTo>
                  <a:pt x="62" y="56"/>
                  <a:pt x="63" y="56"/>
                  <a:pt x="64" y="55"/>
                </a:cubicBezTo>
                <a:cubicBezTo>
                  <a:pt x="64" y="55"/>
                  <a:pt x="65" y="54"/>
                  <a:pt x="65" y="54"/>
                </a:cubicBezTo>
                <a:cubicBezTo>
                  <a:pt x="69" y="54"/>
                  <a:pt x="69" y="54"/>
                  <a:pt x="69" y="54"/>
                </a:cubicBezTo>
                <a:cubicBezTo>
                  <a:pt x="70" y="53"/>
                  <a:pt x="70" y="53"/>
                  <a:pt x="70" y="53"/>
                </a:cubicBezTo>
                <a:cubicBezTo>
                  <a:pt x="70" y="53"/>
                  <a:pt x="71" y="53"/>
                  <a:pt x="72" y="53"/>
                </a:cubicBezTo>
                <a:cubicBezTo>
                  <a:pt x="72" y="53"/>
                  <a:pt x="73" y="53"/>
                  <a:pt x="73" y="53"/>
                </a:cubicBezTo>
                <a:cubicBezTo>
                  <a:pt x="75" y="52"/>
                  <a:pt x="75" y="52"/>
                  <a:pt x="75" y="52"/>
                </a:cubicBezTo>
                <a:cubicBezTo>
                  <a:pt x="75" y="52"/>
                  <a:pt x="75" y="51"/>
                  <a:pt x="76" y="50"/>
                </a:cubicBezTo>
                <a:cubicBezTo>
                  <a:pt x="77" y="49"/>
                  <a:pt x="77" y="50"/>
                  <a:pt x="78" y="50"/>
                </a:cubicBezTo>
                <a:cubicBezTo>
                  <a:pt x="78" y="51"/>
                  <a:pt x="78" y="52"/>
                  <a:pt x="78" y="52"/>
                </a:cubicBezTo>
                <a:cubicBezTo>
                  <a:pt x="78" y="52"/>
                  <a:pt x="77" y="53"/>
                  <a:pt x="77" y="54"/>
                </a:cubicBezTo>
                <a:cubicBezTo>
                  <a:pt x="77" y="55"/>
                  <a:pt x="77" y="55"/>
                  <a:pt x="77" y="55"/>
                </a:cubicBezTo>
                <a:cubicBezTo>
                  <a:pt x="77" y="55"/>
                  <a:pt x="79" y="55"/>
                  <a:pt x="80" y="55"/>
                </a:cubicBezTo>
                <a:cubicBezTo>
                  <a:pt x="80" y="54"/>
                  <a:pt x="82" y="54"/>
                  <a:pt x="83" y="54"/>
                </a:cubicBezTo>
                <a:cubicBezTo>
                  <a:pt x="83" y="54"/>
                  <a:pt x="84" y="53"/>
                  <a:pt x="85" y="53"/>
                </a:cubicBezTo>
                <a:cubicBezTo>
                  <a:pt x="85" y="53"/>
                  <a:pt x="88" y="52"/>
                  <a:pt x="89" y="51"/>
                </a:cubicBezTo>
                <a:cubicBezTo>
                  <a:pt x="91" y="51"/>
                  <a:pt x="91" y="50"/>
                  <a:pt x="91" y="49"/>
                </a:cubicBezTo>
                <a:cubicBezTo>
                  <a:pt x="91" y="48"/>
                  <a:pt x="91" y="45"/>
                  <a:pt x="91" y="44"/>
                </a:cubicBezTo>
                <a:cubicBezTo>
                  <a:pt x="92" y="43"/>
                  <a:pt x="93" y="42"/>
                  <a:pt x="94" y="41"/>
                </a:cubicBezTo>
                <a:cubicBezTo>
                  <a:pt x="94" y="41"/>
                  <a:pt x="96" y="41"/>
                  <a:pt x="98" y="42"/>
                </a:cubicBezTo>
                <a:cubicBezTo>
                  <a:pt x="99" y="42"/>
                  <a:pt x="101" y="42"/>
                  <a:pt x="101" y="42"/>
                </a:cubicBezTo>
                <a:cubicBezTo>
                  <a:pt x="101" y="42"/>
                  <a:pt x="102" y="42"/>
                  <a:pt x="103" y="42"/>
                </a:cubicBezTo>
                <a:cubicBezTo>
                  <a:pt x="104" y="41"/>
                  <a:pt x="106" y="41"/>
                  <a:pt x="106" y="40"/>
                </a:cubicBezTo>
                <a:cubicBezTo>
                  <a:pt x="106" y="40"/>
                  <a:pt x="106" y="40"/>
                  <a:pt x="108" y="40"/>
                </a:cubicBezTo>
                <a:cubicBezTo>
                  <a:pt x="109" y="39"/>
                  <a:pt x="109" y="39"/>
                  <a:pt x="110" y="38"/>
                </a:cubicBezTo>
                <a:cubicBezTo>
                  <a:pt x="110" y="36"/>
                  <a:pt x="112" y="35"/>
                  <a:pt x="112" y="34"/>
                </a:cubicBezTo>
                <a:cubicBezTo>
                  <a:pt x="113" y="33"/>
                  <a:pt x="113" y="33"/>
                  <a:pt x="114" y="32"/>
                </a:cubicBezTo>
                <a:cubicBezTo>
                  <a:pt x="115" y="32"/>
                  <a:pt x="117" y="32"/>
                  <a:pt x="117" y="31"/>
                </a:cubicBezTo>
                <a:cubicBezTo>
                  <a:pt x="118" y="30"/>
                  <a:pt x="118" y="29"/>
                  <a:pt x="119" y="28"/>
                </a:cubicBezTo>
                <a:cubicBezTo>
                  <a:pt x="120" y="26"/>
                  <a:pt x="120" y="28"/>
                  <a:pt x="120" y="28"/>
                </a:cubicBezTo>
                <a:cubicBezTo>
                  <a:pt x="121" y="29"/>
                  <a:pt x="121" y="29"/>
                  <a:pt x="122" y="29"/>
                </a:cubicBezTo>
                <a:cubicBezTo>
                  <a:pt x="123" y="30"/>
                  <a:pt x="125" y="29"/>
                  <a:pt x="125" y="28"/>
                </a:cubicBezTo>
                <a:cubicBezTo>
                  <a:pt x="126" y="27"/>
                  <a:pt x="126" y="26"/>
                  <a:pt x="126" y="25"/>
                </a:cubicBezTo>
                <a:cubicBezTo>
                  <a:pt x="127" y="25"/>
                  <a:pt x="127" y="25"/>
                  <a:pt x="128" y="24"/>
                </a:cubicBezTo>
                <a:cubicBezTo>
                  <a:pt x="129" y="24"/>
                  <a:pt x="130" y="24"/>
                  <a:pt x="131" y="23"/>
                </a:cubicBezTo>
                <a:cubicBezTo>
                  <a:pt x="131" y="23"/>
                  <a:pt x="131" y="22"/>
                  <a:pt x="131" y="21"/>
                </a:cubicBezTo>
                <a:cubicBezTo>
                  <a:pt x="131" y="21"/>
                  <a:pt x="130" y="19"/>
                  <a:pt x="129" y="18"/>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3" name="Tajikistan"/>
          <p:cNvSpPr>
            <a:spLocks/>
          </p:cNvSpPr>
          <p:nvPr/>
        </p:nvSpPr>
        <p:spPr bwMode="auto">
          <a:xfrm>
            <a:off x="7943700" y="2710090"/>
            <a:ext cx="200883" cy="143721"/>
          </a:xfrm>
          <a:custGeom>
            <a:avLst/>
            <a:gdLst>
              <a:gd name="T0" fmla="*/ 21 w 98"/>
              <a:gd name="T1" fmla="*/ 5 h 70"/>
              <a:gd name="T2" fmla="*/ 26 w 98"/>
              <a:gd name="T3" fmla="*/ 3 h 70"/>
              <a:gd name="T4" fmla="*/ 30 w 98"/>
              <a:gd name="T5" fmla="*/ 0 h 70"/>
              <a:gd name="T6" fmla="*/ 29 w 98"/>
              <a:gd name="T7" fmla="*/ 11 h 70"/>
              <a:gd name="T8" fmla="*/ 20 w 98"/>
              <a:gd name="T9" fmla="*/ 21 h 70"/>
              <a:gd name="T10" fmla="*/ 33 w 98"/>
              <a:gd name="T11" fmla="*/ 22 h 70"/>
              <a:gd name="T12" fmla="*/ 41 w 98"/>
              <a:gd name="T13" fmla="*/ 19 h 70"/>
              <a:gd name="T14" fmla="*/ 50 w 98"/>
              <a:gd name="T15" fmla="*/ 20 h 70"/>
              <a:gd name="T16" fmla="*/ 58 w 98"/>
              <a:gd name="T17" fmla="*/ 22 h 70"/>
              <a:gd name="T18" fmla="*/ 74 w 98"/>
              <a:gd name="T19" fmla="*/ 24 h 70"/>
              <a:gd name="T20" fmla="*/ 76 w 98"/>
              <a:gd name="T21" fmla="*/ 27 h 70"/>
              <a:gd name="T22" fmla="*/ 79 w 98"/>
              <a:gd name="T23" fmla="*/ 31 h 70"/>
              <a:gd name="T24" fmla="*/ 78 w 98"/>
              <a:gd name="T25" fmla="*/ 37 h 70"/>
              <a:gd name="T26" fmla="*/ 82 w 98"/>
              <a:gd name="T27" fmla="*/ 37 h 70"/>
              <a:gd name="T28" fmla="*/ 90 w 98"/>
              <a:gd name="T29" fmla="*/ 36 h 70"/>
              <a:gd name="T30" fmla="*/ 92 w 98"/>
              <a:gd name="T31" fmla="*/ 43 h 70"/>
              <a:gd name="T32" fmla="*/ 95 w 98"/>
              <a:gd name="T33" fmla="*/ 49 h 70"/>
              <a:gd name="T34" fmla="*/ 98 w 98"/>
              <a:gd name="T35" fmla="*/ 54 h 70"/>
              <a:gd name="T36" fmla="*/ 96 w 98"/>
              <a:gd name="T37" fmla="*/ 58 h 70"/>
              <a:gd name="T38" fmla="*/ 93 w 98"/>
              <a:gd name="T39" fmla="*/ 60 h 70"/>
              <a:gd name="T40" fmla="*/ 85 w 98"/>
              <a:gd name="T41" fmla="*/ 61 h 70"/>
              <a:gd name="T42" fmla="*/ 76 w 98"/>
              <a:gd name="T43" fmla="*/ 61 h 70"/>
              <a:gd name="T44" fmla="*/ 68 w 98"/>
              <a:gd name="T45" fmla="*/ 64 h 70"/>
              <a:gd name="T46" fmla="*/ 60 w 98"/>
              <a:gd name="T47" fmla="*/ 66 h 70"/>
              <a:gd name="T48" fmla="*/ 54 w 98"/>
              <a:gd name="T49" fmla="*/ 70 h 70"/>
              <a:gd name="T50" fmla="*/ 50 w 98"/>
              <a:gd name="T51" fmla="*/ 59 h 70"/>
              <a:gd name="T52" fmla="*/ 47 w 98"/>
              <a:gd name="T53" fmla="*/ 48 h 70"/>
              <a:gd name="T54" fmla="*/ 40 w 98"/>
              <a:gd name="T55" fmla="*/ 42 h 70"/>
              <a:gd name="T56" fmla="*/ 37 w 98"/>
              <a:gd name="T57" fmla="*/ 53 h 70"/>
              <a:gd name="T58" fmla="*/ 24 w 98"/>
              <a:gd name="T59" fmla="*/ 53 h 70"/>
              <a:gd name="T60" fmla="*/ 17 w 98"/>
              <a:gd name="T61" fmla="*/ 54 h 70"/>
              <a:gd name="T62" fmla="*/ 13 w 98"/>
              <a:gd name="T63" fmla="*/ 66 h 70"/>
              <a:gd name="T64" fmla="*/ 5 w 98"/>
              <a:gd name="T65" fmla="*/ 61 h 70"/>
              <a:gd name="T66" fmla="*/ 7 w 98"/>
              <a:gd name="T67" fmla="*/ 53 h 70"/>
              <a:gd name="T68" fmla="*/ 8 w 98"/>
              <a:gd name="T69" fmla="*/ 51 h 70"/>
              <a:gd name="T70" fmla="*/ 11 w 98"/>
              <a:gd name="T71" fmla="*/ 42 h 70"/>
              <a:gd name="T72" fmla="*/ 8 w 98"/>
              <a:gd name="T73" fmla="*/ 35 h 70"/>
              <a:gd name="T74" fmla="*/ 5 w 98"/>
              <a:gd name="T75" fmla="*/ 33 h 70"/>
              <a:gd name="T76" fmla="*/ 0 w 98"/>
              <a:gd name="T77" fmla="*/ 30 h 70"/>
              <a:gd name="T78" fmla="*/ 2 w 98"/>
              <a:gd name="T79" fmla="*/ 23 h 70"/>
              <a:gd name="T80" fmla="*/ 7 w 98"/>
              <a:gd name="T81" fmla="*/ 21 h 70"/>
              <a:gd name="T82" fmla="*/ 13 w 98"/>
              <a:gd name="T83" fmla="*/ 17 h 70"/>
              <a:gd name="T84" fmla="*/ 12 w 98"/>
              <a:gd name="T85" fmla="*/ 12 h 70"/>
              <a:gd name="T86" fmla="*/ 16 w 98"/>
              <a:gd name="T87" fmla="*/ 10 h 70"/>
              <a:gd name="T88" fmla="*/ 22 w 98"/>
              <a:gd name="T89"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70">
                <a:moveTo>
                  <a:pt x="21" y="5"/>
                </a:moveTo>
                <a:cubicBezTo>
                  <a:pt x="21" y="5"/>
                  <a:pt x="21" y="5"/>
                  <a:pt x="21" y="5"/>
                </a:cubicBezTo>
                <a:cubicBezTo>
                  <a:pt x="21" y="5"/>
                  <a:pt x="24" y="5"/>
                  <a:pt x="25" y="4"/>
                </a:cubicBezTo>
                <a:cubicBezTo>
                  <a:pt x="26" y="4"/>
                  <a:pt x="26" y="4"/>
                  <a:pt x="26" y="3"/>
                </a:cubicBezTo>
                <a:cubicBezTo>
                  <a:pt x="27" y="3"/>
                  <a:pt x="28" y="1"/>
                  <a:pt x="29" y="1"/>
                </a:cubicBezTo>
                <a:cubicBezTo>
                  <a:pt x="29" y="1"/>
                  <a:pt x="30" y="0"/>
                  <a:pt x="30" y="0"/>
                </a:cubicBezTo>
                <a:cubicBezTo>
                  <a:pt x="31" y="0"/>
                  <a:pt x="31" y="4"/>
                  <a:pt x="31" y="5"/>
                </a:cubicBezTo>
                <a:cubicBezTo>
                  <a:pt x="30" y="6"/>
                  <a:pt x="29" y="10"/>
                  <a:pt x="29" y="11"/>
                </a:cubicBezTo>
                <a:cubicBezTo>
                  <a:pt x="28" y="12"/>
                  <a:pt x="26" y="14"/>
                  <a:pt x="26" y="14"/>
                </a:cubicBezTo>
                <a:cubicBezTo>
                  <a:pt x="26" y="14"/>
                  <a:pt x="20" y="21"/>
                  <a:pt x="20" y="21"/>
                </a:cubicBezTo>
                <a:cubicBezTo>
                  <a:pt x="21" y="21"/>
                  <a:pt x="26" y="22"/>
                  <a:pt x="26" y="22"/>
                </a:cubicBezTo>
                <a:cubicBezTo>
                  <a:pt x="26" y="22"/>
                  <a:pt x="32" y="22"/>
                  <a:pt x="33" y="22"/>
                </a:cubicBezTo>
                <a:cubicBezTo>
                  <a:pt x="35" y="21"/>
                  <a:pt x="37" y="21"/>
                  <a:pt x="38" y="20"/>
                </a:cubicBezTo>
                <a:cubicBezTo>
                  <a:pt x="39" y="19"/>
                  <a:pt x="40" y="19"/>
                  <a:pt x="41" y="19"/>
                </a:cubicBezTo>
                <a:cubicBezTo>
                  <a:pt x="42" y="18"/>
                  <a:pt x="43" y="18"/>
                  <a:pt x="45" y="18"/>
                </a:cubicBezTo>
                <a:cubicBezTo>
                  <a:pt x="45" y="19"/>
                  <a:pt x="49" y="20"/>
                  <a:pt x="50" y="20"/>
                </a:cubicBezTo>
                <a:cubicBezTo>
                  <a:pt x="52" y="21"/>
                  <a:pt x="53" y="22"/>
                  <a:pt x="54" y="23"/>
                </a:cubicBezTo>
                <a:cubicBezTo>
                  <a:pt x="55" y="23"/>
                  <a:pt x="57" y="23"/>
                  <a:pt x="58" y="22"/>
                </a:cubicBezTo>
                <a:cubicBezTo>
                  <a:pt x="59" y="22"/>
                  <a:pt x="64" y="21"/>
                  <a:pt x="65" y="21"/>
                </a:cubicBezTo>
                <a:cubicBezTo>
                  <a:pt x="66" y="21"/>
                  <a:pt x="73" y="23"/>
                  <a:pt x="74" y="24"/>
                </a:cubicBezTo>
                <a:cubicBezTo>
                  <a:pt x="74" y="24"/>
                  <a:pt x="75" y="25"/>
                  <a:pt x="75" y="25"/>
                </a:cubicBezTo>
                <a:cubicBezTo>
                  <a:pt x="75" y="26"/>
                  <a:pt x="76" y="27"/>
                  <a:pt x="76" y="27"/>
                </a:cubicBezTo>
                <a:cubicBezTo>
                  <a:pt x="78" y="29"/>
                  <a:pt x="78" y="29"/>
                  <a:pt x="78" y="29"/>
                </a:cubicBezTo>
                <a:cubicBezTo>
                  <a:pt x="78" y="29"/>
                  <a:pt x="79" y="30"/>
                  <a:pt x="79" y="31"/>
                </a:cubicBezTo>
                <a:cubicBezTo>
                  <a:pt x="78" y="32"/>
                  <a:pt x="77" y="33"/>
                  <a:pt x="77" y="35"/>
                </a:cubicBezTo>
                <a:cubicBezTo>
                  <a:pt x="77" y="36"/>
                  <a:pt x="78" y="36"/>
                  <a:pt x="78" y="37"/>
                </a:cubicBezTo>
                <a:cubicBezTo>
                  <a:pt x="79" y="38"/>
                  <a:pt x="79" y="39"/>
                  <a:pt x="80" y="39"/>
                </a:cubicBezTo>
                <a:cubicBezTo>
                  <a:pt x="81" y="39"/>
                  <a:pt x="81" y="38"/>
                  <a:pt x="82" y="37"/>
                </a:cubicBezTo>
                <a:cubicBezTo>
                  <a:pt x="83" y="36"/>
                  <a:pt x="84" y="35"/>
                  <a:pt x="86" y="35"/>
                </a:cubicBezTo>
                <a:cubicBezTo>
                  <a:pt x="87" y="35"/>
                  <a:pt x="89" y="36"/>
                  <a:pt x="90" y="36"/>
                </a:cubicBezTo>
                <a:cubicBezTo>
                  <a:pt x="91" y="37"/>
                  <a:pt x="91" y="39"/>
                  <a:pt x="91" y="40"/>
                </a:cubicBezTo>
                <a:cubicBezTo>
                  <a:pt x="91" y="41"/>
                  <a:pt x="91" y="42"/>
                  <a:pt x="92" y="43"/>
                </a:cubicBezTo>
                <a:cubicBezTo>
                  <a:pt x="93" y="44"/>
                  <a:pt x="93" y="44"/>
                  <a:pt x="94" y="45"/>
                </a:cubicBezTo>
                <a:cubicBezTo>
                  <a:pt x="95" y="47"/>
                  <a:pt x="95" y="48"/>
                  <a:pt x="95" y="49"/>
                </a:cubicBezTo>
                <a:cubicBezTo>
                  <a:pt x="95" y="50"/>
                  <a:pt x="94" y="50"/>
                  <a:pt x="95" y="52"/>
                </a:cubicBezTo>
                <a:cubicBezTo>
                  <a:pt x="96" y="54"/>
                  <a:pt x="98" y="54"/>
                  <a:pt x="98" y="54"/>
                </a:cubicBezTo>
                <a:cubicBezTo>
                  <a:pt x="98" y="56"/>
                  <a:pt x="98" y="56"/>
                  <a:pt x="98" y="56"/>
                </a:cubicBezTo>
                <a:cubicBezTo>
                  <a:pt x="98" y="56"/>
                  <a:pt x="96" y="57"/>
                  <a:pt x="96" y="58"/>
                </a:cubicBezTo>
                <a:cubicBezTo>
                  <a:pt x="95" y="58"/>
                  <a:pt x="95" y="59"/>
                  <a:pt x="95" y="59"/>
                </a:cubicBezTo>
                <a:cubicBezTo>
                  <a:pt x="95" y="59"/>
                  <a:pt x="94" y="60"/>
                  <a:pt x="93" y="60"/>
                </a:cubicBezTo>
                <a:cubicBezTo>
                  <a:pt x="92" y="60"/>
                  <a:pt x="90" y="60"/>
                  <a:pt x="89" y="60"/>
                </a:cubicBezTo>
                <a:cubicBezTo>
                  <a:pt x="89" y="60"/>
                  <a:pt x="86" y="61"/>
                  <a:pt x="85" y="61"/>
                </a:cubicBezTo>
                <a:cubicBezTo>
                  <a:pt x="84" y="61"/>
                  <a:pt x="81" y="62"/>
                  <a:pt x="80" y="62"/>
                </a:cubicBezTo>
                <a:cubicBezTo>
                  <a:pt x="79" y="62"/>
                  <a:pt x="77" y="61"/>
                  <a:pt x="76" y="61"/>
                </a:cubicBezTo>
                <a:cubicBezTo>
                  <a:pt x="75" y="61"/>
                  <a:pt x="72" y="61"/>
                  <a:pt x="71" y="62"/>
                </a:cubicBezTo>
                <a:cubicBezTo>
                  <a:pt x="71" y="62"/>
                  <a:pt x="69" y="64"/>
                  <a:pt x="68" y="64"/>
                </a:cubicBezTo>
                <a:cubicBezTo>
                  <a:pt x="67" y="65"/>
                  <a:pt x="65" y="65"/>
                  <a:pt x="64" y="65"/>
                </a:cubicBezTo>
                <a:cubicBezTo>
                  <a:pt x="64" y="65"/>
                  <a:pt x="61" y="65"/>
                  <a:pt x="60" y="66"/>
                </a:cubicBezTo>
                <a:cubicBezTo>
                  <a:pt x="60" y="66"/>
                  <a:pt x="57" y="69"/>
                  <a:pt x="57" y="69"/>
                </a:cubicBezTo>
                <a:cubicBezTo>
                  <a:pt x="57" y="69"/>
                  <a:pt x="54" y="70"/>
                  <a:pt x="54" y="70"/>
                </a:cubicBezTo>
                <a:cubicBezTo>
                  <a:pt x="53" y="69"/>
                  <a:pt x="52" y="68"/>
                  <a:pt x="51" y="67"/>
                </a:cubicBezTo>
                <a:cubicBezTo>
                  <a:pt x="51" y="66"/>
                  <a:pt x="50" y="61"/>
                  <a:pt x="50" y="59"/>
                </a:cubicBezTo>
                <a:cubicBezTo>
                  <a:pt x="50" y="58"/>
                  <a:pt x="49" y="54"/>
                  <a:pt x="49" y="52"/>
                </a:cubicBezTo>
                <a:cubicBezTo>
                  <a:pt x="49" y="51"/>
                  <a:pt x="47" y="48"/>
                  <a:pt x="47" y="48"/>
                </a:cubicBezTo>
                <a:cubicBezTo>
                  <a:pt x="47" y="47"/>
                  <a:pt x="45" y="45"/>
                  <a:pt x="45" y="44"/>
                </a:cubicBezTo>
                <a:cubicBezTo>
                  <a:pt x="44" y="44"/>
                  <a:pt x="41" y="42"/>
                  <a:pt x="40" y="42"/>
                </a:cubicBezTo>
                <a:cubicBezTo>
                  <a:pt x="39" y="42"/>
                  <a:pt x="37" y="41"/>
                  <a:pt x="37" y="42"/>
                </a:cubicBezTo>
                <a:cubicBezTo>
                  <a:pt x="37" y="43"/>
                  <a:pt x="39" y="52"/>
                  <a:pt x="37" y="53"/>
                </a:cubicBezTo>
                <a:cubicBezTo>
                  <a:pt x="35" y="54"/>
                  <a:pt x="32" y="54"/>
                  <a:pt x="31" y="54"/>
                </a:cubicBezTo>
                <a:cubicBezTo>
                  <a:pt x="29" y="53"/>
                  <a:pt x="25" y="53"/>
                  <a:pt x="24" y="53"/>
                </a:cubicBezTo>
                <a:cubicBezTo>
                  <a:pt x="24" y="53"/>
                  <a:pt x="23" y="52"/>
                  <a:pt x="21" y="52"/>
                </a:cubicBezTo>
                <a:cubicBezTo>
                  <a:pt x="18" y="51"/>
                  <a:pt x="18" y="53"/>
                  <a:pt x="17" y="54"/>
                </a:cubicBezTo>
                <a:cubicBezTo>
                  <a:pt x="17" y="55"/>
                  <a:pt x="16" y="60"/>
                  <a:pt x="16" y="61"/>
                </a:cubicBezTo>
                <a:cubicBezTo>
                  <a:pt x="16" y="62"/>
                  <a:pt x="14" y="66"/>
                  <a:pt x="13" y="66"/>
                </a:cubicBezTo>
                <a:cubicBezTo>
                  <a:pt x="12" y="66"/>
                  <a:pt x="9" y="66"/>
                  <a:pt x="8" y="66"/>
                </a:cubicBezTo>
                <a:cubicBezTo>
                  <a:pt x="8" y="65"/>
                  <a:pt x="5" y="62"/>
                  <a:pt x="5" y="61"/>
                </a:cubicBezTo>
                <a:cubicBezTo>
                  <a:pt x="5" y="61"/>
                  <a:pt x="4" y="59"/>
                  <a:pt x="4" y="59"/>
                </a:cubicBezTo>
                <a:cubicBezTo>
                  <a:pt x="7" y="53"/>
                  <a:pt x="7" y="53"/>
                  <a:pt x="7" y="53"/>
                </a:cubicBezTo>
                <a:cubicBezTo>
                  <a:pt x="7" y="53"/>
                  <a:pt x="8" y="53"/>
                  <a:pt x="8" y="52"/>
                </a:cubicBezTo>
                <a:cubicBezTo>
                  <a:pt x="8" y="52"/>
                  <a:pt x="8" y="51"/>
                  <a:pt x="8" y="51"/>
                </a:cubicBezTo>
                <a:cubicBezTo>
                  <a:pt x="8" y="51"/>
                  <a:pt x="11" y="50"/>
                  <a:pt x="11" y="50"/>
                </a:cubicBezTo>
                <a:cubicBezTo>
                  <a:pt x="11" y="49"/>
                  <a:pt x="11" y="42"/>
                  <a:pt x="11" y="42"/>
                </a:cubicBezTo>
                <a:cubicBezTo>
                  <a:pt x="11" y="42"/>
                  <a:pt x="9" y="40"/>
                  <a:pt x="8" y="39"/>
                </a:cubicBezTo>
                <a:cubicBezTo>
                  <a:pt x="8" y="38"/>
                  <a:pt x="8" y="35"/>
                  <a:pt x="8" y="35"/>
                </a:cubicBezTo>
                <a:cubicBezTo>
                  <a:pt x="6" y="34"/>
                  <a:pt x="6" y="34"/>
                  <a:pt x="6" y="34"/>
                </a:cubicBezTo>
                <a:cubicBezTo>
                  <a:pt x="5" y="33"/>
                  <a:pt x="5" y="33"/>
                  <a:pt x="5" y="33"/>
                </a:cubicBezTo>
                <a:cubicBezTo>
                  <a:pt x="2" y="32"/>
                  <a:pt x="2" y="32"/>
                  <a:pt x="2" y="32"/>
                </a:cubicBezTo>
                <a:cubicBezTo>
                  <a:pt x="0" y="30"/>
                  <a:pt x="0" y="30"/>
                  <a:pt x="0" y="30"/>
                </a:cubicBezTo>
                <a:cubicBezTo>
                  <a:pt x="0" y="24"/>
                  <a:pt x="0" y="24"/>
                  <a:pt x="0" y="24"/>
                </a:cubicBezTo>
                <a:cubicBezTo>
                  <a:pt x="0" y="24"/>
                  <a:pt x="0" y="23"/>
                  <a:pt x="2" y="23"/>
                </a:cubicBezTo>
                <a:cubicBezTo>
                  <a:pt x="3" y="23"/>
                  <a:pt x="3" y="22"/>
                  <a:pt x="4" y="22"/>
                </a:cubicBezTo>
                <a:cubicBezTo>
                  <a:pt x="5" y="21"/>
                  <a:pt x="6" y="22"/>
                  <a:pt x="7" y="21"/>
                </a:cubicBezTo>
                <a:cubicBezTo>
                  <a:pt x="7" y="21"/>
                  <a:pt x="9" y="20"/>
                  <a:pt x="9" y="20"/>
                </a:cubicBezTo>
                <a:cubicBezTo>
                  <a:pt x="10" y="20"/>
                  <a:pt x="13" y="19"/>
                  <a:pt x="13" y="17"/>
                </a:cubicBezTo>
                <a:cubicBezTo>
                  <a:pt x="13" y="16"/>
                  <a:pt x="11" y="15"/>
                  <a:pt x="11" y="14"/>
                </a:cubicBezTo>
                <a:cubicBezTo>
                  <a:pt x="11" y="13"/>
                  <a:pt x="12" y="12"/>
                  <a:pt x="12" y="12"/>
                </a:cubicBezTo>
                <a:cubicBezTo>
                  <a:pt x="12" y="12"/>
                  <a:pt x="14" y="12"/>
                  <a:pt x="15" y="11"/>
                </a:cubicBezTo>
                <a:cubicBezTo>
                  <a:pt x="16" y="11"/>
                  <a:pt x="16" y="10"/>
                  <a:pt x="16" y="10"/>
                </a:cubicBezTo>
                <a:cubicBezTo>
                  <a:pt x="16" y="10"/>
                  <a:pt x="18" y="10"/>
                  <a:pt x="20" y="9"/>
                </a:cubicBezTo>
                <a:cubicBezTo>
                  <a:pt x="21" y="9"/>
                  <a:pt x="22" y="7"/>
                  <a:pt x="22" y="7"/>
                </a:cubicBezTo>
                <a:lnTo>
                  <a:pt x="21" y="5"/>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4" name="Iraq"/>
          <p:cNvSpPr>
            <a:spLocks/>
          </p:cNvSpPr>
          <p:nvPr/>
        </p:nvSpPr>
        <p:spPr bwMode="auto">
          <a:xfrm>
            <a:off x="7207131" y="2830946"/>
            <a:ext cx="279276" cy="292341"/>
          </a:xfrm>
          <a:custGeom>
            <a:avLst/>
            <a:gdLst>
              <a:gd name="T0" fmla="*/ 57 w 136"/>
              <a:gd name="T1" fmla="*/ 2 h 142"/>
              <a:gd name="T2" fmla="*/ 47 w 136"/>
              <a:gd name="T3" fmla="*/ 0 h 142"/>
              <a:gd name="T4" fmla="*/ 46 w 136"/>
              <a:gd name="T5" fmla="*/ 4 h 142"/>
              <a:gd name="T6" fmla="*/ 34 w 136"/>
              <a:gd name="T7" fmla="*/ 37 h 142"/>
              <a:gd name="T8" fmla="*/ 25 w 136"/>
              <a:gd name="T9" fmla="*/ 52 h 142"/>
              <a:gd name="T10" fmla="*/ 11 w 136"/>
              <a:gd name="T11" fmla="*/ 61 h 142"/>
              <a:gd name="T12" fmla="*/ 1 w 136"/>
              <a:gd name="T13" fmla="*/ 72 h 142"/>
              <a:gd name="T14" fmla="*/ 3 w 136"/>
              <a:gd name="T15" fmla="*/ 83 h 142"/>
              <a:gd name="T16" fmla="*/ 11 w 136"/>
              <a:gd name="T17" fmla="*/ 90 h 142"/>
              <a:gd name="T18" fmla="*/ 27 w 136"/>
              <a:gd name="T19" fmla="*/ 99 h 142"/>
              <a:gd name="T20" fmla="*/ 44 w 136"/>
              <a:gd name="T21" fmla="*/ 106 h 142"/>
              <a:gd name="T22" fmla="*/ 53 w 136"/>
              <a:gd name="T23" fmla="*/ 114 h 142"/>
              <a:gd name="T24" fmla="*/ 58 w 136"/>
              <a:gd name="T25" fmla="*/ 125 h 142"/>
              <a:gd name="T26" fmla="*/ 79 w 136"/>
              <a:gd name="T27" fmla="*/ 140 h 142"/>
              <a:gd name="T28" fmla="*/ 89 w 136"/>
              <a:gd name="T29" fmla="*/ 140 h 142"/>
              <a:gd name="T30" fmla="*/ 102 w 136"/>
              <a:gd name="T31" fmla="*/ 141 h 142"/>
              <a:gd name="T32" fmla="*/ 107 w 136"/>
              <a:gd name="T33" fmla="*/ 142 h 142"/>
              <a:gd name="T34" fmla="*/ 113 w 136"/>
              <a:gd name="T35" fmla="*/ 133 h 142"/>
              <a:gd name="T36" fmla="*/ 124 w 136"/>
              <a:gd name="T37" fmla="*/ 127 h 142"/>
              <a:gd name="T38" fmla="*/ 134 w 136"/>
              <a:gd name="T39" fmla="*/ 128 h 142"/>
              <a:gd name="T40" fmla="*/ 133 w 136"/>
              <a:gd name="T41" fmla="*/ 126 h 142"/>
              <a:gd name="T42" fmla="*/ 132 w 136"/>
              <a:gd name="T43" fmla="*/ 124 h 142"/>
              <a:gd name="T44" fmla="*/ 130 w 136"/>
              <a:gd name="T45" fmla="*/ 118 h 142"/>
              <a:gd name="T46" fmla="*/ 124 w 136"/>
              <a:gd name="T47" fmla="*/ 110 h 142"/>
              <a:gd name="T48" fmla="*/ 121 w 136"/>
              <a:gd name="T49" fmla="*/ 100 h 142"/>
              <a:gd name="T50" fmla="*/ 116 w 136"/>
              <a:gd name="T51" fmla="*/ 88 h 142"/>
              <a:gd name="T52" fmla="*/ 110 w 136"/>
              <a:gd name="T53" fmla="*/ 82 h 142"/>
              <a:gd name="T54" fmla="*/ 103 w 136"/>
              <a:gd name="T55" fmla="*/ 80 h 142"/>
              <a:gd name="T56" fmla="*/ 98 w 136"/>
              <a:gd name="T57" fmla="*/ 79 h 142"/>
              <a:gd name="T58" fmla="*/ 93 w 136"/>
              <a:gd name="T59" fmla="*/ 77 h 142"/>
              <a:gd name="T60" fmla="*/ 89 w 136"/>
              <a:gd name="T61" fmla="*/ 61 h 142"/>
              <a:gd name="T62" fmla="*/ 93 w 136"/>
              <a:gd name="T63" fmla="*/ 49 h 142"/>
              <a:gd name="T64" fmla="*/ 90 w 136"/>
              <a:gd name="T65" fmla="*/ 39 h 142"/>
              <a:gd name="T66" fmla="*/ 89 w 136"/>
              <a:gd name="T67" fmla="*/ 31 h 142"/>
              <a:gd name="T68" fmla="*/ 82 w 136"/>
              <a:gd name="T69" fmla="*/ 25 h 142"/>
              <a:gd name="T70" fmla="*/ 74 w 136"/>
              <a:gd name="T71" fmla="*/ 19 h 142"/>
              <a:gd name="T72" fmla="*/ 71 w 136"/>
              <a:gd name="T73" fmla="*/ 9 h 142"/>
              <a:gd name="T74" fmla="*/ 69 w 136"/>
              <a:gd name="T75" fmla="*/ 1 h 142"/>
              <a:gd name="T76" fmla="*/ 61 w 136"/>
              <a:gd name="T77"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42">
                <a:moveTo>
                  <a:pt x="61" y="1"/>
                </a:moveTo>
                <a:cubicBezTo>
                  <a:pt x="60" y="2"/>
                  <a:pt x="57" y="2"/>
                  <a:pt x="57" y="2"/>
                </a:cubicBezTo>
                <a:cubicBezTo>
                  <a:pt x="57" y="2"/>
                  <a:pt x="53" y="1"/>
                  <a:pt x="52" y="1"/>
                </a:cubicBezTo>
                <a:cubicBezTo>
                  <a:pt x="51" y="1"/>
                  <a:pt x="47" y="0"/>
                  <a:pt x="47" y="0"/>
                </a:cubicBezTo>
                <a:cubicBezTo>
                  <a:pt x="47" y="0"/>
                  <a:pt x="47" y="0"/>
                  <a:pt x="46" y="0"/>
                </a:cubicBezTo>
                <a:cubicBezTo>
                  <a:pt x="46" y="4"/>
                  <a:pt x="46" y="4"/>
                  <a:pt x="46" y="4"/>
                </a:cubicBezTo>
                <a:cubicBezTo>
                  <a:pt x="46" y="4"/>
                  <a:pt x="34" y="22"/>
                  <a:pt x="34" y="23"/>
                </a:cubicBezTo>
                <a:cubicBezTo>
                  <a:pt x="34" y="37"/>
                  <a:pt x="34" y="37"/>
                  <a:pt x="34" y="37"/>
                </a:cubicBezTo>
                <a:cubicBezTo>
                  <a:pt x="33" y="45"/>
                  <a:pt x="33" y="45"/>
                  <a:pt x="33" y="45"/>
                </a:cubicBezTo>
                <a:cubicBezTo>
                  <a:pt x="25" y="52"/>
                  <a:pt x="25" y="52"/>
                  <a:pt x="25" y="52"/>
                </a:cubicBezTo>
                <a:cubicBezTo>
                  <a:pt x="25" y="52"/>
                  <a:pt x="19" y="55"/>
                  <a:pt x="19" y="56"/>
                </a:cubicBezTo>
                <a:cubicBezTo>
                  <a:pt x="17" y="57"/>
                  <a:pt x="12" y="60"/>
                  <a:pt x="11" y="61"/>
                </a:cubicBezTo>
                <a:cubicBezTo>
                  <a:pt x="10" y="62"/>
                  <a:pt x="6" y="67"/>
                  <a:pt x="4" y="68"/>
                </a:cubicBezTo>
                <a:cubicBezTo>
                  <a:pt x="3" y="70"/>
                  <a:pt x="2" y="70"/>
                  <a:pt x="1" y="72"/>
                </a:cubicBezTo>
                <a:cubicBezTo>
                  <a:pt x="1" y="73"/>
                  <a:pt x="0" y="76"/>
                  <a:pt x="0" y="76"/>
                </a:cubicBezTo>
                <a:cubicBezTo>
                  <a:pt x="0" y="76"/>
                  <a:pt x="3" y="83"/>
                  <a:pt x="3" y="83"/>
                </a:cubicBezTo>
                <a:cubicBezTo>
                  <a:pt x="4" y="84"/>
                  <a:pt x="5" y="86"/>
                  <a:pt x="6" y="87"/>
                </a:cubicBezTo>
                <a:cubicBezTo>
                  <a:pt x="7" y="88"/>
                  <a:pt x="10" y="89"/>
                  <a:pt x="11" y="90"/>
                </a:cubicBezTo>
                <a:cubicBezTo>
                  <a:pt x="11" y="90"/>
                  <a:pt x="16" y="93"/>
                  <a:pt x="16" y="93"/>
                </a:cubicBezTo>
                <a:cubicBezTo>
                  <a:pt x="27" y="99"/>
                  <a:pt x="27" y="99"/>
                  <a:pt x="27" y="99"/>
                </a:cubicBezTo>
                <a:cubicBezTo>
                  <a:pt x="33" y="103"/>
                  <a:pt x="33" y="103"/>
                  <a:pt x="33" y="103"/>
                </a:cubicBezTo>
                <a:cubicBezTo>
                  <a:pt x="44" y="106"/>
                  <a:pt x="44" y="106"/>
                  <a:pt x="44" y="106"/>
                </a:cubicBezTo>
                <a:cubicBezTo>
                  <a:pt x="50" y="111"/>
                  <a:pt x="50" y="111"/>
                  <a:pt x="50" y="111"/>
                </a:cubicBezTo>
                <a:cubicBezTo>
                  <a:pt x="53" y="114"/>
                  <a:pt x="53" y="114"/>
                  <a:pt x="53" y="114"/>
                </a:cubicBezTo>
                <a:cubicBezTo>
                  <a:pt x="53" y="120"/>
                  <a:pt x="53" y="120"/>
                  <a:pt x="53" y="120"/>
                </a:cubicBezTo>
                <a:cubicBezTo>
                  <a:pt x="58" y="125"/>
                  <a:pt x="58" y="125"/>
                  <a:pt x="58" y="125"/>
                </a:cubicBezTo>
                <a:cubicBezTo>
                  <a:pt x="68" y="131"/>
                  <a:pt x="68" y="131"/>
                  <a:pt x="68" y="131"/>
                </a:cubicBezTo>
                <a:cubicBezTo>
                  <a:pt x="79" y="140"/>
                  <a:pt x="79" y="140"/>
                  <a:pt x="79" y="140"/>
                </a:cubicBezTo>
                <a:cubicBezTo>
                  <a:pt x="79" y="140"/>
                  <a:pt x="83" y="140"/>
                  <a:pt x="84" y="140"/>
                </a:cubicBezTo>
                <a:cubicBezTo>
                  <a:pt x="85" y="140"/>
                  <a:pt x="89" y="140"/>
                  <a:pt x="89" y="140"/>
                </a:cubicBezTo>
                <a:cubicBezTo>
                  <a:pt x="90" y="140"/>
                  <a:pt x="95" y="141"/>
                  <a:pt x="97" y="141"/>
                </a:cubicBezTo>
                <a:cubicBezTo>
                  <a:pt x="98" y="141"/>
                  <a:pt x="101" y="141"/>
                  <a:pt x="102" y="141"/>
                </a:cubicBezTo>
                <a:cubicBezTo>
                  <a:pt x="103" y="141"/>
                  <a:pt x="104" y="142"/>
                  <a:pt x="104" y="142"/>
                </a:cubicBezTo>
                <a:cubicBezTo>
                  <a:pt x="106" y="142"/>
                  <a:pt x="107" y="142"/>
                  <a:pt x="107" y="142"/>
                </a:cubicBezTo>
                <a:cubicBezTo>
                  <a:pt x="107" y="142"/>
                  <a:pt x="110" y="138"/>
                  <a:pt x="110" y="138"/>
                </a:cubicBezTo>
                <a:cubicBezTo>
                  <a:pt x="111" y="137"/>
                  <a:pt x="112" y="134"/>
                  <a:pt x="113" y="133"/>
                </a:cubicBezTo>
                <a:cubicBezTo>
                  <a:pt x="114" y="131"/>
                  <a:pt x="115" y="129"/>
                  <a:pt x="118" y="128"/>
                </a:cubicBezTo>
                <a:cubicBezTo>
                  <a:pt x="120" y="127"/>
                  <a:pt x="122" y="127"/>
                  <a:pt x="124" y="127"/>
                </a:cubicBezTo>
                <a:cubicBezTo>
                  <a:pt x="126" y="127"/>
                  <a:pt x="129" y="127"/>
                  <a:pt x="131" y="128"/>
                </a:cubicBezTo>
                <a:cubicBezTo>
                  <a:pt x="133" y="128"/>
                  <a:pt x="134" y="128"/>
                  <a:pt x="134" y="128"/>
                </a:cubicBezTo>
                <a:cubicBezTo>
                  <a:pt x="134" y="128"/>
                  <a:pt x="135" y="127"/>
                  <a:pt x="135" y="127"/>
                </a:cubicBezTo>
                <a:cubicBezTo>
                  <a:pt x="136" y="127"/>
                  <a:pt x="134" y="127"/>
                  <a:pt x="133" y="126"/>
                </a:cubicBezTo>
                <a:cubicBezTo>
                  <a:pt x="133" y="126"/>
                  <a:pt x="133" y="126"/>
                  <a:pt x="132" y="125"/>
                </a:cubicBezTo>
                <a:cubicBezTo>
                  <a:pt x="132" y="125"/>
                  <a:pt x="132" y="124"/>
                  <a:pt x="132" y="124"/>
                </a:cubicBezTo>
                <a:cubicBezTo>
                  <a:pt x="132" y="124"/>
                  <a:pt x="131" y="122"/>
                  <a:pt x="131" y="121"/>
                </a:cubicBezTo>
                <a:cubicBezTo>
                  <a:pt x="131" y="121"/>
                  <a:pt x="130" y="118"/>
                  <a:pt x="130" y="118"/>
                </a:cubicBezTo>
                <a:cubicBezTo>
                  <a:pt x="129" y="117"/>
                  <a:pt x="128" y="115"/>
                  <a:pt x="127" y="114"/>
                </a:cubicBezTo>
                <a:cubicBezTo>
                  <a:pt x="126" y="113"/>
                  <a:pt x="124" y="111"/>
                  <a:pt x="124" y="110"/>
                </a:cubicBezTo>
                <a:cubicBezTo>
                  <a:pt x="124" y="109"/>
                  <a:pt x="124" y="106"/>
                  <a:pt x="124" y="104"/>
                </a:cubicBezTo>
                <a:cubicBezTo>
                  <a:pt x="124" y="103"/>
                  <a:pt x="122" y="101"/>
                  <a:pt x="121" y="100"/>
                </a:cubicBezTo>
                <a:cubicBezTo>
                  <a:pt x="120" y="98"/>
                  <a:pt x="120" y="95"/>
                  <a:pt x="119" y="94"/>
                </a:cubicBezTo>
                <a:cubicBezTo>
                  <a:pt x="119" y="93"/>
                  <a:pt x="116" y="88"/>
                  <a:pt x="116" y="88"/>
                </a:cubicBezTo>
                <a:cubicBezTo>
                  <a:pt x="116" y="87"/>
                  <a:pt x="114" y="84"/>
                  <a:pt x="113" y="84"/>
                </a:cubicBezTo>
                <a:cubicBezTo>
                  <a:pt x="112" y="83"/>
                  <a:pt x="111" y="82"/>
                  <a:pt x="110" y="82"/>
                </a:cubicBezTo>
                <a:cubicBezTo>
                  <a:pt x="109" y="81"/>
                  <a:pt x="108" y="81"/>
                  <a:pt x="106" y="80"/>
                </a:cubicBezTo>
                <a:cubicBezTo>
                  <a:pt x="105" y="80"/>
                  <a:pt x="104" y="80"/>
                  <a:pt x="103" y="80"/>
                </a:cubicBezTo>
                <a:cubicBezTo>
                  <a:pt x="102" y="80"/>
                  <a:pt x="102" y="80"/>
                  <a:pt x="102" y="79"/>
                </a:cubicBezTo>
                <a:cubicBezTo>
                  <a:pt x="101" y="79"/>
                  <a:pt x="99" y="79"/>
                  <a:pt x="98" y="79"/>
                </a:cubicBezTo>
                <a:cubicBezTo>
                  <a:pt x="97" y="79"/>
                  <a:pt x="96" y="79"/>
                  <a:pt x="95" y="79"/>
                </a:cubicBezTo>
                <a:cubicBezTo>
                  <a:pt x="95" y="78"/>
                  <a:pt x="93" y="78"/>
                  <a:pt x="93" y="77"/>
                </a:cubicBezTo>
                <a:cubicBezTo>
                  <a:pt x="92" y="75"/>
                  <a:pt x="90" y="73"/>
                  <a:pt x="90" y="70"/>
                </a:cubicBezTo>
                <a:cubicBezTo>
                  <a:pt x="89" y="68"/>
                  <a:pt x="89" y="63"/>
                  <a:pt x="89" y="61"/>
                </a:cubicBezTo>
                <a:cubicBezTo>
                  <a:pt x="89" y="60"/>
                  <a:pt x="89" y="58"/>
                  <a:pt x="90" y="57"/>
                </a:cubicBezTo>
                <a:cubicBezTo>
                  <a:pt x="90" y="56"/>
                  <a:pt x="93" y="50"/>
                  <a:pt x="93" y="49"/>
                </a:cubicBezTo>
                <a:cubicBezTo>
                  <a:pt x="93" y="47"/>
                  <a:pt x="92" y="44"/>
                  <a:pt x="92" y="43"/>
                </a:cubicBezTo>
                <a:cubicBezTo>
                  <a:pt x="92" y="43"/>
                  <a:pt x="90" y="39"/>
                  <a:pt x="90" y="39"/>
                </a:cubicBezTo>
                <a:cubicBezTo>
                  <a:pt x="88" y="36"/>
                  <a:pt x="88" y="36"/>
                  <a:pt x="88" y="36"/>
                </a:cubicBezTo>
                <a:cubicBezTo>
                  <a:pt x="89" y="31"/>
                  <a:pt x="89" y="31"/>
                  <a:pt x="89" y="31"/>
                </a:cubicBezTo>
                <a:cubicBezTo>
                  <a:pt x="89" y="31"/>
                  <a:pt x="87" y="28"/>
                  <a:pt x="86" y="28"/>
                </a:cubicBezTo>
                <a:cubicBezTo>
                  <a:pt x="85" y="27"/>
                  <a:pt x="82" y="26"/>
                  <a:pt x="82" y="25"/>
                </a:cubicBezTo>
                <a:cubicBezTo>
                  <a:pt x="82" y="24"/>
                  <a:pt x="79" y="23"/>
                  <a:pt x="79" y="23"/>
                </a:cubicBezTo>
                <a:cubicBezTo>
                  <a:pt x="79" y="23"/>
                  <a:pt x="75" y="19"/>
                  <a:pt x="74" y="19"/>
                </a:cubicBezTo>
                <a:cubicBezTo>
                  <a:pt x="74" y="18"/>
                  <a:pt x="72" y="15"/>
                  <a:pt x="72" y="14"/>
                </a:cubicBezTo>
                <a:cubicBezTo>
                  <a:pt x="72" y="13"/>
                  <a:pt x="71" y="10"/>
                  <a:pt x="71" y="9"/>
                </a:cubicBezTo>
                <a:cubicBezTo>
                  <a:pt x="71" y="7"/>
                  <a:pt x="70" y="4"/>
                  <a:pt x="70" y="4"/>
                </a:cubicBezTo>
                <a:cubicBezTo>
                  <a:pt x="70" y="3"/>
                  <a:pt x="70" y="1"/>
                  <a:pt x="69" y="1"/>
                </a:cubicBezTo>
                <a:cubicBezTo>
                  <a:pt x="68" y="1"/>
                  <a:pt x="66" y="2"/>
                  <a:pt x="65" y="2"/>
                </a:cubicBezTo>
                <a:cubicBezTo>
                  <a:pt x="64" y="2"/>
                  <a:pt x="61" y="2"/>
                  <a:pt x="61" y="2"/>
                </a:cubicBezTo>
                <a:lnTo>
                  <a:pt x="61" y="1"/>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5" name="Syria"/>
          <p:cNvSpPr>
            <a:spLocks/>
          </p:cNvSpPr>
          <p:nvPr/>
        </p:nvSpPr>
        <p:spPr bwMode="auto">
          <a:xfrm>
            <a:off x="7128738" y="2826047"/>
            <a:ext cx="173118" cy="184550"/>
          </a:xfrm>
          <a:custGeom>
            <a:avLst/>
            <a:gdLst>
              <a:gd name="T0" fmla="*/ 84 w 84"/>
              <a:gd name="T1" fmla="*/ 3 h 90"/>
              <a:gd name="T2" fmla="*/ 84 w 84"/>
              <a:gd name="T3" fmla="*/ 7 h 90"/>
              <a:gd name="T4" fmla="*/ 72 w 84"/>
              <a:gd name="T5" fmla="*/ 26 h 90"/>
              <a:gd name="T6" fmla="*/ 72 w 84"/>
              <a:gd name="T7" fmla="*/ 40 h 90"/>
              <a:gd name="T8" fmla="*/ 71 w 84"/>
              <a:gd name="T9" fmla="*/ 48 h 90"/>
              <a:gd name="T10" fmla="*/ 63 w 84"/>
              <a:gd name="T11" fmla="*/ 55 h 90"/>
              <a:gd name="T12" fmla="*/ 57 w 84"/>
              <a:gd name="T13" fmla="*/ 59 h 90"/>
              <a:gd name="T14" fmla="*/ 49 w 84"/>
              <a:gd name="T15" fmla="*/ 64 h 90"/>
              <a:gd name="T16" fmla="*/ 42 w 84"/>
              <a:gd name="T17" fmla="*/ 71 h 90"/>
              <a:gd name="T18" fmla="*/ 39 w 84"/>
              <a:gd name="T19" fmla="*/ 75 h 90"/>
              <a:gd name="T20" fmla="*/ 38 w 84"/>
              <a:gd name="T21" fmla="*/ 75 h 90"/>
              <a:gd name="T22" fmla="*/ 34 w 84"/>
              <a:gd name="T23" fmla="*/ 79 h 90"/>
              <a:gd name="T24" fmla="*/ 27 w 84"/>
              <a:gd name="T25" fmla="*/ 82 h 90"/>
              <a:gd name="T26" fmla="*/ 20 w 84"/>
              <a:gd name="T27" fmla="*/ 86 h 90"/>
              <a:gd name="T28" fmla="*/ 15 w 84"/>
              <a:gd name="T29" fmla="*/ 90 h 90"/>
              <a:gd name="T30" fmla="*/ 11 w 84"/>
              <a:gd name="T31" fmla="*/ 89 h 90"/>
              <a:gd name="T32" fmla="*/ 7 w 84"/>
              <a:gd name="T33" fmla="*/ 86 h 90"/>
              <a:gd name="T34" fmla="*/ 0 w 84"/>
              <a:gd name="T35" fmla="*/ 88 h 90"/>
              <a:gd name="T36" fmla="*/ 0 w 84"/>
              <a:gd name="T37" fmla="*/ 85 h 90"/>
              <a:gd name="T38" fmla="*/ 0 w 84"/>
              <a:gd name="T39" fmla="*/ 81 h 90"/>
              <a:gd name="T40" fmla="*/ 0 w 84"/>
              <a:gd name="T41" fmla="*/ 80 h 90"/>
              <a:gd name="T42" fmla="*/ 0 w 84"/>
              <a:gd name="T43" fmla="*/ 78 h 90"/>
              <a:gd name="T44" fmla="*/ 1 w 84"/>
              <a:gd name="T45" fmla="*/ 76 h 90"/>
              <a:gd name="T46" fmla="*/ 3 w 84"/>
              <a:gd name="T47" fmla="*/ 73 h 90"/>
              <a:gd name="T48" fmla="*/ 6 w 84"/>
              <a:gd name="T49" fmla="*/ 70 h 90"/>
              <a:gd name="T50" fmla="*/ 7 w 84"/>
              <a:gd name="T51" fmla="*/ 67 h 90"/>
              <a:gd name="T52" fmla="*/ 8 w 84"/>
              <a:gd name="T53" fmla="*/ 64 h 90"/>
              <a:gd name="T54" fmla="*/ 6 w 84"/>
              <a:gd name="T55" fmla="*/ 62 h 90"/>
              <a:gd name="T56" fmla="*/ 2 w 84"/>
              <a:gd name="T57" fmla="*/ 61 h 90"/>
              <a:gd name="T58" fmla="*/ 1 w 84"/>
              <a:gd name="T59" fmla="*/ 60 h 90"/>
              <a:gd name="T60" fmla="*/ 1 w 84"/>
              <a:gd name="T61" fmla="*/ 59 h 90"/>
              <a:gd name="T62" fmla="*/ 3 w 84"/>
              <a:gd name="T63" fmla="*/ 55 h 90"/>
              <a:gd name="T64" fmla="*/ 4 w 84"/>
              <a:gd name="T65" fmla="*/ 52 h 90"/>
              <a:gd name="T66" fmla="*/ 4 w 84"/>
              <a:gd name="T67" fmla="*/ 41 h 90"/>
              <a:gd name="T68" fmla="*/ 3 w 84"/>
              <a:gd name="T69" fmla="*/ 36 h 90"/>
              <a:gd name="T70" fmla="*/ 2 w 84"/>
              <a:gd name="T71" fmla="*/ 29 h 90"/>
              <a:gd name="T72" fmla="*/ 2 w 84"/>
              <a:gd name="T73" fmla="*/ 24 h 90"/>
              <a:gd name="T74" fmla="*/ 4 w 84"/>
              <a:gd name="T75" fmla="*/ 24 h 90"/>
              <a:gd name="T76" fmla="*/ 8 w 84"/>
              <a:gd name="T77" fmla="*/ 22 h 90"/>
              <a:gd name="T78" fmla="*/ 13 w 84"/>
              <a:gd name="T79" fmla="*/ 22 h 90"/>
              <a:gd name="T80" fmla="*/ 17 w 84"/>
              <a:gd name="T81" fmla="*/ 21 h 90"/>
              <a:gd name="T82" fmla="*/ 23 w 84"/>
              <a:gd name="T83" fmla="*/ 17 h 90"/>
              <a:gd name="T84" fmla="*/ 28 w 84"/>
              <a:gd name="T85" fmla="*/ 17 h 90"/>
              <a:gd name="T86" fmla="*/ 33 w 84"/>
              <a:gd name="T87" fmla="*/ 17 h 90"/>
              <a:gd name="T88" fmla="*/ 38 w 84"/>
              <a:gd name="T89" fmla="*/ 16 h 90"/>
              <a:gd name="T90" fmla="*/ 45 w 84"/>
              <a:gd name="T91" fmla="*/ 16 h 90"/>
              <a:gd name="T92" fmla="*/ 53 w 84"/>
              <a:gd name="T93" fmla="*/ 13 h 90"/>
              <a:gd name="T94" fmla="*/ 60 w 84"/>
              <a:gd name="T95" fmla="*/ 9 h 90"/>
              <a:gd name="T96" fmla="*/ 66 w 84"/>
              <a:gd name="T97" fmla="*/ 8 h 90"/>
              <a:gd name="T98" fmla="*/ 72 w 84"/>
              <a:gd name="T99" fmla="*/ 5 h 90"/>
              <a:gd name="T100" fmla="*/ 76 w 84"/>
              <a:gd name="T101" fmla="*/ 0 h 90"/>
              <a:gd name="T102" fmla="*/ 79 w 84"/>
              <a:gd name="T103" fmla="*/ 1 h 90"/>
              <a:gd name="T104" fmla="*/ 82 w 84"/>
              <a:gd name="T105" fmla="*/ 2 h 90"/>
              <a:gd name="T106" fmla="*/ 84 w 84"/>
              <a:gd name="T107" fmla="*/ 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90">
                <a:moveTo>
                  <a:pt x="84" y="3"/>
                </a:moveTo>
                <a:cubicBezTo>
                  <a:pt x="84" y="7"/>
                  <a:pt x="84" y="7"/>
                  <a:pt x="84" y="7"/>
                </a:cubicBezTo>
                <a:cubicBezTo>
                  <a:pt x="84" y="7"/>
                  <a:pt x="72" y="25"/>
                  <a:pt x="72" y="26"/>
                </a:cubicBezTo>
                <a:cubicBezTo>
                  <a:pt x="72" y="40"/>
                  <a:pt x="72" y="40"/>
                  <a:pt x="72" y="40"/>
                </a:cubicBezTo>
                <a:cubicBezTo>
                  <a:pt x="71" y="48"/>
                  <a:pt x="71" y="48"/>
                  <a:pt x="71" y="48"/>
                </a:cubicBezTo>
                <a:cubicBezTo>
                  <a:pt x="63" y="55"/>
                  <a:pt x="63" y="55"/>
                  <a:pt x="63" y="55"/>
                </a:cubicBezTo>
                <a:cubicBezTo>
                  <a:pt x="63" y="55"/>
                  <a:pt x="57" y="58"/>
                  <a:pt x="57" y="59"/>
                </a:cubicBezTo>
                <a:cubicBezTo>
                  <a:pt x="55" y="60"/>
                  <a:pt x="50" y="63"/>
                  <a:pt x="49" y="64"/>
                </a:cubicBezTo>
                <a:cubicBezTo>
                  <a:pt x="48" y="65"/>
                  <a:pt x="44" y="69"/>
                  <a:pt x="42" y="71"/>
                </a:cubicBezTo>
                <a:cubicBezTo>
                  <a:pt x="40" y="73"/>
                  <a:pt x="40" y="73"/>
                  <a:pt x="39" y="75"/>
                </a:cubicBezTo>
                <a:cubicBezTo>
                  <a:pt x="38" y="75"/>
                  <a:pt x="38" y="75"/>
                  <a:pt x="38" y="75"/>
                </a:cubicBezTo>
                <a:cubicBezTo>
                  <a:pt x="37" y="76"/>
                  <a:pt x="34" y="78"/>
                  <a:pt x="34" y="79"/>
                </a:cubicBezTo>
                <a:cubicBezTo>
                  <a:pt x="33" y="79"/>
                  <a:pt x="27" y="81"/>
                  <a:pt x="27" y="82"/>
                </a:cubicBezTo>
                <a:cubicBezTo>
                  <a:pt x="25" y="83"/>
                  <a:pt x="21" y="85"/>
                  <a:pt x="20" y="86"/>
                </a:cubicBezTo>
                <a:cubicBezTo>
                  <a:pt x="19" y="87"/>
                  <a:pt x="16" y="90"/>
                  <a:pt x="15" y="90"/>
                </a:cubicBezTo>
                <a:cubicBezTo>
                  <a:pt x="15" y="90"/>
                  <a:pt x="12" y="89"/>
                  <a:pt x="11" y="89"/>
                </a:cubicBezTo>
                <a:cubicBezTo>
                  <a:pt x="10" y="88"/>
                  <a:pt x="7" y="86"/>
                  <a:pt x="7" y="86"/>
                </a:cubicBezTo>
                <a:cubicBezTo>
                  <a:pt x="6" y="85"/>
                  <a:pt x="0" y="85"/>
                  <a:pt x="0" y="88"/>
                </a:cubicBezTo>
                <a:cubicBezTo>
                  <a:pt x="0" y="87"/>
                  <a:pt x="0" y="85"/>
                  <a:pt x="0" y="85"/>
                </a:cubicBezTo>
                <a:cubicBezTo>
                  <a:pt x="0" y="84"/>
                  <a:pt x="0" y="82"/>
                  <a:pt x="0" y="81"/>
                </a:cubicBezTo>
                <a:cubicBezTo>
                  <a:pt x="0" y="80"/>
                  <a:pt x="0" y="80"/>
                  <a:pt x="0" y="80"/>
                </a:cubicBezTo>
                <a:cubicBezTo>
                  <a:pt x="0" y="80"/>
                  <a:pt x="0" y="79"/>
                  <a:pt x="0" y="78"/>
                </a:cubicBezTo>
                <a:cubicBezTo>
                  <a:pt x="0" y="78"/>
                  <a:pt x="1" y="76"/>
                  <a:pt x="1" y="76"/>
                </a:cubicBezTo>
                <a:cubicBezTo>
                  <a:pt x="2" y="75"/>
                  <a:pt x="3" y="74"/>
                  <a:pt x="3" y="73"/>
                </a:cubicBezTo>
                <a:cubicBezTo>
                  <a:pt x="4" y="73"/>
                  <a:pt x="5" y="71"/>
                  <a:pt x="6" y="70"/>
                </a:cubicBezTo>
                <a:cubicBezTo>
                  <a:pt x="6" y="70"/>
                  <a:pt x="7" y="68"/>
                  <a:pt x="7" y="67"/>
                </a:cubicBezTo>
                <a:cubicBezTo>
                  <a:pt x="8" y="66"/>
                  <a:pt x="8" y="64"/>
                  <a:pt x="8" y="64"/>
                </a:cubicBezTo>
                <a:cubicBezTo>
                  <a:pt x="8" y="63"/>
                  <a:pt x="7" y="62"/>
                  <a:pt x="6" y="62"/>
                </a:cubicBezTo>
                <a:cubicBezTo>
                  <a:pt x="5" y="61"/>
                  <a:pt x="4" y="61"/>
                  <a:pt x="2" y="61"/>
                </a:cubicBezTo>
                <a:cubicBezTo>
                  <a:pt x="2" y="61"/>
                  <a:pt x="1" y="60"/>
                  <a:pt x="1" y="60"/>
                </a:cubicBezTo>
                <a:cubicBezTo>
                  <a:pt x="1" y="59"/>
                  <a:pt x="1" y="59"/>
                  <a:pt x="1" y="59"/>
                </a:cubicBezTo>
                <a:cubicBezTo>
                  <a:pt x="1" y="59"/>
                  <a:pt x="2" y="56"/>
                  <a:pt x="3" y="55"/>
                </a:cubicBezTo>
                <a:cubicBezTo>
                  <a:pt x="4" y="54"/>
                  <a:pt x="4" y="53"/>
                  <a:pt x="4" y="52"/>
                </a:cubicBezTo>
                <a:cubicBezTo>
                  <a:pt x="4" y="50"/>
                  <a:pt x="5" y="44"/>
                  <a:pt x="4" y="41"/>
                </a:cubicBezTo>
                <a:cubicBezTo>
                  <a:pt x="4" y="39"/>
                  <a:pt x="4" y="37"/>
                  <a:pt x="3" y="36"/>
                </a:cubicBezTo>
                <a:cubicBezTo>
                  <a:pt x="3" y="35"/>
                  <a:pt x="2" y="31"/>
                  <a:pt x="2" y="29"/>
                </a:cubicBezTo>
                <a:cubicBezTo>
                  <a:pt x="2" y="27"/>
                  <a:pt x="2" y="26"/>
                  <a:pt x="2" y="24"/>
                </a:cubicBezTo>
                <a:cubicBezTo>
                  <a:pt x="2" y="24"/>
                  <a:pt x="3" y="24"/>
                  <a:pt x="4" y="24"/>
                </a:cubicBezTo>
                <a:cubicBezTo>
                  <a:pt x="5" y="23"/>
                  <a:pt x="7" y="22"/>
                  <a:pt x="8" y="22"/>
                </a:cubicBezTo>
                <a:cubicBezTo>
                  <a:pt x="9" y="21"/>
                  <a:pt x="12" y="22"/>
                  <a:pt x="13" y="22"/>
                </a:cubicBezTo>
                <a:cubicBezTo>
                  <a:pt x="15" y="22"/>
                  <a:pt x="17" y="21"/>
                  <a:pt x="17" y="21"/>
                </a:cubicBezTo>
                <a:cubicBezTo>
                  <a:pt x="23" y="17"/>
                  <a:pt x="23" y="17"/>
                  <a:pt x="23" y="17"/>
                </a:cubicBezTo>
                <a:cubicBezTo>
                  <a:pt x="23" y="17"/>
                  <a:pt x="27" y="17"/>
                  <a:pt x="28" y="17"/>
                </a:cubicBezTo>
                <a:cubicBezTo>
                  <a:pt x="28" y="17"/>
                  <a:pt x="32" y="17"/>
                  <a:pt x="33" y="17"/>
                </a:cubicBezTo>
                <a:cubicBezTo>
                  <a:pt x="34" y="17"/>
                  <a:pt x="37" y="17"/>
                  <a:pt x="38" y="16"/>
                </a:cubicBezTo>
                <a:cubicBezTo>
                  <a:pt x="40" y="16"/>
                  <a:pt x="44" y="16"/>
                  <a:pt x="45" y="16"/>
                </a:cubicBezTo>
                <a:cubicBezTo>
                  <a:pt x="46" y="15"/>
                  <a:pt x="53" y="13"/>
                  <a:pt x="53" y="13"/>
                </a:cubicBezTo>
                <a:cubicBezTo>
                  <a:pt x="53" y="13"/>
                  <a:pt x="59" y="9"/>
                  <a:pt x="60" y="9"/>
                </a:cubicBezTo>
                <a:cubicBezTo>
                  <a:pt x="61" y="9"/>
                  <a:pt x="66" y="8"/>
                  <a:pt x="66" y="8"/>
                </a:cubicBezTo>
                <a:cubicBezTo>
                  <a:pt x="67" y="8"/>
                  <a:pt x="71" y="5"/>
                  <a:pt x="72" y="5"/>
                </a:cubicBezTo>
                <a:cubicBezTo>
                  <a:pt x="73" y="4"/>
                  <a:pt x="76" y="0"/>
                  <a:pt x="76" y="0"/>
                </a:cubicBezTo>
                <a:cubicBezTo>
                  <a:pt x="76" y="0"/>
                  <a:pt x="78" y="0"/>
                  <a:pt x="79" y="1"/>
                </a:cubicBezTo>
                <a:cubicBezTo>
                  <a:pt x="79" y="1"/>
                  <a:pt x="82" y="1"/>
                  <a:pt x="82" y="2"/>
                </a:cubicBezTo>
                <a:cubicBezTo>
                  <a:pt x="83" y="2"/>
                  <a:pt x="84" y="2"/>
                  <a:pt x="84" y="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6" name="Lebanon"/>
          <p:cNvSpPr>
            <a:spLocks/>
          </p:cNvSpPr>
          <p:nvPr/>
        </p:nvSpPr>
        <p:spPr bwMode="auto">
          <a:xfrm>
            <a:off x="7120573" y="2948536"/>
            <a:ext cx="24499" cy="40830"/>
          </a:xfrm>
          <a:custGeom>
            <a:avLst/>
            <a:gdLst>
              <a:gd name="T0" fmla="*/ 4 w 12"/>
              <a:gd name="T1" fmla="*/ 20 h 20"/>
              <a:gd name="T2" fmla="*/ 0 w 12"/>
              <a:gd name="T3" fmla="*/ 18 h 20"/>
              <a:gd name="T4" fmla="*/ 1 w 12"/>
              <a:gd name="T5" fmla="*/ 15 h 20"/>
              <a:gd name="T6" fmla="*/ 3 w 12"/>
              <a:gd name="T7" fmla="*/ 7 h 20"/>
              <a:gd name="T8" fmla="*/ 5 w 12"/>
              <a:gd name="T9" fmla="*/ 0 h 20"/>
              <a:gd name="T10" fmla="*/ 6 w 12"/>
              <a:gd name="T11" fmla="*/ 1 h 20"/>
              <a:gd name="T12" fmla="*/ 10 w 12"/>
              <a:gd name="T13" fmla="*/ 2 h 20"/>
              <a:gd name="T14" fmla="*/ 12 w 12"/>
              <a:gd name="T15" fmla="*/ 4 h 20"/>
              <a:gd name="T16" fmla="*/ 11 w 12"/>
              <a:gd name="T17" fmla="*/ 7 h 20"/>
              <a:gd name="T18" fmla="*/ 10 w 12"/>
              <a:gd name="T19" fmla="*/ 10 h 20"/>
              <a:gd name="T20" fmla="*/ 7 w 12"/>
              <a:gd name="T21" fmla="*/ 13 h 20"/>
              <a:gd name="T22" fmla="*/ 5 w 12"/>
              <a:gd name="T23" fmla="*/ 16 h 20"/>
              <a:gd name="T24" fmla="*/ 4 w 12"/>
              <a:gd name="T25" fmla="*/ 18 h 20"/>
              <a:gd name="T26" fmla="*/ 4 w 12"/>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4" y="20"/>
                </a:moveTo>
                <a:cubicBezTo>
                  <a:pt x="4" y="19"/>
                  <a:pt x="1" y="17"/>
                  <a:pt x="0" y="18"/>
                </a:cubicBezTo>
                <a:cubicBezTo>
                  <a:pt x="1" y="17"/>
                  <a:pt x="1" y="16"/>
                  <a:pt x="1" y="15"/>
                </a:cubicBezTo>
                <a:cubicBezTo>
                  <a:pt x="2" y="14"/>
                  <a:pt x="3" y="7"/>
                  <a:pt x="3" y="7"/>
                </a:cubicBezTo>
                <a:cubicBezTo>
                  <a:pt x="5" y="0"/>
                  <a:pt x="5" y="0"/>
                  <a:pt x="5" y="0"/>
                </a:cubicBezTo>
                <a:cubicBezTo>
                  <a:pt x="5" y="0"/>
                  <a:pt x="6" y="1"/>
                  <a:pt x="6" y="1"/>
                </a:cubicBezTo>
                <a:cubicBezTo>
                  <a:pt x="8" y="1"/>
                  <a:pt x="9" y="1"/>
                  <a:pt x="10" y="2"/>
                </a:cubicBezTo>
                <a:cubicBezTo>
                  <a:pt x="11" y="2"/>
                  <a:pt x="12" y="3"/>
                  <a:pt x="12" y="4"/>
                </a:cubicBezTo>
                <a:cubicBezTo>
                  <a:pt x="12" y="4"/>
                  <a:pt x="12" y="6"/>
                  <a:pt x="11" y="7"/>
                </a:cubicBezTo>
                <a:cubicBezTo>
                  <a:pt x="11" y="8"/>
                  <a:pt x="10" y="10"/>
                  <a:pt x="10" y="10"/>
                </a:cubicBezTo>
                <a:cubicBezTo>
                  <a:pt x="9" y="11"/>
                  <a:pt x="8" y="13"/>
                  <a:pt x="7" y="13"/>
                </a:cubicBezTo>
                <a:cubicBezTo>
                  <a:pt x="7" y="14"/>
                  <a:pt x="6" y="15"/>
                  <a:pt x="5" y="16"/>
                </a:cubicBezTo>
                <a:cubicBezTo>
                  <a:pt x="5" y="16"/>
                  <a:pt x="4" y="18"/>
                  <a:pt x="4" y="18"/>
                </a:cubicBezTo>
                <a:cubicBezTo>
                  <a:pt x="4" y="19"/>
                  <a:pt x="4" y="20"/>
                  <a:pt x="4" y="2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7" name="Israel"/>
          <p:cNvSpPr>
            <a:spLocks/>
          </p:cNvSpPr>
          <p:nvPr/>
        </p:nvSpPr>
        <p:spPr bwMode="auto">
          <a:xfrm>
            <a:off x="7086275" y="2982833"/>
            <a:ext cx="42463" cy="119222"/>
          </a:xfrm>
          <a:custGeom>
            <a:avLst/>
            <a:gdLst>
              <a:gd name="T0" fmla="*/ 0 w 21"/>
              <a:gd name="T1" fmla="*/ 34 h 58"/>
              <a:gd name="T2" fmla="*/ 8 w 21"/>
              <a:gd name="T3" fmla="*/ 43 h 58"/>
              <a:gd name="T4" fmla="*/ 12 w 21"/>
              <a:gd name="T5" fmla="*/ 54 h 58"/>
              <a:gd name="T6" fmla="*/ 15 w 21"/>
              <a:gd name="T7" fmla="*/ 58 h 58"/>
              <a:gd name="T8" fmla="*/ 17 w 21"/>
              <a:gd name="T9" fmla="*/ 57 h 58"/>
              <a:gd name="T10" fmla="*/ 20 w 21"/>
              <a:gd name="T11" fmla="*/ 51 h 58"/>
              <a:gd name="T12" fmla="*/ 21 w 21"/>
              <a:gd name="T13" fmla="*/ 45 h 58"/>
              <a:gd name="T14" fmla="*/ 21 w 21"/>
              <a:gd name="T15" fmla="*/ 39 h 58"/>
              <a:gd name="T16" fmla="*/ 19 w 21"/>
              <a:gd name="T17" fmla="*/ 37 h 58"/>
              <a:gd name="T18" fmla="*/ 17 w 21"/>
              <a:gd name="T19" fmla="*/ 34 h 58"/>
              <a:gd name="T20" fmla="*/ 18 w 21"/>
              <a:gd name="T21" fmla="*/ 27 h 58"/>
              <a:gd name="T22" fmla="*/ 21 w 21"/>
              <a:gd name="T23" fmla="*/ 21 h 58"/>
              <a:gd name="T24" fmla="*/ 21 w 21"/>
              <a:gd name="T25" fmla="*/ 17 h 58"/>
              <a:gd name="T26" fmla="*/ 21 w 21"/>
              <a:gd name="T27" fmla="*/ 8 h 58"/>
              <a:gd name="T28" fmla="*/ 21 w 21"/>
              <a:gd name="T29" fmla="*/ 3 h 58"/>
              <a:gd name="T30" fmla="*/ 17 w 21"/>
              <a:gd name="T31" fmla="*/ 2 h 58"/>
              <a:gd name="T32" fmla="*/ 14 w 21"/>
              <a:gd name="T33" fmla="*/ 8 h 58"/>
              <a:gd name="T34" fmla="*/ 14 w 21"/>
              <a:gd name="T35" fmla="*/ 17 h 58"/>
              <a:gd name="T36" fmla="*/ 12 w 21"/>
              <a:gd name="T37" fmla="*/ 23 h 58"/>
              <a:gd name="T38" fmla="*/ 8 w 21"/>
              <a:gd name="T39" fmla="*/ 29 h 58"/>
              <a:gd name="T40" fmla="*/ 2 w 21"/>
              <a:gd name="T41" fmla="*/ 34 h 58"/>
              <a:gd name="T42" fmla="*/ 0 w 21"/>
              <a:gd name="T43" fmla="*/ 3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58">
                <a:moveTo>
                  <a:pt x="0" y="34"/>
                </a:moveTo>
                <a:cubicBezTo>
                  <a:pt x="0" y="34"/>
                  <a:pt x="6" y="39"/>
                  <a:pt x="8" y="43"/>
                </a:cubicBezTo>
                <a:cubicBezTo>
                  <a:pt x="9" y="47"/>
                  <a:pt x="12" y="51"/>
                  <a:pt x="12" y="54"/>
                </a:cubicBezTo>
                <a:cubicBezTo>
                  <a:pt x="12" y="56"/>
                  <a:pt x="13" y="57"/>
                  <a:pt x="15" y="58"/>
                </a:cubicBezTo>
                <a:cubicBezTo>
                  <a:pt x="15" y="58"/>
                  <a:pt x="17" y="57"/>
                  <a:pt x="17" y="57"/>
                </a:cubicBezTo>
                <a:cubicBezTo>
                  <a:pt x="18" y="56"/>
                  <a:pt x="19" y="51"/>
                  <a:pt x="20" y="51"/>
                </a:cubicBezTo>
                <a:cubicBezTo>
                  <a:pt x="20" y="49"/>
                  <a:pt x="21" y="47"/>
                  <a:pt x="21" y="45"/>
                </a:cubicBezTo>
                <a:cubicBezTo>
                  <a:pt x="21" y="44"/>
                  <a:pt x="21" y="39"/>
                  <a:pt x="21" y="39"/>
                </a:cubicBezTo>
                <a:cubicBezTo>
                  <a:pt x="19" y="37"/>
                  <a:pt x="19" y="37"/>
                  <a:pt x="19" y="37"/>
                </a:cubicBezTo>
                <a:cubicBezTo>
                  <a:pt x="19" y="37"/>
                  <a:pt x="17" y="35"/>
                  <a:pt x="17" y="34"/>
                </a:cubicBezTo>
                <a:cubicBezTo>
                  <a:pt x="16" y="33"/>
                  <a:pt x="17" y="29"/>
                  <a:pt x="18" y="27"/>
                </a:cubicBezTo>
                <a:cubicBezTo>
                  <a:pt x="18" y="25"/>
                  <a:pt x="20" y="23"/>
                  <a:pt x="21" y="21"/>
                </a:cubicBezTo>
                <a:cubicBezTo>
                  <a:pt x="21" y="20"/>
                  <a:pt x="21" y="18"/>
                  <a:pt x="21" y="17"/>
                </a:cubicBezTo>
                <a:cubicBezTo>
                  <a:pt x="21" y="16"/>
                  <a:pt x="21" y="9"/>
                  <a:pt x="21" y="8"/>
                </a:cubicBezTo>
                <a:cubicBezTo>
                  <a:pt x="21" y="7"/>
                  <a:pt x="21" y="3"/>
                  <a:pt x="21" y="3"/>
                </a:cubicBezTo>
                <a:cubicBezTo>
                  <a:pt x="21" y="2"/>
                  <a:pt x="18" y="0"/>
                  <a:pt x="17" y="2"/>
                </a:cubicBezTo>
                <a:cubicBezTo>
                  <a:pt x="16" y="4"/>
                  <a:pt x="15" y="6"/>
                  <a:pt x="14" y="8"/>
                </a:cubicBezTo>
                <a:cubicBezTo>
                  <a:pt x="14" y="10"/>
                  <a:pt x="14" y="15"/>
                  <a:pt x="14" y="17"/>
                </a:cubicBezTo>
                <a:cubicBezTo>
                  <a:pt x="13" y="19"/>
                  <a:pt x="13" y="22"/>
                  <a:pt x="12" y="23"/>
                </a:cubicBezTo>
                <a:cubicBezTo>
                  <a:pt x="12" y="24"/>
                  <a:pt x="9" y="28"/>
                  <a:pt x="8" y="29"/>
                </a:cubicBezTo>
                <a:cubicBezTo>
                  <a:pt x="8" y="30"/>
                  <a:pt x="4" y="34"/>
                  <a:pt x="2" y="34"/>
                </a:cubicBezTo>
                <a:cubicBezTo>
                  <a:pt x="1" y="34"/>
                  <a:pt x="0" y="34"/>
                  <a:pt x="0" y="3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8" name="Jordan"/>
          <p:cNvSpPr>
            <a:spLocks/>
          </p:cNvSpPr>
          <p:nvPr/>
        </p:nvSpPr>
        <p:spPr bwMode="auto">
          <a:xfrm>
            <a:off x="7114040" y="2979567"/>
            <a:ext cx="125756" cy="146988"/>
          </a:xfrm>
          <a:custGeom>
            <a:avLst/>
            <a:gdLst>
              <a:gd name="T0" fmla="*/ 45 w 61"/>
              <a:gd name="T1" fmla="*/ 0 h 72"/>
              <a:gd name="T2" fmla="*/ 41 w 61"/>
              <a:gd name="T3" fmla="*/ 4 h 72"/>
              <a:gd name="T4" fmla="*/ 34 w 61"/>
              <a:gd name="T5" fmla="*/ 7 h 72"/>
              <a:gd name="T6" fmla="*/ 27 w 61"/>
              <a:gd name="T7" fmla="*/ 11 h 72"/>
              <a:gd name="T8" fmla="*/ 22 w 61"/>
              <a:gd name="T9" fmla="*/ 15 h 72"/>
              <a:gd name="T10" fmla="*/ 18 w 61"/>
              <a:gd name="T11" fmla="*/ 14 h 72"/>
              <a:gd name="T12" fmla="*/ 14 w 61"/>
              <a:gd name="T13" fmla="*/ 11 h 72"/>
              <a:gd name="T14" fmla="*/ 7 w 61"/>
              <a:gd name="T15" fmla="*/ 13 h 72"/>
              <a:gd name="T16" fmla="*/ 7 w 61"/>
              <a:gd name="T17" fmla="*/ 19 h 72"/>
              <a:gd name="T18" fmla="*/ 7 w 61"/>
              <a:gd name="T19" fmla="*/ 23 h 72"/>
              <a:gd name="T20" fmla="*/ 4 w 61"/>
              <a:gd name="T21" fmla="*/ 29 h 72"/>
              <a:gd name="T22" fmla="*/ 3 w 61"/>
              <a:gd name="T23" fmla="*/ 36 h 72"/>
              <a:gd name="T24" fmla="*/ 5 w 61"/>
              <a:gd name="T25" fmla="*/ 39 h 72"/>
              <a:gd name="T26" fmla="*/ 7 w 61"/>
              <a:gd name="T27" fmla="*/ 41 h 72"/>
              <a:gd name="T28" fmla="*/ 7 w 61"/>
              <a:gd name="T29" fmla="*/ 47 h 72"/>
              <a:gd name="T30" fmla="*/ 6 w 61"/>
              <a:gd name="T31" fmla="*/ 53 h 72"/>
              <a:gd name="T32" fmla="*/ 3 w 61"/>
              <a:gd name="T33" fmla="*/ 59 h 72"/>
              <a:gd name="T34" fmla="*/ 1 w 61"/>
              <a:gd name="T35" fmla="*/ 60 h 72"/>
              <a:gd name="T36" fmla="*/ 2 w 61"/>
              <a:gd name="T37" fmla="*/ 61 h 72"/>
              <a:gd name="T38" fmla="*/ 1 w 61"/>
              <a:gd name="T39" fmla="*/ 65 h 72"/>
              <a:gd name="T40" fmla="*/ 3 w 61"/>
              <a:gd name="T41" fmla="*/ 68 h 72"/>
              <a:gd name="T42" fmla="*/ 5 w 61"/>
              <a:gd name="T43" fmla="*/ 68 h 72"/>
              <a:gd name="T44" fmla="*/ 6 w 61"/>
              <a:gd name="T45" fmla="*/ 70 h 72"/>
              <a:gd name="T46" fmla="*/ 9 w 61"/>
              <a:gd name="T47" fmla="*/ 70 h 72"/>
              <a:gd name="T48" fmla="*/ 13 w 61"/>
              <a:gd name="T49" fmla="*/ 71 h 72"/>
              <a:gd name="T50" fmla="*/ 18 w 61"/>
              <a:gd name="T51" fmla="*/ 71 h 72"/>
              <a:gd name="T52" fmla="*/ 22 w 61"/>
              <a:gd name="T53" fmla="*/ 70 h 72"/>
              <a:gd name="T54" fmla="*/ 24 w 61"/>
              <a:gd name="T55" fmla="*/ 68 h 72"/>
              <a:gd name="T56" fmla="*/ 23 w 61"/>
              <a:gd name="T57" fmla="*/ 65 h 72"/>
              <a:gd name="T58" fmla="*/ 25 w 61"/>
              <a:gd name="T59" fmla="*/ 64 h 72"/>
              <a:gd name="T60" fmla="*/ 29 w 61"/>
              <a:gd name="T61" fmla="*/ 60 h 72"/>
              <a:gd name="T62" fmla="*/ 33 w 61"/>
              <a:gd name="T63" fmla="*/ 59 h 72"/>
              <a:gd name="T64" fmla="*/ 36 w 61"/>
              <a:gd name="T65" fmla="*/ 58 h 72"/>
              <a:gd name="T66" fmla="*/ 39 w 61"/>
              <a:gd name="T67" fmla="*/ 55 h 72"/>
              <a:gd name="T68" fmla="*/ 39 w 61"/>
              <a:gd name="T69" fmla="*/ 52 h 72"/>
              <a:gd name="T70" fmla="*/ 41 w 61"/>
              <a:gd name="T71" fmla="*/ 49 h 72"/>
              <a:gd name="T72" fmla="*/ 43 w 61"/>
              <a:gd name="T73" fmla="*/ 47 h 72"/>
              <a:gd name="T74" fmla="*/ 41 w 61"/>
              <a:gd name="T75" fmla="*/ 45 h 72"/>
              <a:gd name="T76" fmla="*/ 37 w 61"/>
              <a:gd name="T77" fmla="*/ 39 h 72"/>
              <a:gd name="T78" fmla="*/ 34 w 61"/>
              <a:gd name="T79" fmla="*/ 36 h 72"/>
              <a:gd name="T80" fmla="*/ 32 w 61"/>
              <a:gd name="T81" fmla="*/ 31 h 72"/>
              <a:gd name="T82" fmla="*/ 38 w 61"/>
              <a:gd name="T83" fmla="*/ 31 h 72"/>
              <a:gd name="T84" fmla="*/ 43 w 61"/>
              <a:gd name="T85" fmla="*/ 29 h 72"/>
              <a:gd name="T86" fmla="*/ 53 w 61"/>
              <a:gd name="T87" fmla="*/ 25 h 72"/>
              <a:gd name="T88" fmla="*/ 61 w 61"/>
              <a:gd name="T89" fmla="*/ 21 h 72"/>
              <a:gd name="T90" fmla="*/ 56 w 61"/>
              <a:gd name="T91" fmla="*/ 18 h 72"/>
              <a:gd name="T92" fmla="*/ 51 w 61"/>
              <a:gd name="T93" fmla="*/ 15 h 72"/>
              <a:gd name="T94" fmla="*/ 48 w 61"/>
              <a:gd name="T95" fmla="*/ 11 h 72"/>
              <a:gd name="T96" fmla="*/ 45 w 61"/>
              <a:gd name="T97" fmla="*/ 4 h 72"/>
              <a:gd name="T98" fmla="*/ 46 w 61"/>
              <a:gd name="T99" fmla="*/ 0 h 72"/>
              <a:gd name="T100" fmla="*/ 45 w 61"/>
              <a:gd name="T10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 h="72">
                <a:moveTo>
                  <a:pt x="45" y="0"/>
                </a:moveTo>
                <a:cubicBezTo>
                  <a:pt x="44" y="1"/>
                  <a:pt x="41" y="3"/>
                  <a:pt x="41" y="4"/>
                </a:cubicBezTo>
                <a:cubicBezTo>
                  <a:pt x="40" y="4"/>
                  <a:pt x="34" y="6"/>
                  <a:pt x="34" y="7"/>
                </a:cubicBezTo>
                <a:cubicBezTo>
                  <a:pt x="32" y="8"/>
                  <a:pt x="28" y="10"/>
                  <a:pt x="27" y="11"/>
                </a:cubicBezTo>
                <a:cubicBezTo>
                  <a:pt x="26" y="12"/>
                  <a:pt x="23" y="15"/>
                  <a:pt x="22" y="15"/>
                </a:cubicBezTo>
                <a:cubicBezTo>
                  <a:pt x="22" y="15"/>
                  <a:pt x="19" y="14"/>
                  <a:pt x="18" y="14"/>
                </a:cubicBezTo>
                <a:cubicBezTo>
                  <a:pt x="17" y="13"/>
                  <a:pt x="14" y="11"/>
                  <a:pt x="14" y="11"/>
                </a:cubicBezTo>
                <a:cubicBezTo>
                  <a:pt x="13" y="10"/>
                  <a:pt x="7" y="10"/>
                  <a:pt x="7" y="13"/>
                </a:cubicBezTo>
                <a:cubicBezTo>
                  <a:pt x="7" y="15"/>
                  <a:pt x="7" y="18"/>
                  <a:pt x="7" y="19"/>
                </a:cubicBezTo>
                <a:cubicBezTo>
                  <a:pt x="7" y="20"/>
                  <a:pt x="7" y="22"/>
                  <a:pt x="7" y="23"/>
                </a:cubicBezTo>
                <a:cubicBezTo>
                  <a:pt x="6" y="25"/>
                  <a:pt x="4" y="27"/>
                  <a:pt x="4" y="29"/>
                </a:cubicBezTo>
                <a:cubicBezTo>
                  <a:pt x="3" y="31"/>
                  <a:pt x="2" y="35"/>
                  <a:pt x="3" y="36"/>
                </a:cubicBezTo>
                <a:cubicBezTo>
                  <a:pt x="3" y="37"/>
                  <a:pt x="5" y="39"/>
                  <a:pt x="5" y="39"/>
                </a:cubicBezTo>
                <a:cubicBezTo>
                  <a:pt x="7" y="41"/>
                  <a:pt x="7" y="41"/>
                  <a:pt x="7" y="41"/>
                </a:cubicBezTo>
                <a:cubicBezTo>
                  <a:pt x="7" y="41"/>
                  <a:pt x="7" y="46"/>
                  <a:pt x="7" y="47"/>
                </a:cubicBezTo>
                <a:cubicBezTo>
                  <a:pt x="7" y="49"/>
                  <a:pt x="6" y="51"/>
                  <a:pt x="6" y="53"/>
                </a:cubicBezTo>
                <a:cubicBezTo>
                  <a:pt x="5" y="53"/>
                  <a:pt x="4" y="58"/>
                  <a:pt x="3" y="59"/>
                </a:cubicBezTo>
                <a:cubicBezTo>
                  <a:pt x="3" y="59"/>
                  <a:pt x="1" y="60"/>
                  <a:pt x="1" y="60"/>
                </a:cubicBezTo>
                <a:cubicBezTo>
                  <a:pt x="2" y="60"/>
                  <a:pt x="2" y="61"/>
                  <a:pt x="2" y="61"/>
                </a:cubicBezTo>
                <a:cubicBezTo>
                  <a:pt x="2" y="61"/>
                  <a:pt x="0" y="61"/>
                  <a:pt x="1" y="65"/>
                </a:cubicBezTo>
                <a:cubicBezTo>
                  <a:pt x="3" y="65"/>
                  <a:pt x="4" y="67"/>
                  <a:pt x="3" y="68"/>
                </a:cubicBezTo>
                <a:cubicBezTo>
                  <a:pt x="5" y="68"/>
                  <a:pt x="5" y="68"/>
                  <a:pt x="5" y="68"/>
                </a:cubicBezTo>
                <a:cubicBezTo>
                  <a:pt x="5" y="68"/>
                  <a:pt x="6" y="69"/>
                  <a:pt x="6" y="70"/>
                </a:cubicBezTo>
                <a:cubicBezTo>
                  <a:pt x="7" y="70"/>
                  <a:pt x="9" y="70"/>
                  <a:pt x="9" y="70"/>
                </a:cubicBezTo>
                <a:cubicBezTo>
                  <a:pt x="10" y="70"/>
                  <a:pt x="12" y="71"/>
                  <a:pt x="13" y="71"/>
                </a:cubicBezTo>
                <a:cubicBezTo>
                  <a:pt x="15" y="72"/>
                  <a:pt x="17" y="71"/>
                  <a:pt x="18" y="71"/>
                </a:cubicBezTo>
                <a:cubicBezTo>
                  <a:pt x="19" y="71"/>
                  <a:pt x="21" y="70"/>
                  <a:pt x="22" y="70"/>
                </a:cubicBezTo>
                <a:cubicBezTo>
                  <a:pt x="22" y="70"/>
                  <a:pt x="24" y="68"/>
                  <a:pt x="24" y="68"/>
                </a:cubicBezTo>
                <a:cubicBezTo>
                  <a:pt x="23" y="67"/>
                  <a:pt x="23" y="66"/>
                  <a:pt x="23" y="65"/>
                </a:cubicBezTo>
                <a:cubicBezTo>
                  <a:pt x="24" y="65"/>
                  <a:pt x="24" y="65"/>
                  <a:pt x="25" y="64"/>
                </a:cubicBezTo>
                <a:cubicBezTo>
                  <a:pt x="26" y="63"/>
                  <a:pt x="28" y="61"/>
                  <a:pt x="29" y="60"/>
                </a:cubicBezTo>
                <a:cubicBezTo>
                  <a:pt x="30" y="59"/>
                  <a:pt x="32" y="59"/>
                  <a:pt x="33" y="59"/>
                </a:cubicBezTo>
                <a:cubicBezTo>
                  <a:pt x="34" y="59"/>
                  <a:pt x="35" y="59"/>
                  <a:pt x="36" y="58"/>
                </a:cubicBezTo>
                <a:cubicBezTo>
                  <a:pt x="36" y="58"/>
                  <a:pt x="38" y="56"/>
                  <a:pt x="39" y="55"/>
                </a:cubicBezTo>
                <a:cubicBezTo>
                  <a:pt x="39" y="54"/>
                  <a:pt x="39" y="53"/>
                  <a:pt x="39" y="52"/>
                </a:cubicBezTo>
                <a:cubicBezTo>
                  <a:pt x="39" y="51"/>
                  <a:pt x="41" y="50"/>
                  <a:pt x="41" y="49"/>
                </a:cubicBezTo>
                <a:cubicBezTo>
                  <a:pt x="42" y="49"/>
                  <a:pt x="43" y="47"/>
                  <a:pt x="43" y="47"/>
                </a:cubicBezTo>
                <a:cubicBezTo>
                  <a:pt x="43" y="47"/>
                  <a:pt x="42" y="46"/>
                  <a:pt x="41" y="45"/>
                </a:cubicBezTo>
                <a:cubicBezTo>
                  <a:pt x="40" y="45"/>
                  <a:pt x="37" y="39"/>
                  <a:pt x="37" y="39"/>
                </a:cubicBezTo>
                <a:cubicBezTo>
                  <a:pt x="37" y="38"/>
                  <a:pt x="35" y="36"/>
                  <a:pt x="34" y="36"/>
                </a:cubicBezTo>
                <a:cubicBezTo>
                  <a:pt x="34" y="35"/>
                  <a:pt x="32" y="31"/>
                  <a:pt x="32" y="31"/>
                </a:cubicBezTo>
                <a:cubicBezTo>
                  <a:pt x="38" y="31"/>
                  <a:pt x="38" y="31"/>
                  <a:pt x="38" y="31"/>
                </a:cubicBezTo>
                <a:cubicBezTo>
                  <a:pt x="38" y="31"/>
                  <a:pt x="43" y="29"/>
                  <a:pt x="43" y="29"/>
                </a:cubicBezTo>
                <a:cubicBezTo>
                  <a:pt x="44" y="29"/>
                  <a:pt x="52" y="25"/>
                  <a:pt x="53" y="25"/>
                </a:cubicBezTo>
                <a:cubicBezTo>
                  <a:pt x="54" y="25"/>
                  <a:pt x="61" y="21"/>
                  <a:pt x="61" y="21"/>
                </a:cubicBezTo>
                <a:cubicBezTo>
                  <a:pt x="61" y="21"/>
                  <a:pt x="56" y="18"/>
                  <a:pt x="56" y="18"/>
                </a:cubicBezTo>
                <a:cubicBezTo>
                  <a:pt x="55" y="17"/>
                  <a:pt x="52" y="16"/>
                  <a:pt x="51" y="15"/>
                </a:cubicBezTo>
                <a:cubicBezTo>
                  <a:pt x="50" y="14"/>
                  <a:pt x="49" y="12"/>
                  <a:pt x="48" y="11"/>
                </a:cubicBezTo>
                <a:cubicBezTo>
                  <a:pt x="48" y="11"/>
                  <a:pt x="45" y="4"/>
                  <a:pt x="45" y="4"/>
                </a:cubicBezTo>
                <a:cubicBezTo>
                  <a:pt x="46" y="0"/>
                  <a:pt x="46" y="0"/>
                  <a:pt x="46" y="0"/>
                </a:cubicBezTo>
                <a:lnTo>
                  <a:pt x="45" y="0"/>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89" name="Saudi Arabia"/>
          <p:cNvSpPr>
            <a:spLocks/>
          </p:cNvSpPr>
          <p:nvPr/>
        </p:nvSpPr>
        <p:spPr bwMode="auto">
          <a:xfrm>
            <a:off x="7112406" y="3022030"/>
            <a:ext cx="573250" cy="538953"/>
          </a:xfrm>
          <a:custGeom>
            <a:avLst/>
            <a:gdLst>
              <a:gd name="T0" fmla="*/ 1 w 279"/>
              <a:gd name="T1" fmla="*/ 57 h 262"/>
              <a:gd name="T2" fmla="*/ 7 w 279"/>
              <a:gd name="T3" fmla="*/ 66 h 262"/>
              <a:gd name="T4" fmla="*/ 16 w 279"/>
              <a:gd name="T5" fmla="*/ 82 h 262"/>
              <a:gd name="T6" fmla="*/ 28 w 279"/>
              <a:gd name="T7" fmla="*/ 100 h 262"/>
              <a:gd name="T8" fmla="*/ 39 w 279"/>
              <a:gd name="T9" fmla="*/ 116 h 262"/>
              <a:gd name="T10" fmla="*/ 41 w 279"/>
              <a:gd name="T11" fmla="*/ 129 h 262"/>
              <a:gd name="T12" fmla="*/ 53 w 279"/>
              <a:gd name="T13" fmla="*/ 138 h 262"/>
              <a:gd name="T14" fmla="*/ 58 w 279"/>
              <a:gd name="T15" fmla="*/ 146 h 262"/>
              <a:gd name="T16" fmla="*/ 62 w 279"/>
              <a:gd name="T17" fmla="*/ 156 h 262"/>
              <a:gd name="T18" fmla="*/ 61 w 279"/>
              <a:gd name="T19" fmla="*/ 164 h 262"/>
              <a:gd name="T20" fmla="*/ 64 w 279"/>
              <a:gd name="T21" fmla="*/ 173 h 262"/>
              <a:gd name="T22" fmla="*/ 78 w 279"/>
              <a:gd name="T23" fmla="*/ 195 h 262"/>
              <a:gd name="T24" fmla="*/ 87 w 279"/>
              <a:gd name="T25" fmla="*/ 203 h 262"/>
              <a:gd name="T26" fmla="*/ 91 w 279"/>
              <a:gd name="T27" fmla="*/ 214 h 262"/>
              <a:gd name="T28" fmla="*/ 98 w 279"/>
              <a:gd name="T29" fmla="*/ 226 h 262"/>
              <a:gd name="T30" fmla="*/ 106 w 279"/>
              <a:gd name="T31" fmla="*/ 239 h 262"/>
              <a:gd name="T32" fmla="*/ 113 w 279"/>
              <a:gd name="T33" fmla="*/ 253 h 262"/>
              <a:gd name="T34" fmla="*/ 128 w 279"/>
              <a:gd name="T35" fmla="*/ 239 h 262"/>
              <a:gd name="T36" fmla="*/ 146 w 279"/>
              <a:gd name="T37" fmla="*/ 240 h 262"/>
              <a:gd name="T38" fmla="*/ 164 w 279"/>
              <a:gd name="T39" fmla="*/ 252 h 262"/>
              <a:gd name="T40" fmla="*/ 175 w 279"/>
              <a:gd name="T41" fmla="*/ 253 h 262"/>
              <a:gd name="T42" fmla="*/ 188 w 279"/>
              <a:gd name="T43" fmla="*/ 235 h 262"/>
              <a:gd name="T44" fmla="*/ 202 w 279"/>
              <a:gd name="T45" fmla="*/ 224 h 262"/>
              <a:gd name="T46" fmla="*/ 228 w 279"/>
              <a:gd name="T47" fmla="*/ 216 h 262"/>
              <a:gd name="T48" fmla="*/ 273 w 279"/>
              <a:gd name="T49" fmla="*/ 189 h 262"/>
              <a:gd name="T50" fmla="*/ 279 w 279"/>
              <a:gd name="T51" fmla="*/ 167 h 262"/>
              <a:gd name="T52" fmla="*/ 269 w 279"/>
              <a:gd name="T53" fmla="*/ 154 h 262"/>
              <a:gd name="T54" fmla="*/ 250 w 279"/>
              <a:gd name="T55" fmla="*/ 150 h 262"/>
              <a:gd name="T56" fmla="*/ 231 w 279"/>
              <a:gd name="T57" fmla="*/ 146 h 262"/>
              <a:gd name="T58" fmla="*/ 227 w 279"/>
              <a:gd name="T59" fmla="*/ 132 h 262"/>
              <a:gd name="T60" fmla="*/ 224 w 279"/>
              <a:gd name="T61" fmla="*/ 124 h 262"/>
              <a:gd name="T62" fmla="*/ 215 w 279"/>
              <a:gd name="T63" fmla="*/ 115 h 262"/>
              <a:gd name="T64" fmla="*/ 212 w 279"/>
              <a:gd name="T65" fmla="*/ 112 h 262"/>
              <a:gd name="T66" fmla="*/ 205 w 279"/>
              <a:gd name="T67" fmla="*/ 105 h 262"/>
              <a:gd name="T68" fmla="*/ 205 w 279"/>
              <a:gd name="T69" fmla="*/ 98 h 262"/>
              <a:gd name="T70" fmla="*/ 201 w 279"/>
              <a:gd name="T71" fmla="*/ 88 h 262"/>
              <a:gd name="T72" fmla="*/ 191 w 279"/>
              <a:gd name="T73" fmla="*/ 79 h 262"/>
              <a:gd name="T74" fmla="*/ 184 w 279"/>
              <a:gd name="T75" fmla="*/ 72 h 262"/>
              <a:gd name="T76" fmla="*/ 181 w 279"/>
              <a:gd name="T77" fmla="*/ 61 h 262"/>
              <a:gd name="T78" fmla="*/ 168 w 279"/>
              <a:gd name="T79" fmla="*/ 59 h 262"/>
              <a:gd name="T80" fmla="*/ 160 w 279"/>
              <a:gd name="T81" fmla="*/ 51 h 262"/>
              <a:gd name="T82" fmla="*/ 143 w 279"/>
              <a:gd name="T83" fmla="*/ 48 h 262"/>
              <a:gd name="T84" fmla="*/ 114 w 279"/>
              <a:gd name="T85" fmla="*/ 38 h 262"/>
              <a:gd name="T86" fmla="*/ 96 w 279"/>
              <a:gd name="T87" fmla="*/ 18 h 262"/>
              <a:gd name="T88" fmla="*/ 62 w 279"/>
              <a:gd name="T89" fmla="*/ 0 h 262"/>
              <a:gd name="T90" fmla="*/ 33 w 279"/>
              <a:gd name="T91" fmla="*/ 10 h 262"/>
              <a:gd name="T92" fmla="*/ 44 w 279"/>
              <a:gd name="T93" fmla="*/ 26 h 262"/>
              <a:gd name="T94" fmla="*/ 37 w 279"/>
              <a:gd name="T95" fmla="*/ 37 h 262"/>
              <a:gd name="T96" fmla="*/ 24 w 279"/>
              <a:gd name="T97" fmla="*/ 44 h 262"/>
              <a:gd name="T98" fmla="*/ 14 w 279"/>
              <a:gd name="T99" fmla="*/ 50 h 262"/>
              <a:gd name="T100" fmla="*/ 4 w 279"/>
              <a:gd name="T101" fmla="*/ 4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262">
                <a:moveTo>
                  <a:pt x="4" y="47"/>
                </a:moveTo>
                <a:cubicBezTo>
                  <a:pt x="4" y="47"/>
                  <a:pt x="2" y="47"/>
                  <a:pt x="2" y="49"/>
                </a:cubicBezTo>
                <a:cubicBezTo>
                  <a:pt x="3" y="51"/>
                  <a:pt x="1" y="53"/>
                  <a:pt x="1" y="53"/>
                </a:cubicBezTo>
                <a:cubicBezTo>
                  <a:pt x="1" y="53"/>
                  <a:pt x="1" y="55"/>
                  <a:pt x="1" y="57"/>
                </a:cubicBezTo>
                <a:cubicBezTo>
                  <a:pt x="1" y="58"/>
                  <a:pt x="1" y="60"/>
                  <a:pt x="1" y="61"/>
                </a:cubicBezTo>
                <a:cubicBezTo>
                  <a:pt x="1" y="62"/>
                  <a:pt x="0" y="64"/>
                  <a:pt x="0" y="65"/>
                </a:cubicBezTo>
                <a:cubicBezTo>
                  <a:pt x="1" y="66"/>
                  <a:pt x="1" y="66"/>
                  <a:pt x="3" y="66"/>
                </a:cubicBezTo>
                <a:cubicBezTo>
                  <a:pt x="4" y="66"/>
                  <a:pt x="6" y="66"/>
                  <a:pt x="7" y="66"/>
                </a:cubicBezTo>
                <a:cubicBezTo>
                  <a:pt x="8" y="66"/>
                  <a:pt x="10" y="67"/>
                  <a:pt x="10" y="68"/>
                </a:cubicBezTo>
                <a:cubicBezTo>
                  <a:pt x="10" y="69"/>
                  <a:pt x="12" y="73"/>
                  <a:pt x="13" y="74"/>
                </a:cubicBezTo>
                <a:cubicBezTo>
                  <a:pt x="14" y="75"/>
                  <a:pt x="15" y="77"/>
                  <a:pt x="16" y="78"/>
                </a:cubicBezTo>
                <a:cubicBezTo>
                  <a:pt x="16" y="80"/>
                  <a:pt x="16" y="80"/>
                  <a:pt x="16" y="82"/>
                </a:cubicBezTo>
                <a:cubicBezTo>
                  <a:pt x="16" y="83"/>
                  <a:pt x="16" y="85"/>
                  <a:pt x="18" y="86"/>
                </a:cubicBezTo>
                <a:cubicBezTo>
                  <a:pt x="20" y="88"/>
                  <a:pt x="22" y="90"/>
                  <a:pt x="22" y="92"/>
                </a:cubicBezTo>
                <a:cubicBezTo>
                  <a:pt x="22" y="94"/>
                  <a:pt x="22" y="97"/>
                  <a:pt x="25" y="98"/>
                </a:cubicBezTo>
                <a:cubicBezTo>
                  <a:pt x="27" y="99"/>
                  <a:pt x="28" y="98"/>
                  <a:pt x="28" y="100"/>
                </a:cubicBezTo>
                <a:cubicBezTo>
                  <a:pt x="28" y="102"/>
                  <a:pt x="27" y="103"/>
                  <a:pt x="30" y="103"/>
                </a:cubicBezTo>
                <a:cubicBezTo>
                  <a:pt x="32" y="103"/>
                  <a:pt x="32" y="104"/>
                  <a:pt x="32" y="106"/>
                </a:cubicBezTo>
                <a:cubicBezTo>
                  <a:pt x="32" y="107"/>
                  <a:pt x="33" y="110"/>
                  <a:pt x="35" y="111"/>
                </a:cubicBezTo>
                <a:cubicBezTo>
                  <a:pt x="38" y="112"/>
                  <a:pt x="39" y="114"/>
                  <a:pt x="39" y="116"/>
                </a:cubicBezTo>
                <a:cubicBezTo>
                  <a:pt x="39" y="117"/>
                  <a:pt x="39" y="120"/>
                  <a:pt x="38" y="120"/>
                </a:cubicBezTo>
                <a:cubicBezTo>
                  <a:pt x="38" y="121"/>
                  <a:pt x="37" y="122"/>
                  <a:pt x="38" y="123"/>
                </a:cubicBezTo>
                <a:cubicBezTo>
                  <a:pt x="39" y="124"/>
                  <a:pt x="40" y="124"/>
                  <a:pt x="40" y="125"/>
                </a:cubicBezTo>
                <a:cubicBezTo>
                  <a:pt x="40" y="126"/>
                  <a:pt x="40" y="129"/>
                  <a:pt x="41" y="129"/>
                </a:cubicBezTo>
                <a:cubicBezTo>
                  <a:pt x="42" y="130"/>
                  <a:pt x="46" y="131"/>
                  <a:pt x="46" y="132"/>
                </a:cubicBezTo>
                <a:cubicBezTo>
                  <a:pt x="46" y="133"/>
                  <a:pt x="48" y="135"/>
                  <a:pt x="49" y="135"/>
                </a:cubicBezTo>
                <a:cubicBezTo>
                  <a:pt x="50" y="135"/>
                  <a:pt x="51" y="136"/>
                  <a:pt x="51" y="136"/>
                </a:cubicBezTo>
                <a:cubicBezTo>
                  <a:pt x="51" y="137"/>
                  <a:pt x="52" y="138"/>
                  <a:pt x="53" y="138"/>
                </a:cubicBezTo>
                <a:cubicBezTo>
                  <a:pt x="53" y="138"/>
                  <a:pt x="54" y="140"/>
                  <a:pt x="54" y="140"/>
                </a:cubicBezTo>
                <a:cubicBezTo>
                  <a:pt x="54" y="140"/>
                  <a:pt x="55" y="141"/>
                  <a:pt x="56" y="141"/>
                </a:cubicBezTo>
                <a:cubicBezTo>
                  <a:pt x="57" y="141"/>
                  <a:pt x="57" y="142"/>
                  <a:pt x="57" y="142"/>
                </a:cubicBezTo>
                <a:cubicBezTo>
                  <a:pt x="57" y="144"/>
                  <a:pt x="58" y="145"/>
                  <a:pt x="58" y="146"/>
                </a:cubicBezTo>
                <a:cubicBezTo>
                  <a:pt x="59" y="146"/>
                  <a:pt x="58" y="148"/>
                  <a:pt x="58" y="148"/>
                </a:cubicBezTo>
                <a:cubicBezTo>
                  <a:pt x="58" y="148"/>
                  <a:pt x="58" y="150"/>
                  <a:pt x="59" y="150"/>
                </a:cubicBezTo>
                <a:cubicBezTo>
                  <a:pt x="59" y="151"/>
                  <a:pt x="60" y="151"/>
                  <a:pt x="60" y="153"/>
                </a:cubicBezTo>
                <a:cubicBezTo>
                  <a:pt x="60" y="154"/>
                  <a:pt x="61" y="155"/>
                  <a:pt x="62" y="156"/>
                </a:cubicBezTo>
                <a:cubicBezTo>
                  <a:pt x="63" y="158"/>
                  <a:pt x="63" y="159"/>
                  <a:pt x="63" y="159"/>
                </a:cubicBezTo>
                <a:cubicBezTo>
                  <a:pt x="64" y="159"/>
                  <a:pt x="63" y="159"/>
                  <a:pt x="63" y="160"/>
                </a:cubicBezTo>
                <a:cubicBezTo>
                  <a:pt x="63" y="160"/>
                  <a:pt x="61" y="160"/>
                  <a:pt x="62" y="161"/>
                </a:cubicBezTo>
                <a:cubicBezTo>
                  <a:pt x="62" y="163"/>
                  <a:pt x="62" y="164"/>
                  <a:pt x="61" y="164"/>
                </a:cubicBezTo>
                <a:cubicBezTo>
                  <a:pt x="61" y="164"/>
                  <a:pt x="59" y="165"/>
                  <a:pt x="60" y="166"/>
                </a:cubicBezTo>
                <a:cubicBezTo>
                  <a:pt x="61" y="168"/>
                  <a:pt x="61" y="168"/>
                  <a:pt x="61" y="169"/>
                </a:cubicBezTo>
                <a:cubicBezTo>
                  <a:pt x="61" y="171"/>
                  <a:pt x="61" y="172"/>
                  <a:pt x="62" y="172"/>
                </a:cubicBezTo>
                <a:cubicBezTo>
                  <a:pt x="63" y="172"/>
                  <a:pt x="64" y="172"/>
                  <a:pt x="64" y="173"/>
                </a:cubicBezTo>
                <a:cubicBezTo>
                  <a:pt x="63" y="175"/>
                  <a:pt x="63" y="176"/>
                  <a:pt x="64" y="179"/>
                </a:cubicBezTo>
                <a:cubicBezTo>
                  <a:pt x="65" y="182"/>
                  <a:pt x="71" y="191"/>
                  <a:pt x="71" y="191"/>
                </a:cubicBezTo>
                <a:cubicBezTo>
                  <a:pt x="71" y="191"/>
                  <a:pt x="74" y="193"/>
                  <a:pt x="75" y="193"/>
                </a:cubicBezTo>
                <a:cubicBezTo>
                  <a:pt x="76" y="193"/>
                  <a:pt x="78" y="193"/>
                  <a:pt x="78" y="195"/>
                </a:cubicBezTo>
                <a:cubicBezTo>
                  <a:pt x="79" y="196"/>
                  <a:pt x="80" y="196"/>
                  <a:pt x="80" y="197"/>
                </a:cubicBezTo>
                <a:cubicBezTo>
                  <a:pt x="81" y="197"/>
                  <a:pt x="82" y="197"/>
                  <a:pt x="82" y="199"/>
                </a:cubicBezTo>
                <a:cubicBezTo>
                  <a:pt x="82" y="200"/>
                  <a:pt x="82" y="201"/>
                  <a:pt x="84" y="202"/>
                </a:cubicBezTo>
                <a:cubicBezTo>
                  <a:pt x="85" y="203"/>
                  <a:pt x="87" y="201"/>
                  <a:pt x="87" y="203"/>
                </a:cubicBezTo>
                <a:cubicBezTo>
                  <a:pt x="86" y="205"/>
                  <a:pt x="86" y="206"/>
                  <a:pt x="87" y="207"/>
                </a:cubicBezTo>
                <a:cubicBezTo>
                  <a:pt x="89" y="208"/>
                  <a:pt x="89" y="208"/>
                  <a:pt x="88" y="209"/>
                </a:cubicBezTo>
                <a:cubicBezTo>
                  <a:pt x="88" y="210"/>
                  <a:pt x="88" y="211"/>
                  <a:pt x="89" y="212"/>
                </a:cubicBezTo>
                <a:cubicBezTo>
                  <a:pt x="90" y="212"/>
                  <a:pt x="92" y="212"/>
                  <a:pt x="91" y="214"/>
                </a:cubicBezTo>
                <a:cubicBezTo>
                  <a:pt x="91" y="215"/>
                  <a:pt x="91" y="216"/>
                  <a:pt x="92" y="217"/>
                </a:cubicBezTo>
                <a:cubicBezTo>
                  <a:pt x="93" y="218"/>
                  <a:pt x="95" y="218"/>
                  <a:pt x="95" y="219"/>
                </a:cubicBezTo>
                <a:cubicBezTo>
                  <a:pt x="95" y="220"/>
                  <a:pt x="94" y="222"/>
                  <a:pt x="95" y="223"/>
                </a:cubicBezTo>
                <a:cubicBezTo>
                  <a:pt x="97" y="224"/>
                  <a:pt x="98" y="225"/>
                  <a:pt x="98" y="226"/>
                </a:cubicBezTo>
                <a:cubicBezTo>
                  <a:pt x="98" y="227"/>
                  <a:pt x="98" y="228"/>
                  <a:pt x="99" y="229"/>
                </a:cubicBezTo>
                <a:cubicBezTo>
                  <a:pt x="100" y="229"/>
                  <a:pt x="101" y="231"/>
                  <a:pt x="101" y="231"/>
                </a:cubicBezTo>
                <a:cubicBezTo>
                  <a:pt x="101" y="231"/>
                  <a:pt x="104" y="235"/>
                  <a:pt x="105" y="236"/>
                </a:cubicBezTo>
                <a:cubicBezTo>
                  <a:pt x="105" y="237"/>
                  <a:pt x="106" y="238"/>
                  <a:pt x="106" y="239"/>
                </a:cubicBezTo>
                <a:cubicBezTo>
                  <a:pt x="106" y="240"/>
                  <a:pt x="105" y="242"/>
                  <a:pt x="107" y="244"/>
                </a:cubicBezTo>
                <a:cubicBezTo>
                  <a:pt x="108" y="246"/>
                  <a:pt x="111" y="245"/>
                  <a:pt x="111" y="247"/>
                </a:cubicBezTo>
                <a:cubicBezTo>
                  <a:pt x="111" y="249"/>
                  <a:pt x="111" y="250"/>
                  <a:pt x="112" y="251"/>
                </a:cubicBezTo>
                <a:cubicBezTo>
                  <a:pt x="113" y="252"/>
                  <a:pt x="113" y="252"/>
                  <a:pt x="113" y="253"/>
                </a:cubicBezTo>
                <a:cubicBezTo>
                  <a:pt x="112" y="254"/>
                  <a:pt x="113" y="256"/>
                  <a:pt x="114" y="256"/>
                </a:cubicBezTo>
                <a:cubicBezTo>
                  <a:pt x="113" y="256"/>
                  <a:pt x="123" y="255"/>
                  <a:pt x="124" y="254"/>
                </a:cubicBezTo>
                <a:cubicBezTo>
                  <a:pt x="125" y="254"/>
                  <a:pt x="126" y="247"/>
                  <a:pt x="126" y="246"/>
                </a:cubicBezTo>
                <a:cubicBezTo>
                  <a:pt x="126" y="244"/>
                  <a:pt x="127" y="240"/>
                  <a:pt x="128" y="239"/>
                </a:cubicBezTo>
                <a:cubicBezTo>
                  <a:pt x="128" y="237"/>
                  <a:pt x="131" y="237"/>
                  <a:pt x="132" y="237"/>
                </a:cubicBezTo>
                <a:cubicBezTo>
                  <a:pt x="133" y="237"/>
                  <a:pt x="136" y="237"/>
                  <a:pt x="138" y="238"/>
                </a:cubicBezTo>
                <a:cubicBezTo>
                  <a:pt x="139" y="239"/>
                  <a:pt x="141" y="239"/>
                  <a:pt x="142" y="239"/>
                </a:cubicBezTo>
                <a:cubicBezTo>
                  <a:pt x="143" y="239"/>
                  <a:pt x="145" y="240"/>
                  <a:pt x="146" y="240"/>
                </a:cubicBezTo>
                <a:cubicBezTo>
                  <a:pt x="146" y="241"/>
                  <a:pt x="149" y="244"/>
                  <a:pt x="150" y="244"/>
                </a:cubicBezTo>
                <a:cubicBezTo>
                  <a:pt x="151" y="245"/>
                  <a:pt x="155" y="248"/>
                  <a:pt x="157" y="248"/>
                </a:cubicBezTo>
                <a:cubicBezTo>
                  <a:pt x="158" y="248"/>
                  <a:pt x="161" y="249"/>
                  <a:pt x="162" y="250"/>
                </a:cubicBezTo>
                <a:cubicBezTo>
                  <a:pt x="162" y="250"/>
                  <a:pt x="164" y="251"/>
                  <a:pt x="164" y="252"/>
                </a:cubicBezTo>
                <a:cubicBezTo>
                  <a:pt x="164" y="254"/>
                  <a:pt x="165" y="259"/>
                  <a:pt x="166" y="261"/>
                </a:cubicBezTo>
                <a:cubicBezTo>
                  <a:pt x="166" y="262"/>
                  <a:pt x="167" y="261"/>
                  <a:pt x="167" y="261"/>
                </a:cubicBezTo>
                <a:cubicBezTo>
                  <a:pt x="167" y="260"/>
                  <a:pt x="170" y="256"/>
                  <a:pt x="171" y="256"/>
                </a:cubicBezTo>
                <a:cubicBezTo>
                  <a:pt x="171" y="255"/>
                  <a:pt x="174" y="254"/>
                  <a:pt x="175" y="253"/>
                </a:cubicBezTo>
                <a:cubicBezTo>
                  <a:pt x="175" y="252"/>
                  <a:pt x="176" y="250"/>
                  <a:pt x="177" y="249"/>
                </a:cubicBezTo>
                <a:cubicBezTo>
                  <a:pt x="178" y="248"/>
                  <a:pt x="181" y="244"/>
                  <a:pt x="182" y="243"/>
                </a:cubicBezTo>
                <a:cubicBezTo>
                  <a:pt x="183" y="242"/>
                  <a:pt x="184" y="241"/>
                  <a:pt x="185" y="240"/>
                </a:cubicBezTo>
                <a:cubicBezTo>
                  <a:pt x="186" y="239"/>
                  <a:pt x="188" y="236"/>
                  <a:pt x="188" y="235"/>
                </a:cubicBezTo>
                <a:cubicBezTo>
                  <a:pt x="190" y="234"/>
                  <a:pt x="189" y="234"/>
                  <a:pt x="190" y="233"/>
                </a:cubicBezTo>
                <a:cubicBezTo>
                  <a:pt x="190" y="231"/>
                  <a:pt x="190" y="229"/>
                  <a:pt x="191" y="227"/>
                </a:cubicBezTo>
                <a:cubicBezTo>
                  <a:pt x="192" y="226"/>
                  <a:pt x="193" y="225"/>
                  <a:pt x="194" y="225"/>
                </a:cubicBezTo>
                <a:cubicBezTo>
                  <a:pt x="195" y="225"/>
                  <a:pt x="200" y="224"/>
                  <a:pt x="202" y="224"/>
                </a:cubicBezTo>
                <a:cubicBezTo>
                  <a:pt x="204" y="223"/>
                  <a:pt x="207" y="221"/>
                  <a:pt x="208" y="221"/>
                </a:cubicBezTo>
                <a:cubicBezTo>
                  <a:pt x="209" y="220"/>
                  <a:pt x="211" y="220"/>
                  <a:pt x="214" y="220"/>
                </a:cubicBezTo>
                <a:cubicBezTo>
                  <a:pt x="217" y="220"/>
                  <a:pt x="220" y="219"/>
                  <a:pt x="221" y="218"/>
                </a:cubicBezTo>
                <a:cubicBezTo>
                  <a:pt x="222" y="218"/>
                  <a:pt x="228" y="216"/>
                  <a:pt x="228" y="216"/>
                </a:cubicBezTo>
                <a:cubicBezTo>
                  <a:pt x="237" y="212"/>
                  <a:pt x="237" y="212"/>
                  <a:pt x="237" y="212"/>
                </a:cubicBezTo>
                <a:cubicBezTo>
                  <a:pt x="237" y="212"/>
                  <a:pt x="265" y="198"/>
                  <a:pt x="265" y="198"/>
                </a:cubicBezTo>
                <a:cubicBezTo>
                  <a:pt x="266" y="197"/>
                  <a:pt x="272" y="196"/>
                  <a:pt x="272" y="196"/>
                </a:cubicBezTo>
                <a:cubicBezTo>
                  <a:pt x="272" y="196"/>
                  <a:pt x="273" y="191"/>
                  <a:pt x="273" y="189"/>
                </a:cubicBezTo>
                <a:cubicBezTo>
                  <a:pt x="274" y="188"/>
                  <a:pt x="274" y="186"/>
                  <a:pt x="275" y="184"/>
                </a:cubicBezTo>
                <a:cubicBezTo>
                  <a:pt x="275" y="183"/>
                  <a:pt x="276" y="179"/>
                  <a:pt x="276" y="177"/>
                </a:cubicBezTo>
                <a:cubicBezTo>
                  <a:pt x="277" y="174"/>
                  <a:pt x="277" y="172"/>
                  <a:pt x="278" y="171"/>
                </a:cubicBezTo>
                <a:cubicBezTo>
                  <a:pt x="278" y="170"/>
                  <a:pt x="279" y="168"/>
                  <a:pt x="279" y="167"/>
                </a:cubicBezTo>
                <a:cubicBezTo>
                  <a:pt x="279" y="166"/>
                  <a:pt x="279" y="162"/>
                  <a:pt x="279" y="161"/>
                </a:cubicBezTo>
                <a:cubicBezTo>
                  <a:pt x="278" y="159"/>
                  <a:pt x="276" y="157"/>
                  <a:pt x="275" y="156"/>
                </a:cubicBezTo>
                <a:cubicBezTo>
                  <a:pt x="273" y="155"/>
                  <a:pt x="271" y="152"/>
                  <a:pt x="271" y="152"/>
                </a:cubicBezTo>
                <a:cubicBezTo>
                  <a:pt x="271" y="152"/>
                  <a:pt x="270" y="153"/>
                  <a:pt x="269" y="154"/>
                </a:cubicBezTo>
                <a:cubicBezTo>
                  <a:pt x="268" y="155"/>
                  <a:pt x="267" y="154"/>
                  <a:pt x="266" y="154"/>
                </a:cubicBezTo>
                <a:cubicBezTo>
                  <a:pt x="265" y="154"/>
                  <a:pt x="263" y="154"/>
                  <a:pt x="262" y="153"/>
                </a:cubicBezTo>
                <a:cubicBezTo>
                  <a:pt x="261" y="153"/>
                  <a:pt x="258" y="152"/>
                  <a:pt x="256" y="152"/>
                </a:cubicBezTo>
                <a:cubicBezTo>
                  <a:pt x="255" y="152"/>
                  <a:pt x="251" y="150"/>
                  <a:pt x="250" y="150"/>
                </a:cubicBezTo>
                <a:cubicBezTo>
                  <a:pt x="248" y="150"/>
                  <a:pt x="245" y="150"/>
                  <a:pt x="244" y="150"/>
                </a:cubicBezTo>
                <a:cubicBezTo>
                  <a:pt x="243" y="150"/>
                  <a:pt x="239" y="148"/>
                  <a:pt x="238" y="148"/>
                </a:cubicBezTo>
                <a:cubicBezTo>
                  <a:pt x="237" y="148"/>
                  <a:pt x="235" y="148"/>
                  <a:pt x="235" y="148"/>
                </a:cubicBezTo>
                <a:cubicBezTo>
                  <a:pt x="234" y="148"/>
                  <a:pt x="231" y="147"/>
                  <a:pt x="231" y="146"/>
                </a:cubicBezTo>
                <a:cubicBezTo>
                  <a:pt x="230" y="145"/>
                  <a:pt x="230" y="143"/>
                  <a:pt x="229" y="142"/>
                </a:cubicBezTo>
                <a:cubicBezTo>
                  <a:pt x="229" y="142"/>
                  <a:pt x="229" y="139"/>
                  <a:pt x="228" y="138"/>
                </a:cubicBezTo>
                <a:cubicBezTo>
                  <a:pt x="228" y="137"/>
                  <a:pt x="227" y="133"/>
                  <a:pt x="228" y="133"/>
                </a:cubicBezTo>
                <a:cubicBezTo>
                  <a:pt x="228" y="133"/>
                  <a:pt x="227" y="132"/>
                  <a:pt x="227" y="132"/>
                </a:cubicBezTo>
                <a:cubicBezTo>
                  <a:pt x="227" y="131"/>
                  <a:pt x="226" y="130"/>
                  <a:pt x="225" y="130"/>
                </a:cubicBezTo>
                <a:cubicBezTo>
                  <a:pt x="223" y="130"/>
                  <a:pt x="221" y="130"/>
                  <a:pt x="222" y="128"/>
                </a:cubicBezTo>
                <a:cubicBezTo>
                  <a:pt x="222" y="126"/>
                  <a:pt x="224" y="125"/>
                  <a:pt x="224" y="124"/>
                </a:cubicBezTo>
                <a:cubicBezTo>
                  <a:pt x="224" y="124"/>
                  <a:pt x="224" y="124"/>
                  <a:pt x="224" y="124"/>
                </a:cubicBezTo>
                <a:cubicBezTo>
                  <a:pt x="222" y="124"/>
                  <a:pt x="220" y="124"/>
                  <a:pt x="219" y="125"/>
                </a:cubicBezTo>
                <a:cubicBezTo>
                  <a:pt x="217" y="126"/>
                  <a:pt x="215" y="123"/>
                  <a:pt x="216" y="121"/>
                </a:cubicBezTo>
                <a:cubicBezTo>
                  <a:pt x="218" y="120"/>
                  <a:pt x="217" y="119"/>
                  <a:pt x="215" y="119"/>
                </a:cubicBezTo>
                <a:cubicBezTo>
                  <a:pt x="215" y="118"/>
                  <a:pt x="214" y="117"/>
                  <a:pt x="215" y="115"/>
                </a:cubicBezTo>
                <a:cubicBezTo>
                  <a:pt x="216" y="113"/>
                  <a:pt x="215" y="111"/>
                  <a:pt x="214" y="109"/>
                </a:cubicBezTo>
                <a:cubicBezTo>
                  <a:pt x="213" y="107"/>
                  <a:pt x="213" y="109"/>
                  <a:pt x="213" y="109"/>
                </a:cubicBezTo>
                <a:cubicBezTo>
                  <a:pt x="212" y="111"/>
                  <a:pt x="212" y="111"/>
                  <a:pt x="212" y="111"/>
                </a:cubicBezTo>
                <a:cubicBezTo>
                  <a:pt x="212" y="111"/>
                  <a:pt x="212" y="111"/>
                  <a:pt x="212" y="112"/>
                </a:cubicBezTo>
                <a:cubicBezTo>
                  <a:pt x="212" y="112"/>
                  <a:pt x="212" y="112"/>
                  <a:pt x="212" y="112"/>
                </a:cubicBezTo>
                <a:cubicBezTo>
                  <a:pt x="212" y="112"/>
                  <a:pt x="210" y="112"/>
                  <a:pt x="209" y="111"/>
                </a:cubicBezTo>
                <a:cubicBezTo>
                  <a:pt x="208" y="110"/>
                  <a:pt x="208" y="109"/>
                  <a:pt x="207" y="108"/>
                </a:cubicBezTo>
                <a:cubicBezTo>
                  <a:pt x="206" y="107"/>
                  <a:pt x="205" y="106"/>
                  <a:pt x="205" y="105"/>
                </a:cubicBezTo>
                <a:cubicBezTo>
                  <a:pt x="205" y="104"/>
                  <a:pt x="203" y="102"/>
                  <a:pt x="202" y="100"/>
                </a:cubicBezTo>
                <a:cubicBezTo>
                  <a:pt x="201" y="99"/>
                  <a:pt x="203" y="98"/>
                  <a:pt x="203" y="98"/>
                </a:cubicBezTo>
                <a:cubicBezTo>
                  <a:pt x="203" y="98"/>
                  <a:pt x="200" y="95"/>
                  <a:pt x="203" y="96"/>
                </a:cubicBezTo>
                <a:cubicBezTo>
                  <a:pt x="205" y="96"/>
                  <a:pt x="203" y="98"/>
                  <a:pt x="205" y="98"/>
                </a:cubicBezTo>
                <a:cubicBezTo>
                  <a:pt x="207" y="98"/>
                  <a:pt x="208" y="98"/>
                  <a:pt x="207" y="96"/>
                </a:cubicBezTo>
                <a:cubicBezTo>
                  <a:pt x="207" y="93"/>
                  <a:pt x="207" y="93"/>
                  <a:pt x="206" y="92"/>
                </a:cubicBezTo>
                <a:cubicBezTo>
                  <a:pt x="204" y="91"/>
                  <a:pt x="203" y="91"/>
                  <a:pt x="203" y="91"/>
                </a:cubicBezTo>
                <a:cubicBezTo>
                  <a:pt x="203" y="91"/>
                  <a:pt x="200" y="89"/>
                  <a:pt x="201" y="88"/>
                </a:cubicBezTo>
                <a:cubicBezTo>
                  <a:pt x="202" y="87"/>
                  <a:pt x="203" y="86"/>
                  <a:pt x="202" y="85"/>
                </a:cubicBezTo>
                <a:cubicBezTo>
                  <a:pt x="200" y="84"/>
                  <a:pt x="198" y="85"/>
                  <a:pt x="199" y="83"/>
                </a:cubicBezTo>
                <a:cubicBezTo>
                  <a:pt x="199" y="81"/>
                  <a:pt x="199" y="80"/>
                  <a:pt x="197" y="80"/>
                </a:cubicBezTo>
                <a:cubicBezTo>
                  <a:pt x="195" y="80"/>
                  <a:pt x="192" y="80"/>
                  <a:pt x="191" y="79"/>
                </a:cubicBezTo>
                <a:cubicBezTo>
                  <a:pt x="191" y="78"/>
                  <a:pt x="192" y="77"/>
                  <a:pt x="192" y="77"/>
                </a:cubicBezTo>
                <a:cubicBezTo>
                  <a:pt x="192" y="77"/>
                  <a:pt x="194" y="74"/>
                  <a:pt x="192" y="74"/>
                </a:cubicBezTo>
                <a:cubicBezTo>
                  <a:pt x="189" y="74"/>
                  <a:pt x="187" y="73"/>
                  <a:pt x="187" y="73"/>
                </a:cubicBezTo>
                <a:cubicBezTo>
                  <a:pt x="187" y="73"/>
                  <a:pt x="184" y="73"/>
                  <a:pt x="184" y="72"/>
                </a:cubicBezTo>
                <a:cubicBezTo>
                  <a:pt x="184" y="70"/>
                  <a:pt x="187" y="70"/>
                  <a:pt x="187" y="70"/>
                </a:cubicBezTo>
                <a:cubicBezTo>
                  <a:pt x="187" y="70"/>
                  <a:pt x="186" y="69"/>
                  <a:pt x="185" y="68"/>
                </a:cubicBezTo>
                <a:cubicBezTo>
                  <a:pt x="183" y="68"/>
                  <a:pt x="182" y="66"/>
                  <a:pt x="182" y="65"/>
                </a:cubicBezTo>
                <a:cubicBezTo>
                  <a:pt x="182" y="65"/>
                  <a:pt x="182" y="63"/>
                  <a:pt x="181" y="61"/>
                </a:cubicBezTo>
                <a:cubicBezTo>
                  <a:pt x="181" y="60"/>
                  <a:pt x="180" y="60"/>
                  <a:pt x="179" y="60"/>
                </a:cubicBezTo>
                <a:cubicBezTo>
                  <a:pt x="178" y="60"/>
                  <a:pt x="176" y="60"/>
                  <a:pt x="175" y="60"/>
                </a:cubicBezTo>
                <a:cubicBezTo>
                  <a:pt x="174" y="60"/>
                  <a:pt x="172" y="61"/>
                  <a:pt x="171" y="61"/>
                </a:cubicBezTo>
                <a:cubicBezTo>
                  <a:pt x="170" y="61"/>
                  <a:pt x="169" y="60"/>
                  <a:pt x="168" y="59"/>
                </a:cubicBezTo>
                <a:cubicBezTo>
                  <a:pt x="167" y="59"/>
                  <a:pt x="165" y="59"/>
                  <a:pt x="164" y="58"/>
                </a:cubicBezTo>
                <a:cubicBezTo>
                  <a:pt x="163" y="57"/>
                  <a:pt x="162" y="56"/>
                  <a:pt x="162" y="55"/>
                </a:cubicBezTo>
                <a:cubicBezTo>
                  <a:pt x="162" y="55"/>
                  <a:pt x="160" y="55"/>
                  <a:pt x="160" y="54"/>
                </a:cubicBezTo>
                <a:cubicBezTo>
                  <a:pt x="159" y="53"/>
                  <a:pt x="160" y="51"/>
                  <a:pt x="160" y="51"/>
                </a:cubicBezTo>
                <a:cubicBezTo>
                  <a:pt x="160" y="51"/>
                  <a:pt x="156" y="51"/>
                  <a:pt x="155" y="51"/>
                </a:cubicBezTo>
                <a:cubicBezTo>
                  <a:pt x="155" y="50"/>
                  <a:pt x="153" y="49"/>
                  <a:pt x="153" y="49"/>
                </a:cubicBezTo>
                <a:cubicBezTo>
                  <a:pt x="153" y="49"/>
                  <a:pt x="150" y="49"/>
                  <a:pt x="148" y="48"/>
                </a:cubicBezTo>
                <a:cubicBezTo>
                  <a:pt x="147" y="48"/>
                  <a:pt x="144" y="48"/>
                  <a:pt x="143" y="48"/>
                </a:cubicBezTo>
                <a:cubicBezTo>
                  <a:pt x="141" y="48"/>
                  <a:pt x="136" y="47"/>
                  <a:pt x="135" y="47"/>
                </a:cubicBezTo>
                <a:cubicBezTo>
                  <a:pt x="135" y="47"/>
                  <a:pt x="131" y="47"/>
                  <a:pt x="130" y="47"/>
                </a:cubicBezTo>
                <a:cubicBezTo>
                  <a:pt x="129" y="47"/>
                  <a:pt x="125" y="47"/>
                  <a:pt x="125" y="47"/>
                </a:cubicBezTo>
                <a:cubicBezTo>
                  <a:pt x="114" y="38"/>
                  <a:pt x="114" y="38"/>
                  <a:pt x="114" y="38"/>
                </a:cubicBezTo>
                <a:cubicBezTo>
                  <a:pt x="104" y="32"/>
                  <a:pt x="104" y="32"/>
                  <a:pt x="104" y="32"/>
                </a:cubicBezTo>
                <a:cubicBezTo>
                  <a:pt x="99" y="27"/>
                  <a:pt x="99" y="27"/>
                  <a:pt x="99" y="27"/>
                </a:cubicBezTo>
                <a:cubicBezTo>
                  <a:pt x="99" y="21"/>
                  <a:pt x="99" y="21"/>
                  <a:pt x="99" y="21"/>
                </a:cubicBezTo>
                <a:cubicBezTo>
                  <a:pt x="96" y="18"/>
                  <a:pt x="96" y="18"/>
                  <a:pt x="96" y="18"/>
                </a:cubicBezTo>
                <a:cubicBezTo>
                  <a:pt x="90" y="13"/>
                  <a:pt x="90" y="13"/>
                  <a:pt x="90" y="13"/>
                </a:cubicBezTo>
                <a:cubicBezTo>
                  <a:pt x="79" y="10"/>
                  <a:pt x="79" y="10"/>
                  <a:pt x="79" y="10"/>
                </a:cubicBezTo>
                <a:cubicBezTo>
                  <a:pt x="73" y="6"/>
                  <a:pt x="73" y="6"/>
                  <a:pt x="73" y="6"/>
                </a:cubicBezTo>
                <a:cubicBezTo>
                  <a:pt x="62" y="0"/>
                  <a:pt x="62" y="0"/>
                  <a:pt x="62" y="0"/>
                </a:cubicBezTo>
                <a:cubicBezTo>
                  <a:pt x="62" y="0"/>
                  <a:pt x="55" y="4"/>
                  <a:pt x="54" y="4"/>
                </a:cubicBezTo>
                <a:cubicBezTo>
                  <a:pt x="53" y="4"/>
                  <a:pt x="45" y="8"/>
                  <a:pt x="44" y="8"/>
                </a:cubicBezTo>
                <a:cubicBezTo>
                  <a:pt x="44" y="8"/>
                  <a:pt x="39" y="10"/>
                  <a:pt x="39" y="10"/>
                </a:cubicBezTo>
                <a:cubicBezTo>
                  <a:pt x="33" y="10"/>
                  <a:pt x="33" y="10"/>
                  <a:pt x="33" y="10"/>
                </a:cubicBezTo>
                <a:cubicBezTo>
                  <a:pt x="33" y="10"/>
                  <a:pt x="35" y="14"/>
                  <a:pt x="35" y="15"/>
                </a:cubicBezTo>
                <a:cubicBezTo>
                  <a:pt x="36" y="15"/>
                  <a:pt x="38" y="17"/>
                  <a:pt x="38" y="18"/>
                </a:cubicBezTo>
                <a:cubicBezTo>
                  <a:pt x="38" y="18"/>
                  <a:pt x="41" y="24"/>
                  <a:pt x="42" y="24"/>
                </a:cubicBezTo>
                <a:cubicBezTo>
                  <a:pt x="43" y="25"/>
                  <a:pt x="44" y="26"/>
                  <a:pt x="44" y="26"/>
                </a:cubicBezTo>
                <a:cubicBezTo>
                  <a:pt x="44" y="26"/>
                  <a:pt x="43" y="28"/>
                  <a:pt x="42" y="28"/>
                </a:cubicBezTo>
                <a:cubicBezTo>
                  <a:pt x="42" y="29"/>
                  <a:pt x="40" y="30"/>
                  <a:pt x="40" y="31"/>
                </a:cubicBezTo>
                <a:cubicBezTo>
                  <a:pt x="40" y="32"/>
                  <a:pt x="40" y="33"/>
                  <a:pt x="40" y="34"/>
                </a:cubicBezTo>
                <a:cubicBezTo>
                  <a:pt x="39" y="35"/>
                  <a:pt x="37" y="37"/>
                  <a:pt x="37" y="37"/>
                </a:cubicBezTo>
                <a:cubicBezTo>
                  <a:pt x="36" y="38"/>
                  <a:pt x="35" y="38"/>
                  <a:pt x="34" y="38"/>
                </a:cubicBezTo>
                <a:cubicBezTo>
                  <a:pt x="33" y="38"/>
                  <a:pt x="31" y="38"/>
                  <a:pt x="30" y="39"/>
                </a:cubicBezTo>
                <a:cubicBezTo>
                  <a:pt x="29" y="40"/>
                  <a:pt x="27" y="42"/>
                  <a:pt x="26" y="43"/>
                </a:cubicBezTo>
                <a:cubicBezTo>
                  <a:pt x="25" y="44"/>
                  <a:pt x="25" y="44"/>
                  <a:pt x="24" y="44"/>
                </a:cubicBezTo>
                <a:cubicBezTo>
                  <a:pt x="24" y="45"/>
                  <a:pt x="24" y="46"/>
                  <a:pt x="25" y="47"/>
                </a:cubicBezTo>
                <a:cubicBezTo>
                  <a:pt x="25" y="47"/>
                  <a:pt x="23" y="49"/>
                  <a:pt x="23" y="49"/>
                </a:cubicBezTo>
                <a:cubicBezTo>
                  <a:pt x="22" y="49"/>
                  <a:pt x="20" y="50"/>
                  <a:pt x="19" y="50"/>
                </a:cubicBezTo>
                <a:cubicBezTo>
                  <a:pt x="18" y="50"/>
                  <a:pt x="16" y="51"/>
                  <a:pt x="14" y="50"/>
                </a:cubicBezTo>
                <a:cubicBezTo>
                  <a:pt x="13" y="50"/>
                  <a:pt x="11" y="49"/>
                  <a:pt x="10" y="49"/>
                </a:cubicBezTo>
                <a:cubicBezTo>
                  <a:pt x="10" y="49"/>
                  <a:pt x="8" y="49"/>
                  <a:pt x="7" y="49"/>
                </a:cubicBezTo>
                <a:cubicBezTo>
                  <a:pt x="7" y="48"/>
                  <a:pt x="6" y="47"/>
                  <a:pt x="6" y="47"/>
                </a:cubicBezTo>
                <a:lnTo>
                  <a:pt x="4" y="47"/>
                </a:lnTo>
                <a:close/>
              </a:path>
            </a:pathLst>
          </a:custGeom>
          <a:solidFill>
            <a:srgbClr val="D9D9D9"/>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0" name="Yemen"/>
          <p:cNvSpPr>
            <a:spLocks/>
          </p:cNvSpPr>
          <p:nvPr/>
        </p:nvSpPr>
        <p:spPr bwMode="auto">
          <a:xfrm>
            <a:off x="7344164" y="3458091"/>
            <a:ext cx="318627" cy="230279"/>
          </a:xfrm>
          <a:custGeom>
            <a:avLst/>
            <a:gdLst>
              <a:gd name="connsiteX0" fmla="*/ 281138 w 309713"/>
              <a:gd name="connsiteY0" fmla="*/ 219075 h 223837"/>
              <a:gd name="connsiteX1" fmla="*/ 283255 w 309713"/>
              <a:gd name="connsiteY1" fmla="*/ 219075 h 223837"/>
              <a:gd name="connsiteX2" fmla="*/ 285372 w 309713"/>
              <a:gd name="connsiteY2" fmla="*/ 219075 h 223837"/>
              <a:gd name="connsiteX3" fmla="*/ 285372 w 309713"/>
              <a:gd name="connsiteY3" fmla="*/ 221456 h 223837"/>
              <a:gd name="connsiteX4" fmla="*/ 283255 w 309713"/>
              <a:gd name="connsiteY4" fmla="*/ 223837 h 223837"/>
              <a:gd name="connsiteX5" fmla="*/ 281138 w 309713"/>
              <a:gd name="connsiteY5" fmla="*/ 221456 h 223837"/>
              <a:gd name="connsiteX6" fmla="*/ 281138 w 309713"/>
              <a:gd name="connsiteY6" fmla="*/ 219075 h 223837"/>
              <a:gd name="connsiteX7" fmla="*/ 275846 w 309713"/>
              <a:gd name="connsiteY7" fmla="*/ 214313 h 223837"/>
              <a:gd name="connsiteX8" fmla="*/ 277963 w 309713"/>
              <a:gd name="connsiteY8" fmla="*/ 216430 h 223837"/>
              <a:gd name="connsiteX9" fmla="*/ 275846 w 309713"/>
              <a:gd name="connsiteY9" fmla="*/ 220663 h 223837"/>
              <a:gd name="connsiteX10" fmla="*/ 273729 w 309713"/>
              <a:gd name="connsiteY10" fmla="*/ 220663 h 223837"/>
              <a:gd name="connsiteX11" fmla="*/ 273729 w 309713"/>
              <a:gd name="connsiteY11" fmla="*/ 216430 h 223837"/>
              <a:gd name="connsiteX12" fmla="*/ 275846 w 309713"/>
              <a:gd name="connsiteY12" fmla="*/ 214313 h 223837"/>
              <a:gd name="connsiteX13" fmla="*/ 251504 w 309713"/>
              <a:gd name="connsiteY13" fmla="*/ 214313 h 223837"/>
              <a:gd name="connsiteX14" fmla="*/ 255738 w 309713"/>
              <a:gd name="connsiteY14" fmla="*/ 214313 h 223837"/>
              <a:gd name="connsiteX15" fmla="*/ 255738 w 309713"/>
              <a:gd name="connsiteY15" fmla="*/ 218546 h 223837"/>
              <a:gd name="connsiteX16" fmla="*/ 251504 w 309713"/>
              <a:gd name="connsiteY16" fmla="*/ 218546 h 223837"/>
              <a:gd name="connsiteX17" fmla="*/ 249388 w 309713"/>
              <a:gd name="connsiteY17" fmla="*/ 218546 h 223837"/>
              <a:gd name="connsiteX18" fmla="*/ 251504 w 309713"/>
              <a:gd name="connsiteY18" fmla="*/ 214313 h 223837"/>
              <a:gd name="connsiteX19" fmla="*/ 281561 w 309713"/>
              <a:gd name="connsiteY19" fmla="*/ 201613 h 223837"/>
              <a:gd name="connsiteX20" fmla="*/ 289605 w 309713"/>
              <a:gd name="connsiteY20" fmla="*/ 201613 h 223837"/>
              <a:gd name="connsiteX21" fmla="*/ 295637 w 309713"/>
              <a:gd name="connsiteY21" fmla="*/ 201613 h 223837"/>
              <a:gd name="connsiteX22" fmla="*/ 301670 w 309713"/>
              <a:gd name="connsiteY22" fmla="*/ 201613 h 223837"/>
              <a:gd name="connsiteX23" fmla="*/ 309713 w 309713"/>
              <a:gd name="connsiteY23" fmla="*/ 203465 h 223837"/>
              <a:gd name="connsiteX24" fmla="*/ 301670 w 309713"/>
              <a:gd name="connsiteY24" fmla="*/ 210873 h 223837"/>
              <a:gd name="connsiteX25" fmla="*/ 293626 w 309713"/>
              <a:gd name="connsiteY25" fmla="*/ 210873 h 223837"/>
              <a:gd name="connsiteX26" fmla="*/ 289605 w 309713"/>
              <a:gd name="connsiteY26" fmla="*/ 210873 h 223837"/>
              <a:gd name="connsiteX27" fmla="*/ 283572 w 309713"/>
              <a:gd name="connsiteY27" fmla="*/ 209021 h 223837"/>
              <a:gd name="connsiteX28" fmla="*/ 279550 w 309713"/>
              <a:gd name="connsiteY28" fmla="*/ 205317 h 223837"/>
              <a:gd name="connsiteX29" fmla="*/ 281561 w 309713"/>
              <a:gd name="connsiteY29" fmla="*/ 201613 h 223837"/>
              <a:gd name="connsiteX30" fmla="*/ 248027 w 309713"/>
              <a:gd name="connsiteY30" fmla="*/ 0 h 223837"/>
              <a:gd name="connsiteX31" fmla="*/ 256010 w 309713"/>
              <a:gd name="connsiteY31" fmla="*/ 21914 h 223837"/>
              <a:gd name="connsiteX32" fmla="*/ 260001 w 309713"/>
              <a:gd name="connsiteY32" fmla="*/ 35859 h 223837"/>
              <a:gd name="connsiteX33" fmla="*/ 261997 w 309713"/>
              <a:gd name="connsiteY33" fmla="*/ 57772 h 223837"/>
              <a:gd name="connsiteX34" fmla="*/ 263993 w 309713"/>
              <a:gd name="connsiteY34" fmla="*/ 65741 h 223837"/>
              <a:gd name="connsiteX35" fmla="*/ 277963 w 309713"/>
              <a:gd name="connsiteY35" fmla="*/ 75702 h 223837"/>
              <a:gd name="connsiteX36" fmla="*/ 275967 w 309713"/>
              <a:gd name="connsiteY36" fmla="*/ 75702 h 223837"/>
              <a:gd name="connsiteX37" fmla="*/ 273971 w 309713"/>
              <a:gd name="connsiteY37" fmla="*/ 77694 h 223837"/>
              <a:gd name="connsiteX38" fmla="*/ 258006 w 309713"/>
              <a:gd name="connsiteY38" fmla="*/ 83670 h 223837"/>
              <a:gd name="connsiteX39" fmla="*/ 250023 w 309713"/>
              <a:gd name="connsiteY39" fmla="*/ 91639 h 223837"/>
              <a:gd name="connsiteX40" fmla="*/ 252018 w 309713"/>
              <a:gd name="connsiteY40" fmla="*/ 107576 h 223837"/>
              <a:gd name="connsiteX41" fmla="*/ 246031 w 309713"/>
              <a:gd name="connsiteY41" fmla="*/ 113553 h 223837"/>
              <a:gd name="connsiteX42" fmla="*/ 242040 w 309713"/>
              <a:gd name="connsiteY42" fmla="*/ 115545 h 223837"/>
              <a:gd name="connsiteX43" fmla="*/ 238048 w 309713"/>
              <a:gd name="connsiteY43" fmla="*/ 117537 h 223837"/>
              <a:gd name="connsiteX44" fmla="*/ 232061 w 309713"/>
              <a:gd name="connsiteY44" fmla="*/ 119529 h 223837"/>
              <a:gd name="connsiteX45" fmla="*/ 228070 w 309713"/>
              <a:gd name="connsiteY45" fmla="*/ 121521 h 223837"/>
              <a:gd name="connsiteX46" fmla="*/ 222083 w 309713"/>
              <a:gd name="connsiteY46" fmla="*/ 125506 h 223837"/>
              <a:gd name="connsiteX47" fmla="*/ 210108 w 309713"/>
              <a:gd name="connsiteY47" fmla="*/ 125506 h 223837"/>
              <a:gd name="connsiteX48" fmla="*/ 204121 w 309713"/>
              <a:gd name="connsiteY48" fmla="*/ 127498 h 223837"/>
              <a:gd name="connsiteX49" fmla="*/ 198134 w 309713"/>
              <a:gd name="connsiteY49" fmla="*/ 129490 h 223837"/>
              <a:gd name="connsiteX50" fmla="*/ 194143 w 309713"/>
              <a:gd name="connsiteY50" fmla="*/ 131482 h 223837"/>
              <a:gd name="connsiteX51" fmla="*/ 180173 w 309713"/>
              <a:gd name="connsiteY51" fmla="*/ 135467 h 223837"/>
              <a:gd name="connsiteX52" fmla="*/ 170194 w 309713"/>
              <a:gd name="connsiteY52" fmla="*/ 143435 h 223837"/>
              <a:gd name="connsiteX53" fmla="*/ 166203 w 309713"/>
              <a:gd name="connsiteY53" fmla="*/ 149412 h 223837"/>
              <a:gd name="connsiteX54" fmla="*/ 160216 w 309713"/>
              <a:gd name="connsiteY54" fmla="*/ 155388 h 223837"/>
              <a:gd name="connsiteX55" fmla="*/ 156224 w 309713"/>
              <a:gd name="connsiteY55" fmla="*/ 159372 h 223837"/>
              <a:gd name="connsiteX56" fmla="*/ 148241 w 309713"/>
              <a:gd name="connsiteY56" fmla="*/ 161365 h 223837"/>
              <a:gd name="connsiteX57" fmla="*/ 140258 w 309713"/>
              <a:gd name="connsiteY57" fmla="*/ 159372 h 223837"/>
              <a:gd name="connsiteX58" fmla="*/ 136267 w 309713"/>
              <a:gd name="connsiteY58" fmla="*/ 161365 h 223837"/>
              <a:gd name="connsiteX59" fmla="*/ 132276 w 309713"/>
              <a:gd name="connsiteY59" fmla="*/ 165349 h 223837"/>
              <a:gd name="connsiteX60" fmla="*/ 126288 w 309713"/>
              <a:gd name="connsiteY60" fmla="*/ 167341 h 223837"/>
              <a:gd name="connsiteX61" fmla="*/ 122297 w 309713"/>
              <a:gd name="connsiteY61" fmla="*/ 169333 h 223837"/>
              <a:gd name="connsiteX62" fmla="*/ 118306 w 309713"/>
              <a:gd name="connsiteY62" fmla="*/ 173318 h 223837"/>
              <a:gd name="connsiteX63" fmla="*/ 110323 w 309713"/>
              <a:gd name="connsiteY63" fmla="*/ 173318 h 223837"/>
              <a:gd name="connsiteX64" fmla="*/ 104336 w 309713"/>
              <a:gd name="connsiteY64" fmla="*/ 173318 h 223837"/>
              <a:gd name="connsiteX65" fmla="*/ 96353 w 309713"/>
              <a:gd name="connsiteY65" fmla="*/ 173318 h 223837"/>
              <a:gd name="connsiteX66" fmla="*/ 90366 w 309713"/>
              <a:gd name="connsiteY66" fmla="*/ 175310 h 223837"/>
              <a:gd name="connsiteX67" fmla="*/ 82383 w 309713"/>
              <a:gd name="connsiteY67" fmla="*/ 173318 h 223837"/>
              <a:gd name="connsiteX68" fmla="*/ 74400 w 309713"/>
              <a:gd name="connsiteY68" fmla="*/ 183278 h 223837"/>
              <a:gd name="connsiteX69" fmla="*/ 70408 w 309713"/>
              <a:gd name="connsiteY69" fmla="*/ 189255 h 223837"/>
              <a:gd name="connsiteX70" fmla="*/ 62426 w 309713"/>
              <a:gd name="connsiteY70" fmla="*/ 193239 h 223837"/>
              <a:gd name="connsiteX71" fmla="*/ 56438 w 309713"/>
              <a:gd name="connsiteY71" fmla="*/ 195231 h 223837"/>
              <a:gd name="connsiteX72" fmla="*/ 50451 w 309713"/>
              <a:gd name="connsiteY72" fmla="*/ 201208 h 223837"/>
              <a:gd name="connsiteX73" fmla="*/ 46460 w 309713"/>
              <a:gd name="connsiteY73" fmla="*/ 201208 h 223837"/>
              <a:gd name="connsiteX74" fmla="*/ 40473 w 309713"/>
              <a:gd name="connsiteY74" fmla="*/ 201208 h 223837"/>
              <a:gd name="connsiteX75" fmla="*/ 30494 w 309713"/>
              <a:gd name="connsiteY75" fmla="*/ 203200 h 223837"/>
              <a:gd name="connsiteX76" fmla="*/ 24507 w 309713"/>
              <a:gd name="connsiteY76" fmla="*/ 193239 h 223837"/>
              <a:gd name="connsiteX77" fmla="*/ 20516 w 309713"/>
              <a:gd name="connsiteY77" fmla="*/ 189255 h 223837"/>
              <a:gd name="connsiteX78" fmla="*/ 16524 w 309713"/>
              <a:gd name="connsiteY78" fmla="*/ 181286 h 223837"/>
              <a:gd name="connsiteX79" fmla="*/ 18520 w 309713"/>
              <a:gd name="connsiteY79" fmla="*/ 169333 h 223837"/>
              <a:gd name="connsiteX80" fmla="*/ 14528 w 309713"/>
              <a:gd name="connsiteY80" fmla="*/ 159372 h 223837"/>
              <a:gd name="connsiteX81" fmla="*/ 12533 w 309713"/>
              <a:gd name="connsiteY81" fmla="*/ 151404 h 223837"/>
              <a:gd name="connsiteX82" fmla="*/ 10537 w 309713"/>
              <a:gd name="connsiteY82" fmla="*/ 145427 h 223837"/>
              <a:gd name="connsiteX83" fmla="*/ 10537 w 309713"/>
              <a:gd name="connsiteY83" fmla="*/ 141443 h 223837"/>
              <a:gd name="connsiteX84" fmla="*/ 8541 w 309713"/>
              <a:gd name="connsiteY84" fmla="*/ 129490 h 223837"/>
              <a:gd name="connsiteX85" fmla="*/ 2554 w 309713"/>
              <a:gd name="connsiteY85" fmla="*/ 123514 h 223837"/>
              <a:gd name="connsiteX86" fmla="*/ 2554 w 309713"/>
              <a:gd name="connsiteY86" fmla="*/ 117537 h 223837"/>
              <a:gd name="connsiteX87" fmla="*/ 2554 w 309713"/>
              <a:gd name="connsiteY87" fmla="*/ 111561 h 223837"/>
              <a:gd name="connsiteX88" fmla="*/ 2554 w 309713"/>
              <a:gd name="connsiteY88" fmla="*/ 101600 h 223837"/>
              <a:gd name="connsiteX89" fmla="*/ 558 w 309713"/>
              <a:gd name="connsiteY89" fmla="*/ 91639 h 223837"/>
              <a:gd name="connsiteX90" fmla="*/ 2554 w 309713"/>
              <a:gd name="connsiteY90" fmla="*/ 87655 h 223837"/>
              <a:gd name="connsiteX91" fmla="*/ 22511 w 309713"/>
              <a:gd name="connsiteY91" fmla="*/ 83670 h 223837"/>
              <a:gd name="connsiteX92" fmla="*/ 26503 w 309713"/>
              <a:gd name="connsiteY92" fmla="*/ 67733 h 223837"/>
              <a:gd name="connsiteX93" fmla="*/ 30494 w 309713"/>
              <a:gd name="connsiteY93" fmla="*/ 53788 h 223837"/>
              <a:gd name="connsiteX94" fmla="*/ 38477 w 309713"/>
              <a:gd name="connsiteY94" fmla="*/ 49804 h 223837"/>
              <a:gd name="connsiteX95" fmla="*/ 50451 w 309713"/>
              <a:gd name="connsiteY95" fmla="*/ 51796 h 223837"/>
              <a:gd name="connsiteX96" fmla="*/ 58434 w 309713"/>
              <a:gd name="connsiteY96" fmla="*/ 53788 h 223837"/>
              <a:gd name="connsiteX97" fmla="*/ 66417 w 309713"/>
              <a:gd name="connsiteY97" fmla="*/ 55780 h 223837"/>
              <a:gd name="connsiteX98" fmla="*/ 74400 w 309713"/>
              <a:gd name="connsiteY98" fmla="*/ 63749 h 223837"/>
              <a:gd name="connsiteX99" fmla="*/ 88370 w 309713"/>
              <a:gd name="connsiteY99" fmla="*/ 71718 h 223837"/>
              <a:gd name="connsiteX100" fmla="*/ 98348 w 309713"/>
              <a:gd name="connsiteY100" fmla="*/ 75702 h 223837"/>
              <a:gd name="connsiteX101" fmla="*/ 102340 w 309713"/>
              <a:gd name="connsiteY101" fmla="*/ 79686 h 223837"/>
              <a:gd name="connsiteX102" fmla="*/ 106331 w 309713"/>
              <a:gd name="connsiteY102" fmla="*/ 97616 h 223837"/>
              <a:gd name="connsiteX103" fmla="*/ 108327 w 309713"/>
              <a:gd name="connsiteY103" fmla="*/ 97616 h 223837"/>
              <a:gd name="connsiteX104" fmla="*/ 116310 w 309713"/>
              <a:gd name="connsiteY104" fmla="*/ 87655 h 223837"/>
              <a:gd name="connsiteX105" fmla="*/ 124293 w 309713"/>
              <a:gd name="connsiteY105" fmla="*/ 81678 h 223837"/>
              <a:gd name="connsiteX106" fmla="*/ 128284 w 309713"/>
              <a:gd name="connsiteY106" fmla="*/ 73710 h 223837"/>
              <a:gd name="connsiteX107" fmla="*/ 138263 w 309713"/>
              <a:gd name="connsiteY107" fmla="*/ 61757 h 223837"/>
              <a:gd name="connsiteX108" fmla="*/ 144250 w 309713"/>
              <a:gd name="connsiteY108" fmla="*/ 55780 h 223837"/>
              <a:gd name="connsiteX109" fmla="*/ 150237 w 309713"/>
              <a:gd name="connsiteY109" fmla="*/ 45819 h 223837"/>
              <a:gd name="connsiteX110" fmla="*/ 154228 w 309713"/>
              <a:gd name="connsiteY110" fmla="*/ 41835 h 223837"/>
              <a:gd name="connsiteX111" fmla="*/ 156224 w 309713"/>
              <a:gd name="connsiteY111" fmla="*/ 29882 h 223837"/>
              <a:gd name="connsiteX112" fmla="*/ 162211 w 309713"/>
              <a:gd name="connsiteY112" fmla="*/ 25898 h 223837"/>
              <a:gd name="connsiteX113" fmla="*/ 178177 w 309713"/>
              <a:gd name="connsiteY113" fmla="*/ 23906 h 223837"/>
              <a:gd name="connsiteX114" fmla="*/ 190151 w 309713"/>
              <a:gd name="connsiteY114" fmla="*/ 17929 h 223837"/>
              <a:gd name="connsiteX115" fmla="*/ 202126 w 309713"/>
              <a:gd name="connsiteY115" fmla="*/ 15937 h 223837"/>
              <a:gd name="connsiteX116" fmla="*/ 216096 w 309713"/>
              <a:gd name="connsiteY116" fmla="*/ 11953 h 223837"/>
              <a:gd name="connsiteX117" fmla="*/ 230066 w 309713"/>
              <a:gd name="connsiteY117" fmla="*/ 7969 h 223837"/>
              <a:gd name="connsiteX118" fmla="*/ 248027 w 309713"/>
              <a:gd name="connsiteY118" fmla="*/ 0 h 22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09713" h="223837">
                <a:moveTo>
                  <a:pt x="281138" y="219075"/>
                </a:moveTo>
                <a:cubicBezTo>
                  <a:pt x="281138" y="219075"/>
                  <a:pt x="283255" y="219075"/>
                  <a:pt x="283255" y="219075"/>
                </a:cubicBezTo>
                <a:cubicBezTo>
                  <a:pt x="285372" y="219075"/>
                  <a:pt x="285372" y="219075"/>
                  <a:pt x="285372" y="219075"/>
                </a:cubicBezTo>
                <a:cubicBezTo>
                  <a:pt x="287488" y="219075"/>
                  <a:pt x="285372" y="221456"/>
                  <a:pt x="285372" y="221456"/>
                </a:cubicBezTo>
                <a:cubicBezTo>
                  <a:pt x="285372" y="223837"/>
                  <a:pt x="283255" y="223837"/>
                  <a:pt x="283255" y="223837"/>
                </a:cubicBezTo>
                <a:cubicBezTo>
                  <a:pt x="283255" y="223837"/>
                  <a:pt x="281138" y="221456"/>
                  <a:pt x="281138" y="221456"/>
                </a:cubicBezTo>
                <a:cubicBezTo>
                  <a:pt x="281138" y="221456"/>
                  <a:pt x="281138" y="221456"/>
                  <a:pt x="281138" y="219075"/>
                </a:cubicBezTo>
                <a:close/>
                <a:moveTo>
                  <a:pt x="275846" y="214313"/>
                </a:moveTo>
                <a:cubicBezTo>
                  <a:pt x="275846" y="216430"/>
                  <a:pt x="277963" y="216430"/>
                  <a:pt x="277963" y="216430"/>
                </a:cubicBezTo>
                <a:cubicBezTo>
                  <a:pt x="277963" y="218546"/>
                  <a:pt x="275846" y="220663"/>
                  <a:pt x="275846" y="220663"/>
                </a:cubicBezTo>
                <a:cubicBezTo>
                  <a:pt x="275846" y="220663"/>
                  <a:pt x="273729" y="220663"/>
                  <a:pt x="273729" y="220663"/>
                </a:cubicBezTo>
                <a:cubicBezTo>
                  <a:pt x="273729" y="218546"/>
                  <a:pt x="271613" y="218546"/>
                  <a:pt x="273729" y="216430"/>
                </a:cubicBezTo>
                <a:cubicBezTo>
                  <a:pt x="273729" y="216430"/>
                  <a:pt x="273729" y="214313"/>
                  <a:pt x="275846" y="214313"/>
                </a:cubicBezTo>
                <a:close/>
                <a:moveTo>
                  <a:pt x="251504" y="214313"/>
                </a:moveTo>
                <a:cubicBezTo>
                  <a:pt x="251504" y="214313"/>
                  <a:pt x="255738" y="214313"/>
                  <a:pt x="255738" y="214313"/>
                </a:cubicBezTo>
                <a:cubicBezTo>
                  <a:pt x="255738" y="216430"/>
                  <a:pt x="255738" y="218546"/>
                  <a:pt x="255738" y="218546"/>
                </a:cubicBezTo>
                <a:cubicBezTo>
                  <a:pt x="255738" y="218546"/>
                  <a:pt x="253621" y="220663"/>
                  <a:pt x="251504" y="218546"/>
                </a:cubicBezTo>
                <a:cubicBezTo>
                  <a:pt x="251504" y="218546"/>
                  <a:pt x="249388" y="218546"/>
                  <a:pt x="249388" y="218546"/>
                </a:cubicBezTo>
                <a:cubicBezTo>
                  <a:pt x="249388" y="216430"/>
                  <a:pt x="249388" y="214313"/>
                  <a:pt x="251504" y="214313"/>
                </a:cubicBezTo>
                <a:close/>
                <a:moveTo>
                  <a:pt x="281561" y="201613"/>
                </a:moveTo>
                <a:cubicBezTo>
                  <a:pt x="281561" y="201613"/>
                  <a:pt x="287594" y="201613"/>
                  <a:pt x="289605" y="201613"/>
                </a:cubicBezTo>
                <a:cubicBezTo>
                  <a:pt x="291615" y="201613"/>
                  <a:pt x="293626" y="201613"/>
                  <a:pt x="295637" y="201613"/>
                </a:cubicBezTo>
                <a:cubicBezTo>
                  <a:pt x="299659" y="201613"/>
                  <a:pt x="299659" y="201613"/>
                  <a:pt x="301670" y="201613"/>
                </a:cubicBezTo>
                <a:cubicBezTo>
                  <a:pt x="305692" y="201613"/>
                  <a:pt x="309713" y="201613"/>
                  <a:pt x="309713" y="203465"/>
                </a:cubicBezTo>
                <a:cubicBezTo>
                  <a:pt x="309713" y="205317"/>
                  <a:pt x="305692" y="209021"/>
                  <a:pt x="301670" y="210873"/>
                </a:cubicBezTo>
                <a:cubicBezTo>
                  <a:pt x="299659" y="212725"/>
                  <a:pt x="293626" y="210873"/>
                  <a:pt x="293626" y="210873"/>
                </a:cubicBezTo>
                <a:cubicBezTo>
                  <a:pt x="293626" y="210873"/>
                  <a:pt x="291615" y="210873"/>
                  <a:pt x="289605" y="210873"/>
                </a:cubicBezTo>
                <a:cubicBezTo>
                  <a:pt x="287594" y="210873"/>
                  <a:pt x="285583" y="209021"/>
                  <a:pt x="283572" y="209021"/>
                </a:cubicBezTo>
                <a:cubicBezTo>
                  <a:pt x="281561" y="209021"/>
                  <a:pt x="279550" y="207169"/>
                  <a:pt x="279550" y="205317"/>
                </a:cubicBezTo>
                <a:cubicBezTo>
                  <a:pt x="279550" y="203465"/>
                  <a:pt x="281561" y="201613"/>
                  <a:pt x="281561" y="201613"/>
                </a:cubicBezTo>
                <a:close/>
                <a:moveTo>
                  <a:pt x="248027" y="0"/>
                </a:moveTo>
                <a:cubicBezTo>
                  <a:pt x="248027" y="0"/>
                  <a:pt x="248027" y="0"/>
                  <a:pt x="256010" y="21914"/>
                </a:cubicBezTo>
                <a:cubicBezTo>
                  <a:pt x="256010" y="21914"/>
                  <a:pt x="256010" y="21914"/>
                  <a:pt x="260001" y="35859"/>
                </a:cubicBezTo>
                <a:cubicBezTo>
                  <a:pt x="260001" y="35859"/>
                  <a:pt x="260001" y="35859"/>
                  <a:pt x="261997" y="57772"/>
                </a:cubicBezTo>
                <a:cubicBezTo>
                  <a:pt x="261997" y="57772"/>
                  <a:pt x="261997" y="57772"/>
                  <a:pt x="263993" y="65741"/>
                </a:cubicBezTo>
                <a:cubicBezTo>
                  <a:pt x="263993" y="65741"/>
                  <a:pt x="263993" y="65741"/>
                  <a:pt x="277963" y="75702"/>
                </a:cubicBezTo>
                <a:lnTo>
                  <a:pt x="275967" y="75702"/>
                </a:lnTo>
                <a:cubicBezTo>
                  <a:pt x="275967" y="75702"/>
                  <a:pt x="275967" y="77694"/>
                  <a:pt x="273971" y="77694"/>
                </a:cubicBezTo>
                <a:cubicBezTo>
                  <a:pt x="271976" y="79686"/>
                  <a:pt x="261997" y="83670"/>
                  <a:pt x="258006" y="83670"/>
                </a:cubicBezTo>
                <a:cubicBezTo>
                  <a:pt x="256010" y="83670"/>
                  <a:pt x="252018" y="85663"/>
                  <a:pt x="250023" y="91639"/>
                </a:cubicBezTo>
                <a:cubicBezTo>
                  <a:pt x="248027" y="97616"/>
                  <a:pt x="252018" y="103592"/>
                  <a:pt x="252018" y="107576"/>
                </a:cubicBezTo>
                <a:cubicBezTo>
                  <a:pt x="252018" y="113553"/>
                  <a:pt x="248027" y="113553"/>
                  <a:pt x="246031" y="113553"/>
                </a:cubicBezTo>
                <a:cubicBezTo>
                  <a:pt x="244036" y="113553"/>
                  <a:pt x="242040" y="113553"/>
                  <a:pt x="242040" y="115545"/>
                </a:cubicBezTo>
                <a:cubicBezTo>
                  <a:pt x="242040" y="117537"/>
                  <a:pt x="240044" y="119529"/>
                  <a:pt x="238048" y="117537"/>
                </a:cubicBezTo>
                <a:cubicBezTo>
                  <a:pt x="234057" y="117537"/>
                  <a:pt x="234057" y="117537"/>
                  <a:pt x="232061" y="119529"/>
                </a:cubicBezTo>
                <a:cubicBezTo>
                  <a:pt x="232061" y="119529"/>
                  <a:pt x="230066" y="121521"/>
                  <a:pt x="228070" y="121521"/>
                </a:cubicBezTo>
                <a:cubicBezTo>
                  <a:pt x="226074" y="121521"/>
                  <a:pt x="226074" y="123514"/>
                  <a:pt x="222083" y="125506"/>
                </a:cubicBezTo>
                <a:cubicBezTo>
                  <a:pt x="220087" y="125506"/>
                  <a:pt x="214100" y="125506"/>
                  <a:pt x="210108" y="125506"/>
                </a:cubicBezTo>
                <a:cubicBezTo>
                  <a:pt x="206117" y="125506"/>
                  <a:pt x="204121" y="125506"/>
                  <a:pt x="204121" y="127498"/>
                </a:cubicBezTo>
                <a:cubicBezTo>
                  <a:pt x="204121" y="129490"/>
                  <a:pt x="202126" y="129490"/>
                  <a:pt x="198134" y="129490"/>
                </a:cubicBezTo>
                <a:cubicBezTo>
                  <a:pt x="196138" y="129490"/>
                  <a:pt x="196138" y="129490"/>
                  <a:pt x="194143" y="131482"/>
                </a:cubicBezTo>
                <a:cubicBezTo>
                  <a:pt x="192147" y="133474"/>
                  <a:pt x="186160" y="135467"/>
                  <a:pt x="180173" y="135467"/>
                </a:cubicBezTo>
                <a:cubicBezTo>
                  <a:pt x="176181" y="135467"/>
                  <a:pt x="172190" y="141443"/>
                  <a:pt x="170194" y="143435"/>
                </a:cubicBezTo>
                <a:cubicBezTo>
                  <a:pt x="168198" y="143435"/>
                  <a:pt x="166203" y="149412"/>
                  <a:pt x="166203" y="149412"/>
                </a:cubicBezTo>
                <a:cubicBezTo>
                  <a:pt x="166203" y="149412"/>
                  <a:pt x="164207" y="155388"/>
                  <a:pt x="160216" y="155388"/>
                </a:cubicBezTo>
                <a:cubicBezTo>
                  <a:pt x="158220" y="157380"/>
                  <a:pt x="158220" y="159372"/>
                  <a:pt x="156224" y="159372"/>
                </a:cubicBezTo>
                <a:cubicBezTo>
                  <a:pt x="154228" y="161365"/>
                  <a:pt x="150237" y="161365"/>
                  <a:pt x="148241" y="161365"/>
                </a:cubicBezTo>
                <a:cubicBezTo>
                  <a:pt x="146246" y="161365"/>
                  <a:pt x="142254" y="161365"/>
                  <a:pt x="140258" y="159372"/>
                </a:cubicBezTo>
                <a:cubicBezTo>
                  <a:pt x="138263" y="157380"/>
                  <a:pt x="136267" y="159372"/>
                  <a:pt x="136267" y="161365"/>
                </a:cubicBezTo>
                <a:cubicBezTo>
                  <a:pt x="134271" y="163357"/>
                  <a:pt x="134271" y="165349"/>
                  <a:pt x="132276" y="165349"/>
                </a:cubicBezTo>
                <a:cubicBezTo>
                  <a:pt x="128284" y="165349"/>
                  <a:pt x="126288" y="165349"/>
                  <a:pt x="126288" y="167341"/>
                </a:cubicBezTo>
                <a:cubicBezTo>
                  <a:pt x="126288" y="169333"/>
                  <a:pt x="124293" y="171325"/>
                  <a:pt x="122297" y="169333"/>
                </a:cubicBezTo>
                <a:cubicBezTo>
                  <a:pt x="120301" y="169333"/>
                  <a:pt x="118306" y="169333"/>
                  <a:pt x="118306" y="173318"/>
                </a:cubicBezTo>
                <a:cubicBezTo>
                  <a:pt x="116310" y="173318"/>
                  <a:pt x="112318" y="175310"/>
                  <a:pt x="110323" y="173318"/>
                </a:cubicBezTo>
                <a:cubicBezTo>
                  <a:pt x="108327" y="173318"/>
                  <a:pt x="106331" y="173318"/>
                  <a:pt x="104336" y="173318"/>
                </a:cubicBezTo>
                <a:cubicBezTo>
                  <a:pt x="102340" y="175310"/>
                  <a:pt x="98348" y="173318"/>
                  <a:pt x="96353" y="173318"/>
                </a:cubicBezTo>
                <a:cubicBezTo>
                  <a:pt x="96353" y="171325"/>
                  <a:pt x="94357" y="173318"/>
                  <a:pt x="90366" y="175310"/>
                </a:cubicBezTo>
                <a:cubicBezTo>
                  <a:pt x="86374" y="177302"/>
                  <a:pt x="84378" y="173318"/>
                  <a:pt x="82383" y="173318"/>
                </a:cubicBezTo>
                <a:cubicBezTo>
                  <a:pt x="78391" y="173318"/>
                  <a:pt x="74400" y="181286"/>
                  <a:pt x="74400" y="183278"/>
                </a:cubicBezTo>
                <a:cubicBezTo>
                  <a:pt x="74400" y="185270"/>
                  <a:pt x="74400" y="187263"/>
                  <a:pt x="70408" y="189255"/>
                </a:cubicBezTo>
                <a:cubicBezTo>
                  <a:pt x="64421" y="189255"/>
                  <a:pt x="64421" y="191247"/>
                  <a:pt x="62426" y="193239"/>
                </a:cubicBezTo>
                <a:cubicBezTo>
                  <a:pt x="60430" y="197223"/>
                  <a:pt x="58434" y="197223"/>
                  <a:pt x="56438" y="195231"/>
                </a:cubicBezTo>
                <a:cubicBezTo>
                  <a:pt x="52447" y="195231"/>
                  <a:pt x="52447" y="199216"/>
                  <a:pt x="50451" y="201208"/>
                </a:cubicBezTo>
                <a:cubicBezTo>
                  <a:pt x="50451" y="201208"/>
                  <a:pt x="48456" y="203200"/>
                  <a:pt x="46460" y="201208"/>
                </a:cubicBezTo>
                <a:cubicBezTo>
                  <a:pt x="44464" y="201208"/>
                  <a:pt x="42468" y="199216"/>
                  <a:pt x="40473" y="201208"/>
                </a:cubicBezTo>
                <a:cubicBezTo>
                  <a:pt x="36481" y="203200"/>
                  <a:pt x="34486" y="203200"/>
                  <a:pt x="30494" y="203200"/>
                </a:cubicBezTo>
                <a:cubicBezTo>
                  <a:pt x="28498" y="203200"/>
                  <a:pt x="24507" y="195231"/>
                  <a:pt x="24507" y="193239"/>
                </a:cubicBezTo>
                <a:cubicBezTo>
                  <a:pt x="24507" y="191247"/>
                  <a:pt x="22511" y="191247"/>
                  <a:pt x="20516" y="189255"/>
                </a:cubicBezTo>
                <a:cubicBezTo>
                  <a:pt x="18520" y="189255"/>
                  <a:pt x="18520" y="185270"/>
                  <a:pt x="16524" y="181286"/>
                </a:cubicBezTo>
                <a:cubicBezTo>
                  <a:pt x="14528" y="177302"/>
                  <a:pt x="16524" y="173318"/>
                  <a:pt x="18520" y="169333"/>
                </a:cubicBezTo>
                <a:cubicBezTo>
                  <a:pt x="18520" y="167341"/>
                  <a:pt x="16524" y="161365"/>
                  <a:pt x="14528" y="159372"/>
                </a:cubicBezTo>
                <a:cubicBezTo>
                  <a:pt x="12533" y="155388"/>
                  <a:pt x="12533" y="155388"/>
                  <a:pt x="12533" y="151404"/>
                </a:cubicBezTo>
                <a:cubicBezTo>
                  <a:pt x="10537" y="147419"/>
                  <a:pt x="12533" y="147419"/>
                  <a:pt x="10537" y="145427"/>
                </a:cubicBezTo>
                <a:cubicBezTo>
                  <a:pt x="8541" y="143435"/>
                  <a:pt x="8541" y="145427"/>
                  <a:pt x="10537" y="141443"/>
                </a:cubicBezTo>
                <a:cubicBezTo>
                  <a:pt x="10537" y="137459"/>
                  <a:pt x="8541" y="131482"/>
                  <a:pt x="8541" y="129490"/>
                </a:cubicBezTo>
                <a:cubicBezTo>
                  <a:pt x="6546" y="125506"/>
                  <a:pt x="4550" y="125506"/>
                  <a:pt x="2554" y="123514"/>
                </a:cubicBezTo>
                <a:cubicBezTo>
                  <a:pt x="-1437" y="121521"/>
                  <a:pt x="558" y="119529"/>
                  <a:pt x="2554" y="117537"/>
                </a:cubicBezTo>
                <a:cubicBezTo>
                  <a:pt x="2554" y="117537"/>
                  <a:pt x="2554" y="113553"/>
                  <a:pt x="2554" y="111561"/>
                </a:cubicBezTo>
                <a:cubicBezTo>
                  <a:pt x="558" y="109568"/>
                  <a:pt x="558" y="103592"/>
                  <a:pt x="2554" y="101600"/>
                </a:cubicBezTo>
                <a:cubicBezTo>
                  <a:pt x="6546" y="97616"/>
                  <a:pt x="558" y="95623"/>
                  <a:pt x="558" y="91639"/>
                </a:cubicBezTo>
                <a:cubicBezTo>
                  <a:pt x="-1437" y="89647"/>
                  <a:pt x="2554" y="87655"/>
                  <a:pt x="2554" y="87655"/>
                </a:cubicBezTo>
                <a:cubicBezTo>
                  <a:pt x="558" y="87655"/>
                  <a:pt x="20516" y="85663"/>
                  <a:pt x="22511" y="83670"/>
                </a:cubicBezTo>
                <a:cubicBezTo>
                  <a:pt x="24507" y="83670"/>
                  <a:pt x="26503" y="69725"/>
                  <a:pt x="26503" y="67733"/>
                </a:cubicBezTo>
                <a:cubicBezTo>
                  <a:pt x="26503" y="63749"/>
                  <a:pt x="28498" y="55780"/>
                  <a:pt x="30494" y="53788"/>
                </a:cubicBezTo>
                <a:cubicBezTo>
                  <a:pt x="30494" y="49804"/>
                  <a:pt x="36481" y="49804"/>
                  <a:pt x="38477" y="49804"/>
                </a:cubicBezTo>
                <a:cubicBezTo>
                  <a:pt x="40473" y="49804"/>
                  <a:pt x="46460" y="49804"/>
                  <a:pt x="50451" y="51796"/>
                </a:cubicBezTo>
                <a:cubicBezTo>
                  <a:pt x="52447" y="53788"/>
                  <a:pt x="56438" y="53788"/>
                  <a:pt x="58434" y="53788"/>
                </a:cubicBezTo>
                <a:cubicBezTo>
                  <a:pt x="60430" y="53788"/>
                  <a:pt x="64421" y="55780"/>
                  <a:pt x="66417" y="55780"/>
                </a:cubicBezTo>
                <a:cubicBezTo>
                  <a:pt x="66417" y="57772"/>
                  <a:pt x="72404" y="63749"/>
                  <a:pt x="74400" y="63749"/>
                </a:cubicBezTo>
                <a:cubicBezTo>
                  <a:pt x="76396" y="65741"/>
                  <a:pt x="84378" y="71718"/>
                  <a:pt x="88370" y="71718"/>
                </a:cubicBezTo>
                <a:cubicBezTo>
                  <a:pt x="90366" y="71718"/>
                  <a:pt x="96353" y="73710"/>
                  <a:pt x="98348" y="75702"/>
                </a:cubicBezTo>
                <a:cubicBezTo>
                  <a:pt x="98348" y="75702"/>
                  <a:pt x="102340" y="77694"/>
                  <a:pt x="102340" y="79686"/>
                </a:cubicBezTo>
                <a:cubicBezTo>
                  <a:pt x="102340" y="83670"/>
                  <a:pt x="104336" y="93631"/>
                  <a:pt x="106331" y="97616"/>
                </a:cubicBezTo>
                <a:cubicBezTo>
                  <a:pt x="106331" y="99608"/>
                  <a:pt x="108327" y="97616"/>
                  <a:pt x="108327" y="97616"/>
                </a:cubicBezTo>
                <a:cubicBezTo>
                  <a:pt x="108327" y="95623"/>
                  <a:pt x="114314" y="87655"/>
                  <a:pt x="116310" y="87655"/>
                </a:cubicBezTo>
                <a:cubicBezTo>
                  <a:pt x="116310" y="85663"/>
                  <a:pt x="122297" y="83670"/>
                  <a:pt x="124293" y="81678"/>
                </a:cubicBezTo>
                <a:cubicBezTo>
                  <a:pt x="124293" y="79686"/>
                  <a:pt x="126288" y="75702"/>
                  <a:pt x="128284" y="73710"/>
                </a:cubicBezTo>
                <a:cubicBezTo>
                  <a:pt x="130280" y="71718"/>
                  <a:pt x="136267" y="63749"/>
                  <a:pt x="138263" y="61757"/>
                </a:cubicBezTo>
                <a:cubicBezTo>
                  <a:pt x="140258" y="59765"/>
                  <a:pt x="142254" y="57772"/>
                  <a:pt x="144250" y="55780"/>
                </a:cubicBezTo>
                <a:cubicBezTo>
                  <a:pt x="146246" y="53788"/>
                  <a:pt x="150237" y="47812"/>
                  <a:pt x="150237" y="45819"/>
                </a:cubicBezTo>
                <a:cubicBezTo>
                  <a:pt x="154228" y="43827"/>
                  <a:pt x="152233" y="43827"/>
                  <a:pt x="154228" y="41835"/>
                </a:cubicBezTo>
                <a:cubicBezTo>
                  <a:pt x="154228" y="37851"/>
                  <a:pt x="154228" y="33867"/>
                  <a:pt x="156224" y="29882"/>
                </a:cubicBezTo>
                <a:cubicBezTo>
                  <a:pt x="158220" y="27890"/>
                  <a:pt x="160216" y="25898"/>
                  <a:pt x="162211" y="25898"/>
                </a:cubicBezTo>
                <a:cubicBezTo>
                  <a:pt x="164207" y="25898"/>
                  <a:pt x="174186" y="23906"/>
                  <a:pt x="178177" y="23906"/>
                </a:cubicBezTo>
                <a:cubicBezTo>
                  <a:pt x="182168" y="21914"/>
                  <a:pt x="188156" y="17929"/>
                  <a:pt x="190151" y="17929"/>
                </a:cubicBezTo>
                <a:cubicBezTo>
                  <a:pt x="192147" y="15937"/>
                  <a:pt x="196138" y="15937"/>
                  <a:pt x="202126" y="15937"/>
                </a:cubicBezTo>
                <a:cubicBezTo>
                  <a:pt x="208113" y="15937"/>
                  <a:pt x="214100" y="13945"/>
                  <a:pt x="216096" y="11953"/>
                </a:cubicBezTo>
                <a:cubicBezTo>
                  <a:pt x="218091" y="11953"/>
                  <a:pt x="230066" y="7969"/>
                  <a:pt x="230066" y="7969"/>
                </a:cubicBezTo>
                <a:cubicBezTo>
                  <a:pt x="230066" y="7969"/>
                  <a:pt x="230066" y="7969"/>
                  <a:pt x="248027" y="0"/>
                </a:cubicBezTo>
                <a:close/>
              </a:path>
            </a:pathLst>
          </a:custGeom>
          <a:solidFill>
            <a:srgbClr val="D9D9D9"/>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1" name="Oman"/>
          <p:cNvSpPr>
            <a:spLocks/>
          </p:cNvSpPr>
          <p:nvPr/>
        </p:nvSpPr>
        <p:spPr bwMode="auto">
          <a:xfrm>
            <a:off x="7599096" y="3270275"/>
            <a:ext cx="199249" cy="266210"/>
          </a:xfrm>
          <a:custGeom>
            <a:avLst/>
            <a:gdLst>
              <a:gd name="T0" fmla="*/ 15 w 97"/>
              <a:gd name="T1" fmla="*/ 129 h 129"/>
              <a:gd name="T2" fmla="*/ 27 w 97"/>
              <a:gd name="T3" fmla="*/ 123 h 129"/>
              <a:gd name="T4" fmla="*/ 37 w 97"/>
              <a:gd name="T5" fmla="*/ 125 h 129"/>
              <a:gd name="T6" fmla="*/ 39 w 97"/>
              <a:gd name="T7" fmla="*/ 116 h 129"/>
              <a:gd name="T8" fmla="*/ 46 w 97"/>
              <a:gd name="T9" fmla="*/ 111 h 129"/>
              <a:gd name="T10" fmla="*/ 52 w 97"/>
              <a:gd name="T11" fmla="*/ 111 h 129"/>
              <a:gd name="T12" fmla="*/ 55 w 97"/>
              <a:gd name="T13" fmla="*/ 107 h 129"/>
              <a:gd name="T14" fmla="*/ 57 w 97"/>
              <a:gd name="T15" fmla="*/ 101 h 129"/>
              <a:gd name="T16" fmla="*/ 66 w 97"/>
              <a:gd name="T17" fmla="*/ 94 h 129"/>
              <a:gd name="T18" fmla="*/ 72 w 97"/>
              <a:gd name="T19" fmla="*/ 91 h 129"/>
              <a:gd name="T20" fmla="*/ 69 w 97"/>
              <a:gd name="T21" fmla="*/ 82 h 129"/>
              <a:gd name="T22" fmla="*/ 71 w 97"/>
              <a:gd name="T23" fmla="*/ 74 h 129"/>
              <a:gd name="T24" fmla="*/ 74 w 97"/>
              <a:gd name="T25" fmla="*/ 69 h 129"/>
              <a:gd name="T26" fmla="*/ 78 w 97"/>
              <a:gd name="T27" fmla="*/ 67 h 129"/>
              <a:gd name="T28" fmla="*/ 81 w 97"/>
              <a:gd name="T29" fmla="*/ 67 h 129"/>
              <a:gd name="T30" fmla="*/ 83 w 97"/>
              <a:gd name="T31" fmla="*/ 61 h 129"/>
              <a:gd name="T32" fmla="*/ 85 w 97"/>
              <a:gd name="T33" fmla="*/ 57 h 129"/>
              <a:gd name="T34" fmla="*/ 89 w 97"/>
              <a:gd name="T35" fmla="*/ 51 h 129"/>
              <a:gd name="T36" fmla="*/ 93 w 97"/>
              <a:gd name="T37" fmla="*/ 42 h 129"/>
              <a:gd name="T38" fmla="*/ 96 w 97"/>
              <a:gd name="T39" fmla="*/ 37 h 129"/>
              <a:gd name="T40" fmla="*/ 92 w 97"/>
              <a:gd name="T41" fmla="*/ 32 h 129"/>
              <a:gd name="T42" fmla="*/ 84 w 97"/>
              <a:gd name="T43" fmla="*/ 24 h 129"/>
              <a:gd name="T44" fmla="*/ 75 w 97"/>
              <a:gd name="T45" fmla="*/ 16 h 129"/>
              <a:gd name="T46" fmla="*/ 66 w 97"/>
              <a:gd name="T47" fmla="*/ 14 h 129"/>
              <a:gd name="T48" fmla="*/ 55 w 97"/>
              <a:gd name="T49" fmla="*/ 9 h 129"/>
              <a:gd name="T50" fmla="*/ 46 w 97"/>
              <a:gd name="T51" fmla="*/ 3 h 129"/>
              <a:gd name="T52" fmla="*/ 42 w 97"/>
              <a:gd name="T53" fmla="*/ 10 h 129"/>
              <a:gd name="T54" fmla="*/ 38 w 97"/>
              <a:gd name="T55" fmla="*/ 18 h 129"/>
              <a:gd name="T56" fmla="*/ 34 w 97"/>
              <a:gd name="T57" fmla="*/ 25 h 129"/>
              <a:gd name="T58" fmla="*/ 38 w 97"/>
              <a:gd name="T59" fmla="*/ 35 h 129"/>
              <a:gd name="T60" fmla="*/ 42 w 97"/>
              <a:gd name="T61" fmla="*/ 46 h 129"/>
              <a:gd name="T62" fmla="*/ 39 w 97"/>
              <a:gd name="T63" fmla="*/ 56 h 129"/>
              <a:gd name="T64" fmla="*/ 36 w 97"/>
              <a:gd name="T65" fmla="*/ 68 h 129"/>
              <a:gd name="T66" fmla="*/ 28 w 97"/>
              <a:gd name="T67" fmla="*/ 77 h 129"/>
              <a:gd name="T68" fmla="*/ 4 w 97"/>
              <a:gd name="T69" fmla="*/ 102 h 129"/>
              <a:gd name="T70" fmla="*/ 7 w 97"/>
              <a:gd name="T71" fmla="*/ 120 h 129"/>
              <a:gd name="T72" fmla="*/ 14 w 97"/>
              <a:gd name="T73"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129">
                <a:moveTo>
                  <a:pt x="14" y="129"/>
                </a:moveTo>
                <a:cubicBezTo>
                  <a:pt x="15" y="129"/>
                  <a:pt x="15" y="129"/>
                  <a:pt x="15" y="129"/>
                </a:cubicBezTo>
                <a:cubicBezTo>
                  <a:pt x="17" y="128"/>
                  <a:pt x="19" y="128"/>
                  <a:pt x="23" y="127"/>
                </a:cubicBezTo>
                <a:cubicBezTo>
                  <a:pt x="27" y="123"/>
                  <a:pt x="27" y="123"/>
                  <a:pt x="27" y="123"/>
                </a:cubicBezTo>
                <a:cubicBezTo>
                  <a:pt x="27" y="123"/>
                  <a:pt x="28" y="123"/>
                  <a:pt x="30" y="124"/>
                </a:cubicBezTo>
                <a:cubicBezTo>
                  <a:pt x="31" y="124"/>
                  <a:pt x="35" y="126"/>
                  <a:pt x="37" y="125"/>
                </a:cubicBezTo>
                <a:cubicBezTo>
                  <a:pt x="39" y="123"/>
                  <a:pt x="40" y="122"/>
                  <a:pt x="40" y="121"/>
                </a:cubicBezTo>
                <a:cubicBezTo>
                  <a:pt x="39" y="120"/>
                  <a:pt x="38" y="117"/>
                  <a:pt x="39" y="116"/>
                </a:cubicBezTo>
                <a:cubicBezTo>
                  <a:pt x="40" y="114"/>
                  <a:pt x="42" y="114"/>
                  <a:pt x="43" y="112"/>
                </a:cubicBezTo>
                <a:cubicBezTo>
                  <a:pt x="44" y="110"/>
                  <a:pt x="44" y="110"/>
                  <a:pt x="46" y="111"/>
                </a:cubicBezTo>
                <a:cubicBezTo>
                  <a:pt x="47" y="111"/>
                  <a:pt x="48" y="111"/>
                  <a:pt x="49" y="110"/>
                </a:cubicBezTo>
                <a:cubicBezTo>
                  <a:pt x="50" y="110"/>
                  <a:pt x="51" y="111"/>
                  <a:pt x="52" y="111"/>
                </a:cubicBezTo>
                <a:cubicBezTo>
                  <a:pt x="52" y="111"/>
                  <a:pt x="52" y="110"/>
                  <a:pt x="54" y="110"/>
                </a:cubicBezTo>
                <a:cubicBezTo>
                  <a:pt x="55" y="109"/>
                  <a:pt x="55" y="108"/>
                  <a:pt x="55" y="107"/>
                </a:cubicBezTo>
                <a:cubicBezTo>
                  <a:pt x="55" y="106"/>
                  <a:pt x="55" y="105"/>
                  <a:pt x="56" y="105"/>
                </a:cubicBezTo>
                <a:cubicBezTo>
                  <a:pt x="57" y="105"/>
                  <a:pt x="56" y="102"/>
                  <a:pt x="57" y="101"/>
                </a:cubicBezTo>
                <a:cubicBezTo>
                  <a:pt x="58" y="100"/>
                  <a:pt x="58" y="98"/>
                  <a:pt x="60" y="97"/>
                </a:cubicBezTo>
                <a:cubicBezTo>
                  <a:pt x="62" y="95"/>
                  <a:pt x="65" y="94"/>
                  <a:pt x="66" y="94"/>
                </a:cubicBezTo>
                <a:cubicBezTo>
                  <a:pt x="67" y="94"/>
                  <a:pt x="70" y="94"/>
                  <a:pt x="71" y="93"/>
                </a:cubicBezTo>
                <a:cubicBezTo>
                  <a:pt x="72" y="93"/>
                  <a:pt x="73" y="93"/>
                  <a:pt x="72" y="91"/>
                </a:cubicBezTo>
                <a:cubicBezTo>
                  <a:pt x="71" y="90"/>
                  <a:pt x="71" y="88"/>
                  <a:pt x="71" y="86"/>
                </a:cubicBezTo>
                <a:cubicBezTo>
                  <a:pt x="71" y="84"/>
                  <a:pt x="71" y="83"/>
                  <a:pt x="69" y="82"/>
                </a:cubicBezTo>
                <a:cubicBezTo>
                  <a:pt x="68" y="82"/>
                  <a:pt x="68" y="80"/>
                  <a:pt x="69" y="78"/>
                </a:cubicBezTo>
                <a:cubicBezTo>
                  <a:pt x="70" y="77"/>
                  <a:pt x="71" y="76"/>
                  <a:pt x="71" y="74"/>
                </a:cubicBezTo>
                <a:cubicBezTo>
                  <a:pt x="71" y="72"/>
                  <a:pt x="71" y="71"/>
                  <a:pt x="73" y="71"/>
                </a:cubicBezTo>
                <a:cubicBezTo>
                  <a:pt x="74" y="71"/>
                  <a:pt x="74" y="70"/>
                  <a:pt x="74" y="69"/>
                </a:cubicBezTo>
                <a:cubicBezTo>
                  <a:pt x="74" y="67"/>
                  <a:pt x="75" y="67"/>
                  <a:pt x="76" y="66"/>
                </a:cubicBezTo>
                <a:cubicBezTo>
                  <a:pt x="78" y="65"/>
                  <a:pt x="78" y="65"/>
                  <a:pt x="78" y="67"/>
                </a:cubicBezTo>
                <a:cubicBezTo>
                  <a:pt x="77" y="68"/>
                  <a:pt x="77" y="70"/>
                  <a:pt x="79" y="69"/>
                </a:cubicBezTo>
                <a:cubicBezTo>
                  <a:pt x="80" y="69"/>
                  <a:pt x="81" y="68"/>
                  <a:pt x="81" y="67"/>
                </a:cubicBezTo>
                <a:cubicBezTo>
                  <a:pt x="81" y="66"/>
                  <a:pt x="81" y="65"/>
                  <a:pt x="82" y="64"/>
                </a:cubicBezTo>
                <a:cubicBezTo>
                  <a:pt x="82" y="63"/>
                  <a:pt x="82" y="62"/>
                  <a:pt x="83" y="61"/>
                </a:cubicBezTo>
                <a:cubicBezTo>
                  <a:pt x="84" y="61"/>
                  <a:pt x="84" y="60"/>
                  <a:pt x="84" y="59"/>
                </a:cubicBezTo>
                <a:cubicBezTo>
                  <a:pt x="83" y="58"/>
                  <a:pt x="83" y="57"/>
                  <a:pt x="85" y="57"/>
                </a:cubicBezTo>
                <a:cubicBezTo>
                  <a:pt x="87" y="56"/>
                  <a:pt x="85" y="55"/>
                  <a:pt x="87" y="53"/>
                </a:cubicBezTo>
                <a:cubicBezTo>
                  <a:pt x="89" y="53"/>
                  <a:pt x="89" y="51"/>
                  <a:pt x="89" y="51"/>
                </a:cubicBezTo>
                <a:cubicBezTo>
                  <a:pt x="89" y="51"/>
                  <a:pt x="90" y="46"/>
                  <a:pt x="92" y="46"/>
                </a:cubicBezTo>
                <a:cubicBezTo>
                  <a:pt x="93" y="46"/>
                  <a:pt x="93" y="42"/>
                  <a:pt x="93" y="42"/>
                </a:cubicBezTo>
                <a:cubicBezTo>
                  <a:pt x="93" y="42"/>
                  <a:pt x="93" y="40"/>
                  <a:pt x="94" y="40"/>
                </a:cubicBezTo>
                <a:cubicBezTo>
                  <a:pt x="95" y="40"/>
                  <a:pt x="96" y="37"/>
                  <a:pt x="96" y="37"/>
                </a:cubicBezTo>
                <a:cubicBezTo>
                  <a:pt x="96" y="37"/>
                  <a:pt x="97" y="34"/>
                  <a:pt x="95" y="34"/>
                </a:cubicBezTo>
                <a:cubicBezTo>
                  <a:pt x="93" y="34"/>
                  <a:pt x="92" y="32"/>
                  <a:pt x="92" y="32"/>
                </a:cubicBezTo>
                <a:cubicBezTo>
                  <a:pt x="92" y="32"/>
                  <a:pt x="88" y="29"/>
                  <a:pt x="87" y="29"/>
                </a:cubicBezTo>
                <a:cubicBezTo>
                  <a:pt x="86" y="28"/>
                  <a:pt x="84" y="27"/>
                  <a:pt x="84" y="24"/>
                </a:cubicBezTo>
                <a:cubicBezTo>
                  <a:pt x="83" y="21"/>
                  <a:pt x="80" y="19"/>
                  <a:pt x="78" y="18"/>
                </a:cubicBezTo>
                <a:cubicBezTo>
                  <a:pt x="76" y="17"/>
                  <a:pt x="76" y="17"/>
                  <a:pt x="75" y="16"/>
                </a:cubicBezTo>
                <a:cubicBezTo>
                  <a:pt x="74" y="15"/>
                  <a:pt x="72" y="15"/>
                  <a:pt x="72" y="15"/>
                </a:cubicBezTo>
                <a:cubicBezTo>
                  <a:pt x="72" y="15"/>
                  <a:pt x="68" y="16"/>
                  <a:pt x="66" y="14"/>
                </a:cubicBezTo>
                <a:cubicBezTo>
                  <a:pt x="63" y="13"/>
                  <a:pt x="61" y="12"/>
                  <a:pt x="61" y="12"/>
                </a:cubicBezTo>
                <a:cubicBezTo>
                  <a:pt x="61" y="12"/>
                  <a:pt x="56" y="10"/>
                  <a:pt x="55" y="9"/>
                </a:cubicBezTo>
                <a:cubicBezTo>
                  <a:pt x="55" y="8"/>
                  <a:pt x="53" y="5"/>
                  <a:pt x="52" y="2"/>
                </a:cubicBezTo>
                <a:cubicBezTo>
                  <a:pt x="51" y="0"/>
                  <a:pt x="48" y="2"/>
                  <a:pt x="46" y="3"/>
                </a:cubicBezTo>
                <a:cubicBezTo>
                  <a:pt x="46" y="3"/>
                  <a:pt x="44" y="6"/>
                  <a:pt x="44" y="7"/>
                </a:cubicBezTo>
                <a:cubicBezTo>
                  <a:pt x="43" y="7"/>
                  <a:pt x="42" y="9"/>
                  <a:pt x="42" y="10"/>
                </a:cubicBezTo>
                <a:cubicBezTo>
                  <a:pt x="42" y="11"/>
                  <a:pt x="41" y="13"/>
                  <a:pt x="40" y="14"/>
                </a:cubicBezTo>
                <a:cubicBezTo>
                  <a:pt x="40" y="15"/>
                  <a:pt x="39" y="17"/>
                  <a:pt x="38" y="18"/>
                </a:cubicBezTo>
                <a:cubicBezTo>
                  <a:pt x="38" y="19"/>
                  <a:pt x="36" y="21"/>
                  <a:pt x="35" y="22"/>
                </a:cubicBezTo>
                <a:cubicBezTo>
                  <a:pt x="35" y="23"/>
                  <a:pt x="34" y="25"/>
                  <a:pt x="34" y="25"/>
                </a:cubicBezTo>
                <a:cubicBezTo>
                  <a:pt x="34" y="31"/>
                  <a:pt x="34" y="31"/>
                  <a:pt x="34" y="31"/>
                </a:cubicBezTo>
                <a:cubicBezTo>
                  <a:pt x="34" y="31"/>
                  <a:pt x="36" y="34"/>
                  <a:pt x="38" y="35"/>
                </a:cubicBezTo>
                <a:cubicBezTo>
                  <a:pt x="39" y="36"/>
                  <a:pt x="41" y="38"/>
                  <a:pt x="42" y="40"/>
                </a:cubicBezTo>
                <a:cubicBezTo>
                  <a:pt x="42" y="41"/>
                  <a:pt x="42" y="45"/>
                  <a:pt x="42" y="46"/>
                </a:cubicBezTo>
                <a:cubicBezTo>
                  <a:pt x="42" y="47"/>
                  <a:pt x="41" y="49"/>
                  <a:pt x="41" y="50"/>
                </a:cubicBezTo>
                <a:cubicBezTo>
                  <a:pt x="40" y="51"/>
                  <a:pt x="40" y="53"/>
                  <a:pt x="39" y="56"/>
                </a:cubicBezTo>
                <a:cubicBezTo>
                  <a:pt x="39" y="58"/>
                  <a:pt x="38" y="62"/>
                  <a:pt x="38" y="63"/>
                </a:cubicBezTo>
                <a:cubicBezTo>
                  <a:pt x="37" y="65"/>
                  <a:pt x="37" y="67"/>
                  <a:pt x="36" y="68"/>
                </a:cubicBezTo>
                <a:cubicBezTo>
                  <a:pt x="36" y="70"/>
                  <a:pt x="35" y="75"/>
                  <a:pt x="35" y="75"/>
                </a:cubicBezTo>
                <a:cubicBezTo>
                  <a:pt x="35" y="75"/>
                  <a:pt x="29" y="76"/>
                  <a:pt x="28" y="77"/>
                </a:cubicBezTo>
                <a:cubicBezTo>
                  <a:pt x="28" y="77"/>
                  <a:pt x="0" y="91"/>
                  <a:pt x="0" y="91"/>
                </a:cubicBezTo>
                <a:cubicBezTo>
                  <a:pt x="4" y="102"/>
                  <a:pt x="4" y="102"/>
                  <a:pt x="4" y="102"/>
                </a:cubicBezTo>
                <a:cubicBezTo>
                  <a:pt x="6" y="109"/>
                  <a:pt x="6" y="109"/>
                  <a:pt x="6" y="109"/>
                </a:cubicBezTo>
                <a:cubicBezTo>
                  <a:pt x="7" y="120"/>
                  <a:pt x="7" y="120"/>
                  <a:pt x="7" y="120"/>
                </a:cubicBezTo>
                <a:cubicBezTo>
                  <a:pt x="8" y="124"/>
                  <a:pt x="8" y="124"/>
                  <a:pt x="8" y="124"/>
                </a:cubicBezTo>
                <a:lnTo>
                  <a:pt x="14" y="129"/>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2" name="UAE"/>
          <p:cNvSpPr>
            <a:spLocks/>
          </p:cNvSpPr>
          <p:nvPr/>
        </p:nvSpPr>
        <p:spPr bwMode="auto">
          <a:xfrm>
            <a:off x="7577866" y="3226178"/>
            <a:ext cx="125756" cy="114324"/>
          </a:xfrm>
          <a:custGeom>
            <a:avLst/>
            <a:gdLst>
              <a:gd name="T0" fmla="*/ 44 w 61"/>
              <a:gd name="T1" fmla="*/ 53 h 56"/>
              <a:gd name="T2" fmla="*/ 44 w 61"/>
              <a:gd name="T3" fmla="*/ 47 h 56"/>
              <a:gd name="T4" fmla="*/ 45 w 61"/>
              <a:gd name="T5" fmla="*/ 44 h 56"/>
              <a:gd name="T6" fmla="*/ 48 w 61"/>
              <a:gd name="T7" fmla="*/ 40 h 56"/>
              <a:gd name="T8" fmla="*/ 50 w 61"/>
              <a:gd name="T9" fmla="*/ 36 h 56"/>
              <a:gd name="T10" fmla="*/ 52 w 61"/>
              <a:gd name="T11" fmla="*/ 32 h 56"/>
              <a:gd name="T12" fmla="*/ 54 w 61"/>
              <a:gd name="T13" fmla="*/ 29 h 56"/>
              <a:gd name="T14" fmla="*/ 56 w 61"/>
              <a:gd name="T15" fmla="*/ 25 h 56"/>
              <a:gd name="T16" fmla="*/ 61 w 61"/>
              <a:gd name="T17" fmla="*/ 24 h 56"/>
              <a:gd name="T18" fmla="*/ 61 w 61"/>
              <a:gd name="T19" fmla="*/ 21 h 56"/>
              <a:gd name="T20" fmla="*/ 60 w 61"/>
              <a:gd name="T21" fmla="*/ 12 h 56"/>
              <a:gd name="T22" fmla="*/ 59 w 61"/>
              <a:gd name="T23" fmla="*/ 7 h 56"/>
              <a:gd name="T24" fmla="*/ 58 w 61"/>
              <a:gd name="T25" fmla="*/ 4 h 56"/>
              <a:gd name="T26" fmla="*/ 56 w 61"/>
              <a:gd name="T27" fmla="*/ 3 h 56"/>
              <a:gd name="T28" fmla="*/ 54 w 61"/>
              <a:gd name="T29" fmla="*/ 0 h 56"/>
              <a:gd name="T30" fmla="*/ 53 w 61"/>
              <a:gd name="T31" fmla="*/ 1 h 56"/>
              <a:gd name="T32" fmla="*/ 51 w 61"/>
              <a:gd name="T33" fmla="*/ 5 h 56"/>
              <a:gd name="T34" fmla="*/ 50 w 61"/>
              <a:gd name="T35" fmla="*/ 5 h 56"/>
              <a:gd name="T36" fmla="*/ 47 w 61"/>
              <a:gd name="T37" fmla="*/ 8 h 56"/>
              <a:gd name="T38" fmla="*/ 45 w 61"/>
              <a:gd name="T39" fmla="*/ 11 h 56"/>
              <a:gd name="T40" fmla="*/ 41 w 61"/>
              <a:gd name="T41" fmla="*/ 14 h 56"/>
              <a:gd name="T42" fmla="*/ 39 w 61"/>
              <a:gd name="T43" fmla="*/ 16 h 56"/>
              <a:gd name="T44" fmla="*/ 39 w 61"/>
              <a:gd name="T45" fmla="*/ 17 h 56"/>
              <a:gd name="T46" fmla="*/ 37 w 61"/>
              <a:gd name="T47" fmla="*/ 19 h 56"/>
              <a:gd name="T48" fmla="*/ 36 w 61"/>
              <a:gd name="T49" fmla="*/ 21 h 56"/>
              <a:gd name="T50" fmla="*/ 34 w 61"/>
              <a:gd name="T51" fmla="*/ 24 h 56"/>
              <a:gd name="T52" fmla="*/ 32 w 61"/>
              <a:gd name="T53" fmla="*/ 26 h 56"/>
              <a:gd name="T54" fmla="*/ 30 w 61"/>
              <a:gd name="T55" fmla="*/ 28 h 56"/>
              <a:gd name="T56" fmla="*/ 27 w 61"/>
              <a:gd name="T57" fmla="*/ 30 h 56"/>
              <a:gd name="T58" fmla="*/ 25 w 61"/>
              <a:gd name="T59" fmla="*/ 31 h 56"/>
              <a:gd name="T60" fmla="*/ 21 w 61"/>
              <a:gd name="T61" fmla="*/ 31 h 56"/>
              <a:gd name="T62" fmla="*/ 19 w 61"/>
              <a:gd name="T63" fmla="*/ 31 h 56"/>
              <a:gd name="T64" fmla="*/ 13 w 61"/>
              <a:gd name="T65" fmla="*/ 31 h 56"/>
              <a:gd name="T66" fmla="*/ 8 w 61"/>
              <a:gd name="T67" fmla="*/ 32 h 56"/>
              <a:gd name="T68" fmla="*/ 5 w 61"/>
              <a:gd name="T69" fmla="*/ 34 h 56"/>
              <a:gd name="T70" fmla="*/ 1 w 61"/>
              <a:gd name="T71" fmla="*/ 34 h 56"/>
              <a:gd name="T72" fmla="*/ 1 w 61"/>
              <a:gd name="T73" fmla="*/ 39 h 56"/>
              <a:gd name="T74" fmla="*/ 2 w 61"/>
              <a:gd name="T75" fmla="*/ 43 h 56"/>
              <a:gd name="T76" fmla="*/ 4 w 61"/>
              <a:gd name="T77" fmla="*/ 47 h 56"/>
              <a:gd name="T78" fmla="*/ 8 w 61"/>
              <a:gd name="T79" fmla="*/ 49 h 56"/>
              <a:gd name="T80" fmla="*/ 11 w 61"/>
              <a:gd name="T81" fmla="*/ 49 h 56"/>
              <a:gd name="T82" fmla="*/ 17 w 61"/>
              <a:gd name="T83" fmla="*/ 51 h 56"/>
              <a:gd name="T84" fmla="*/ 23 w 61"/>
              <a:gd name="T85" fmla="*/ 51 h 56"/>
              <a:gd name="T86" fmla="*/ 29 w 61"/>
              <a:gd name="T87" fmla="*/ 53 h 56"/>
              <a:gd name="T88" fmla="*/ 35 w 61"/>
              <a:gd name="T89" fmla="*/ 54 h 56"/>
              <a:gd name="T90" fmla="*/ 39 w 61"/>
              <a:gd name="T91" fmla="*/ 55 h 56"/>
              <a:gd name="T92" fmla="*/ 42 w 61"/>
              <a:gd name="T93" fmla="*/ 55 h 56"/>
              <a:gd name="T94" fmla="*/ 44 w 61"/>
              <a:gd name="T95"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1" h="56">
                <a:moveTo>
                  <a:pt x="44" y="53"/>
                </a:moveTo>
                <a:cubicBezTo>
                  <a:pt x="44" y="47"/>
                  <a:pt x="44" y="47"/>
                  <a:pt x="44" y="47"/>
                </a:cubicBezTo>
                <a:cubicBezTo>
                  <a:pt x="44" y="47"/>
                  <a:pt x="45" y="45"/>
                  <a:pt x="45" y="44"/>
                </a:cubicBezTo>
                <a:cubicBezTo>
                  <a:pt x="46" y="43"/>
                  <a:pt x="48" y="41"/>
                  <a:pt x="48" y="40"/>
                </a:cubicBezTo>
                <a:cubicBezTo>
                  <a:pt x="49" y="39"/>
                  <a:pt x="50" y="37"/>
                  <a:pt x="50" y="36"/>
                </a:cubicBezTo>
                <a:cubicBezTo>
                  <a:pt x="51" y="35"/>
                  <a:pt x="52" y="33"/>
                  <a:pt x="52" y="32"/>
                </a:cubicBezTo>
                <a:cubicBezTo>
                  <a:pt x="52" y="31"/>
                  <a:pt x="53" y="29"/>
                  <a:pt x="54" y="29"/>
                </a:cubicBezTo>
                <a:cubicBezTo>
                  <a:pt x="54" y="28"/>
                  <a:pt x="56" y="25"/>
                  <a:pt x="56" y="25"/>
                </a:cubicBezTo>
                <a:cubicBezTo>
                  <a:pt x="57" y="24"/>
                  <a:pt x="60" y="22"/>
                  <a:pt x="61" y="24"/>
                </a:cubicBezTo>
                <a:cubicBezTo>
                  <a:pt x="61" y="23"/>
                  <a:pt x="61" y="22"/>
                  <a:pt x="61" y="21"/>
                </a:cubicBezTo>
                <a:cubicBezTo>
                  <a:pt x="60" y="17"/>
                  <a:pt x="60" y="15"/>
                  <a:pt x="60" y="12"/>
                </a:cubicBezTo>
                <a:cubicBezTo>
                  <a:pt x="59" y="10"/>
                  <a:pt x="59" y="7"/>
                  <a:pt x="59" y="7"/>
                </a:cubicBezTo>
                <a:cubicBezTo>
                  <a:pt x="59" y="7"/>
                  <a:pt x="58" y="5"/>
                  <a:pt x="58" y="4"/>
                </a:cubicBezTo>
                <a:cubicBezTo>
                  <a:pt x="56" y="4"/>
                  <a:pt x="56" y="3"/>
                  <a:pt x="56" y="3"/>
                </a:cubicBezTo>
                <a:cubicBezTo>
                  <a:pt x="56" y="3"/>
                  <a:pt x="54" y="1"/>
                  <a:pt x="54" y="0"/>
                </a:cubicBezTo>
                <a:cubicBezTo>
                  <a:pt x="53" y="1"/>
                  <a:pt x="53" y="1"/>
                  <a:pt x="53" y="1"/>
                </a:cubicBezTo>
                <a:cubicBezTo>
                  <a:pt x="52" y="3"/>
                  <a:pt x="51" y="5"/>
                  <a:pt x="51" y="5"/>
                </a:cubicBezTo>
                <a:cubicBezTo>
                  <a:pt x="51" y="5"/>
                  <a:pt x="50" y="5"/>
                  <a:pt x="50" y="5"/>
                </a:cubicBezTo>
                <a:cubicBezTo>
                  <a:pt x="49" y="5"/>
                  <a:pt x="47" y="7"/>
                  <a:pt x="47" y="8"/>
                </a:cubicBezTo>
                <a:cubicBezTo>
                  <a:pt x="46" y="9"/>
                  <a:pt x="46" y="11"/>
                  <a:pt x="45" y="11"/>
                </a:cubicBezTo>
                <a:cubicBezTo>
                  <a:pt x="43" y="12"/>
                  <a:pt x="41" y="14"/>
                  <a:pt x="41" y="14"/>
                </a:cubicBezTo>
                <a:cubicBezTo>
                  <a:pt x="39" y="16"/>
                  <a:pt x="39" y="16"/>
                  <a:pt x="39" y="16"/>
                </a:cubicBezTo>
                <a:cubicBezTo>
                  <a:pt x="39" y="17"/>
                  <a:pt x="39" y="17"/>
                  <a:pt x="39" y="17"/>
                </a:cubicBezTo>
                <a:cubicBezTo>
                  <a:pt x="39" y="17"/>
                  <a:pt x="37" y="18"/>
                  <a:pt x="37" y="19"/>
                </a:cubicBezTo>
                <a:cubicBezTo>
                  <a:pt x="37" y="20"/>
                  <a:pt x="36" y="21"/>
                  <a:pt x="36" y="21"/>
                </a:cubicBezTo>
                <a:cubicBezTo>
                  <a:pt x="36" y="21"/>
                  <a:pt x="34" y="23"/>
                  <a:pt x="34" y="24"/>
                </a:cubicBezTo>
                <a:cubicBezTo>
                  <a:pt x="34" y="25"/>
                  <a:pt x="33" y="26"/>
                  <a:pt x="32" y="26"/>
                </a:cubicBezTo>
                <a:cubicBezTo>
                  <a:pt x="31" y="27"/>
                  <a:pt x="30" y="28"/>
                  <a:pt x="30" y="28"/>
                </a:cubicBezTo>
                <a:cubicBezTo>
                  <a:pt x="29" y="29"/>
                  <a:pt x="27" y="30"/>
                  <a:pt x="27" y="30"/>
                </a:cubicBezTo>
                <a:cubicBezTo>
                  <a:pt x="27" y="30"/>
                  <a:pt x="25" y="30"/>
                  <a:pt x="25" y="31"/>
                </a:cubicBezTo>
                <a:cubicBezTo>
                  <a:pt x="24" y="32"/>
                  <a:pt x="23" y="32"/>
                  <a:pt x="21" y="31"/>
                </a:cubicBezTo>
                <a:cubicBezTo>
                  <a:pt x="20" y="30"/>
                  <a:pt x="19" y="31"/>
                  <a:pt x="19" y="31"/>
                </a:cubicBezTo>
                <a:cubicBezTo>
                  <a:pt x="19" y="31"/>
                  <a:pt x="15" y="32"/>
                  <a:pt x="13" y="31"/>
                </a:cubicBezTo>
                <a:cubicBezTo>
                  <a:pt x="12" y="30"/>
                  <a:pt x="9" y="30"/>
                  <a:pt x="8" y="32"/>
                </a:cubicBezTo>
                <a:cubicBezTo>
                  <a:pt x="7" y="33"/>
                  <a:pt x="7" y="34"/>
                  <a:pt x="5" y="34"/>
                </a:cubicBezTo>
                <a:cubicBezTo>
                  <a:pt x="3" y="34"/>
                  <a:pt x="2" y="34"/>
                  <a:pt x="1" y="34"/>
                </a:cubicBezTo>
                <a:cubicBezTo>
                  <a:pt x="0" y="34"/>
                  <a:pt x="1" y="38"/>
                  <a:pt x="1" y="39"/>
                </a:cubicBezTo>
                <a:cubicBezTo>
                  <a:pt x="2" y="40"/>
                  <a:pt x="2" y="43"/>
                  <a:pt x="2" y="43"/>
                </a:cubicBezTo>
                <a:cubicBezTo>
                  <a:pt x="3" y="44"/>
                  <a:pt x="3" y="46"/>
                  <a:pt x="4" y="47"/>
                </a:cubicBezTo>
                <a:cubicBezTo>
                  <a:pt x="4" y="48"/>
                  <a:pt x="7" y="49"/>
                  <a:pt x="8" y="49"/>
                </a:cubicBezTo>
                <a:cubicBezTo>
                  <a:pt x="8" y="49"/>
                  <a:pt x="10" y="49"/>
                  <a:pt x="11" y="49"/>
                </a:cubicBezTo>
                <a:cubicBezTo>
                  <a:pt x="12" y="49"/>
                  <a:pt x="16" y="51"/>
                  <a:pt x="17" y="51"/>
                </a:cubicBezTo>
                <a:cubicBezTo>
                  <a:pt x="18" y="51"/>
                  <a:pt x="21" y="51"/>
                  <a:pt x="23" y="51"/>
                </a:cubicBezTo>
                <a:cubicBezTo>
                  <a:pt x="24" y="51"/>
                  <a:pt x="28" y="53"/>
                  <a:pt x="29" y="53"/>
                </a:cubicBezTo>
                <a:cubicBezTo>
                  <a:pt x="31" y="53"/>
                  <a:pt x="34" y="54"/>
                  <a:pt x="35" y="54"/>
                </a:cubicBezTo>
                <a:cubicBezTo>
                  <a:pt x="36" y="55"/>
                  <a:pt x="38" y="55"/>
                  <a:pt x="39" y="55"/>
                </a:cubicBezTo>
                <a:cubicBezTo>
                  <a:pt x="40" y="55"/>
                  <a:pt x="41" y="56"/>
                  <a:pt x="42" y="55"/>
                </a:cubicBezTo>
                <a:cubicBezTo>
                  <a:pt x="43" y="54"/>
                  <a:pt x="44" y="53"/>
                  <a:pt x="44" y="5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3" name="Qatar"/>
          <p:cNvSpPr>
            <a:spLocks/>
          </p:cNvSpPr>
          <p:nvPr/>
        </p:nvSpPr>
        <p:spPr bwMode="auto">
          <a:xfrm>
            <a:off x="7545202" y="3221279"/>
            <a:ext cx="29397" cy="60428"/>
          </a:xfrm>
          <a:custGeom>
            <a:avLst/>
            <a:gdLst>
              <a:gd name="T0" fmla="*/ 13 w 14"/>
              <a:gd name="T1" fmla="*/ 27 h 29"/>
              <a:gd name="T2" fmla="*/ 8 w 14"/>
              <a:gd name="T3" fmla="*/ 28 h 29"/>
              <a:gd name="T4" fmla="*/ 5 w 14"/>
              <a:gd name="T5" fmla="*/ 24 h 29"/>
              <a:gd name="T6" fmla="*/ 4 w 14"/>
              <a:gd name="T7" fmla="*/ 22 h 29"/>
              <a:gd name="T8" fmla="*/ 4 w 14"/>
              <a:gd name="T9" fmla="*/ 18 h 29"/>
              <a:gd name="T10" fmla="*/ 3 w 14"/>
              <a:gd name="T11" fmla="*/ 12 h 29"/>
              <a:gd name="T12" fmla="*/ 2 w 14"/>
              <a:gd name="T13" fmla="*/ 12 h 29"/>
              <a:gd name="T14" fmla="*/ 1 w 14"/>
              <a:gd name="T15" fmla="*/ 14 h 29"/>
              <a:gd name="T16" fmla="*/ 0 w 14"/>
              <a:gd name="T17" fmla="*/ 13 h 29"/>
              <a:gd name="T18" fmla="*/ 1 w 14"/>
              <a:gd name="T19" fmla="*/ 9 h 29"/>
              <a:gd name="T20" fmla="*/ 1 w 14"/>
              <a:gd name="T21" fmla="*/ 6 h 29"/>
              <a:gd name="T22" fmla="*/ 4 w 14"/>
              <a:gd name="T23" fmla="*/ 3 h 29"/>
              <a:gd name="T24" fmla="*/ 6 w 14"/>
              <a:gd name="T25" fmla="*/ 1 h 29"/>
              <a:gd name="T26" fmla="*/ 9 w 14"/>
              <a:gd name="T27" fmla="*/ 2 h 29"/>
              <a:gd name="T28" fmla="*/ 11 w 14"/>
              <a:gd name="T29" fmla="*/ 6 h 29"/>
              <a:gd name="T30" fmla="*/ 13 w 14"/>
              <a:gd name="T31" fmla="*/ 13 h 29"/>
              <a:gd name="T32" fmla="*/ 14 w 14"/>
              <a:gd name="T33" fmla="*/ 17 h 29"/>
              <a:gd name="T34" fmla="*/ 13 w 14"/>
              <a:gd name="T35" fmla="*/ 23 h 29"/>
              <a:gd name="T36" fmla="*/ 13 w 14"/>
              <a:gd name="T37" fmla="*/ 26 h 29"/>
              <a:gd name="T38" fmla="*/ 13 w 14"/>
              <a:gd name="T3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9">
                <a:moveTo>
                  <a:pt x="13" y="27"/>
                </a:moveTo>
                <a:cubicBezTo>
                  <a:pt x="11" y="27"/>
                  <a:pt x="9" y="27"/>
                  <a:pt x="8" y="28"/>
                </a:cubicBezTo>
                <a:cubicBezTo>
                  <a:pt x="6" y="29"/>
                  <a:pt x="4" y="26"/>
                  <a:pt x="5" y="24"/>
                </a:cubicBezTo>
                <a:cubicBezTo>
                  <a:pt x="7" y="23"/>
                  <a:pt x="6" y="22"/>
                  <a:pt x="4" y="22"/>
                </a:cubicBezTo>
                <a:cubicBezTo>
                  <a:pt x="4" y="21"/>
                  <a:pt x="3" y="20"/>
                  <a:pt x="4" y="18"/>
                </a:cubicBezTo>
                <a:cubicBezTo>
                  <a:pt x="5" y="16"/>
                  <a:pt x="4" y="14"/>
                  <a:pt x="3" y="12"/>
                </a:cubicBezTo>
                <a:cubicBezTo>
                  <a:pt x="2" y="10"/>
                  <a:pt x="2" y="12"/>
                  <a:pt x="2" y="12"/>
                </a:cubicBezTo>
                <a:cubicBezTo>
                  <a:pt x="1" y="14"/>
                  <a:pt x="1" y="14"/>
                  <a:pt x="1" y="14"/>
                </a:cubicBezTo>
                <a:cubicBezTo>
                  <a:pt x="0" y="13"/>
                  <a:pt x="0" y="13"/>
                  <a:pt x="0" y="13"/>
                </a:cubicBezTo>
                <a:cubicBezTo>
                  <a:pt x="0" y="11"/>
                  <a:pt x="2" y="11"/>
                  <a:pt x="1" y="9"/>
                </a:cubicBezTo>
                <a:cubicBezTo>
                  <a:pt x="0" y="8"/>
                  <a:pt x="0" y="8"/>
                  <a:pt x="1" y="6"/>
                </a:cubicBezTo>
                <a:cubicBezTo>
                  <a:pt x="1" y="4"/>
                  <a:pt x="3" y="3"/>
                  <a:pt x="4" y="3"/>
                </a:cubicBezTo>
                <a:cubicBezTo>
                  <a:pt x="4" y="3"/>
                  <a:pt x="4" y="2"/>
                  <a:pt x="6" y="1"/>
                </a:cubicBezTo>
                <a:cubicBezTo>
                  <a:pt x="8" y="0"/>
                  <a:pt x="7" y="1"/>
                  <a:pt x="9" y="2"/>
                </a:cubicBezTo>
                <a:cubicBezTo>
                  <a:pt x="10" y="3"/>
                  <a:pt x="11" y="6"/>
                  <a:pt x="11" y="6"/>
                </a:cubicBezTo>
                <a:cubicBezTo>
                  <a:pt x="11" y="6"/>
                  <a:pt x="13" y="10"/>
                  <a:pt x="13" y="13"/>
                </a:cubicBezTo>
                <a:cubicBezTo>
                  <a:pt x="12" y="15"/>
                  <a:pt x="14" y="16"/>
                  <a:pt x="14" y="17"/>
                </a:cubicBezTo>
                <a:cubicBezTo>
                  <a:pt x="14" y="19"/>
                  <a:pt x="14" y="22"/>
                  <a:pt x="13" y="23"/>
                </a:cubicBezTo>
                <a:cubicBezTo>
                  <a:pt x="13" y="23"/>
                  <a:pt x="13" y="24"/>
                  <a:pt x="13" y="26"/>
                </a:cubicBezTo>
                <a:cubicBezTo>
                  <a:pt x="13" y="26"/>
                  <a:pt x="13" y="26"/>
                  <a:pt x="13" y="27"/>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4" name="Kuwait"/>
          <p:cNvSpPr>
            <a:spLocks/>
          </p:cNvSpPr>
          <p:nvPr/>
        </p:nvSpPr>
        <p:spPr bwMode="auto">
          <a:xfrm>
            <a:off x="7425979" y="3092256"/>
            <a:ext cx="58795" cy="55528"/>
          </a:xfrm>
          <a:custGeom>
            <a:avLst/>
            <a:gdLst>
              <a:gd name="T0" fmla="*/ 27 w 28"/>
              <a:gd name="T1" fmla="*/ 1 h 27"/>
              <a:gd name="T2" fmla="*/ 24 w 28"/>
              <a:gd name="T3" fmla="*/ 1 h 27"/>
              <a:gd name="T4" fmla="*/ 17 w 28"/>
              <a:gd name="T5" fmla="*/ 0 h 27"/>
              <a:gd name="T6" fmla="*/ 11 w 28"/>
              <a:gd name="T7" fmla="*/ 1 h 27"/>
              <a:gd name="T8" fmla="*/ 6 w 28"/>
              <a:gd name="T9" fmla="*/ 6 h 27"/>
              <a:gd name="T10" fmla="*/ 3 w 28"/>
              <a:gd name="T11" fmla="*/ 11 h 27"/>
              <a:gd name="T12" fmla="*/ 0 w 28"/>
              <a:gd name="T13" fmla="*/ 15 h 27"/>
              <a:gd name="T14" fmla="*/ 2 w 28"/>
              <a:gd name="T15" fmla="*/ 17 h 27"/>
              <a:gd name="T16" fmla="*/ 7 w 28"/>
              <a:gd name="T17" fmla="*/ 17 h 27"/>
              <a:gd name="T18" fmla="*/ 7 w 28"/>
              <a:gd name="T19" fmla="*/ 20 h 27"/>
              <a:gd name="T20" fmla="*/ 9 w 28"/>
              <a:gd name="T21" fmla="*/ 21 h 27"/>
              <a:gd name="T22" fmla="*/ 11 w 28"/>
              <a:gd name="T23" fmla="*/ 24 h 27"/>
              <a:gd name="T24" fmla="*/ 15 w 28"/>
              <a:gd name="T25" fmla="*/ 25 h 27"/>
              <a:gd name="T26" fmla="*/ 18 w 28"/>
              <a:gd name="T27" fmla="*/ 27 h 27"/>
              <a:gd name="T28" fmla="*/ 22 w 28"/>
              <a:gd name="T29" fmla="*/ 26 h 27"/>
              <a:gd name="T30" fmla="*/ 26 w 28"/>
              <a:gd name="T31" fmla="*/ 26 h 27"/>
              <a:gd name="T32" fmla="*/ 28 w 28"/>
              <a:gd name="T33" fmla="*/ 27 h 27"/>
              <a:gd name="T34" fmla="*/ 28 w 28"/>
              <a:gd name="T35" fmla="*/ 27 h 27"/>
              <a:gd name="T36" fmla="*/ 28 w 28"/>
              <a:gd name="T37" fmla="*/ 24 h 27"/>
              <a:gd name="T38" fmla="*/ 26 w 28"/>
              <a:gd name="T39" fmla="*/ 21 h 27"/>
              <a:gd name="T40" fmla="*/ 23 w 28"/>
              <a:gd name="T41" fmla="*/ 16 h 27"/>
              <a:gd name="T42" fmla="*/ 20 w 28"/>
              <a:gd name="T43" fmla="*/ 13 h 27"/>
              <a:gd name="T44" fmla="*/ 17 w 28"/>
              <a:gd name="T45" fmla="*/ 11 h 27"/>
              <a:gd name="T46" fmla="*/ 20 w 28"/>
              <a:gd name="T47" fmla="*/ 8 h 27"/>
              <a:gd name="T48" fmla="*/ 22 w 28"/>
              <a:gd name="T49" fmla="*/ 8 h 27"/>
              <a:gd name="T50" fmla="*/ 27 w 28"/>
              <a:gd name="T51" fmla="*/ 5 h 27"/>
              <a:gd name="T52" fmla="*/ 27 w 28"/>
              <a:gd name="T53"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7">
                <a:moveTo>
                  <a:pt x="27" y="1"/>
                </a:moveTo>
                <a:cubicBezTo>
                  <a:pt x="27" y="1"/>
                  <a:pt x="26" y="1"/>
                  <a:pt x="24" y="1"/>
                </a:cubicBezTo>
                <a:cubicBezTo>
                  <a:pt x="22" y="0"/>
                  <a:pt x="19" y="0"/>
                  <a:pt x="17" y="0"/>
                </a:cubicBezTo>
                <a:cubicBezTo>
                  <a:pt x="15" y="0"/>
                  <a:pt x="13" y="0"/>
                  <a:pt x="11" y="1"/>
                </a:cubicBezTo>
                <a:cubicBezTo>
                  <a:pt x="8" y="2"/>
                  <a:pt x="7" y="4"/>
                  <a:pt x="6" y="6"/>
                </a:cubicBezTo>
                <a:cubicBezTo>
                  <a:pt x="5" y="7"/>
                  <a:pt x="4" y="10"/>
                  <a:pt x="3" y="11"/>
                </a:cubicBezTo>
                <a:cubicBezTo>
                  <a:pt x="3" y="11"/>
                  <a:pt x="0" y="15"/>
                  <a:pt x="0" y="15"/>
                </a:cubicBezTo>
                <a:cubicBezTo>
                  <a:pt x="0" y="15"/>
                  <a:pt x="2" y="16"/>
                  <a:pt x="2" y="17"/>
                </a:cubicBezTo>
                <a:cubicBezTo>
                  <a:pt x="3" y="17"/>
                  <a:pt x="7" y="17"/>
                  <a:pt x="7" y="17"/>
                </a:cubicBezTo>
                <a:cubicBezTo>
                  <a:pt x="7" y="17"/>
                  <a:pt x="6" y="19"/>
                  <a:pt x="7" y="20"/>
                </a:cubicBezTo>
                <a:cubicBezTo>
                  <a:pt x="7" y="21"/>
                  <a:pt x="9" y="21"/>
                  <a:pt x="9" y="21"/>
                </a:cubicBezTo>
                <a:cubicBezTo>
                  <a:pt x="9" y="22"/>
                  <a:pt x="10" y="23"/>
                  <a:pt x="11" y="24"/>
                </a:cubicBezTo>
                <a:cubicBezTo>
                  <a:pt x="12" y="25"/>
                  <a:pt x="14" y="25"/>
                  <a:pt x="15" y="25"/>
                </a:cubicBezTo>
                <a:cubicBezTo>
                  <a:pt x="16" y="26"/>
                  <a:pt x="17" y="27"/>
                  <a:pt x="18" y="27"/>
                </a:cubicBezTo>
                <a:cubicBezTo>
                  <a:pt x="19" y="27"/>
                  <a:pt x="21" y="26"/>
                  <a:pt x="22" y="26"/>
                </a:cubicBezTo>
                <a:cubicBezTo>
                  <a:pt x="23" y="26"/>
                  <a:pt x="25" y="26"/>
                  <a:pt x="26" y="26"/>
                </a:cubicBezTo>
                <a:cubicBezTo>
                  <a:pt x="26" y="26"/>
                  <a:pt x="27" y="26"/>
                  <a:pt x="28" y="27"/>
                </a:cubicBezTo>
                <a:cubicBezTo>
                  <a:pt x="28" y="27"/>
                  <a:pt x="28" y="27"/>
                  <a:pt x="28" y="27"/>
                </a:cubicBezTo>
                <a:cubicBezTo>
                  <a:pt x="28" y="26"/>
                  <a:pt x="28" y="25"/>
                  <a:pt x="28" y="24"/>
                </a:cubicBezTo>
                <a:cubicBezTo>
                  <a:pt x="27" y="21"/>
                  <a:pt x="26" y="22"/>
                  <a:pt x="26" y="21"/>
                </a:cubicBezTo>
                <a:cubicBezTo>
                  <a:pt x="25" y="21"/>
                  <a:pt x="25" y="18"/>
                  <a:pt x="23" y="16"/>
                </a:cubicBezTo>
                <a:cubicBezTo>
                  <a:pt x="21" y="13"/>
                  <a:pt x="22" y="13"/>
                  <a:pt x="20" y="13"/>
                </a:cubicBezTo>
                <a:cubicBezTo>
                  <a:pt x="17" y="13"/>
                  <a:pt x="15" y="13"/>
                  <a:pt x="17" y="11"/>
                </a:cubicBezTo>
                <a:cubicBezTo>
                  <a:pt x="19" y="9"/>
                  <a:pt x="20" y="8"/>
                  <a:pt x="20" y="8"/>
                </a:cubicBezTo>
                <a:cubicBezTo>
                  <a:pt x="20" y="8"/>
                  <a:pt x="21" y="8"/>
                  <a:pt x="22" y="8"/>
                </a:cubicBezTo>
                <a:cubicBezTo>
                  <a:pt x="24" y="8"/>
                  <a:pt x="27" y="6"/>
                  <a:pt x="27" y="5"/>
                </a:cubicBezTo>
                <a:cubicBezTo>
                  <a:pt x="28" y="4"/>
                  <a:pt x="27" y="2"/>
                  <a:pt x="27" y="1"/>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5" name="Armenia"/>
          <p:cNvSpPr>
            <a:spLocks/>
          </p:cNvSpPr>
          <p:nvPr/>
        </p:nvSpPr>
        <p:spPr bwMode="auto">
          <a:xfrm>
            <a:off x="7308390" y="2687226"/>
            <a:ext cx="93092" cy="88192"/>
          </a:xfrm>
          <a:custGeom>
            <a:avLst/>
            <a:gdLst>
              <a:gd name="T0" fmla="*/ 17 w 46"/>
              <a:gd name="T1" fmla="*/ 30 h 43"/>
              <a:gd name="T2" fmla="*/ 14 w 46"/>
              <a:gd name="T3" fmla="*/ 27 h 43"/>
              <a:gd name="T4" fmla="*/ 6 w 46"/>
              <a:gd name="T5" fmla="*/ 23 h 43"/>
              <a:gd name="T6" fmla="*/ 1 w 46"/>
              <a:gd name="T7" fmla="*/ 20 h 43"/>
              <a:gd name="T8" fmla="*/ 2 w 46"/>
              <a:gd name="T9" fmla="*/ 17 h 43"/>
              <a:gd name="T10" fmla="*/ 1 w 46"/>
              <a:gd name="T11" fmla="*/ 16 h 43"/>
              <a:gd name="T12" fmla="*/ 0 w 46"/>
              <a:gd name="T13" fmla="*/ 10 h 43"/>
              <a:gd name="T14" fmla="*/ 1 w 46"/>
              <a:gd name="T15" fmla="*/ 5 h 43"/>
              <a:gd name="T16" fmla="*/ 4 w 46"/>
              <a:gd name="T17" fmla="*/ 2 h 43"/>
              <a:gd name="T18" fmla="*/ 10 w 46"/>
              <a:gd name="T19" fmla="*/ 2 h 43"/>
              <a:gd name="T20" fmla="*/ 17 w 46"/>
              <a:gd name="T21" fmla="*/ 2 h 43"/>
              <a:gd name="T22" fmla="*/ 21 w 46"/>
              <a:gd name="T23" fmla="*/ 1 h 43"/>
              <a:gd name="T24" fmla="*/ 22 w 46"/>
              <a:gd name="T25" fmla="*/ 0 h 43"/>
              <a:gd name="T26" fmla="*/ 23 w 46"/>
              <a:gd name="T27" fmla="*/ 4 h 43"/>
              <a:gd name="T28" fmla="*/ 25 w 46"/>
              <a:gd name="T29" fmla="*/ 6 h 43"/>
              <a:gd name="T30" fmla="*/ 25 w 46"/>
              <a:gd name="T31" fmla="*/ 9 h 43"/>
              <a:gd name="T32" fmla="*/ 27 w 46"/>
              <a:gd name="T33" fmla="*/ 10 h 43"/>
              <a:gd name="T34" fmla="*/ 31 w 46"/>
              <a:gd name="T35" fmla="*/ 11 h 43"/>
              <a:gd name="T36" fmla="*/ 33 w 46"/>
              <a:gd name="T37" fmla="*/ 15 h 43"/>
              <a:gd name="T38" fmla="*/ 34 w 46"/>
              <a:gd name="T39" fmla="*/ 17 h 43"/>
              <a:gd name="T40" fmla="*/ 38 w 46"/>
              <a:gd name="T41" fmla="*/ 18 h 43"/>
              <a:gd name="T42" fmla="*/ 40 w 46"/>
              <a:gd name="T43" fmla="*/ 20 h 43"/>
              <a:gd name="T44" fmla="*/ 42 w 46"/>
              <a:gd name="T45" fmla="*/ 23 h 43"/>
              <a:gd name="T46" fmla="*/ 44 w 46"/>
              <a:gd name="T47" fmla="*/ 27 h 43"/>
              <a:gd name="T48" fmla="*/ 44 w 46"/>
              <a:gd name="T49" fmla="*/ 31 h 43"/>
              <a:gd name="T50" fmla="*/ 46 w 46"/>
              <a:gd name="T51" fmla="*/ 35 h 43"/>
              <a:gd name="T52" fmla="*/ 46 w 46"/>
              <a:gd name="T53" fmla="*/ 39 h 43"/>
              <a:gd name="T54" fmla="*/ 46 w 46"/>
              <a:gd name="T55" fmla="*/ 43 h 43"/>
              <a:gd name="T56" fmla="*/ 41 w 46"/>
              <a:gd name="T57" fmla="*/ 42 h 43"/>
              <a:gd name="T58" fmla="*/ 36 w 46"/>
              <a:gd name="T59" fmla="*/ 40 h 43"/>
              <a:gd name="T60" fmla="*/ 32 w 46"/>
              <a:gd name="T61" fmla="*/ 34 h 43"/>
              <a:gd name="T62" fmla="*/ 25 w 46"/>
              <a:gd name="T63" fmla="*/ 29 h 43"/>
              <a:gd name="T64" fmla="*/ 20 w 46"/>
              <a:gd name="T65" fmla="*/ 27 h 43"/>
              <a:gd name="T66" fmla="*/ 17 w 46"/>
              <a:gd name="T67" fmla="*/ 27 h 43"/>
              <a:gd name="T68" fmla="*/ 17 w 46"/>
              <a:gd name="T69"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43">
                <a:moveTo>
                  <a:pt x="17" y="30"/>
                </a:moveTo>
                <a:cubicBezTo>
                  <a:pt x="14" y="27"/>
                  <a:pt x="14" y="27"/>
                  <a:pt x="14" y="27"/>
                </a:cubicBezTo>
                <a:cubicBezTo>
                  <a:pt x="14" y="27"/>
                  <a:pt x="7" y="24"/>
                  <a:pt x="6" y="23"/>
                </a:cubicBezTo>
                <a:cubicBezTo>
                  <a:pt x="4" y="23"/>
                  <a:pt x="2" y="21"/>
                  <a:pt x="1" y="20"/>
                </a:cubicBezTo>
                <a:cubicBezTo>
                  <a:pt x="0" y="19"/>
                  <a:pt x="2" y="18"/>
                  <a:pt x="2" y="17"/>
                </a:cubicBezTo>
                <a:cubicBezTo>
                  <a:pt x="2" y="17"/>
                  <a:pt x="1" y="16"/>
                  <a:pt x="1" y="16"/>
                </a:cubicBezTo>
                <a:cubicBezTo>
                  <a:pt x="0" y="15"/>
                  <a:pt x="0" y="12"/>
                  <a:pt x="0" y="10"/>
                </a:cubicBezTo>
                <a:cubicBezTo>
                  <a:pt x="0" y="8"/>
                  <a:pt x="1" y="5"/>
                  <a:pt x="1" y="5"/>
                </a:cubicBezTo>
                <a:cubicBezTo>
                  <a:pt x="1" y="5"/>
                  <a:pt x="2" y="3"/>
                  <a:pt x="4" y="2"/>
                </a:cubicBezTo>
                <a:cubicBezTo>
                  <a:pt x="5" y="2"/>
                  <a:pt x="8" y="2"/>
                  <a:pt x="10" y="2"/>
                </a:cubicBezTo>
                <a:cubicBezTo>
                  <a:pt x="12" y="2"/>
                  <a:pt x="15" y="2"/>
                  <a:pt x="17" y="2"/>
                </a:cubicBezTo>
                <a:cubicBezTo>
                  <a:pt x="19" y="2"/>
                  <a:pt x="20" y="1"/>
                  <a:pt x="21" y="1"/>
                </a:cubicBezTo>
                <a:cubicBezTo>
                  <a:pt x="21" y="0"/>
                  <a:pt x="21" y="0"/>
                  <a:pt x="22" y="0"/>
                </a:cubicBezTo>
                <a:cubicBezTo>
                  <a:pt x="22" y="0"/>
                  <a:pt x="23" y="4"/>
                  <a:pt x="23" y="4"/>
                </a:cubicBezTo>
                <a:cubicBezTo>
                  <a:pt x="23" y="4"/>
                  <a:pt x="24" y="4"/>
                  <a:pt x="25" y="6"/>
                </a:cubicBezTo>
                <a:cubicBezTo>
                  <a:pt x="25" y="7"/>
                  <a:pt x="25" y="8"/>
                  <a:pt x="25" y="9"/>
                </a:cubicBezTo>
                <a:cubicBezTo>
                  <a:pt x="26" y="9"/>
                  <a:pt x="26" y="10"/>
                  <a:pt x="27" y="10"/>
                </a:cubicBezTo>
                <a:cubicBezTo>
                  <a:pt x="27" y="10"/>
                  <a:pt x="30" y="11"/>
                  <a:pt x="31" y="11"/>
                </a:cubicBezTo>
                <a:cubicBezTo>
                  <a:pt x="31" y="12"/>
                  <a:pt x="33" y="13"/>
                  <a:pt x="33" y="15"/>
                </a:cubicBezTo>
                <a:cubicBezTo>
                  <a:pt x="33" y="16"/>
                  <a:pt x="32" y="17"/>
                  <a:pt x="34" y="17"/>
                </a:cubicBezTo>
                <a:cubicBezTo>
                  <a:pt x="35" y="17"/>
                  <a:pt x="37" y="17"/>
                  <a:pt x="38" y="18"/>
                </a:cubicBezTo>
                <a:cubicBezTo>
                  <a:pt x="40" y="18"/>
                  <a:pt x="40" y="19"/>
                  <a:pt x="40" y="20"/>
                </a:cubicBezTo>
                <a:cubicBezTo>
                  <a:pt x="40" y="21"/>
                  <a:pt x="42" y="22"/>
                  <a:pt x="42" y="23"/>
                </a:cubicBezTo>
                <a:cubicBezTo>
                  <a:pt x="44" y="25"/>
                  <a:pt x="44" y="25"/>
                  <a:pt x="44" y="27"/>
                </a:cubicBezTo>
                <a:cubicBezTo>
                  <a:pt x="44" y="28"/>
                  <a:pt x="44" y="30"/>
                  <a:pt x="44" y="31"/>
                </a:cubicBezTo>
                <a:cubicBezTo>
                  <a:pt x="44" y="32"/>
                  <a:pt x="46" y="34"/>
                  <a:pt x="46" y="35"/>
                </a:cubicBezTo>
                <a:cubicBezTo>
                  <a:pt x="46" y="36"/>
                  <a:pt x="46" y="38"/>
                  <a:pt x="46" y="39"/>
                </a:cubicBezTo>
                <a:cubicBezTo>
                  <a:pt x="46" y="40"/>
                  <a:pt x="46" y="43"/>
                  <a:pt x="46" y="43"/>
                </a:cubicBezTo>
                <a:cubicBezTo>
                  <a:pt x="41" y="42"/>
                  <a:pt x="41" y="42"/>
                  <a:pt x="41" y="42"/>
                </a:cubicBezTo>
                <a:cubicBezTo>
                  <a:pt x="36" y="40"/>
                  <a:pt x="36" y="40"/>
                  <a:pt x="36" y="40"/>
                </a:cubicBezTo>
                <a:cubicBezTo>
                  <a:pt x="36" y="40"/>
                  <a:pt x="32" y="35"/>
                  <a:pt x="32" y="34"/>
                </a:cubicBezTo>
                <a:cubicBezTo>
                  <a:pt x="32" y="33"/>
                  <a:pt x="26" y="29"/>
                  <a:pt x="25" y="29"/>
                </a:cubicBezTo>
                <a:cubicBezTo>
                  <a:pt x="24" y="28"/>
                  <a:pt x="21" y="27"/>
                  <a:pt x="20" y="27"/>
                </a:cubicBezTo>
                <a:cubicBezTo>
                  <a:pt x="19" y="27"/>
                  <a:pt x="18" y="27"/>
                  <a:pt x="17" y="27"/>
                </a:cubicBezTo>
                <a:cubicBezTo>
                  <a:pt x="16" y="27"/>
                  <a:pt x="17" y="30"/>
                  <a:pt x="17" y="3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6" name="Azerbaijan"/>
          <p:cNvSpPr>
            <a:spLocks/>
          </p:cNvSpPr>
          <p:nvPr/>
        </p:nvSpPr>
        <p:spPr bwMode="auto">
          <a:xfrm>
            <a:off x="7352486" y="2669260"/>
            <a:ext cx="153520" cy="125755"/>
          </a:xfrm>
          <a:custGeom>
            <a:avLst/>
            <a:gdLst>
              <a:gd name="T0" fmla="*/ 24 w 75"/>
              <a:gd name="T1" fmla="*/ 48 h 61"/>
              <a:gd name="T2" fmla="*/ 22 w 75"/>
              <a:gd name="T3" fmla="*/ 40 h 61"/>
              <a:gd name="T4" fmla="*/ 20 w 75"/>
              <a:gd name="T5" fmla="*/ 32 h 61"/>
              <a:gd name="T6" fmla="*/ 16 w 75"/>
              <a:gd name="T7" fmla="*/ 27 h 61"/>
              <a:gd name="T8" fmla="*/ 11 w 75"/>
              <a:gd name="T9" fmla="*/ 24 h 61"/>
              <a:gd name="T10" fmla="*/ 5 w 75"/>
              <a:gd name="T11" fmla="*/ 19 h 61"/>
              <a:gd name="T12" fmla="*/ 3 w 75"/>
              <a:gd name="T13" fmla="*/ 15 h 61"/>
              <a:gd name="T14" fmla="*/ 0 w 75"/>
              <a:gd name="T15" fmla="*/ 9 h 61"/>
              <a:gd name="T16" fmla="*/ 3 w 75"/>
              <a:gd name="T17" fmla="*/ 8 h 61"/>
              <a:gd name="T18" fmla="*/ 7 w 75"/>
              <a:gd name="T19" fmla="*/ 7 h 61"/>
              <a:gd name="T20" fmla="*/ 14 w 75"/>
              <a:gd name="T21" fmla="*/ 11 h 61"/>
              <a:gd name="T22" fmla="*/ 21 w 75"/>
              <a:gd name="T23" fmla="*/ 13 h 61"/>
              <a:gd name="T24" fmla="*/ 20 w 75"/>
              <a:gd name="T25" fmla="*/ 7 h 61"/>
              <a:gd name="T26" fmla="*/ 24 w 75"/>
              <a:gd name="T27" fmla="*/ 5 h 61"/>
              <a:gd name="T28" fmla="*/ 29 w 75"/>
              <a:gd name="T29" fmla="*/ 6 h 61"/>
              <a:gd name="T30" fmla="*/ 34 w 75"/>
              <a:gd name="T31" fmla="*/ 11 h 61"/>
              <a:gd name="T32" fmla="*/ 39 w 75"/>
              <a:gd name="T33" fmla="*/ 7 h 61"/>
              <a:gd name="T34" fmla="*/ 45 w 75"/>
              <a:gd name="T35" fmla="*/ 1 h 61"/>
              <a:gd name="T36" fmla="*/ 50 w 75"/>
              <a:gd name="T37" fmla="*/ 4 h 61"/>
              <a:gd name="T38" fmla="*/ 56 w 75"/>
              <a:gd name="T39" fmla="*/ 12 h 61"/>
              <a:gd name="T40" fmla="*/ 60 w 75"/>
              <a:gd name="T41" fmla="*/ 18 h 61"/>
              <a:gd name="T42" fmla="*/ 66 w 75"/>
              <a:gd name="T43" fmla="*/ 20 h 61"/>
              <a:gd name="T44" fmla="*/ 70 w 75"/>
              <a:gd name="T45" fmla="*/ 24 h 61"/>
              <a:gd name="T46" fmla="*/ 75 w 75"/>
              <a:gd name="T47" fmla="*/ 28 h 61"/>
              <a:gd name="T48" fmla="*/ 68 w 75"/>
              <a:gd name="T49" fmla="*/ 26 h 61"/>
              <a:gd name="T50" fmla="*/ 66 w 75"/>
              <a:gd name="T51" fmla="*/ 30 h 61"/>
              <a:gd name="T52" fmla="*/ 63 w 75"/>
              <a:gd name="T53" fmla="*/ 37 h 61"/>
              <a:gd name="T54" fmla="*/ 63 w 75"/>
              <a:gd name="T55" fmla="*/ 42 h 61"/>
              <a:gd name="T56" fmla="*/ 61 w 75"/>
              <a:gd name="T57" fmla="*/ 48 h 61"/>
              <a:gd name="T58" fmla="*/ 59 w 75"/>
              <a:gd name="T59" fmla="*/ 53 h 61"/>
              <a:gd name="T60" fmla="*/ 55 w 75"/>
              <a:gd name="T61" fmla="*/ 49 h 61"/>
              <a:gd name="T62" fmla="*/ 56 w 75"/>
              <a:gd name="T63" fmla="*/ 56 h 61"/>
              <a:gd name="T64" fmla="*/ 51 w 75"/>
              <a:gd name="T65" fmla="*/ 58 h 61"/>
              <a:gd name="T66" fmla="*/ 50 w 75"/>
              <a:gd name="T67" fmla="*/ 50 h 61"/>
              <a:gd name="T68" fmla="*/ 44 w 75"/>
              <a:gd name="T69" fmla="*/ 45 h 61"/>
              <a:gd name="T70" fmla="*/ 43 w 75"/>
              <a:gd name="T71" fmla="*/ 36 h 61"/>
              <a:gd name="T72" fmla="*/ 36 w 75"/>
              <a:gd name="T73" fmla="*/ 43 h 61"/>
              <a:gd name="T74" fmla="*/ 27 w 75"/>
              <a:gd name="T75"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61">
                <a:moveTo>
                  <a:pt x="24" y="52"/>
                </a:moveTo>
                <a:cubicBezTo>
                  <a:pt x="24" y="52"/>
                  <a:pt x="24" y="49"/>
                  <a:pt x="24" y="48"/>
                </a:cubicBezTo>
                <a:cubicBezTo>
                  <a:pt x="24" y="47"/>
                  <a:pt x="24" y="45"/>
                  <a:pt x="24" y="44"/>
                </a:cubicBezTo>
                <a:cubicBezTo>
                  <a:pt x="24" y="43"/>
                  <a:pt x="22" y="41"/>
                  <a:pt x="22" y="40"/>
                </a:cubicBezTo>
                <a:cubicBezTo>
                  <a:pt x="22" y="39"/>
                  <a:pt x="22" y="37"/>
                  <a:pt x="22" y="36"/>
                </a:cubicBezTo>
                <a:cubicBezTo>
                  <a:pt x="22" y="34"/>
                  <a:pt x="22" y="34"/>
                  <a:pt x="20" y="32"/>
                </a:cubicBezTo>
                <a:cubicBezTo>
                  <a:pt x="20" y="31"/>
                  <a:pt x="18" y="30"/>
                  <a:pt x="18" y="29"/>
                </a:cubicBezTo>
                <a:cubicBezTo>
                  <a:pt x="18" y="28"/>
                  <a:pt x="18" y="27"/>
                  <a:pt x="16" y="27"/>
                </a:cubicBezTo>
                <a:cubicBezTo>
                  <a:pt x="15" y="26"/>
                  <a:pt x="13" y="26"/>
                  <a:pt x="12" y="26"/>
                </a:cubicBezTo>
                <a:cubicBezTo>
                  <a:pt x="10" y="26"/>
                  <a:pt x="11" y="25"/>
                  <a:pt x="11" y="24"/>
                </a:cubicBezTo>
                <a:cubicBezTo>
                  <a:pt x="11" y="22"/>
                  <a:pt x="9" y="21"/>
                  <a:pt x="9" y="20"/>
                </a:cubicBezTo>
                <a:cubicBezTo>
                  <a:pt x="8" y="20"/>
                  <a:pt x="5" y="19"/>
                  <a:pt x="5" y="19"/>
                </a:cubicBezTo>
                <a:cubicBezTo>
                  <a:pt x="4" y="19"/>
                  <a:pt x="4" y="18"/>
                  <a:pt x="3" y="18"/>
                </a:cubicBezTo>
                <a:cubicBezTo>
                  <a:pt x="3" y="17"/>
                  <a:pt x="3" y="16"/>
                  <a:pt x="3" y="15"/>
                </a:cubicBezTo>
                <a:cubicBezTo>
                  <a:pt x="2" y="13"/>
                  <a:pt x="1" y="13"/>
                  <a:pt x="1" y="13"/>
                </a:cubicBezTo>
                <a:cubicBezTo>
                  <a:pt x="1" y="13"/>
                  <a:pt x="0" y="9"/>
                  <a:pt x="0" y="9"/>
                </a:cubicBezTo>
                <a:cubicBezTo>
                  <a:pt x="0" y="9"/>
                  <a:pt x="1" y="9"/>
                  <a:pt x="1" y="9"/>
                </a:cubicBezTo>
                <a:cubicBezTo>
                  <a:pt x="2" y="9"/>
                  <a:pt x="3" y="8"/>
                  <a:pt x="3" y="8"/>
                </a:cubicBezTo>
                <a:cubicBezTo>
                  <a:pt x="3" y="7"/>
                  <a:pt x="3" y="6"/>
                  <a:pt x="4" y="6"/>
                </a:cubicBezTo>
                <a:cubicBezTo>
                  <a:pt x="5" y="5"/>
                  <a:pt x="7" y="7"/>
                  <a:pt x="7" y="7"/>
                </a:cubicBezTo>
                <a:cubicBezTo>
                  <a:pt x="7" y="7"/>
                  <a:pt x="10" y="9"/>
                  <a:pt x="10" y="9"/>
                </a:cubicBezTo>
                <a:cubicBezTo>
                  <a:pt x="11" y="9"/>
                  <a:pt x="13" y="10"/>
                  <a:pt x="14" y="11"/>
                </a:cubicBezTo>
                <a:cubicBezTo>
                  <a:pt x="14" y="11"/>
                  <a:pt x="16" y="13"/>
                  <a:pt x="17" y="14"/>
                </a:cubicBezTo>
                <a:cubicBezTo>
                  <a:pt x="18" y="15"/>
                  <a:pt x="20" y="13"/>
                  <a:pt x="21" y="13"/>
                </a:cubicBezTo>
                <a:cubicBezTo>
                  <a:pt x="22" y="13"/>
                  <a:pt x="23" y="13"/>
                  <a:pt x="23" y="12"/>
                </a:cubicBezTo>
                <a:cubicBezTo>
                  <a:pt x="23" y="11"/>
                  <a:pt x="21" y="8"/>
                  <a:pt x="20" y="7"/>
                </a:cubicBezTo>
                <a:cubicBezTo>
                  <a:pt x="19" y="6"/>
                  <a:pt x="21" y="5"/>
                  <a:pt x="21" y="5"/>
                </a:cubicBezTo>
                <a:cubicBezTo>
                  <a:pt x="21" y="5"/>
                  <a:pt x="23" y="6"/>
                  <a:pt x="24" y="5"/>
                </a:cubicBezTo>
                <a:cubicBezTo>
                  <a:pt x="25" y="5"/>
                  <a:pt x="25" y="4"/>
                  <a:pt x="26" y="4"/>
                </a:cubicBezTo>
                <a:cubicBezTo>
                  <a:pt x="27" y="4"/>
                  <a:pt x="29" y="6"/>
                  <a:pt x="29" y="6"/>
                </a:cubicBezTo>
                <a:cubicBezTo>
                  <a:pt x="29" y="6"/>
                  <a:pt x="31" y="7"/>
                  <a:pt x="32" y="8"/>
                </a:cubicBezTo>
                <a:cubicBezTo>
                  <a:pt x="33" y="9"/>
                  <a:pt x="34" y="11"/>
                  <a:pt x="34" y="11"/>
                </a:cubicBezTo>
                <a:cubicBezTo>
                  <a:pt x="35" y="11"/>
                  <a:pt x="36" y="11"/>
                  <a:pt x="37" y="9"/>
                </a:cubicBezTo>
                <a:cubicBezTo>
                  <a:pt x="38" y="9"/>
                  <a:pt x="38" y="8"/>
                  <a:pt x="39" y="7"/>
                </a:cubicBezTo>
                <a:cubicBezTo>
                  <a:pt x="41" y="6"/>
                  <a:pt x="43" y="5"/>
                  <a:pt x="43" y="4"/>
                </a:cubicBezTo>
                <a:cubicBezTo>
                  <a:pt x="44" y="3"/>
                  <a:pt x="45" y="2"/>
                  <a:pt x="45" y="1"/>
                </a:cubicBezTo>
                <a:cubicBezTo>
                  <a:pt x="46" y="1"/>
                  <a:pt x="47" y="0"/>
                  <a:pt x="47" y="0"/>
                </a:cubicBezTo>
                <a:cubicBezTo>
                  <a:pt x="47" y="0"/>
                  <a:pt x="50" y="3"/>
                  <a:pt x="50" y="4"/>
                </a:cubicBezTo>
                <a:cubicBezTo>
                  <a:pt x="51" y="5"/>
                  <a:pt x="52" y="7"/>
                  <a:pt x="53" y="8"/>
                </a:cubicBezTo>
                <a:cubicBezTo>
                  <a:pt x="54" y="9"/>
                  <a:pt x="56" y="12"/>
                  <a:pt x="56" y="12"/>
                </a:cubicBezTo>
                <a:cubicBezTo>
                  <a:pt x="56" y="12"/>
                  <a:pt x="58" y="14"/>
                  <a:pt x="58" y="15"/>
                </a:cubicBezTo>
                <a:cubicBezTo>
                  <a:pt x="59" y="16"/>
                  <a:pt x="58" y="17"/>
                  <a:pt x="60" y="18"/>
                </a:cubicBezTo>
                <a:cubicBezTo>
                  <a:pt x="60" y="19"/>
                  <a:pt x="60" y="19"/>
                  <a:pt x="61" y="19"/>
                </a:cubicBezTo>
                <a:cubicBezTo>
                  <a:pt x="62" y="20"/>
                  <a:pt x="65" y="19"/>
                  <a:pt x="66" y="20"/>
                </a:cubicBezTo>
                <a:cubicBezTo>
                  <a:pt x="67" y="21"/>
                  <a:pt x="65" y="22"/>
                  <a:pt x="66" y="23"/>
                </a:cubicBezTo>
                <a:cubicBezTo>
                  <a:pt x="67" y="24"/>
                  <a:pt x="69" y="24"/>
                  <a:pt x="70" y="24"/>
                </a:cubicBezTo>
                <a:cubicBezTo>
                  <a:pt x="71" y="24"/>
                  <a:pt x="71" y="24"/>
                  <a:pt x="72" y="24"/>
                </a:cubicBezTo>
                <a:cubicBezTo>
                  <a:pt x="73" y="25"/>
                  <a:pt x="75" y="27"/>
                  <a:pt x="75" y="28"/>
                </a:cubicBezTo>
                <a:cubicBezTo>
                  <a:pt x="74" y="28"/>
                  <a:pt x="73" y="28"/>
                  <a:pt x="72" y="28"/>
                </a:cubicBezTo>
                <a:cubicBezTo>
                  <a:pt x="71" y="27"/>
                  <a:pt x="69" y="27"/>
                  <a:pt x="68" y="26"/>
                </a:cubicBezTo>
                <a:cubicBezTo>
                  <a:pt x="68" y="26"/>
                  <a:pt x="66" y="26"/>
                  <a:pt x="66" y="27"/>
                </a:cubicBezTo>
                <a:cubicBezTo>
                  <a:pt x="66" y="27"/>
                  <a:pt x="66" y="30"/>
                  <a:pt x="66" y="30"/>
                </a:cubicBezTo>
                <a:cubicBezTo>
                  <a:pt x="64" y="32"/>
                  <a:pt x="64" y="32"/>
                  <a:pt x="64" y="32"/>
                </a:cubicBezTo>
                <a:cubicBezTo>
                  <a:pt x="64" y="32"/>
                  <a:pt x="64" y="36"/>
                  <a:pt x="63" y="37"/>
                </a:cubicBezTo>
                <a:cubicBezTo>
                  <a:pt x="62" y="38"/>
                  <a:pt x="62" y="38"/>
                  <a:pt x="62" y="40"/>
                </a:cubicBezTo>
                <a:cubicBezTo>
                  <a:pt x="62" y="41"/>
                  <a:pt x="63" y="41"/>
                  <a:pt x="63" y="42"/>
                </a:cubicBezTo>
                <a:cubicBezTo>
                  <a:pt x="64" y="43"/>
                  <a:pt x="62" y="44"/>
                  <a:pt x="61" y="45"/>
                </a:cubicBezTo>
                <a:cubicBezTo>
                  <a:pt x="61" y="45"/>
                  <a:pt x="60" y="47"/>
                  <a:pt x="61" y="48"/>
                </a:cubicBezTo>
                <a:cubicBezTo>
                  <a:pt x="62" y="49"/>
                  <a:pt x="62" y="49"/>
                  <a:pt x="62" y="51"/>
                </a:cubicBezTo>
                <a:cubicBezTo>
                  <a:pt x="62" y="52"/>
                  <a:pt x="60" y="53"/>
                  <a:pt x="59" y="53"/>
                </a:cubicBezTo>
                <a:cubicBezTo>
                  <a:pt x="59" y="52"/>
                  <a:pt x="58" y="50"/>
                  <a:pt x="58" y="50"/>
                </a:cubicBezTo>
                <a:cubicBezTo>
                  <a:pt x="58" y="50"/>
                  <a:pt x="56" y="49"/>
                  <a:pt x="55" y="49"/>
                </a:cubicBezTo>
                <a:cubicBezTo>
                  <a:pt x="55" y="50"/>
                  <a:pt x="56" y="53"/>
                  <a:pt x="56" y="53"/>
                </a:cubicBezTo>
                <a:cubicBezTo>
                  <a:pt x="56" y="53"/>
                  <a:pt x="56" y="54"/>
                  <a:pt x="56" y="56"/>
                </a:cubicBezTo>
                <a:cubicBezTo>
                  <a:pt x="56" y="57"/>
                  <a:pt x="56" y="61"/>
                  <a:pt x="56" y="61"/>
                </a:cubicBezTo>
                <a:cubicBezTo>
                  <a:pt x="51" y="58"/>
                  <a:pt x="51" y="58"/>
                  <a:pt x="51" y="58"/>
                </a:cubicBezTo>
                <a:cubicBezTo>
                  <a:pt x="50" y="53"/>
                  <a:pt x="50" y="53"/>
                  <a:pt x="50" y="53"/>
                </a:cubicBezTo>
                <a:cubicBezTo>
                  <a:pt x="50" y="50"/>
                  <a:pt x="50" y="50"/>
                  <a:pt x="50" y="50"/>
                </a:cubicBezTo>
                <a:cubicBezTo>
                  <a:pt x="50" y="50"/>
                  <a:pt x="47" y="48"/>
                  <a:pt x="47" y="47"/>
                </a:cubicBezTo>
                <a:cubicBezTo>
                  <a:pt x="46" y="47"/>
                  <a:pt x="44" y="45"/>
                  <a:pt x="44" y="45"/>
                </a:cubicBezTo>
                <a:cubicBezTo>
                  <a:pt x="44" y="44"/>
                  <a:pt x="47" y="39"/>
                  <a:pt x="47" y="39"/>
                </a:cubicBezTo>
                <a:cubicBezTo>
                  <a:pt x="47" y="39"/>
                  <a:pt x="44" y="36"/>
                  <a:pt x="43" y="36"/>
                </a:cubicBezTo>
                <a:cubicBezTo>
                  <a:pt x="43" y="36"/>
                  <a:pt x="41" y="36"/>
                  <a:pt x="41" y="37"/>
                </a:cubicBezTo>
                <a:cubicBezTo>
                  <a:pt x="41" y="37"/>
                  <a:pt x="36" y="43"/>
                  <a:pt x="36" y="43"/>
                </a:cubicBezTo>
                <a:cubicBezTo>
                  <a:pt x="35" y="44"/>
                  <a:pt x="32" y="48"/>
                  <a:pt x="31" y="49"/>
                </a:cubicBezTo>
                <a:cubicBezTo>
                  <a:pt x="31" y="50"/>
                  <a:pt x="27" y="52"/>
                  <a:pt x="27" y="52"/>
                </a:cubicBezTo>
                <a:lnTo>
                  <a:pt x="24" y="52"/>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7" name="Georgia"/>
          <p:cNvSpPr>
            <a:spLocks/>
          </p:cNvSpPr>
          <p:nvPr/>
        </p:nvSpPr>
        <p:spPr bwMode="auto">
          <a:xfrm>
            <a:off x="7231629" y="2610465"/>
            <a:ext cx="168219" cy="89825"/>
          </a:xfrm>
          <a:custGeom>
            <a:avLst/>
            <a:gdLst>
              <a:gd name="T0" fmla="*/ 35 w 82"/>
              <a:gd name="T1" fmla="*/ 42 h 44"/>
              <a:gd name="T2" fmla="*/ 23 w 82"/>
              <a:gd name="T3" fmla="*/ 40 h 44"/>
              <a:gd name="T4" fmla="*/ 21 w 82"/>
              <a:gd name="T5" fmla="*/ 37 h 44"/>
              <a:gd name="T6" fmla="*/ 23 w 82"/>
              <a:gd name="T7" fmla="*/ 32 h 44"/>
              <a:gd name="T8" fmla="*/ 21 w 82"/>
              <a:gd name="T9" fmla="*/ 25 h 44"/>
              <a:gd name="T10" fmla="*/ 20 w 82"/>
              <a:gd name="T11" fmla="*/ 21 h 44"/>
              <a:gd name="T12" fmla="*/ 15 w 82"/>
              <a:gd name="T13" fmla="*/ 17 h 44"/>
              <a:gd name="T14" fmla="*/ 11 w 82"/>
              <a:gd name="T15" fmla="*/ 11 h 44"/>
              <a:gd name="T16" fmla="*/ 5 w 82"/>
              <a:gd name="T17" fmla="*/ 7 h 44"/>
              <a:gd name="T18" fmla="*/ 0 w 82"/>
              <a:gd name="T19" fmla="*/ 2 h 44"/>
              <a:gd name="T20" fmla="*/ 6 w 82"/>
              <a:gd name="T21" fmla="*/ 0 h 44"/>
              <a:gd name="T22" fmla="*/ 13 w 82"/>
              <a:gd name="T23" fmla="*/ 1 h 44"/>
              <a:gd name="T24" fmla="*/ 22 w 82"/>
              <a:gd name="T25" fmla="*/ 2 h 44"/>
              <a:gd name="T26" fmla="*/ 27 w 82"/>
              <a:gd name="T27" fmla="*/ 4 h 44"/>
              <a:gd name="T28" fmla="*/ 33 w 82"/>
              <a:gd name="T29" fmla="*/ 6 h 44"/>
              <a:gd name="T30" fmla="*/ 38 w 82"/>
              <a:gd name="T31" fmla="*/ 12 h 44"/>
              <a:gd name="T32" fmla="*/ 41 w 82"/>
              <a:gd name="T33" fmla="*/ 16 h 44"/>
              <a:gd name="T34" fmla="*/ 44 w 82"/>
              <a:gd name="T35" fmla="*/ 19 h 44"/>
              <a:gd name="T36" fmla="*/ 51 w 82"/>
              <a:gd name="T37" fmla="*/ 16 h 44"/>
              <a:gd name="T38" fmla="*/ 56 w 82"/>
              <a:gd name="T39" fmla="*/ 15 h 44"/>
              <a:gd name="T40" fmla="*/ 63 w 82"/>
              <a:gd name="T41" fmla="*/ 14 h 44"/>
              <a:gd name="T42" fmla="*/ 68 w 82"/>
              <a:gd name="T43" fmla="*/ 17 h 44"/>
              <a:gd name="T44" fmla="*/ 68 w 82"/>
              <a:gd name="T45" fmla="*/ 22 h 44"/>
              <a:gd name="T46" fmla="*/ 72 w 82"/>
              <a:gd name="T47" fmla="*/ 27 h 44"/>
              <a:gd name="T48" fmla="*/ 75 w 82"/>
              <a:gd name="T49" fmla="*/ 32 h 44"/>
              <a:gd name="T50" fmla="*/ 82 w 82"/>
              <a:gd name="T51" fmla="*/ 41 h 44"/>
              <a:gd name="T52" fmla="*/ 76 w 82"/>
              <a:gd name="T53" fmla="*/ 43 h 44"/>
              <a:gd name="T54" fmla="*/ 69 w 82"/>
              <a:gd name="T55" fmla="*/ 38 h 44"/>
              <a:gd name="T56" fmla="*/ 63 w 82"/>
              <a:gd name="T57" fmla="*/ 35 h 44"/>
              <a:gd name="T58" fmla="*/ 60 w 82"/>
              <a:gd name="T59" fmla="*/ 38 h 44"/>
              <a:gd name="T60" fmla="*/ 54 w 82"/>
              <a:gd name="T61" fmla="*/ 40 h 44"/>
              <a:gd name="T62" fmla="*/ 41 w 82"/>
              <a:gd name="T63"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 h="44">
                <a:moveTo>
                  <a:pt x="38" y="43"/>
                </a:moveTo>
                <a:cubicBezTo>
                  <a:pt x="38" y="43"/>
                  <a:pt x="37" y="42"/>
                  <a:pt x="35" y="42"/>
                </a:cubicBezTo>
                <a:cubicBezTo>
                  <a:pt x="34" y="42"/>
                  <a:pt x="31" y="40"/>
                  <a:pt x="30" y="40"/>
                </a:cubicBezTo>
                <a:cubicBezTo>
                  <a:pt x="28" y="40"/>
                  <a:pt x="25" y="40"/>
                  <a:pt x="23" y="40"/>
                </a:cubicBezTo>
                <a:cubicBezTo>
                  <a:pt x="22" y="40"/>
                  <a:pt x="21" y="40"/>
                  <a:pt x="20" y="40"/>
                </a:cubicBezTo>
                <a:cubicBezTo>
                  <a:pt x="20" y="40"/>
                  <a:pt x="20" y="37"/>
                  <a:pt x="21" y="37"/>
                </a:cubicBezTo>
                <a:cubicBezTo>
                  <a:pt x="21" y="36"/>
                  <a:pt x="22" y="36"/>
                  <a:pt x="23" y="35"/>
                </a:cubicBezTo>
                <a:cubicBezTo>
                  <a:pt x="23" y="34"/>
                  <a:pt x="23" y="32"/>
                  <a:pt x="23" y="32"/>
                </a:cubicBezTo>
                <a:cubicBezTo>
                  <a:pt x="23" y="31"/>
                  <a:pt x="22" y="28"/>
                  <a:pt x="22" y="27"/>
                </a:cubicBezTo>
                <a:cubicBezTo>
                  <a:pt x="21" y="26"/>
                  <a:pt x="21" y="25"/>
                  <a:pt x="21" y="25"/>
                </a:cubicBezTo>
                <a:cubicBezTo>
                  <a:pt x="21" y="24"/>
                  <a:pt x="20" y="23"/>
                  <a:pt x="20" y="23"/>
                </a:cubicBezTo>
                <a:cubicBezTo>
                  <a:pt x="20" y="23"/>
                  <a:pt x="20" y="21"/>
                  <a:pt x="20" y="21"/>
                </a:cubicBezTo>
                <a:cubicBezTo>
                  <a:pt x="20" y="20"/>
                  <a:pt x="17" y="19"/>
                  <a:pt x="17" y="19"/>
                </a:cubicBezTo>
                <a:cubicBezTo>
                  <a:pt x="17" y="19"/>
                  <a:pt x="15" y="18"/>
                  <a:pt x="15" y="17"/>
                </a:cubicBezTo>
                <a:cubicBezTo>
                  <a:pt x="15" y="15"/>
                  <a:pt x="14" y="13"/>
                  <a:pt x="14" y="12"/>
                </a:cubicBezTo>
                <a:cubicBezTo>
                  <a:pt x="13" y="12"/>
                  <a:pt x="12" y="11"/>
                  <a:pt x="11" y="11"/>
                </a:cubicBezTo>
                <a:cubicBezTo>
                  <a:pt x="11" y="10"/>
                  <a:pt x="9" y="8"/>
                  <a:pt x="8" y="8"/>
                </a:cubicBezTo>
                <a:cubicBezTo>
                  <a:pt x="7" y="8"/>
                  <a:pt x="5" y="7"/>
                  <a:pt x="5" y="7"/>
                </a:cubicBezTo>
                <a:cubicBezTo>
                  <a:pt x="3" y="6"/>
                  <a:pt x="3" y="6"/>
                  <a:pt x="3" y="6"/>
                </a:cubicBezTo>
                <a:cubicBezTo>
                  <a:pt x="0" y="2"/>
                  <a:pt x="0" y="2"/>
                  <a:pt x="0" y="2"/>
                </a:cubicBezTo>
                <a:cubicBezTo>
                  <a:pt x="0" y="2"/>
                  <a:pt x="2" y="2"/>
                  <a:pt x="2" y="2"/>
                </a:cubicBezTo>
                <a:cubicBezTo>
                  <a:pt x="3" y="1"/>
                  <a:pt x="5" y="0"/>
                  <a:pt x="6" y="0"/>
                </a:cubicBezTo>
                <a:cubicBezTo>
                  <a:pt x="7" y="0"/>
                  <a:pt x="9" y="1"/>
                  <a:pt x="10" y="1"/>
                </a:cubicBezTo>
                <a:cubicBezTo>
                  <a:pt x="11" y="1"/>
                  <a:pt x="12" y="1"/>
                  <a:pt x="13" y="1"/>
                </a:cubicBezTo>
                <a:cubicBezTo>
                  <a:pt x="14" y="1"/>
                  <a:pt x="14" y="0"/>
                  <a:pt x="16" y="0"/>
                </a:cubicBezTo>
                <a:cubicBezTo>
                  <a:pt x="17" y="1"/>
                  <a:pt x="20" y="2"/>
                  <a:pt x="22" y="2"/>
                </a:cubicBezTo>
                <a:cubicBezTo>
                  <a:pt x="23" y="2"/>
                  <a:pt x="24" y="2"/>
                  <a:pt x="25" y="2"/>
                </a:cubicBezTo>
                <a:cubicBezTo>
                  <a:pt x="26" y="3"/>
                  <a:pt x="26" y="3"/>
                  <a:pt x="27" y="4"/>
                </a:cubicBezTo>
                <a:cubicBezTo>
                  <a:pt x="28" y="4"/>
                  <a:pt x="30" y="4"/>
                  <a:pt x="30" y="4"/>
                </a:cubicBezTo>
                <a:cubicBezTo>
                  <a:pt x="30" y="4"/>
                  <a:pt x="32" y="6"/>
                  <a:pt x="33" y="6"/>
                </a:cubicBezTo>
                <a:cubicBezTo>
                  <a:pt x="34" y="7"/>
                  <a:pt x="35" y="8"/>
                  <a:pt x="36" y="9"/>
                </a:cubicBezTo>
                <a:cubicBezTo>
                  <a:pt x="37" y="10"/>
                  <a:pt x="37" y="11"/>
                  <a:pt x="38" y="12"/>
                </a:cubicBezTo>
                <a:cubicBezTo>
                  <a:pt x="40" y="12"/>
                  <a:pt x="39" y="12"/>
                  <a:pt x="40" y="13"/>
                </a:cubicBezTo>
                <a:cubicBezTo>
                  <a:pt x="40" y="14"/>
                  <a:pt x="41" y="15"/>
                  <a:pt x="41" y="16"/>
                </a:cubicBezTo>
                <a:cubicBezTo>
                  <a:pt x="41" y="17"/>
                  <a:pt x="43" y="17"/>
                  <a:pt x="43" y="17"/>
                </a:cubicBezTo>
                <a:cubicBezTo>
                  <a:pt x="44" y="19"/>
                  <a:pt x="44" y="19"/>
                  <a:pt x="44" y="19"/>
                </a:cubicBezTo>
                <a:cubicBezTo>
                  <a:pt x="44" y="19"/>
                  <a:pt x="47" y="18"/>
                  <a:pt x="48" y="17"/>
                </a:cubicBezTo>
                <a:cubicBezTo>
                  <a:pt x="48" y="17"/>
                  <a:pt x="51" y="16"/>
                  <a:pt x="51" y="16"/>
                </a:cubicBezTo>
                <a:cubicBezTo>
                  <a:pt x="51" y="16"/>
                  <a:pt x="51" y="14"/>
                  <a:pt x="52" y="14"/>
                </a:cubicBezTo>
                <a:cubicBezTo>
                  <a:pt x="54" y="14"/>
                  <a:pt x="55" y="15"/>
                  <a:pt x="56" y="15"/>
                </a:cubicBezTo>
                <a:cubicBezTo>
                  <a:pt x="57" y="15"/>
                  <a:pt x="57" y="15"/>
                  <a:pt x="59" y="15"/>
                </a:cubicBezTo>
                <a:cubicBezTo>
                  <a:pt x="61" y="14"/>
                  <a:pt x="61" y="14"/>
                  <a:pt x="63" y="14"/>
                </a:cubicBezTo>
                <a:cubicBezTo>
                  <a:pt x="64" y="14"/>
                  <a:pt x="66" y="14"/>
                  <a:pt x="67" y="15"/>
                </a:cubicBezTo>
                <a:cubicBezTo>
                  <a:pt x="68" y="15"/>
                  <a:pt x="68" y="16"/>
                  <a:pt x="68" y="17"/>
                </a:cubicBezTo>
                <a:cubicBezTo>
                  <a:pt x="68" y="18"/>
                  <a:pt x="66" y="20"/>
                  <a:pt x="66" y="21"/>
                </a:cubicBezTo>
                <a:cubicBezTo>
                  <a:pt x="66" y="21"/>
                  <a:pt x="67" y="22"/>
                  <a:pt x="68" y="22"/>
                </a:cubicBezTo>
                <a:cubicBezTo>
                  <a:pt x="69" y="22"/>
                  <a:pt x="70" y="22"/>
                  <a:pt x="71" y="23"/>
                </a:cubicBezTo>
                <a:cubicBezTo>
                  <a:pt x="71" y="24"/>
                  <a:pt x="72" y="26"/>
                  <a:pt x="72" y="27"/>
                </a:cubicBezTo>
                <a:cubicBezTo>
                  <a:pt x="72" y="28"/>
                  <a:pt x="74" y="28"/>
                  <a:pt x="75" y="29"/>
                </a:cubicBezTo>
                <a:cubicBezTo>
                  <a:pt x="75" y="30"/>
                  <a:pt x="75" y="31"/>
                  <a:pt x="75" y="32"/>
                </a:cubicBezTo>
                <a:cubicBezTo>
                  <a:pt x="75" y="32"/>
                  <a:pt x="78" y="35"/>
                  <a:pt x="79" y="36"/>
                </a:cubicBezTo>
                <a:cubicBezTo>
                  <a:pt x="80" y="37"/>
                  <a:pt x="82" y="40"/>
                  <a:pt x="82" y="41"/>
                </a:cubicBezTo>
                <a:cubicBezTo>
                  <a:pt x="82" y="42"/>
                  <a:pt x="81" y="42"/>
                  <a:pt x="80" y="42"/>
                </a:cubicBezTo>
                <a:cubicBezTo>
                  <a:pt x="79" y="42"/>
                  <a:pt x="77" y="44"/>
                  <a:pt x="76" y="43"/>
                </a:cubicBezTo>
                <a:cubicBezTo>
                  <a:pt x="75" y="42"/>
                  <a:pt x="73" y="40"/>
                  <a:pt x="73" y="40"/>
                </a:cubicBezTo>
                <a:cubicBezTo>
                  <a:pt x="72" y="39"/>
                  <a:pt x="70" y="38"/>
                  <a:pt x="69" y="38"/>
                </a:cubicBezTo>
                <a:cubicBezTo>
                  <a:pt x="69" y="38"/>
                  <a:pt x="66" y="36"/>
                  <a:pt x="66" y="36"/>
                </a:cubicBezTo>
                <a:cubicBezTo>
                  <a:pt x="66" y="36"/>
                  <a:pt x="64" y="34"/>
                  <a:pt x="63" y="35"/>
                </a:cubicBezTo>
                <a:cubicBezTo>
                  <a:pt x="62" y="35"/>
                  <a:pt x="62" y="36"/>
                  <a:pt x="62" y="37"/>
                </a:cubicBezTo>
                <a:cubicBezTo>
                  <a:pt x="62" y="37"/>
                  <a:pt x="61" y="38"/>
                  <a:pt x="60" y="38"/>
                </a:cubicBezTo>
                <a:cubicBezTo>
                  <a:pt x="60" y="38"/>
                  <a:pt x="58" y="38"/>
                  <a:pt x="58" y="39"/>
                </a:cubicBezTo>
                <a:cubicBezTo>
                  <a:pt x="57" y="39"/>
                  <a:pt x="56" y="40"/>
                  <a:pt x="54" y="40"/>
                </a:cubicBezTo>
                <a:cubicBezTo>
                  <a:pt x="52" y="40"/>
                  <a:pt x="49" y="40"/>
                  <a:pt x="47" y="40"/>
                </a:cubicBezTo>
                <a:cubicBezTo>
                  <a:pt x="45" y="40"/>
                  <a:pt x="42" y="40"/>
                  <a:pt x="41" y="40"/>
                </a:cubicBezTo>
                <a:cubicBezTo>
                  <a:pt x="39" y="41"/>
                  <a:pt x="38" y="43"/>
                  <a:pt x="38" y="43"/>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8" name="China"/>
          <p:cNvSpPr>
            <a:spLocks/>
          </p:cNvSpPr>
          <p:nvPr/>
        </p:nvSpPr>
        <p:spPr bwMode="auto">
          <a:xfrm>
            <a:off x="8096728" y="2236465"/>
            <a:ext cx="1534058" cy="1247674"/>
          </a:xfrm>
          <a:custGeom>
            <a:avLst/>
            <a:gdLst>
              <a:gd name="connsiteX0" fmla="*/ 1039893 w 1491141"/>
              <a:gd name="connsiteY0" fmla="*/ 1153295 h 1212769"/>
              <a:gd name="connsiteX1" fmla="*/ 1047831 w 1491141"/>
              <a:gd name="connsiteY1" fmla="*/ 1161184 h 1212769"/>
              <a:gd name="connsiteX2" fmla="*/ 1045846 w 1491141"/>
              <a:gd name="connsiteY2" fmla="*/ 1167101 h 1212769"/>
              <a:gd name="connsiteX3" fmla="*/ 1041878 w 1491141"/>
              <a:gd name="connsiteY3" fmla="*/ 1169073 h 1212769"/>
              <a:gd name="connsiteX4" fmla="*/ 1041878 w 1491141"/>
              <a:gd name="connsiteY4" fmla="*/ 1184852 h 1212769"/>
              <a:gd name="connsiteX5" fmla="*/ 1039893 w 1491141"/>
              <a:gd name="connsiteY5" fmla="*/ 1194714 h 1212769"/>
              <a:gd name="connsiteX6" fmla="*/ 1029971 w 1491141"/>
              <a:gd name="connsiteY6" fmla="*/ 1204575 h 1212769"/>
              <a:gd name="connsiteX7" fmla="*/ 1024018 w 1491141"/>
              <a:gd name="connsiteY7" fmla="*/ 1208520 h 1212769"/>
              <a:gd name="connsiteX8" fmla="*/ 1018065 w 1491141"/>
              <a:gd name="connsiteY8" fmla="*/ 1210492 h 1212769"/>
              <a:gd name="connsiteX9" fmla="*/ 1008143 w 1491141"/>
              <a:gd name="connsiteY9" fmla="*/ 1210492 h 1212769"/>
              <a:gd name="connsiteX10" fmla="*/ 1000206 w 1491141"/>
              <a:gd name="connsiteY10" fmla="*/ 1208520 h 1212769"/>
              <a:gd name="connsiteX11" fmla="*/ 992268 w 1491141"/>
              <a:gd name="connsiteY11" fmla="*/ 1204575 h 1212769"/>
              <a:gd name="connsiteX12" fmla="*/ 988300 w 1491141"/>
              <a:gd name="connsiteY12" fmla="*/ 1198658 h 1212769"/>
              <a:gd name="connsiteX13" fmla="*/ 986315 w 1491141"/>
              <a:gd name="connsiteY13" fmla="*/ 1192741 h 1212769"/>
              <a:gd name="connsiteX14" fmla="*/ 986315 w 1491141"/>
              <a:gd name="connsiteY14" fmla="*/ 1182880 h 1212769"/>
              <a:gd name="connsiteX15" fmla="*/ 992268 w 1491141"/>
              <a:gd name="connsiteY15" fmla="*/ 1169073 h 1212769"/>
              <a:gd name="connsiteX16" fmla="*/ 1000206 w 1491141"/>
              <a:gd name="connsiteY16" fmla="*/ 1165129 h 1212769"/>
              <a:gd name="connsiteX17" fmla="*/ 1002190 w 1491141"/>
              <a:gd name="connsiteY17" fmla="*/ 1165129 h 1212769"/>
              <a:gd name="connsiteX18" fmla="*/ 1000206 w 1491141"/>
              <a:gd name="connsiteY18" fmla="*/ 1159212 h 1212769"/>
              <a:gd name="connsiteX19" fmla="*/ 1008143 w 1491141"/>
              <a:gd name="connsiteY19" fmla="*/ 1157239 h 1212769"/>
              <a:gd name="connsiteX20" fmla="*/ 1012112 w 1491141"/>
              <a:gd name="connsiteY20" fmla="*/ 1157239 h 1212769"/>
              <a:gd name="connsiteX21" fmla="*/ 1020050 w 1491141"/>
              <a:gd name="connsiteY21" fmla="*/ 1157239 h 1212769"/>
              <a:gd name="connsiteX22" fmla="*/ 1026003 w 1491141"/>
              <a:gd name="connsiteY22" fmla="*/ 1155267 h 1212769"/>
              <a:gd name="connsiteX23" fmla="*/ 1035925 w 1491141"/>
              <a:gd name="connsiteY23" fmla="*/ 1155267 h 1212769"/>
              <a:gd name="connsiteX24" fmla="*/ 1039893 w 1491141"/>
              <a:gd name="connsiteY24" fmla="*/ 1153295 h 1212769"/>
              <a:gd name="connsiteX25" fmla="*/ 1163963 w 1491141"/>
              <a:gd name="connsiteY25" fmla="*/ 0 h 1212769"/>
              <a:gd name="connsiteX26" fmla="*/ 1171943 w 1491141"/>
              <a:gd name="connsiteY26" fmla="*/ 0 h 1212769"/>
              <a:gd name="connsiteX27" fmla="*/ 1177928 w 1491141"/>
              <a:gd name="connsiteY27" fmla="*/ 3992 h 1212769"/>
              <a:gd name="connsiteX28" fmla="*/ 1183913 w 1491141"/>
              <a:gd name="connsiteY28" fmla="*/ 5988 h 1212769"/>
              <a:gd name="connsiteX29" fmla="*/ 1185908 w 1491141"/>
              <a:gd name="connsiteY29" fmla="*/ 7984 h 1212769"/>
              <a:gd name="connsiteX30" fmla="*/ 1191893 w 1491141"/>
              <a:gd name="connsiteY30" fmla="*/ 7984 h 1212769"/>
              <a:gd name="connsiteX31" fmla="*/ 1195883 w 1491141"/>
              <a:gd name="connsiteY31" fmla="*/ 7984 h 1212769"/>
              <a:gd name="connsiteX32" fmla="*/ 1197878 w 1491141"/>
              <a:gd name="connsiteY32" fmla="*/ 7984 h 1212769"/>
              <a:gd name="connsiteX33" fmla="*/ 1201868 w 1491141"/>
              <a:gd name="connsiteY33" fmla="*/ 9980 h 1212769"/>
              <a:gd name="connsiteX34" fmla="*/ 1209848 w 1491141"/>
              <a:gd name="connsiteY34" fmla="*/ 5988 h 1212769"/>
              <a:gd name="connsiteX35" fmla="*/ 1213838 w 1491141"/>
              <a:gd name="connsiteY35" fmla="*/ 7984 h 1212769"/>
              <a:gd name="connsiteX36" fmla="*/ 1217828 w 1491141"/>
              <a:gd name="connsiteY36" fmla="*/ 11977 h 1212769"/>
              <a:gd name="connsiteX37" fmla="*/ 1221818 w 1491141"/>
              <a:gd name="connsiteY37" fmla="*/ 11977 h 1212769"/>
              <a:gd name="connsiteX38" fmla="*/ 1225808 w 1491141"/>
              <a:gd name="connsiteY38" fmla="*/ 15969 h 1212769"/>
              <a:gd name="connsiteX39" fmla="*/ 1229798 w 1491141"/>
              <a:gd name="connsiteY39" fmla="*/ 17965 h 1212769"/>
              <a:gd name="connsiteX40" fmla="*/ 1233788 w 1491141"/>
              <a:gd name="connsiteY40" fmla="*/ 21957 h 1212769"/>
              <a:gd name="connsiteX41" fmla="*/ 1235783 w 1491141"/>
              <a:gd name="connsiteY41" fmla="*/ 23953 h 1212769"/>
              <a:gd name="connsiteX42" fmla="*/ 1237778 w 1491141"/>
              <a:gd name="connsiteY42" fmla="*/ 25949 h 1212769"/>
              <a:gd name="connsiteX43" fmla="*/ 1239773 w 1491141"/>
              <a:gd name="connsiteY43" fmla="*/ 29941 h 1212769"/>
              <a:gd name="connsiteX44" fmla="*/ 1245758 w 1491141"/>
              <a:gd name="connsiteY44" fmla="*/ 33934 h 1212769"/>
              <a:gd name="connsiteX45" fmla="*/ 1245758 w 1491141"/>
              <a:gd name="connsiteY45" fmla="*/ 37926 h 1212769"/>
              <a:gd name="connsiteX46" fmla="*/ 1249748 w 1491141"/>
              <a:gd name="connsiteY46" fmla="*/ 39922 h 1212769"/>
              <a:gd name="connsiteX47" fmla="*/ 1249748 w 1491141"/>
              <a:gd name="connsiteY47" fmla="*/ 43914 h 1212769"/>
              <a:gd name="connsiteX48" fmla="*/ 1249748 w 1491141"/>
              <a:gd name="connsiteY48" fmla="*/ 49903 h 1212769"/>
              <a:gd name="connsiteX49" fmla="*/ 1251743 w 1491141"/>
              <a:gd name="connsiteY49" fmla="*/ 57887 h 1212769"/>
              <a:gd name="connsiteX50" fmla="*/ 1253738 w 1491141"/>
              <a:gd name="connsiteY50" fmla="*/ 59883 h 1212769"/>
              <a:gd name="connsiteX51" fmla="*/ 1253738 w 1491141"/>
              <a:gd name="connsiteY51" fmla="*/ 63875 h 1212769"/>
              <a:gd name="connsiteX52" fmla="*/ 1255733 w 1491141"/>
              <a:gd name="connsiteY52" fmla="*/ 67868 h 1212769"/>
              <a:gd name="connsiteX53" fmla="*/ 1257728 w 1491141"/>
              <a:gd name="connsiteY53" fmla="*/ 67868 h 1212769"/>
              <a:gd name="connsiteX54" fmla="*/ 1259723 w 1491141"/>
              <a:gd name="connsiteY54" fmla="*/ 71860 h 1212769"/>
              <a:gd name="connsiteX55" fmla="*/ 1263713 w 1491141"/>
              <a:gd name="connsiteY55" fmla="*/ 73856 h 1212769"/>
              <a:gd name="connsiteX56" fmla="*/ 1263713 w 1491141"/>
              <a:gd name="connsiteY56" fmla="*/ 77848 h 1212769"/>
              <a:gd name="connsiteX57" fmla="*/ 1263713 w 1491141"/>
              <a:gd name="connsiteY57" fmla="*/ 83836 h 1212769"/>
              <a:gd name="connsiteX58" fmla="*/ 1265708 w 1491141"/>
              <a:gd name="connsiteY58" fmla="*/ 85833 h 1212769"/>
              <a:gd name="connsiteX59" fmla="*/ 1267703 w 1491141"/>
              <a:gd name="connsiteY59" fmla="*/ 87829 h 1212769"/>
              <a:gd name="connsiteX60" fmla="*/ 1271693 w 1491141"/>
              <a:gd name="connsiteY60" fmla="*/ 89825 h 1212769"/>
              <a:gd name="connsiteX61" fmla="*/ 1273688 w 1491141"/>
              <a:gd name="connsiteY61" fmla="*/ 91821 h 1212769"/>
              <a:gd name="connsiteX62" fmla="*/ 1275683 w 1491141"/>
              <a:gd name="connsiteY62" fmla="*/ 97809 h 1212769"/>
              <a:gd name="connsiteX63" fmla="*/ 1277678 w 1491141"/>
              <a:gd name="connsiteY63" fmla="*/ 97809 h 1212769"/>
              <a:gd name="connsiteX64" fmla="*/ 1279673 w 1491141"/>
              <a:gd name="connsiteY64" fmla="*/ 101801 h 1212769"/>
              <a:gd name="connsiteX65" fmla="*/ 1283663 w 1491141"/>
              <a:gd name="connsiteY65" fmla="*/ 107790 h 1212769"/>
              <a:gd name="connsiteX66" fmla="*/ 1285658 w 1491141"/>
              <a:gd name="connsiteY66" fmla="*/ 115774 h 1212769"/>
              <a:gd name="connsiteX67" fmla="*/ 1285658 w 1491141"/>
              <a:gd name="connsiteY67" fmla="*/ 119766 h 1212769"/>
              <a:gd name="connsiteX68" fmla="*/ 1291643 w 1491141"/>
              <a:gd name="connsiteY68" fmla="*/ 123759 h 1212769"/>
              <a:gd name="connsiteX69" fmla="*/ 1297627 w 1491141"/>
              <a:gd name="connsiteY69" fmla="*/ 133739 h 1212769"/>
              <a:gd name="connsiteX70" fmla="*/ 1301617 w 1491141"/>
              <a:gd name="connsiteY70" fmla="*/ 139727 h 1212769"/>
              <a:gd name="connsiteX71" fmla="*/ 1307602 w 1491141"/>
              <a:gd name="connsiteY71" fmla="*/ 139727 h 1212769"/>
              <a:gd name="connsiteX72" fmla="*/ 1311592 w 1491141"/>
              <a:gd name="connsiteY72" fmla="*/ 139727 h 1212769"/>
              <a:gd name="connsiteX73" fmla="*/ 1315582 w 1491141"/>
              <a:gd name="connsiteY73" fmla="*/ 141724 h 1212769"/>
              <a:gd name="connsiteX74" fmla="*/ 1317577 w 1491141"/>
              <a:gd name="connsiteY74" fmla="*/ 147712 h 1212769"/>
              <a:gd name="connsiteX75" fmla="*/ 1321567 w 1491141"/>
              <a:gd name="connsiteY75" fmla="*/ 149708 h 1212769"/>
              <a:gd name="connsiteX76" fmla="*/ 1329547 w 1491141"/>
              <a:gd name="connsiteY76" fmla="*/ 147712 h 1212769"/>
              <a:gd name="connsiteX77" fmla="*/ 1333537 w 1491141"/>
              <a:gd name="connsiteY77" fmla="*/ 149708 h 1212769"/>
              <a:gd name="connsiteX78" fmla="*/ 1339522 w 1491141"/>
              <a:gd name="connsiteY78" fmla="*/ 149708 h 1212769"/>
              <a:gd name="connsiteX79" fmla="*/ 1343512 w 1491141"/>
              <a:gd name="connsiteY79" fmla="*/ 153700 h 1212769"/>
              <a:gd name="connsiteX80" fmla="*/ 1349497 w 1491141"/>
              <a:gd name="connsiteY80" fmla="*/ 153700 h 1212769"/>
              <a:gd name="connsiteX81" fmla="*/ 1353487 w 1491141"/>
              <a:gd name="connsiteY81" fmla="*/ 155696 h 1212769"/>
              <a:gd name="connsiteX82" fmla="*/ 1357477 w 1491141"/>
              <a:gd name="connsiteY82" fmla="*/ 157692 h 1212769"/>
              <a:gd name="connsiteX83" fmla="*/ 1359472 w 1491141"/>
              <a:gd name="connsiteY83" fmla="*/ 159688 h 1212769"/>
              <a:gd name="connsiteX84" fmla="*/ 1361467 w 1491141"/>
              <a:gd name="connsiteY84" fmla="*/ 163681 h 1212769"/>
              <a:gd name="connsiteX85" fmla="*/ 1363462 w 1491141"/>
              <a:gd name="connsiteY85" fmla="*/ 165677 h 1212769"/>
              <a:gd name="connsiteX86" fmla="*/ 1369447 w 1491141"/>
              <a:gd name="connsiteY86" fmla="*/ 165677 h 1212769"/>
              <a:gd name="connsiteX87" fmla="*/ 1375432 w 1491141"/>
              <a:gd name="connsiteY87" fmla="*/ 165677 h 1212769"/>
              <a:gd name="connsiteX88" fmla="*/ 1377427 w 1491141"/>
              <a:gd name="connsiteY88" fmla="*/ 167673 h 1212769"/>
              <a:gd name="connsiteX89" fmla="*/ 1377427 w 1491141"/>
              <a:gd name="connsiteY89" fmla="*/ 171665 h 1212769"/>
              <a:gd name="connsiteX90" fmla="*/ 1377427 w 1491141"/>
              <a:gd name="connsiteY90" fmla="*/ 181646 h 1212769"/>
              <a:gd name="connsiteX91" fmla="*/ 1383412 w 1491141"/>
              <a:gd name="connsiteY91" fmla="*/ 187634 h 1212769"/>
              <a:gd name="connsiteX92" fmla="*/ 1383412 w 1491141"/>
              <a:gd name="connsiteY92" fmla="*/ 193622 h 1212769"/>
              <a:gd name="connsiteX93" fmla="*/ 1383412 w 1491141"/>
              <a:gd name="connsiteY93" fmla="*/ 197615 h 1212769"/>
              <a:gd name="connsiteX94" fmla="*/ 1385407 w 1491141"/>
              <a:gd name="connsiteY94" fmla="*/ 197615 h 1212769"/>
              <a:gd name="connsiteX95" fmla="*/ 1387402 w 1491141"/>
              <a:gd name="connsiteY95" fmla="*/ 199611 h 1212769"/>
              <a:gd name="connsiteX96" fmla="*/ 1389397 w 1491141"/>
              <a:gd name="connsiteY96" fmla="*/ 201607 h 1212769"/>
              <a:gd name="connsiteX97" fmla="*/ 1391392 w 1491141"/>
              <a:gd name="connsiteY97" fmla="*/ 205599 h 1212769"/>
              <a:gd name="connsiteX98" fmla="*/ 1393387 w 1491141"/>
              <a:gd name="connsiteY98" fmla="*/ 207595 h 1212769"/>
              <a:gd name="connsiteX99" fmla="*/ 1395382 w 1491141"/>
              <a:gd name="connsiteY99" fmla="*/ 209591 h 1212769"/>
              <a:gd name="connsiteX100" fmla="*/ 1397377 w 1491141"/>
              <a:gd name="connsiteY100" fmla="*/ 211587 h 1212769"/>
              <a:gd name="connsiteX101" fmla="*/ 1401367 w 1491141"/>
              <a:gd name="connsiteY101" fmla="*/ 209591 h 1212769"/>
              <a:gd name="connsiteX102" fmla="*/ 1403362 w 1491141"/>
              <a:gd name="connsiteY102" fmla="*/ 209591 h 1212769"/>
              <a:gd name="connsiteX103" fmla="*/ 1407352 w 1491141"/>
              <a:gd name="connsiteY103" fmla="*/ 211587 h 1212769"/>
              <a:gd name="connsiteX104" fmla="*/ 1409347 w 1491141"/>
              <a:gd name="connsiteY104" fmla="*/ 211587 h 1212769"/>
              <a:gd name="connsiteX105" fmla="*/ 1413337 w 1491141"/>
              <a:gd name="connsiteY105" fmla="*/ 211587 h 1212769"/>
              <a:gd name="connsiteX106" fmla="*/ 1417327 w 1491141"/>
              <a:gd name="connsiteY106" fmla="*/ 211587 h 1212769"/>
              <a:gd name="connsiteX107" fmla="*/ 1421317 w 1491141"/>
              <a:gd name="connsiteY107" fmla="*/ 211587 h 1212769"/>
              <a:gd name="connsiteX108" fmla="*/ 1423312 w 1491141"/>
              <a:gd name="connsiteY108" fmla="*/ 211587 h 1212769"/>
              <a:gd name="connsiteX109" fmla="*/ 1433287 w 1491141"/>
              <a:gd name="connsiteY109" fmla="*/ 213583 h 1212769"/>
              <a:gd name="connsiteX110" fmla="*/ 1437277 w 1491141"/>
              <a:gd name="connsiteY110" fmla="*/ 211587 h 1212769"/>
              <a:gd name="connsiteX111" fmla="*/ 1437277 w 1491141"/>
              <a:gd name="connsiteY111" fmla="*/ 207595 h 1212769"/>
              <a:gd name="connsiteX112" fmla="*/ 1439272 w 1491141"/>
              <a:gd name="connsiteY112" fmla="*/ 203603 h 1212769"/>
              <a:gd name="connsiteX113" fmla="*/ 1443262 w 1491141"/>
              <a:gd name="connsiteY113" fmla="*/ 203603 h 1212769"/>
              <a:gd name="connsiteX114" fmla="*/ 1445256 w 1491141"/>
              <a:gd name="connsiteY114" fmla="*/ 203603 h 1212769"/>
              <a:gd name="connsiteX115" fmla="*/ 1449246 w 1491141"/>
              <a:gd name="connsiteY115" fmla="*/ 201607 h 1212769"/>
              <a:gd name="connsiteX116" fmla="*/ 1453236 w 1491141"/>
              <a:gd name="connsiteY116" fmla="*/ 199611 h 1212769"/>
              <a:gd name="connsiteX117" fmla="*/ 1455231 w 1491141"/>
              <a:gd name="connsiteY117" fmla="*/ 197615 h 1212769"/>
              <a:gd name="connsiteX118" fmla="*/ 1459221 w 1491141"/>
              <a:gd name="connsiteY118" fmla="*/ 193622 h 1212769"/>
              <a:gd name="connsiteX119" fmla="*/ 1463211 w 1491141"/>
              <a:gd name="connsiteY119" fmla="*/ 193622 h 1212769"/>
              <a:gd name="connsiteX120" fmla="*/ 1467201 w 1491141"/>
              <a:gd name="connsiteY120" fmla="*/ 193622 h 1212769"/>
              <a:gd name="connsiteX121" fmla="*/ 1469196 w 1491141"/>
              <a:gd name="connsiteY121" fmla="*/ 191626 h 1212769"/>
              <a:gd name="connsiteX122" fmla="*/ 1471191 w 1491141"/>
              <a:gd name="connsiteY122" fmla="*/ 189630 h 1212769"/>
              <a:gd name="connsiteX123" fmla="*/ 1475181 w 1491141"/>
              <a:gd name="connsiteY123" fmla="*/ 187634 h 1212769"/>
              <a:gd name="connsiteX124" fmla="*/ 1479171 w 1491141"/>
              <a:gd name="connsiteY124" fmla="*/ 187634 h 1212769"/>
              <a:gd name="connsiteX125" fmla="*/ 1485156 w 1491141"/>
              <a:gd name="connsiteY125" fmla="*/ 189630 h 1212769"/>
              <a:gd name="connsiteX126" fmla="*/ 1487151 w 1491141"/>
              <a:gd name="connsiteY126" fmla="*/ 193622 h 1212769"/>
              <a:gd name="connsiteX127" fmla="*/ 1487151 w 1491141"/>
              <a:gd name="connsiteY127" fmla="*/ 197615 h 1212769"/>
              <a:gd name="connsiteX128" fmla="*/ 1487151 w 1491141"/>
              <a:gd name="connsiteY128" fmla="*/ 201607 h 1212769"/>
              <a:gd name="connsiteX129" fmla="*/ 1485156 w 1491141"/>
              <a:gd name="connsiteY129" fmla="*/ 203603 h 1212769"/>
              <a:gd name="connsiteX130" fmla="*/ 1485156 w 1491141"/>
              <a:gd name="connsiteY130" fmla="*/ 209591 h 1212769"/>
              <a:gd name="connsiteX131" fmla="*/ 1489146 w 1491141"/>
              <a:gd name="connsiteY131" fmla="*/ 211587 h 1212769"/>
              <a:gd name="connsiteX132" fmla="*/ 1491141 w 1491141"/>
              <a:gd name="connsiteY132" fmla="*/ 211587 h 1212769"/>
              <a:gd name="connsiteX133" fmla="*/ 1491141 w 1491141"/>
              <a:gd name="connsiteY133" fmla="*/ 217576 h 1212769"/>
              <a:gd name="connsiteX134" fmla="*/ 1491141 w 1491141"/>
              <a:gd name="connsiteY134" fmla="*/ 221568 h 1212769"/>
              <a:gd name="connsiteX135" fmla="*/ 1491141 w 1491141"/>
              <a:gd name="connsiteY135" fmla="*/ 227556 h 1212769"/>
              <a:gd name="connsiteX136" fmla="*/ 1487151 w 1491141"/>
              <a:gd name="connsiteY136" fmla="*/ 231548 h 1212769"/>
              <a:gd name="connsiteX137" fmla="*/ 1485156 w 1491141"/>
              <a:gd name="connsiteY137" fmla="*/ 235541 h 1212769"/>
              <a:gd name="connsiteX138" fmla="*/ 1483161 w 1491141"/>
              <a:gd name="connsiteY138" fmla="*/ 239533 h 1212769"/>
              <a:gd name="connsiteX139" fmla="*/ 1483161 w 1491141"/>
              <a:gd name="connsiteY139" fmla="*/ 245521 h 1212769"/>
              <a:gd name="connsiteX140" fmla="*/ 1483161 w 1491141"/>
              <a:gd name="connsiteY140" fmla="*/ 249513 h 1212769"/>
              <a:gd name="connsiteX141" fmla="*/ 1479171 w 1491141"/>
              <a:gd name="connsiteY141" fmla="*/ 249513 h 1212769"/>
              <a:gd name="connsiteX142" fmla="*/ 1481166 w 1491141"/>
              <a:gd name="connsiteY142" fmla="*/ 253506 h 1212769"/>
              <a:gd name="connsiteX143" fmla="*/ 1481166 w 1491141"/>
              <a:gd name="connsiteY143" fmla="*/ 259494 h 1212769"/>
              <a:gd name="connsiteX144" fmla="*/ 1481166 w 1491141"/>
              <a:gd name="connsiteY144" fmla="*/ 267478 h 1212769"/>
              <a:gd name="connsiteX145" fmla="*/ 1481166 w 1491141"/>
              <a:gd name="connsiteY145" fmla="*/ 275463 h 1212769"/>
              <a:gd name="connsiteX146" fmla="*/ 1481166 w 1491141"/>
              <a:gd name="connsiteY146" fmla="*/ 281451 h 1212769"/>
              <a:gd name="connsiteX147" fmla="*/ 1479171 w 1491141"/>
              <a:gd name="connsiteY147" fmla="*/ 289435 h 1212769"/>
              <a:gd name="connsiteX148" fmla="*/ 1479171 w 1491141"/>
              <a:gd name="connsiteY148" fmla="*/ 293428 h 1212769"/>
              <a:gd name="connsiteX149" fmla="*/ 1477176 w 1491141"/>
              <a:gd name="connsiteY149" fmla="*/ 297420 h 1212769"/>
              <a:gd name="connsiteX150" fmla="*/ 1473186 w 1491141"/>
              <a:gd name="connsiteY150" fmla="*/ 299416 h 1212769"/>
              <a:gd name="connsiteX151" fmla="*/ 1473186 w 1491141"/>
              <a:gd name="connsiteY151" fmla="*/ 301412 h 1212769"/>
              <a:gd name="connsiteX152" fmla="*/ 1473186 w 1491141"/>
              <a:gd name="connsiteY152" fmla="*/ 305404 h 1212769"/>
              <a:gd name="connsiteX153" fmla="*/ 1471191 w 1491141"/>
              <a:gd name="connsiteY153" fmla="*/ 307400 h 1212769"/>
              <a:gd name="connsiteX154" fmla="*/ 1467201 w 1491141"/>
              <a:gd name="connsiteY154" fmla="*/ 309397 h 1212769"/>
              <a:gd name="connsiteX155" fmla="*/ 1461216 w 1491141"/>
              <a:gd name="connsiteY155" fmla="*/ 313389 h 1212769"/>
              <a:gd name="connsiteX156" fmla="*/ 1459221 w 1491141"/>
              <a:gd name="connsiteY156" fmla="*/ 317381 h 1212769"/>
              <a:gd name="connsiteX157" fmla="*/ 1459221 w 1491141"/>
              <a:gd name="connsiteY157" fmla="*/ 321373 h 1212769"/>
              <a:gd name="connsiteX158" fmla="*/ 1459221 w 1491141"/>
              <a:gd name="connsiteY158" fmla="*/ 325365 h 1212769"/>
              <a:gd name="connsiteX159" fmla="*/ 1459221 w 1491141"/>
              <a:gd name="connsiteY159" fmla="*/ 331354 h 1212769"/>
              <a:gd name="connsiteX160" fmla="*/ 1455231 w 1491141"/>
              <a:gd name="connsiteY160" fmla="*/ 333350 h 1212769"/>
              <a:gd name="connsiteX161" fmla="*/ 1449246 w 1491141"/>
              <a:gd name="connsiteY161" fmla="*/ 331354 h 1212769"/>
              <a:gd name="connsiteX162" fmla="*/ 1445256 w 1491141"/>
              <a:gd name="connsiteY162" fmla="*/ 331354 h 1212769"/>
              <a:gd name="connsiteX163" fmla="*/ 1443262 w 1491141"/>
              <a:gd name="connsiteY163" fmla="*/ 325365 h 1212769"/>
              <a:gd name="connsiteX164" fmla="*/ 1439272 w 1491141"/>
              <a:gd name="connsiteY164" fmla="*/ 323369 h 1212769"/>
              <a:gd name="connsiteX165" fmla="*/ 1437277 w 1491141"/>
              <a:gd name="connsiteY165" fmla="*/ 321373 h 1212769"/>
              <a:gd name="connsiteX166" fmla="*/ 1433287 w 1491141"/>
              <a:gd name="connsiteY166" fmla="*/ 319377 h 1212769"/>
              <a:gd name="connsiteX167" fmla="*/ 1433287 w 1491141"/>
              <a:gd name="connsiteY167" fmla="*/ 315385 h 1212769"/>
              <a:gd name="connsiteX168" fmla="*/ 1429297 w 1491141"/>
              <a:gd name="connsiteY168" fmla="*/ 317381 h 1212769"/>
              <a:gd name="connsiteX169" fmla="*/ 1425307 w 1491141"/>
              <a:gd name="connsiteY169" fmla="*/ 319377 h 1212769"/>
              <a:gd name="connsiteX170" fmla="*/ 1421317 w 1491141"/>
              <a:gd name="connsiteY170" fmla="*/ 321373 h 1212769"/>
              <a:gd name="connsiteX171" fmla="*/ 1419322 w 1491141"/>
              <a:gd name="connsiteY171" fmla="*/ 323369 h 1212769"/>
              <a:gd name="connsiteX172" fmla="*/ 1423312 w 1491141"/>
              <a:gd name="connsiteY172" fmla="*/ 325365 h 1212769"/>
              <a:gd name="connsiteX173" fmla="*/ 1427302 w 1491141"/>
              <a:gd name="connsiteY173" fmla="*/ 333350 h 1212769"/>
              <a:gd name="connsiteX174" fmla="*/ 1431292 w 1491141"/>
              <a:gd name="connsiteY174" fmla="*/ 339338 h 1212769"/>
              <a:gd name="connsiteX175" fmla="*/ 1433287 w 1491141"/>
              <a:gd name="connsiteY175" fmla="*/ 345327 h 1212769"/>
              <a:gd name="connsiteX176" fmla="*/ 1435282 w 1491141"/>
              <a:gd name="connsiteY176" fmla="*/ 349319 h 1212769"/>
              <a:gd name="connsiteX177" fmla="*/ 1437277 w 1491141"/>
              <a:gd name="connsiteY177" fmla="*/ 353311 h 1212769"/>
              <a:gd name="connsiteX178" fmla="*/ 1437277 w 1491141"/>
              <a:gd name="connsiteY178" fmla="*/ 357303 h 1212769"/>
              <a:gd name="connsiteX179" fmla="*/ 1435282 w 1491141"/>
              <a:gd name="connsiteY179" fmla="*/ 363291 h 1212769"/>
              <a:gd name="connsiteX180" fmla="*/ 1439272 w 1491141"/>
              <a:gd name="connsiteY180" fmla="*/ 365288 h 1212769"/>
              <a:gd name="connsiteX181" fmla="*/ 1439272 w 1491141"/>
              <a:gd name="connsiteY181" fmla="*/ 371276 h 1212769"/>
              <a:gd name="connsiteX182" fmla="*/ 1441267 w 1491141"/>
              <a:gd name="connsiteY182" fmla="*/ 377264 h 1212769"/>
              <a:gd name="connsiteX183" fmla="*/ 1443262 w 1491141"/>
              <a:gd name="connsiteY183" fmla="*/ 379260 h 1212769"/>
              <a:gd name="connsiteX184" fmla="*/ 1445256 w 1491141"/>
              <a:gd name="connsiteY184" fmla="*/ 383253 h 1212769"/>
              <a:gd name="connsiteX185" fmla="*/ 1449246 w 1491141"/>
              <a:gd name="connsiteY185" fmla="*/ 385249 h 1212769"/>
              <a:gd name="connsiteX186" fmla="*/ 1451241 w 1491141"/>
              <a:gd name="connsiteY186" fmla="*/ 391237 h 1212769"/>
              <a:gd name="connsiteX187" fmla="*/ 1449246 w 1491141"/>
              <a:gd name="connsiteY187" fmla="*/ 393233 h 1212769"/>
              <a:gd name="connsiteX188" fmla="*/ 1449246 w 1491141"/>
              <a:gd name="connsiteY188" fmla="*/ 397225 h 1212769"/>
              <a:gd name="connsiteX189" fmla="*/ 1441267 w 1491141"/>
              <a:gd name="connsiteY189" fmla="*/ 397225 h 1212769"/>
              <a:gd name="connsiteX190" fmla="*/ 1439272 w 1491141"/>
              <a:gd name="connsiteY190" fmla="*/ 397225 h 1212769"/>
              <a:gd name="connsiteX191" fmla="*/ 1437277 w 1491141"/>
              <a:gd name="connsiteY191" fmla="*/ 401218 h 1212769"/>
              <a:gd name="connsiteX192" fmla="*/ 1433287 w 1491141"/>
              <a:gd name="connsiteY192" fmla="*/ 399221 h 1212769"/>
              <a:gd name="connsiteX193" fmla="*/ 1429297 w 1491141"/>
              <a:gd name="connsiteY193" fmla="*/ 389241 h 1212769"/>
              <a:gd name="connsiteX194" fmla="*/ 1425307 w 1491141"/>
              <a:gd name="connsiteY194" fmla="*/ 383253 h 1212769"/>
              <a:gd name="connsiteX195" fmla="*/ 1421317 w 1491141"/>
              <a:gd name="connsiteY195" fmla="*/ 383253 h 1212769"/>
              <a:gd name="connsiteX196" fmla="*/ 1417327 w 1491141"/>
              <a:gd name="connsiteY196" fmla="*/ 383253 h 1212769"/>
              <a:gd name="connsiteX197" fmla="*/ 1415332 w 1491141"/>
              <a:gd name="connsiteY197" fmla="*/ 385249 h 1212769"/>
              <a:gd name="connsiteX198" fmla="*/ 1413337 w 1491141"/>
              <a:gd name="connsiteY198" fmla="*/ 389241 h 1212769"/>
              <a:gd name="connsiteX199" fmla="*/ 1407352 w 1491141"/>
              <a:gd name="connsiteY199" fmla="*/ 393233 h 1212769"/>
              <a:gd name="connsiteX200" fmla="*/ 1401367 w 1491141"/>
              <a:gd name="connsiteY200" fmla="*/ 395229 h 1212769"/>
              <a:gd name="connsiteX201" fmla="*/ 1397377 w 1491141"/>
              <a:gd name="connsiteY201" fmla="*/ 401218 h 1212769"/>
              <a:gd name="connsiteX202" fmla="*/ 1393387 w 1491141"/>
              <a:gd name="connsiteY202" fmla="*/ 409202 h 1212769"/>
              <a:gd name="connsiteX203" fmla="*/ 1389397 w 1491141"/>
              <a:gd name="connsiteY203" fmla="*/ 413194 h 1212769"/>
              <a:gd name="connsiteX204" fmla="*/ 1379422 w 1491141"/>
              <a:gd name="connsiteY204" fmla="*/ 415190 h 1212769"/>
              <a:gd name="connsiteX205" fmla="*/ 1373437 w 1491141"/>
              <a:gd name="connsiteY205" fmla="*/ 417186 h 1212769"/>
              <a:gd name="connsiteX206" fmla="*/ 1371442 w 1491141"/>
              <a:gd name="connsiteY206" fmla="*/ 425171 h 1212769"/>
              <a:gd name="connsiteX207" fmla="*/ 1371442 w 1491141"/>
              <a:gd name="connsiteY207" fmla="*/ 433155 h 1212769"/>
              <a:gd name="connsiteX208" fmla="*/ 1363462 w 1491141"/>
              <a:gd name="connsiteY208" fmla="*/ 439144 h 1212769"/>
              <a:gd name="connsiteX209" fmla="*/ 1357477 w 1491141"/>
              <a:gd name="connsiteY209" fmla="*/ 435151 h 1212769"/>
              <a:gd name="connsiteX210" fmla="*/ 1349497 w 1491141"/>
              <a:gd name="connsiteY210" fmla="*/ 423175 h 1212769"/>
              <a:gd name="connsiteX211" fmla="*/ 1341517 w 1491141"/>
              <a:gd name="connsiteY211" fmla="*/ 419183 h 1212769"/>
              <a:gd name="connsiteX212" fmla="*/ 1335532 w 1491141"/>
              <a:gd name="connsiteY212" fmla="*/ 425171 h 1212769"/>
              <a:gd name="connsiteX213" fmla="*/ 1337527 w 1491141"/>
              <a:gd name="connsiteY213" fmla="*/ 437147 h 1212769"/>
              <a:gd name="connsiteX214" fmla="*/ 1335532 w 1491141"/>
              <a:gd name="connsiteY214" fmla="*/ 443136 h 1212769"/>
              <a:gd name="connsiteX215" fmla="*/ 1331542 w 1491141"/>
              <a:gd name="connsiteY215" fmla="*/ 443136 h 1212769"/>
              <a:gd name="connsiteX216" fmla="*/ 1331542 w 1491141"/>
              <a:gd name="connsiteY216" fmla="*/ 453116 h 1212769"/>
              <a:gd name="connsiteX217" fmla="*/ 1321567 w 1491141"/>
              <a:gd name="connsiteY217" fmla="*/ 461101 h 1212769"/>
              <a:gd name="connsiteX218" fmla="*/ 1313587 w 1491141"/>
              <a:gd name="connsiteY218" fmla="*/ 467089 h 1212769"/>
              <a:gd name="connsiteX219" fmla="*/ 1309597 w 1491141"/>
              <a:gd name="connsiteY219" fmla="*/ 473077 h 1212769"/>
              <a:gd name="connsiteX220" fmla="*/ 1307602 w 1491141"/>
              <a:gd name="connsiteY220" fmla="*/ 481062 h 1212769"/>
              <a:gd name="connsiteX221" fmla="*/ 1305607 w 1491141"/>
              <a:gd name="connsiteY221" fmla="*/ 483058 h 1212769"/>
              <a:gd name="connsiteX222" fmla="*/ 1303612 w 1491141"/>
              <a:gd name="connsiteY222" fmla="*/ 485054 h 1212769"/>
              <a:gd name="connsiteX223" fmla="*/ 1305607 w 1491141"/>
              <a:gd name="connsiteY223" fmla="*/ 487050 h 1212769"/>
              <a:gd name="connsiteX224" fmla="*/ 1305607 w 1491141"/>
              <a:gd name="connsiteY224" fmla="*/ 489046 h 1212769"/>
              <a:gd name="connsiteX225" fmla="*/ 1297627 w 1491141"/>
              <a:gd name="connsiteY225" fmla="*/ 491042 h 1212769"/>
              <a:gd name="connsiteX226" fmla="*/ 1289648 w 1491141"/>
              <a:gd name="connsiteY226" fmla="*/ 491042 h 1212769"/>
              <a:gd name="connsiteX227" fmla="*/ 1277678 w 1491141"/>
              <a:gd name="connsiteY227" fmla="*/ 497031 h 1212769"/>
              <a:gd name="connsiteX228" fmla="*/ 1269698 w 1491141"/>
              <a:gd name="connsiteY228" fmla="*/ 499027 h 1212769"/>
              <a:gd name="connsiteX229" fmla="*/ 1261718 w 1491141"/>
              <a:gd name="connsiteY229" fmla="*/ 505015 h 1212769"/>
              <a:gd name="connsiteX230" fmla="*/ 1247753 w 1491141"/>
              <a:gd name="connsiteY230" fmla="*/ 516992 h 1212769"/>
              <a:gd name="connsiteX231" fmla="*/ 1239773 w 1491141"/>
              <a:gd name="connsiteY231" fmla="*/ 524976 h 1212769"/>
              <a:gd name="connsiteX232" fmla="*/ 1229798 w 1491141"/>
              <a:gd name="connsiteY232" fmla="*/ 528968 h 1212769"/>
              <a:gd name="connsiteX233" fmla="*/ 1235783 w 1491141"/>
              <a:gd name="connsiteY233" fmla="*/ 516992 h 1212769"/>
              <a:gd name="connsiteX234" fmla="*/ 1239773 w 1491141"/>
              <a:gd name="connsiteY234" fmla="*/ 511003 h 1212769"/>
              <a:gd name="connsiteX235" fmla="*/ 1233788 w 1491141"/>
              <a:gd name="connsiteY235" fmla="*/ 507011 h 1212769"/>
              <a:gd name="connsiteX236" fmla="*/ 1229798 w 1491141"/>
              <a:gd name="connsiteY236" fmla="*/ 495035 h 1212769"/>
              <a:gd name="connsiteX237" fmla="*/ 1237778 w 1491141"/>
              <a:gd name="connsiteY237" fmla="*/ 487050 h 1212769"/>
              <a:gd name="connsiteX238" fmla="*/ 1245758 w 1491141"/>
              <a:gd name="connsiteY238" fmla="*/ 481062 h 1212769"/>
              <a:gd name="connsiteX239" fmla="*/ 1245758 w 1491141"/>
              <a:gd name="connsiteY239" fmla="*/ 467089 h 1212769"/>
              <a:gd name="connsiteX240" fmla="*/ 1237778 w 1491141"/>
              <a:gd name="connsiteY240" fmla="*/ 461101 h 1212769"/>
              <a:gd name="connsiteX241" fmla="*/ 1235783 w 1491141"/>
              <a:gd name="connsiteY241" fmla="*/ 451120 h 1212769"/>
              <a:gd name="connsiteX242" fmla="*/ 1231793 w 1491141"/>
              <a:gd name="connsiteY242" fmla="*/ 451120 h 1212769"/>
              <a:gd name="connsiteX243" fmla="*/ 1225808 w 1491141"/>
              <a:gd name="connsiteY243" fmla="*/ 453116 h 1212769"/>
              <a:gd name="connsiteX244" fmla="*/ 1211843 w 1491141"/>
              <a:gd name="connsiteY244" fmla="*/ 459105 h 1212769"/>
              <a:gd name="connsiteX245" fmla="*/ 1207853 w 1491141"/>
              <a:gd name="connsiteY245" fmla="*/ 473077 h 1212769"/>
              <a:gd name="connsiteX246" fmla="*/ 1193888 w 1491141"/>
              <a:gd name="connsiteY246" fmla="*/ 485054 h 1212769"/>
              <a:gd name="connsiteX247" fmla="*/ 1183913 w 1491141"/>
              <a:gd name="connsiteY247" fmla="*/ 497031 h 1212769"/>
              <a:gd name="connsiteX248" fmla="*/ 1177928 w 1491141"/>
              <a:gd name="connsiteY248" fmla="*/ 514996 h 1212769"/>
              <a:gd name="connsiteX249" fmla="*/ 1167953 w 1491141"/>
              <a:gd name="connsiteY249" fmla="*/ 518988 h 1212769"/>
              <a:gd name="connsiteX250" fmla="*/ 1165958 w 1491141"/>
              <a:gd name="connsiteY250" fmla="*/ 518988 h 1212769"/>
              <a:gd name="connsiteX251" fmla="*/ 1157978 w 1491141"/>
              <a:gd name="connsiteY251" fmla="*/ 518988 h 1212769"/>
              <a:gd name="connsiteX252" fmla="*/ 1149998 w 1491141"/>
              <a:gd name="connsiteY252" fmla="*/ 514996 h 1212769"/>
              <a:gd name="connsiteX253" fmla="*/ 1144014 w 1491141"/>
              <a:gd name="connsiteY253" fmla="*/ 524976 h 1212769"/>
              <a:gd name="connsiteX254" fmla="*/ 1144014 w 1491141"/>
              <a:gd name="connsiteY254" fmla="*/ 532961 h 1212769"/>
              <a:gd name="connsiteX255" fmla="*/ 1144014 w 1491141"/>
              <a:gd name="connsiteY255" fmla="*/ 538949 h 1212769"/>
              <a:gd name="connsiteX256" fmla="*/ 1151993 w 1491141"/>
              <a:gd name="connsiteY256" fmla="*/ 550926 h 1212769"/>
              <a:gd name="connsiteX257" fmla="*/ 1159973 w 1491141"/>
              <a:gd name="connsiteY257" fmla="*/ 550926 h 1212769"/>
              <a:gd name="connsiteX258" fmla="*/ 1171943 w 1491141"/>
              <a:gd name="connsiteY258" fmla="*/ 548929 h 1212769"/>
              <a:gd name="connsiteX259" fmla="*/ 1181918 w 1491141"/>
              <a:gd name="connsiteY259" fmla="*/ 554918 h 1212769"/>
              <a:gd name="connsiteX260" fmla="*/ 1181918 w 1491141"/>
              <a:gd name="connsiteY260" fmla="*/ 566894 h 1212769"/>
              <a:gd name="connsiteX261" fmla="*/ 1183913 w 1491141"/>
              <a:gd name="connsiteY261" fmla="*/ 572883 h 1212769"/>
              <a:gd name="connsiteX262" fmla="*/ 1195883 w 1491141"/>
              <a:gd name="connsiteY262" fmla="*/ 574879 h 1212769"/>
              <a:gd name="connsiteX263" fmla="*/ 1203863 w 1491141"/>
              <a:gd name="connsiteY263" fmla="*/ 576875 h 1212769"/>
              <a:gd name="connsiteX264" fmla="*/ 1211843 w 1491141"/>
              <a:gd name="connsiteY264" fmla="*/ 570887 h 1212769"/>
              <a:gd name="connsiteX265" fmla="*/ 1215833 w 1491141"/>
              <a:gd name="connsiteY265" fmla="*/ 562902 h 1212769"/>
              <a:gd name="connsiteX266" fmla="*/ 1217828 w 1491141"/>
              <a:gd name="connsiteY266" fmla="*/ 560906 h 1212769"/>
              <a:gd name="connsiteX267" fmla="*/ 1227803 w 1491141"/>
              <a:gd name="connsiteY267" fmla="*/ 556914 h 1212769"/>
              <a:gd name="connsiteX268" fmla="*/ 1237778 w 1491141"/>
              <a:gd name="connsiteY268" fmla="*/ 560906 h 1212769"/>
              <a:gd name="connsiteX269" fmla="*/ 1247753 w 1491141"/>
              <a:gd name="connsiteY269" fmla="*/ 564898 h 1212769"/>
              <a:gd name="connsiteX270" fmla="*/ 1259723 w 1491141"/>
              <a:gd name="connsiteY270" fmla="*/ 564898 h 1212769"/>
              <a:gd name="connsiteX271" fmla="*/ 1263713 w 1491141"/>
              <a:gd name="connsiteY271" fmla="*/ 564898 h 1212769"/>
              <a:gd name="connsiteX272" fmla="*/ 1273688 w 1491141"/>
              <a:gd name="connsiteY272" fmla="*/ 564898 h 1212769"/>
              <a:gd name="connsiteX273" fmla="*/ 1275683 w 1491141"/>
              <a:gd name="connsiteY273" fmla="*/ 570887 h 1212769"/>
              <a:gd name="connsiteX274" fmla="*/ 1273688 w 1491141"/>
              <a:gd name="connsiteY274" fmla="*/ 578871 h 1212769"/>
              <a:gd name="connsiteX275" fmla="*/ 1273688 w 1491141"/>
              <a:gd name="connsiteY275" fmla="*/ 584859 h 1212769"/>
              <a:gd name="connsiteX276" fmla="*/ 1273688 w 1491141"/>
              <a:gd name="connsiteY276" fmla="*/ 588852 h 1212769"/>
              <a:gd name="connsiteX277" fmla="*/ 1263713 w 1491141"/>
              <a:gd name="connsiteY277" fmla="*/ 590848 h 1212769"/>
              <a:gd name="connsiteX278" fmla="*/ 1257728 w 1491141"/>
              <a:gd name="connsiteY278" fmla="*/ 592844 h 1212769"/>
              <a:gd name="connsiteX279" fmla="*/ 1251743 w 1491141"/>
              <a:gd name="connsiteY279" fmla="*/ 596836 h 1212769"/>
              <a:gd name="connsiteX280" fmla="*/ 1241768 w 1491141"/>
              <a:gd name="connsiteY280" fmla="*/ 598832 h 1212769"/>
              <a:gd name="connsiteX281" fmla="*/ 1237778 w 1491141"/>
              <a:gd name="connsiteY281" fmla="*/ 602824 h 1212769"/>
              <a:gd name="connsiteX282" fmla="*/ 1231793 w 1491141"/>
              <a:gd name="connsiteY282" fmla="*/ 608813 h 1212769"/>
              <a:gd name="connsiteX283" fmla="*/ 1225808 w 1491141"/>
              <a:gd name="connsiteY283" fmla="*/ 614801 h 1212769"/>
              <a:gd name="connsiteX284" fmla="*/ 1223813 w 1491141"/>
              <a:gd name="connsiteY284" fmla="*/ 620789 h 1212769"/>
              <a:gd name="connsiteX285" fmla="*/ 1223813 w 1491141"/>
              <a:gd name="connsiteY285" fmla="*/ 626778 h 1212769"/>
              <a:gd name="connsiteX286" fmla="*/ 1217828 w 1491141"/>
              <a:gd name="connsiteY286" fmla="*/ 634762 h 1212769"/>
              <a:gd name="connsiteX287" fmla="*/ 1213838 w 1491141"/>
              <a:gd name="connsiteY287" fmla="*/ 638754 h 1212769"/>
              <a:gd name="connsiteX288" fmla="*/ 1209848 w 1491141"/>
              <a:gd name="connsiteY288" fmla="*/ 644743 h 1212769"/>
              <a:gd name="connsiteX289" fmla="*/ 1209848 w 1491141"/>
              <a:gd name="connsiteY289" fmla="*/ 650731 h 1212769"/>
              <a:gd name="connsiteX290" fmla="*/ 1203863 w 1491141"/>
              <a:gd name="connsiteY290" fmla="*/ 660712 h 1212769"/>
              <a:gd name="connsiteX291" fmla="*/ 1211843 w 1491141"/>
              <a:gd name="connsiteY291" fmla="*/ 670692 h 1212769"/>
              <a:gd name="connsiteX292" fmla="*/ 1219823 w 1491141"/>
              <a:gd name="connsiteY292" fmla="*/ 674684 h 1212769"/>
              <a:gd name="connsiteX293" fmla="*/ 1229798 w 1491141"/>
              <a:gd name="connsiteY293" fmla="*/ 678677 h 1212769"/>
              <a:gd name="connsiteX294" fmla="*/ 1233788 w 1491141"/>
              <a:gd name="connsiteY294" fmla="*/ 684665 h 1212769"/>
              <a:gd name="connsiteX295" fmla="*/ 1237778 w 1491141"/>
              <a:gd name="connsiteY295" fmla="*/ 690653 h 1212769"/>
              <a:gd name="connsiteX296" fmla="*/ 1241768 w 1491141"/>
              <a:gd name="connsiteY296" fmla="*/ 700634 h 1212769"/>
              <a:gd name="connsiteX297" fmla="*/ 1245758 w 1491141"/>
              <a:gd name="connsiteY297" fmla="*/ 712610 h 1212769"/>
              <a:gd name="connsiteX298" fmla="*/ 1251743 w 1491141"/>
              <a:gd name="connsiteY298" fmla="*/ 720595 h 1212769"/>
              <a:gd name="connsiteX299" fmla="*/ 1255733 w 1491141"/>
              <a:gd name="connsiteY299" fmla="*/ 730575 h 1212769"/>
              <a:gd name="connsiteX300" fmla="*/ 1257728 w 1491141"/>
              <a:gd name="connsiteY300" fmla="*/ 740556 h 1212769"/>
              <a:gd name="connsiteX301" fmla="*/ 1267703 w 1491141"/>
              <a:gd name="connsiteY301" fmla="*/ 744548 h 1212769"/>
              <a:gd name="connsiteX302" fmla="*/ 1275683 w 1491141"/>
              <a:gd name="connsiteY302" fmla="*/ 752532 h 1212769"/>
              <a:gd name="connsiteX303" fmla="*/ 1277678 w 1491141"/>
              <a:gd name="connsiteY303" fmla="*/ 754529 h 1212769"/>
              <a:gd name="connsiteX304" fmla="*/ 1283663 w 1491141"/>
              <a:gd name="connsiteY304" fmla="*/ 762513 h 1212769"/>
              <a:gd name="connsiteX305" fmla="*/ 1289648 w 1491141"/>
              <a:gd name="connsiteY305" fmla="*/ 768501 h 1212769"/>
              <a:gd name="connsiteX306" fmla="*/ 1285658 w 1491141"/>
              <a:gd name="connsiteY306" fmla="*/ 768501 h 1212769"/>
              <a:gd name="connsiteX307" fmla="*/ 1281668 w 1491141"/>
              <a:gd name="connsiteY307" fmla="*/ 768501 h 1212769"/>
              <a:gd name="connsiteX308" fmla="*/ 1273688 w 1491141"/>
              <a:gd name="connsiteY308" fmla="*/ 764509 h 1212769"/>
              <a:gd name="connsiteX309" fmla="*/ 1265708 w 1491141"/>
              <a:gd name="connsiteY309" fmla="*/ 762513 h 1212769"/>
              <a:gd name="connsiteX310" fmla="*/ 1267703 w 1491141"/>
              <a:gd name="connsiteY310" fmla="*/ 768501 h 1212769"/>
              <a:gd name="connsiteX311" fmla="*/ 1277678 w 1491141"/>
              <a:gd name="connsiteY311" fmla="*/ 776486 h 1212769"/>
              <a:gd name="connsiteX312" fmla="*/ 1289648 w 1491141"/>
              <a:gd name="connsiteY312" fmla="*/ 790459 h 1212769"/>
              <a:gd name="connsiteX313" fmla="*/ 1289648 w 1491141"/>
              <a:gd name="connsiteY313" fmla="*/ 796447 h 1212769"/>
              <a:gd name="connsiteX314" fmla="*/ 1281668 w 1491141"/>
              <a:gd name="connsiteY314" fmla="*/ 800439 h 1212769"/>
              <a:gd name="connsiteX315" fmla="*/ 1271693 w 1491141"/>
              <a:gd name="connsiteY315" fmla="*/ 810420 h 1212769"/>
              <a:gd name="connsiteX316" fmla="*/ 1263713 w 1491141"/>
              <a:gd name="connsiteY316" fmla="*/ 812416 h 1212769"/>
              <a:gd name="connsiteX317" fmla="*/ 1261718 w 1491141"/>
              <a:gd name="connsiteY317" fmla="*/ 816408 h 1212769"/>
              <a:gd name="connsiteX318" fmla="*/ 1267703 w 1491141"/>
              <a:gd name="connsiteY318" fmla="*/ 820400 h 1212769"/>
              <a:gd name="connsiteX319" fmla="*/ 1269698 w 1491141"/>
              <a:gd name="connsiteY319" fmla="*/ 822396 h 1212769"/>
              <a:gd name="connsiteX320" fmla="*/ 1275683 w 1491141"/>
              <a:gd name="connsiteY320" fmla="*/ 822396 h 1212769"/>
              <a:gd name="connsiteX321" fmla="*/ 1285658 w 1491141"/>
              <a:gd name="connsiteY321" fmla="*/ 820400 h 1212769"/>
              <a:gd name="connsiteX322" fmla="*/ 1293638 w 1491141"/>
              <a:gd name="connsiteY322" fmla="*/ 824392 h 1212769"/>
              <a:gd name="connsiteX323" fmla="*/ 1297627 w 1491141"/>
              <a:gd name="connsiteY323" fmla="*/ 828385 h 1212769"/>
              <a:gd name="connsiteX324" fmla="*/ 1301617 w 1491141"/>
              <a:gd name="connsiteY324" fmla="*/ 832377 h 1212769"/>
              <a:gd name="connsiteX325" fmla="*/ 1295632 w 1491141"/>
              <a:gd name="connsiteY325" fmla="*/ 834373 h 1212769"/>
              <a:gd name="connsiteX326" fmla="*/ 1289648 w 1491141"/>
              <a:gd name="connsiteY326" fmla="*/ 840361 h 1212769"/>
              <a:gd name="connsiteX327" fmla="*/ 1287653 w 1491141"/>
              <a:gd name="connsiteY327" fmla="*/ 844353 h 1212769"/>
              <a:gd name="connsiteX328" fmla="*/ 1291643 w 1491141"/>
              <a:gd name="connsiteY328" fmla="*/ 844353 h 1212769"/>
              <a:gd name="connsiteX329" fmla="*/ 1297627 w 1491141"/>
              <a:gd name="connsiteY329" fmla="*/ 842357 h 1212769"/>
              <a:gd name="connsiteX330" fmla="*/ 1301617 w 1491141"/>
              <a:gd name="connsiteY330" fmla="*/ 848346 h 1212769"/>
              <a:gd name="connsiteX331" fmla="*/ 1299622 w 1491141"/>
              <a:gd name="connsiteY331" fmla="*/ 852338 h 1212769"/>
              <a:gd name="connsiteX332" fmla="*/ 1293638 w 1491141"/>
              <a:gd name="connsiteY332" fmla="*/ 852338 h 1212769"/>
              <a:gd name="connsiteX333" fmla="*/ 1291643 w 1491141"/>
              <a:gd name="connsiteY333" fmla="*/ 856330 h 1212769"/>
              <a:gd name="connsiteX334" fmla="*/ 1295632 w 1491141"/>
              <a:gd name="connsiteY334" fmla="*/ 862318 h 1212769"/>
              <a:gd name="connsiteX335" fmla="*/ 1293638 w 1491141"/>
              <a:gd name="connsiteY335" fmla="*/ 872299 h 1212769"/>
              <a:gd name="connsiteX336" fmla="*/ 1291643 w 1491141"/>
              <a:gd name="connsiteY336" fmla="*/ 876291 h 1212769"/>
              <a:gd name="connsiteX337" fmla="*/ 1293638 w 1491141"/>
              <a:gd name="connsiteY337" fmla="*/ 882280 h 1212769"/>
              <a:gd name="connsiteX338" fmla="*/ 1293638 w 1491141"/>
              <a:gd name="connsiteY338" fmla="*/ 890264 h 1212769"/>
              <a:gd name="connsiteX339" fmla="*/ 1285658 w 1491141"/>
              <a:gd name="connsiteY339" fmla="*/ 890264 h 1212769"/>
              <a:gd name="connsiteX340" fmla="*/ 1277678 w 1491141"/>
              <a:gd name="connsiteY340" fmla="*/ 892260 h 1212769"/>
              <a:gd name="connsiteX341" fmla="*/ 1277678 w 1491141"/>
              <a:gd name="connsiteY341" fmla="*/ 898248 h 1212769"/>
              <a:gd name="connsiteX342" fmla="*/ 1275683 w 1491141"/>
              <a:gd name="connsiteY342" fmla="*/ 908229 h 1212769"/>
              <a:gd name="connsiteX343" fmla="*/ 1275683 w 1491141"/>
              <a:gd name="connsiteY343" fmla="*/ 920206 h 1212769"/>
              <a:gd name="connsiteX344" fmla="*/ 1271693 w 1491141"/>
              <a:gd name="connsiteY344" fmla="*/ 922202 h 1212769"/>
              <a:gd name="connsiteX345" fmla="*/ 1261718 w 1491141"/>
              <a:gd name="connsiteY345" fmla="*/ 930186 h 1212769"/>
              <a:gd name="connsiteX346" fmla="*/ 1257728 w 1491141"/>
              <a:gd name="connsiteY346" fmla="*/ 934178 h 1212769"/>
              <a:gd name="connsiteX347" fmla="*/ 1249748 w 1491141"/>
              <a:gd name="connsiteY347" fmla="*/ 934178 h 1212769"/>
              <a:gd name="connsiteX348" fmla="*/ 1257728 w 1491141"/>
              <a:gd name="connsiteY348" fmla="*/ 938171 h 1212769"/>
              <a:gd name="connsiteX349" fmla="*/ 1251743 w 1491141"/>
              <a:gd name="connsiteY349" fmla="*/ 944159 h 1212769"/>
              <a:gd name="connsiteX350" fmla="*/ 1249748 w 1491141"/>
              <a:gd name="connsiteY350" fmla="*/ 952143 h 1212769"/>
              <a:gd name="connsiteX351" fmla="*/ 1255733 w 1491141"/>
              <a:gd name="connsiteY351" fmla="*/ 960128 h 1212769"/>
              <a:gd name="connsiteX352" fmla="*/ 1255733 w 1491141"/>
              <a:gd name="connsiteY352" fmla="*/ 972104 h 1212769"/>
              <a:gd name="connsiteX353" fmla="*/ 1255733 w 1491141"/>
              <a:gd name="connsiteY353" fmla="*/ 976097 h 1212769"/>
              <a:gd name="connsiteX354" fmla="*/ 1251743 w 1491141"/>
              <a:gd name="connsiteY354" fmla="*/ 976097 h 1212769"/>
              <a:gd name="connsiteX355" fmla="*/ 1247753 w 1491141"/>
              <a:gd name="connsiteY355" fmla="*/ 978093 h 1212769"/>
              <a:gd name="connsiteX356" fmla="*/ 1249748 w 1491141"/>
              <a:gd name="connsiteY356" fmla="*/ 984081 h 1212769"/>
              <a:gd name="connsiteX357" fmla="*/ 1247753 w 1491141"/>
              <a:gd name="connsiteY357" fmla="*/ 986077 h 1212769"/>
              <a:gd name="connsiteX358" fmla="*/ 1243763 w 1491141"/>
              <a:gd name="connsiteY358" fmla="*/ 988073 h 1212769"/>
              <a:gd name="connsiteX359" fmla="*/ 1241768 w 1491141"/>
              <a:gd name="connsiteY359" fmla="*/ 984081 h 1212769"/>
              <a:gd name="connsiteX360" fmla="*/ 1237778 w 1491141"/>
              <a:gd name="connsiteY360" fmla="*/ 986077 h 1212769"/>
              <a:gd name="connsiteX361" fmla="*/ 1237778 w 1491141"/>
              <a:gd name="connsiteY361" fmla="*/ 992065 h 1212769"/>
              <a:gd name="connsiteX362" fmla="*/ 1233788 w 1491141"/>
              <a:gd name="connsiteY362" fmla="*/ 996058 h 1212769"/>
              <a:gd name="connsiteX363" fmla="*/ 1233788 w 1491141"/>
              <a:gd name="connsiteY363" fmla="*/ 998054 h 1212769"/>
              <a:gd name="connsiteX364" fmla="*/ 1233788 w 1491141"/>
              <a:gd name="connsiteY364" fmla="*/ 1004042 h 1212769"/>
              <a:gd name="connsiteX365" fmla="*/ 1227803 w 1491141"/>
              <a:gd name="connsiteY365" fmla="*/ 1006038 h 1212769"/>
              <a:gd name="connsiteX366" fmla="*/ 1223813 w 1491141"/>
              <a:gd name="connsiteY366" fmla="*/ 1004042 h 1212769"/>
              <a:gd name="connsiteX367" fmla="*/ 1219823 w 1491141"/>
              <a:gd name="connsiteY367" fmla="*/ 1006038 h 1212769"/>
              <a:gd name="connsiteX368" fmla="*/ 1217828 w 1491141"/>
              <a:gd name="connsiteY368" fmla="*/ 1014023 h 1212769"/>
              <a:gd name="connsiteX369" fmla="*/ 1215833 w 1491141"/>
              <a:gd name="connsiteY369" fmla="*/ 1018015 h 1212769"/>
              <a:gd name="connsiteX370" fmla="*/ 1207853 w 1491141"/>
              <a:gd name="connsiteY370" fmla="*/ 1027995 h 1212769"/>
              <a:gd name="connsiteX371" fmla="*/ 1203863 w 1491141"/>
              <a:gd name="connsiteY371" fmla="*/ 1033984 h 1212769"/>
              <a:gd name="connsiteX372" fmla="*/ 1201868 w 1491141"/>
              <a:gd name="connsiteY372" fmla="*/ 1035980 h 1212769"/>
              <a:gd name="connsiteX373" fmla="*/ 1197878 w 1491141"/>
              <a:gd name="connsiteY373" fmla="*/ 1037976 h 1212769"/>
              <a:gd name="connsiteX374" fmla="*/ 1189898 w 1491141"/>
              <a:gd name="connsiteY374" fmla="*/ 1035980 h 1212769"/>
              <a:gd name="connsiteX375" fmla="*/ 1187903 w 1491141"/>
              <a:gd name="connsiteY375" fmla="*/ 1043964 h 1212769"/>
              <a:gd name="connsiteX376" fmla="*/ 1183913 w 1491141"/>
              <a:gd name="connsiteY376" fmla="*/ 1059933 h 1212769"/>
              <a:gd name="connsiteX377" fmla="*/ 1177928 w 1491141"/>
              <a:gd name="connsiteY377" fmla="*/ 1063925 h 1212769"/>
              <a:gd name="connsiteX378" fmla="*/ 1169948 w 1491141"/>
              <a:gd name="connsiteY378" fmla="*/ 1065921 h 1212769"/>
              <a:gd name="connsiteX379" fmla="*/ 1167953 w 1491141"/>
              <a:gd name="connsiteY379" fmla="*/ 1065921 h 1212769"/>
              <a:gd name="connsiteX380" fmla="*/ 1153988 w 1491141"/>
              <a:gd name="connsiteY380" fmla="*/ 1069914 h 1212769"/>
              <a:gd name="connsiteX381" fmla="*/ 1151993 w 1491141"/>
              <a:gd name="connsiteY381" fmla="*/ 1063925 h 1212769"/>
              <a:gd name="connsiteX382" fmla="*/ 1149998 w 1491141"/>
              <a:gd name="connsiteY382" fmla="*/ 1063925 h 1212769"/>
              <a:gd name="connsiteX383" fmla="*/ 1142019 w 1491141"/>
              <a:gd name="connsiteY383" fmla="*/ 1063925 h 1212769"/>
              <a:gd name="connsiteX384" fmla="*/ 1138029 w 1491141"/>
              <a:gd name="connsiteY384" fmla="*/ 1065921 h 1212769"/>
              <a:gd name="connsiteX385" fmla="*/ 1134039 w 1491141"/>
              <a:gd name="connsiteY385" fmla="*/ 1071910 h 1212769"/>
              <a:gd name="connsiteX386" fmla="*/ 1130049 w 1491141"/>
              <a:gd name="connsiteY386" fmla="*/ 1077898 h 1212769"/>
              <a:gd name="connsiteX387" fmla="*/ 1122069 w 1491141"/>
              <a:gd name="connsiteY387" fmla="*/ 1077898 h 1212769"/>
              <a:gd name="connsiteX388" fmla="*/ 1116084 w 1491141"/>
              <a:gd name="connsiteY388" fmla="*/ 1073906 h 1212769"/>
              <a:gd name="connsiteX389" fmla="*/ 1114089 w 1491141"/>
              <a:gd name="connsiteY389" fmla="*/ 1069914 h 1212769"/>
              <a:gd name="connsiteX390" fmla="*/ 1112094 w 1491141"/>
              <a:gd name="connsiteY390" fmla="*/ 1067917 h 1212769"/>
              <a:gd name="connsiteX391" fmla="*/ 1110099 w 1491141"/>
              <a:gd name="connsiteY391" fmla="*/ 1065921 h 1212769"/>
              <a:gd name="connsiteX392" fmla="*/ 1108104 w 1491141"/>
              <a:gd name="connsiteY392" fmla="*/ 1061929 h 1212769"/>
              <a:gd name="connsiteX393" fmla="*/ 1106109 w 1491141"/>
              <a:gd name="connsiteY393" fmla="*/ 1069914 h 1212769"/>
              <a:gd name="connsiteX394" fmla="*/ 1110099 w 1491141"/>
              <a:gd name="connsiteY394" fmla="*/ 1075902 h 1212769"/>
              <a:gd name="connsiteX395" fmla="*/ 1106109 w 1491141"/>
              <a:gd name="connsiteY395" fmla="*/ 1083886 h 1212769"/>
              <a:gd name="connsiteX396" fmla="*/ 1098129 w 1491141"/>
              <a:gd name="connsiteY396" fmla="*/ 1091871 h 1212769"/>
              <a:gd name="connsiteX397" fmla="*/ 1094139 w 1491141"/>
              <a:gd name="connsiteY397" fmla="*/ 1099855 h 1212769"/>
              <a:gd name="connsiteX398" fmla="*/ 1090149 w 1491141"/>
              <a:gd name="connsiteY398" fmla="*/ 1095863 h 1212769"/>
              <a:gd name="connsiteX399" fmla="*/ 1086159 w 1491141"/>
              <a:gd name="connsiteY399" fmla="*/ 1097859 h 1212769"/>
              <a:gd name="connsiteX400" fmla="*/ 1078179 w 1491141"/>
              <a:gd name="connsiteY400" fmla="*/ 1097859 h 1212769"/>
              <a:gd name="connsiteX401" fmla="*/ 1076184 w 1491141"/>
              <a:gd name="connsiteY401" fmla="*/ 1101851 h 1212769"/>
              <a:gd name="connsiteX402" fmla="*/ 1074189 w 1491141"/>
              <a:gd name="connsiteY402" fmla="*/ 1103847 h 1212769"/>
              <a:gd name="connsiteX403" fmla="*/ 1068204 w 1491141"/>
              <a:gd name="connsiteY403" fmla="*/ 1099855 h 1212769"/>
              <a:gd name="connsiteX404" fmla="*/ 1066209 w 1491141"/>
              <a:gd name="connsiteY404" fmla="*/ 1097859 h 1212769"/>
              <a:gd name="connsiteX405" fmla="*/ 1066209 w 1491141"/>
              <a:gd name="connsiteY405" fmla="*/ 1103847 h 1212769"/>
              <a:gd name="connsiteX406" fmla="*/ 1062219 w 1491141"/>
              <a:gd name="connsiteY406" fmla="*/ 1105844 h 1212769"/>
              <a:gd name="connsiteX407" fmla="*/ 1058229 w 1491141"/>
              <a:gd name="connsiteY407" fmla="*/ 1107840 h 1212769"/>
              <a:gd name="connsiteX408" fmla="*/ 1054239 w 1491141"/>
              <a:gd name="connsiteY408" fmla="*/ 1107840 h 1212769"/>
              <a:gd name="connsiteX409" fmla="*/ 1050249 w 1491141"/>
              <a:gd name="connsiteY409" fmla="*/ 1105844 h 1212769"/>
              <a:gd name="connsiteX410" fmla="*/ 1048254 w 1491141"/>
              <a:gd name="connsiteY410" fmla="*/ 1107840 h 1212769"/>
              <a:gd name="connsiteX411" fmla="*/ 1044264 w 1491141"/>
              <a:gd name="connsiteY411" fmla="*/ 1107840 h 1212769"/>
              <a:gd name="connsiteX412" fmla="*/ 1044264 w 1491141"/>
              <a:gd name="connsiteY412" fmla="*/ 1111832 h 1212769"/>
              <a:gd name="connsiteX413" fmla="*/ 1040274 w 1491141"/>
              <a:gd name="connsiteY413" fmla="*/ 1113828 h 1212769"/>
              <a:gd name="connsiteX414" fmla="*/ 1038279 w 1491141"/>
              <a:gd name="connsiteY414" fmla="*/ 1115824 h 1212769"/>
              <a:gd name="connsiteX415" fmla="*/ 1034289 w 1491141"/>
              <a:gd name="connsiteY415" fmla="*/ 1119816 h 1212769"/>
              <a:gd name="connsiteX416" fmla="*/ 1032294 w 1491141"/>
              <a:gd name="connsiteY416" fmla="*/ 1115824 h 1212769"/>
              <a:gd name="connsiteX417" fmla="*/ 1030299 w 1491141"/>
              <a:gd name="connsiteY417" fmla="*/ 1111832 h 1212769"/>
              <a:gd name="connsiteX418" fmla="*/ 1028304 w 1491141"/>
              <a:gd name="connsiteY418" fmla="*/ 1113828 h 1212769"/>
              <a:gd name="connsiteX419" fmla="*/ 1026309 w 1491141"/>
              <a:gd name="connsiteY419" fmla="*/ 1121812 h 1212769"/>
              <a:gd name="connsiteX420" fmla="*/ 1026309 w 1491141"/>
              <a:gd name="connsiteY420" fmla="*/ 1125805 h 1212769"/>
              <a:gd name="connsiteX421" fmla="*/ 1030299 w 1491141"/>
              <a:gd name="connsiteY421" fmla="*/ 1131793 h 1212769"/>
              <a:gd name="connsiteX422" fmla="*/ 1034289 w 1491141"/>
              <a:gd name="connsiteY422" fmla="*/ 1139777 h 1212769"/>
              <a:gd name="connsiteX423" fmla="*/ 1032294 w 1491141"/>
              <a:gd name="connsiteY423" fmla="*/ 1145766 h 1212769"/>
              <a:gd name="connsiteX424" fmla="*/ 1028304 w 1491141"/>
              <a:gd name="connsiteY424" fmla="*/ 1147762 h 1212769"/>
              <a:gd name="connsiteX425" fmla="*/ 1018329 w 1491141"/>
              <a:gd name="connsiteY425" fmla="*/ 1147762 h 1212769"/>
              <a:gd name="connsiteX426" fmla="*/ 1018329 w 1491141"/>
              <a:gd name="connsiteY426" fmla="*/ 1143770 h 1212769"/>
              <a:gd name="connsiteX427" fmla="*/ 1012344 w 1491141"/>
              <a:gd name="connsiteY427" fmla="*/ 1139777 h 1212769"/>
              <a:gd name="connsiteX428" fmla="*/ 1010349 w 1491141"/>
              <a:gd name="connsiteY428" fmla="*/ 1131793 h 1212769"/>
              <a:gd name="connsiteX429" fmla="*/ 1008354 w 1491141"/>
              <a:gd name="connsiteY429" fmla="*/ 1125805 h 1212769"/>
              <a:gd name="connsiteX430" fmla="*/ 1006359 w 1491141"/>
              <a:gd name="connsiteY430" fmla="*/ 1119816 h 1212769"/>
              <a:gd name="connsiteX431" fmla="*/ 1006359 w 1491141"/>
              <a:gd name="connsiteY431" fmla="*/ 1115824 h 1212769"/>
              <a:gd name="connsiteX432" fmla="*/ 1006359 w 1491141"/>
              <a:gd name="connsiteY432" fmla="*/ 1111832 h 1212769"/>
              <a:gd name="connsiteX433" fmla="*/ 1008354 w 1491141"/>
              <a:gd name="connsiteY433" fmla="*/ 1111832 h 1212769"/>
              <a:gd name="connsiteX434" fmla="*/ 1006359 w 1491141"/>
              <a:gd name="connsiteY434" fmla="*/ 1107840 h 1212769"/>
              <a:gd name="connsiteX435" fmla="*/ 1008354 w 1491141"/>
              <a:gd name="connsiteY435" fmla="*/ 1105844 h 1212769"/>
              <a:gd name="connsiteX436" fmla="*/ 1012344 w 1491141"/>
              <a:gd name="connsiteY436" fmla="*/ 1105844 h 1212769"/>
              <a:gd name="connsiteX437" fmla="*/ 1010349 w 1491141"/>
              <a:gd name="connsiteY437" fmla="*/ 1101851 h 1212769"/>
              <a:gd name="connsiteX438" fmla="*/ 1006359 w 1491141"/>
              <a:gd name="connsiteY438" fmla="*/ 1101851 h 1212769"/>
              <a:gd name="connsiteX439" fmla="*/ 1004364 w 1491141"/>
              <a:gd name="connsiteY439" fmla="*/ 1097859 h 1212769"/>
              <a:gd name="connsiteX440" fmla="*/ 1000375 w 1491141"/>
              <a:gd name="connsiteY440" fmla="*/ 1103847 h 1212769"/>
              <a:gd name="connsiteX441" fmla="*/ 996385 w 1491141"/>
              <a:gd name="connsiteY441" fmla="*/ 1101851 h 1212769"/>
              <a:gd name="connsiteX442" fmla="*/ 990400 w 1491141"/>
              <a:gd name="connsiteY442" fmla="*/ 1099855 h 1212769"/>
              <a:gd name="connsiteX443" fmla="*/ 984414 w 1491141"/>
              <a:gd name="connsiteY443" fmla="*/ 1093867 h 1212769"/>
              <a:gd name="connsiteX444" fmla="*/ 982419 w 1491141"/>
              <a:gd name="connsiteY444" fmla="*/ 1093867 h 1212769"/>
              <a:gd name="connsiteX445" fmla="*/ 984414 w 1491141"/>
              <a:gd name="connsiteY445" fmla="*/ 1099855 h 1212769"/>
              <a:gd name="connsiteX446" fmla="*/ 984414 w 1491141"/>
              <a:gd name="connsiteY446" fmla="*/ 1103847 h 1212769"/>
              <a:gd name="connsiteX447" fmla="*/ 978429 w 1491141"/>
              <a:gd name="connsiteY447" fmla="*/ 1105844 h 1212769"/>
              <a:gd name="connsiteX448" fmla="*/ 974439 w 1491141"/>
              <a:gd name="connsiteY448" fmla="*/ 1103847 h 1212769"/>
              <a:gd name="connsiteX449" fmla="*/ 972444 w 1491141"/>
              <a:gd name="connsiteY449" fmla="*/ 1105844 h 1212769"/>
              <a:gd name="connsiteX450" fmla="*/ 968454 w 1491141"/>
              <a:gd name="connsiteY450" fmla="*/ 1107840 h 1212769"/>
              <a:gd name="connsiteX451" fmla="*/ 964464 w 1491141"/>
              <a:gd name="connsiteY451" fmla="*/ 1107840 h 1212769"/>
              <a:gd name="connsiteX452" fmla="*/ 952494 w 1491141"/>
              <a:gd name="connsiteY452" fmla="*/ 1107840 h 1212769"/>
              <a:gd name="connsiteX453" fmla="*/ 946509 w 1491141"/>
              <a:gd name="connsiteY453" fmla="*/ 1105844 h 1212769"/>
              <a:gd name="connsiteX454" fmla="*/ 940524 w 1491141"/>
              <a:gd name="connsiteY454" fmla="*/ 1101851 h 1212769"/>
              <a:gd name="connsiteX455" fmla="*/ 938529 w 1491141"/>
              <a:gd name="connsiteY455" fmla="*/ 1097859 h 1212769"/>
              <a:gd name="connsiteX456" fmla="*/ 934540 w 1491141"/>
              <a:gd name="connsiteY456" fmla="*/ 1093867 h 1212769"/>
              <a:gd name="connsiteX457" fmla="*/ 928555 w 1491141"/>
              <a:gd name="connsiteY457" fmla="*/ 1093867 h 1212769"/>
              <a:gd name="connsiteX458" fmla="*/ 926560 w 1491141"/>
              <a:gd name="connsiteY458" fmla="*/ 1089875 h 1212769"/>
              <a:gd name="connsiteX459" fmla="*/ 924565 w 1491141"/>
              <a:gd name="connsiteY459" fmla="*/ 1085882 h 1212769"/>
              <a:gd name="connsiteX460" fmla="*/ 922570 w 1491141"/>
              <a:gd name="connsiteY460" fmla="*/ 1077898 h 1212769"/>
              <a:gd name="connsiteX461" fmla="*/ 924565 w 1491141"/>
              <a:gd name="connsiteY461" fmla="*/ 1071910 h 1212769"/>
              <a:gd name="connsiteX462" fmla="*/ 924565 w 1491141"/>
              <a:gd name="connsiteY462" fmla="*/ 1067917 h 1212769"/>
              <a:gd name="connsiteX463" fmla="*/ 920575 w 1491141"/>
              <a:gd name="connsiteY463" fmla="*/ 1063925 h 1212769"/>
              <a:gd name="connsiteX464" fmla="*/ 914590 w 1491141"/>
              <a:gd name="connsiteY464" fmla="*/ 1063925 h 1212769"/>
              <a:gd name="connsiteX465" fmla="*/ 908605 w 1491141"/>
              <a:gd name="connsiteY465" fmla="*/ 1063925 h 1212769"/>
              <a:gd name="connsiteX466" fmla="*/ 904615 w 1491141"/>
              <a:gd name="connsiteY466" fmla="*/ 1065921 h 1212769"/>
              <a:gd name="connsiteX467" fmla="*/ 898630 w 1491141"/>
              <a:gd name="connsiteY467" fmla="*/ 1065921 h 1212769"/>
              <a:gd name="connsiteX468" fmla="*/ 894640 w 1491141"/>
              <a:gd name="connsiteY468" fmla="*/ 1059933 h 1212769"/>
              <a:gd name="connsiteX469" fmla="*/ 894640 w 1491141"/>
              <a:gd name="connsiteY469" fmla="*/ 1053945 h 1212769"/>
              <a:gd name="connsiteX470" fmla="*/ 892645 w 1491141"/>
              <a:gd name="connsiteY470" fmla="*/ 1049953 h 1212769"/>
              <a:gd name="connsiteX471" fmla="*/ 884665 w 1491141"/>
              <a:gd name="connsiteY471" fmla="*/ 1047956 h 1212769"/>
              <a:gd name="connsiteX472" fmla="*/ 880675 w 1491141"/>
              <a:gd name="connsiteY472" fmla="*/ 1049953 h 1212769"/>
              <a:gd name="connsiteX473" fmla="*/ 876685 w 1491141"/>
              <a:gd name="connsiteY473" fmla="*/ 1053945 h 1212769"/>
              <a:gd name="connsiteX474" fmla="*/ 872695 w 1491141"/>
              <a:gd name="connsiteY474" fmla="*/ 1057937 h 1212769"/>
              <a:gd name="connsiteX475" fmla="*/ 866710 w 1491141"/>
              <a:gd name="connsiteY475" fmla="*/ 1065921 h 1212769"/>
              <a:gd name="connsiteX476" fmla="*/ 858730 w 1491141"/>
              <a:gd name="connsiteY476" fmla="*/ 1071910 h 1212769"/>
              <a:gd name="connsiteX477" fmla="*/ 854740 w 1491141"/>
              <a:gd name="connsiteY477" fmla="*/ 1069914 h 1212769"/>
              <a:gd name="connsiteX478" fmla="*/ 852745 w 1491141"/>
              <a:gd name="connsiteY478" fmla="*/ 1071910 h 1212769"/>
              <a:gd name="connsiteX479" fmla="*/ 850750 w 1491141"/>
              <a:gd name="connsiteY479" fmla="*/ 1075902 h 1212769"/>
              <a:gd name="connsiteX480" fmla="*/ 846760 w 1491141"/>
              <a:gd name="connsiteY480" fmla="*/ 1073906 h 1212769"/>
              <a:gd name="connsiteX481" fmla="*/ 844765 w 1491141"/>
              <a:gd name="connsiteY481" fmla="*/ 1077898 h 1212769"/>
              <a:gd name="connsiteX482" fmla="*/ 838780 w 1491141"/>
              <a:gd name="connsiteY482" fmla="*/ 1077898 h 1212769"/>
              <a:gd name="connsiteX483" fmla="*/ 834790 w 1491141"/>
              <a:gd name="connsiteY483" fmla="*/ 1075902 h 1212769"/>
              <a:gd name="connsiteX484" fmla="*/ 834790 w 1491141"/>
              <a:gd name="connsiteY484" fmla="*/ 1071910 h 1212769"/>
              <a:gd name="connsiteX485" fmla="*/ 830800 w 1491141"/>
              <a:gd name="connsiteY485" fmla="*/ 1071910 h 1212769"/>
              <a:gd name="connsiteX486" fmla="*/ 828805 w 1491141"/>
              <a:gd name="connsiteY486" fmla="*/ 1073906 h 1212769"/>
              <a:gd name="connsiteX487" fmla="*/ 826810 w 1491141"/>
              <a:gd name="connsiteY487" fmla="*/ 1077898 h 1212769"/>
              <a:gd name="connsiteX488" fmla="*/ 824815 w 1491141"/>
              <a:gd name="connsiteY488" fmla="*/ 1079894 h 1212769"/>
              <a:gd name="connsiteX489" fmla="*/ 822820 w 1491141"/>
              <a:gd name="connsiteY489" fmla="*/ 1077898 h 1212769"/>
              <a:gd name="connsiteX490" fmla="*/ 818830 w 1491141"/>
              <a:gd name="connsiteY490" fmla="*/ 1075902 h 1212769"/>
              <a:gd name="connsiteX491" fmla="*/ 814840 w 1491141"/>
              <a:gd name="connsiteY491" fmla="*/ 1073906 h 1212769"/>
              <a:gd name="connsiteX492" fmla="*/ 810850 w 1491141"/>
              <a:gd name="connsiteY492" fmla="*/ 1071910 h 1212769"/>
              <a:gd name="connsiteX493" fmla="*/ 806860 w 1491141"/>
              <a:gd name="connsiteY493" fmla="*/ 1073906 h 1212769"/>
              <a:gd name="connsiteX494" fmla="*/ 804865 w 1491141"/>
              <a:gd name="connsiteY494" fmla="*/ 1077898 h 1212769"/>
              <a:gd name="connsiteX495" fmla="*/ 800875 w 1491141"/>
              <a:gd name="connsiteY495" fmla="*/ 1079894 h 1212769"/>
              <a:gd name="connsiteX496" fmla="*/ 796885 w 1491141"/>
              <a:gd name="connsiteY496" fmla="*/ 1079894 h 1212769"/>
              <a:gd name="connsiteX497" fmla="*/ 792895 w 1491141"/>
              <a:gd name="connsiteY497" fmla="*/ 1081890 h 1212769"/>
              <a:gd name="connsiteX498" fmla="*/ 792895 w 1491141"/>
              <a:gd name="connsiteY498" fmla="*/ 1085882 h 1212769"/>
              <a:gd name="connsiteX499" fmla="*/ 792895 w 1491141"/>
              <a:gd name="connsiteY499" fmla="*/ 1091871 h 1212769"/>
              <a:gd name="connsiteX500" fmla="*/ 794890 w 1491141"/>
              <a:gd name="connsiteY500" fmla="*/ 1095863 h 1212769"/>
              <a:gd name="connsiteX501" fmla="*/ 794890 w 1491141"/>
              <a:gd name="connsiteY501" fmla="*/ 1097859 h 1212769"/>
              <a:gd name="connsiteX502" fmla="*/ 796885 w 1491141"/>
              <a:gd name="connsiteY502" fmla="*/ 1101851 h 1212769"/>
              <a:gd name="connsiteX503" fmla="*/ 794890 w 1491141"/>
              <a:gd name="connsiteY503" fmla="*/ 1103847 h 1212769"/>
              <a:gd name="connsiteX504" fmla="*/ 796885 w 1491141"/>
              <a:gd name="connsiteY504" fmla="*/ 1107840 h 1212769"/>
              <a:gd name="connsiteX505" fmla="*/ 798880 w 1491141"/>
              <a:gd name="connsiteY505" fmla="*/ 1111832 h 1212769"/>
              <a:gd name="connsiteX506" fmla="*/ 790900 w 1491141"/>
              <a:gd name="connsiteY506" fmla="*/ 1111832 h 1212769"/>
              <a:gd name="connsiteX507" fmla="*/ 786911 w 1491141"/>
              <a:gd name="connsiteY507" fmla="*/ 1113828 h 1212769"/>
              <a:gd name="connsiteX508" fmla="*/ 782921 w 1491141"/>
              <a:gd name="connsiteY508" fmla="*/ 1109836 h 1212769"/>
              <a:gd name="connsiteX509" fmla="*/ 778931 w 1491141"/>
              <a:gd name="connsiteY509" fmla="*/ 1101851 h 1212769"/>
              <a:gd name="connsiteX510" fmla="*/ 772946 w 1491141"/>
              <a:gd name="connsiteY510" fmla="*/ 1101851 h 1212769"/>
              <a:gd name="connsiteX511" fmla="*/ 768956 w 1491141"/>
              <a:gd name="connsiteY511" fmla="*/ 1103847 h 1212769"/>
              <a:gd name="connsiteX512" fmla="*/ 762971 w 1491141"/>
              <a:gd name="connsiteY512" fmla="*/ 1103847 h 1212769"/>
              <a:gd name="connsiteX513" fmla="*/ 758981 w 1491141"/>
              <a:gd name="connsiteY513" fmla="*/ 1101851 h 1212769"/>
              <a:gd name="connsiteX514" fmla="*/ 754991 w 1491141"/>
              <a:gd name="connsiteY514" fmla="*/ 1101851 h 1212769"/>
              <a:gd name="connsiteX515" fmla="*/ 751001 w 1491141"/>
              <a:gd name="connsiteY515" fmla="*/ 1103847 h 1212769"/>
              <a:gd name="connsiteX516" fmla="*/ 749006 w 1491141"/>
              <a:gd name="connsiteY516" fmla="*/ 1099855 h 1212769"/>
              <a:gd name="connsiteX517" fmla="*/ 749006 w 1491141"/>
              <a:gd name="connsiteY517" fmla="*/ 1095863 h 1212769"/>
              <a:gd name="connsiteX518" fmla="*/ 749006 w 1491141"/>
              <a:gd name="connsiteY518" fmla="*/ 1093867 h 1212769"/>
              <a:gd name="connsiteX519" fmla="*/ 747011 w 1491141"/>
              <a:gd name="connsiteY519" fmla="*/ 1089875 h 1212769"/>
              <a:gd name="connsiteX520" fmla="*/ 745016 w 1491141"/>
              <a:gd name="connsiteY520" fmla="*/ 1089875 h 1212769"/>
              <a:gd name="connsiteX521" fmla="*/ 737036 w 1491141"/>
              <a:gd name="connsiteY521" fmla="*/ 1091871 h 1212769"/>
              <a:gd name="connsiteX522" fmla="*/ 731051 w 1491141"/>
              <a:gd name="connsiteY522" fmla="*/ 1091871 h 1212769"/>
              <a:gd name="connsiteX523" fmla="*/ 727061 w 1491141"/>
              <a:gd name="connsiteY523" fmla="*/ 1087879 h 1212769"/>
              <a:gd name="connsiteX524" fmla="*/ 727061 w 1491141"/>
              <a:gd name="connsiteY524" fmla="*/ 1083886 h 1212769"/>
              <a:gd name="connsiteX525" fmla="*/ 729056 w 1491141"/>
              <a:gd name="connsiteY525" fmla="*/ 1081890 h 1212769"/>
              <a:gd name="connsiteX526" fmla="*/ 729056 w 1491141"/>
              <a:gd name="connsiteY526" fmla="*/ 1079894 h 1212769"/>
              <a:gd name="connsiteX527" fmla="*/ 731051 w 1491141"/>
              <a:gd name="connsiteY527" fmla="*/ 1077898 h 1212769"/>
              <a:gd name="connsiteX528" fmla="*/ 729056 w 1491141"/>
              <a:gd name="connsiteY528" fmla="*/ 1075902 h 1212769"/>
              <a:gd name="connsiteX529" fmla="*/ 729056 w 1491141"/>
              <a:gd name="connsiteY529" fmla="*/ 1071910 h 1212769"/>
              <a:gd name="connsiteX530" fmla="*/ 729056 w 1491141"/>
              <a:gd name="connsiteY530" fmla="*/ 1065921 h 1212769"/>
              <a:gd name="connsiteX531" fmla="*/ 731051 w 1491141"/>
              <a:gd name="connsiteY531" fmla="*/ 1063925 h 1212769"/>
              <a:gd name="connsiteX532" fmla="*/ 733046 w 1491141"/>
              <a:gd name="connsiteY532" fmla="*/ 1061929 h 1212769"/>
              <a:gd name="connsiteX533" fmla="*/ 733046 w 1491141"/>
              <a:gd name="connsiteY533" fmla="*/ 1057937 h 1212769"/>
              <a:gd name="connsiteX534" fmla="*/ 727061 w 1491141"/>
              <a:gd name="connsiteY534" fmla="*/ 1057937 h 1212769"/>
              <a:gd name="connsiteX535" fmla="*/ 723071 w 1491141"/>
              <a:gd name="connsiteY535" fmla="*/ 1055941 h 1212769"/>
              <a:gd name="connsiteX536" fmla="*/ 723071 w 1491141"/>
              <a:gd name="connsiteY536" fmla="*/ 1049953 h 1212769"/>
              <a:gd name="connsiteX537" fmla="*/ 723071 w 1491141"/>
              <a:gd name="connsiteY537" fmla="*/ 1045960 h 1212769"/>
              <a:gd name="connsiteX538" fmla="*/ 721076 w 1491141"/>
              <a:gd name="connsiteY538" fmla="*/ 1043964 h 1212769"/>
              <a:gd name="connsiteX539" fmla="*/ 719081 w 1491141"/>
              <a:gd name="connsiteY539" fmla="*/ 1039972 h 1212769"/>
              <a:gd name="connsiteX540" fmla="*/ 715091 w 1491141"/>
              <a:gd name="connsiteY540" fmla="*/ 1035980 h 1212769"/>
              <a:gd name="connsiteX541" fmla="*/ 713096 w 1491141"/>
              <a:gd name="connsiteY541" fmla="*/ 1027995 h 1212769"/>
              <a:gd name="connsiteX542" fmla="*/ 711101 w 1491141"/>
              <a:gd name="connsiteY542" fmla="*/ 1027995 h 1212769"/>
              <a:gd name="connsiteX543" fmla="*/ 707111 w 1491141"/>
              <a:gd name="connsiteY543" fmla="*/ 1024003 h 1212769"/>
              <a:gd name="connsiteX544" fmla="*/ 703121 w 1491141"/>
              <a:gd name="connsiteY544" fmla="*/ 1024003 h 1212769"/>
              <a:gd name="connsiteX545" fmla="*/ 699131 w 1491141"/>
              <a:gd name="connsiteY545" fmla="*/ 1024003 h 1212769"/>
              <a:gd name="connsiteX546" fmla="*/ 693146 w 1491141"/>
              <a:gd name="connsiteY546" fmla="*/ 1024003 h 1212769"/>
              <a:gd name="connsiteX547" fmla="*/ 693146 w 1491141"/>
              <a:gd name="connsiteY547" fmla="*/ 1025999 h 1212769"/>
              <a:gd name="connsiteX548" fmla="*/ 691151 w 1491141"/>
              <a:gd name="connsiteY548" fmla="*/ 1029991 h 1212769"/>
              <a:gd name="connsiteX549" fmla="*/ 689156 w 1491141"/>
              <a:gd name="connsiteY549" fmla="*/ 1029991 h 1212769"/>
              <a:gd name="connsiteX550" fmla="*/ 685166 w 1491141"/>
              <a:gd name="connsiteY550" fmla="*/ 1027995 h 1212769"/>
              <a:gd name="connsiteX551" fmla="*/ 685166 w 1491141"/>
              <a:gd name="connsiteY551" fmla="*/ 1024003 h 1212769"/>
              <a:gd name="connsiteX552" fmla="*/ 683171 w 1491141"/>
              <a:gd name="connsiteY552" fmla="*/ 1018015 h 1212769"/>
              <a:gd name="connsiteX553" fmla="*/ 681176 w 1491141"/>
              <a:gd name="connsiteY553" fmla="*/ 1012027 h 1212769"/>
              <a:gd name="connsiteX554" fmla="*/ 679181 w 1491141"/>
              <a:gd name="connsiteY554" fmla="*/ 1006038 h 1212769"/>
              <a:gd name="connsiteX555" fmla="*/ 681176 w 1491141"/>
              <a:gd name="connsiteY555" fmla="*/ 1002046 h 1212769"/>
              <a:gd name="connsiteX556" fmla="*/ 685166 w 1491141"/>
              <a:gd name="connsiteY556" fmla="*/ 996058 h 1212769"/>
              <a:gd name="connsiteX557" fmla="*/ 689156 w 1491141"/>
              <a:gd name="connsiteY557" fmla="*/ 992065 h 1212769"/>
              <a:gd name="connsiteX558" fmla="*/ 691151 w 1491141"/>
              <a:gd name="connsiteY558" fmla="*/ 988073 h 1212769"/>
              <a:gd name="connsiteX559" fmla="*/ 693146 w 1491141"/>
              <a:gd name="connsiteY559" fmla="*/ 986077 h 1212769"/>
              <a:gd name="connsiteX560" fmla="*/ 697136 w 1491141"/>
              <a:gd name="connsiteY560" fmla="*/ 982085 h 1212769"/>
              <a:gd name="connsiteX561" fmla="*/ 699131 w 1491141"/>
              <a:gd name="connsiteY561" fmla="*/ 980089 h 1212769"/>
              <a:gd name="connsiteX562" fmla="*/ 699131 w 1491141"/>
              <a:gd name="connsiteY562" fmla="*/ 978093 h 1212769"/>
              <a:gd name="connsiteX563" fmla="*/ 701126 w 1491141"/>
              <a:gd name="connsiteY563" fmla="*/ 974100 h 1212769"/>
              <a:gd name="connsiteX564" fmla="*/ 703121 w 1491141"/>
              <a:gd name="connsiteY564" fmla="*/ 970108 h 1212769"/>
              <a:gd name="connsiteX565" fmla="*/ 701126 w 1491141"/>
              <a:gd name="connsiteY565" fmla="*/ 964120 h 1212769"/>
              <a:gd name="connsiteX566" fmla="*/ 703121 w 1491141"/>
              <a:gd name="connsiteY566" fmla="*/ 962124 h 1212769"/>
              <a:gd name="connsiteX567" fmla="*/ 705116 w 1491141"/>
              <a:gd name="connsiteY567" fmla="*/ 958132 h 1212769"/>
              <a:gd name="connsiteX568" fmla="*/ 707111 w 1491141"/>
              <a:gd name="connsiteY568" fmla="*/ 952143 h 1212769"/>
              <a:gd name="connsiteX569" fmla="*/ 705116 w 1491141"/>
              <a:gd name="connsiteY569" fmla="*/ 948151 h 1212769"/>
              <a:gd name="connsiteX570" fmla="*/ 705116 w 1491141"/>
              <a:gd name="connsiteY570" fmla="*/ 940167 h 1212769"/>
              <a:gd name="connsiteX571" fmla="*/ 705116 w 1491141"/>
              <a:gd name="connsiteY571" fmla="*/ 936174 h 1212769"/>
              <a:gd name="connsiteX572" fmla="*/ 707111 w 1491141"/>
              <a:gd name="connsiteY572" fmla="*/ 930186 h 1212769"/>
              <a:gd name="connsiteX573" fmla="*/ 707111 w 1491141"/>
              <a:gd name="connsiteY573" fmla="*/ 926194 h 1212769"/>
              <a:gd name="connsiteX574" fmla="*/ 707111 w 1491141"/>
              <a:gd name="connsiteY574" fmla="*/ 922202 h 1212769"/>
              <a:gd name="connsiteX575" fmla="*/ 703121 w 1491141"/>
              <a:gd name="connsiteY575" fmla="*/ 918209 h 1212769"/>
              <a:gd name="connsiteX576" fmla="*/ 701126 w 1491141"/>
              <a:gd name="connsiteY576" fmla="*/ 918209 h 1212769"/>
              <a:gd name="connsiteX577" fmla="*/ 695141 w 1491141"/>
              <a:gd name="connsiteY577" fmla="*/ 912221 h 1212769"/>
              <a:gd name="connsiteX578" fmla="*/ 691151 w 1491141"/>
              <a:gd name="connsiteY578" fmla="*/ 908229 h 1212769"/>
              <a:gd name="connsiteX579" fmla="*/ 691151 w 1491141"/>
              <a:gd name="connsiteY579" fmla="*/ 904237 h 1212769"/>
              <a:gd name="connsiteX580" fmla="*/ 687161 w 1491141"/>
              <a:gd name="connsiteY580" fmla="*/ 898248 h 1212769"/>
              <a:gd name="connsiteX581" fmla="*/ 685166 w 1491141"/>
              <a:gd name="connsiteY581" fmla="*/ 894256 h 1212769"/>
              <a:gd name="connsiteX582" fmla="*/ 683171 w 1491141"/>
              <a:gd name="connsiteY582" fmla="*/ 888268 h 1212769"/>
              <a:gd name="connsiteX583" fmla="*/ 685166 w 1491141"/>
              <a:gd name="connsiteY583" fmla="*/ 882280 h 1212769"/>
              <a:gd name="connsiteX584" fmla="*/ 683171 w 1491141"/>
              <a:gd name="connsiteY584" fmla="*/ 880283 h 1212769"/>
              <a:gd name="connsiteX585" fmla="*/ 683171 w 1491141"/>
              <a:gd name="connsiteY585" fmla="*/ 874295 h 1212769"/>
              <a:gd name="connsiteX586" fmla="*/ 683171 w 1491141"/>
              <a:gd name="connsiteY586" fmla="*/ 870303 h 1212769"/>
              <a:gd name="connsiteX587" fmla="*/ 681176 w 1491141"/>
              <a:gd name="connsiteY587" fmla="*/ 866311 h 1212769"/>
              <a:gd name="connsiteX588" fmla="*/ 681176 w 1491141"/>
              <a:gd name="connsiteY588" fmla="*/ 860322 h 1212769"/>
              <a:gd name="connsiteX589" fmla="*/ 677186 w 1491141"/>
              <a:gd name="connsiteY589" fmla="*/ 858326 h 1212769"/>
              <a:gd name="connsiteX590" fmla="*/ 671201 w 1491141"/>
              <a:gd name="connsiteY590" fmla="*/ 858326 h 1212769"/>
              <a:gd name="connsiteX591" fmla="*/ 667211 w 1491141"/>
              <a:gd name="connsiteY591" fmla="*/ 858326 h 1212769"/>
              <a:gd name="connsiteX592" fmla="*/ 667211 w 1491141"/>
              <a:gd name="connsiteY592" fmla="*/ 862318 h 1212769"/>
              <a:gd name="connsiteX593" fmla="*/ 665216 w 1491141"/>
              <a:gd name="connsiteY593" fmla="*/ 862318 h 1212769"/>
              <a:gd name="connsiteX594" fmla="*/ 663221 w 1491141"/>
              <a:gd name="connsiteY594" fmla="*/ 868307 h 1212769"/>
              <a:gd name="connsiteX595" fmla="*/ 661226 w 1491141"/>
              <a:gd name="connsiteY595" fmla="*/ 874295 h 1212769"/>
              <a:gd name="connsiteX596" fmla="*/ 659231 w 1491141"/>
              <a:gd name="connsiteY596" fmla="*/ 872299 h 1212769"/>
              <a:gd name="connsiteX597" fmla="*/ 655241 w 1491141"/>
              <a:gd name="connsiteY597" fmla="*/ 872299 h 1212769"/>
              <a:gd name="connsiteX598" fmla="*/ 651251 w 1491141"/>
              <a:gd name="connsiteY598" fmla="*/ 872299 h 1212769"/>
              <a:gd name="connsiteX599" fmla="*/ 649256 w 1491141"/>
              <a:gd name="connsiteY599" fmla="*/ 866311 h 1212769"/>
              <a:gd name="connsiteX600" fmla="*/ 653246 w 1491141"/>
              <a:gd name="connsiteY600" fmla="*/ 862318 h 1212769"/>
              <a:gd name="connsiteX601" fmla="*/ 651251 w 1491141"/>
              <a:gd name="connsiteY601" fmla="*/ 860322 h 1212769"/>
              <a:gd name="connsiteX602" fmla="*/ 651251 w 1491141"/>
              <a:gd name="connsiteY602" fmla="*/ 858326 h 1212769"/>
              <a:gd name="connsiteX603" fmla="*/ 649256 w 1491141"/>
              <a:gd name="connsiteY603" fmla="*/ 854334 h 1212769"/>
              <a:gd name="connsiteX604" fmla="*/ 643271 w 1491141"/>
              <a:gd name="connsiteY604" fmla="*/ 854334 h 1212769"/>
              <a:gd name="connsiteX605" fmla="*/ 643271 w 1491141"/>
              <a:gd name="connsiteY605" fmla="*/ 850342 h 1212769"/>
              <a:gd name="connsiteX606" fmla="*/ 645266 w 1491141"/>
              <a:gd name="connsiteY606" fmla="*/ 846350 h 1212769"/>
              <a:gd name="connsiteX607" fmla="*/ 641276 w 1491141"/>
              <a:gd name="connsiteY607" fmla="*/ 842357 h 1212769"/>
              <a:gd name="connsiteX608" fmla="*/ 633297 w 1491141"/>
              <a:gd name="connsiteY608" fmla="*/ 842357 h 1212769"/>
              <a:gd name="connsiteX609" fmla="*/ 629307 w 1491141"/>
              <a:gd name="connsiteY609" fmla="*/ 842357 h 1212769"/>
              <a:gd name="connsiteX610" fmla="*/ 623322 w 1491141"/>
              <a:gd name="connsiteY610" fmla="*/ 846350 h 1212769"/>
              <a:gd name="connsiteX611" fmla="*/ 619332 w 1491141"/>
              <a:gd name="connsiteY611" fmla="*/ 850342 h 1212769"/>
              <a:gd name="connsiteX612" fmla="*/ 615342 w 1491141"/>
              <a:gd name="connsiteY612" fmla="*/ 850342 h 1212769"/>
              <a:gd name="connsiteX613" fmla="*/ 611352 w 1491141"/>
              <a:gd name="connsiteY613" fmla="*/ 850342 h 1212769"/>
              <a:gd name="connsiteX614" fmla="*/ 607362 w 1491141"/>
              <a:gd name="connsiteY614" fmla="*/ 848346 h 1212769"/>
              <a:gd name="connsiteX615" fmla="*/ 601377 w 1491141"/>
              <a:gd name="connsiteY615" fmla="*/ 846350 h 1212769"/>
              <a:gd name="connsiteX616" fmla="*/ 597387 w 1491141"/>
              <a:gd name="connsiteY616" fmla="*/ 844353 h 1212769"/>
              <a:gd name="connsiteX617" fmla="*/ 593397 w 1491141"/>
              <a:gd name="connsiteY617" fmla="*/ 848346 h 1212769"/>
              <a:gd name="connsiteX618" fmla="*/ 591402 w 1491141"/>
              <a:gd name="connsiteY618" fmla="*/ 852338 h 1212769"/>
              <a:gd name="connsiteX619" fmla="*/ 587412 w 1491141"/>
              <a:gd name="connsiteY619" fmla="*/ 856330 h 1212769"/>
              <a:gd name="connsiteX620" fmla="*/ 583422 w 1491141"/>
              <a:gd name="connsiteY620" fmla="*/ 860322 h 1212769"/>
              <a:gd name="connsiteX621" fmla="*/ 579432 w 1491141"/>
              <a:gd name="connsiteY621" fmla="*/ 862318 h 1212769"/>
              <a:gd name="connsiteX622" fmla="*/ 575442 w 1491141"/>
              <a:gd name="connsiteY622" fmla="*/ 864315 h 1212769"/>
              <a:gd name="connsiteX623" fmla="*/ 569457 w 1491141"/>
              <a:gd name="connsiteY623" fmla="*/ 866311 h 1212769"/>
              <a:gd name="connsiteX624" fmla="*/ 565467 w 1491141"/>
              <a:gd name="connsiteY624" fmla="*/ 868307 h 1212769"/>
              <a:gd name="connsiteX625" fmla="*/ 563472 w 1491141"/>
              <a:gd name="connsiteY625" fmla="*/ 874295 h 1212769"/>
              <a:gd name="connsiteX626" fmla="*/ 553497 w 1491141"/>
              <a:gd name="connsiteY626" fmla="*/ 876291 h 1212769"/>
              <a:gd name="connsiteX627" fmla="*/ 549507 w 1491141"/>
              <a:gd name="connsiteY627" fmla="*/ 878287 h 1212769"/>
              <a:gd name="connsiteX628" fmla="*/ 547512 w 1491141"/>
              <a:gd name="connsiteY628" fmla="*/ 882280 h 1212769"/>
              <a:gd name="connsiteX629" fmla="*/ 545517 w 1491141"/>
              <a:gd name="connsiteY629" fmla="*/ 888268 h 1212769"/>
              <a:gd name="connsiteX630" fmla="*/ 539532 w 1491141"/>
              <a:gd name="connsiteY630" fmla="*/ 892260 h 1212769"/>
              <a:gd name="connsiteX631" fmla="*/ 527562 w 1491141"/>
              <a:gd name="connsiteY631" fmla="*/ 890264 h 1212769"/>
              <a:gd name="connsiteX632" fmla="*/ 517587 w 1491141"/>
              <a:gd name="connsiteY632" fmla="*/ 890264 h 1212769"/>
              <a:gd name="connsiteX633" fmla="*/ 515592 w 1491141"/>
              <a:gd name="connsiteY633" fmla="*/ 888268 h 1212769"/>
              <a:gd name="connsiteX634" fmla="*/ 511602 w 1491141"/>
              <a:gd name="connsiteY634" fmla="*/ 886272 h 1212769"/>
              <a:gd name="connsiteX635" fmla="*/ 507612 w 1491141"/>
              <a:gd name="connsiteY635" fmla="*/ 886272 h 1212769"/>
              <a:gd name="connsiteX636" fmla="*/ 503622 w 1491141"/>
              <a:gd name="connsiteY636" fmla="*/ 884276 h 1212769"/>
              <a:gd name="connsiteX637" fmla="*/ 495642 w 1491141"/>
              <a:gd name="connsiteY637" fmla="*/ 888268 h 1212769"/>
              <a:gd name="connsiteX638" fmla="*/ 491652 w 1491141"/>
              <a:gd name="connsiteY638" fmla="*/ 886272 h 1212769"/>
              <a:gd name="connsiteX639" fmla="*/ 491652 w 1491141"/>
              <a:gd name="connsiteY639" fmla="*/ 878287 h 1212769"/>
              <a:gd name="connsiteX640" fmla="*/ 483673 w 1491141"/>
              <a:gd name="connsiteY640" fmla="*/ 882280 h 1212769"/>
              <a:gd name="connsiteX641" fmla="*/ 473698 w 1491141"/>
              <a:gd name="connsiteY641" fmla="*/ 886272 h 1212769"/>
              <a:gd name="connsiteX642" fmla="*/ 461728 w 1491141"/>
              <a:gd name="connsiteY642" fmla="*/ 894256 h 1212769"/>
              <a:gd name="connsiteX643" fmla="*/ 451753 w 1491141"/>
              <a:gd name="connsiteY643" fmla="*/ 904237 h 1212769"/>
              <a:gd name="connsiteX644" fmla="*/ 449758 w 1491141"/>
              <a:gd name="connsiteY644" fmla="*/ 898248 h 1212769"/>
              <a:gd name="connsiteX645" fmla="*/ 447763 w 1491141"/>
              <a:gd name="connsiteY645" fmla="*/ 890264 h 1212769"/>
              <a:gd name="connsiteX646" fmla="*/ 443773 w 1491141"/>
              <a:gd name="connsiteY646" fmla="*/ 886272 h 1212769"/>
              <a:gd name="connsiteX647" fmla="*/ 437788 w 1491141"/>
              <a:gd name="connsiteY647" fmla="*/ 890264 h 1212769"/>
              <a:gd name="connsiteX648" fmla="*/ 427813 w 1491141"/>
              <a:gd name="connsiteY648" fmla="*/ 896252 h 1212769"/>
              <a:gd name="connsiteX649" fmla="*/ 423823 w 1491141"/>
              <a:gd name="connsiteY649" fmla="*/ 896252 h 1212769"/>
              <a:gd name="connsiteX650" fmla="*/ 417838 w 1491141"/>
              <a:gd name="connsiteY650" fmla="*/ 896252 h 1212769"/>
              <a:gd name="connsiteX651" fmla="*/ 409858 w 1491141"/>
              <a:gd name="connsiteY651" fmla="*/ 894256 h 1212769"/>
              <a:gd name="connsiteX652" fmla="*/ 403873 w 1491141"/>
              <a:gd name="connsiteY652" fmla="*/ 894256 h 1212769"/>
              <a:gd name="connsiteX653" fmla="*/ 397888 w 1491141"/>
              <a:gd name="connsiteY653" fmla="*/ 892260 h 1212769"/>
              <a:gd name="connsiteX654" fmla="*/ 391903 w 1491141"/>
              <a:gd name="connsiteY654" fmla="*/ 890264 h 1212769"/>
              <a:gd name="connsiteX655" fmla="*/ 383923 w 1491141"/>
              <a:gd name="connsiteY655" fmla="*/ 884276 h 1212769"/>
              <a:gd name="connsiteX656" fmla="*/ 375943 w 1491141"/>
              <a:gd name="connsiteY656" fmla="*/ 884276 h 1212769"/>
              <a:gd name="connsiteX657" fmla="*/ 367963 w 1491141"/>
              <a:gd name="connsiteY657" fmla="*/ 882280 h 1212769"/>
              <a:gd name="connsiteX658" fmla="*/ 363973 w 1491141"/>
              <a:gd name="connsiteY658" fmla="*/ 882280 h 1212769"/>
              <a:gd name="connsiteX659" fmla="*/ 359983 w 1491141"/>
              <a:gd name="connsiteY659" fmla="*/ 874295 h 1212769"/>
              <a:gd name="connsiteX660" fmla="*/ 352003 w 1491141"/>
              <a:gd name="connsiteY660" fmla="*/ 868307 h 1212769"/>
              <a:gd name="connsiteX661" fmla="*/ 346018 w 1491141"/>
              <a:gd name="connsiteY661" fmla="*/ 866311 h 1212769"/>
              <a:gd name="connsiteX662" fmla="*/ 340033 w 1491141"/>
              <a:gd name="connsiteY662" fmla="*/ 866311 h 1212769"/>
              <a:gd name="connsiteX663" fmla="*/ 338038 w 1491141"/>
              <a:gd name="connsiteY663" fmla="*/ 862318 h 1212769"/>
              <a:gd name="connsiteX664" fmla="*/ 334049 w 1491141"/>
              <a:gd name="connsiteY664" fmla="*/ 862318 h 1212769"/>
              <a:gd name="connsiteX665" fmla="*/ 330059 w 1491141"/>
              <a:gd name="connsiteY665" fmla="*/ 860322 h 1212769"/>
              <a:gd name="connsiteX666" fmla="*/ 330059 w 1491141"/>
              <a:gd name="connsiteY666" fmla="*/ 850342 h 1212769"/>
              <a:gd name="connsiteX667" fmla="*/ 326069 w 1491141"/>
              <a:gd name="connsiteY667" fmla="*/ 850342 h 1212769"/>
              <a:gd name="connsiteX668" fmla="*/ 320084 w 1491141"/>
              <a:gd name="connsiteY668" fmla="*/ 850342 h 1212769"/>
              <a:gd name="connsiteX669" fmla="*/ 314099 w 1491141"/>
              <a:gd name="connsiteY669" fmla="*/ 854334 h 1212769"/>
              <a:gd name="connsiteX670" fmla="*/ 310109 w 1491141"/>
              <a:gd name="connsiteY670" fmla="*/ 850342 h 1212769"/>
              <a:gd name="connsiteX671" fmla="*/ 306119 w 1491141"/>
              <a:gd name="connsiteY671" fmla="*/ 842357 h 1212769"/>
              <a:gd name="connsiteX672" fmla="*/ 298139 w 1491141"/>
              <a:gd name="connsiteY672" fmla="*/ 842357 h 1212769"/>
              <a:gd name="connsiteX673" fmla="*/ 292154 w 1491141"/>
              <a:gd name="connsiteY673" fmla="*/ 838365 h 1212769"/>
              <a:gd name="connsiteX674" fmla="*/ 286169 w 1491141"/>
              <a:gd name="connsiteY674" fmla="*/ 834373 h 1212769"/>
              <a:gd name="connsiteX675" fmla="*/ 282179 w 1491141"/>
              <a:gd name="connsiteY675" fmla="*/ 830381 h 1212769"/>
              <a:gd name="connsiteX676" fmla="*/ 274199 w 1491141"/>
              <a:gd name="connsiteY676" fmla="*/ 822396 h 1212769"/>
              <a:gd name="connsiteX677" fmla="*/ 268214 w 1491141"/>
              <a:gd name="connsiteY677" fmla="*/ 820400 h 1212769"/>
              <a:gd name="connsiteX678" fmla="*/ 264224 w 1491141"/>
              <a:gd name="connsiteY678" fmla="*/ 826388 h 1212769"/>
              <a:gd name="connsiteX679" fmla="*/ 258239 w 1491141"/>
              <a:gd name="connsiteY679" fmla="*/ 828385 h 1212769"/>
              <a:gd name="connsiteX680" fmla="*/ 250259 w 1491141"/>
              <a:gd name="connsiteY680" fmla="*/ 826388 h 1212769"/>
              <a:gd name="connsiteX681" fmla="*/ 246269 w 1491141"/>
              <a:gd name="connsiteY681" fmla="*/ 820400 h 1212769"/>
              <a:gd name="connsiteX682" fmla="*/ 238289 w 1491141"/>
              <a:gd name="connsiteY682" fmla="*/ 814412 h 1212769"/>
              <a:gd name="connsiteX683" fmla="*/ 230309 w 1491141"/>
              <a:gd name="connsiteY683" fmla="*/ 810420 h 1212769"/>
              <a:gd name="connsiteX684" fmla="*/ 224324 w 1491141"/>
              <a:gd name="connsiteY684" fmla="*/ 804431 h 1212769"/>
              <a:gd name="connsiteX685" fmla="*/ 218339 w 1491141"/>
              <a:gd name="connsiteY685" fmla="*/ 796447 h 1212769"/>
              <a:gd name="connsiteX686" fmla="*/ 208364 w 1491141"/>
              <a:gd name="connsiteY686" fmla="*/ 794451 h 1212769"/>
              <a:gd name="connsiteX687" fmla="*/ 204374 w 1491141"/>
              <a:gd name="connsiteY687" fmla="*/ 786466 h 1212769"/>
              <a:gd name="connsiteX688" fmla="*/ 194399 w 1491141"/>
              <a:gd name="connsiteY688" fmla="*/ 786466 h 1212769"/>
              <a:gd name="connsiteX689" fmla="*/ 190409 w 1491141"/>
              <a:gd name="connsiteY689" fmla="*/ 784470 h 1212769"/>
              <a:gd name="connsiteX690" fmla="*/ 188414 w 1491141"/>
              <a:gd name="connsiteY690" fmla="*/ 780478 h 1212769"/>
              <a:gd name="connsiteX691" fmla="*/ 186420 w 1491141"/>
              <a:gd name="connsiteY691" fmla="*/ 770497 h 1212769"/>
              <a:gd name="connsiteX692" fmla="*/ 188414 w 1491141"/>
              <a:gd name="connsiteY692" fmla="*/ 762513 h 1212769"/>
              <a:gd name="connsiteX693" fmla="*/ 186420 w 1491141"/>
              <a:gd name="connsiteY693" fmla="*/ 754529 h 1212769"/>
              <a:gd name="connsiteX694" fmla="*/ 182430 w 1491141"/>
              <a:gd name="connsiteY694" fmla="*/ 748540 h 1212769"/>
              <a:gd name="connsiteX695" fmla="*/ 184425 w 1491141"/>
              <a:gd name="connsiteY695" fmla="*/ 742552 h 1212769"/>
              <a:gd name="connsiteX696" fmla="*/ 186420 w 1491141"/>
              <a:gd name="connsiteY696" fmla="*/ 744548 h 1212769"/>
              <a:gd name="connsiteX697" fmla="*/ 190409 w 1491141"/>
              <a:gd name="connsiteY697" fmla="*/ 748540 h 1212769"/>
              <a:gd name="connsiteX698" fmla="*/ 192404 w 1491141"/>
              <a:gd name="connsiteY698" fmla="*/ 746544 h 1212769"/>
              <a:gd name="connsiteX699" fmla="*/ 196394 w 1491141"/>
              <a:gd name="connsiteY699" fmla="*/ 744548 h 1212769"/>
              <a:gd name="connsiteX700" fmla="*/ 196394 w 1491141"/>
              <a:gd name="connsiteY700" fmla="*/ 740556 h 1212769"/>
              <a:gd name="connsiteX701" fmla="*/ 200384 w 1491141"/>
              <a:gd name="connsiteY701" fmla="*/ 738560 h 1212769"/>
              <a:gd name="connsiteX702" fmla="*/ 206369 w 1491141"/>
              <a:gd name="connsiteY702" fmla="*/ 738560 h 1212769"/>
              <a:gd name="connsiteX703" fmla="*/ 210359 w 1491141"/>
              <a:gd name="connsiteY703" fmla="*/ 736564 h 1212769"/>
              <a:gd name="connsiteX704" fmla="*/ 206369 w 1491141"/>
              <a:gd name="connsiteY704" fmla="*/ 730575 h 1212769"/>
              <a:gd name="connsiteX705" fmla="*/ 206369 w 1491141"/>
              <a:gd name="connsiteY705" fmla="*/ 724587 h 1212769"/>
              <a:gd name="connsiteX706" fmla="*/ 204374 w 1491141"/>
              <a:gd name="connsiteY706" fmla="*/ 714606 h 1212769"/>
              <a:gd name="connsiteX707" fmla="*/ 194399 w 1491141"/>
              <a:gd name="connsiteY707" fmla="*/ 712610 h 1212769"/>
              <a:gd name="connsiteX708" fmla="*/ 190409 w 1491141"/>
              <a:gd name="connsiteY708" fmla="*/ 706622 h 1212769"/>
              <a:gd name="connsiteX709" fmla="*/ 192404 w 1491141"/>
              <a:gd name="connsiteY709" fmla="*/ 698638 h 1212769"/>
              <a:gd name="connsiteX710" fmla="*/ 190409 w 1491141"/>
              <a:gd name="connsiteY710" fmla="*/ 696641 h 1212769"/>
              <a:gd name="connsiteX711" fmla="*/ 188414 w 1491141"/>
              <a:gd name="connsiteY711" fmla="*/ 690653 h 1212769"/>
              <a:gd name="connsiteX712" fmla="*/ 196394 w 1491141"/>
              <a:gd name="connsiteY712" fmla="*/ 690653 h 1212769"/>
              <a:gd name="connsiteX713" fmla="*/ 202379 w 1491141"/>
              <a:gd name="connsiteY713" fmla="*/ 688657 h 1212769"/>
              <a:gd name="connsiteX714" fmla="*/ 202379 w 1491141"/>
              <a:gd name="connsiteY714" fmla="*/ 678677 h 1212769"/>
              <a:gd name="connsiteX715" fmla="*/ 206369 w 1491141"/>
              <a:gd name="connsiteY715" fmla="*/ 678677 h 1212769"/>
              <a:gd name="connsiteX716" fmla="*/ 210359 w 1491141"/>
              <a:gd name="connsiteY716" fmla="*/ 674684 h 1212769"/>
              <a:gd name="connsiteX717" fmla="*/ 218339 w 1491141"/>
              <a:gd name="connsiteY717" fmla="*/ 666700 h 1212769"/>
              <a:gd name="connsiteX718" fmla="*/ 222329 w 1491141"/>
              <a:gd name="connsiteY718" fmla="*/ 658715 h 1212769"/>
              <a:gd name="connsiteX719" fmla="*/ 220334 w 1491141"/>
              <a:gd name="connsiteY719" fmla="*/ 646739 h 1212769"/>
              <a:gd name="connsiteX720" fmla="*/ 216344 w 1491141"/>
              <a:gd name="connsiteY720" fmla="*/ 630770 h 1212769"/>
              <a:gd name="connsiteX721" fmla="*/ 212354 w 1491141"/>
              <a:gd name="connsiteY721" fmla="*/ 626778 h 1212769"/>
              <a:gd name="connsiteX722" fmla="*/ 204374 w 1491141"/>
              <a:gd name="connsiteY722" fmla="*/ 624782 h 1212769"/>
              <a:gd name="connsiteX723" fmla="*/ 200384 w 1491141"/>
              <a:gd name="connsiteY723" fmla="*/ 620789 h 1212769"/>
              <a:gd name="connsiteX724" fmla="*/ 192404 w 1491141"/>
              <a:gd name="connsiteY724" fmla="*/ 616797 h 1212769"/>
              <a:gd name="connsiteX725" fmla="*/ 190409 w 1491141"/>
              <a:gd name="connsiteY725" fmla="*/ 622785 h 1212769"/>
              <a:gd name="connsiteX726" fmla="*/ 184425 w 1491141"/>
              <a:gd name="connsiteY726" fmla="*/ 624782 h 1212769"/>
              <a:gd name="connsiteX727" fmla="*/ 174450 w 1491141"/>
              <a:gd name="connsiteY727" fmla="*/ 628774 h 1212769"/>
              <a:gd name="connsiteX728" fmla="*/ 168465 w 1491141"/>
              <a:gd name="connsiteY728" fmla="*/ 634762 h 1212769"/>
              <a:gd name="connsiteX729" fmla="*/ 158490 w 1491141"/>
              <a:gd name="connsiteY729" fmla="*/ 636758 h 1212769"/>
              <a:gd name="connsiteX730" fmla="*/ 150510 w 1491141"/>
              <a:gd name="connsiteY730" fmla="*/ 640750 h 1212769"/>
              <a:gd name="connsiteX731" fmla="*/ 148515 w 1491141"/>
              <a:gd name="connsiteY731" fmla="*/ 636758 h 1212769"/>
              <a:gd name="connsiteX732" fmla="*/ 148515 w 1491141"/>
              <a:gd name="connsiteY732" fmla="*/ 630770 h 1212769"/>
              <a:gd name="connsiteX733" fmla="*/ 142530 w 1491141"/>
              <a:gd name="connsiteY733" fmla="*/ 630770 h 1212769"/>
              <a:gd name="connsiteX734" fmla="*/ 136545 w 1491141"/>
              <a:gd name="connsiteY734" fmla="*/ 628774 h 1212769"/>
              <a:gd name="connsiteX735" fmla="*/ 130560 w 1491141"/>
              <a:gd name="connsiteY735" fmla="*/ 624782 h 1212769"/>
              <a:gd name="connsiteX736" fmla="*/ 128565 w 1491141"/>
              <a:gd name="connsiteY736" fmla="*/ 620789 h 1212769"/>
              <a:gd name="connsiteX737" fmla="*/ 124575 w 1491141"/>
              <a:gd name="connsiteY737" fmla="*/ 616797 h 1212769"/>
              <a:gd name="connsiteX738" fmla="*/ 116595 w 1491141"/>
              <a:gd name="connsiteY738" fmla="*/ 610809 h 1212769"/>
              <a:gd name="connsiteX739" fmla="*/ 106620 w 1491141"/>
              <a:gd name="connsiteY739" fmla="*/ 606817 h 1212769"/>
              <a:gd name="connsiteX740" fmla="*/ 98640 w 1491141"/>
              <a:gd name="connsiteY740" fmla="*/ 598832 h 1212769"/>
              <a:gd name="connsiteX741" fmla="*/ 94650 w 1491141"/>
              <a:gd name="connsiteY741" fmla="*/ 592844 h 1212769"/>
              <a:gd name="connsiteX742" fmla="*/ 84675 w 1491141"/>
              <a:gd name="connsiteY742" fmla="*/ 586856 h 1212769"/>
              <a:gd name="connsiteX743" fmla="*/ 80685 w 1491141"/>
              <a:gd name="connsiteY743" fmla="*/ 588852 h 1212769"/>
              <a:gd name="connsiteX744" fmla="*/ 72705 w 1491141"/>
              <a:gd name="connsiteY744" fmla="*/ 586856 h 1212769"/>
              <a:gd name="connsiteX745" fmla="*/ 68715 w 1491141"/>
              <a:gd name="connsiteY745" fmla="*/ 584859 h 1212769"/>
              <a:gd name="connsiteX746" fmla="*/ 64725 w 1491141"/>
              <a:gd name="connsiteY746" fmla="*/ 586856 h 1212769"/>
              <a:gd name="connsiteX747" fmla="*/ 64725 w 1491141"/>
              <a:gd name="connsiteY747" fmla="*/ 584859 h 1212769"/>
              <a:gd name="connsiteX748" fmla="*/ 62730 w 1491141"/>
              <a:gd name="connsiteY748" fmla="*/ 580867 h 1212769"/>
              <a:gd name="connsiteX749" fmla="*/ 54750 w 1491141"/>
              <a:gd name="connsiteY749" fmla="*/ 580867 h 1212769"/>
              <a:gd name="connsiteX750" fmla="*/ 42780 w 1491141"/>
              <a:gd name="connsiteY750" fmla="*/ 580867 h 1212769"/>
              <a:gd name="connsiteX751" fmla="*/ 40785 w 1491141"/>
              <a:gd name="connsiteY751" fmla="*/ 578871 h 1212769"/>
              <a:gd name="connsiteX752" fmla="*/ 42780 w 1491141"/>
              <a:gd name="connsiteY752" fmla="*/ 576875 h 1212769"/>
              <a:gd name="connsiteX753" fmla="*/ 46770 w 1491141"/>
              <a:gd name="connsiteY753" fmla="*/ 572883 h 1212769"/>
              <a:gd name="connsiteX754" fmla="*/ 46770 w 1491141"/>
              <a:gd name="connsiteY754" fmla="*/ 568891 h 1212769"/>
              <a:gd name="connsiteX755" fmla="*/ 40785 w 1491141"/>
              <a:gd name="connsiteY755" fmla="*/ 564898 h 1212769"/>
              <a:gd name="connsiteX756" fmla="*/ 40785 w 1491141"/>
              <a:gd name="connsiteY756" fmla="*/ 558910 h 1212769"/>
              <a:gd name="connsiteX757" fmla="*/ 38790 w 1491141"/>
              <a:gd name="connsiteY757" fmla="*/ 550926 h 1212769"/>
              <a:gd name="connsiteX758" fmla="*/ 34801 w 1491141"/>
              <a:gd name="connsiteY758" fmla="*/ 546933 h 1212769"/>
              <a:gd name="connsiteX759" fmla="*/ 32806 w 1491141"/>
              <a:gd name="connsiteY759" fmla="*/ 540945 h 1212769"/>
              <a:gd name="connsiteX760" fmla="*/ 30811 w 1491141"/>
              <a:gd name="connsiteY760" fmla="*/ 532961 h 1212769"/>
              <a:gd name="connsiteX761" fmla="*/ 22831 w 1491141"/>
              <a:gd name="connsiteY761" fmla="*/ 530965 h 1212769"/>
              <a:gd name="connsiteX762" fmla="*/ 14851 w 1491141"/>
              <a:gd name="connsiteY762" fmla="*/ 534957 h 1212769"/>
              <a:gd name="connsiteX763" fmla="*/ 10861 w 1491141"/>
              <a:gd name="connsiteY763" fmla="*/ 538949 h 1212769"/>
              <a:gd name="connsiteX764" fmla="*/ 6871 w 1491141"/>
              <a:gd name="connsiteY764" fmla="*/ 534957 h 1212769"/>
              <a:gd name="connsiteX765" fmla="*/ 4876 w 1491141"/>
              <a:gd name="connsiteY765" fmla="*/ 530965 h 1212769"/>
              <a:gd name="connsiteX766" fmla="*/ 8866 w 1491141"/>
              <a:gd name="connsiteY766" fmla="*/ 522980 h 1212769"/>
              <a:gd name="connsiteX767" fmla="*/ 6871 w 1491141"/>
              <a:gd name="connsiteY767" fmla="*/ 518988 h 1212769"/>
              <a:gd name="connsiteX768" fmla="*/ 2881 w 1491141"/>
              <a:gd name="connsiteY768" fmla="*/ 514996 h 1212769"/>
              <a:gd name="connsiteX769" fmla="*/ 886 w 1491141"/>
              <a:gd name="connsiteY769" fmla="*/ 511003 h 1212769"/>
              <a:gd name="connsiteX770" fmla="*/ 886 w 1491141"/>
              <a:gd name="connsiteY770" fmla="*/ 499027 h 1212769"/>
              <a:gd name="connsiteX771" fmla="*/ 2881 w 1491141"/>
              <a:gd name="connsiteY771" fmla="*/ 495035 h 1212769"/>
              <a:gd name="connsiteX772" fmla="*/ 4876 w 1491141"/>
              <a:gd name="connsiteY772" fmla="*/ 487050 h 1212769"/>
              <a:gd name="connsiteX773" fmla="*/ 12856 w 1491141"/>
              <a:gd name="connsiteY773" fmla="*/ 485054 h 1212769"/>
              <a:gd name="connsiteX774" fmla="*/ 18841 w 1491141"/>
              <a:gd name="connsiteY774" fmla="*/ 481062 h 1212769"/>
              <a:gd name="connsiteX775" fmla="*/ 20836 w 1491141"/>
              <a:gd name="connsiteY775" fmla="*/ 479066 h 1212769"/>
              <a:gd name="connsiteX776" fmla="*/ 28816 w 1491141"/>
              <a:gd name="connsiteY776" fmla="*/ 479066 h 1212769"/>
              <a:gd name="connsiteX777" fmla="*/ 30811 w 1491141"/>
              <a:gd name="connsiteY777" fmla="*/ 477070 h 1212769"/>
              <a:gd name="connsiteX778" fmla="*/ 34801 w 1491141"/>
              <a:gd name="connsiteY778" fmla="*/ 477070 h 1212769"/>
              <a:gd name="connsiteX779" fmla="*/ 36795 w 1491141"/>
              <a:gd name="connsiteY779" fmla="*/ 477070 h 1212769"/>
              <a:gd name="connsiteX780" fmla="*/ 40785 w 1491141"/>
              <a:gd name="connsiteY780" fmla="*/ 475074 h 1212769"/>
              <a:gd name="connsiteX781" fmla="*/ 42780 w 1491141"/>
              <a:gd name="connsiteY781" fmla="*/ 471081 h 1212769"/>
              <a:gd name="connsiteX782" fmla="*/ 46770 w 1491141"/>
              <a:gd name="connsiteY782" fmla="*/ 471081 h 1212769"/>
              <a:gd name="connsiteX783" fmla="*/ 46770 w 1491141"/>
              <a:gd name="connsiteY783" fmla="*/ 475074 h 1212769"/>
              <a:gd name="connsiteX784" fmla="*/ 44775 w 1491141"/>
              <a:gd name="connsiteY784" fmla="*/ 479066 h 1212769"/>
              <a:gd name="connsiteX785" fmla="*/ 44775 w 1491141"/>
              <a:gd name="connsiteY785" fmla="*/ 481062 h 1212769"/>
              <a:gd name="connsiteX786" fmla="*/ 50760 w 1491141"/>
              <a:gd name="connsiteY786" fmla="*/ 481062 h 1212769"/>
              <a:gd name="connsiteX787" fmla="*/ 56745 w 1491141"/>
              <a:gd name="connsiteY787" fmla="*/ 479066 h 1212769"/>
              <a:gd name="connsiteX788" fmla="*/ 60735 w 1491141"/>
              <a:gd name="connsiteY788" fmla="*/ 477070 h 1212769"/>
              <a:gd name="connsiteX789" fmla="*/ 68715 w 1491141"/>
              <a:gd name="connsiteY789" fmla="*/ 473077 h 1212769"/>
              <a:gd name="connsiteX790" fmla="*/ 72705 w 1491141"/>
              <a:gd name="connsiteY790" fmla="*/ 469085 h 1212769"/>
              <a:gd name="connsiteX791" fmla="*/ 72705 w 1491141"/>
              <a:gd name="connsiteY791" fmla="*/ 459105 h 1212769"/>
              <a:gd name="connsiteX792" fmla="*/ 78690 w 1491141"/>
              <a:gd name="connsiteY792" fmla="*/ 453116 h 1212769"/>
              <a:gd name="connsiteX793" fmla="*/ 86670 w 1491141"/>
              <a:gd name="connsiteY793" fmla="*/ 455112 h 1212769"/>
              <a:gd name="connsiteX794" fmla="*/ 92655 w 1491141"/>
              <a:gd name="connsiteY794" fmla="*/ 455112 h 1212769"/>
              <a:gd name="connsiteX795" fmla="*/ 96645 w 1491141"/>
              <a:gd name="connsiteY795" fmla="*/ 455112 h 1212769"/>
              <a:gd name="connsiteX796" fmla="*/ 102630 w 1491141"/>
              <a:gd name="connsiteY796" fmla="*/ 451120 h 1212769"/>
              <a:gd name="connsiteX797" fmla="*/ 106620 w 1491141"/>
              <a:gd name="connsiteY797" fmla="*/ 451120 h 1212769"/>
              <a:gd name="connsiteX798" fmla="*/ 110610 w 1491141"/>
              <a:gd name="connsiteY798" fmla="*/ 447128 h 1212769"/>
              <a:gd name="connsiteX799" fmla="*/ 114600 w 1491141"/>
              <a:gd name="connsiteY799" fmla="*/ 439144 h 1212769"/>
              <a:gd name="connsiteX800" fmla="*/ 118590 w 1491141"/>
              <a:gd name="connsiteY800" fmla="*/ 435151 h 1212769"/>
              <a:gd name="connsiteX801" fmla="*/ 124575 w 1491141"/>
              <a:gd name="connsiteY801" fmla="*/ 433155 h 1212769"/>
              <a:gd name="connsiteX802" fmla="*/ 128565 w 1491141"/>
              <a:gd name="connsiteY802" fmla="*/ 427167 h 1212769"/>
              <a:gd name="connsiteX803" fmla="*/ 130560 w 1491141"/>
              <a:gd name="connsiteY803" fmla="*/ 427167 h 1212769"/>
              <a:gd name="connsiteX804" fmla="*/ 134550 w 1491141"/>
              <a:gd name="connsiteY804" fmla="*/ 429163 h 1212769"/>
              <a:gd name="connsiteX805" fmla="*/ 140535 w 1491141"/>
              <a:gd name="connsiteY805" fmla="*/ 427167 h 1212769"/>
              <a:gd name="connsiteX806" fmla="*/ 142530 w 1491141"/>
              <a:gd name="connsiteY806" fmla="*/ 421179 h 1212769"/>
              <a:gd name="connsiteX807" fmla="*/ 146520 w 1491141"/>
              <a:gd name="connsiteY807" fmla="*/ 419183 h 1212769"/>
              <a:gd name="connsiteX808" fmla="*/ 152505 w 1491141"/>
              <a:gd name="connsiteY808" fmla="*/ 417186 h 1212769"/>
              <a:gd name="connsiteX809" fmla="*/ 152505 w 1491141"/>
              <a:gd name="connsiteY809" fmla="*/ 413194 h 1212769"/>
              <a:gd name="connsiteX810" fmla="*/ 148515 w 1491141"/>
              <a:gd name="connsiteY810" fmla="*/ 407206 h 1212769"/>
              <a:gd name="connsiteX811" fmla="*/ 148515 w 1491141"/>
              <a:gd name="connsiteY811" fmla="*/ 401218 h 1212769"/>
              <a:gd name="connsiteX812" fmla="*/ 148515 w 1491141"/>
              <a:gd name="connsiteY812" fmla="*/ 399221 h 1212769"/>
              <a:gd name="connsiteX813" fmla="*/ 152505 w 1491141"/>
              <a:gd name="connsiteY813" fmla="*/ 397225 h 1212769"/>
              <a:gd name="connsiteX814" fmla="*/ 154500 w 1491141"/>
              <a:gd name="connsiteY814" fmla="*/ 391237 h 1212769"/>
              <a:gd name="connsiteX815" fmla="*/ 158490 w 1491141"/>
              <a:gd name="connsiteY815" fmla="*/ 387245 h 1212769"/>
              <a:gd name="connsiteX816" fmla="*/ 158490 w 1491141"/>
              <a:gd name="connsiteY816" fmla="*/ 379260 h 1212769"/>
              <a:gd name="connsiteX817" fmla="*/ 154500 w 1491141"/>
              <a:gd name="connsiteY817" fmla="*/ 375268 h 1212769"/>
              <a:gd name="connsiteX818" fmla="*/ 152505 w 1491141"/>
              <a:gd name="connsiteY818" fmla="*/ 369280 h 1212769"/>
              <a:gd name="connsiteX819" fmla="*/ 152505 w 1491141"/>
              <a:gd name="connsiteY819" fmla="*/ 367284 h 1212769"/>
              <a:gd name="connsiteX820" fmla="*/ 148515 w 1491141"/>
              <a:gd name="connsiteY820" fmla="*/ 363291 h 1212769"/>
              <a:gd name="connsiteX821" fmla="*/ 148515 w 1491141"/>
              <a:gd name="connsiteY821" fmla="*/ 359299 h 1212769"/>
              <a:gd name="connsiteX822" fmla="*/ 146520 w 1491141"/>
              <a:gd name="connsiteY822" fmla="*/ 357303 h 1212769"/>
              <a:gd name="connsiteX823" fmla="*/ 144525 w 1491141"/>
              <a:gd name="connsiteY823" fmla="*/ 351315 h 1212769"/>
              <a:gd name="connsiteX824" fmla="*/ 142530 w 1491141"/>
              <a:gd name="connsiteY824" fmla="*/ 341334 h 1212769"/>
              <a:gd name="connsiteX825" fmla="*/ 144525 w 1491141"/>
              <a:gd name="connsiteY825" fmla="*/ 337342 h 1212769"/>
              <a:gd name="connsiteX826" fmla="*/ 144525 w 1491141"/>
              <a:gd name="connsiteY826" fmla="*/ 331354 h 1212769"/>
              <a:gd name="connsiteX827" fmla="*/ 144525 w 1491141"/>
              <a:gd name="connsiteY827" fmla="*/ 327362 h 1212769"/>
              <a:gd name="connsiteX828" fmla="*/ 138540 w 1491141"/>
              <a:gd name="connsiteY828" fmla="*/ 323369 h 1212769"/>
              <a:gd name="connsiteX829" fmla="*/ 134550 w 1491141"/>
              <a:gd name="connsiteY829" fmla="*/ 323369 h 1212769"/>
              <a:gd name="connsiteX830" fmla="*/ 132555 w 1491141"/>
              <a:gd name="connsiteY830" fmla="*/ 319377 h 1212769"/>
              <a:gd name="connsiteX831" fmla="*/ 138540 w 1491141"/>
              <a:gd name="connsiteY831" fmla="*/ 319377 h 1212769"/>
              <a:gd name="connsiteX832" fmla="*/ 144525 w 1491141"/>
              <a:gd name="connsiteY832" fmla="*/ 317381 h 1212769"/>
              <a:gd name="connsiteX833" fmla="*/ 154500 w 1491141"/>
              <a:gd name="connsiteY833" fmla="*/ 315385 h 1212769"/>
              <a:gd name="connsiteX834" fmla="*/ 156495 w 1491141"/>
              <a:gd name="connsiteY834" fmla="*/ 313389 h 1212769"/>
              <a:gd name="connsiteX835" fmla="*/ 162480 w 1491141"/>
              <a:gd name="connsiteY835" fmla="*/ 311393 h 1212769"/>
              <a:gd name="connsiteX836" fmla="*/ 166470 w 1491141"/>
              <a:gd name="connsiteY836" fmla="*/ 309397 h 1212769"/>
              <a:gd name="connsiteX837" fmla="*/ 174450 w 1491141"/>
              <a:gd name="connsiteY837" fmla="*/ 309397 h 1212769"/>
              <a:gd name="connsiteX838" fmla="*/ 178440 w 1491141"/>
              <a:gd name="connsiteY838" fmla="*/ 311393 h 1212769"/>
              <a:gd name="connsiteX839" fmla="*/ 182430 w 1491141"/>
              <a:gd name="connsiteY839" fmla="*/ 311393 h 1212769"/>
              <a:gd name="connsiteX840" fmla="*/ 186420 w 1491141"/>
              <a:gd name="connsiteY840" fmla="*/ 313389 h 1212769"/>
              <a:gd name="connsiteX841" fmla="*/ 194399 w 1491141"/>
              <a:gd name="connsiteY841" fmla="*/ 311393 h 1212769"/>
              <a:gd name="connsiteX842" fmla="*/ 198389 w 1491141"/>
              <a:gd name="connsiteY842" fmla="*/ 305404 h 1212769"/>
              <a:gd name="connsiteX843" fmla="*/ 194399 w 1491141"/>
              <a:gd name="connsiteY843" fmla="*/ 301412 h 1212769"/>
              <a:gd name="connsiteX844" fmla="*/ 192404 w 1491141"/>
              <a:gd name="connsiteY844" fmla="*/ 295424 h 1212769"/>
              <a:gd name="connsiteX845" fmla="*/ 192404 w 1491141"/>
              <a:gd name="connsiteY845" fmla="*/ 291432 h 1212769"/>
              <a:gd name="connsiteX846" fmla="*/ 194399 w 1491141"/>
              <a:gd name="connsiteY846" fmla="*/ 287439 h 1212769"/>
              <a:gd name="connsiteX847" fmla="*/ 194399 w 1491141"/>
              <a:gd name="connsiteY847" fmla="*/ 281451 h 1212769"/>
              <a:gd name="connsiteX848" fmla="*/ 192404 w 1491141"/>
              <a:gd name="connsiteY848" fmla="*/ 273467 h 1212769"/>
              <a:gd name="connsiteX849" fmla="*/ 196394 w 1491141"/>
              <a:gd name="connsiteY849" fmla="*/ 267478 h 1212769"/>
              <a:gd name="connsiteX850" fmla="*/ 194399 w 1491141"/>
              <a:gd name="connsiteY850" fmla="*/ 263486 h 1212769"/>
              <a:gd name="connsiteX851" fmla="*/ 196394 w 1491141"/>
              <a:gd name="connsiteY851" fmla="*/ 255502 h 1212769"/>
              <a:gd name="connsiteX852" fmla="*/ 200384 w 1491141"/>
              <a:gd name="connsiteY852" fmla="*/ 251509 h 1212769"/>
              <a:gd name="connsiteX853" fmla="*/ 200384 w 1491141"/>
              <a:gd name="connsiteY853" fmla="*/ 243525 h 1212769"/>
              <a:gd name="connsiteX854" fmla="*/ 204374 w 1491141"/>
              <a:gd name="connsiteY854" fmla="*/ 239533 h 1212769"/>
              <a:gd name="connsiteX855" fmla="*/ 210359 w 1491141"/>
              <a:gd name="connsiteY855" fmla="*/ 239533 h 1212769"/>
              <a:gd name="connsiteX856" fmla="*/ 214349 w 1491141"/>
              <a:gd name="connsiteY856" fmla="*/ 241529 h 1212769"/>
              <a:gd name="connsiteX857" fmla="*/ 220334 w 1491141"/>
              <a:gd name="connsiteY857" fmla="*/ 243525 h 1212769"/>
              <a:gd name="connsiteX858" fmla="*/ 226319 w 1491141"/>
              <a:gd name="connsiteY858" fmla="*/ 245521 h 1212769"/>
              <a:gd name="connsiteX859" fmla="*/ 232304 w 1491141"/>
              <a:gd name="connsiteY859" fmla="*/ 245521 h 1212769"/>
              <a:gd name="connsiteX860" fmla="*/ 238289 w 1491141"/>
              <a:gd name="connsiteY860" fmla="*/ 245521 h 1212769"/>
              <a:gd name="connsiteX861" fmla="*/ 244274 w 1491141"/>
              <a:gd name="connsiteY861" fmla="*/ 247517 h 1212769"/>
              <a:gd name="connsiteX862" fmla="*/ 248264 w 1491141"/>
              <a:gd name="connsiteY862" fmla="*/ 251509 h 1212769"/>
              <a:gd name="connsiteX863" fmla="*/ 252254 w 1491141"/>
              <a:gd name="connsiteY863" fmla="*/ 247517 h 1212769"/>
              <a:gd name="connsiteX864" fmla="*/ 256244 w 1491141"/>
              <a:gd name="connsiteY864" fmla="*/ 245521 h 1212769"/>
              <a:gd name="connsiteX865" fmla="*/ 258239 w 1491141"/>
              <a:gd name="connsiteY865" fmla="*/ 245521 h 1212769"/>
              <a:gd name="connsiteX866" fmla="*/ 262229 w 1491141"/>
              <a:gd name="connsiteY866" fmla="*/ 239533 h 1212769"/>
              <a:gd name="connsiteX867" fmla="*/ 264224 w 1491141"/>
              <a:gd name="connsiteY867" fmla="*/ 231548 h 1212769"/>
              <a:gd name="connsiteX868" fmla="*/ 260234 w 1491141"/>
              <a:gd name="connsiteY868" fmla="*/ 223564 h 1212769"/>
              <a:gd name="connsiteX869" fmla="*/ 260234 w 1491141"/>
              <a:gd name="connsiteY869" fmla="*/ 217576 h 1212769"/>
              <a:gd name="connsiteX870" fmla="*/ 260234 w 1491141"/>
              <a:gd name="connsiteY870" fmla="*/ 211587 h 1212769"/>
              <a:gd name="connsiteX871" fmla="*/ 258239 w 1491141"/>
              <a:gd name="connsiteY871" fmla="*/ 203603 h 1212769"/>
              <a:gd name="connsiteX872" fmla="*/ 258239 w 1491141"/>
              <a:gd name="connsiteY872" fmla="*/ 197615 h 1212769"/>
              <a:gd name="connsiteX873" fmla="*/ 262229 w 1491141"/>
              <a:gd name="connsiteY873" fmla="*/ 195618 h 1212769"/>
              <a:gd name="connsiteX874" fmla="*/ 264224 w 1491141"/>
              <a:gd name="connsiteY874" fmla="*/ 189630 h 1212769"/>
              <a:gd name="connsiteX875" fmla="*/ 266219 w 1491141"/>
              <a:gd name="connsiteY875" fmla="*/ 185638 h 1212769"/>
              <a:gd name="connsiteX876" fmla="*/ 268214 w 1491141"/>
              <a:gd name="connsiteY876" fmla="*/ 183642 h 1212769"/>
              <a:gd name="connsiteX877" fmla="*/ 274199 w 1491141"/>
              <a:gd name="connsiteY877" fmla="*/ 179650 h 1212769"/>
              <a:gd name="connsiteX878" fmla="*/ 278189 w 1491141"/>
              <a:gd name="connsiteY878" fmla="*/ 177653 h 1212769"/>
              <a:gd name="connsiteX879" fmla="*/ 282179 w 1491141"/>
              <a:gd name="connsiteY879" fmla="*/ 171665 h 1212769"/>
              <a:gd name="connsiteX880" fmla="*/ 288164 w 1491141"/>
              <a:gd name="connsiteY880" fmla="*/ 165677 h 1212769"/>
              <a:gd name="connsiteX881" fmla="*/ 290159 w 1491141"/>
              <a:gd name="connsiteY881" fmla="*/ 163681 h 1212769"/>
              <a:gd name="connsiteX882" fmla="*/ 296144 w 1491141"/>
              <a:gd name="connsiteY882" fmla="*/ 161685 h 1212769"/>
              <a:gd name="connsiteX883" fmla="*/ 300134 w 1491141"/>
              <a:gd name="connsiteY883" fmla="*/ 163681 h 1212769"/>
              <a:gd name="connsiteX884" fmla="*/ 304124 w 1491141"/>
              <a:gd name="connsiteY884" fmla="*/ 159688 h 1212769"/>
              <a:gd name="connsiteX885" fmla="*/ 306119 w 1491141"/>
              <a:gd name="connsiteY885" fmla="*/ 159688 h 1212769"/>
              <a:gd name="connsiteX886" fmla="*/ 310109 w 1491141"/>
              <a:gd name="connsiteY886" fmla="*/ 159688 h 1212769"/>
              <a:gd name="connsiteX887" fmla="*/ 314099 w 1491141"/>
              <a:gd name="connsiteY887" fmla="*/ 159688 h 1212769"/>
              <a:gd name="connsiteX888" fmla="*/ 318089 w 1491141"/>
              <a:gd name="connsiteY888" fmla="*/ 159688 h 1212769"/>
              <a:gd name="connsiteX889" fmla="*/ 322079 w 1491141"/>
              <a:gd name="connsiteY889" fmla="*/ 163681 h 1212769"/>
              <a:gd name="connsiteX890" fmla="*/ 320084 w 1491141"/>
              <a:gd name="connsiteY890" fmla="*/ 171665 h 1212769"/>
              <a:gd name="connsiteX891" fmla="*/ 324074 w 1491141"/>
              <a:gd name="connsiteY891" fmla="*/ 175657 h 1212769"/>
              <a:gd name="connsiteX892" fmla="*/ 330059 w 1491141"/>
              <a:gd name="connsiteY892" fmla="*/ 181646 h 1212769"/>
              <a:gd name="connsiteX893" fmla="*/ 334049 w 1491141"/>
              <a:gd name="connsiteY893" fmla="*/ 187634 h 1212769"/>
              <a:gd name="connsiteX894" fmla="*/ 338038 w 1491141"/>
              <a:gd name="connsiteY894" fmla="*/ 189630 h 1212769"/>
              <a:gd name="connsiteX895" fmla="*/ 344023 w 1491141"/>
              <a:gd name="connsiteY895" fmla="*/ 195618 h 1212769"/>
              <a:gd name="connsiteX896" fmla="*/ 348013 w 1491141"/>
              <a:gd name="connsiteY896" fmla="*/ 199611 h 1212769"/>
              <a:gd name="connsiteX897" fmla="*/ 352003 w 1491141"/>
              <a:gd name="connsiteY897" fmla="*/ 203603 h 1212769"/>
              <a:gd name="connsiteX898" fmla="*/ 357988 w 1491141"/>
              <a:gd name="connsiteY898" fmla="*/ 205599 h 1212769"/>
              <a:gd name="connsiteX899" fmla="*/ 367963 w 1491141"/>
              <a:gd name="connsiteY899" fmla="*/ 209591 h 1212769"/>
              <a:gd name="connsiteX900" fmla="*/ 375943 w 1491141"/>
              <a:gd name="connsiteY900" fmla="*/ 211587 h 1212769"/>
              <a:gd name="connsiteX901" fmla="*/ 381928 w 1491141"/>
              <a:gd name="connsiteY901" fmla="*/ 213583 h 1212769"/>
              <a:gd name="connsiteX902" fmla="*/ 385918 w 1491141"/>
              <a:gd name="connsiteY902" fmla="*/ 217576 h 1212769"/>
              <a:gd name="connsiteX903" fmla="*/ 395893 w 1491141"/>
              <a:gd name="connsiteY903" fmla="*/ 223564 h 1212769"/>
              <a:gd name="connsiteX904" fmla="*/ 397888 w 1491141"/>
              <a:gd name="connsiteY904" fmla="*/ 227556 h 1212769"/>
              <a:gd name="connsiteX905" fmla="*/ 403873 w 1491141"/>
              <a:gd name="connsiteY905" fmla="*/ 233544 h 1212769"/>
              <a:gd name="connsiteX906" fmla="*/ 405868 w 1491141"/>
              <a:gd name="connsiteY906" fmla="*/ 239533 h 1212769"/>
              <a:gd name="connsiteX907" fmla="*/ 409858 w 1491141"/>
              <a:gd name="connsiteY907" fmla="*/ 243525 h 1212769"/>
              <a:gd name="connsiteX908" fmla="*/ 413848 w 1491141"/>
              <a:gd name="connsiteY908" fmla="*/ 249513 h 1212769"/>
              <a:gd name="connsiteX909" fmla="*/ 413848 w 1491141"/>
              <a:gd name="connsiteY909" fmla="*/ 253506 h 1212769"/>
              <a:gd name="connsiteX910" fmla="*/ 411853 w 1491141"/>
              <a:gd name="connsiteY910" fmla="*/ 259494 h 1212769"/>
              <a:gd name="connsiteX911" fmla="*/ 413848 w 1491141"/>
              <a:gd name="connsiteY911" fmla="*/ 263486 h 1212769"/>
              <a:gd name="connsiteX912" fmla="*/ 415843 w 1491141"/>
              <a:gd name="connsiteY912" fmla="*/ 269474 h 1212769"/>
              <a:gd name="connsiteX913" fmla="*/ 417838 w 1491141"/>
              <a:gd name="connsiteY913" fmla="*/ 273467 h 1212769"/>
              <a:gd name="connsiteX914" fmla="*/ 415843 w 1491141"/>
              <a:gd name="connsiteY914" fmla="*/ 279455 h 1212769"/>
              <a:gd name="connsiteX915" fmla="*/ 413848 w 1491141"/>
              <a:gd name="connsiteY915" fmla="*/ 287439 h 1212769"/>
              <a:gd name="connsiteX916" fmla="*/ 409858 w 1491141"/>
              <a:gd name="connsiteY916" fmla="*/ 301412 h 1212769"/>
              <a:gd name="connsiteX917" fmla="*/ 411853 w 1491141"/>
              <a:gd name="connsiteY917" fmla="*/ 303408 h 1212769"/>
              <a:gd name="connsiteX918" fmla="*/ 419833 w 1491141"/>
              <a:gd name="connsiteY918" fmla="*/ 305404 h 1212769"/>
              <a:gd name="connsiteX919" fmla="*/ 431803 w 1491141"/>
              <a:gd name="connsiteY919" fmla="*/ 307400 h 1212769"/>
              <a:gd name="connsiteX920" fmla="*/ 439783 w 1491141"/>
              <a:gd name="connsiteY920" fmla="*/ 311393 h 1212769"/>
              <a:gd name="connsiteX921" fmla="*/ 447763 w 1491141"/>
              <a:gd name="connsiteY921" fmla="*/ 309397 h 1212769"/>
              <a:gd name="connsiteX922" fmla="*/ 455743 w 1491141"/>
              <a:gd name="connsiteY922" fmla="*/ 309397 h 1212769"/>
              <a:gd name="connsiteX923" fmla="*/ 461728 w 1491141"/>
              <a:gd name="connsiteY923" fmla="*/ 309397 h 1212769"/>
              <a:gd name="connsiteX924" fmla="*/ 473698 w 1491141"/>
              <a:gd name="connsiteY924" fmla="*/ 311393 h 1212769"/>
              <a:gd name="connsiteX925" fmla="*/ 483673 w 1491141"/>
              <a:gd name="connsiteY925" fmla="*/ 315385 h 1212769"/>
              <a:gd name="connsiteX926" fmla="*/ 491652 w 1491141"/>
              <a:gd name="connsiteY926" fmla="*/ 319377 h 1212769"/>
              <a:gd name="connsiteX927" fmla="*/ 499632 w 1491141"/>
              <a:gd name="connsiteY927" fmla="*/ 325365 h 1212769"/>
              <a:gd name="connsiteX928" fmla="*/ 505617 w 1491141"/>
              <a:gd name="connsiteY928" fmla="*/ 329358 h 1212769"/>
              <a:gd name="connsiteX929" fmla="*/ 513597 w 1491141"/>
              <a:gd name="connsiteY929" fmla="*/ 337342 h 1212769"/>
              <a:gd name="connsiteX930" fmla="*/ 519582 w 1491141"/>
              <a:gd name="connsiteY930" fmla="*/ 337342 h 1212769"/>
              <a:gd name="connsiteX931" fmla="*/ 531552 w 1491141"/>
              <a:gd name="connsiteY931" fmla="*/ 343330 h 1212769"/>
              <a:gd name="connsiteX932" fmla="*/ 541527 w 1491141"/>
              <a:gd name="connsiteY932" fmla="*/ 349319 h 1212769"/>
              <a:gd name="connsiteX933" fmla="*/ 549507 w 1491141"/>
              <a:gd name="connsiteY933" fmla="*/ 363291 h 1212769"/>
              <a:gd name="connsiteX934" fmla="*/ 553497 w 1491141"/>
              <a:gd name="connsiteY934" fmla="*/ 371276 h 1212769"/>
              <a:gd name="connsiteX935" fmla="*/ 557487 w 1491141"/>
              <a:gd name="connsiteY935" fmla="*/ 375268 h 1212769"/>
              <a:gd name="connsiteX936" fmla="*/ 561477 w 1491141"/>
              <a:gd name="connsiteY936" fmla="*/ 379260 h 1212769"/>
              <a:gd name="connsiteX937" fmla="*/ 569457 w 1491141"/>
              <a:gd name="connsiteY937" fmla="*/ 391237 h 1212769"/>
              <a:gd name="connsiteX938" fmla="*/ 575442 w 1491141"/>
              <a:gd name="connsiteY938" fmla="*/ 395229 h 1212769"/>
              <a:gd name="connsiteX939" fmla="*/ 583422 w 1491141"/>
              <a:gd name="connsiteY939" fmla="*/ 395229 h 1212769"/>
              <a:gd name="connsiteX940" fmla="*/ 593397 w 1491141"/>
              <a:gd name="connsiteY940" fmla="*/ 395229 h 1212769"/>
              <a:gd name="connsiteX941" fmla="*/ 603372 w 1491141"/>
              <a:gd name="connsiteY941" fmla="*/ 393233 h 1212769"/>
              <a:gd name="connsiteX942" fmla="*/ 611352 w 1491141"/>
              <a:gd name="connsiteY942" fmla="*/ 391237 h 1212769"/>
              <a:gd name="connsiteX943" fmla="*/ 617337 w 1491141"/>
              <a:gd name="connsiteY943" fmla="*/ 393233 h 1212769"/>
              <a:gd name="connsiteX944" fmla="*/ 625317 w 1491141"/>
              <a:gd name="connsiteY944" fmla="*/ 395229 h 1212769"/>
              <a:gd name="connsiteX945" fmla="*/ 637287 w 1491141"/>
              <a:gd name="connsiteY945" fmla="*/ 395229 h 1212769"/>
              <a:gd name="connsiteX946" fmla="*/ 645266 w 1491141"/>
              <a:gd name="connsiteY946" fmla="*/ 393233 h 1212769"/>
              <a:gd name="connsiteX947" fmla="*/ 653246 w 1491141"/>
              <a:gd name="connsiteY947" fmla="*/ 391237 h 1212769"/>
              <a:gd name="connsiteX948" fmla="*/ 661226 w 1491141"/>
              <a:gd name="connsiteY948" fmla="*/ 387245 h 1212769"/>
              <a:gd name="connsiteX949" fmla="*/ 671201 w 1491141"/>
              <a:gd name="connsiteY949" fmla="*/ 385249 h 1212769"/>
              <a:gd name="connsiteX950" fmla="*/ 679181 w 1491141"/>
              <a:gd name="connsiteY950" fmla="*/ 385249 h 1212769"/>
              <a:gd name="connsiteX951" fmla="*/ 687161 w 1491141"/>
              <a:gd name="connsiteY951" fmla="*/ 387245 h 1212769"/>
              <a:gd name="connsiteX952" fmla="*/ 699131 w 1491141"/>
              <a:gd name="connsiteY952" fmla="*/ 389241 h 1212769"/>
              <a:gd name="connsiteX953" fmla="*/ 703121 w 1491141"/>
              <a:gd name="connsiteY953" fmla="*/ 393233 h 1212769"/>
              <a:gd name="connsiteX954" fmla="*/ 705116 w 1491141"/>
              <a:gd name="connsiteY954" fmla="*/ 397225 h 1212769"/>
              <a:gd name="connsiteX955" fmla="*/ 709106 w 1491141"/>
              <a:gd name="connsiteY955" fmla="*/ 401218 h 1212769"/>
              <a:gd name="connsiteX956" fmla="*/ 715091 w 1491141"/>
              <a:gd name="connsiteY956" fmla="*/ 407206 h 1212769"/>
              <a:gd name="connsiteX957" fmla="*/ 721076 w 1491141"/>
              <a:gd name="connsiteY957" fmla="*/ 409202 h 1212769"/>
              <a:gd name="connsiteX958" fmla="*/ 729056 w 1491141"/>
              <a:gd name="connsiteY958" fmla="*/ 413194 h 1212769"/>
              <a:gd name="connsiteX959" fmla="*/ 737036 w 1491141"/>
              <a:gd name="connsiteY959" fmla="*/ 415190 h 1212769"/>
              <a:gd name="connsiteX960" fmla="*/ 745016 w 1491141"/>
              <a:gd name="connsiteY960" fmla="*/ 417186 h 1212769"/>
              <a:gd name="connsiteX961" fmla="*/ 754991 w 1491141"/>
              <a:gd name="connsiteY961" fmla="*/ 421179 h 1212769"/>
              <a:gd name="connsiteX962" fmla="*/ 762971 w 1491141"/>
              <a:gd name="connsiteY962" fmla="*/ 423175 h 1212769"/>
              <a:gd name="connsiteX963" fmla="*/ 770951 w 1491141"/>
              <a:gd name="connsiteY963" fmla="*/ 421179 h 1212769"/>
              <a:gd name="connsiteX964" fmla="*/ 774941 w 1491141"/>
              <a:gd name="connsiteY964" fmla="*/ 421179 h 1212769"/>
              <a:gd name="connsiteX965" fmla="*/ 776936 w 1491141"/>
              <a:gd name="connsiteY965" fmla="*/ 423175 h 1212769"/>
              <a:gd name="connsiteX966" fmla="*/ 778931 w 1491141"/>
              <a:gd name="connsiteY966" fmla="*/ 429163 h 1212769"/>
              <a:gd name="connsiteX967" fmla="*/ 780926 w 1491141"/>
              <a:gd name="connsiteY967" fmla="*/ 431159 h 1212769"/>
              <a:gd name="connsiteX968" fmla="*/ 784916 w 1491141"/>
              <a:gd name="connsiteY968" fmla="*/ 431159 h 1212769"/>
              <a:gd name="connsiteX969" fmla="*/ 790900 w 1491141"/>
              <a:gd name="connsiteY969" fmla="*/ 431159 h 1212769"/>
              <a:gd name="connsiteX970" fmla="*/ 798880 w 1491141"/>
              <a:gd name="connsiteY970" fmla="*/ 427167 h 1212769"/>
              <a:gd name="connsiteX971" fmla="*/ 808855 w 1491141"/>
              <a:gd name="connsiteY971" fmla="*/ 417186 h 1212769"/>
              <a:gd name="connsiteX972" fmla="*/ 816835 w 1491141"/>
              <a:gd name="connsiteY972" fmla="*/ 409202 h 1212769"/>
              <a:gd name="connsiteX973" fmla="*/ 826810 w 1491141"/>
              <a:gd name="connsiteY973" fmla="*/ 403214 h 1212769"/>
              <a:gd name="connsiteX974" fmla="*/ 836785 w 1491141"/>
              <a:gd name="connsiteY974" fmla="*/ 397225 h 1212769"/>
              <a:gd name="connsiteX975" fmla="*/ 844765 w 1491141"/>
              <a:gd name="connsiteY975" fmla="*/ 397225 h 1212769"/>
              <a:gd name="connsiteX976" fmla="*/ 854740 w 1491141"/>
              <a:gd name="connsiteY976" fmla="*/ 397225 h 1212769"/>
              <a:gd name="connsiteX977" fmla="*/ 862720 w 1491141"/>
              <a:gd name="connsiteY977" fmla="*/ 395229 h 1212769"/>
              <a:gd name="connsiteX978" fmla="*/ 872695 w 1491141"/>
              <a:gd name="connsiteY978" fmla="*/ 395229 h 1212769"/>
              <a:gd name="connsiteX979" fmla="*/ 884665 w 1491141"/>
              <a:gd name="connsiteY979" fmla="*/ 397225 h 1212769"/>
              <a:gd name="connsiteX980" fmla="*/ 898630 w 1491141"/>
              <a:gd name="connsiteY980" fmla="*/ 399221 h 1212769"/>
              <a:gd name="connsiteX981" fmla="*/ 904615 w 1491141"/>
              <a:gd name="connsiteY981" fmla="*/ 397225 h 1212769"/>
              <a:gd name="connsiteX982" fmla="*/ 912595 w 1491141"/>
              <a:gd name="connsiteY982" fmla="*/ 391237 h 1212769"/>
              <a:gd name="connsiteX983" fmla="*/ 924565 w 1491141"/>
              <a:gd name="connsiteY983" fmla="*/ 381256 h 1212769"/>
              <a:gd name="connsiteX984" fmla="*/ 930550 w 1491141"/>
              <a:gd name="connsiteY984" fmla="*/ 371276 h 1212769"/>
              <a:gd name="connsiteX985" fmla="*/ 936534 w 1491141"/>
              <a:gd name="connsiteY985" fmla="*/ 363291 h 1212769"/>
              <a:gd name="connsiteX986" fmla="*/ 944514 w 1491141"/>
              <a:gd name="connsiteY986" fmla="*/ 355307 h 1212769"/>
              <a:gd name="connsiteX987" fmla="*/ 946509 w 1491141"/>
              <a:gd name="connsiteY987" fmla="*/ 345327 h 1212769"/>
              <a:gd name="connsiteX988" fmla="*/ 944514 w 1491141"/>
              <a:gd name="connsiteY988" fmla="*/ 337342 h 1212769"/>
              <a:gd name="connsiteX989" fmla="*/ 936534 w 1491141"/>
              <a:gd name="connsiteY989" fmla="*/ 333350 h 1212769"/>
              <a:gd name="connsiteX990" fmla="*/ 936534 w 1491141"/>
              <a:gd name="connsiteY990" fmla="*/ 325365 h 1212769"/>
              <a:gd name="connsiteX991" fmla="*/ 940524 w 1491141"/>
              <a:gd name="connsiteY991" fmla="*/ 311393 h 1212769"/>
              <a:gd name="connsiteX992" fmla="*/ 946509 w 1491141"/>
              <a:gd name="connsiteY992" fmla="*/ 303408 h 1212769"/>
              <a:gd name="connsiteX993" fmla="*/ 952494 w 1491141"/>
              <a:gd name="connsiteY993" fmla="*/ 303408 h 1212769"/>
              <a:gd name="connsiteX994" fmla="*/ 956484 w 1491141"/>
              <a:gd name="connsiteY994" fmla="*/ 305404 h 1212769"/>
              <a:gd name="connsiteX995" fmla="*/ 962469 w 1491141"/>
              <a:gd name="connsiteY995" fmla="*/ 309397 h 1212769"/>
              <a:gd name="connsiteX996" fmla="*/ 970449 w 1491141"/>
              <a:gd name="connsiteY996" fmla="*/ 315385 h 1212769"/>
              <a:gd name="connsiteX997" fmla="*/ 976434 w 1491141"/>
              <a:gd name="connsiteY997" fmla="*/ 317381 h 1212769"/>
              <a:gd name="connsiteX998" fmla="*/ 986410 w 1491141"/>
              <a:gd name="connsiteY998" fmla="*/ 317381 h 1212769"/>
              <a:gd name="connsiteX999" fmla="*/ 994390 w 1491141"/>
              <a:gd name="connsiteY999" fmla="*/ 313389 h 1212769"/>
              <a:gd name="connsiteX1000" fmla="*/ 998380 w 1491141"/>
              <a:gd name="connsiteY1000" fmla="*/ 309397 h 1212769"/>
              <a:gd name="connsiteX1001" fmla="*/ 1002369 w 1491141"/>
              <a:gd name="connsiteY1001" fmla="*/ 301412 h 1212769"/>
              <a:gd name="connsiteX1002" fmla="*/ 1006359 w 1491141"/>
              <a:gd name="connsiteY1002" fmla="*/ 293428 h 1212769"/>
              <a:gd name="connsiteX1003" fmla="*/ 1012344 w 1491141"/>
              <a:gd name="connsiteY1003" fmla="*/ 289435 h 1212769"/>
              <a:gd name="connsiteX1004" fmla="*/ 1020324 w 1491141"/>
              <a:gd name="connsiteY1004" fmla="*/ 291432 h 1212769"/>
              <a:gd name="connsiteX1005" fmla="*/ 1026309 w 1491141"/>
              <a:gd name="connsiteY1005" fmla="*/ 291432 h 1212769"/>
              <a:gd name="connsiteX1006" fmla="*/ 1032294 w 1491141"/>
              <a:gd name="connsiteY1006" fmla="*/ 289435 h 1212769"/>
              <a:gd name="connsiteX1007" fmla="*/ 1036284 w 1491141"/>
              <a:gd name="connsiteY1007" fmla="*/ 285443 h 1212769"/>
              <a:gd name="connsiteX1008" fmla="*/ 1040274 w 1491141"/>
              <a:gd name="connsiteY1008" fmla="*/ 279455 h 1212769"/>
              <a:gd name="connsiteX1009" fmla="*/ 1044264 w 1491141"/>
              <a:gd name="connsiteY1009" fmla="*/ 273467 h 1212769"/>
              <a:gd name="connsiteX1010" fmla="*/ 1048254 w 1491141"/>
              <a:gd name="connsiteY1010" fmla="*/ 267478 h 1212769"/>
              <a:gd name="connsiteX1011" fmla="*/ 1052244 w 1491141"/>
              <a:gd name="connsiteY1011" fmla="*/ 263486 h 1212769"/>
              <a:gd name="connsiteX1012" fmla="*/ 1058229 w 1491141"/>
              <a:gd name="connsiteY1012" fmla="*/ 259494 h 1212769"/>
              <a:gd name="connsiteX1013" fmla="*/ 1062219 w 1491141"/>
              <a:gd name="connsiteY1013" fmla="*/ 255502 h 1212769"/>
              <a:gd name="connsiteX1014" fmla="*/ 1070199 w 1491141"/>
              <a:gd name="connsiteY1014" fmla="*/ 253506 h 1212769"/>
              <a:gd name="connsiteX1015" fmla="*/ 1078179 w 1491141"/>
              <a:gd name="connsiteY1015" fmla="*/ 251509 h 1212769"/>
              <a:gd name="connsiteX1016" fmla="*/ 1088154 w 1491141"/>
              <a:gd name="connsiteY1016" fmla="*/ 245521 h 1212769"/>
              <a:gd name="connsiteX1017" fmla="*/ 1096134 w 1491141"/>
              <a:gd name="connsiteY1017" fmla="*/ 245521 h 1212769"/>
              <a:gd name="connsiteX1018" fmla="*/ 1108104 w 1491141"/>
              <a:gd name="connsiteY1018" fmla="*/ 245521 h 1212769"/>
              <a:gd name="connsiteX1019" fmla="*/ 1116084 w 1491141"/>
              <a:gd name="connsiteY1019" fmla="*/ 251509 h 1212769"/>
              <a:gd name="connsiteX1020" fmla="*/ 1124064 w 1491141"/>
              <a:gd name="connsiteY1020" fmla="*/ 247517 h 1212769"/>
              <a:gd name="connsiteX1021" fmla="*/ 1126059 w 1491141"/>
              <a:gd name="connsiteY1021" fmla="*/ 235541 h 1212769"/>
              <a:gd name="connsiteX1022" fmla="*/ 1122069 w 1491141"/>
              <a:gd name="connsiteY1022" fmla="*/ 227556 h 1212769"/>
              <a:gd name="connsiteX1023" fmla="*/ 1116084 w 1491141"/>
              <a:gd name="connsiteY1023" fmla="*/ 219572 h 1212769"/>
              <a:gd name="connsiteX1024" fmla="*/ 1108104 w 1491141"/>
              <a:gd name="connsiteY1024" fmla="*/ 215580 h 1212769"/>
              <a:gd name="connsiteX1025" fmla="*/ 1100124 w 1491141"/>
              <a:gd name="connsiteY1025" fmla="*/ 211587 h 1212769"/>
              <a:gd name="connsiteX1026" fmla="*/ 1092144 w 1491141"/>
              <a:gd name="connsiteY1026" fmla="*/ 205599 h 1212769"/>
              <a:gd name="connsiteX1027" fmla="*/ 1086159 w 1491141"/>
              <a:gd name="connsiteY1027" fmla="*/ 201607 h 1212769"/>
              <a:gd name="connsiteX1028" fmla="*/ 1080174 w 1491141"/>
              <a:gd name="connsiteY1028" fmla="*/ 197615 h 1212769"/>
              <a:gd name="connsiteX1029" fmla="*/ 1072194 w 1491141"/>
              <a:gd name="connsiteY1029" fmla="*/ 195618 h 1212769"/>
              <a:gd name="connsiteX1030" fmla="*/ 1062219 w 1491141"/>
              <a:gd name="connsiteY1030" fmla="*/ 197615 h 1212769"/>
              <a:gd name="connsiteX1031" fmla="*/ 1058229 w 1491141"/>
              <a:gd name="connsiteY1031" fmla="*/ 203603 h 1212769"/>
              <a:gd name="connsiteX1032" fmla="*/ 1056234 w 1491141"/>
              <a:gd name="connsiteY1032" fmla="*/ 207595 h 1212769"/>
              <a:gd name="connsiteX1033" fmla="*/ 1048254 w 1491141"/>
              <a:gd name="connsiteY1033" fmla="*/ 209591 h 1212769"/>
              <a:gd name="connsiteX1034" fmla="*/ 1044264 w 1491141"/>
              <a:gd name="connsiteY1034" fmla="*/ 205599 h 1212769"/>
              <a:gd name="connsiteX1035" fmla="*/ 1036284 w 1491141"/>
              <a:gd name="connsiteY1035" fmla="*/ 203603 h 1212769"/>
              <a:gd name="connsiteX1036" fmla="*/ 1030299 w 1491141"/>
              <a:gd name="connsiteY1036" fmla="*/ 203603 h 1212769"/>
              <a:gd name="connsiteX1037" fmla="*/ 1022319 w 1491141"/>
              <a:gd name="connsiteY1037" fmla="*/ 205599 h 1212769"/>
              <a:gd name="connsiteX1038" fmla="*/ 1014339 w 1491141"/>
              <a:gd name="connsiteY1038" fmla="*/ 207595 h 1212769"/>
              <a:gd name="connsiteX1039" fmla="*/ 1006359 w 1491141"/>
              <a:gd name="connsiteY1039" fmla="*/ 197615 h 1212769"/>
              <a:gd name="connsiteX1040" fmla="*/ 1010349 w 1491141"/>
              <a:gd name="connsiteY1040" fmla="*/ 189630 h 1212769"/>
              <a:gd name="connsiteX1041" fmla="*/ 1012344 w 1491141"/>
              <a:gd name="connsiteY1041" fmla="*/ 183642 h 1212769"/>
              <a:gd name="connsiteX1042" fmla="*/ 1012344 w 1491141"/>
              <a:gd name="connsiteY1042" fmla="*/ 177653 h 1212769"/>
              <a:gd name="connsiteX1043" fmla="*/ 1012344 w 1491141"/>
              <a:gd name="connsiteY1043" fmla="*/ 171665 h 1212769"/>
              <a:gd name="connsiteX1044" fmla="*/ 1012344 w 1491141"/>
              <a:gd name="connsiteY1044" fmla="*/ 163681 h 1212769"/>
              <a:gd name="connsiteX1045" fmla="*/ 1014339 w 1491141"/>
              <a:gd name="connsiteY1045" fmla="*/ 151704 h 1212769"/>
              <a:gd name="connsiteX1046" fmla="*/ 1016334 w 1491141"/>
              <a:gd name="connsiteY1046" fmla="*/ 143720 h 1212769"/>
              <a:gd name="connsiteX1047" fmla="*/ 1018329 w 1491141"/>
              <a:gd name="connsiteY1047" fmla="*/ 137731 h 1212769"/>
              <a:gd name="connsiteX1048" fmla="*/ 1018329 w 1491141"/>
              <a:gd name="connsiteY1048" fmla="*/ 131743 h 1212769"/>
              <a:gd name="connsiteX1049" fmla="*/ 1022319 w 1491141"/>
              <a:gd name="connsiteY1049" fmla="*/ 133739 h 1212769"/>
              <a:gd name="connsiteX1050" fmla="*/ 1030299 w 1491141"/>
              <a:gd name="connsiteY1050" fmla="*/ 133739 h 1212769"/>
              <a:gd name="connsiteX1051" fmla="*/ 1034289 w 1491141"/>
              <a:gd name="connsiteY1051" fmla="*/ 135735 h 1212769"/>
              <a:gd name="connsiteX1052" fmla="*/ 1042269 w 1491141"/>
              <a:gd name="connsiteY1052" fmla="*/ 139727 h 1212769"/>
              <a:gd name="connsiteX1053" fmla="*/ 1052244 w 1491141"/>
              <a:gd name="connsiteY1053" fmla="*/ 137731 h 1212769"/>
              <a:gd name="connsiteX1054" fmla="*/ 1060224 w 1491141"/>
              <a:gd name="connsiteY1054" fmla="*/ 139727 h 1212769"/>
              <a:gd name="connsiteX1055" fmla="*/ 1064214 w 1491141"/>
              <a:gd name="connsiteY1055" fmla="*/ 139727 h 1212769"/>
              <a:gd name="connsiteX1056" fmla="*/ 1068204 w 1491141"/>
              <a:gd name="connsiteY1056" fmla="*/ 139727 h 1212769"/>
              <a:gd name="connsiteX1057" fmla="*/ 1070199 w 1491141"/>
              <a:gd name="connsiteY1057" fmla="*/ 139727 h 1212769"/>
              <a:gd name="connsiteX1058" fmla="*/ 1074189 w 1491141"/>
              <a:gd name="connsiteY1058" fmla="*/ 137731 h 1212769"/>
              <a:gd name="connsiteX1059" fmla="*/ 1078179 w 1491141"/>
              <a:gd name="connsiteY1059" fmla="*/ 135735 h 1212769"/>
              <a:gd name="connsiteX1060" fmla="*/ 1084164 w 1491141"/>
              <a:gd name="connsiteY1060" fmla="*/ 135735 h 1212769"/>
              <a:gd name="connsiteX1061" fmla="*/ 1086159 w 1491141"/>
              <a:gd name="connsiteY1061" fmla="*/ 129747 h 1212769"/>
              <a:gd name="connsiteX1062" fmla="*/ 1090149 w 1491141"/>
              <a:gd name="connsiteY1062" fmla="*/ 125755 h 1212769"/>
              <a:gd name="connsiteX1063" fmla="*/ 1092144 w 1491141"/>
              <a:gd name="connsiteY1063" fmla="*/ 125755 h 1212769"/>
              <a:gd name="connsiteX1064" fmla="*/ 1092144 w 1491141"/>
              <a:gd name="connsiteY1064" fmla="*/ 117770 h 1212769"/>
              <a:gd name="connsiteX1065" fmla="*/ 1094139 w 1491141"/>
              <a:gd name="connsiteY1065" fmla="*/ 105794 h 1212769"/>
              <a:gd name="connsiteX1066" fmla="*/ 1096134 w 1491141"/>
              <a:gd name="connsiteY1066" fmla="*/ 97809 h 1212769"/>
              <a:gd name="connsiteX1067" fmla="*/ 1098129 w 1491141"/>
              <a:gd name="connsiteY1067" fmla="*/ 91821 h 1212769"/>
              <a:gd name="connsiteX1068" fmla="*/ 1102119 w 1491141"/>
              <a:gd name="connsiteY1068" fmla="*/ 85833 h 1212769"/>
              <a:gd name="connsiteX1069" fmla="*/ 1102119 w 1491141"/>
              <a:gd name="connsiteY1069" fmla="*/ 75852 h 1212769"/>
              <a:gd name="connsiteX1070" fmla="*/ 1104114 w 1491141"/>
              <a:gd name="connsiteY1070" fmla="*/ 67868 h 1212769"/>
              <a:gd name="connsiteX1071" fmla="*/ 1112094 w 1491141"/>
              <a:gd name="connsiteY1071" fmla="*/ 61879 h 1212769"/>
              <a:gd name="connsiteX1072" fmla="*/ 1112094 w 1491141"/>
              <a:gd name="connsiteY1072" fmla="*/ 57887 h 1212769"/>
              <a:gd name="connsiteX1073" fmla="*/ 1114089 w 1491141"/>
              <a:gd name="connsiteY1073" fmla="*/ 53895 h 1212769"/>
              <a:gd name="connsiteX1074" fmla="*/ 1112094 w 1491141"/>
              <a:gd name="connsiteY1074" fmla="*/ 47906 h 1212769"/>
              <a:gd name="connsiteX1075" fmla="*/ 1112094 w 1491141"/>
              <a:gd name="connsiteY1075" fmla="*/ 39922 h 1212769"/>
              <a:gd name="connsiteX1076" fmla="*/ 1108104 w 1491141"/>
              <a:gd name="connsiteY1076" fmla="*/ 33934 h 1212769"/>
              <a:gd name="connsiteX1077" fmla="*/ 1102119 w 1491141"/>
              <a:gd name="connsiteY1077" fmla="*/ 33934 h 1212769"/>
              <a:gd name="connsiteX1078" fmla="*/ 1102119 w 1491141"/>
              <a:gd name="connsiteY1078" fmla="*/ 27945 h 1212769"/>
              <a:gd name="connsiteX1079" fmla="*/ 1100124 w 1491141"/>
              <a:gd name="connsiteY1079" fmla="*/ 21957 h 1212769"/>
              <a:gd name="connsiteX1080" fmla="*/ 1102119 w 1491141"/>
              <a:gd name="connsiteY1080" fmla="*/ 13973 h 1212769"/>
              <a:gd name="connsiteX1081" fmla="*/ 1104114 w 1491141"/>
              <a:gd name="connsiteY1081" fmla="*/ 11977 h 1212769"/>
              <a:gd name="connsiteX1082" fmla="*/ 1112094 w 1491141"/>
              <a:gd name="connsiteY1082" fmla="*/ 9980 h 1212769"/>
              <a:gd name="connsiteX1083" fmla="*/ 1116084 w 1491141"/>
              <a:gd name="connsiteY1083" fmla="*/ 9980 h 1212769"/>
              <a:gd name="connsiteX1084" fmla="*/ 1120074 w 1491141"/>
              <a:gd name="connsiteY1084" fmla="*/ 7984 h 1212769"/>
              <a:gd name="connsiteX1085" fmla="*/ 1126059 w 1491141"/>
              <a:gd name="connsiteY1085" fmla="*/ 7984 h 1212769"/>
              <a:gd name="connsiteX1086" fmla="*/ 1130049 w 1491141"/>
              <a:gd name="connsiteY1086" fmla="*/ 7984 h 1212769"/>
              <a:gd name="connsiteX1087" fmla="*/ 1134039 w 1491141"/>
              <a:gd name="connsiteY1087" fmla="*/ 3992 h 1212769"/>
              <a:gd name="connsiteX1088" fmla="*/ 1140024 w 1491141"/>
              <a:gd name="connsiteY1088" fmla="*/ 3992 h 1212769"/>
              <a:gd name="connsiteX1089" fmla="*/ 1146009 w 1491141"/>
              <a:gd name="connsiteY1089" fmla="*/ 3992 h 1212769"/>
              <a:gd name="connsiteX1090" fmla="*/ 1149998 w 1491141"/>
              <a:gd name="connsiteY1090" fmla="*/ 3992 h 1212769"/>
              <a:gd name="connsiteX1091" fmla="*/ 1153988 w 1491141"/>
              <a:gd name="connsiteY1091" fmla="*/ 3992 h 1212769"/>
              <a:gd name="connsiteX1092" fmla="*/ 1159973 w 1491141"/>
              <a:gd name="connsiteY1092" fmla="*/ 1996 h 1212769"/>
              <a:gd name="connsiteX1093" fmla="*/ 1163963 w 1491141"/>
              <a:gd name="connsiteY1093" fmla="*/ 0 h 121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Lst>
            <a:rect l="l" t="t" r="r" b="b"/>
            <a:pathLst>
              <a:path w="1491141" h="1212769">
                <a:moveTo>
                  <a:pt x="1039893" y="1153295"/>
                </a:moveTo>
                <a:cubicBezTo>
                  <a:pt x="1043862" y="1149350"/>
                  <a:pt x="1047831" y="1159212"/>
                  <a:pt x="1047831" y="1161184"/>
                </a:cubicBezTo>
                <a:cubicBezTo>
                  <a:pt x="1049815" y="1165129"/>
                  <a:pt x="1047831" y="1169073"/>
                  <a:pt x="1045846" y="1167101"/>
                </a:cubicBezTo>
                <a:cubicBezTo>
                  <a:pt x="1043862" y="1167101"/>
                  <a:pt x="1043862" y="1165129"/>
                  <a:pt x="1041878" y="1169073"/>
                </a:cubicBezTo>
                <a:cubicBezTo>
                  <a:pt x="1039893" y="1174990"/>
                  <a:pt x="1041878" y="1184852"/>
                  <a:pt x="1041878" y="1184852"/>
                </a:cubicBezTo>
                <a:cubicBezTo>
                  <a:pt x="1041878" y="1184852"/>
                  <a:pt x="1043862" y="1190769"/>
                  <a:pt x="1039893" y="1194714"/>
                </a:cubicBezTo>
                <a:cubicBezTo>
                  <a:pt x="1035925" y="1198658"/>
                  <a:pt x="1027987" y="1200631"/>
                  <a:pt x="1029971" y="1204575"/>
                </a:cubicBezTo>
                <a:cubicBezTo>
                  <a:pt x="1031956" y="1208520"/>
                  <a:pt x="1027987" y="1208520"/>
                  <a:pt x="1024018" y="1208520"/>
                </a:cubicBezTo>
                <a:cubicBezTo>
                  <a:pt x="1020050" y="1206548"/>
                  <a:pt x="1018065" y="1206548"/>
                  <a:pt x="1018065" y="1210492"/>
                </a:cubicBezTo>
                <a:cubicBezTo>
                  <a:pt x="1018065" y="1214437"/>
                  <a:pt x="1010128" y="1212465"/>
                  <a:pt x="1008143" y="1210492"/>
                </a:cubicBezTo>
                <a:cubicBezTo>
                  <a:pt x="1006159" y="1206548"/>
                  <a:pt x="1002190" y="1206548"/>
                  <a:pt x="1000206" y="1208520"/>
                </a:cubicBezTo>
                <a:cubicBezTo>
                  <a:pt x="998221" y="1210492"/>
                  <a:pt x="992268" y="1208520"/>
                  <a:pt x="992268" y="1204575"/>
                </a:cubicBezTo>
                <a:cubicBezTo>
                  <a:pt x="992268" y="1202603"/>
                  <a:pt x="990284" y="1200631"/>
                  <a:pt x="988300" y="1198658"/>
                </a:cubicBezTo>
                <a:cubicBezTo>
                  <a:pt x="986315" y="1194714"/>
                  <a:pt x="986315" y="1192741"/>
                  <a:pt x="986315" y="1192741"/>
                </a:cubicBezTo>
                <a:cubicBezTo>
                  <a:pt x="986315" y="1192741"/>
                  <a:pt x="986315" y="1188797"/>
                  <a:pt x="986315" y="1182880"/>
                </a:cubicBezTo>
                <a:cubicBezTo>
                  <a:pt x="988300" y="1176963"/>
                  <a:pt x="988300" y="1173018"/>
                  <a:pt x="992268" y="1169073"/>
                </a:cubicBezTo>
                <a:cubicBezTo>
                  <a:pt x="996237" y="1165129"/>
                  <a:pt x="1000206" y="1165129"/>
                  <a:pt x="1000206" y="1165129"/>
                </a:cubicBezTo>
                <a:lnTo>
                  <a:pt x="1002190" y="1165129"/>
                </a:lnTo>
                <a:cubicBezTo>
                  <a:pt x="1002190" y="1165129"/>
                  <a:pt x="1000206" y="1161184"/>
                  <a:pt x="1000206" y="1159212"/>
                </a:cubicBezTo>
                <a:cubicBezTo>
                  <a:pt x="1002190" y="1155267"/>
                  <a:pt x="1006159" y="1155267"/>
                  <a:pt x="1008143" y="1157239"/>
                </a:cubicBezTo>
                <a:cubicBezTo>
                  <a:pt x="1008143" y="1159212"/>
                  <a:pt x="1010128" y="1159212"/>
                  <a:pt x="1012112" y="1157239"/>
                </a:cubicBezTo>
                <a:cubicBezTo>
                  <a:pt x="1016081" y="1153295"/>
                  <a:pt x="1018065" y="1155267"/>
                  <a:pt x="1020050" y="1157239"/>
                </a:cubicBezTo>
                <a:cubicBezTo>
                  <a:pt x="1022034" y="1159212"/>
                  <a:pt x="1026003" y="1157239"/>
                  <a:pt x="1026003" y="1155267"/>
                </a:cubicBezTo>
                <a:cubicBezTo>
                  <a:pt x="1027987" y="1153295"/>
                  <a:pt x="1033940" y="1153295"/>
                  <a:pt x="1035925" y="1155267"/>
                </a:cubicBezTo>
                <a:cubicBezTo>
                  <a:pt x="1039893" y="1157239"/>
                  <a:pt x="1037909" y="1153295"/>
                  <a:pt x="1039893" y="1153295"/>
                </a:cubicBezTo>
                <a:close/>
                <a:moveTo>
                  <a:pt x="1163963" y="0"/>
                </a:moveTo>
                <a:cubicBezTo>
                  <a:pt x="1165958" y="0"/>
                  <a:pt x="1167953" y="0"/>
                  <a:pt x="1171943" y="0"/>
                </a:cubicBezTo>
                <a:cubicBezTo>
                  <a:pt x="1173938" y="1996"/>
                  <a:pt x="1177928" y="3992"/>
                  <a:pt x="1177928" y="3992"/>
                </a:cubicBezTo>
                <a:cubicBezTo>
                  <a:pt x="1179923" y="3992"/>
                  <a:pt x="1181918" y="5988"/>
                  <a:pt x="1183913" y="5988"/>
                </a:cubicBezTo>
                <a:cubicBezTo>
                  <a:pt x="1183913" y="5988"/>
                  <a:pt x="1183913" y="5988"/>
                  <a:pt x="1185908" y="7984"/>
                </a:cubicBezTo>
                <a:cubicBezTo>
                  <a:pt x="1187903" y="7984"/>
                  <a:pt x="1189898" y="9980"/>
                  <a:pt x="1191893" y="7984"/>
                </a:cubicBezTo>
                <a:cubicBezTo>
                  <a:pt x="1191893" y="7984"/>
                  <a:pt x="1191893" y="7984"/>
                  <a:pt x="1195883" y="7984"/>
                </a:cubicBezTo>
                <a:cubicBezTo>
                  <a:pt x="1197878" y="7984"/>
                  <a:pt x="1195883" y="7984"/>
                  <a:pt x="1197878" y="7984"/>
                </a:cubicBezTo>
                <a:cubicBezTo>
                  <a:pt x="1199873" y="9980"/>
                  <a:pt x="1201868" y="9980"/>
                  <a:pt x="1201868" y="9980"/>
                </a:cubicBezTo>
                <a:cubicBezTo>
                  <a:pt x="1201868" y="7984"/>
                  <a:pt x="1209848" y="5988"/>
                  <a:pt x="1209848" y="5988"/>
                </a:cubicBezTo>
                <a:cubicBezTo>
                  <a:pt x="1209848" y="5988"/>
                  <a:pt x="1211843" y="7984"/>
                  <a:pt x="1213838" y="7984"/>
                </a:cubicBezTo>
                <a:cubicBezTo>
                  <a:pt x="1213838" y="7984"/>
                  <a:pt x="1215833" y="9980"/>
                  <a:pt x="1217828" y="11977"/>
                </a:cubicBezTo>
                <a:cubicBezTo>
                  <a:pt x="1217828" y="11977"/>
                  <a:pt x="1217828" y="11977"/>
                  <a:pt x="1221818" y="11977"/>
                </a:cubicBezTo>
                <a:cubicBezTo>
                  <a:pt x="1223813" y="11977"/>
                  <a:pt x="1223813" y="13973"/>
                  <a:pt x="1225808" y="15969"/>
                </a:cubicBezTo>
                <a:cubicBezTo>
                  <a:pt x="1227803" y="15969"/>
                  <a:pt x="1227803" y="17965"/>
                  <a:pt x="1229798" y="17965"/>
                </a:cubicBezTo>
                <a:cubicBezTo>
                  <a:pt x="1231793" y="19961"/>
                  <a:pt x="1233788" y="19961"/>
                  <a:pt x="1233788" y="21957"/>
                </a:cubicBezTo>
                <a:cubicBezTo>
                  <a:pt x="1233788" y="21957"/>
                  <a:pt x="1235783" y="21957"/>
                  <a:pt x="1235783" y="23953"/>
                </a:cubicBezTo>
                <a:cubicBezTo>
                  <a:pt x="1237778" y="23953"/>
                  <a:pt x="1235783" y="25949"/>
                  <a:pt x="1237778" y="25949"/>
                </a:cubicBezTo>
                <a:cubicBezTo>
                  <a:pt x="1237778" y="27945"/>
                  <a:pt x="1237778" y="27945"/>
                  <a:pt x="1239773" y="29941"/>
                </a:cubicBezTo>
                <a:cubicBezTo>
                  <a:pt x="1243763" y="29941"/>
                  <a:pt x="1245758" y="29941"/>
                  <a:pt x="1245758" y="33934"/>
                </a:cubicBezTo>
                <a:cubicBezTo>
                  <a:pt x="1245758" y="33934"/>
                  <a:pt x="1245758" y="37926"/>
                  <a:pt x="1245758" y="37926"/>
                </a:cubicBezTo>
                <a:cubicBezTo>
                  <a:pt x="1247753" y="37926"/>
                  <a:pt x="1247753" y="37926"/>
                  <a:pt x="1249748" y="39922"/>
                </a:cubicBezTo>
                <a:cubicBezTo>
                  <a:pt x="1249748" y="41918"/>
                  <a:pt x="1249748" y="43914"/>
                  <a:pt x="1249748" y="43914"/>
                </a:cubicBezTo>
                <a:cubicBezTo>
                  <a:pt x="1249748" y="43914"/>
                  <a:pt x="1249748" y="49903"/>
                  <a:pt x="1249748" y="49903"/>
                </a:cubicBezTo>
                <a:cubicBezTo>
                  <a:pt x="1249748" y="51899"/>
                  <a:pt x="1251743" y="55891"/>
                  <a:pt x="1251743" y="57887"/>
                </a:cubicBezTo>
                <a:cubicBezTo>
                  <a:pt x="1251743" y="57887"/>
                  <a:pt x="1253738" y="59883"/>
                  <a:pt x="1253738" y="59883"/>
                </a:cubicBezTo>
                <a:cubicBezTo>
                  <a:pt x="1253738" y="61879"/>
                  <a:pt x="1251743" y="61879"/>
                  <a:pt x="1253738" y="63875"/>
                </a:cubicBezTo>
                <a:cubicBezTo>
                  <a:pt x="1253738" y="65871"/>
                  <a:pt x="1253738" y="65871"/>
                  <a:pt x="1255733" y="67868"/>
                </a:cubicBezTo>
                <a:cubicBezTo>
                  <a:pt x="1255733" y="67868"/>
                  <a:pt x="1255733" y="67868"/>
                  <a:pt x="1257728" y="67868"/>
                </a:cubicBezTo>
                <a:cubicBezTo>
                  <a:pt x="1259723" y="67868"/>
                  <a:pt x="1259723" y="69864"/>
                  <a:pt x="1259723" y="71860"/>
                </a:cubicBezTo>
                <a:cubicBezTo>
                  <a:pt x="1259723" y="71860"/>
                  <a:pt x="1261718" y="71860"/>
                  <a:pt x="1263713" y="73856"/>
                </a:cubicBezTo>
                <a:cubicBezTo>
                  <a:pt x="1263713" y="73856"/>
                  <a:pt x="1263713" y="75852"/>
                  <a:pt x="1263713" y="77848"/>
                </a:cubicBezTo>
                <a:cubicBezTo>
                  <a:pt x="1263713" y="79844"/>
                  <a:pt x="1263713" y="83836"/>
                  <a:pt x="1263713" y="83836"/>
                </a:cubicBezTo>
                <a:cubicBezTo>
                  <a:pt x="1263713" y="83836"/>
                  <a:pt x="1263713" y="83836"/>
                  <a:pt x="1265708" y="85833"/>
                </a:cubicBezTo>
                <a:cubicBezTo>
                  <a:pt x="1265708" y="85833"/>
                  <a:pt x="1267703" y="85833"/>
                  <a:pt x="1267703" y="87829"/>
                </a:cubicBezTo>
                <a:cubicBezTo>
                  <a:pt x="1269698" y="87829"/>
                  <a:pt x="1271693" y="87829"/>
                  <a:pt x="1271693" y="89825"/>
                </a:cubicBezTo>
                <a:cubicBezTo>
                  <a:pt x="1273688" y="89825"/>
                  <a:pt x="1273688" y="91821"/>
                  <a:pt x="1273688" y="91821"/>
                </a:cubicBezTo>
                <a:cubicBezTo>
                  <a:pt x="1275683" y="95813"/>
                  <a:pt x="1273688" y="95813"/>
                  <a:pt x="1275683" y="97809"/>
                </a:cubicBezTo>
                <a:cubicBezTo>
                  <a:pt x="1275683" y="97809"/>
                  <a:pt x="1277678" y="97809"/>
                  <a:pt x="1277678" y="97809"/>
                </a:cubicBezTo>
                <a:cubicBezTo>
                  <a:pt x="1279673" y="99805"/>
                  <a:pt x="1279673" y="101801"/>
                  <a:pt x="1279673" y="101801"/>
                </a:cubicBezTo>
                <a:cubicBezTo>
                  <a:pt x="1279673" y="101801"/>
                  <a:pt x="1281668" y="105794"/>
                  <a:pt x="1283663" y="107790"/>
                </a:cubicBezTo>
                <a:cubicBezTo>
                  <a:pt x="1283663" y="109786"/>
                  <a:pt x="1285658" y="115774"/>
                  <a:pt x="1285658" y="115774"/>
                </a:cubicBezTo>
                <a:cubicBezTo>
                  <a:pt x="1285658" y="115774"/>
                  <a:pt x="1283663" y="119766"/>
                  <a:pt x="1285658" y="119766"/>
                </a:cubicBezTo>
                <a:cubicBezTo>
                  <a:pt x="1287653" y="121762"/>
                  <a:pt x="1289648" y="121762"/>
                  <a:pt x="1291643" y="123759"/>
                </a:cubicBezTo>
                <a:cubicBezTo>
                  <a:pt x="1291643" y="125755"/>
                  <a:pt x="1293638" y="133739"/>
                  <a:pt x="1297627" y="133739"/>
                </a:cubicBezTo>
                <a:cubicBezTo>
                  <a:pt x="1299622" y="135735"/>
                  <a:pt x="1301617" y="139727"/>
                  <a:pt x="1301617" y="139727"/>
                </a:cubicBezTo>
                <a:cubicBezTo>
                  <a:pt x="1301617" y="139727"/>
                  <a:pt x="1305607" y="139727"/>
                  <a:pt x="1307602" y="139727"/>
                </a:cubicBezTo>
                <a:cubicBezTo>
                  <a:pt x="1309597" y="139727"/>
                  <a:pt x="1311592" y="139727"/>
                  <a:pt x="1311592" y="139727"/>
                </a:cubicBezTo>
                <a:cubicBezTo>
                  <a:pt x="1313587" y="139727"/>
                  <a:pt x="1315582" y="139727"/>
                  <a:pt x="1315582" y="141724"/>
                </a:cubicBezTo>
                <a:cubicBezTo>
                  <a:pt x="1317577" y="143720"/>
                  <a:pt x="1317577" y="147712"/>
                  <a:pt x="1317577" y="147712"/>
                </a:cubicBezTo>
                <a:cubicBezTo>
                  <a:pt x="1319572" y="147712"/>
                  <a:pt x="1319572" y="149708"/>
                  <a:pt x="1321567" y="149708"/>
                </a:cubicBezTo>
                <a:cubicBezTo>
                  <a:pt x="1325557" y="149708"/>
                  <a:pt x="1327552" y="147712"/>
                  <a:pt x="1329547" y="147712"/>
                </a:cubicBezTo>
                <a:cubicBezTo>
                  <a:pt x="1331542" y="147712"/>
                  <a:pt x="1331542" y="147712"/>
                  <a:pt x="1333537" y="149708"/>
                </a:cubicBezTo>
                <a:cubicBezTo>
                  <a:pt x="1335532" y="149708"/>
                  <a:pt x="1337527" y="147712"/>
                  <a:pt x="1339522" y="149708"/>
                </a:cubicBezTo>
                <a:cubicBezTo>
                  <a:pt x="1339522" y="149708"/>
                  <a:pt x="1343512" y="153700"/>
                  <a:pt x="1343512" y="153700"/>
                </a:cubicBezTo>
                <a:cubicBezTo>
                  <a:pt x="1343512" y="153700"/>
                  <a:pt x="1347502" y="153700"/>
                  <a:pt x="1349497" y="153700"/>
                </a:cubicBezTo>
                <a:cubicBezTo>
                  <a:pt x="1349497" y="153700"/>
                  <a:pt x="1353487" y="155696"/>
                  <a:pt x="1353487" y="155696"/>
                </a:cubicBezTo>
                <a:cubicBezTo>
                  <a:pt x="1353487" y="155696"/>
                  <a:pt x="1355482" y="157692"/>
                  <a:pt x="1357477" y="157692"/>
                </a:cubicBezTo>
                <a:cubicBezTo>
                  <a:pt x="1357477" y="157692"/>
                  <a:pt x="1359472" y="159688"/>
                  <a:pt x="1359472" y="159688"/>
                </a:cubicBezTo>
                <a:cubicBezTo>
                  <a:pt x="1359472" y="161685"/>
                  <a:pt x="1361467" y="163681"/>
                  <a:pt x="1361467" y="163681"/>
                </a:cubicBezTo>
                <a:cubicBezTo>
                  <a:pt x="1361467" y="165677"/>
                  <a:pt x="1361467" y="165677"/>
                  <a:pt x="1363462" y="165677"/>
                </a:cubicBezTo>
                <a:cubicBezTo>
                  <a:pt x="1365457" y="167673"/>
                  <a:pt x="1369447" y="165677"/>
                  <a:pt x="1369447" y="165677"/>
                </a:cubicBezTo>
                <a:cubicBezTo>
                  <a:pt x="1369447" y="165677"/>
                  <a:pt x="1375432" y="165677"/>
                  <a:pt x="1375432" y="165677"/>
                </a:cubicBezTo>
                <a:cubicBezTo>
                  <a:pt x="1375432" y="165677"/>
                  <a:pt x="1377427" y="167673"/>
                  <a:pt x="1377427" y="167673"/>
                </a:cubicBezTo>
                <a:cubicBezTo>
                  <a:pt x="1377427" y="169669"/>
                  <a:pt x="1377427" y="171665"/>
                  <a:pt x="1377427" y="171665"/>
                </a:cubicBezTo>
                <a:cubicBezTo>
                  <a:pt x="1377427" y="173661"/>
                  <a:pt x="1377427" y="181646"/>
                  <a:pt x="1377427" y="181646"/>
                </a:cubicBezTo>
                <a:cubicBezTo>
                  <a:pt x="1379422" y="183642"/>
                  <a:pt x="1383412" y="187634"/>
                  <a:pt x="1383412" y="187634"/>
                </a:cubicBezTo>
                <a:cubicBezTo>
                  <a:pt x="1383412" y="189630"/>
                  <a:pt x="1383412" y="193622"/>
                  <a:pt x="1383412" y="193622"/>
                </a:cubicBezTo>
                <a:cubicBezTo>
                  <a:pt x="1383412" y="195618"/>
                  <a:pt x="1381417" y="195618"/>
                  <a:pt x="1383412" y="197615"/>
                </a:cubicBezTo>
                <a:cubicBezTo>
                  <a:pt x="1383412" y="197615"/>
                  <a:pt x="1385407" y="197615"/>
                  <a:pt x="1385407" y="197615"/>
                </a:cubicBezTo>
                <a:cubicBezTo>
                  <a:pt x="1387402" y="197615"/>
                  <a:pt x="1387402" y="197615"/>
                  <a:pt x="1387402" y="199611"/>
                </a:cubicBezTo>
                <a:cubicBezTo>
                  <a:pt x="1387402" y="199611"/>
                  <a:pt x="1389397" y="199611"/>
                  <a:pt x="1389397" y="201607"/>
                </a:cubicBezTo>
                <a:cubicBezTo>
                  <a:pt x="1391392" y="201607"/>
                  <a:pt x="1391392" y="203603"/>
                  <a:pt x="1391392" y="205599"/>
                </a:cubicBezTo>
                <a:cubicBezTo>
                  <a:pt x="1391392" y="205599"/>
                  <a:pt x="1391392" y="207595"/>
                  <a:pt x="1393387" y="207595"/>
                </a:cubicBezTo>
                <a:cubicBezTo>
                  <a:pt x="1393387" y="209591"/>
                  <a:pt x="1393387" y="209591"/>
                  <a:pt x="1395382" y="209591"/>
                </a:cubicBezTo>
                <a:cubicBezTo>
                  <a:pt x="1395382" y="211587"/>
                  <a:pt x="1397377" y="211587"/>
                  <a:pt x="1397377" y="211587"/>
                </a:cubicBezTo>
                <a:cubicBezTo>
                  <a:pt x="1399372" y="211587"/>
                  <a:pt x="1399372" y="209591"/>
                  <a:pt x="1401367" y="209591"/>
                </a:cubicBezTo>
                <a:cubicBezTo>
                  <a:pt x="1401367" y="209591"/>
                  <a:pt x="1403362" y="209591"/>
                  <a:pt x="1403362" y="209591"/>
                </a:cubicBezTo>
                <a:cubicBezTo>
                  <a:pt x="1403362" y="209591"/>
                  <a:pt x="1405357" y="209591"/>
                  <a:pt x="1407352" y="211587"/>
                </a:cubicBezTo>
                <a:cubicBezTo>
                  <a:pt x="1407352" y="211587"/>
                  <a:pt x="1407352" y="211587"/>
                  <a:pt x="1409347" y="211587"/>
                </a:cubicBezTo>
                <a:cubicBezTo>
                  <a:pt x="1411342" y="213583"/>
                  <a:pt x="1411342" y="213583"/>
                  <a:pt x="1413337" y="211587"/>
                </a:cubicBezTo>
                <a:cubicBezTo>
                  <a:pt x="1415332" y="211587"/>
                  <a:pt x="1415332" y="211587"/>
                  <a:pt x="1417327" y="211587"/>
                </a:cubicBezTo>
                <a:cubicBezTo>
                  <a:pt x="1417327" y="211587"/>
                  <a:pt x="1421317" y="211587"/>
                  <a:pt x="1421317" y="211587"/>
                </a:cubicBezTo>
                <a:cubicBezTo>
                  <a:pt x="1421317" y="211587"/>
                  <a:pt x="1421317" y="211587"/>
                  <a:pt x="1423312" y="211587"/>
                </a:cubicBezTo>
                <a:cubicBezTo>
                  <a:pt x="1427302" y="213583"/>
                  <a:pt x="1429297" y="213583"/>
                  <a:pt x="1433287" y="213583"/>
                </a:cubicBezTo>
                <a:cubicBezTo>
                  <a:pt x="1435282" y="213583"/>
                  <a:pt x="1437277" y="213583"/>
                  <a:pt x="1437277" y="211587"/>
                </a:cubicBezTo>
                <a:cubicBezTo>
                  <a:pt x="1437277" y="211587"/>
                  <a:pt x="1437277" y="207595"/>
                  <a:pt x="1437277" y="207595"/>
                </a:cubicBezTo>
                <a:cubicBezTo>
                  <a:pt x="1439272" y="205599"/>
                  <a:pt x="1439272" y="203603"/>
                  <a:pt x="1439272" y="203603"/>
                </a:cubicBezTo>
                <a:cubicBezTo>
                  <a:pt x="1441267" y="203603"/>
                  <a:pt x="1441267" y="203603"/>
                  <a:pt x="1443262" y="203603"/>
                </a:cubicBezTo>
                <a:cubicBezTo>
                  <a:pt x="1443262" y="203603"/>
                  <a:pt x="1445256" y="203603"/>
                  <a:pt x="1445256" y="203603"/>
                </a:cubicBezTo>
                <a:cubicBezTo>
                  <a:pt x="1445256" y="203603"/>
                  <a:pt x="1449246" y="201607"/>
                  <a:pt x="1449246" y="201607"/>
                </a:cubicBezTo>
                <a:cubicBezTo>
                  <a:pt x="1451241" y="201607"/>
                  <a:pt x="1451241" y="199611"/>
                  <a:pt x="1453236" y="199611"/>
                </a:cubicBezTo>
                <a:cubicBezTo>
                  <a:pt x="1453236" y="197615"/>
                  <a:pt x="1455231" y="197615"/>
                  <a:pt x="1455231" y="197615"/>
                </a:cubicBezTo>
                <a:cubicBezTo>
                  <a:pt x="1457226" y="195618"/>
                  <a:pt x="1457226" y="195618"/>
                  <a:pt x="1459221" y="193622"/>
                </a:cubicBezTo>
                <a:cubicBezTo>
                  <a:pt x="1459221" y="193622"/>
                  <a:pt x="1461216" y="193622"/>
                  <a:pt x="1463211" y="193622"/>
                </a:cubicBezTo>
                <a:cubicBezTo>
                  <a:pt x="1463211" y="193622"/>
                  <a:pt x="1467201" y="193622"/>
                  <a:pt x="1467201" y="193622"/>
                </a:cubicBezTo>
                <a:cubicBezTo>
                  <a:pt x="1467201" y="193622"/>
                  <a:pt x="1469196" y="193622"/>
                  <a:pt x="1469196" y="191626"/>
                </a:cubicBezTo>
                <a:cubicBezTo>
                  <a:pt x="1471191" y="191626"/>
                  <a:pt x="1471191" y="189630"/>
                  <a:pt x="1471191" y="189630"/>
                </a:cubicBezTo>
                <a:cubicBezTo>
                  <a:pt x="1471191" y="189630"/>
                  <a:pt x="1473186" y="187634"/>
                  <a:pt x="1475181" y="187634"/>
                </a:cubicBezTo>
                <a:cubicBezTo>
                  <a:pt x="1475181" y="189630"/>
                  <a:pt x="1477176" y="187634"/>
                  <a:pt x="1479171" y="187634"/>
                </a:cubicBezTo>
                <a:cubicBezTo>
                  <a:pt x="1481166" y="189630"/>
                  <a:pt x="1483161" y="189630"/>
                  <a:pt x="1485156" y="189630"/>
                </a:cubicBezTo>
                <a:cubicBezTo>
                  <a:pt x="1485156" y="191626"/>
                  <a:pt x="1487151" y="193622"/>
                  <a:pt x="1487151" y="193622"/>
                </a:cubicBezTo>
                <a:cubicBezTo>
                  <a:pt x="1487151" y="193622"/>
                  <a:pt x="1487151" y="197615"/>
                  <a:pt x="1487151" y="197615"/>
                </a:cubicBezTo>
                <a:cubicBezTo>
                  <a:pt x="1487151" y="199611"/>
                  <a:pt x="1487151" y="199611"/>
                  <a:pt x="1487151" y="201607"/>
                </a:cubicBezTo>
                <a:cubicBezTo>
                  <a:pt x="1487151" y="201607"/>
                  <a:pt x="1485156" y="203603"/>
                  <a:pt x="1485156" y="203603"/>
                </a:cubicBezTo>
                <a:cubicBezTo>
                  <a:pt x="1485156" y="205599"/>
                  <a:pt x="1485156" y="207595"/>
                  <a:pt x="1485156" y="209591"/>
                </a:cubicBezTo>
                <a:cubicBezTo>
                  <a:pt x="1485156" y="209591"/>
                  <a:pt x="1489146" y="211587"/>
                  <a:pt x="1489146" y="211587"/>
                </a:cubicBezTo>
                <a:cubicBezTo>
                  <a:pt x="1489146" y="211587"/>
                  <a:pt x="1491141" y="211587"/>
                  <a:pt x="1491141" y="211587"/>
                </a:cubicBezTo>
                <a:cubicBezTo>
                  <a:pt x="1491141" y="213583"/>
                  <a:pt x="1491141" y="217576"/>
                  <a:pt x="1491141" y="217576"/>
                </a:cubicBezTo>
                <a:cubicBezTo>
                  <a:pt x="1491141" y="217576"/>
                  <a:pt x="1491141" y="221568"/>
                  <a:pt x="1491141" y="221568"/>
                </a:cubicBezTo>
                <a:cubicBezTo>
                  <a:pt x="1491141" y="223564"/>
                  <a:pt x="1491141" y="225560"/>
                  <a:pt x="1491141" y="227556"/>
                </a:cubicBezTo>
                <a:cubicBezTo>
                  <a:pt x="1491141" y="227556"/>
                  <a:pt x="1487151" y="231548"/>
                  <a:pt x="1487151" y="231548"/>
                </a:cubicBezTo>
                <a:cubicBezTo>
                  <a:pt x="1487151" y="231548"/>
                  <a:pt x="1485156" y="233544"/>
                  <a:pt x="1485156" y="235541"/>
                </a:cubicBezTo>
                <a:cubicBezTo>
                  <a:pt x="1485156" y="235541"/>
                  <a:pt x="1483161" y="239533"/>
                  <a:pt x="1483161" y="239533"/>
                </a:cubicBezTo>
                <a:cubicBezTo>
                  <a:pt x="1483161" y="241529"/>
                  <a:pt x="1483161" y="243525"/>
                  <a:pt x="1483161" y="245521"/>
                </a:cubicBezTo>
                <a:cubicBezTo>
                  <a:pt x="1483161" y="245521"/>
                  <a:pt x="1485156" y="247517"/>
                  <a:pt x="1483161" y="249513"/>
                </a:cubicBezTo>
                <a:cubicBezTo>
                  <a:pt x="1483161" y="249513"/>
                  <a:pt x="1479171" y="249513"/>
                  <a:pt x="1479171" y="249513"/>
                </a:cubicBezTo>
                <a:cubicBezTo>
                  <a:pt x="1479171" y="251509"/>
                  <a:pt x="1481166" y="253506"/>
                  <a:pt x="1481166" y="253506"/>
                </a:cubicBezTo>
                <a:cubicBezTo>
                  <a:pt x="1481166" y="255502"/>
                  <a:pt x="1481166" y="259494"/>
                  <a:pt x="1481166" y="259494"/>
                </a:cubicBezTo>
                <a:cubicBezTo>
                  <a:pt x="1481166" y="261490"/>
                  <a:pt x="1481166" y="265482"/>
                  <a:pt x="1481166" y="267478"/>
                </a:cubicBezTo>
                <a:cubicBezTo>
                  <a:pt x="1481166" y="267478"/>
                  <a:pt x="1481166" y="273467"/>
                  <a:pt x="1481166" y="275463"/>
                </a:cubicBezTo>
                <a:cubicBezTo>
                  <a:pt x="1483161" y="277459"/>
                  <a:pt x="1483161" y="279455"/>
                  <a:pt x="1481166" y="281451"/>
                </a:cubicBezTo>
                <a:cubicBezTo>
                  <a:pt x="1481166" y="283447"/>
                  <a:pt x="1481166" y="287439"/>
                  <a:pt x="1479171" y="289435"/>
                </a:cubicBezTo>
                <a:cubicBezTo>
                  <a:pt x="1479171" y="289435"/>
                  <a:pt x="1479171" y="293428"/>
                  <a:pt x="1479171" y="293428"/>
                </a:cubicBezTo>
                <a:cubicBezTo>
                  <a:pt x="1477176" y="295424"/>
                  <a:pt x="1477176" y="295424"/>
                  <a:pt x="1477176" y="297420"/>
                </a:cubicBezTo>
                <a:cubicBezTo>
                  <a:pt x="1475181" y="297420"/>
                  <a:pt x="1473186" y="297420"/>
                  <a:pt x="1473186" y="299416"/>
                </a:cubicBezTo>
                <a:cubicBezTo>
                  <a:pt x="1473186" y="299416"/>
                  <a:pt x="1473186" y="299416"/>
                  <a:pt x="1473186" y="301412"/>
                </a:cubicBezTo>
                <a:cubicBezTo>
                  <a:pt x="1473186" y="303408"/>
                  <a:pt x="1473186" y="305404"/>
                  <a:pt x="1473186" y="305404"/>
                </a:cubicBezTo>
                <a:cubicBezTo>
                  <a:pt x="1471191" y="305404"/>
                  <a:pt x="1471191" y="307400"/>
                  <a:pt x="1471191" y="307400"/>
                </a:cubicBezTo>
                <a:cubicBezTo>
                  <a:pt x="1471191" y="307400"/>
                  <a:pt x="1467201" y="309397"/>
                  <a:pt x="1467201" y="309397"/>
                </a:cubicBezTo>
                <a:cubicBezTo>
                  <a:pt x="1465206" y="311393"/>
                  <a:pt x="1463211" y="313389"/>
                  <a:pt x="1461216" y="313389"/>
                </a:cubicBezTo>
                <a:cubicBezTo>
                  <a:pt x="1461216" y="313389"/>
                  <a:pt x="1459221" y="315385"/>
                  <a:pt x="1459221" y="317381"/>
                </a:cubicBezTo>
                <a:cubicBezTo>
                  <a:pt x="1459221" y="319377"/>
                  <a:pt x="1459221" y="321373"/>
                  <a:pt x="1459221" y="321373"/>
                </a:cubicBezTo>
                <a:cubicBezTo>
                  <a:pt x="1459221" y="323369"/>
                  <a:pt x="1459221" y="325365"/>
                  <a:pt x="1459221" y="325365"/>
                </a:cubicBezTo>
                <a:cubicBezTo>
                  <a:pt x="1459221" y="325365"/>
                  <a:pt x="1461216" y="329358"/>
                  <a:pt x="1459221" y="331354"/>
                </a:cubicBezTo>
                <a:cubicBezTo>
                  <a:pt x="1459221" y="331354"/>
                  <a:pt x="1455231" y="333350"/>
                  <a:pt x="1455231" y="333350"/>
                </a:cubicBezTo>
                <a:cubicBezTo>
                  <a:pt x="1453236" y="333350"/>
                  <a:pt x="1449246" y="331354"/>
                  <a:pt x="1449246" y="331354"/>
                </a:cubicBezTo>
                <a:cubicBezTo>
                  <a:pt x="1447251" y="331354"/>
                  <a:pt x="1447251" y="331354"/>
                  <a:pt x="1445256" y="331354"/>
                </a:cubicBezTo>
                <a:cubicBezTo>
                  <a:pt x="1445256" y="329358"/>
                  <a:pt x="1443262" y="325365"/>
                  <a:pt x="1443262" y="325365"/>
                </a:cubicBezTo>
                <a:cubicBezTo>
                  <a:pt x="1443262" y="325365"/>
                  <a:pt x="1441267" y="323369"/>
                  <a:pt x="1439272" y="323369"/>
                </a:cubicBezTo>
                <a:cubicBezTo>
                  <a:pt x="1439272" y="321373"/>
                  <a:pt x="1437277" y="321373"/>
                  <a:pt x="1437277" y="321373"/>
                </a:cubicBezTo>
                <a:cubicBezTo>
                  <a:pt x="1437277" y="319377"/>
                  <a:pt x="1433287" y="319377"/>
                  <a:pt x="1433287" y="319377"/>
                </a:cubicBezTo>
                <a:cubicBezTo>
                  <a:pt x="1433287" y="319377"/>
                  <a:pt x="1433287" y="319377"/>
                  <a:pt x="1433287" y="315385"/>
                </a:cubicBezTo>
                <a:cubicBezTo>
                  <a:pt x="1433287" y="315385"/>
                  <a:pt x="1429297" y="317381"/>
                  <a:pt x="1429297" y="317381"/>
                </a:cubicBezTo>
                <a:cubicBezTo>
                  <a:pt x="1429297" y="317381"/>
                  <a:pt x="1425307" y="319377"/>
                  <a:pt x="1425307" y="319377"/>
                </a:cubicBezTo>
                <a:cubicBezTo>
                  <a:pt x="1425307" y="319377"/>
                  <a:pt x="1421317" y="319377"/>
                  <a:pt x="1421317" y="321373"/>
                </a:cubicBezTo>
                <a:cubicBezTo>
                  <a:pt x="1421317" y="321373"/>
                  <a:pt x="1419322" y="323369"/>
                  <a:pt x="1419322" y="323369"/>
                </a:cubicBezTo>
                <a:cubicBezTo>
                  <a:pt x="1419322" y="325365"/>
                  <a:pt x="1421317" y="323369"/>
                  <a:pt x="1423312" y="325365"/>
                </a:cubicBezTo>
                <a:cubicBezTo>
                  <a:pt x="1423312" y="327362"/>
                  <a:pt x="1427302" y="331354"/>
                  <a:pt x="1427302" y="333350"/>
                </a:cubicBezTo>
                <a:cubicBezTo>
                  <a:pt x="1427302" y="333350"/>
                  <a:pt x="1429297" y="337342"/>
                  <a:pt x="1431292" y="339338"/>
                </a:cubicBezTo>
                <a:cubicBezTo>
                  <a:pt x="1431292" y="341334"/>
                  <a:pt x="1433287" y="343330"/>
                  <a:pt x="1433287" y="345327"/>
                </a:cubicBezTo>
                <a:cubicBezTo>
                  <a:pt x="1433287" y="347323"/>
                  <a:pt x="1435282" y="349319"/>
                  <a:pt x="1435282" y="349319"/>
                </a:cubicBezTo>
                <a:cubicBezTo>
                  <a:pt x="1435282" y="349319"/>
                  <a:pt x="1437277" y="351315"/>
                  <a:pt x="1437277" y="353311"/>
                </a:cubicBezTo>
                <a:cubicBezTo>
                  <a:pt x="1437277" y="355307"/>
                  <a:pt x="1435282" y="355307"/>
                  <a:pt x="1437277" y="357303"/>
                </a:cubicBezTo>
                <a:cubicBezTo>
                  <a:pt x="1437277" y="357303"/>
                  <a:pt x="1435282" y="363291"/>
                  <a:pt x="1435282" y="363291"/>
                </a:cubicBezTo>
                <a:cubicBezTo>
                  <a:pt x="1437277" y="363291"/>
                  <a:pt x="1437277" y="365288"/>
                  <a:pt x="1439272" y="365288"/>
                </a:cubicBezTo>
                <a:cubicBezTo>
                  <a:pt x="1439272" y="367284"/>
                  <a:pt x="1439272" y="369280"/>
                  <a:pt x="1439272" y="371276"/>
                </a:cubicBezTo>
                <a:cubicBezTo>
                  <a:pt x="1439272" y="371276"/>
                  <a:pt x="1441267" y="375268"/>
                  <a:pt x="1441267" y="377264"/>
                </a:cubicBezTo>
                <a:cubicBezTo>
                  <a:pt x="1441267" y="377264"/>
                  <a:pt x="1441267" y="379260"/>
                  <a:pt x="1443262" y="379260"/>
                </a:cubicBezTo>
                <a:cubicBezTo>
                  <a:pt x="1443262" y="381256"/>
                  <a:pt x="1445256" y="381256"/>
                  <a:pt x="1445256" y="383253"/>
                </a:cubicBezTo>
                <a:cubicBezTo>
                  <a:pt x="1447251" y="383253"/>
                  <a:pt x="1449246" y="383253"/>
                  <a:pt x="1449246" y="385249"/>
                </a:cubicBezTo>
                <a:cubicBezTo>
                  <a:pt x="1449246" y="385249"/>
                  <a:pt x="1451241" y="391237"/>
                  <a:pt x="1451241" y="391237"/>
                </a:cubicBezTo>
                <a:cubicBezTo>
                  <a:pt x="1451241" y="391237"/>
                  <a:pt x="1451241" y="391237"/>
                  <a:pt x="1449246" y="393233"/>
                </a:cubicBezTo>
                <a:cubicBezTo>
                  <a:pt x="1449246" y="393233"/>
                  <a:pt x="1449246" y="395229"/>
                  <a:pt x="1449246" y="397225"/>
                </a:cubicBezTo>
                <a:cubicBezTo>
                  <a:pt x="1445256" y="401218"/>
                  <a:pt x="1445256" y="399221"/>
                  <a:pt x="1441267" y="397225"/>
                </a:cubicBezTo>
                <a:cubicBezTo>
                  <a:pt x="1441267" y="397225"/>
                  <a:pt x="1441267" y="397225"/>
                  <a:pt x="1439272" y="397225"/>
                </a:cubicBezTo>
                <a:cubicBezTo>
                  <a:pt x="1437277" y="397225"/>
                  <a:pt x="1437277" y="399221"/>
                  <a:pt x="1437277" y="401218"/>
                </a:cubicBezTo>
                <a:cubicBezTo>
                  <a:pt x="1435282" y="401218"/>
                  <a:pt x="1433287" y="401218"/>
                  <a:pt x="1433287" y="399221"/>
                </a:cubicBezTo>
                <a:cubicBezTo>
                  <a:pt x="1431292" y="397225"/>
                  <a:pt x="1431292" y="391237"/>
                  <a:pt x="1429297" y="389241"/>
                </a:cubicBezTo>
                <a:cubicBezTo>
                  <a:pt x="1429297" y="389241"/>
                  <a:pt x="1425307" y="385249"/>
                  <a:pt x="1425307" y="383253"/>
                </a:cubicBezTo>
                <a:cubicBezTo>
                  <a:pt x="1425307" y="383253"/>
                  <a:pt x="1423312" y="383253"/>
                  <a:pt x="1421317" y="383253"/>
                </a:cubicBezTo>
                <a:cubicBezTo>
                  <a:pt x="1421317" y="383253"/>
                  <a:pt x="1419322" y="383253"/>
                  <a:pt x="1417327" y="383253"/>
                </a:cubicBezTo>
                <a:cubicBezTo>
                  <a:pt x="1415332" y="383253"/>
                  <a:pt x="1415332" y="385249"/>
                  <a:pt x="1415332" y="385249"/>
                </a:cubicBezTo>
                <a:cubicBezTo>
                  <a:pt x="1415332" y="387245"/>
                  <a:pt x="1413337" y="389241"/>
                  <a:pt x="1413337" y="389241"/>
                </a:cubicBezTo>
                <a:cubicBezTo>
                  <a:pt x="1413337" y="389241"/>
                  <a:pt x="1409347" y="391237"/>
                  <a:pt x="1407352" y="393233"/>
                </a:cubicBezTo>
                <a:cubicBezTo>
                  <a:pt x="1407352" y="393233"/>
                  <a:pt x="1401367" y="395229"/>
                  <a:pt x="1401367" y="395229"/>
                </a:cubicBezTo>
                <a:cubicBezTo>
                  <a:pt x="1399372" y="397225"/>
                  <a:pt x="1397377" y="399221"/>
                  <a:pt x="1397377" y="401218"/>
                </a:cubicBezTo>
                <a:cubicBezTo>
                  <a:pt x="1397377" y="403214"/>
                  <a:pt x="1395382" y="409202"/>
                  <a:pt x="1393387" y="409202"/>
                </a:cubicBezTo>
                <a:cubicBezTo>
                  <a:pt x="1393387" y="411198"/>
                  <a:pt x="1391392" y="413194"/>
                  <a:pt x="1389397" y="413194"/>
                </a:cubicBezTo>
                <a:cubicBezTo>
                  <a:pt x="1387402" y="413194"/>
                  <a:pt x="1381417" y="415190"/>
                  <a:pt x="1379422" y="415190"/>
                </a:cubicBezTo>
                <a:cubicBezTo>
                  <a:pt x="1375432" y="415190"/>
                  <a:pt x="1373437" y="417186"/>
                  <a:pt x="1373437" y="417186"/>
                </a:cubicBezTo>
                <a:cubicBezTo>
                  <a:pt x="1371442" y="417186"/>
                  <a:pt x="1371442" y="421179"/>
                  <a:pt x="1371442" y="425171"/>
                </a:cubicBezTo>
                <a:cubicBezTo>
                  <a:pt x="1371442" y="427167"/>
                  <a:pt x="1371442" y="431159"/>
                  <a:pt x="1371442" y="433155"/>
                </a:cubicBezTo>
                <a:cubicBezTo>
                  <a:pt x="1369447" y="435151"/>
                  <a:pt x="1365457" y="437147"/>
                  <a:pt x="1363462" y="439144"/>
                </a:cubicBezTo>
                <a:cubicBezTo>
                  <a:pt x="1361467" y="439144"/>
                  <a:pt x="1357477" y="437147"/>
                  <a:pt x="1357477" y="435151"/>
                </a:cubicBezTo>
                <a:cubicBezTo>
                  <a:pt x="1355482" y="435151"/>
                  <a:pt x="1349497" y="425171"/>
                  <a:pt x="1349497" y="423175"/>
                </a:cubicBezTo>
                <a:cubicBezTo>
                  <a:pt x="1347502" y="421179"/>
                  <a:pt x="1343512" y="419183"/>
                  <a:pt x="1341517" y="419183"/>
                </a:cubicBezTo>
                <a:cubicBezTo>
                  <a:pt x="1339522" y="419183"/>
                  <a:pt x="1335532" y="421179"/>
                  <a:pt x="1335532" y="425171"/>
                </a:cubicBezTo>
                <a:cubicBezTo>
                  <a:pt x="1335532" y="427167"/>
                  <a:pt x="1337527" y="435151"/>
                  <a:pt x="1337527" y="437147"/>
                </a:cubicBezTo>
                <a:cubicBezTo>
                  <a:pt x="1337527" y="439144"/>
                  <a:pt x="1335532" y="443136"/>
                  <a:pt x="1335532" y="443136"/>
                </a:cubicBezTo>
                <a:cubicBezTo>
                  <a:pt x="1335532" y="443136"/>
                  <a:pt x="1335532" y="443136"/>
                  <a:pt x="1331542" y="443136"/>
                </a:cubicBezTo>
                <a:cubicBezTo>
                  <a:pt x="1331542" y="443136"/>
                  <a:pt x="1331542" y="451120"/>
                  <a:pt x="1331542" y="453116"/>
                </a:cubicBezTo>
                <a:cubicBezTo>
                  <a:pt x="1331542" y="453116"/>
                  <a:pt x="1321567" y="459105"/>
                  <a:pt x="1321567" y="461101"/>
                </a:cubicBezTo>
                <a:cubicBezTo>
                  <a:pt x="1319572" y="461101"/>
                  <a:pt x="1315582" y="465093"/>
                  <a:pt x="1313587" y="467089"/>
                </a:cubicBezTo>
                <a:cubicBezTo>
                  <a:pt x="1313587" y="469085"/>
                  <a:pt x="1309597" y="473077"/>
                  <a:pt x="1309597" y="473077"/>
                </a:cubicBezTo>
                <a:cubicBezTo>
                  <a:pt x="1309597" y="475074"/>
                  <a:pt x="1307602" y="479066"/>
                  <a:pt x="1307602" y="481062"/>
                </a:cubicBezTo>
                <a:cubicBezTo>
                  <a:pt x="1307602" y="483058"/>
                  <a:pt x="1305607" y="483058"/>
                  <a:pt x="1305607" y="483058"/>
                </a:cubicBezTo>
                <a:cubicBezTo>
                  <a:pt x="1305607" y="483058"/>
                  <a:pt x="1303612" y="483058"/>
                  <a:pt x="1303612" y="485054"/>
                </a:cubicBezTo>
                <a:cubicBezTo>
                  <a:pt x="1303612" y="485054"/>
                  <a:pt x="1305607" y="487050"/>
                  <a:pt x="1305607" y="487050"/>
                </a:cubicBezTo>
                <a:cubicBezTo>
                  <a:pt x="1305607" y="489046"/>
                  <a:pt x="1305607" y="489046"/>
                  <a:pt x="1305607" y="489046"/>
                </a:cubicBezTo>
                <a:cubicBezTo>
                  <a:pt x="1301617" y="489046"/>
                  <a:pt x="1299622" y="489046"/>
                  <a:pt x="1297627" y="491042"/>
                </a:cubicBezTo>
                <a:cubicBezTo>
                  <a:pt x="1295632" y="493038"/>
                  <a:pt x="1293638" y="491042"/>
                  <a:pt x="1289648" y="491042"/>
                </a:cubicBezTo>
                <a:cubicBezTo>
                  <a:pt x="1285658" y="489046"/>
                  <a:pt x="1279673" y="495035"/>
                  <a:pt x="1277678" y="497031"/>
                </a:cubicBezTo>
                <a:cubicBezTo>
                  <a:pt x="1277678" y="499027"/>
                  <a:pt x="1271693" y="499027"/>
                  <a:pt x="1269698" y="499027"/>
                </a:cubicBezTo>
                <a:cubicBezTo>
                  <a:pt x="1267703" y="497031"/>
                  <a:pt x="1261718" y="503019"/>
                  <a:pt x="1261718" y="505015"/>
                </a:cubicBezTo>
                <a:cubicBezTo>
                  <a:pt x="1259723" y="507011"/>
                  <a:pt x="1251743" y="514996"/>
                  <a:pt x="1247753" y="516992"/>
                </a:cubicBezTo>
                <a:cubicBezTo>
                  <a:pt x="1245758" y="518988"/>
                  <a:pt x="1239773" y="524976"/>
                  <a:pt x="1239773" y="524976"/>
                </a:cubicBezTo>
                <a:cubicBezTo>
                  <a:pt x="1239773" y="524976"/>
                  <a:pt x="1233788" y="532961"/>
                  <a:pt x="1229798" y="528968"/>
                </a:cubicBezTo>
                <a:cubicBezTo>
                  <a:pt x="1227803" y="526972"/>
                  <a:pt x="1235783" y="516992"/>
                  <a:pt x="1235783" y="516992"/>
                </a:cubicBezTo>
                <a:cubicBezTo>
                  <a:pt x="1235783" y="516992"/>
                  <a:pt x="1237778" y="513000"/>
                  <a:pt x="1239773" y="511003"/>
                </a:cubicBezTo>
                <a:cubicBezTo>
                  <a:pt x="1241768" y="509007"/>
                  <a:pt x="1237778" y="507011"/>
                  <a:pt x="1233788" y="507011"/>
                </a:cubicBezTo>
                <a:cubicBezTo>
                  <a:pt x="1229798" y="507011"/>
                  <a:pt x="1231793" y="501023"/>
                  <a:pt x="1229798" y="495035"/>
                </a:cubicBezTo>
                <a:cubicBezTo>
                  <a:pt x="1229798" y="489046"/>
                  <a:pt x="1233788" y="487050"/>
                  <a:pt x="1237778" y="487050"/>
                </a:cubicBezTo>
                <a:cubicBezTo>
                  <a:pt x="1241768" y="487050"/>
                  <a:pt x="1243763" y="485054"/>
                  <a:pt x="1245758" y="481062"/>
                </a:cubicBezTo>
                <a:cubicBezTo>
                  <a:pt x="1247753" y="479066"/>
                  <a:pt x="1247753" y="471081"/>
                  <a:pt x="1245758" y="467089"/>
                </a:cubicBezTo>
                <a:cubicBezTo>
                  <a:pt x="1243763" y="463097"/>
                  <a:pt x="1241768" y="465093"/>
                  <a:pt x="1237778" y="461101"/>
                </a:cubicBezTo>
                <a:cubicBezTo>
                  <a:pt x="1233788" y="455112"/>
                  <a:pt x="1235783" y="453116"/>
                  <a:pt x="1235783" y="451120"/>
                </a:cubicBezTo>
                <a:cubicBezTo>
                  <a:pt x="1235783" y="447128"/>
                  <a:pt x="1233788" y="449124"/>
                  <a:pt x="1231793" y="451120"/>
                </a:cubicBezTo>
                <a:cubicBezTo>
                  <a:pt x="1231793" y="453116"/>
                  <a:pt x="1229798" y="455112"/>
                  <a:pt x="1225808" y="453116"/>
                </a:cubicBezTo>
                <a:cubicBezTo>
                  <a:pt x="1221818" y="453116"/>
                  <a:pt x="1215833" y="455112"/>
                  <a:pt x="1211843" y="459105"/>
                </a:cubicBezTo>
                <a:cubicBezTo>
                  <a:pt x="1207853" y="463097"/>
                  <a:pt x="1207853" y="467089"/>
                  <a:pt x="1207853" y="473077"/>
                </a:cubicBezTo>
                <a:cubicBezTo>
                  <a:pt x="1207853" y="479066"/>
                  <a:pt x="1195883" y="483058"/>
                  <a:pt x="1193888" y="485054"/>
                </a:cubicBezTo>
                <a:cubicBezTo>
                  <a:pt x="1189898" y="487050"/>
                  <a:pt x="1187903" y="493038"/>
                  <a:pt x="1183913" y="497031"/>
                </a:cubicBezTo>
                <a:cubicBezTo>
                  <a:pt x="1177928" y="501023"/>
                  <a:pt x="1177928" y="511003"/>
                  <a:pt x="1177928" y="514996"/>
                </a:cubicBezTo>
                <a:cubicBezTo>
                  <a:pt x="1177928" y="518988"/>
                  <a:pt x="1169948" y="520984"/>
                  <a:pt x="1167953" y="518988"/>
                </a:cubicBezTo>
                <a:cubicBezTo>
                  <a:pt x="1167953" y="516992"/>
                  <a:pt x="1167953" y="518988"/>
                  <a:pt x="1165958" y="518988"/>
                </a:cubicBezTo>
                <a:cubicBezTo>
                  <a:pt x="1161968" y="518988"/>
                  <a:pt x="1157978" y="518988"/>
                  <a:pt x="1157978" y="518988"/>
                </a:cubicBezTo>
                <a:cubicBezTo>
                  <a:pt x="1155983" y="516992"/>
                  <a:pt x="1151993" y="514996"/>
                  <a:pt x="1149998" y="514996"/>
                </a:cubicBezTo>
                <a:cubicBezTo>
                  <a:pt x="1146009" y="514996"/>
                  <a:pt x="1144014" y="524976"/>
                  <a:pt x="1144014" y="524976"/>
                </a:cubicBezTo>
                <a:cubicBezTo>
                  <a:pt x="1144014" y="524976"/>
                  <a:pt x="1144014" y="530965"/>
                  <a:pt x="1144014" y="532961"/>
                </a:cubicBezTo>
                <a:cubicBezTo>
                  <a:pt x="1142019" y="536953"/>
                  <a:pt x="1142019" y="536953"/>
                  <a:pt x="1144014" y="538949"/>
                </a:cubicBezTo>
                <a:cubicBezTo>
                  <a:pt x="1146009" y="540945"/>
                  <a:pt x="1149998" y="548929"/>
                  <a:pt x="1151993" y="550926"/>
                </a:cubicBezTo>
                <a:cubicBezTo>
                  <a:pt x="1153988" y="552922"/>
                  <a:pt x="1159973" y="552922"/>
                  <a:pt x="1159973" y="550926"/>
                </a:cubicBezTo>
                <a:cubicBezTo>
                  <a:pt x="1161968" y="546933"/>
                  <a:pt x="1163963" y="548929"/>
                  <a:pt x="1171943" y="548929"/>
                </a:cubicBezTo>
                <a:cubicBezTo>
                  <a:pt x="1179923" y="548929"/>
                  <a:pt x="1179923" y="548929"/>
                  <a:pt x="1181918" y="554918"/>
                </a:cubicBezTo>
                <a:cubicBezTo>
                  <a:pt x="1183913" y="560906"/>
                  <a:pt x="1181918" y="566894"/>
                  <a:pt x="1181918" y="566894"/>
                </a:cubicBezTo>
                <a:cubicBezTo>
                  <a:pt x="1181918" y="566894"/>
                  <a:pt x="1181918" y="568891"/>
                  <a:pt x="1183913" y="572883"/>
                </a:cubicBezTo>
                <a:cubicBezTo>
                  <a:pt x="1187903" y="574879"/>
                  <a:pt x="1191893" y="574879"/>
                  <a:pt x="1195883" y="574879"/>
                </a:cubicBezTo>
                <a:cubicBezTo>
                  <a:pt x="1201868" y="574879"/>
                  <a:pt x="1199873" y="574879"/>
                  <a:pt x="1203863" y="576875"/>
                </a:cubicBezTo>
                <a:cubicBezTo>
                  <a:pt x="1209848" y="576875"/>
                  <a:pt x="1211843" y="570887"/>
                  <a:pt x="1211843" y="570887"/>
                </a:cubicBezTo>
                <a:cubicBezTo>
                  <a:pt x="1211843" y="570887"/>
                  <a:pt x="1213838" y="566894"/>
                  <a:pt x="1215833" y="562902"/>
                </a:cubicBezTo>
                <a:cubicBezTo>
                  <a:pt x="1215833" y="560906"/>
                  <a:pt x="1217828" y="560906"/>
                  <a:pt x="1217828" y="560906"/>
                </a:cubicBezTo>
                <a:cubicBezTo>
                  <a:pt x="1217828" y="560906"/>
                  <a:pt x="1223813" y="558910"/>
                  <a:pt x="1227803" y="556914"/>
                </a:cubicBezTo>
                <a:cubicBezTo>
                  <a:pt x="1229798" y="556914"/>
                  <a:pt x="1237778" y="560906"/>
                  <a:pt x="1237778" y="560906"/>
                </a:cubicBezTo>
                <a:cubicBezTo>
                  <a:pt x="1237778" y="560906"/>
                  <a:pt x="1237778" y="560906"/>
                  <a:pt x="1247753" y="564898"/>
                </a:cubicBezTo>
                <a:cubicBezTo>
                  <a:pt x="1247753" y="564898"/>
                  <a:pt x="1255733" y="568891"/>
                  <a:pt x="1259723" y="564898"/>
                </a:cubicBezTo>
                <a:cubicBezTo>
                  <a:pt x="1261718" y="560906"/>
                  <a:pt x="1263713" y="564898"/>
                  <a:pt x="1263713" y="564898"/>
                </a:cubicBezTo>
                <a:cubicBezTo>
                  <a:pt x="1263713" y="564898"/>
                  <a:pt x="1265708" y="566894"/>
                  <a:pt x="1273688" y="564898"/>
                </a:cubicBezTo>
                <a:cubicBezTo>
                  <a:pt x="1279673" y="564898"/>
                  <a:pt x="1275683" y="570887"/>
                  <a:pt x="1275683" y="570887"/>
                </a:cubicBezTo>
                <a:cubicBezTo>
                  <a:pt x="1275683" y="570887"/>
                  <a:pt x="1275683" y="574879"/>
                  <a:pt x="1273688" y="578871"/>
                </a:cubicBezTo>
                <a:cubicBezTo>
                  <a:pt x="1271693" y="580867"/>
                  <a:pt x="1271693" y="580867"/>
                  <a:pt x="1273688" y="584859"/>
                </a:cubicBezTo>
                <a:cubicBezTo>
                  <a:pt x="1277678" y="586856"/>
                  <a:pt x="1273688" y="588852"/>
                  <a:pt x="1273688" y="588852"/>
                </a:cubicBezTo>
                <a:cubicBezTo>
                  <a:pt x="1273688" y="588852"/>
                  <a:pt x="1273688" y="588852"/>
                  <a:pt x="1263713" y="590848"/>
                </a:cubicBezTo>
                <a:cubicBezTo>
                  <a:pt x="1263713" y="590848"/>
                  <a:pt x="1257728" y="592844"/>
                  <a:pt x="1257728" y="592844"/>
                </a:cubicBezTo>
                <a:cubicBezTo>
                  <a:pt x="1257728" y="594840"/>
                  <a:pt x="1253738" y="596836"/>
                  <a:pt x="1251743" y="596836"/>
                </a:cubicBezTo>
                <a:cubicBezTo>
                  <a:pt x="1247753" y="596836"/>
                  <a:pt x="1243763" y="596836"/>
                  <a:pt x="1241768" y="598832"/>
                </a:cubicBezTo>
                <a:cubicBezTo>
                  <a:pt x="1237778" y="598832"/>
                  <a:pt x="1235783" y="598832"/>
                  <a:pt x="1237778" y="602824"/>
                </a:cubicBezTo>
                <a:cubicBezTo>
                  <a:pt x="1239773" y="606817"/>
                  <a:pt x="1233788" y="604821"/>
                  <a:pt x="1231793" y="608813"/>
                </a:cubicBezTo>
                <a:cubicBezTo>
                  <a:pt x="1231793" y="614801"/>
                  <a:pt x="1229798" y="610809"/>
                  <a:pt x="1225808" y="614801"/>
                </a:cubicBezTo>
                <a:cubicBezTo>
                  <a:pt x="1219823" y="618793"/>
                  <a:pt x="1221818" y="618793"/>
                  <a:pt x="1223813" y="620789"/>
                </a:cubicBezTo>
                <a:cubicBezTo>
                  <a:pt x="1227803" y="624782"/>
                  <a:pt x="1227803" y="626778"/>
                  <a:pt x="1223813" y="626778"/>
                </a:cubicBezTo>
                <a:cubicBezTo>
                  <a:pt x="1219823" y="626778"/>
                  <a:pt x="1217828" y="632766"/>
                  <a:pt x="1217828" y="634762"/>
                </a:cubicBezTo>
                <a:cubicBezTo>
                  <a:pt x="1217828" y="636758"/>
                  <a:pt x="1215833" y="638754"/>
                  <a:pt x="1213838" y="638754"/>
                </a:cubicBezTo>
                <a:cubicBezTo>
                  <a:pt x="1211843" y="638754"/>
                  <a:pt x="1205858" y="640750"/>
                  <a:pt x="1209848" y="644743"/>
                </a:cubicBezTo>
                <a:cubicBezTo>
                  <a:pt x="1211843" y="650731"/>
                  <a:pt x="1209848" y="650731"/>
                  <a:pt x="1209848" y="650731"/>
                </a:cubicBezTo>
                <a:cubicBezTo>
                  <a:pt x="1209848" y="650731"/>
                  <a:pt x="1205858" y="654723"/>
                  <a:pt x="1203863" y="660712"/>
                </a:cubicBezTo>
                <a:cubicBezTo>
                  <a:pt x="1201868" y="666700"/>
                  <a:pt x="1211843" y="668696"/>
                  <a:pt x="1211843" y="670692"/>
                </a:cubicBezTo>
                <a:cubicBezTo>
                  <a:pt x="1213838" y="670692"/>
                  <a:pt x="1219823" y="674684"/>
                  <a:pt x="1219823" y="674684"/>
                </a:cubicBezTo>
                <a:cubicBezTo>
                  <a:pt x="1221818" y="676680"/>
                  <a:pt x="1225808" y="678677"/>
                  <a:pt x="1229798" y="678677"/>
                </a:cubicBezTo>
                <a:cubicBezTo>
                  <a:pt x="1231793" y="678677"/>
                  <a:pt x="1233788" y="684665"/>
                  <a:pt x="1233788" y="684665"/>
                </a:cubicBezTo>
                <a:cubicBezTo>
                  <a:pt x="1233788" y="684665"/>
                  <a:pt x="1237778" y="686661"/>
                  <a:pt x="1237778" y="690653"/>
                </a:cubicBezTo>
                <a:cubicBezTo>
                  <a:pt x="1237778" y="692649"/>
                  <a:pt x="1237778" y="696641"/>
                  <a:pt x="1241768" y="700634"/>
                </a:cubicBezTo>
                <a:cubicBezTo>
                  <a:pt x="1243763" y="704626"/>
                  <a:pt x="1245758" y="706622"/>
                  <a:pt x="1245758" y="712610"/>
                </a:cubicBezTo>
                <a:cubicBezTo>
                  <a:pt x="1245758" y="716603"/>
                  <a:pt x="1247753" y="718599"/>
                  <a:pt x="1251743" y="720595"/>
                </a:cubicBezTo>
                <a:cubicBezTo>
                  <a:pt x="1253738" y="722591"/>
                  <a:pt x="1255733" y="726583"/>
                  <a:pt x="1255733" y="730575"/>
                </a:cubicBezTo>
                <a:cubicBezTo>
                  <a:pt x="1253738" y="734568"/>
                  <a:pt x="1255733" y="736564"/>
                  <a:pt x="1257728" y="740556"/>
                </a:cubicBezTo>
                <a:cubicBezTo>
                  <a:pt x="1261718" y="744548"/>
                  <a:pt x="1261718" y="744548"/>
                  <a:pt x="1267703" y="744548"/>
                </a:cubicBezTo>
                <a:cubicBezTo>
                  <a:pt x="1273688" y="744548"/>
                  <a:pt x="1275683" y="752532"/>
                  <a:pt x="1275683" y="752532"/>
                </a:cubicBezTo>
                <a:cubicBezTo>
                  <a:pt x="1275683" y="754529"/>
                  <a:pt x="1275683" y="754529"/>
                  <a:pt x="1277678" y="754529"/>
                </a:cubicBezTo>
                <a:cubicBezTo>
                  <a:pt x="1281668" y="756525"/>
                  <a:pt x="1279673" y="758521"/>
                  <a:pt x="1283663" y="762513"/>
                </a:cubicBezTo>
                <a:cubicBezTo>
                  <a:pt x="1287653" y="766505"/>
                  <a:pt x="1289648" y="766505"/>
                  <a:pt x="1289648" y="768501"/>
                </a:cubicBezTo>
                <a:cubicBezTo>
                  <a:pt x="1289648" y="770497"/>
                  <a:pt x="1285658" y="768501"/>
                  <a:pt x="1285658" y="768501"/>
                </a:cubicBezTo>
                <a:cubicBezTo>
                  <a:pt x="1285658" y="768501"/>
                  <a:pt x="1283663" y="768501"/>
                  <a:pt x="1281668" y="768501"/>
                </a:cubicBezTo>
                <a:cubicBezTo>
                  <a:pt x="1279673" y="764509"/>
                  <a:pt x="1277678" y="764509"/>
                  <a:pt x="1273688" y="764509"/>
                </a:cubicBezTo>
                <a:cubicBezTo>
                  <a:pt x="1267703" y="764509"/>
                  <a:pt x="1269698" y="764509"/>
                  <a:pt x="1265708" y="762513"/>
                </a:cubicBezTo>
                <a:cubicBezTo>
                  <a:pt x="1263713" y="760517"/>
                  <a:pt x="1265708" y="766505"/>
                  <a:pt x="1267703" y="768501"/>
                </a:cubicBezTo>
                <a:cubicBezTo>
                  <a:pt x="1271693" y="770497"/>
                  <a:pt x="1277678" y="776486"/>
                  <a:pt x="1277678" y="776486"/>
                </a:cubicBezTo>
                <a:cubicBezTo>
                  <a:pt x="1277678" y="776486"/>
                  <a:pt x="1285658" y="786466"/>
                  <a:pt x="1289648" y="790459"/>
                </a:cubicBezTo>
                <a:cubicBezTo>
                  <a:pt x="1293638" y="792455"/>
                  <a:pt x="1291643" y="796447"/>
                  <a:pt x="1289648" y="796447"/>
                </a:cubicBezTo>
                <a:cubicBezTo>
                  <a:pt x="1285658" y="796447"/>
                  <a:pt x="1281668" y="800439"/>
                  <a:pt x="1281668" y="800439"/>
                </a:cubicBezTo>
                <a:cubicBezTo>
                  <a:pt x="1281668" y="800439"/>
                  <a:pt x="1271693" y="808424"/>
                  <a:pt x="1271693" y="810420"/>
                </a:cubicBezTo>
                <a:cubicBezTo>
                  <a:pt x="1271693" y="814412"/>
                  <a:pt x="1265708" y="814412"/>
                  <a:pt x="1263713" y="812416"/>
                </a:cubicBezTo>
                <a:cubicBezTo>
                  <a:pt x="1261718" y="812416"/>
                  <a:pt x="1259723" y="814412"/>
                  <a:pt x="1261718" y="816408"/>
                </a:cubicBezTo>
                <a:cubicBezTo>
                  <a:pt x="1263713" y="816408"/>
                  <a:pt x="1267703" y="818404"/>
                  <a:pt x="1267703" y="820400"/>
                </a:cubicBezTo>
                <a:cubicBezTo>
                  <a:pt x="1267703" y="822396"/>
                  <a:pt x="1269698" y="822396"/>
                  <a:pt x="1269698" y="822396"/>
                </a:cubicBezTo>
                <a:cubicBezTo>
                  <a:pt x="1269698" y="822396"/>
                  <a:pt x="1273688" y="822396"/>
                  <a:pt x="1275683" y="822396"/>
                </a:cubicBezTo>
                <a:cubicBezTo>
                  <a:pt x="1277678" y="820400"/>
                  <a:pt x="1281668" y="820400"/>
                  <a:pt x="1285658" y="820400"/>
                </a:cubicBezTo>
                <a:cubicBezTo>
                  <a:pt x="1289648" y="820400"/>
                  <a:pt x="1293638" y="822396"/>
                  <a:pt x="1293638" y="824392"/>
                </a:cubicBezTo>
                <a:cubicBezTo>
                  <a:pt x="1293638" y="828385"/>
                  <a:pt x="1295632" y="828385"/>
                  <a:pt x="1297627" y="828385"/>
                </a:cubicBezTo>
                <a:cubicBezTo>
                  <a:pt x="1297627" y="828385"/>
                  <a:pt x="1301617" y="830381"/>
                  <a:pt x="1301617" y="832377"/>
                </a:cubicBezTo>
                <a:cubicBezTo>
                  <a:pt x="1301617" y="834373"/>
                  <a:pt x="1297627" y="834373"/>
                  <a:pt x="1295632" y="834373"/>
                </a:cubicBezTo>
                <a:cubicBezTo>
                  <a:pt x="1293638" y="834373"/>
                  <a:pt x="1291643" y="840361"/>
                  <a:pt x="1289648" y="840361"/>
                </a:cubicBezTo>
                <a:cubicBezTo>
                  <a:pt x="1287653" y="840361"/>
                  <a:pt x="1287653" y="842357"/>
                  <a:pt x="1287653" y="844353"/>
                </a:cubicBezTo>
                <a:cubicBezTo>
                  <a:pt x="1287653" y="848346"/>
                  <a:pt x="1291643" y="844353"/>
                  <a:pt x="1291643" y="844353"/>
                </a:cubicBezTo>
                <a:cubicBezTo>
                  <a:pt x="1291643" y="844353"/>
                  <a:pt x="1295632" y="842357"/>
                  <a:pt x="1297627" y="842357"/>
                </a:cubicBezTo>
                <a:cubicBezTo>
                  <a:pt x="1301617" y="840361"/>
                  <a:pt x="1301617" y="844353"/>
                  <a:pt x="1301617" y="848346"/>
                </a:cubicBezTo>
                <a:cubicBezTo>
                  <a:pt x="1301617" y="852338"/>
                  <a:pt x="1301617" y="852338"/>
                  <a:pt x="1299622" y="852338"/>
                </a:cubicBezTo>
                <a:cubicBezTo>
                  <a:pt x="1297627" y="852338"/>
                  <a:pt x="1293638" y="852338"/>
                  <a:pt x="1293638" y="852338"/>
                </a:cubicBezTo>
                <a:cubicBezTo>
                  <a:pt x="1293638" y="852338"/>
                  <a:pt x="1287653" y="852338"/>
                  <a:pt x="1291643" y="856330"/>
                </a:cubicBezTo>
                <a:cubicBezTo>
                  <a:pt x="1295632" y="860322"/>
                  <a:pt x="1295632" y="862318"/>
                  <a:pt x="1295632" y="862318"/>
                </a:cubicBezTo>
                <a:cubicBezTo>
                  <a:pt x="1295632" y="862318"/>
                  <a:pt x="1295632" y="872299"/>
                  <a:pt x="1293638" y="872299"/>
                </a:cubicBezTo>
                <a:cubicBezTo>
                  <a:pt x="1291643" y="872299"/>
                  <a:pt x="1291643" y="874295"/>
                  <a:pt x="1291643" y="876291"/>
                </a:cubicBezTo>
                <a:cubicBezTo>
                  <a:pt x="1293638" y="876291"/>
                  <a:pt x="1293638" y="882280"/>
                  <a:pt x="1293638" y="882280"/>
                </a:cubicBezTo>
                <a:cubicBezTo>
                  <a:pt x="1293638" y="882280"/>
                  <a:pt x="1295632" y="888268"/>
                  <a:pt x="1293638" y="890264"/>
                </a:cubicBezTo>
                <a:cubicBezTo>
                  <a:pt x="1293638" y="890264"/>
                  <a:pt x="1289648" y="890264"/>
                  <a:pt x="1285658" y="890264"/>
                </a:cubicBezTo>
                <a:cubicBezTo>
                  <a:pt x="1283663" y="890264"/>
                  <a:pt x="1281668" y="892260"/>
                  <a:pt x="1277678" y="892260"/>
                </a:cubicBezTo>
                <a:cubicBezTo>
                  <a:pt x="1273688" y="892260"/>
                  <a:pt x="1277678" y="898248"/>
                  <a:pt x="1277678" y="898248"/>
                </a:cubicBezTo>
                <a:cubicBezTo>
                  <a:pt x="1277678" y="898248"/>
                  <a:pt x="1277678" y="906233"/>
                  <a:pt x="1275683" y="908229"/>
                </a:cubicBezTo>
                <a:cubicBezTo>
                  <a:pt x="1273688" y="910225"/>
                  <a:pt x="1275683" y="916213"/>
                  <a:pt x="1275683" y="920206"/>
                </a:cubicBezTo>
                <a:cubicBezTo>
                  <a:pt x="1275683" y="922202"/>
                  <a:pt x="1271693" y="922202"/>
                  <a:pt x="1271693" y="922202"/>
                </a:cubicBezTo>
                <a:cubicBezTo>
                  <a:pt x="1271693" y="922202"/>
                  <a:pt x="1261718" y="928190"/>
                  <a:pt x="1261718" y="930186"/>
                </a:cubicBezTo>
                <a:cubicBezTo>
                  <a:pt x="1261718" y="934178"/>
                  <a:pt x="1257728" y="934178"/>
                  <a:pt x="1257728" y="934178"/>
                </a:cubicBezTo>
                <a:cubicBezTo>
                  <a:pt x="1257728" y="934178"/>
                  <a:pt x="1249748" y="930186"/>
                  <a:pt x="1249748" y="934178"/>
                </a:cubicBezTo>
                <a:cubicBezTo>
                  <a:pt x="1249748" y="938171"/>
                  <a:pt x="1253738" y="938171"/>
                  <a:pt x="1257728" y="938171"/>
                </a:cubicBezTo>
                <a:cubicBezTo>
                  <a:pt x="1261718" y="938171"/>
                  <a:pt x="1253738" y="944159"/>
                  <a:pt x="1251743" y="944159"/>
                </a:cubicBezTo>
                <a:cubicBezTo>
                  <a:pt x="1251743" y="944159"/>
                  <a:pt x="1251743" y="944159"/>
                  <a:pt x="1249748" y="952143"/>
                </a:cubicBezTo>
                <a:cubicBezTo>
                  <a:pt x="1247753" y="960128"/>
                  <a:pt x="1251743" y="958132"/>
                  <a:pt x="1255733" y="960128"/>
                </a:cubicBezTo>
                <a:cubicBezTo>
                  <a:pt x="1259723" y="964120"/>
                  <a:pt x="1255733" y="970108"/>
                  <a:pt x="1255733" y="972104"/>
                </a:cubicBezTo>
                <a:cubicBezTo>
                  <a:pt x="1255733" y="972104"/>
                  <a:pt x="1257728" y="976097"/>
                  <a:pt x="1255733" y="976097"/>
                </a:cubicBezTo>
                <a:cubicBezTo>
                  <a:pt x="1255733" y="980089"/>
                  <a:pt x="1253738" y="978093"/>
                  <a:pt x="1251743" y="976097"/>
                </a:cubicBezTo>
                <a:cubicBezTo>
                  <a:pt x="1249748" y="976097"/>
                  <a:pt x="1249748" y="976097"/>
                  <a:pt x="1247753" y="978093"/>
                </a:cubicBezTo>
                <a:cubicBezTo>
                  <a:pt x="1243763" y="980089"/>
                  <a:pt x="1249748" y="982085"/>
                  <a:pt x="1249748" y="984081"/>
                </a:cubicBezTo>
                <a:cubicBezTo>
                  <a:pt x="1251743" y="984081"/>
                  <a:pt x="1251743" y="988073"/>
                  <a:pt x="1247753" y="986077"/>
                </a:cubicBezTo>
                <a:cubicBezTo>
                  <a:pt x="1245758" y="986077"/>
                  <a:pt x="1247753" y="990069"/>
                  <a:pt x="1243763" y="988073"/>
                </a:cubicBezTo>
                <a:cubicBezTo>
                  <a:pt x="1241768" y="988073"/>
                  <a:pt x="1243763" y="986077"/>
                  <a:pt x="1241768" y="984081"/>
                </a:cubicBezTo>
                <a:cubicBezTo>
                  <a:pt x="1237778" y="982085"/>
                  <a:pt x="1237778" y="984081"/>
                  <a:pt x="1237778" y="986077"/>
                </a:cubicBezTo>
                <a:cubicBezTo>
                  <a:pt x="1237778" y="988073"/>
                  <a:pt x="1237778" y="990069"/>
                  <a:pt x="1237778" y="992065"/>
                </a:cubicBezTo>
                <a:cubicBezTo>
                  <a:pt x="1235783" y="994062"/>
                  <a:pt x="1237778" y="996058"/>
                  <a:pt x="1233788" y="996058"/>
                </a:cubicBezTo>
                <a:cubicBezTo>
                  <a:pt x="1231793" y="996058"/>
                  <a:pt x="1233788" y="998054"/>
                  <a:pt x="1233788" y="998054"/>
                </a:cubicBezTo>
                <a:cubicBezTo>
                  <a:pt x="1233788" y="998054"/>
                  <a:pt x="1233788" y="1002046"/>
                  <a:pt x="1233788" y="1004042"/>
                </a:cubicBezTo>
                <a:cubicBezTo>
                  <a:pt x="1233788" y="1006038"/>
                  <a:pt x="1231793" y="1006038"/>
                  <a:pt x="1227803" y="1006038"/>
                </a:cubicBezTo>
                <a:cubicBezTo>
                  <a:pt x="1225808" y="1006038"/>
                  <a:pt x="1225808" y="1006038"/>
                  <a:pt x="1223813" y="1004042"/>
                </a:cubicBezTo>
                <a:cubicBezTo>
                  <a:pt x="1221818" y="1002046"/>
                  <a:pt x="1219823" y="1006038"/>
                  <a:pt x="1219823" y="1006038"/>
                </a:cubicBezTo>
                <a:cubicBezTo>
                  <a:pt x="1219823" y="1006038"/>
                  <a:pt x="1221818" y="1014023"/>
                  <a:pt x="1217828" y="1014023"/>
                </a:cubicBezTo>
                <a:cubicBezTo>
                  <a:pt x="1215833" y="1014023"/>
                  <a:pt x="1215833" y="1018015"/>
                  <a:pt x="1215833" y="1018015"/>
                </a:cubicBezTo>
                <a:cubicBezTo>
                  <a:pt x="1215833" y="1018015"/>
                  <a:pt x="1211843" y="1029991"/>
                  <a:pt x="1207853" y="1027995"/>
                </a:cubicBezTo>
                <a:cubicBezTo>
                  <a:pt x="1203863" y="1027995"/>
                  <a:pt x="1201868" y="1029991"/>
                  <a:pt x="1203863" y="1033984"/>
                </a:cubicBezTo>
                <a:cubicBezTo>
                  <a:pt x="1203863" y="1035980"/>
                  <a:pt x="1203863" y="1035980"/>
                  <a:pt x="1201868" y="1035980"/>
                </a:cubicBezTo>
                <a:cubicBezTo>
                  <a:pt x="1201868" y="1035980"/>
                  <a:pt x="1199873" y="1037976"/>
                  <a:pt x="1197878" y="1037976"/>
                </a:cubicBezTo>
                <a:cubicBezTo>
                  <a:pt x="1195883" y="1037976"/>
                  <a:pt x="1193888" y="1035980"/>
                  <a:pt x="1189898" y="1035980"/>
                </a:cubicBezTo>
                <a:cubicBezTo>
                  <a:pt x="1187903" y="1035980"/>
                  <a:pt x="1187903" y="1039972"/>
                  <a:pt x="1187903" y="1043964"/>
                </a:cubicBezTo>
                <a:cubicBezTo>
                  <a:pt x="1187903" y="1047956"/>
                  <a:pt x="1185908" y="1059933"/>
                  <a:pt x="1183913" y="1059933"/>
                </a:cubicBezTo>
                <a:cubicBezTo>
                  <a:pt x="1181918" y="1059933"/>
                  <a:pt x="1179923" y="1061929"/>
                  <a:pt x="1177928" y="1063925"/>
                </a:cubicBezTo>
                <a:cubicBezTo>
                  <a:pt x="1175933" y="1067917"/>
                  <a:pt x="1171943" y="1067917"/>
                  <a:pt x="1169948" y="1065921"/>
                </a:cubicBezTo>
                <a:cubicBezTo>
                  <a:pt x="1169948" y="1063925"/>
                  <a:pt x="1169948" y="1063925"/>
                  <a:pt x="1167953" y="1065921"/>
                </a:cubicBezTo>
                <a:cubicBezTo>
                  <a:pt x="1165958" y="1065921"/>
                  <a:pt x="1155983" y="1071910"/>
                  <a:pt x="1153988" y="1069914"/>
                </a:cubicBezTo>
                <a:cubicBezTo>
                  <a:pt x="1151993" y="1069914"/>
                  <a:pt x="1151993" y="1067917"/>
                  <a:pt x="1151993" y="1063925"/>
                </a:cubicBezTo>
                <a:cubicBezTo>
                  <a:pt x="1151993" y="1061929"/>
                  <a:pt x="1149998" y="1061929"/>
                  <a:pt x="1149998" y="1063925"/>
                </a:cubicBezTo>
                <a:cubicBezTo>
                  <a:pt x="1148003" y="1065921"/>
                  <a:pt x="1144014" y="1065921"/>
                  <a:pt x="1142019" y="1063925"/>
                </a:cubicBezTo>
                <a:cubicBezTo>
                  <a:pt x="1138029" y="1061929"/>
                  <a:pt x="1138029" y="1063925"/>
                  <a:pt x="1138029" y="1065921"/>
                </a:cubicBezTo>
                <a:cubicBezTo>
                  <a:pt x="1138029" y="1065921"/>
                  <a:pt x="1136034" y="1071910"/>
                  <a:pt x="1134039" y="1071910"/>
                </a:cubicBezTo>
                <a:cubicBezTo>
                  <a:pt x="1130049" y="1071910"/>
                  <a:pt x="1130049" y="1073906"/>
                  <a:pt x="1130049" y="1077898"/>
                </a:cubicBezTo>
                <a:cubicBezTo>
                  <a:pt x="1128054" y="1079894"/>
                  <a:pt x="1124064" y="1081890"/>
                  <a:pt x="1122069" y="1077898"/>
                </a:cubicBezTo>
                <a:cubicBezTo>
                  <a:pt x="1120074" y="1075902"/>
                  <a:pt x="1120074" y="1075902"/>
                  <a:pt x="1116084" y="1073906"/>
                </a:cubicBezTo>
                <a:cubicBezTo>
                  <a:pt x="1114089" y="1071910"/>
                  <a:pt x="1114089" y="1069914"/>
                  <a:pt x="1114089" y="1069914"/>
                </a:cubicBezTo>
                <a:cubicBezTo>
                  <a:pt x="1114089" y="1069914"/>
                  <a:pt x="1114089" y="1067917"/>
                  <a:pt x="1112094" y="1067917"/>
                </a:cubicBezTo>
                <a:cubicBezTo>
                  <a:pt x="1112094" y="1067917"/>
                  <a:pt x="1110099" y="1065921"/>
                  <a:pt x="1110099" y="1065921"/>
                </a:cubicBezTo>
                <a:cubicBezTo>
                  <a:pt x="1110099" y="1065921"/>
                  <a:pt x="1110099" y="1061929"/>
                  <a:pt x="1108104" y="1061929"/>
                </a:cubicBezTo>
                <a:cubicBezTo>
                  <a:pt x="1106109" y="1061929"/>
                  <a:pt x="1106109" y="1065921"/>
                  <a:pt x="1106109" y="1069914"/>
                </a:cubicBezTo>
                <a:cubicBezTo>
                  <a:pt x="1104114" y="1073906"/>
                  <a:pt x="1108104" y="1071910"/>
                  <a:pt x="1110099" y="1075902"/>
                </a:cubicBezTo>
                <a:cubicBezTo>
                  <a:pt x="1112094" y="1079894"/>
                  <a:pt x="1108104" y="1083886"/>
                  <a:pt x="1106109" y="1083886"/>
                </a:cubicBezTo>
                <a:cubicBezTo>
                  <a:pt x="1102119" y="1083886"/>
                  <a:pt x="1102119" y="1089875"/>
                  <a:pt x="1098129" y="1091871"/>
                </a:cubicBezTo>
                <a:cubicBezTo>
                  <a:pt x="1094139" y="1093867"/>
                  <a:pt x="1096134" y="1099855"/>
                  <a:pt x="1094139" y="1099855"/>
                </a:cubicBezTo>
                <a:cubicBezTo>
                  <a:pt x="1092144" y="1099855"/>
                  <a:pt x="1090149" y="1097859"/>
                  <a:pt x="1090149" y="1095863"/>
                </a:cubicBezTo>
                <a:cubicBezTo>
                  <a:pt x="1088154" y="1093867"/>
                  <a:pt x="1086159" y="1095863"/>
                  <a:pt x="1086159" y="1097859"/>
                </a:cubicBezTo>
                <a:cubicBezTo>
                  <a:pt x="1084164" y="1099855"/>
                  <a:pt x="1082169" y="1099855"/>
                  <a:pt x="1078179" y="1097859"/>
                </a:cubicBezTo>
                <a:cubicBezTo>
                  <a:pt x="1074189" y="1097859"/>
                  <a:pt x="1076184" y="1101851"/>
                  <a:pt x="1076184" y="1101851"/>
                </a:cubicBezTo>
                <a:cubicBezTo>
                  <a:pt x="1076184" y="1101851"/>
                  <a:pt x="1078179" y="1103847"/>
                  <a:pt x="1074189" y="1103847"/>
                </a:cubicBezTo>
                <a:cubicBezTo>
                  <a:pt x="1070199" y="1103847"/>
                  <a:pt x="1068204" y="1099855"/>
                  <a:pt x="1068204" y="1099855"/>
                </a:cubicBezTo>
                <a:cubicBezTo>
                  <a:pt x="1068204" y="1099855"/>
                  <a:pt x="1068204" y="1095863"/>
                  <a:pt x="1066209" y="1097859"/>
                </a:cubicBezTo>
                <a:cubicBezTo>
                  <a:pt x="1064214" y="1099855"/>
                  <a:pt x="1066209" y="1101851"/>
                  <a:pt x="1066209" y="1103847"/>
                </a:cubicBezTo>
                <a:cubicBezTo>
                  <a:pt x="1066209" y="1107840"/>
                  <a:pt x="1062219" y="1105844"/>
                  <a:pt x="1062219" y="1105844"/>
                </a:cubicBezTo>
                <a:cubicBezTo>
                  <a:pt x="1062219" y="1105844"/>
                  <a:pt x="1058229" y="1103847"/>
                  <a:pt x="1058229" y="1107840"/>
                </a:cubicBezTo>
                <a:cubicBezTo>
                  <a:pt x="1058229" y="1107840"/>
                  <a:pt x="1054239" y="1107840"/>
                  <a:pt x="1054239" y="1107840"/>
                </a:cubicBezTo>
                <a:cubicBezTo>
                  <a:pt x="1054239" y="1103847"/>
                  <a:pt x="1052244" y="1103847"/>
                  <a:pt x="1050249" y="1105844"/>
                </a:cubicBezTo>
                <a:cubicBezTo>
                  <a:pt x="1050249" y="1107840"/>
                  <a:pt x="1048254" y="1107840"/>
                  <a:pt x="1048254" y="1107840"/>
                </a:cubicBezTo>
                <a:cubicBezTo>
                  <a:pt x="1048254" y="1107840"/>
                  <a:pt x="1044264" y="1105844"/>
                  <a:pt x="1044264" y="1107840"/>
                </a:cubicBezTo>
                <a:cubicBezTo>
                  <a:pt x="1044264" y="1107840"/>
                  <a:pt x="1044264" y="1111832"/>
                  <a:pt x="1044264" y="1111832"/>
                </a:cubicBezTo>
                <a:cubicBezTo>
                  <a:pt x="1044264" y="1111832"/>
                  <a:pt x="1042269" y="1115824"/>
                  <a:pt x="1040274" y="1113828"/>
                </a:cubicBezTo>
                <a:cubicBezTo>
                  <a:pt x="1036284" y="1113828"/>
                  <a:pt x="1038279" y="1115824"/>
                  <a:pt x="1038279" y="1115824"/>
                </a:cubicBezTo>
                <a:cubicBezTo>
                  <a:pt x="1038279" y="1115824"/>
                  <a:pt x="1038279" y="1119816"/>
                  <a:pt x="1034289" y="1119816"/>
                </a:cubicBezTo>
                <a:cubicBezTo>
                  <a:pt x="1032294" y="1119816"/>
                  <a:pt x="1032294" y="1115824"/>
                  <a:pt x="1032294" y="1115824"/>
                </a:cubicBezTo>
                <a:cubicBezTo>
                  <a:pt x="1032294" y="1115824"/>
                  <a:pt x="1032294" y="1111832"/>
                  <a:pt x="1030299" y="1111832"/>
                </a:cubicBezTo>
                <a:cubicBezTo>
                  <a:pt x="1028304" y="1111832"/>
                  <a:pt x="1028304" y="1113828"/>
                  <a:pt x="1028304" y="1113828"/>
                </a:cubicBezTo>
                <a:cubicBezTo>
                  <a:pt x="1028304" y="1113828"/>
                  <a:pt x="1028304" y="1119816"/>
                  <a:pt x="1026309" y="1121812"/>
                </a:cubicBezTo>
                <a:cubicBezTo>
                  <a:pt x="1022319" y="1123809"/>
                  <a:pt x="1024314" y="1123809"/>
                  <a:pt x="1026309" y="1125805"/>
                </a:cubicBezTo>
                <a:cubicBezTo>
                  <a:pt x="1026309" y="1127801"/>
                  <a:pt x="1030299" y="1131793"/>
                  <a:pt x="1030299" y="1131793"/>
                </a:cubicBezTo>
                <a:cubicBezTo>
                  <a:pt x="1030299" y="1131793"/>
                  <a:pt x="1032294" y="1135785"/>
                  <a:pt x="1034289" y="1139777"/>
                </a:cubicBezTo>
                <a:cubicBezTo>
                  <a:pt x="1036284" y="1141773"/>
                  <a:pt x="1032294" y="1143770"/>
                  <a:pt x="1032294" y="1145766"/>
                </a:cubicBezTo>
                <a:cubicBezTo>
                  <a:pt x="1032294" y="1145766"/>
                  <a:pt x="1028304" y="1147762"/>
                  <a:pt x="1028304" y="1147762"/>
                </a:cubicBezTo>
                <a:cubicBezTo>
                  <a:pt x="1028304" y="1147762"/>
                  <a:pt x="1028304" y="1147762"/>
                  <a:pt x="1018329" y="1147762"/>
                </a:cubicBezTo>
                <a:cubicBezTo>
                  <a:pt x="1018329" y="1147762"/>
                  <a:pt x="1018329" y="1145766"/>
                  <a:pt x="1018329" y="1143770"/>
                </a:cubicBezTo>
                <a:cubicBezTo>
                  <a:pt x="1018329" y="1141773"/>
                  <a:pt x="1014339" y="1141773"/>
                  <a:pt x="1012344" y="1139777"/>
                </a:cubicBezTo>
                <a:cubicBezTo>
                  <a:pt x="1010349" y="1139777"/>
                  <a:pt x="1010349" y="1131793"/>
                  <a:pt x="1010349" y="1131793"/>
                </a:cubicBezTo>
                <a:cubicBezTo>
                  <a:pt x="1010349" y="1131793"/>
                  <a:pt x="1010349" y="1129797"/>
                  <a:pt x="1008354" y="1125805"/>
                </a:cubicBezTo>
                <a:cubicBezTo>
                  <a:pt x="1006359" y="1123809"/>
                  <a:pt x="1006359" y="1119816"/>
                  <a:pt x="1006359" y="1119816"/>
                </a:cubicBezTo>
                <a:cubicBezTo>
                  <a:pt x="1006359" y="1119816"/>
                  <a:pt x="1008354" y="1117820"/>
                  <a:pt x="1006359" y="1115824"/>
                </a:cubicBezTo>
                <a:cubicBezTo>
                  <a:pt x="1004364" y="1113828"/>
                  <a:pt x="1006359" y="1111832"/>
                  <a:pt x="1006359" y="1111832"/>
                </a:cubicBezTo>
                <a:cubicBezTo>
                  <a:pt x="1006359" y="1111832"/>
                  <a:pt x="1006359" y="1111832"/>
                  <a:pt x="1008354" y="1111832"/>
                </a:cubicBezTo>
                <a:cubicBezTo>
                  <a:pt x="1008354" y="1111832"/>
                  <a:pt x="1006359" y="1109836"/>
                  <a:pt x="1006359" y="1107840"/>
                </a:cubicBezTo>
                <a:cubicBezTo>
                  <a:pt x="1006359" y="1105844"/>
                  <a:pt x="1008354" y="1103847"/>
                  <a:pt x="1008354" y="1105844"/>
                </a:cubicBezTo>
                <a:cubicBezTo>
                  <a:pt x="1010349" y="1107840"/>
                  <a:pt x="1012344" y="1107840"/>
                  <a:pt x="1012344" y="1105844"/>
                </a:cubicBezTo>
                <a:cubicBezTo>
                  <a:pt x="1012344" y="1103847"/>
                  <a:pt x="1012344" y="1101851"/>
                  <a:pt x="1010349" y="1101851"/>
                </a:cubicBezTo>
                <a:cubicBezTo>
                  <a:pt x="1008354" y="1103847"/>
                  <a:pt x="1006359" y="1101851"/>
                  <a:pt x="1006359" y="1101851"/>
                </a:cubicBezTo>
                <a:cubicBezTo>
                  <a:pt x="1006359" y="1101851"/>
                  <a:pt x="1006359" y="1097859"/>
                  <a:pt x="1004364" y="1097859"/>
                </a:cubicBezTo>
                <a:cubicBezTo>
                  <a:pt x="1002369" y="1099855"/>
                  <a:pt x="1002369" y="1099855"/>
                  <a:pt x="1000375" y="1103847"/>
                </a:cubicBezTo>
                <a:cubicBezTo>
                  <a:pt x="998380" y="1107840"/>
                  <a:pt x="998380" y="1103847"/>
                  <a:pt x="996385" y="1101851"/>
                </a:cubicBezTo>
                <a:cubicBezTo>
                  <a:pt x="994390" y="1099855"/>
                  <a:pt x="994390" y="1101851"/>
                  <a:pt x="990400" y="1099855"/>
                </a:cubicBezTo>
                <a:cubicBezTo>
                  <a:pt x="986410" y="1099855"/>
                  <a:pt x="986410" y="1097859"/>
                  <a:pt x="984414" y="1093867"/>
                </a:cubicBezTo>
                <a:cubicBezTo>
                  <a:pt x="982419" y="1091871"/>
                  <a:pt x="980424" y="1093867"/>
                  <a:pt x="982419" y="1093867"/>
                </a:cubicBezTo>
                <a:cubicBezTo>
                  <a:pt x="984414" y="1095863"/>
                  <a:pt x="984414" y="1099855"/>
                  <a:pt x="984414" y="1099855"/>
                </a:cubicBezTo>
                <a:cubicBezTo>
                  <a:pt x="984414" y="1099855"/>
                  <a:pt x="984414" y="1099855"/>
                  <a:pt x="984414" y="1103847"/>
                </a:cubicBezTo>
                <a:cubicBezTo>
                  <a:pt x="984414" y="1103847"/>
                  <a:pt x="980424" y="1101851"/>
                  <a:pt x="978429" y="1105844"/>
                </a:cubicBezTo>
                <a:cubicBezTo>
                  <a:pt x="976434" y="1107840"/>
                  <a:pt x="974439" y="1103847"/>
                  <a:pt x="974439" y="1103847"/>
                </a:cubicBezTo>
                <a:cubicBezTo>
                  <a:pt x="974439" y="1103847"/>
                  <a:pt x="972444" y="1101851"/>
                  <a:pt x="972444" y="1105844"/>
                </a:cubicBezTo>
                <a:cubicBezTo>
                  <a:pt x="972444" y="1109836"/>
                  <a:pt x="970449" y="1107840"/>
                  <a:pt x="968454" y="1107840"/>
                </a:cubicBezTo>
                <a:cubicBezTo>
                  <a:pt x="964464" y="1105844"/>
                  <a:pt x="964464" y="1107840"/>
                  <a:pt x="964464" y="1107840"/>
                </a:cubicBezTo>
                <a:cubicBezTo>
                  <a:pt x="964464" y="1107840"/>
                  <a:pt x="954489" y="1107840"/>
                  <a:pt x="952494" y="1107840"/>
                </a:cubicBezTo>
                <a:cubicBezTo>
                  <a:pt x="950499" y="1105844"/>
                  <a:pt x="948504" y="1105844"/>
                  <a:pt x="946509" y="1105844"/>
                </a:cubicBezTo>
                <a:cubicBezTo>
                  <a:pt x="946509" y="1103847"/>
                  <a:pt x="942519" y="1101851"/>
                  <a:pt x="940524" y="1101851"/>
                </a:cubicBezTo>
                <a:cubicBezTo>
                  <a:pt x="938529" y="1099855"/>
                  <a:pt x="938529" y="1099855"/>
                  <a:pt x="938529" y="1097859"/>
                </a:cubicBezTo>
                <a:cubicBezTo>
                  <a:pt x="936534" y="1097859"/>
                  <a:pt x="934540" y="1093867"/>
                  <a:pt x="934540" y="1093867"/>
                </a:cubicBezTo>
                <a:cubicBezTo>
                  <a:pt x="932545" y="1093867"/>
                  <a:pt x="930550" y="1093867"/>
                  <a:pt x="928555" y="1093867"/>
                </a:cubicBezTo>
                <a:cubicBezTo>
                  <a:pt x="926560" y="1091871"/>
                  <a:pt x="928555" y="1091871"/>
                  <a:pt x="926560" y="1089875"/>
                </a:cubicBezTo>
                <a:cubicBezTo>
                  <a:pt x="926560" y="1089875"/>
                  <a:pt x="924565" y="1087879"/>
                  <a:pt x="924565" y="1085882"/>
                </a:cubicBezTo>
                <a:cubicBezTo>
                  <a:pt x="922570" y="1083886"/>
                  <a:pt x="922570" y="1079894"/>
                  <a:pt x="922570" y="1077898"/>
                </a:cubicBezTo>
                <a:cubicBezTo>
                  <a:pt x="922570" y="1077898"/>
                  <a:pt x="922570" y="1073906"/>
                  <a:pt x="924565" y="1071910"/>
                </a:cubicBezTo>
                <a:cubicBezTo>
                  <a:pt x="924565" y="1069914"/>
                  <a:pt x="924565" y="1067917"/>
                  <a:pt x="924565" y="1067917"/>
                </a:cubicBezTo>
                <a:cubicBezTo>
                  <a:pt x="922570" y="1065921"/>
                  <a:pt x="920575" y="1063925"/>
                  <a:pt x="920575" y="1063925"/>
                </a:cubicBezTo>
                <a:cubicBezTo>
                  <a:pt x="920575" y="1063925"/>
                  <a:pt x="916585" y="1063925"/>
                  <a:pt x="914590" y="1063925"/>
                </a:cubicBezTo>
                <a:cubicBezTo>
                  <a:pt x="914590" y="1063925"/>
                  <a:pt x="908605" y="1063925"/>
                  <a:pt x="908605" y="1063925"/>
                </a:cubicBezTo>
                <a:cubicBezTo>
                  <a:pt x="906610" y="1063925"/>
                  <a:pt x="904615" y="1063925"/>
                  <a:pt x="904615" y="1065921"/>
                </a:cubicBezTo>
                <a:cubicBezTo>
                  <a:pt x="902620" y="1065921"/>
                  <a:pt x="898630" y="1065921"/>
                  <a:pt x="898630" y="1065921"/>
                </a:cubicBezTo>
                <a:cubicBezTo>
                  <a:pt x="896635" y="1065921"/>
                  <a:pt x="894640" y="1059933"/>
                  <a:pt x="894640" y="1059933"/>
                </a:cubicBezTo>
                <a:cubicBezTo>
                  <a:pt x="894640" y="1057937"/>
                  <a:pt x="894640" y="1055941"/>
                  <a:pt x="894640" y="1053945"/>
                </a:cubicBezTo>
                <a:cubicBezTo>
                  <a:pt x="894640" y="1051949"/>
                  <a:pt x="892645" y="1049953"/>
                  <a:pt x="892645" y="1049953"/>
                </a:cubicBezTo>
                <a:cubicBezTo>
                  <a:pt x="892645" y="1049953"/>
                  <a:pt x="888655" y="1047956"/>
                  <a:pt x="884665" y="1047956"/>
                </a:cubicBezTo>
                <a:cubicBezTo>
                  <a:pt x="882670" y="1047956"/>
                  <a:pt x="882670" y="1047956"/>
                  <a:pt x="880675" y="1049953"/>
                </a:cubicBezTo>
                <a:cubicBezTo>
                  <a:pt x="878680" y="1051949"/>
                  <a:pt x="878680" y="1051949"/>
                  <a:pt x="876685" y="1053945"/>
                </a:cubicBezTo>
                <a:cubicBezTo>
                  <a:pt x="874690" y="1055941"/>
                  <a:pt x="874690" y="1055941"/>
                  <a:pt x="872695" y="1057937"/>
                </a:cubicBezTo>
                <a:cubicBezTo>
                  <a:pt x="870700" y="1057937"/>
                  <a:pt x="866710" y="1063925"/>
                  <a:pt x="866710" y="1065921"/>
                </a:cubicBezTo>
                <a:cubicBezTo>
                  <a:pt x="864715" y="1065921"/>
                  <a:pt x="862720" y="1069914"/>
                  <a:pt x="858730" y="1071910"/>
                </a:cubicBezTo>
                <a:cubicBezTo>
                  <a:pt x="856735" y="1071910"/>
                  <a:pt x="856735" y="1069914"/>
                  <a:pt x="854740" y="1069914"/>
                </a:cubicBezTo>
                <a:cubicBezTo>
                  <a:pt x="854740" y="1069914"/>
                  <a:pt x="852745" y="1071910"/>
                  <a:pt x="852745" y="1071910"/>
                </a:cubicBezTo>
                <a:cubicBezTo>
                  <a:pt x="852745" y="1073906"/>
                  <a:pt x="852745" y="1073906"/>
                  <a:pt x="850750" y="1075902"/>
                </a:cubicBezTo>
                <a:cubicBezTo>
                  <a:pt x="848755" y="1075902"/>
                  <a:pt x="848755" y="1073906"/>
                  <a:pt x="846760" y="1073906"/>
                </a:cubicBezTo>
                <a:cubicBezTo>
                  <a:pt x="844765" y="1073906"/>
                  <a:pt x="844765" y="1075902"/>
                  <a:pt x="844765" y="1077898"/>
                </a:cubicBezTo>
                <a:cubicBezTo>
                  <a:pt x="844765" y="1077898"/>
                  <a:pt x="840775" y="1077898"/>
                  <a:pt x="838780" y="1077898"/>
                </a:cubicBezTo>
                <a:cubicBezTo>
                  <a:pt x="836785" y="1077898"/>
                  <a:pt x="836785" y="1077898"/>
                  <a:pt x="834790" y="1075902"/>
                </a:cubicBezTo>
                <a:cubicBezTo>
                  <a:pt x="834790" y="1073906"/>
                  <a:pt x="834790" y="1073906"/>
                  <a:pt x="834790" y="1071910"/>
                </a:cubicBezTo>
                <a:cubicBezTo>
                  <a:pt x="834790" y="1071910"/>
                  <a:pt x="832795" y="1071910"/>
                  <a:pt x="830800" y="1071910"/>
                </a:cubicBezTo>
                <a:cubicBezTo>
                  <a:pt x="828805" y="1071910"/>
                  <a:pt x="830800" y="1071910"/>
                  <a:pt x="828805" y="1073906"/>
                </a:cubicBezTo>
                <a:cubicBezTo>
                  <a:pt x="828805" y="1073906"/>
                  <a:pt x="826810" y="1075902"/>
                  <a:pt x="826810" y="1077898"/>
                </a:cubicBezTo>
                <a:cubicBezTo>
                  <a:pt x="826810" y="1077898"/>
                  <a:pt x="824815" y="1079894"/>
                  <a:pt x="824815" y="1079894"/>
                </a:cubicBezTo>
                <a:cubicBezTo>
                  <a:pt x="822820" y="1079894"/>
                  <a:pt x="822820" y="1077898"/>
                  <a:pt x="822820" y="1077898"/>
                </a:cubicBezTo>
                <a:cubicBezTo>
                  <a:pt x="822820" y="1077898"/>
                  <a:pt x="820825" y="1075902"/>
                  <a:pt x="818830" y="1075902"/>
                </a:cubicBezTo>
                <a:cubicBezTo>
                  <a:pt x="816835" y="1073906"/>
                  <a:pt x="816835" y="1073906"/>
                  <a:pt x="814840" y="1073906"/>
                </a:cubicBezTo>
                <a:cubicBezTo>
                  <a:pt x="812845" y="1071910"/>
                  <a:pt x="812845" y="1071910"/>
                  <a:pt x="810850" y="1071910"/>
                </a:cubicBezTo>
                <a:cubicBezTo>
                  <a:pt x="808855" y="1071910"/>
                  <a:pt x="808855" y="1073906"/>
                  <a:pt x="806860" y="1073906"/>
                </a:cubicBezTo>
                <a:cubicBezTo>
                  <a:pt x="806860" y="1075902"/>
                  <a:pt x="806860" y="1077898"/>
                  <a:pt x="804865" y="1077898"/>
                </a:cubicBezTo>
                <a:cubicBezTo>
                  <a:pt x="804865" y="1079894"/>
                  <a:pt x="800875" y="1079894"/>
                  <a:pt x="800875" y="1079894"/>
                </a:cubicBezTo>
                <a:cubicBezTo>
                  <a:pt x="800875" y="1079894"/>
                  <a:pt x="798880" y="1079894"/>
                  <a:pt x="796885" y="1079894"/>
                </a:cubicBezTo>
                <a:cubicBezTo>
                  <a:pt x="794890" y="1079894"/>
                  <a:pt x="794890" y="1079894"/>
                  <a:pt x="792895" y="1081890"/>
                </a:cubicBezTo>
                <a:cubicBezTo>
                  <a:pt x="792895" y="1081890"/>
                  <a:pt x="792895" y="1083886"/>
                  <a:pt x="792895" y="1085882"/>
                </a:cubicBezTo>
                <a:cubicBezTo>
                  <a:pt x="792895" y="1087879"/>
                  <a:pt x="792895" y="1091871"/>
                  <a:pt x="792895" y="1091871"/>
                </a:cubicBezTo>
                <a:cubicBezTo>
                  <a:pt x="794890" y="1093867"/>
                  <a:pt x="794890" y="1093867"/>
                  <a:pt x="794890" y="1095863"/>
                </a:cubicBezTo>
                <a:cubicBezTo>
                  <a:pt x="794890" y="1095863"/>
                  <a:pt x="794890" y="1097859"/>
                  <a:pt x="794890" y="1097859"/>
                </a:cubicBezTo>
                <a:cubicBezTo>
                  <a:pt x="794890" y="1099855"/>
                  <a:pt x="794890" y="1099855"/>
                  <a:pt x="796885" y="1101851"/>
                </a:cubicBezTo>
                <a:cubicBezTo>
                  <a:pt x="796885" y="1101851"/>
                  <a:pt x="796885" y="1103847"/>
                  <a:pt x="794890" y="1103847"/>
                </a:cubicBezTo>
                <a:cubicBezTo>
                  <a:pt x="794890" y="1105844"/>
                  <a:pt x="796885" y="1107840"/>
                  <a:pt x="796885" y="1107840"/>
                </a:cubicBezTo>
                <a:cubicBezTo>
                  <a:pt x="798880" y="1107840"/>
                  <a:pt x="798880" y="1109836"/>
                  <a:pt x="798880" y="1111832"/>
                </a:cubicBezTo>
                <a:cubicBezTo>
                  <a:pt x="798880" y="1111832"/>
                  <a:pt x="792895" y="1111832"/>
                  <a:pt x="790900" y="1111832"/>
                </a:cubicBezTo>
                <a:cubicBezTo>
                  <a:pt x="788905" y="1111832"/>
                  <a:pt x="786911" y="1111832"/>
                  <a:pt x="786911" y="1113828"/>
                </a:cubicBezTo>
                <a:cubicBezTo>
                  <a:pt x="784916" y="1113828"/>
                  <a:pt x="782921" y="1111832"/>
                  <a:pt x="782921" y="1109836"/>
                </a:cubicBezTo>
                <a:cubicBezTo>
                  <a:pt x="780926" y="1107840"/>
                  <a:pt x="778931" y="1103847"/>
                  <a:pt x="778931" y="1101851"/>
                </a:cubicBezTo>
                <a:cubicBezTo>
                  <a:pt x="776936" y="1101851"/>
                  <a:pt x="774941" y="1101851"/>
                  <a:pt x="772946" y="1101851"/>
                </a:cubicBezTo>
                <a:cubicBezTo>
                  <a:pt x="772946" y="1101851"/>
                  <a:pt x="768956" y="1101851"/>
                  <a:pt x="768956" y="1103847"/>
                </a:cubicBezTo>
                <a:cubicBezTo>
                  <a:pt x="768956" y="1103847"/>
                  <a:pt x="764966" y="1103847"/>
                  <a:pt x="762971" y="1103847"/>
                </a:cubicBezTo>
                <a:cubicBezTo>
                  <a:pt x="760976" y="1103847"/>
                  <a:pt x="760976" y="1101851"/>
                  <a:pt x="758981" y="1101851"/>
                </a:cubicBezTo>
                <a:cubicBezTo>
                  <a:pt x="756986" y="1101851"/>
                  <a:pt x="754991" y="1101851"/>
                  <a:pt x="754991" y="1101851"/>
                </a:cubicBezTo>
                <a:cubicBezTo>
                  <a:pt x="752996" y="1101851"/>
                  <a:pt x="752996" y="1103847"/>
                  <a:pt x="751001" y="1103847"/>
                </a:cubicBezTo>
                <a:cubicBezTo>
                  <a:pt x="749006" y="1103847"/>
                  <a:pt x="749006" y="1101851"/>
                  <a:pt x="749006" y="1099855"/>
                </a:cubicBezTo>
                <a:cubicBezTo>
                  <a:pt x="749006" y="1099855"/>
                  <a:pt x="749006" y="1097859"/>
                  <a:pt x="749006" y="1095863"/>
                </a:cubicBezTo>
                <a:cubicBezTo>
                  <a:pt x="749006" y="1093867"/>
                  <a:pt x="749006" y="1093867"/>
                  <a:pt x="749006" y="1093867"/>
                </a:cubicBezTo>
                <a:cubicBezTo>
                  <a:pt x="749006" y="1093867"/>
                  <a:pt x="749006" y="1093867"/>
                  <a:pt x="747011" y="1089875"/>
                </a:cubicBezTo>
                <a:cubicBezTo>
                  <a:pt x="747011" y="1089875"/>
                  <a:pt x="747011" y="1089875"/>
                  <a:pt x="745016" y="1089875"/>
                </a:cubicBezTo>
                <a:cubicBezTo>
                  <a:pt x="745016" y="1089875"/>
                  <a:pt x="737036" y="1089875"/>
                  <a:pt x="737036" y="1091871"/>
                </a:cubicBezTo>
                <a:cubicBezTo>
                  <a:pt x="737036" y="1091871"/>
                  <a:pt x="731051" y="1091871"/>
                  <a:pt x="731051" y="1091871"/>
                </a:cubicBezTo>
                <a:cubicBezTo>
                  <a:pt x="729056" y="1089875"/>
                  <a:pt x="727061" y="1087879"/>
                  <a:pt x="727061" y="1087879"/>
                </a:cubicBezTo>
                <a:cubicBezTo>
                  <a:pt x="727061" y="1085882"/>
                  <a:pt x="727061" y="1085882"/>
                  <a:pt x="727061" y="1083886"/>
                </a:cubicBezTo>
                <a:cubicBezTo>
                  <a:pt x="727061" y="1081890"/>
                  <a:pt x="729056" y="1081890"/>
                  <a:pt x="729056" y="1081890"/>
                </a:cubicBezTo>
                <a:cubicBezTo>
                  <a:pt x="729056" y="1081890"/>
                  <a:pt x="729056" y="1081890"/>
                  <a:pt x="729056" y="1079894"/>
                </a:cubicBezTo>
                <a:cubicBezTo>
                  <a:pt x="729056" y="1077898"/>
                  <a:pt x="731051" y="1077898"/>
                  <a:pt x="731051" y="1077898"/>
                </a:cubicBezTo>
                <a:cubicBezTo>
                  <a:pt x="731051" y="1075902"/>
                  <a:pt x="731051" y="1075902"/>
                  <a:pt x="729056" y="1075902"/>
                </a:cubicBezTo>
                <a:cubicBezTo>
                  <a:pt x="729056" y="1073906"/>
                  <a:pt x="729056" y="1071910"/>
                  <a:pt x="729056" y="1071910"/>
                </a:cubicBezTo>
                <a:cubicBezTo>
                  <a:pt x="729056" y="1069914"/>
                  <a:pt x="729056" y="1067917"/>
                  <a:pt x="729056" y="1065921"/>
                </a:cubicBezTo>
                <a:cubicBezTo>
                  <a:pt x="731051" y="1063925"/>
                  <a:pt x="731051" y="1063925"/>
                  <a:pt x="731051" y="1063925"/>
                </a:cubicBezTo>
                <a:cubicBezTo>
                  <a:pt x="731051" y="1063925"/>
                  <a:pt x="731051" y="1061929"/>
                  <a:pt x="733046" y="1061929"/>
                </a:cubicBezTo>
                <a:cubicBezTo>
                  <a:pt x="733046" y="1059933"/>
                  <a:pt x="733046" y="1057937"/>
                  <a:pt x="733046" y="1057937"/>
                </a:cubicBezTo>
                <a:cubicBezTo>
                  <a:pt x="733046" y="1057937"/>
                  <a:pt x="729056" y="1057937"/>
                  <a:pt x="727061" y="1057937"/>
                </a:cubicBezTo>
                <a:cubicBezTo>
                  <a:pt x="725066" y="1057937"/>
                  <a:pt x="723071" y="1057937"/>
                  <a:pt x="723071" y="1055941"/>
                </a:cubicBezTo>
                <a:cubicBezTo>
                  <a:pt x="721076" y="1055941"/>
                  <a:pt x="721076" y="1051949"/>
                  <a:pt x="723071" y="1049953"/>
                </a:cubicBezTo>
                <a:cubicBezTo>
                  <a:pt x="723071" y="1047956"/>
                  <a:pt x="723071" y="1047956"/>
                  <a:pt x="723071" y="1045960"/>
                </a:cubicBezTo>
                <a:cubicBezTo>
                  <a:pt x="723071" y="1043964"/>
                  <a:pt x="721076" y="1043964"/>
                  <a:pt x="721076" y="1043964"/>
                </a:cubicBezTo>
                <a:cubicBezTo>
                  <a:pt x="719081" y="1041968"/>
                  <a:pt x="719081" y="1039972"/>
                  <a:pt x="719081" y="1039972"/>
                </a:cubicBezTo>
                <a:cubicBezTo>
                  <a:pt x="719081" y="1039972"/>
                  <a:pt x="719081" y="1039972"/>
                  <a:pt x="715091" y="1035980"/>
                </a:cubicBezTo>
                <a:cubicBezTo>
                  <a:pt x="715091" y="1035980"/>
                  <a:pt x="715091" y="1027995"/>
                  <a:pt x="713096" y="1027995"/>
                </a:cubicBezTo>
                <a:cubicBezTo>
                  <a:pt x="711101" y="1027995"/>
                  <a:pt x="711101" y="1027995"/>
                  <a:pt x="711101" y="1027995"/>
                </a:cubicBezTo>
                <a:cubicBezTo>
                  <a:pt x="709106" y="1027995"/>
                  <a:pt x="709106" y="1025999"/>
                  <a:pt x="707111" y="1024003"/>
                </a:cubicBezTo>
                <a:cubicBezTo>
                  <a:pt x="705116" y="1024003"/>
                  <a:pt x="705116" y="1024003"/>
                  <a:pt x="703121" y="1024003"/>
                </a:cubicBezTo>
                <a:cubicBezTo>
                  <a:pt x="701126" y="1024003"/>
                  <a:pt x="701126" y="1024003"/>
                  <a:pt x="699131" y="1024003"/>
                </a:cubicBezTo>
                <a:cubicBezTo>
                  <a:pt x="697136" y="1024003"/>
                  <a:pt x="695141" y="1024003"/>
                  <a:pt x="693146" y="1024003"/>
                </a:cubicBezTo>
                <a:cubicBezTo>
                  <a:pt x="693146" y="1025999"/>
                  <a:pt x="693146" y="1025999"/>
                  <a:pt x="693146" y="1025999"/>
                </a:cubicBezTo>
                <a:cubicBezTo>
                  <a:pt x="693146" y="1027995"/>
                  <a:pt x="693146" y="1029991"/>
                  <a:pt x="691151" y="1029991"/>
                </a:cubicBezTo>
                <a:cubicBezTo>
                  <a:pt x="691151" y="1029991"/>
                  <a:pt x="689156" y="1029991"/>
                  <a:pt x="689156" y="1029991"/>
                </a:cubicBezTo>
                <a:cubicBezTo>
                  <a:pt x="687161" y="1029991"/>
                  <a:pt x="685166" y="1027995"/>
                  <a:pt x="685166" y="1027995"/>
                </a:cubicBezTo>
                <a:cubicBezTo>
                  <a:pt x="685166" y="1025999"/>
                  <a:pt x="685166" y="1024003"/>
                  <a:pt x="685166" y="1024003"/>
                </a:cubicBezTo>
                <a:cubicBezTo>
                  <a:pt x="685166" y="1022007"/>
                  <a:pt x="683171" y="1020011"/>
                  <a:pt x="683171" y="1018015"/>
                </a:cubicBezTo>
                <a:cubicBezTo>
                  <a:pt x="683171" y="1016019"/>
                  <a:pt x="681176" y="1012027"/>
                  <a:pt x="681176" y="1012027"/>
                </a:cubicBezTo>
                <a:cubicBezTo>
                  <a:pt x="681176" y="1012027"/>
                  <a:pt x="679181" y="1006038"/>
                  <a:pt x="679181" y="1006038"/>
                </a:cubicBezTo>
                <a:cubicBezTo>
                  <a:pt x="679181" y="1004042"/>
                  <a:pt x="681176" y="1002046"/>
                  <a:pt x="681176" y="1002046"/>
                </a:cubicBezTo>
                <a:cubicBezTo>
                  <a:pt x="683171" y="1000050"/>
                  <a:pt x="685166" y="998054"/>
                  <a:pt x="685166" y="996058"/>
                </a:cubicBezTo>
                <a:cubicBezTo>
                  <a:pt x="685166" y="996058"/>
                  <a:pt x="687161" y="994062"/>
                  <a:pt x="689156" y="992065"/>
                </a:cubicBezTo>
                <a:cubicBezTo>
                  <a:pt x="689156" y="990069"/>
                  <a:pt x="691151" y="988073"/>
                  <a:pt x="691151" y="988073"/>
                </a:cubicBezTo>
                <a:cubicBezTo>
                  <a:pt x="693146" y="986077"/>
                  <a:pt x="693146" y="986077"/>
                  <a:pt x="693146" y="986077"/>
                </a:cubicBezTo>
                <a:cubicBezTo>
                  <a:pt x="695141" y="984081"/>
                  <a:pt x="695141" y="984081"/>
                  <a:pt x="697136" y="982085"/>
                </a:cubicBezTo>
                <a:cubicBezTo>
                  <a:pt x="697136" y="982085"/>
                  <a:pt x="697136" y="980089"/>
                  <a:pt x="699131" y="980089"/>
                </a:cubicBezTo>
                <a:cubicBezTo>
                  <a:pt x="699131" y="978093"/>
                  <a:pt x="699131" y="978093"/>
                  <a:pt x="699131" y="978093"/>
                </a:cubicBezTo>
                <a:cubicBezTo>
                  <a:pt x="699131" y="976097"/>
                  <a:pt x="701126" y="974100"/>
                  <a:pt x="701126" y="974100"/>
                </a:cubicBezTo>
                <a:cubicBezTo>
                  <a:pt x="701126" y="972104"/>
                  <a:pt x="703121" y="970108"/>
                  <a:pt x="703121" y="970108"/>
                </a:cubicBezTo>
                <a:cubicBezTo>
                  <a:pt x="703121" y="968112"/>
                  <a:pt x="701126" y="966116"/>
                  <a:pt x="701126" y="964120"/>
                </a:cubicBezTo>
                <a:cubicBezTo>
                  <a:pt x="701126" y="964120"/>
                  <a:pt x="703121" y="964120"/>
                  <a:pt x="703121" y="962124"/>
                </a:cubicBezTo>
                <a:cubicBezTo>
                  <a:pt x="703121" y="962124"/>
                  <a:pt x="705116" y="960128"/>
                  <a:pt x="705116" y="958132"/>
                </a:cubicBezTo>
                <a:cubicBezTo>
                  <a:pt x="707111" y="958132"/>
                  <a:pt x="707111" y="952143"/>
                  <a:pt x="707111" y="952143"/>
                </a:cubicBezTo>
                <a:cubicBezTo>
                  <a:pt x="707111" y="952143"/>
                  <a:pt x="705116" y="950147"/>
                  <a:pt x="705116" y="948151"/>
                </a:cubicBezTo>
                <a:cubicBezTo>
                  <a:pt x="703121" y="948151"/>
                  <a:pt x="703121" y="942163"/>
                  <a:pt x="705116" y="940167"/>
                </a:cubicBezTo>
                <a:cubicBezTo>
                  <a:pt x="705116" y="938171"/>
                  <a:pt x="705116" y="938171"/>
                  <a:pt x="705116" y="936174"/>
                </a:cubicBezTo>
                <a:cubicBezTo>
                  <a:pt x="705116" y="934178"/>
                  <a:pt x="707111" y="932182"/>
                  <a:pt x="707111" y="930186"/>
                </a:cubicBezTo>
                <a:cubicBezTo>
                  <a:pt x="707111" y="928190"/>
                  <a:pt x="707111" y="928190"/>
                  <a:pt x="707111" y="926194"/>
                </a:cubicBezTo>
                <a:cubicBezTo>
                  <a:pt x="707111" y="926194"/>
                  <a:pt x="707111" y="922202"/>
                  <a:pt x="707111" y="922202"/>
                </a:cubicBezTo>
                <a:cubicBezTo>
                  <a:pt x="707111" y="920206"/>
                  <a:pt x="703121" y="918209"/>
                  <a:pt x="703121" y="918209"/>
                </a:cubicBezTo>
                <a:cubicBezTo>
                  <a:pt x="703121" y="918209"/>
                  <a:pt x="701126" y="918209"/>
                  <a:pt x="701126" y="918209"/>
                </a:cubicBezTo>
                <a:cubicBezTo>
                  <a:pt x="701126" y="918209"/>
                  <a:pt x="697136" y="914217"/>
                  <a:pt x="695141" y="912221"/>
                </a:cubicBezTo>
                <a:cubicBezTo>
                  <a:pt x="693146" y="912221"/>
                  <a:pt x="691151" y="910225"/>
                  <a:pt x="691151" y="908229"/>
                </a:cubicBezTo>
                <a:cubicBezTo>
                  <a:pt x="691151" y="908229"/>
                  <a:pt x="691151" y="904237"/>
                  <a:pt x="691151" y="904237"/>
                </a:cubicBezTo>
                <a:cubicBezTo>
                  <a:pt x="689156" y="902241"/>
                  <a:pt x="689156" y="900244"/>
                  <a:pt x="687161" y="898248"/>
                </a:cubicBezTo>
                <a:cubicBezTo>
                  <a:pt x="687161" y="898248"/>
                  <a:pt x="685166" y="896252"/>
                  <a:pt x="685166" y="894256"/>
                </a:cubicBezTo>
                <a:cubicBezTo>
                  <a:pt x="685166" y="892260"/>
                  <a:pt x="683171" y="888268"/>
                  <a:pt x="683171" y="888268"/>
                </a:cubicBezTo>
                <a:cubicBezTo>
                  <a:pt x="683171" y="886272"/>
                  <a:pt x="685166" y="884276"/>
                  <a:pt x="685166" y="882280"/>
                </a:cubicBezTo>
                <a:cubicBezTo>
                  <a:pt x="685166" y="882280"/>
                  <a:pt x="685166" y="880283"/>
                  <a:pt x="683171" y="880283"/>
                </a:cubicBezTo>
                <a:cubicBezTo>
                  <a:pt x="683171" y="878287"/>
                  <a:pt x="683171" y="876291"/>
                  <a:pt x="683171" y="874295"/>
                </a:cubicBezTo>
                <a:cubicBezTo>
                  <a:pt x="683171" y="874295"/>
                  <a:pt x="683171" y="870303"/>
                  <a:pt x="683171" y="870303"/>
                </a:cubicBezTo>
                <a:cubicBezTo>
                  <a:pt x="683171" y="868307"/>
                  <a:pt x="683171" y="866311"/>
                  <a:pt x="681176" y="866311"/>
                </a:cubicBezTo>
                <a:cubicBezTo>
                  <a:pt x="681176" y="864315"/>
                  <a:pt x="681176" y="862318"/>
                  <a:pt x="681176" y="860322"/>
                </a:cubicBezTo>
                <a:cubicBezTo>
                  <a:pt x="679181" y="858326"/>
                  <a:pt x="677186" y="858326"/>
                  <a:pt x="677186" y="858326"/>
                </a:cubicBezTo>
                <a:cubicBezTo>
                  <a:pt x="675191" y="858326"/>
                  <a:pt x="673196" y="858326"/>
                  <a:pt x="671201" y="858326"/>
                </a:cubicBezTo>
                <a:cubicBezTo>
                  <a:pt x="669206" y="858326"/>
                  <a:pt x="667211" y="858326"/>
                  <a:pt x="667211" y="858326"/>
                </a:cubicBezTo>
                <a:cubicBezTo>
                  <a:pt x="667211" y="858326"/>
                  <a:pt x="667211" y="858326"/>
                  <a:pt x="667211" y="862318"/>
                </a:cubicBezTo>
                <a:cubicBezTo>
                  <a:pt x="667211" y="862318"/>
                  <a:pt x="667211" y="862318"/>
                  <a:pt x="665216" y="862318"/>
                </a:cubicBezTo>
                <a:cubicBezTo>
                  <a:pt x="665216" y="862318"/>
                  <a:pt x="663221" y="866311"/>
                  <a:pt x="663221" y="868307"/>
                </a:cubicBezTo>
                <a:cubicBezTo>
                  <a:pt x="663221" y="870303"/>
                  <a:pt x="663221" y="874295"/>
                  <a:pt x="661226" y="874295"/>
                </a:cubicBezTo>
                <a:cubicBezTo>
                  <a:pt x="659231" y="872299"/>
                  <a:pt x="659231" y="872299"/>
                  <a:pt x="659231" y="872299"/>
                </a:cubicBezTo>
                <a:cubicBezTo>
                  <a:pt x="657236" y="870303"/>
                  <a:pt x="655241" y="872299"/>
                  <a:pt x="655241" y="872299"/>
                </a:cubicBezTo>
                <a:cubicBezTo>
                  <a:pt x="653246" y="872299"/>
                  <a:pt x="651251" y="872299"/>
                  <a:pt x="651251" y="872299"/>
                </a:cubicBezTo>
                <a:cubicBezTo>
                  <a:pt x="649256" y="870303"/>
                  <a:pt x="649256" y="868307"/>
                  <a:pt x="649256" y="866311"/>
                </a:cubicBezTo>
                <a:cubicBezTo>
                  <a:pt x="651251" y="866311"/>
                  <a:pt x="653246" y="864315"/>
                  <a:pt x="653246" y="862318"/>
                </a:cubicBezTo>
                <a:cubicBezTo>
                  <a:pt x="655241" y="862318"/>
                  <a:pt x="653246" y="862318"/>
                  <a:pt x="651251" y="860322"/>
                </a:cubicBezTo>
                <a:cubicBezTo>
                  <a:pt x="651251" y="860322"/>
                  <a:pt x="651251" y="858326"/>
                  <a:pt x="651251" y="858326"/>
                </a:cubicBezTo>
                <a:cubicBezTo>
                  <a:pt x="651251" y="858326"/>
                  <a:pt x="651251" y="856330"/>
                  <a:pt x="649256" y="854334"/>
                </a:cubicBezTo>
                <a:cubicBezTo>
                  <a:pt x="647261" y="854334"/>
                  <a:pt x="645266" y="854334"/>
                  <a:pt x="643271" y="854334"/>
                </a:cubicBezTo>
                <a:cubicBezTo>
                  <a:pt x="643271" y="852338"/>
                  <a:pt x="643271" y="852338"/>
                  <a:pt x="643271" y="850342"/>
                </a:cubicBezTo>
                <a:cubicBezTo>
                  <a:pt x="645266" y="848346"/>
                  <a:pt x="645266" y="848346"/>
                  <a:pt x="645266" y="846350"/>
                </a:cubicBezTo>
                <a:cubicBezTo>
                  <a:pt x="645266" y="844353"/>
                  <a:pt x="643271" y="844353"/>
                  <a:pt x="641276" y="842357"/>
                </a:cubicBezTo>
                <a:cubicBezTo>
                  <a:pt x="639281" y="840361"/>
                  <a:pt x="635292" y="842357"/>
                  <a:pt x="633297" y="842357"/>
                </a:cubicBezTo>
                <a:cubicBezTo>
                  <a:pt x="631302" y="842357"/>
                  <a:pt x="631302" y="842357"/>
                  <a:pt x="629307" y="842357"/>
                </a:cubicBezTo>
                <a:cubicBezTo>
                  <a:pt x="629307" y="844353"/>
                  <a:pt x="625317" y="844353"/>
                  <a:pt x="623322" y="846350"/>
                </a:cubicBezTo>
                <a:cubicBezTo>
                  <a:pt x="623322" y="848346"/>
                  <a:pt x="621327" y="848346"/>
                  <a:pt x="619332" y="850342"/>
                </a:cubicBezTo>
                <a:cubicBezTo>
                  <a:pt x="617337" y="850342"/>
                  <a:pt x="615342" y="850342"/>
                  <a:pt x="615342" y="850342"/>
                </a:cubicBezTo>
                <a:cubicBezTo>
                  <a:pt x="613347" y="852338"/>
                  <a:pt x="611352" y="850342"/>
                  <a:pt x="611352" y="850342"/>
                </a:cubicBezTo>
                <a:cubicBezTo>
                  <a:pt x="609357" y="850342"/>
                  <a:pt x="607362" y="850342"/>
                  <a:pt x="607362" y="848346"/>
                </a:cubicBezTo>
                <a:cubicBezTo>
                  <a:pt x="605367" y="848346"/>
                  <a:pt x="603372" y="848346"/>
                  <a:pt x="601377" y="846350"/>
                </a:cubicBezTo>
                <a:cubicBezTo>
                  <a:pt x="599382" y="844353"/>
                  <a:pt x="597387" y="844353"/>
                  <a:pt x="597387" y="844353"/>
                </a:cubicBezTo>
                <a:cubicBezTo>
                  <a:pt x="595392" y="844353"/>
                  <a:pt x="595392" y="846350"/>
                  <a:pt x="593397" y="848346"/>
                </a:cubicBezTo>
                <a:cubicBezTo>
                  <a:pt x="593397" y="848346"/>
                  <a:pt x="591402" y="850342"/>
                  <a:pt x="591402" y="852338"/>
                </a:cubicBezTo>
                <a:cubicBezTo>
                  <a:pt x="589407" y="854334"/>
                  <a:pt x="589407" y="854334"/>
                  <a:pt x="587412" y="856330"/>
                </a:cubicBezTo>
                <a:cubicBezTo>
                  <a:pt x="585417" y="858326"/>
                  <a:pt x="585417" y="858326"/>
                  <a:pt x="583422" y="860322"/>
                </a:cubicBezTo>
                <a:cubicBezTo>
                  <a:pt x="583422" y="862318"/>
                  <a:pt x="579432" y="862318"/>
                  <a:pt x="579432" y="862318"/>
                </a:cubicBezTo>
                <a:cubicBezTo>
                  <a:pt x="577437" y="862318"/>
                  <a:pt x="577437" y="862318"/>
                  <a:pt x="575442" y="864315"/>
                </a:cubicBezTo>
                <a:cubicBezTo>
                  <a:pt x="573447" y="864315"/>
                  <a:pt x="571452" y="864315"/>
                  <a:pt x="569457" y="866311"/>
                </a:cubicBezTo>
                <a:cubicBezTo>
                  <a:pt x="567462" y="866311"/>
                  <a:pt x="567462" y="866311"/>
                  <a:pt x="565467" y="868307"/>
                </a:cubicBezTo>
                <a:cubicBezTo>
                  <a:pt x="565467" y="870303"/>
                  <a:pt x="563472" y="874295"/>
                  <a:pt x="563472" y="874295"/>
                </a:cubicBezTo>
                <a:cubicBezTo>
                  <a:pt x="561477" y="874295"/>
                  <a:pt x="555492" y="876291"/>
                  <a:pt x="553497" y="876291"/>
                </a:cubicBezTo>
                <a:cubicBezTo>
                  <a:pt x="551502" y="878287"/>
                  <a:pt x="551502" y="878287"/>
                  <a:pt x="549507" y="878287"/>
                </a:cubicBezTo>
                <a:cubicBezTo>
                  <a:pt x="549507" y="880283"/>
                  <a:pt x="549507" y="880283"/>
                  <a:pt x="547512" y="882280"/>
                </a:cubicBezTo>
                <a:cubicBezTo>
                  <a:pt x="547512" y="884276"/>
                  <a:pt x="545517" y="886272"/>
                  <a:pt x="545517" y="888268"/>
                </a:cubicBezTo>
                <a:cubicBezTo>
                  <a:pt x="543522" y="888268"/>
                  <a:pt x="541527" y="890264"/>
                  <a:pt x="539532" y="892260"/>
                </a:cubicBezTo>
                <a:cubicBezTo>
                  <a:pt x="537537" y="892260"/>
                  <a:pt x="533547" y="890264"/>
                  <a:pt x="527562" y="890264"/>
                </a:cubicBezTo>
                <a:cubicBezTo>
                  <a:pt x="523572" y="890264"/>
                  <a:pt x="517587" y="890264"/>
                  <a:pt x="517587" y="890264"/>
                </a:cubicBezTo>
                <a:cubicBezTo>
                  <a:pt x="517587" y="890264"/>
                  <a:pt x="517587" y="890264"/>
                  <a:pt x="515592" y="888268"/>
                </a:cubicBezTo>
                <a:cubicBezTo>
                  <a:pt x="515592" y="886272"/>
                  <a:pt x="511602" y="886272"/>
                  <a:pt x="511602" y="886272"/>
                </a:cubicBezTo>
                <a:cubicBezTo>
                  <a:pt x="511602" y="886272"/>
                  <a:pt x="507612" y="886272"/>
                  <a:pt x="507612" y="886272"/>
                </a:cubicBezTo>
                <a:cubicBezTo>
                  <a:pt x="507612" y="884276"/>
                  <a:pt x="505617" y="884276"/>
                  <a:pt x="503622" y="884276"/>
                </a:cubicBezTo>
                <a:cubicBezTo>
                  <a:pt x="501627" y="886272"/>
                  <a:pt x="497637" y="888268"/>
                  <a:pt x="495642" y="888268"/>
                </a:cubicBezTo>
                <a:cubicBezTo>
                  <a:pt x="491652" y="888268"/>
                  <a:pt x="491652" y="890264"/>
                  <a:pt x="491652" y="886272"/>
                </a:cubicBezTo>
                <a:cubicBezTo>
                  <a:pt x="491652" y="882280"/>
                  <a:pt x="495642" y="880283"/>
                  <a:pt x="491652" y="878287"/>
                </a:cubicBezTo>
                <a:cubicBezTo>
                  <a:pt x="487662" y="878287"/>
                  <a:pt x="487662" y="880283"/>
                  <a:pt x="483673" y="882280"/>
                </a:cubicBezTo>
                <a:cubicBezTo>
                  <a:pt x="479683" y="882280"/>
                  <a:pt x="475693" y="884276"/>
                  <a:pt x="473698" y="886272"/>
                </a:cubicBezTo>
                <a:cubicBezTo>
                  <a:pt x="471703" y="886272"/>
                  <a:pt x="463723" y="892260"/>
                  <a:pt x="461728" y="894256"/>
                </a:cubicBezTo>
                <a:cubicBezTo>
                  <a:pt x="457738" y="896252"/>
                  <a:pt x="453748" y="902241"/>
                  <a:pt x="451753" y="904237"/>
                </a:cubicBezTo>
                <a:cubicBezTo>
                  <a:pt x="449758" y="906233"/>
                  <a:pt x="449758" y="900244"/>
                  <a:pt x="449758" y="898248"/>
                </a:cubicBezTo>
                <a:cubicBezTo>
                  <a:pt x="449758" y="896252"/>
                  <a:pt x="449758" y="892260"/>
                  <a:pt x="447763" y="890264"/>
                </a:cubicBezTo>
                <a:cubicBezTo>
                  <a:pt x="447763" y="886272"/>
                  <a:pt x="445768" y="886272"/>
                  <a:pt x="443773" y="886272"/>
                </a:cubicBezTo>
                <a:cubicBezTo>
                  <a:pt x="441778" y="886272"/>
                  <a:pt x="439783" y="888268"/>
                  <a:pt x="437788" y="890264"/>
                </a:cubicBezTo>
                <a:cubicBezTo>
                  <a:pt x="435793" y="892260"/>
                  <a:pt x="429808" y="894256"/>
                  <a:pt x="427813" y="896252"/>
                </a:cubicBezTo>
                <a:cubicBezTo>
                  <a:pt x="427813" y="896252"/>
                  <a:pt x="425818" y="896252"/>
                  <a:pt x="423823" y="896252"/>
                </a:cubicBezTo>
                <a:cubicBezTo>
                  <a:pt x="421828" y="896252"/>
                  <a:pt x="419833" y="896252"/>
                  <a:pt x="417838" y="896252"/>
                </a:cubicBezTo>
                <a:cubicBezTo>
                  <a:pt x="413848" y="894256"/>
                  <a:pt x="411853" y="894256"/>
                  <a:pt x="409858" y="894256"/>
                </a:cubicBezTo>
                <a:cubicBezTo>
                  <a:pt x="405868" y="894256"/>
                  <a:pt x="405868" y="894256"/>
                  <a:pt x="403873" y="894256"/>
                </a:cubicBezTo>
                <a:cubicBezTo>
                  <a:pt x="399883" y="894256"/>
                  <a:pt x="399883" y="894256"/>
                  <a:pt x="397888" y="892260"/>
                </a:cubicBezTo>
                <a:cubicBezTo>
                  <a:pt x="395893" y="892260"/>
                  <a:pt x="391903" y="892260"/>
                  <a:pt x="391903" y="890264"/>
                </a:cubicBezTo>
                <a:cubicBezTo>
                  <a:pt x="389908" y="888268"/>
                  <a:pt x="385918" y="886272"/>
                  <a:pt x="383923" y="884276"/>
                </a:cubicBezTo>
                <a:cubicBezTo>
                  <a:pt x="379933" y="884276"/>
                  <a:pt x="377938" y="882280"/>
                  <a:pt x="375943" y="884276"/>
                </a:cubicBezTo>
                <a:cubicBezTo>
                  <a:pt x="375943" y="884276"/>
                  <a:pt x="371953" y="882280"/>
                  <a:pt x="367963" y="882280"/>
                </a:cubicBezTo>
                <a:cubicBezTo>
                  <a:pt x="363973" y="882280"/>
                  <a:pt x="363973" y="884276"/>
                  <a:pt x="363973" y="882280"/>
                </a:cubicBezTo>
                <a:cubicBezTo>
                  <a:pt x="361978" y="880283"/>
                  <a:pt x="359983" y="876291"/>
                  <a:pt x="359983" y="874295"/>
                </a:cubicBezTo>
                <a:cubicBezTo>
                  <a:pt x="357988" y="872299"/>
                  <a:pt x="353998" y="870303"/>
                  <a:pt x="352003" y="868307"/>
                </a:cubicBezTo>
                <a:cubicBezTo>
                  <a:pt x="352003" y="866311"/>
                  <a:pt x="348013" y="866311"/>
                  <a:pt x="346018" y="866311"/>
                </a:cubicBezTo>
                <a:cubicBezTo>
                  <a:pt x="344023" y="866311"/>
                  <a:pt x="342028" y="866311"/>
                  <a:pt x="340033" y="866311"/>
                </a:cubicBezTo>
                <a:cubicBezTo>
                  <a:pt x="338038" y="864315"/>
                  <a:pt x="338038" y="862318"/>
                  <a:pt x="338038" y="862318"/>
                </a:cubicBezTo>
                <a:cubicBezTo>
                  <a:pt x="338038" y="862318"/>
                  <a:pt x="336044" y="862318"/>
                  <a:pt x="334049" y="862318"/>
                </a:cubicBezTo>
                <a:cubicBezTo>
                  <a:pt x="332054" y="862318"/>
                  <a:pt x="330059" y="862318"/>
                  <a:pt x="330059" y="860322"/>
                </a:cubicBezTo>
                <a:cubicBezTo>
                  <a:pt x="330059" y="856330"/>
                  <a:pt x="330059" y="852338"/>
                  <a:pt x="330059" y="850342"/>
                </a:cubicBezTo>
                <a:cubicBezTo>
                  <a:pt x="328064" y="848346"/>
                  <a:pt x="326069" y="850342"/>
                  <a:pt x="326069" y="850342"/>
                </a:cubicBezTo>
                <a:cubicBezTo>
                  <a:pt x="326069" y="850342"/>
                  <a:pt x="322079" y="850342"/>
                  <a:pt x="320084" y="850342"/>
                </a:cubicBezTo>
                <a:cubicBezTo>
                  <a:pt x="320084" y="852338"/>
                  <a:pt x="318089" y="856330"/>
                  <a:pt x="314099" y="854334"/>
                </a:cubicBezTo>
                <a:cubicBezTo>
                  <a:pt x="310109" y="852338"/>
                  <a:pt x="312104" y="852338"/>
                  <a:pt x="310109" y="850342"/>
                </a:cubicBezTo>
                <a:cubicBezTo>
                  <a:pt x="306119" y="848346"/>
                  <a:pt x="308114" y="844353"/>
                  <a:pt x="306119" y="842357"/>
                </a:cubicBezTo>
                <a:cubicBezTo>
                  <a:pt x="304124" y="840361"/>
                  <a:pt x="298139" y="842357"/>
                  <a:pt x="298139" y="842357"/>
                </a:cubicBezTo>
                <a:cubicBezTo>
                  <a:pt x="298139" y="842357"/>
                  <a:pt x="294149" y="840361"/>
                  <a:pt x="292154" y="838365"/>
                </a:cubicBezTo>
                <a:cubicBezTo>
                  <a:pt x="288164" y="836369"/>
                  <a:pt x="288164" y="836369"/>
                  <a:pt x="286169" y="834373"/>
                </a:cubicBezTo>
                <a:cubicBezTo>
                  <a:pt x="284174" y="832377"/>
                  <a:pt x="284174" y="830381"/>
                  <a:pt x="282179" y="830381"/>
                </a:cubicBezTo>
                <a:cubicBezTo>
                  <a:pt x="280184" y="828385"/>
                  <a:pt x="276194" y="824392"/>
                  <a:pt x="274199" y="822396"/>
                </a:cubicBezTo>
                <a:cubicBezTo>
                  <a:pt x="272204" y="820400"/>
                  <a:pt x="268214" y="820400"/>
                  <a:pt x="268214" y="820400"/>
                </a:cubicBezTo>
                <a:cubicBezTo>
                  <a:pt x="268214" y="820400"/>
                  <a:pt x="264224" y="824392"/>
                  <a:pt x="264224" y="826388"/>
                </a:cubicBezTo>
                <a:cubicBezTo>
                  <a:pt x="262229" y="826388"/>
                  <a:pt x="258239" y="828385"/>
                  <a:pt x="258239" y="828385"/>
                </a:cubicBezTo>
                <a:cubicBezTo>
                  <a:pt x="258239" y="828385"/>
                  <a:pt x="254249" y="826388"/>
                  <a:pt x="250259" y="826388"/>
                </a:cubicBezTo>
                <a:cubicBezTo>
                  <a:pt x="248264" y="826388"/>
                  <a:pt x="246269" y="822396"/>
                  <a:pt x="246269" y="820400"/>
                </a:cubicBezTo>
                <a:cubicBezTo>
                  <a:pt x="244274" y="818404"/>
                  <a:pt x="240284" y="814412"/>
                  <a:pt x="238289" y="814412"/>
                </a:cubicBezTo>
                <a:cubicBezTo>
                  <a:pt x="236294" y="814412"/>
                  <a:pt x="232304" y="812416"/>
                  <a:pt x="230309" y="810420"/>
                </a:cubicBezTo>
                <a:cubicBezTo>
                  <a:pt x="228314" y="806427"/>
                  <a:pt x="226319" y="806427"/>
                  <a:pt x="224324" y="804431"/>
                </a:cubicBezTo>
                <a:cubicBezTo>
                  <a:pt x="220334" y="802435"/>
                  <a:pt x="220334" y="798443"/>
                  <a:pt x="218339" y="796447"/>
                </a:cubicBezTo>
                <a:cubicBezTo>
                  <a:pt x="216344" y="794451"/>
                  <a:pt x="212354" y="794451"/>
                  <a:pt x="208364" y="794451"/>
                </a:cubicBezTo>
                <a:cubicBezTo>
                  <a:pt x="204374" y="792455"/>
                  <a:pt x="206369" y="790459"/>
                  <a:pt x="204374" y="786466"/>
                </a:cubicBezTo>
                <a:cubicBezTo>
                  <a:pt x="200384" y="782474"/>
                  <a:pt x="198389" y="784470"/>
                  <a:pt x="194399" y="786466"/>
                </a:cubicBezTo>
                <a:cubicBezTo>
                  <a:pt x="192404" y="786466"/>
                  <a:pt x="190409" y="784470"/>
                  <a:pt x="190409" y="784470"/>
                </a:cubicBezTo>
                <a:cubicBezTo>
                  <a:pt x="190409" y="784470"/>
                  <a:pt x="188414" y="782474"/>
                  <a:pt x="188414" y="780478"/>
                </a:cubicBezTo>
                <a:cubicBezTo>
                  <a:pt x="188414" y="778482"/>
                  <a:pt x="186420" y="774490"/>
                  <a:pt x="186420" y="770497"/>
                </a:cubicBezTo>
                <a:cubicBezTo>
                  <a:pt x="188414" y="766505"/>
                  <a:pt x="188414" y="764509"/>
                  <a:pt x="188414" y="762513"/>
                </a:cubicBezTo>
                <a:cubicBezTo>
                  <a:pt x="188414" y="758521"/>
                  <a:pt x="188414" y="756525"/>
                  <a:pt x="186420" y="754529"/>
                </a:cubicBezTo>
                <a:cubicBezTo>
                  <a:pt x="182430" y="752532"/>
                  <a:pt x="182430" y="750536"/>
                  <a:pt x="182430" y="748540"/>
                </a:cubicBezTo>
                <a:cubicBezTo>
                  <a:pt x="182430" y="744548"/>
                  <a:pt x="182430" y="742552"/>
                  <a:pt x="184425" y="742552"/>
                </a:cubicBezTo>
                <a:cubicBezTo>
                  <a:pt x="186420" y="740556"/>
                  <a:pt x="186420" y="742552"/>
                  <a:pt x="186420" y="744548"/>
                </a:cubicBezTo>
                <a:cubicBezTo>
                  <a:pt x="186420" y="746544"/>
                  <a:pt x="190409" y="748540"/>
                  <a:pt x="190409" y="748540"/>
                </a:cubicBezTo>
                <a:cubicBezTo>
                  <a:pt x="192404" y="748540"/>
                  <a:pt x="192404" y="748540"/>
                  <a:pt x="192404" y="746544"/>
                </a:cubicBezTo>
                <a:cubicBezTo>
                  <a:pt x="194399" y="744548"/>
                  <a:pt x="196394" y="744548"/>
                  <a:pt x="196394" y="744548"/>
                </a:cubicBezTo>
                <a:cubicBezTo>
                  <a:pt x="196394" y="744548"/>
                  <a:pt x="196394" y="742552"/>
                  <a:pt x="196394" y="740556"/>
                </a:cubicBezTo>
                <a:cubicBezTo>
                  <a:pt x="198389" y="738560"/>
                  <a:pt x="200384" y="738560"/>
                  <a:pt x="200384" y="738560"/>
                </a:cubicBezTo>
                <a:cubicBezTo>
                  <a:pt x="202379" y="738560"/>
                  <a:pt x="204374" y="738560"/>
                  <a:pt x="206369" y="738560"/>
                </a:cubicBezTo>
                <a:cubicBezTo>
                  <a:pt x="210359" y="738560"/>
                  <a:pt x="210359" y="736564"/>
                  <a:pt x="210359" y="736564"/>
                </a:cubicBezTo>
                <a:cubicBezTo>
                  <a:pt x="210359" y="734568"/>
                  <a:pt x="208364" y="734568"/>
                  <a:pt x="206369" y="730575"/>
                </a:cubicBezTo>
                <a:cubicBezTo>
                  <a:pt x="204374" y="728579"/>
                  <a:pt x="206369" y="728579"/>
                  <a:pt x="206369" y="724587"/>
                </a:cubicBezTo>
                <a:cubicBezTo>
                  <a:pt x="206369" y="722591"/>
                  <a:pt x="206369" y="718599"/>
                  <a:pt x="204374" y="714606"/>
                </a:cubicBezTo>
                <a:cubicBezTo>
                  <a:pt x="204374" y="710614"/>
                  <a:pt x="198389" y="712610"/>
                  <a:pt x="194399" y="712610"/>
                </a:cubicBezTo>
                <a:cubicBezTo>
                  <a:pt x="192404" y="712610"/>
                  <a:pt x="190409" y="710614"/>
                  <a:pt x="190409" y="706622"/>
                </a:cubicBezTo>
                <a:cubicBezTo>
                  <a:pt x="188414" y="702630"/>
                  <a:pt x="190409" y="700634"/>
                  <a:pt x="192404" y="698638"/>
                </a:cubicBezTo>
                <a:cubicBezTo>
                  <a:pt x="194399" y="696641"/>
                  <a:pt x="192404" y="696641"/>
                  <a:pt x="190409" y="696641"/>
                </a:cubicBezTo>
                <a:cubicBezTo>
                  <a:pt x="188414" y="694645"/>
                  <a:pt x="188414" y="690653"/>
                  <a:pt x="188414" y="690653"/>
                </a:cubicBezTo>
                <a:cubicBezTo>
                  <a:pt x="188414" y="690653"/>
                  <a:pt x="194399" y="690653"/>
                  <a:pt x="196394" y="690653"/>
                </a:cubicBezTo>
                <a:cubicBezTo>
                  <a:pt x="198389" y="688657"/>
                  <a:pt x="200384" y="688657"/>
                  <a:pt x="202379" y="688657"/>
                </a:cubicBezTo>
                <a:cubicBezTo>
                  <a:pt x="204374" y="686661"/>
                  <a:pt x="202379" y="680673"/>
                  <a:pt x="202379" y="678677"/>
                </a:cubicBezTo>
                <a:cubicBezTo>
                  <a:pt x="204374" y="676680"/>
                  <a:pt x="204374" y="678677"/>
                  <a:pt x="206369" y="678677"/>
                </a:cubicBezTo>
                <a:cubicBezTo>
                  <a:pt x="208364" y="678677"/>
                  <a:pt x="208364" y="678677"/>
                  <a:pt x="210359" y="674684"/>
                </a:cubicBezTo>
                <a:cubicBezTo>
                  <a:pt x="210359" y="670692"/>
                  <a:pt x="216344" y="666700"/>
                  <a:pt x="218339" y="666700"/>
                </a:cubicBezTo>
                <a:cubicBezTo>
                  <a:pt x="220334" y="664704"/>
                  <a:pt x="220334" y="662708"/>
                  <a:pt x="222329" y="658715"/>
                </a:cubicBezTo>
                <a:cubicBezTo>
                  <a:pt x="222329" y="656719"/>
                  <a:pt x="220334" y="650731"/>
                  <a:pt x="220334" y="646739"/>
                </a:cubicBezTo>
                <a:cubicBezTo>
                  <a:pt x="220334" y="642747"/>
                  <a:pt x="218339" y="632766"/>
                  <a:pt x="216344" y="630770"/>
                </a:cubicBezTo>
                <a:cubicBezTo>
                  <a:pt x="216344" y="626778"/>
                  <a:pt x="214349" y="626778"/>
                  <a:pt x="212354" y="626778"/>
                </a:cubicBezTo>
                <a:cubicBezTo>
                  <a:pt x="212354" y="624782"/>
                  <a:pt x="208364" y="624782"/>
                  <a:pt x="204374" y="624782"/>
                </a:cubicBezTo>
                <a:cubicBezTo>
                  <a:pt x="204374" y="624782"/>
                  <a:pt x="202379" y="622785"/>
                  <a:pt x="200384" y="620789"/>
                </a:cubicBezTo>
                <a:cubicBezTo>
                  <a:pt x="198389" y="618793"/>
                  <a:pt x="194399" y="616797"/>
                  <a:pt x="192404" y="616797"/>
                </a:cubicBezTo>
                <a:cubicBezTo>
                  <a:pt x="190409" y="618793"/>
                  <a:pt x="190409" y="620789"/>
                  <a:pt x="190409" y="622785"/>
                </a:cubicBezTo>
                <a:cubicBezTo>
                  <a:pt x="188414" y="624782"/>
                  <a:pt x="188414" y="624782"/>
                  <a:pt x="184425" y="624782"/>
                </a:cubicBezTo>
                <a:cubicBezTo>
                  <a:pt x="180435" y="626778"/>
                  <a:pt x="176445" y="626778"/>
                  <a:pt x="174450" y="628774"/>
                </a:cubicBezTo>
                <a:cubicBezTo>
                  <a:pt x="170460" y="630770"/>
                  <a:pt x="168465" y="634762"/>
                  <a:pt x="168465" y="634762"/>
                </a:cubicBezTo>
                <a:cubicBezTo>
                  <a:pt x="168465" y="634762"/>
                  <a:pt x="160485" y="636758"/>
                  <a:pt x="158490" y="636758"/>
                </a:cubicBezTo>
                <a:cubicBezTo>
                  <a:pt x="156495" y="636758"/>
                  <a:pt x="152505" y="640750"/>
                  <a:pt x="150510" y="640750"/>
                </a:cubicBezTo>
                <a:cubicBezTo>
                  <a:pt x="148515" y="640750"/>
                  <a:pt x="148515" y="638754"/>
                  <a:pt x="148515" y="636758"/>
                </a:cubicBezTo>
                <a:cubicBezTo>
                  <a:pt x="148515" y="632766"/>
                  <a:pt x="150510" y="632766"/>
                  <a:pt x="148515" y="630770"/>
                </a:cubicBezTo>
                <a:cubicBezTo>
                  <a:pt x="148515" y="628774"/>
                  <a:pt x="144525" y="628774"/>
                  <a:pt x="142530" y="630770"/>
                </a:cubicBezTo>
                <a:cubicBezTo>
                  <a:pt x="140535" y="630770"/>
                  <a:pt x="136545" y="628774"/>
                  <a:pt x="136545" y="628774"/>
                </a:cubicBezTo>
                <a:cubicBezTo>
                  <a:pt x="132555" y="628774"/>
                  <a:pt x="130560" y="626778"/>
                  <a:pt x="130560" y="624782"/>
                </a:cubicBezTo>
                <a:cubicBezTo>
                  <a:pt x="130560" y="624782"/>
                  <a:pt x="128565" y="620789"/>
                  <a:pt x="128565" y="620789"/>
                </a:cubicBezTo>
                <a:cubicBezTo>
                  <a:pt x="128565" y="620789"/>
                  <a:pt x="124575" y="618793"/>
                  <a:pt x="124575" y="616797"/>
                </a:cubicBezTo>
                <a:cubicBezTo>
                  <a:pt x="122580" y="614801"/>
                  <a:pt x="118590" y="612805"/>
                  <a:pt x="116595" y="610809"/>
                </a:cubicBezTo>
                <a:cubicBezTo>
                  <a:pt x="114600" y="610809"/>
                  <a:pt x="110610" y="608813"/>
                  <a:pt x="106620" y="606817"/>
                </a:cubicBezTo>
                <a:cubicBezTo>
                  <a:pt x="104625" y="604821"/>
                  <a:pt x="100635" y="600828"/>
                  <a:pt x="98640" y="598832"/>
                </a:cubicBezTo>
                <a:cubicBezTo>
                  <a:pt x="98640" y="598832"/>
                  <a:pt x="94650" y="596836"/>
                  <a:pt x="94650" y="592844"/>
                </a:cubicBezTo>
                <a:cubicBezTo>
                  <a:pt x="90660" y="588852"/>
                  <a:pt x="88665" y="584859"/>
                  <a:pt x="84675" y="586856"/>
                </a:cubicBezTo>
                <a:cubicBezTo>
                  <a:pt x="82680" y="586856"/>
                  <a:pt x="80685" y="588852"/>
                  <a:pt x="80685" y="588852"/>
                </a:cubicBezTo>
                <a:cubicBezTo>
                  <a:pt x="78690" y="590848"/>
                  <a:pt x="74700" y="588852"/>
                  <a:pt x="72705" y="586856"/>
                </a:cubicBezTo>
                <a:cubicBezTo>
                  <a:pt x="70710" y="586856"/>
                  <a:pt x="68715" y="584859"/>
                  <a:pt x="68715" y="584859"/>
                </a:cubicBezTo>
                <a:cubicBezTo>
                  <a:pt x="68715" y="584859"/>
                  <a:pt x="66720" y="586856"/>
                  <a:pt x="64725" y="586856"/>
                </a:cubicBezTo>
                <a:cubicBezTo>
                  <a:pt x="64725" y="586856"/>
                  <a:pt x="64725" y="584859"/>
                  <a:pt x="64725" y="584859"/>
                </a:cubicBezTo>
                <a:cubicBezTo>
                  <a:pt x="64725" y="582863"/>
                  <a:pt x="64725" y="582863"/>
                  <a:pt x="62730" y="580867"/>
                </a:cubicBezTo>
                <a:cubicBezTo>
                  <a:pt x="60735" y="578871"/>
                  <a:pt x="58740" y="580867"/>
                  <a:pt x="54750" y="580867"/>
                </a:cubicBezTo>
                <a:cubicBezTo>
                  <a:pt x="50760" y="580867"/>
                  <a:pt x="44775" y="580867"/>
                  <a:pt x="42780" y="580867"/>
                </a:cubicBezTo>
                <a:cubicBezTo>
                  <a:pt x="42780" y="580867"/>
                  <a:pt x="40785" y="578871"/>
                  <a:pt x="40785" y="578871"/>
                </a:cubicBezTo>
                <a:cubicBezTo>
                  <a:pt x="40785" y="578871"/>
                  <a:pt x="40785" y="576875"/>
                  <a:pt x="42780" y="576875"/>
                </a:cubicBezTo>
                <a:cubicBezTo>
                  <a:pt x="42780" y="574879"/>
                  <a:pt x="46770" y="572883"/>
                  <a:pt x="46770" y="572883"/>
                </a:cubicBezTo>
                <a:cubicBezTo>
                  <a:pt x="46770" y="572883"/>
                  <a:pt x="46770" y="572883"/>
                  <a:pt x="46770" y="568891"/>
                </a:cubicBezTo>
                <a:cubicBezTo>
                  <a:pt x="46770" y="568891"/>
                  <a:pt x="42780" y="568891"/>
                  <a:pt x="40785" y="564898"/>
                </a:cubicBezTo>
                <a:cubicBezTo>
                  <a:pt x="38790" y="560906"/>
                  <a:pt x="40785" y="560906"/>
                  <a:pt x="40785" y="558910"/>
                </a:cubicBezTo>
                <a:cubicBezTo>
                  <a:pt x="40785" y="556914"/>
                  <a:pt x="40785" y="554918"/>
                  <a:pt x="38790" y="550926"/>
                </a:cubicBezTo>
                <a:cubicBezTo>
                  <a:pt x="36795" y="548929"/>
                  <a:pt x="36795" y="548929"/>
                  <a:pt x="34801" y="546933"/>
                </a:cubicBezTo>
                <a:cubicBezTo>
                  <a:pt x="32806" y="544937"/>
                  <a:pt x="32806" y="542941"/>
                  <a:pt x="32806" y="540945"/>
                </a:cubicBezTo>
                <a:cubicBezTo>
                  <a:pt x="32806" y="538949"/>
                  <a:pt x="32806" y="534957"/>
                  <a:pt x="30811" y="532961"/>
                </a:cubicBezTo>
                <a:cubicBezTo>
                  <a:pt x="28816" y="532961"/>
                  <a:pt x="24826" y="530965"/>
                  <a:pt x="22831" y="530965"/>
                </a:cubicBezTo>
                <a:cubicBezTo>
                  <a:pt x="18841" y="530965"/>
                  <a:pt x="16846" y="532961"/>
                  <a:pt x="14851" y="534957"/>
                </a:cubicBezTo>
                <a:cubicBezTo>
                  <a:pt x="12856" y="536953"/>
                  <a:pt x="12856" y="538949"/>
                  <a:pt x="10861" y="538949"/>
                </a:cubicBezTo>
                <a:cubicBezTo>
                  <a:pt x="8866" y="538949"/>
                  <a:pt x="8866" y="536953"/>
                  <a:pt x="6871" y="534957"/>
                </a:cubicBezTo>
                <a:cubicBezTo>
                  <a:pt x="6871" y="532961"/>
                  <a:pt x="4876" y="532961"/>
                  <a:pt x="4876" y="530965"/>
                </a:cubicBezTo>
                <a:cubicBezTo>
                  <a:pt x="4876" y="526972"/>
                  <a:pt x="6871" y="524976"/>
                  <a:pt x="8866" y="522980"/>
                </a:cubicBezTo>
                <a:cubicBezTo>
                  <a:pt x="8866" y="520984"/>
                  <a:pt x="6871" y="518988"/>
                  <a:pt x="6871" y="518988"/>
                </a:cubicBezTo>
                <a:cubicBezTo>
                  <a:pt x="6871" y="518988"/>
                  <a:pt x="6871" y="518988"/>
                  <a:pt x="2881" y="514996"/>
                </a:cubicBezTo>
                <a:cubicBezTo>
                  <a:pt x="2881" y="514996"/>
                  <a:pt x="886" y="513000"/>
                  <a:pt x="886" y="511003"/>
                </a:cubicBezTo>
                <a:cubicBezTo>
                  <a:pt x="-1109" y="509007"/>
                  <a:pt x="886" y="501023"/>
                  <a:pt x="886" y="499027"/>
                </a:cubicBezTo>
                <a:cubicBezTo>
                  <a:pt x="2881" y="497031"/>
                  <a:pt x="2881" y="495035"/>
                  <a:pt x="2881" y="495035"/>
                </a:cubicBezTo>
                <a:cubicBezTo>
                  <a:pt x="2881" y="493038"/>
                  <a:pt x="4876" y="487050"/>
                  <a:pt x="4876" y="487050"/>
                </a:cubicBezTo>
                <a:cubicBezTo>
                  <a:pt x="4876" y="485054"/>
                  <a:pt x="10861" y="485054"/>
                  <a:pt x="12856" y="485054"/>
                </a:cubicBezTo>
                <a:cubicBezTo>
                  <a:pt x="14851" y="483058"/>
                  <a:pt x="16846" y="483058"/>
                  <a:pt x="18841" y="481062"/>
                </a:cubicBezTo>
                <a:cubicBezTo>
                  <a:pt x="18841" y="481062"/>
                  <a:pt x="20836" y="479066"/>
                  <a:pt x="20836" y="479066"/>
                </a:cubicBezTo>
                <a:cubicBezTo>
                  <a:pt x="20836" y="479066"/>
                  <a:pt x="20836" y="479066"/>
                  <a:pt x="28816" y="479066"/>
                </a:cubicBezTo>
                <a:cubicBezTo>
                  <a:pt x="28816" y="479066"/>
                  <a:pt x="28816" y="479066"/>
                  <a:pt x="30811" y="477070"/>
                </a:cubicBezTo>
                <a:cubicBezTo>
                  <a:pt x="30811" y="477070"/>
                  <a:pt x="32806" y="477070"/>
                  <a:pt x="34801" y="477070"/>
                </a:cubicBezTo>
                <a:cubicBezTo>
                  <a:pt x="34801" y="477070"/>
                  <a:pt x="36795" y="477070"/>
                  <a:pt x="36795" y="477070"/>
                </a:cubicBezTo>
                <a:cubicBezTo>
                  <a:pt x="36795" y="477070"/>
                  <a:pt x="36795" y="477070"/>
                  <a:pt x="40785" y="475074"/>
                </a:cubicBezTo>
                <a:cubicBezTo>
                  <a:pt x="40785" y="475074"/>
                  <a:pt x="40785" y="473077"/>
                  <a:pt x="42780" y="471081"/>
                </a:cubicBezTo>
                <a:cubicBezTo>
                  <a:pt x="44775" y="469085"/>
                  <a:pt x="44775" y="471081"/>
                  <a:pt x="46770" y="471081"/>
                </a:cubicBezTo>
                <a:cubicBezTo>
                  <a:pt x="46770" y="473077"/>
                  <a:pt x="46770" y="475074"/>
                  <a:pt x="46770" y="475074"/>
                </a:cubicBezTo>
                <a:cubicBezTo>
                  <a:pt x="46770" y="475074"/>
                  <a:pt x="44775" y="477070"/>
                  <a:pt x="44775" y="479066"/>
                </a:cubicBezTo>
                <a:cubicBezTo>
                  <a:pt x="44775" y="481062"/>
                  <a:pt x="44775" y="481062"/>
                  <a:pt x="44775" y="481062"/>
                </a:cubicBezTo>
                <a:cubicBezTo>
                  <a:pt x="44775" y="481062"/>
                  <a:pt x="48765" y="481062"/>
                  <a:pt x="50760" y="481062"/>
                </a:cubicBezTo>
                <a:cubicBezTo>
                  <a:pt x="50760" y="479066"/>
                  <a:pt x="54750" y="479066"/>
                  <a:pt x="56745" y="479066"/>
                </a:cubicBezTo>
                <a:cubicBezTo>
                  <a:pt x="56745" y="479066"/>
                  <a:pt x="58740" y="477070"/>
                  <a:pt x="60735" y="477070"/>
                </a:cubicBezTo>
                <a:cubicBezTo>
                  <a:pt x="60735" y="477070"/>
                  <a:pt x="66720" y="475074"/>
                  <a:pt x="68715" y="473077"/>
                </a:cubicBezTo>
                <a:cubicBezTo>
                  <a:pt x="72705" y="473077"/>
                  <a:pt x="72705" y="471081"/>
                  <a:pt x="72705" y="469085"/>
                </a:cubicBezTo>
                <a:cubicBezTo>
                  <a:pt x="72705" y="467089"/>
                  <a:pt x="72705" y="461101"/>
                  <a:pt x="72705" y="459105"/>
                </a:cubicBezTo>
                <a:cubicBezTo>
                  <a:pt x="74700" y="457109"/>
                  <a:pt x="76695" y="455112"/>
                  <a:pt x="78690" y="453116"/>
                </a:cubicBezTo>
                <a:cubicBezTo>
                  <a:pt x="78690" y="453116"/>
                  <a:pt x="82680" y="453116"/>
                  <a:pt x="86670" y="455112"/>
                </a:cubicBezTo>
                <a:cubicBezTo>
                  <a:pt x="88665" y="455112"/>
                  <a:pt x="92655" y="455112"/>
                  <a:pt x="92655" y="455112"/>
                </a:cubicBezTo>
                <a:cubicBezTo>
                  <a:pt x="92655" y="455112"/>
                  <a:pt x="94650" y="455112"/>
                  <a:pt x="96645" y="455112"/>
                </a:cubicBezTo>
                <a:cubicBezTo>
                  <a:pt x="98640" y="453116"/>
                  <a:pt x="102630" y="453116"/>
                  <a:pt x="102630" y="451120"/>
                </a:cubicBezTo>
                <a:cubicBezTo>
                  <a:pt x="102630" y="451120"/>
                  <a:pt x="102630" y="451120"/>
                  <a:pt x="106620" y="451120"/>
                </a:cubicBezTo>
                <a:cubicBezTo>
                  <a:pt x="108615" y="449124"/>
                  <a:pt x="108615" y="449124"/>
                  <a:pt x="110610" y="447128"/>
                </a:cubicBezTo>
                <a:cubicBezTo>
                  <a:pt x="110610" y="443136"/>
                  <a:pt x="114600" y="441140"/>
                  <a:pt x="114600" y="439144"/>
                </a:cubicBezTo>
                <a:cubicBezTo>
                  <a:pt x="116595" y="437147"/>
                  <a:pt x="116595" y="437147"/>
                  <a:pt x="118590" y="435151"/>
                </a:cubicBezTo>
                <a:cubicBezTo>
                  <a:pt x="120585" y="435151"/>
                  <a:pt x="124575" y="435151"/>
                  <a:pt x="124575" y="433155"/>
                </a:cubicBezTo>
                <a:cubicBezTo>
                  <a:pt x="126570" y="431159"/>
                  <a:pt x="126570" y="429163"/>
                  <a:pt x="128565" y="427167"/>
                </a:cubicBezTo>
                <a:cubicBezTo>
                  <a:pt x="130560" y="423175"/>
                  <a:pt x="130560" y="427167"/>
                  <a:pt x="130560" y="427167"/>
                </a:cubicBezTo>
                <a:cubicBezTo>
                  <a:pt x="132555" y="429163"/>
                  <a:pt x="132555" y="429163"/>
                  <a:pt x="134550" y="429163"/>
                </a:cubicBezTo>
                <a:cubicBezTo>
                  <a:pt x="136545" y="431159"/>
                  <a:pt x="140535" y="429163"/>
                  <a:pt x="140535" y="427167"/>
                </a:cubicBezTo>
                <a:cubicBezTo>
                  <a:pt x="142530" y="425171"/>
                  <a:pt x="142530" y="423175"/>
                  <a:pt x="142530" y="421179"/>
                </a:cubicBezTo>
                <a:cubicBezTo>
                  <a:pt x="144525" y="421179"/>
                  <a:pt x="144525" y="421179"/>
                  <a:pt x="146520" y="419183"/>
                </a:cubicBezTo>
                <a:cubicBezTo>
                  <a:pt x="148515" y="419183"/>
                  <a:pt x="150510" y="419183"/>
                  <a:pt x="152505" y="417186"/>
                </a:cubicBezTo>
                <a:cubicBezTo>
                  <a:pt x="152505" y="417186"/>
                  <a:pt x="152505" y="415190"/>
                  <a:pt x="152505" y="413194"/>
                </a:cubicBezTo>
                <a:cubicBezTo>
                  <a:pt x="152505" y="413194"/>
                  <a:pt x="148515" y="407206"/>
                  <a:pt x="148515" y="407206"/>
                </a:cubicBezTo>
                <a:cubicBezTo>
                  <a:pt x="148515" y="407206"/>
                  <a:pt x="148515" y="403214"/>
                  <a:pt x="148515" y="401218"/>
                </a:cubicBezTo>
                <a:cubicBezTo>
                  <a:pt x="148515" y="399221"/>
                  <a:pt x="148515" y="399221"/>
                  <a:pt x="148515" y="399221"/>
                </a:cubicBezTo>
                <a:cubicBezTo>
                  <a:pt x="148515" y="399221"/>
                  <a:pt x="152505" y="397225"/>
                  <a:pt x="152505" y="397225"/>
                </a:cubicBezTo>
                <a:cubicBezTo>
                  <a:pt x="154500" y="395229"/>
                  <a:pt x="154500" y="393233"/>
                  <a:pt x="154500" y="391237"/>
                </a:cubicBezTo>
                <a:cubicBezTo>
                  <a:pt x="154500" y="389241"/>
                  <a:pt x="156495" y="389241"/>
                  <a:pt x="158490" y="387245"/>
                </a:cubicBezTo>
                <a:cubicBezTo>
                  <a:pt x="158490" y="385249"/>
                  <a:pt x="160485" y="381256"/>
                  <a:pt x="158490" y="379260"/>
                </a:cubicBezTo>
                <a:cubicBezTo>
                  <a:pt x="156495" y="375268"/>
                  <a:pt x="156495" y="375268"/>
                  <a:pt x="154500" y="375268"/>
                </a:cubicBezTo>
                <a:cubicBezTo>
                  <a:pt x="152505" y="373272"/>
                  <a:pt x="152505" y="371276"/>
                  <a:pt x="152505" y="369280"/>
                </a:cubicBezTo>
                <a:cubicBezTo>
                  <a:pt x="152505" y="367284"/>
                  <a:pt x="152505" y="367284"/>
                  <a:pt x="152505" y="367284"/>
                </a:cubicBezTo>
                <a:cubicBezTo>
                  <a:pt x="152505" y="365288"/>
                  <a:pt x="148515" y="363291"/>
                  <a:pt x="148515" y="363291"/>
                </a:cubicBezTo>
                <a:cubicBezTo>
                  <a:pt x="148515" y="363291"/>
                  <a:pt x="148515" y="363291"/>
                  <a:pt x="148515" y="359299"/>
                </a:cubicBezTo>
                <a:cubicBezTo>
                  <a:pt x="148515" y="357303"/>
                  <a:pt x="146520" y="359299"/>
                  <a:pt x="146520" y="357303"/>
                </a:cubicBezTo>
                <a:cubicBezTo>
                  <a:pt x="144525" y="355307"/>
                  <a:pt x="144525" y="353311"/>
                  <a:pt x="144525" y="351315"/>
                </a:cubicBezTo>
                <a:cubicBezTo>
                  <a:pt x="142530" y="349319"/>
                  <a:pt x="142530" y="341334"/>
                  <a:pt x="142530" y="341334"/>
                </a:cubicBezTo>
                <a:cubicBezTo>
                  <a:pt x="142530" y="341334"/>
                  <a:pt x="144525" y="337342"/>
                  <a:pt x="144525" y="337342"/>
                </a:cubicBezTo>
                <a:cubicBezTo>
                  <a:pt x="144525" y="335346"/>
                  <a:pt x="144525" y="333350"/>
                  <a:pt x="144525" y="331354"/>
                </a:cubicBezTo>
                <a:cubicBezTo>
                  <a:pt x="144525" y="329358"/>
                  <a:pt x="144525" y="327362"/>
                  <a:pt x="144525" y="327362"/>
                </a:cubicBezTo>
                <a:cubicBezTo>
                  <a:pt x="142530" y="325365"/>
                  <a:pt x="140535" y="325365"/>
                  <a:pt x="138540" y="323369"/>
                </a:cubicBezTo>
                <a:cubicBezTo>
                  <a:pt x="136545" y="323369"/>
                  <a:pt x="136545" y="323369"/>
                  <a:pt x="134550" y="323369"/>
                </a:cubicBezTo>
                <a:cubicBezTo>
                  <a:pt x="132555" y="321373"/>
                  <a:pt x="132555" y="321373"/>
                  <a:pt x="132555" y="319377"/>
                </a:cubicBezTo>
                <a:cubicBezTo>
                  <a:pt x="132555" y="317381"/>
                  <a:pt x="136545" y="319377"/>
                  <a:pt x="138540" y="319377"/>
                </a:cubicBezTo>
                <a:cubicBezTo>
                  <a:pt x="140535" y="319377"/>
                  <a:pt x="144525" y="317381"/>
                  <a:pt x="144525" y="317381"/>
                </a:cubicBezTo>
                <a:cubicBezTo>
                  <a:pt x="148515" y="315385"/>
                  <a:pt x="152505" y="315385"/>
                  <a:pt x="154500" y="315385"/>
                </a:cubicBezTo>
                <a:cubicBezTo>
                  <a:pt x="156495" y="315385"/>
                  <a:pt x="156495" y="313389"/>
                  <a:pt x="156495" y="313389"/>
                </a:cubicBezTo>
                <a:cubicBezTo>
                  <a:pt x="158490" y="313389"/>
                  <a:pt x="160485" y="313389"/>
                  <a:pt x="162480" y="311393"/>
                </a:cubicBezTo>
                <a:cubicBezTo>
                  <a:pt x="164475" y="311393"/>
                  <a:pt x="166470" y="309397"/>
                  <a:pt x="166470" y="309397"/>
                </a:cubicBezTo>
                <a:cubicBezTo>
                  <a:pt x="168465" y="307400"/>
                  <a:pt x="170460" y="309397"/>
                  <a:pt x="174450" y="309397"/>
                </a:cubicBezTo>
                <a:cubicBezTo>
                  <a:pt x="176445" y="309397"/>
                  <a:pt x="178440" y="311393"/>
                  <a:pt x="178440" y="311393"/>
                </a:cubicBezTo>
                <a:cubicBezTo>
                  <a:pt x="178440" y="311393"/>
                  <a:pt x="180435" y="311393"/>
                  <a:pt x="182430" y="311393"/>
                </a:cubicBezTo>
                <a:cubicBezTo>
                  <a:pt x="182430" y="311393"/>
                  <a:pt x="186420" y="313389"/>
                  <a:pt x="186420" y="313389"/>
                </a:cubicBezTo>
                <a:cubicBezTo>
                  <a:pt x="186420" y="313389"/>
                  <a:pt x="190409" y="313389"/>
                  <a:pt x="194399" y="311393"/>
                </a:cubicBezTo>
                <a:cubicBezTo>
                  <a:pt x="194399" y="311393"/>
                  <a:pt x="198389" y="307400"/>
                  <a:pt x="198389" y="305404"/>
                </a:cubicBezTo>
                <a:cubicBezTo>
                  <a:pt x="196394" y="301412"/>
                  <a:pt x="194399" y="301412"/>
                  <a:pt x="194399" y="301412"/>
                </a:cubicBezTo>
                <a:cubicBezTo>
                  <a:pt x="192404" y="299416"/>
                  <a:pt x="192404" y="299416"/>
                  <a:pt x="192404" y="295424"/>
                </a:cubicBezTo>
                <a:cubicBezTo>
                  <a:pt x="192404" y="293428"/>
                  <a:pt x="192404" y="291432"/>
                  <a:pt x="192404" y="291432"/>
                </a:cubicBezTo>
                <a:cubicBezTo>
                  <a:pt x="194399" y="289435"/>
                  <a:pt x="194399" y="287439"/>
                  <a:pt x="194399" y="287439"/>
                </a:cubicBezTo>
                <a:cubicBezTo>
                  <a:pt x="194399" y="285443"/>
                  <a:pt x="194399" y="283447"/>
                  <a:pt x="194399" y="281451"/>
                </a:cubicBezTo>
                <a:cubicBezTo>
                  <a:pt x="194399" y="279455"/>
                  <a:pt x="192404" y="273467"/>
                  <a:pt x="192404" y="273467"/>
                </a:cubicBezTo>
                <a:cubicBezTo>
                  <a:pt x="192404" y="271471"/>
                  <a:pt x="196394" y="267478"/>
                  <a:pt x="196394" y="267478"/>
                </a:cubicBezTo>
                <a:cubicBezTo>
                  <a:pt x="196394" y="267478"/>
                  <a:pt x="196394" y="263486"/>
                  <a:pt x="194399" y="263486"/>
                </a:cubicBezTo>
                <a:cubicBezTo>
                  <a:pt x="194399" y="261490"/>
                  <a:pt x="196394" y="257498"/>
                  <a:pt x="196394" y="255502"/>
                </a:cubicBezTo>
                <a:cubicBezTo>
                  <a:pt x="198389" y="253506"/>
                  <a:pt x="200384" y="253506"/>
                  <a:pt x="200384" y="251509"/>
                </a:cubicBezTo>
                <a:cubicBezTo>
                  <a:pt x="200384" y="249513"/>
                  <a:pt x="200384" y="247517"/>
                  <a:pt x="200384" y="243525"/>
                </a:cubicBezTo>
                <a:cubicBezTo>
                  <a:pt x="200384" y="239533"/>
                  <a:pt x="204374" y="239533"/>
                  <a:pt x="204374" y="239533"/>
                </a:cubicBezTo>
                <a:cubicBezTo>
                  <a:pt x="204374" y="239533"/>
                  <a:pt x="208364" y="239533"/>
                  <a:pt x="210359" y="239533"/>
                </a:cubicBezTo>
                <a:cubicBezTo>
                  <a:pt x="212354" y="239533"/>
                  <a:pt x="214349" y="241529"/>
                  <a:pt x="214349" y="241529"/>
                </a:cubicBezTo>
                <a:cubicBezTo>
                  <a:pt x="216344" y="241529"/>
                  <a:pt x="218339" y="243525"/>
                  <a:pt x="220334" y="243525"/>
                </a:cubicBezTo>
                <a:cubicBezTo>
                  <a:pt x="222329" y="245521"/>
                  <a:pt x="226319" y="245521"/>
                  <a:pt x="226319" y="245521"/>
                </a:cubicBezTo>
                <a:cubicBezTo>
                  <a:pt x="228314" y="245521"/>
                  <a:pt x="230309" y="245521"/>
                  <a:pt x="232304" y="245521"/>
                </a:cubicBezTo>
                <a:cubicBezTo>
                  <a:pt x="234299" y="245521"/>
                  <a:pt x="236294" y="245521"/>
                  <a:pt x="238289" y="245521"/>
                </a:cubicBezTo>
                <a:cubicBezTo>
                  <a:pt x="240284" y="245521"/>
                  <a:pt x="242279" y="247517"/>
                  <a:pt x="244274" y="247517"/>
                </a:cubicBezTo>
                <a:cubicBezTo>
                  <a:pt x="246269" y="249513"/>
                  <a:pt x="246269" y="251509"/>
                  <a:pt x="248264" y="251509"/>
                </a:cubicBezTo>
                <a:cubicBezTo>
                  <a:pt x="250259" y="251509"/>
                  <a:pt x="250259" y="249513"/>
                  <a:pt x="252254" y="247517"/>
                </a:cubicBezTo>
                <a:cubicBezTo>
                  <a:pt x="252254" y="247517"/>
                  <a:pt x="254249" y="245521"/>
                  <a:pt x="256244" y="245521"/>
                </a:cubicBezTo>
                <a:cubicBezTo>
                  <a:pt x="258239" y="245521"/>
                  <a:pt x="258239" y="245521"/>
                  <a:pt x="258239" y="245521"/>
                </a:cubicBezTo>
                <a:cubicBezTo>
                  <a:pt x="260234" y="243525"/>
                  <a:pt x="262229" y="239533"/>
                  <a:pt x="262229" y="239533"/>
                </a:cubicBezTo>
                <a:cubicBezTo>
                  <a:pt x="264224" y="237537"/>
                  <a:pt x="264224" y="233544"/>
                  <a:pt x="264224" y="231548"/>
                </a:cubicBezTo>
                <a:cubicBezTo>
                  <a:pt x="262229" y="227556"/>
                  <a:pt x="260234" y="225560"/>
                  <a:pt x="260234" y="223564"/>
                </a:cubicBezTo>
                <a:cubicBezTo>
                  <a:pt x="260234" y="221568"/>
                  <a:pt x="260234" y="219572"/>
                  <a:pt x="260234" y="217576"/>
                </a:cubicBezTo>
                <a:cubicBezTo>
                  <a:pt x="260234" y="215580"/>
                  <a:pt x="260234" y="213583"/>
                  <a:pt x="260234" y="211587"/>
                </a:cubicBezTo>
                <a:cubicBezTo>
                  <a:pt x="258239" y="207595"/>
                  <a:pt x="258239" y="205599"/>
                  <a:pt x="258239" y="203603"/>
                </a:cubicBezTo>
                <a:cubicBezTo>
                  <a:pt x="258239" y="203603"/>
                  <a:pt x="258239" y="197615"/>
                  <a:pt x="258239" y="197615"/>
                </a:cubicBezTo>
                <a:cubicBezTo>
                  <a:pt x="260234" y="197615"/>
                  <a:pt x="262229" y="195618"/>
                  <a:pt x="262229" y="195618"/>
                </a:cubicBezTo>
                <a:cubicBezTo>
                  <a:pt x="262229" y="193622"/>
                  <a:pt x="264224" y="191626"/>
                  <a:pt x="264224" y="189630"/>
                </a:cubicBezTo>
                <a:cubicBezTo>
                  <a:pt x="264224" y="189630"/>
                  <a:pt x="266219" y="187634"/>
                  <a:pt x="266219" y="185638"/>
                </a:cubicBezTo>
                <a:cubicBezTo>
                  <a:pt x="266219" y="185638"/>
                  <a:pt x="266219" y="183642"/>
                  <a:pt x="268214" y="183642"/>
                </a:cubicBezTo>
                <a:cubicBezTo>
                  <a:pt x="268214" y="181646"/>
                  <a:pt x="272204" y="181646"/>
                  <a:pt x="274199" y="179650"/>
                </a:cubicBezTo>
                <a:cubicBezTo>
                  <a:pt x="274199" y="179650"/>
                  <a:pt x="276194" y="177653"/>
                  <a:pt x="278189" y="177653"/>
                </a:cubicBezTo>
                <a:cubicBezTo>
                  <a:pt x="278189" y="177653"/>
                  <a:pt x="282179" y="173661"/>
                  <a:pt x="282179" y="171665"/>
                </a:cubicBezTo>
                <a:cubicBezTo>
                  <a:pt x="284174" y="171665"/>
                  <a:pt x="288164" y="165677"/>
                  <a:pt x="288164" y="165677"/>
                </a:cubicBezTo>
                <a:cubicBezTo>
                  <a:pt x="288164" y="165677"/>
                  <a:pt x="290159" y="163681"/>
                  <a:pt x="290159" y="163681"/>
                </a:cubicBezTo>
                <a:cubicBezTo>
                  <a:pt x="292154" y="161685"/>
                  <a:pt x="294149" y="163681"/>
                  <a:pt x="296144" y="161685"/>
                </a:cubicBezTo>
                <a:cubicBezTo>
                  <a:pt x="296144" y="161685"/>
                  <a:pt x="300134" y="163681"/>
                  <a:pt x="300134" y="163681"/>
                </a:cubicBezTo>
                <a:cubicBezTo>
                  <a:pt x="302129" y="163681"/>
                  <a:pt x="304124" y="159688"/>
                  <a:pt x="304124" y="159688"/>
                </a:cubicBezTo>
                <a:cubicBezTo>
                  <a:pt x="306119" y="159688"/>
                  <a:pt x="306119" y="159688"/>
                  <a:pt x="306119" y="159688"/>
                </a:cubicBezTo>
                <a:cubicBezTo>
                  <a:pt x="308114" y="159688"/>
                  <a:pt x="310109" y="159688"/>
                  <a:pt x="310109" y="159688"/>
                </a:cubicBezTo>
                <a:cubicBezTo>
                  <a:pt x="312104" y="159688"/>
                  <a:pt x="312104" y="159688"/>
                  <a:pt x="314099" y="159688"/>
                </a:cubicBezTo>
                <a:cubicBezTo>
                  <a:pt x="316094" y="161685"/>
                  <a:pt x="318089" y="161685"/>
                  <a:pt x="318089" y="159688"/>
                </a:cubicBezTo>
                <a:cubicBezTo>
                  <a:pt x="318089" y="159688"/>
                  <a:pt x="320084" y="161685"/>
                  <a:pt x="322079" y="163681"/>
                </a:cubicBezTo>
                <a:cubicBezTo>
                  <a:pt x="322079" y="163681"/>
                  <a:pt x="320084" y="169669"/>
                  <a:pt x="320084" y="171665"/>
                </a:cubicBezTo>
                <a:cubicBezTo>
                  <a:pt x="320084" y="173661"/>
                  <a:pt x="324074" y="175657"/>
                  <a:pt x="324074" y="175657"/>
                </a:cubicBezTo>
                <a:cubicBezTo>
                  <a:pt x="326069" y="177653"/>
                  <a:pt x="330059" y="181646"/>
                  <a:pt x="330059" y="181646"/>
                </a:cubicBezTo>
                <a:cubicBezTo>
                  <a:pt x="330059" y="183642"/>
                  <a:pt x="332054" y="187634"/>
                  <a:pt x="334049" y="187634"/>
                </a:cubicBezTo>
                <a:cubicBezTo>
                  <a:pt x="334049" y="189630"/>
                  <a:pt x="336044" y="189630"/>
                  <a:pt x="338038" y="189630"/>
                </a:cubicBezTo>
                <a:cubicBezTo>
                  <a:pt x="340033" y="191626"/>
                  <a:pt x="344023" y="193622"/>
                  <a:pt x="344023" y="195618"/>
                </a:cubicBezTo>
                <a:cubicBezTo>
                  <a:pt x="346018" y="195618"/>
                  <a:pt x="348013" y="197615"/>
                  <a:pt x="348013" y="199611"/>
                </a:cubicBezTo>
                <a:cubicBezTo>
                  <a:pt x="348013" y="201607"/>
                  <a:pt x="350008" y="201607"/>
                  <a:pt x="352003" y="203603"/>
                </a:cubicBezTo>
                <a:cubicBezTo>
                  <a:pt x="352003" y="203603"/>
                  <a:pt x="357988" y="205599"/>
                  <a:pt x="357988" y="205599"/>
                </a:cubicBezTo>
                <a:cubicBezTo>
                  <a:pt x="359983" y="205599"/>
                  <a:pt x="367963" y="209591"/>
                  <a:pt x="367963" y="209591"/>
                </a:cubicBezTo>
                <a:cubicBezTo>
                  <a:pt x="367963" y="209591"/>
                  <a:pt x="373948" y="211587"/>
                  <a:pt x="375943" y="211587"/>
                </a:cubicBezTo>
                <a:cubicBezTo>
                  <a:pt x="377938" y="211587"/>
                  <a:pt x="381928" y="213583"/>
                  <a:pt x="381928" y="213583"/>
                </a:cubicBezTo>
                <a:cubicBezTo>
                  <a:pt x="383923" y="215580"/>
                  <a:pt x="385918" y="217576"/>
                  <a:pt x="385918" y="217576"/>
                </a:cubicBezTo>
                <a:cubicBezTo>
                  <a:pt x="385918" y="217576"/>
                  <a:pt x="393898" y="221568"/>
                  <a:pt x="395893" y="223564"/>
                </a:cubicBezTo>
                <a:cubicBezTo>
                  <a:pt x="395893" y="223564"/>
                  <a:pt x="397888" y="225560"/>
                  <a:pt x="397888" y="227556"/>
                </a:cubicBezTo>
                <a:cubicBezTo>
                  <a:pt x="399883" y="227556"/>
                  <a:pt x="403873" y="231548"/>
                  <a:pt x="403873" y="233544"/>
                </a:cubicBezTo>
                <a:cubicBezTo>
                  <a:pt x="403873" y="235541"/>
                  <a:pt x="405868" y="237537"/>
                  <a:pt x="405868" y="239533"/>
                </a:cubicBezTo>
                <a:cubicBezTo>
                  <a:pt x="407863" y="239533"/>
                  <a:pt x="409858" y="241529"/>
                  <a:pt x="409858" y="243525"/>
                </a:cubicBezTo>
                <a:cubicBezTo>
                  <a:pt x="411853" y="243525"/>
                  <a:pt x="413848" y="249513"/>
                  <a:pt x="413848" y="249513"/>
                </a:cubicBezTo>
                <a:cubicBezTo>
                  <a:pt x="413848" y="251509"/>
                  <a:pt x="413848" y="251509"/>
                  <a:pt x="413848" y="253506"/>
                </a:cubicBezTo>
                <a:cubicBezTo>
                  <a:pt x="411853" y="255502"/>
                  <a:pt x="411853" y="257498"/>
                  <a:pt x="411853" y="259494"/>
                </a:cubicBezTo>
                <a:cubicBezTo>
                  <a:pt x="411853" y="261490"/>
                  <a:pt x="413848" y="261490"/>
                  <a:pt x="413848" y="263486"/>
                </a:cubicBezTo>
                <a:cubicBezTo>
                  <a:pt x="413848" y="265482"/>
                  <a:pt x="413848" y="267478"/>
                  <a:pt x="415843" y="269474"/>
                </a:cubicBezTo>
                <a:cubicBezTo>
                  <a:pt x="415843" y="269474"/>
                  <a:pt x="417838" y="271471"/>
                  <a:pt x="417838" y="273467"/>
                </a:cubicBezTo>
                <a:cubicBezTo>
                  <a:pt x="417838" y="275463"/>
                  <a:pt x="415843" y="277459"/>
                  <a:pt x="415843" y="279455"/>
                </a:cubicBezTo>
                <a:cubicBezTo>
                  <a:pt x="415843" y="281451"/>
                  <a:pt x="413848" y="287439"/>
                  <a:pt x="413848" y="287439"/>
                </a:cubicBezTo>
                <a:cubicBezTo>
                  <a:pt x="413848" y="287439"/>
                  <a:pt x="409858" y="299416"/>
                  <a:pt x="409858" y="301412"/>
                </a:cubicBezTo>
                <a:cubicBezTo>
                  <a:pt x="409858" y="303408"/>
                  <a:pt x="409858" y="303408"/>
                  <a:pt x="411853" y="303408"/>
                </a:cubicBezTo>
                <a:cubicBezTo>
                  <a:pt x="413848" y="303408"/>
                  <a:pt x="417838" y="305404"/>
                  <a:pt x="419833" y="305404"/>
                </a:cubicBezTo>
                <a:cubicBezTo>
                  <a:pt x="423823" y="307400"/>
                  <a:pt x="431803" y="307400"/>
                  <a:pt x="431803" y="307400"/>
                </a:cubicBezTo>
                <a:cubicBezTo>
                  <a:pt x="433798" y="307400"/>
                  <a:pt x="437788" y="309397"/>
                  <a:pt x="439783" y="311393"/>
                </a:cubicBezTo>
                <a:cubicBezTo>
                  <a:pt x="441778" y="311393"/>
                  <a:pt x="445768" y="309397"/>
                  <a:pt x="447763" y="309397"/>
                </a:cubicBezTo>
                <a:cubicBezTo>
                  <a:pt x="447763" y="309397"/>
                  <a:pt x="453748" y="309397"/>
                  <a:pt x="455743" y="309397"/>
                </a:cubicBezTo>
                <a:cubicBezTo>
                  <a:pt x="457738" y="309397"/>
                  <a:pt x="461728" y="309397"/>
                  <a:pt x="461728" y="309397"/>
                </a:cubicBezTo>
                <a:cubicBezTo>
                  <a:pt x="463723" y="309397"/>
                  <a:pt x="471703" y="311393"/>
                  <a:pt x="473698" y="311393"/>
                </a:cubicBezTo>
                <a:cubicBezTo>
                  <a:pt x="473698" y="311393"/>
                  <a:pt x="481678" y="315385"/>
                  <a:pt x="483673" y="315385"/>
                </a:cubicBezTo>
                <a:cubicBezTo>
                  <a:pt x="485668" y="317381"/>
                  <a:pt x="489657" y="319377"/>
                  <a:pt x="491652" y="319377"/>
                </a:cubicBezTo>
                <a:cubicBezTo>
                  <a:pt x="491652" y="321373"/>
                  <a:pt x="495642" y="323369"/>
                  <a:pt x="499632" y="325365"/>
                </a:cubicBezTo>
                <a:cubicBezTo>
                  <a:pt x="499632" y="327362"/>
                  <a:pt x="505617" y="329358"/>
                  <a:pt x="505617" y="329358"/>
                </a:cubicBezTo>
                <a:cubicBezTo>
                  <a:pt x="505617" y="329358"/>
                  <a:pt x="513597" y="335346"/>
                  <a:pt x="513597" y="337342"/>
                </a:cubicBezTo>
                <a:cubicBezTo>
                  <a:pt x="515592" y="337342"/>
                  <a:pt x="517587" y="337342"/>
                  <a:pt x="519582" y="337342"/>
                </a:cubicBezTo>
                <a:cubicBezTo>
                  <a:pt x="523572" y="337342"/>
                  <a:pt x="531552" y="343330"/>
                  <a:pt x="531552" y="343330"/>
                </a:cubicBezTo>
                <a:cubicBezTo>
                  <a:pt x="531552" y="343330"/>
                  <a:pt x="537537" y="349319"/>
                  <a:pt x="541527" y="349319"/>
                </a:cubicBezTo>
                <a:cubicBezTo>
                  <a:pt x="543522" y="351315"/>
                  <a:pt x="547512" y="361295"/>
                  <a:pt x="549507" y="363291"/>
                </a:cubicBezTo>
                <a:cubicBezTo>
                  <a:pt x="549507" y="363291"/>
                  <a:pt x="551502" y="367284"/>
                  <a:pt x="553497" y="371276"/>
                </a:cubicBezTo>
                <a:cubicBezTo>
                  <a:pt x="553497" y="373272"/>
                  <a:pt x="557487" y="375268"/>
                  <a:pt x="557487" y="375268"/>
                </a:cubicBezTo>
                <a:cubicBezTo>
                  <a:pt x="557487" y="375268"/>
                  <a:pt x="557487" y="375268"/>
                  <a:pt x="561477" y="379260"/>
                </a:cubicBezTo>
                <a:cubicBezTo>
                  <a:pt x="561477" y="379260"/>
                  <a:pt x="561477" y="379260"/>
                  <a:pt x="569457" y="391237"/>
                </a:cubicBezTo>
                <a:cubicBezTo>
                  <a:pt x="569457" y="391237"/>
                  <a:pt x="573447" y="395229"/>
                  <a:pt x="575442" y="395229"/>
                </a:cubicBezTo>
                <a:cubicBezTo>
                  <a:pt x="579432" y="397225"/>
                  <a:pt x="583422" y="395229"/>
                  <a:pt x="583422" y="395229"/>
                </a:cubicBezTo>
                <a:cubicBezTo>
                  <a:pt x="583422" y="395229"/>
                  <a:pt x="591402" y="395229"/>
                  <a:pt x="593397" y="395229"/>
                </a:cubicBezTo>
                <a:cubicBezTo>
                  <a:pt x="597387" y="393233"/>
                  <a:pt x="601377" y="393233"/>
                  <a:pt x="603372" y="393233"/>
                </a:cubicBezTo>
                <a:cubicBezTo>
                  <a:pt x="605367" y="391237"/>
                  <a:pt x="609357" y="391237"/>
                  <a:pt x="611352" y="391237"/>
                </a:cubicBezTo>
                <a:cubicBezTo>
                  <a:pt x="613347" y="391237"/>
                  <a:pt x="615342" y="393233"/>
                  <a:pt x="617337" y="393233"/>
                </a:cubicBezTo>
                <a:cubicBezTo>
                  <a:pt x="619332" y="393233"/>
                  <a:pt x="625317" y="395229"/>
                  <a:pt x="625317" y="395229"/>
                </a:cubicBezTo>
                <a:cubicBezTo>
                  <a:pt x="627312" y="395229"/>
                  <a:pt x="637287" y="395229"/>
                  <a:pt x="637287" y="395229"/>
                </a:cubicBezTo>
                <a:cubicBezTo>
                  <a:pt x="637287" y="395229"/>
                  <a:pt x="643271" y="395229"/>
                  <a:pt x="645266" y="393233"/>
                </a:cubicBezTo>
                <a:cubicBezTo>
                  <a:pt x="647261" y="393233"/>
                  <a:pt x="651251" y="393233"/>
                  <a:pt x="653246" y="391237"/>
                </a:cubicBezTo>
                <a:cubicBezTo>
                  <a:pt x="655241" y="389241"/>
                  <a:pt x="659231" y="389241"/>
                  <a:pt x="661226" y="387245"/>
                </a:cubicBezTo>
                <a:cubicBezTo>
                  <a:pt x="663221" y="385249"/>
                  <a:pt x="669206" y="385249"/>
                  <a:pt x="671201" y="385249"/>
                </a:cubicBezTo>
                <a:cubicBezTo>
                  <a:pt x="673196" y="385249"/>
                  <a:pt x="677186" y="385249"/>
                  <a:pt x="679181" y="385249"/>
                </a:cubicBezTo>
                <a:cubicBezTo>
                  <a:pt x="683171" y="385249"/>
                  <a:pt x="685166" y="387245"/>
                  <a:pt x="687161" y="387245"/>
                </a:cubicBezTo>
                <a:cubicBezTo>
                  <a:pt x="689156" y="387245"/>
                  <a:pt x="697136" y="389241"/>
                  <a:pt x="699131" y="389241"/>
                </a:cubicBezTo>
                <a:cubicBezTo>
                  <a:pt x="701126" y="391237"/>
                  <a:pt x="703121" y="393233"/>
                  <a:pt x="703121" y="393233"/>
                </a:cubicBezTo>
                <a:cubicBezTo>
                  <a:pt x="703121" y="393233"/>
                  <a:pt x="705116" y="397225"/>
                  <a:pt x="705116" y="397225"/>
                </a:cubicBezTo>
                <a:cubicBezTo>
                  <a:pt x="707111" y="397225"/>
                  <a:pt x="707111" y="401218"/>
                  <a:pt x="709106" y="401218"/>
                </a:cubicBezTo>
                <a:cubicBezTo>
                  <a:pt x="709106" y="401218"/>
                  <a:pt x="713096" y="405210"/>
                  <a:pt x="715091" y="407206"/>
                </a:cubicBezTo>
                <a:cubicBezTo>
                  <a:pt x="715091" y="407206"/>
                  <a:pt x="719081" y="409202"/>
                  <a:pt x="721076" y="409202"/>
                </a:cubicBezTo>
                <a:cubicBezTo>
                  <a:pt x="723071" y="411198"/>
                  <a:pt x="727061" y="413194"/>
                  <a:pt x="729056" y="413194"/>
                </a:cubicBezTo>
                <a:cubicBezTo>
                  <a:pt x="731051" y="413194"/>
                  <a:pt x="735041" y="415190"/>
                  <a:pt x="737036" y="415190"/>
                </a:cubicBezTo>
                <a:cubicBezTo>
                  <a:pt x="739031" y="417186"/>
                  <a:pt x="743021" y="417186"/>
                  <a:pt x="745016" y="417186"/>
                </a:cubicBezTo>
                <a:cubicBezTo>
                  <a:pt x="747011" y="417186"/>
                  <a:pt x="752996" y="419183"/>
                  <a:pt x="754991" y="421179"/>
                </a:cubicBezTo>
                <a:cubicBezTo>
                  <a:pt x="758981" y="421179"/>
                  <a:pt x="760976" y="421179"/>
                  <a:pt x="762971" y="423175"/>
                </a:cubicBezTo>
                <a:cubicBezTo>
                  <a:pt x="762971" y="423175"/>
                  <a:pt x="768956" y="423175"/>
                  <a:pt x="770951" y="421179"/>
                </a:cubicBezTo>
                <a:cubicBezTo>
                  <a:pt x="772946" y="419183"/>
                  <a:pt x="772946" y="419183"/>
                  <a:pt x="774941" y="421179"/>
                </a:cubicBezTo>
                <a:cubicBezTo>
                  <a:pt x="774941" y="421179"/>
                  <a:pt x="776936" y="421179"/>
                  <a:pt x="776936" y="423175"/>
                </a:cubicBezTo>
                <a:cubicBezTo>
                  <a:pt x="778931" y="423175"/>
                  <a:pt x="778931" y="427167"/>
                  <a:pt x="778931" y="429163"/>
                </a:cubicBezTo>
                <a:cubicBezTo>
                  <a:pt x="778931" y="429163"/>
                  <a:pt x="780926" y="431159"/>
                  <a:pt x="780926" y="431159"/>
                </a:cubicBezTo>
                <a:cubicBezTo>
                  <a:pt x="780926" y="431159"/>
                  <a:pt x="784916" y="431159"/>
                  <a:pt x="784916" y="431159"/>
                </a:cubicBezTo>
                <a:cubicBezTo>
                  <a:pt x="786911" y="431159"/>
                  <a:pt x="790900" y="431159"/>
                  <a:pt x="790900" y="431159"/>
                </a:cubicBezTo>
                <a:cubicBezTo>
                  <a:pt x="792895" y="431159"/>
                  <a:pt x="794890" y="429163"/>
                  <a:pt x="798880" y="427167"/>
                </a:cubicBezTo>
                <a:cubicBezTo>
                  <a:pt x="802870" y="427167"/>
                  <a:pt x="806860" y="419183"/>
                  <a:pt x="808855" y="417186"/>
                </a:cubicBezTo>
                <a:cubicBezTo>
                  <a:pt x="812845" y="415190"/>
                  <a:pt x="816835" y="411198"/>
                  <a:pt x="816835" y="409202"/>
                </a:cubicBezTo>
                <a:cubicBezTo>
                  <a:pt x="818830" y="409202"/>
                  <a:pt x="824815" y="403214"/>
                  <a:pt x="826810" y="403214"/>
                </a:cubicBezTo>
                <a:cubicBezTo>
                  <a:pt x="830800" y="401218"/>
                  <a:pt x="832795" y="399221"/>
                  <a:pt x="836785" y="397225"/>
                </a:cubicBezTo>
                <a:cubicBezTo>
                  <a:pt x="838780" y="397225"/>
                  <a:pt x="842770" y="397225"/>
                  <a:pt x="844765" y="397225"/>
                </a:cubicBezTo>
                <a:cubicBezTo>
                  <a:pt x="846760" y="397225"/>
                  <a:pt x="850750" y="397225"/>
                  <a:pt x="854740" y="397225"/>
                </a:cubicBezTo>
                <a:cubicBezTo>
                  <a:pt x="856735" y="397225"/>
                  <a:pt x="860725" y="395229"/>
                  <a:pt x="862720" y="395229"/>
                </a:cubicBezTo>
                <a:cubicBezTo>
                  <a:pt x="864715" y="395229"/>
                  <a:pt x="870700" y="395229"/>
                  <a:pt x="872695" y="395229"/>
                </a:cubicBezTo>
                <a:cubicBezTo>
                  <a:pt x="874690" y="395229"/>
                  <a:pt x="880675" y="397225"/>
                  <a:pt x="884665" y="397225"/>
                </a:cubicBezTo>
                <a:cubicBezTo>
                  <a:pt x="888655" y="397225"/>
                  <a:pt x="896635" y="399221"/>
                  <a:pt x="898630" y="399221"/>
                </a:cubicBezTo>
                <a:cubicBezTo>
                  <a:pt x="900625" y="399221"/>
                  <a:pt x="904615" y="397225"/>
                  <a:pt x="904615" y="397225"/>
                </a:cubicBezTo>
                <a:cubicBezTo>
                  <a:pt x="906610" y="397225"/>
                  <a:pt x="910600" y="393233"/>
                  <a:pt x="912595" y="391237"/>
                </a:cubicBezTo>
                <a:cubicBezTo>
                  <a:pt x="914590" y="389241"/>
                  <a:pt x="922570" y="383253"/>
                  <a:pt x="924565" y="381256"/>
                </a:cubicBezTo>
                <a:cubicBezTo>
                  <a:pt x="926560" y="379260"/>
                  <a:pt x="928555" y="373272"/>
                  <a:pt x="930550" y="371276"/>
                </a:cubicBezTo>
                <a:cubicBezTo>
                  <a:pt x="932545" y="367284"/>
                  <a:pt x="934540" y="365288"/>
                  <a:pt x="936534" y="363291"/>
                </a:cubicBezTo>
                <a:cubicBezTo>
                  <a:pt x="938529" y="363291"/>
                  <a:pt x="942519" y="357303"/>
                  <a:pt x="944514" y="355307"/>
                </a:cubicBezTo>
                <a:cubicBezTo>
                  <a:pt x="944514" y="351315"/>
                  <a:pt x="946509" y="347323"/>
                  <a:pt x="946509" y="345327"/>
                </a:cubicBezTo>
                <a:cubicBezTo>
                  <a:pt x="946509" y="343330"/>
                  <a:pt x="946509" y="341334"/>
                  <a:pt x="944514" y="337342"/>
                </a:cubicBezTo>
                <a:cubicBezTo>
                  <a:pt x="940524" y="337342"/>
                  <a:pt x="940524" y="337342"/>
                  <a:pt x="936534" y="333350"/>
                </a:cubicBezTo>
                <a:cubicBezTo>
                  <a:pt x="934540" y="331354"/>
                  <a:pt x="936534" y="327362"/>
                  <a:pt x="936534" y="325365"/>
                </a:cubicBezTo>
                <a:cubicBezTo>
                  <a:pt x="936534" y="321373"/>
                  <a:pt x="938529" y="315385"/>
                  <a:pt x="940524" y="311393"/>
                </a:cubicBezTo>
                <a:cubicBezTo>
                  <a:pt x="942519" y="309397"/>
                  <a:pt x="944514" y="305404"/>
                  <a:pt x="946509" y="303408"/>
                </a:cubicBezTo>
                <a:cubicBezTo>
                  <a:pt x="948504" y="301412"/>
                  <a:pt x="950499" y="303408"/>
                  <a:pt x="952494" y="303408"/>
                </a:cubicBezTo>
                <a:cubicBezTo>
                  <a:pt x="952494" y="303408"/>
                  <a:pt x="956484" y="305404"/>
                  <a:pt x="956484" y="305404"/>
                </a:cubicBezTo>
                <a:cubicBezTo>
                  <a:pt x="956484" y="305404"/>
                  <a:pt x="956484" y="305404"/>
                  <a:pt x="962469" y="309397"/>
                </a:cubicBezTo>
                <a:cubicBezTo>
                  <a:pt x="962469" y="309397"/>
                  <a:pt x="968454" y="313389"/>
                  <a:pt x="970449" y="315385"/>
                </a:cubicBezTo>
                <a:cubicBezTo>
                  <a:pt x="972444" y="317381"/>
                  <a:pt x="974439" y="317381"/>
                  <a:pt x="976434" y="317381"/>
                </a:cubicBezTo>
                <a:cubicBezTo>
                  <a:pt x="978429" y="317381"/>
                  <a:pt x="984414" y="317381"/>
                  <a:pt x="986410" y="317381"/>
                </a:cubicBezTo>
                <a:cubicBezTo>
                  <a:pt x="988405" y="315385"/>
                  <a:pt x="992395" y="313389"/>
                  <a:pt x="994390" y="313389"/>
                </a:cubicBezTo>
                <a:cubicBezTo>
                  <a:pt x="996385" y="313389"/>
                  <a:pt x="998380" y="311393"/>
                  <a:pt x="998380" y="309397"/>
                </a:cubicBezTo>
                <a:cubicBezTo>
                  <a:pt x="1000375" y="307400"/>
                  <a:pt x="1002369" y="303408"/>
                  <a:pt x="1002369" y="301412"/>
                </a:cubicBezTo>
                <a:cubicBezTo>
                  <a:pt x="1002369" y="297420"/>
                  <a:pt x="1006359" y="295424"/>
                  <a:pt x="1006359" y="293428"/>
                </a:cubicBezTo>
                <a:cubicBezTo>
                  <a:pt x="1006359" y="291432"/>
                  <a:pt x="1010349" y="289435"/>
                  <a:pt x="1012344" y="289435"/>
                </a:cubicBezTo>
                <a:cubicBezTo>
                  <a:pt x="1012344" y="289435"/>
                  <a:pt x="1018329" y="291432"/>
                  <a:pt x="1020324" y="291432"/>
                </a:cubicBezTo>
                <a:cubicBezTo>
                  <a:pt x="1024314" y="291432"/>
                  <a:pt x="1024314" y="291432"/>
                  <a:pt x="1026309" y="291432"/>
                </a:cubicBezTo>
                <a:cubicBezTo>
                  <a:pt x="1028304" y="291432"/>
                  <a:pt x="1030299" y="289435"/>
                  <a:pt x="1032294" y="289435"/>
                </a:cubicBezTo>
                <a:cubicBezTo>
                  <a:pt x="1034289" y="287439"/>
                  <a:pt x="1034289" y="285443"/>
                  <a:pt x="1036284" y="285443"/>
                </a:cubicBezTo>
                <a:cubicBezTo>
                  <a:pt x="1036284" y="283447"/>
                  <a:pt x="1038279" y="281451"/>
                  <a:pt x="1040274" y="279455"/>
                </a:cubicBezTo>
                <a:cubicBezTo>
                  <a:pt x="1040274" y="277459"/>
                  <a:pt x="1044264" y="273467"/>
                  <a:pt x="1044264" y="273467"/>
                </a:cubicBezTo>
                <a:cubicBezTo>
                  <a:pt x="1044264" y="273467"/>
                  <a:pt x="1046259" y="269474"/>
                  <a:pt x="1048254" y="267478"/>
                </a:cubicBezTo>
                <a:cubicBezTo>
                  <a:pt x="1048254" y="265482"/>
                  <a:pt x="1050249" y="265482"/>
                  <a:pt x="1052244" y="263486"/>
                </a:cubicBezTo>
                <a:cubicBezTo>
                  <a:pt x="1054239" y="261490"/>
                  <a:pt x="1054239" y="261490"/>
                  <a:pt x="1058229" y="259494"/>
                </a:cubicBezTo>
                <a:cubicBezTo>
                  <a:pt x="1062219" y="259494"/>
                  <a:pt x="1062219" y="257498"/>
                  <a:pt x="1062219" y="255502"/>
                </a:cubicBezTo>
                <a:cubicBezTo>
                  <a:pt x="1064214" y="253506"/>
                  <a:pt x="1068204" y="253506"/>
                  <a:pt x="1070199" y="253506"/>
                </a:cubicBezTo>
                <a:cubicBezTo>
                  <a:pt x="1072194" y="251509"/>
                  <a:pt x="1078179" y="251509"/>
                  <a:pt x="1078179" y="251509"/>
                </a:cubicBezTo>
                <a:cubicBezTo>
                  <a:pt x="1078179" y="249513"/>
                  <a:pt x="1086159" y="245521"/>
                  <a:pt x="1088154" y="245521"/>
                </a:cubicBezTo>
                <a:cubicBezTo>
                  <a:pt x="1090149" y="245521"/>
                  <a:pt x="1096134" y="245521"/>
                  <a:pt x="1096134" y="245521"/>
                </a:cubicBezTo>
                <a:cubicBezTo>
                  <a:pt x="1098129" y="245521"/>
                  <a:pt x="1106109" y="245521"/>
                  <a:pt x="1108104" y="245521"/>
                </a:cubicBezTo>
                <a:cubicBezTo>
                  <a:pt x="1108104" y="247517"/>
                  <a:pt x="1116084" y="251509"/>
                  <a:pt x="1116084" y="251509"/>
                </a:cubicBezTo>
                <a:cubicBezTo>
                  <a:pt x="1118079" y="251509"/>
                  <a:pt x="1124064" y="249513"/>
                  <a:pt x="1124064" y="247517"/>
                </a:cubicBezTo>
                <a:cubicBezTo>
                  <a:pt x="1124064" y="245521"/>
                  <a:pt x="1128054" y="239533"/>
                  <a:pt x="1126059" y="235541"/>
                </a:cubicBezTo>
                <a:cubicBezTo>
                  <a:pt x="1126059" y="233544"/>
                  <a:pt x="1124064" y="229552"/>
                  <a:pt x="1122069" y="227556"/>
                </a:cubicBezTo>
                <a:cubicBezTo>
                  <a:pt x="1120074" y="225560"/>
                  <a:pt x="1116084" y="219572"/>
                  <a:pt x="1116084" y="219572"/>
                </a:cubicBezTo>
                <a:cubicBezTo>
                  <a:pt x="1116084" y="219572"/>
                  <a:pt x="1110099" y="217576"/>
                  <a:pt x="1108104" y="215580"/>
                </a:cubicBezTo>
                <a:cubicBezTo>
                  <a:pt x="1106109" y="215580"/>
                  <a:pt x="1104114" y="213583"/>
                  <a:pt x="1100124" y="211587"/>
                </a:cubicBezTo>
                <a:cubicBezTo>
                  <a:pt x="1098129" y="209591"/>
                  <a:pt x="1096134" y="207595"/>
                  <a:pt x="1092144" y="205599"/>
                </a:cubicBezTo>
                <a:cubicBezTo>
                  <a:pt x="1088154" y="205599"/>
                  <a:pt x="1088154" y="203603"/>
                  <a:pt x="1086159" y="201607"/>
                </a:cubicBezTo>
                <a:cubicBezTo>
                  <a:pt x="1084164" y="199611"/>
                  <a:pt x="1082169" y="197615"/>
                  <a:pt x="1080174" y="197615"/>
                </a:cubicBezTo>
                <a:cubicBezTo>
                  <a:pt x="1080174" y="197615"/>
                  <a:pt x="1074189" y="195618"/>
                  <a:pt x="1072194" y="195618"/>
                </a:cubicBezTo>
                <a:cubicBezTo>
                  <a:pt x="1070199" y="195618"/>
                  <a:pt x="1066209" y="197615"/>
                  <a:pt x="1062219" y="197615"/>
                </a:cubicBezTo>
                <a:cubicBezTo>
                  <a:pt x="1062219" y="199611"/>
                  <a:pt x="1060224" y="201607"/>
                  <a:pt x="1058229" y="203603"/>
                </a:cubicBezTo>
                <a:cubicBezTo>
                  <a:pt x="1058229" y="203603"/>
                  <a:pt x="1056234" y="205599"/>
                  <a:pt x="1056234" y="207595"/>
                </a:cubicBezTo>
                <a:cubicBezTo>
                  <a:pt x="1054239" y="209591"/>
                  <a:pt x="1052244" y="209591"/>
                  <a:pt x="1048254" y="209591"/>
                </a:cubicBezTo>
                <a:cubicBezTo>
                  <a:pt x="1046259" y="209591"/>
                  <a:pt x="1046259" y="205599"/>
                  <a:pt x="1044264" y="205599"/>
                </a:cubicBezTo>
                <a:cubicBezTo>
                  <a:pt x="1042269" y="203603"/>
                  <a:pt x="1038279" y="203603"/>
                  <a:pt x="1036284" y="203603"/>
                </a:cubicBezTo>
                <a:cubicBezTo>
                  <a:pt x="1032294" y="201607"/>
                  <a:pt x="1032294" y="203603"/>
                  <a:pt x="1030299" y="203603"/>
                </a:cubicBezTo>
                <a:cubicBezTo>
                  <a:pt x="1028304" y="205599"/>
                  <a:pt x="1024314" y="205599"/>
                  <a:pt x="1022319" y="205599"/>
                </a:cubicBezTo>
                <a:cubicBezTo>
                  <a:pt x="1020324" y="207595"/>
                  <a:pt x="1016334" y="207595"/>
                  <a:pt x="1014339" y="207595"/>
                </a:cubicBezTo>
                <a:cubicBezTo>
                  <a:pt x="1010349" y="207595"/>
                  <a:pt x="1006359" y="201607"/>
                  <a:pt x="1006359" y="197615"/>
                </a:cubicBezTo>
                <a:cubicBezTo>
                  <a:pt x="1008354" y="193622"/>
                  <a:pt x="1012344" y="189630"/>
                  <a:pt x="1010349" y="189630"/>
                </a:cubicBezTo>
                <a:cubicBezTo>
                  <a:pt x="1010349" y="187634"/>
                  <a:pt x="1012344" y="185638"/>
                  <a:pt x="1012344" y="183642"/>
                </a:cubicBezTo>
                <a:cubicBezTo>
                  <a:pt x="1012344" y="181646"/>
                  <a:pt x="1012344" y="181646"/>
                  <a:pt x="1012344" y="177653"/>
                </a:cubicBezTo>
                <a:cubicBezTo>
                  <a:pt x="1010349" y="175657"/>
                  <a:pt x="1012344" y="173661"/>
                  <a:pt x="1012344" y="171665"/>
                </a:cubicBezTo>
                <a:cubicBezTo>
                  <a:pt x="1012344" y="167673"/>
                  <a:pt x="1012344" y="165677"/>
                  <a:pt x="1012344" y="163681"/>
                </a:cubicBezTo>
                <a:cubicBezTo>
                  <a:pt x="1012344" y="161685"/>
                  <a:pt x="1012344" y="153700"/>
                  <a:pt x="1014339" y="151704"/>
                </a:cubicBezTo>
                <a:cubicBezTo>
                  <a:pt x="1014339" y="149708"/>
                  <a:pt x="1014339" y="145716"/>
                  <a:pt x="1016334" y="143720"/>
                </a:cubicBezTo>
                <a:cubicBezTo>
                  <a:pt x="1016334" y="143720"/>
                  <a:pt x="1018329" y="139727"/>
                  <a:pt x="1018329" y="137731"/>
                </a:cubicBezTo>
                <a:cubicBezTo>
                  <a:pt x="1020324" y="135735"/>
                  <a:pt x="1020324" y="131743"/>
                  <a:pt x="1018329" y="131743"/>
                </a:cubicBezTo>
                <a:cubicBezTo>
                  <a:pt x="1020324" y="131743"/>
                  <a:pt x="1020324" y="133739"/>
                  <a:pt x="1022319" y="133739"/>
                </a:cubicBezTo>
                <a:cubicBezTo>
                  <a:pt x="1024314" y="133739"/>
                  <a:pt x="1028304" y="131743"/>
                  <a:pt x="1030299" y="133739"/>
                </a:cubicBezTo>
                <a:cubicBezTo>
                  <a:pt x="1032294" y="133739"/>
                  <a:pt x="1032294" y="133739"/>
                  <a:pt x="1034289" y="135735"/>
                </a:cubicBezTo>
                <a:cubicBezTo>
                  <a:pt x="1036284" y="135735"/>
                  <a:pt x="1040274" y="137731"/>
                  <a:pt x="1042269" y="139727"/>
                </a:cubicBezTo>
                <a:cubicBezTo>
                  <a:pt x="1044264" y="139727"/>
                  <a:pt x="1050249" y="139727"/>
                  <a:pt x="1052244" y="137731"/>
                </a:cubicBezTo>
                <a:cubicBezTo>
                  <a:pt x="1052244" y="137731"/>
                  <a:pt x="1058229" y="137731"/>
                  <a:pt x="1060224" y="139727"/>
                </a:cubicBezTo>
                <a:cubicBezTo>
                  <a:pt x="1062219" y="139727"/>
                  <a:pt x="1062219" y="139727"/>
                  <a:pt x="1064214" y="139727"/>
                </a:cubicBezTo>
                <a:cubicBezTo>
                  <a:pt x="1066209" y="139727"/>
                  <a:pt x="1066209" y="139727"/>
                  <a:pt x="1068204" y="139727"/>
                </a:cubicBezTo>
                <a:cubicBezTo>
                  <a:pt x="1070199" y="139727"/>
                  <a:pt x="1070199" y="139727"/>
                  <a:pt x="1070199" y="139727"/>
                </a:cubicBezTo>
                <a:cubicBezTo>
                  <a:pt x="1070199" y="139727"/>
                  <a:pt x="1074189" y="137731"/>
                  <a:pt x="1074189" y="137731"/>
                </a:cubicBezTo>
                <a:cubicBezTo>
                  <a:pt x="1076184" y="137731"/>
                  <a:pt x="1076184" y="135735"/>
                  <a:pt x="1078179" y="135735"/>
                </a:cubicBezTo>
                <a:cubicBezTo>
                  <a:pt x="1080174" y="135735"/>
                  <a:pt x="1082169" y="135735"/>
                  <a:pt x="1084164" y="135735"/>
                </a:cubicBezTo>
                <a:cubicBezTo>
                  <a:pt x="1084164" y="133739"/>
                  <a:pt x="1086159" y="129747"/>
                  <a:pt x="1086159" y="129747"/>
                </a:cubicBezTo>
                <a:cubicBezTo>
                  <a:pt x="1088154" y="127751"/>
                  <a:pt x="1088154" y="127751"/>
                  <a:pt x="1090149" y="125755"/>
                </a:cubicBezTo>
                <a:cubicBezTo>
                  <a:pt x="1090149" y="125755"/>
                  <a:pt x="1090149" y="125755"/>
                  <a:pt x="1092144" y="125755"/>
                </a:cubicBezTo>
                <a:cubicBezTo>
                  <a:pt x="1092144" y="123759"/>
                  <a:pt x="1092144" y="119766"/>
                  <a:pt x="1092144" y="117770"/>
                </a:cubicBezTo>
                <a:cubicBezTo>
                  <a:pt x="1092144" y="113778"/>
                  <a:pt x="1092144" y="107790"/>
                  <a:pt x="1094139" y="105794"/>
                </a:cubicBezTo>
                <a:cubicBezTo>
                  <a:pt x="1094139" y="103797"/>
                  <a:pt x="1096134" y="99805"/>
                  <a:pt x="1096134" y="97809"/>
                </a:cubicBezTo>
                <a:cubicBezTo>
                  <a:pt x="1096134" y="95813"/>
                  <a:pt x="1098129" y="93817"/>
                  <a:pt x="1098129" y="91821"/>
                </a:cubicBezTo>
                <a:cubicBezTo>
                  <a:pt x="1098129" y="89825"/>
                  <a:pt x="1100124" y="87829"/>
                  <a:pt x="1102119" y="85833"/>
                </a:cubicBezTo>
                <a:cubicBezTo>
                  <a:pt x="1102119" y="83836"/>
                  <a:pt x="1102119" y="75852"/>
                  <a:pt x="1102119" y="75852"/>
                </a:cubicBezTo>
                <a:cubicBezTo>
                  <a:pt x="1102119" y="75852"/>
                  <a:pt x="1102119" y="75852"/>
                  <a:pt x="1104114" y="67868"/>
                </a:cubicBezTo>
                <a:cubicBezTo>
                  <a:pt x="1104114" y="67868"/>
                  <a:pt x="1112094" y="63875"/>
                  <a:pt x="1112094" y="61879"/>
                </a:cubicBezTo>
                <a:cubicBezTo>
                  <a:pt x="1112094" y="59883"/>
                  <a:pt x="1112094" y="59883"/>
                  <a:pt x="1112094" y="57887"/>
                </a:cubicBezTo>
                <a:cubicBezTo>
                  <a:pt x="1114089" y="55891"/>
                  <a:pt x="1114089" y="55891"/>
                  <a:pt x="1114089" y="53895"/>
                </a:cubicBezTo>
                <a:cubicBezTo>
                  <a:pt x="1114089" y="53895"/>
                  <a:pt x="1112094" y="49903"/>
                  <a:pt x="1112094" y="47906"/>
                </a:cubicBezTo>
                <a:cubicBezTo>
                  <a:pt x="1112094" y="45910"/>
                  <a:pt x="1112094" y="41918"/>
                  <a:pt x="1112094" y="39922"/>
                </a:cubicBezTo>
                <a:cubicBezTo>
                  <a:pt x="1112094" y="37926"/>
                  <a:pt x="1108104" y="33934"/>
                  <a:pt x="1108104" y="33934"/>
                </a:cubicBezTo>
                <a:cubicBezTo>
                  <a:pt x="1108104" y="33934"/>
                  <a:pt x="1102119" y="35930"/>
                  <a:pt x="1102119" y="33934"/>
                </a:cubicBezTo>
                <a:cubicBezTo>
                  <a:pt x="1102119" y="31938"/>
                  <a:pt x="1100124" y="29941"/>
                  <a:pt x="1102119" y="27945"/>
                </a:cubicBezTo>
                <a:cubicBezTo>
                  <a:pt x="1102119" y="25949"/>
                  <a:pt x="1102119" y="23953"/>
                  <a:pt x="1100124" y="21957"/>
                </a:cubicBezTo>
                <a:cubicBezTo>
                  <a:pt x="1100124" y="17965"/>
                  <a:pt x="1100124" y="15969"/>
                  <a:pt x="1102119" y="13973"/>
                </a:cubicBezTo>
                <a:cubicBezTo>
                  <a:pt x="1104114" y="11977"/>
                  <a:pt x="1102119" y="11977"/>
                  <a:pt x="1104114" y="11977"/>
                </a:cubicBezTo>
                <a:cubicBezTo>
                  <a:pt x="1108104" y="9980"/>
                  <a:pt x="1108104" y="9980"/>
                  <a:pt x="1112094" y="9980"/>
                </a:cubicBezTo>
                <a:cubicBezTo>
                  <a:pt x="1116084" y="9980"/>
                  <a:pt x="1116084" y="11977"/>
                  <a:pt x="1116084" y="9980"/>
                </a:cubicBezTo>
                <a:cubicBezTo>
                  <a:pt x="1118079" y="7984"/>
                  <a:pt x="1118079" y="7984"/>
                  <a:pt x="1120074" y="7984"/>
                </a:cubicBezTo>
                <a:cubicBezTo>
                  <a:pt x="1122069" y="7984"/>
                  <a:pt x="1126059" y="7984"/>
                  <a:pt x="1126059" y="7984"/>
                </a:cubicBezTo>
                <a:cubicBezTo>
                  <a:pt x="1126059" y="7984"/>
                  <a:pt x="1126059" y="7984"/>
                  <a:pt x="1130049" y="7984"/>
                </a:cubicBezTo>
                <a:cubicBezTo>
                  <a:pt x="1130049" y="7984"/>
                  <a:pt x="1132044" y="5988"/>
                  <a:pt x="1134039" y="3992"/>
                </a:cubicBezTo>
                <a:cubicBezTo>
                  <a:pt x="1138029" y="3992"/>
                  <a:pt x="1136034" y="3992"/>
                  <a:pt x="1140024" y="3992"/>
                </a:cubicBezTo>
                <a:cubicBezTo>
                  <a:pt x="1144014" y="3992"/>
                  <a:pt x="1144014" y="3992"/>
                  <a:pt x="1146009" y="3992"/>
                </a:cubicBezTo>
                <a:cubicBezTo>
                  <a:pt x="1148003" y="3992"/>
                  <a:pt x="1149998" y="3992"/>
                  <a:pt x="1149998" y="3992"/>
                </a:cubicBezTo>
                <a:cubicBezTo>
                  <a:pt x="1149998" y="3992"/>
                  <a:pt x="1151993" y="3992"/>
                  <a:pt x="1153988" y="3992"/>
                </a:cubicBezTo>
                <a:cubicBezTo>
                  <a:pt x="1155983" y="3992"/>
                  <a:pt x="1157978" y="1996"/>
                  <a:pt x="1159973" y="1996"/>
                </a:cubicBezTo>
                <a:cubicBezTo>
                  <a:pt x="1161968" y="1996"/>
                  <a:pt x="1163963" y="1996"/>
                  <a:pt x="116396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99" name="Mongolia"/>
          <p:cNvSpPr>
            <a:spLocks/>
          </p:cNvSpPr>
          <p:nvPr/>
        </p:nvSpPr>
        <p:spPr bwMode="auto">
          <a:xfrm>
            <a:off x="8423858" y="2283826"/>
            <a:ext cx="832928" cy="395232"/>
          </a:xfrm>
          <a:custGeom>
            <a:avLst/>
            <a:gdLst>
              <a:gd name="T0" fmla="*/ 10 w 406"/>
              <a:gd name="T1" fmla="*/ 51 h 193"/>
              <a:gd name="T2" fmla="*/ 24 w 406"/>
              <a:gd name="T3" fmla="*/ 38 h 193"/>
              <a:gd name="T4" fmla="*/ 35 w 406"/>
              <a:gd name="T5" fmla="*/ 34 h 193"/>
              <a:gd name="T6" fmla="*/ 49 w 406"/>
              <a:gd name="T7" fmla="*/ 28 h 193"/>
              <a:gd name="T8" fmla="*/ 62 w 406"/>
              <a:gd name="T9" fmla="*/ 32 h 193"/>
              <a:gd name="T10" fmla="*/ 74 w 406"/>
              <a:gd name="T11" fmla="*/ 30 h 193"/>
              <a:gd name="T12" fmla="*/ 85 w 406"/>
              <a:gd name="T13" fmla="*/ 42 h 193"/>
              <a:gd name="T14" fmla="*/ 97 w 406"/>
              <a:gd name="T15" fmla="*/ 41 h 193"/>
              <a:gd name="T16" fmla="*/ 112 w 406"/>
              <a:gd name="T17" fmla="*/ 44 h 193"/>
              <a:gd name="T18" fmla="*/ 125 w 406"/>
              <a:gd name="T19" fmla="*/ 35 h 193"/>
              <a:gd name="T20" fmla="*/ 120 w 406"/>
              <a:gd name="T21" fmla="*/ 23 h 193"/>
              <a:gd name="T22" fmla="*/ 121 w 406"/>
              <a:gd name="T23" fmla="*/ 10 h 193"/>
              <a:gd name="T24" fmla="*/ 128 w 406"/>
              <a:gd name="T25" fmla="*/ 0 h 193"/>
              <a:gd name="T26" fmla="*/ 142 w 406"/>
              <a:gd name="T27" fmla="*/ 6 h 193"/>
              <a:gd name="T28" fmla="*/ 159 w 406"/>
              <a:gd name="T29" fmla="*/ 8 h 193"/>
              <a:gd name="T30" fmla="*/ 171 w 406"/>
              <a:gd name="T31" fmla="*/ 18 h 193"/>
              <a:gd name="T32" fmla="*/ 179 w 406"/>
              <a:gd name="T33" fmla="*/ 35 h 193"/>
              <a:gd name="T34" fmla="*/ 196 w 406"/>
              <a:gd name="T35" fmla="*/ 36 h 193"/>
              <a:gd name="T36" fmla="*/ 211 w 406"/>
              <a:gd name="T37" fmla="*/ 34 h 193"/>
              <a:gd name="T38" fmla="*/ 231 w 406"/>
              <a:gd name="T39" fmla="*/ 34 h 193"/>
              <a:gd name="T40" fmla="*/ 244 w 406"/>
              <a:gd name="T41" fmla="*/ 42 h 193"/>
              <a:gd name="T42" fmla="*/ 252 w 406"/>
              <a:gd name="T43" fmla="*/ 51 h 193"/>
              <a:gd name="T44" fmla="*/ 269 w 406"/>
              <a:gd name="T45" fmla="*/ 55 h 193"/>
              <a:gd name="T46" fmla="*/ 291 w 406"/>
              <a:gd name="T47" fmla="*/ 51 h 193"/>
              <a:gd name="T48" fmla="*/ 305 w 406"/>
              <a:gd name="T49" fmla="*/ 47 h 193"/>
              <a:gd name="T50" fmla="*/ 320 w 406"/>
              <a:gd name="T51" fmla="*/ 38 h 193"/>
              <a:gd name="T52" fmla="*/ 331 w 406"/>
              <a:gd name="T53" fmla="*/ 37 h 193"/>
              <a:gd name="T54" fmla="*/ 343 w 406"/>
              <a:gd name="T55" fmla="*/ 40 h 193"/>
              <a:gd name="T56" fmla="*/ 350 w 406"/>
              <a:gd name="T57" fmla="*/ 49 h 193"/>
              <a:gd name="T58" fmla="*/ 348 w 406"/>
              <a:gd name="T59" fmla="*/ 69 h 193"/>
              <a:gd name="T60" fmla="*/ 357 w 406"/>
              <a:gd name="T61" fmla="*/ 79 h 193"/>
              <a:gd name="T62" fmla="*/ 371 w 406"/>
              <a:gd name="T63" fmla="*/ 79 h 193"/>
              <a:gd name="T64" fmla="*/ 388 w 406"/>
              <a:gd name="T65" fmla="*/ 80 h 193"/>
              <a:gd name="T66" fmla="*/ 405 w 406"/>
              <a:gd name="T67" fmla="*/ 95 h 193"/>
              <a:gd name="T68" fmla="*/ 386 w 406"/>
              <a:gd name="T69" fmla="*/ 100 h 193"/>
              <a:gd name="T70" fmla="*/ 368 w 406"/>
              <a:gd name="T71" fmla="*/ 109 h 193"/>
              <a:gd name="T72" fmla="*/ 358 w 406"/>
              <a:gd name="T73" fmla="*/ 122 h 193"/>
              <a:gd name="T74" fmla="*/ 343 w 406"/>
              <a:gd name="T75" fmla="*/ 128 h 193"/>
              <a:gd name="T76" fmla="*/ 327 w 406"/>
              <a:gd name="T77" fmla="*/ 135 h 193"/>
              <a:gd name="T78" fmla="*/ 312 w 406"/>
              <a:gd name="T79" fmla="*/ 133 h 193"/>
              <a:gd name="T80" fmla="*/ 314 w 406"/>
              <a:gd name="T81" fmla="*/ 155 h 193"/>
              <a:gd name="T82" fmla="*/ 294 w 406"/>
              <a:gd name="T83" fmla="*/ 176 h 193"/>
              <a:gd name="T84" fmla="*/ 269 w 406"/>
              <a:gd name="T85" fmla="*/ 176 h 193"/>
              <a:gd name="T86" fmla="*/ 246 w 406"/>
              <a:gd name="T87" fmla="*/ 186 h 193"/>
              <a:gd name="T88" fmla="*/ 231 w 406"/>
              <a:gd name="T89" fmla="*/ 192 h 193"/>
              <a:gd name="T90" fmla="*/ 219 w 406"/>
              <a:gd name="T91" fmla="*/ 188 h 193"/>
              <a:gd name="T92" fmla="*/ 199 w 406"/>
              <a:gd name="T93" fmla="*/ 181 h 193"/>
              <a:gd name="T94" fmla="*/ 185 w 406"/>
              <a:gd name="T95" fmla="*/ 171 h 193"/>
              <a:gd name="T96" fmla="*/ 164 w 406"/>
              <a:gd name="T97" fmla="*/ 174 h 193"/>
              <a:gd name="T98" fmla="*/ 143 w 406"/>
              <a:gd name="T99" fmla="*/ 174 h 193"/>
              <a:gd name="T100" fmla="*/ 122 w 406"/>
              <a:gd name="T101" fmla="*/ 167 h 193"/>
              <a:gd name="T102" fmla="*/ 107 w 406"/>
              <a:gd name="T103" fmla="*/ 149 h 193"/>
              <a:gd name="T104" fmla="*/ 87 w 406"/>
              <a:gd name="T105" fmla="*/ 137 h 193"/>
              <a:gd name="T106" fmla="*/ 65 w 406"/>
              <a:gd name="T107" fmla="*/ 132 h 193"/>
              <a:gd name="T108" fmla="*/ 46 w 406"/>
              <a:gd name="T109" fmla="*/ 128 h 193"/>
              <a:gd name="T110" fmla="*/ 48 w 406"/>
              <a:gd name="T111" fmla="*/ 109 h 193"/>
              <a:gd name="T112" fmla="*/ 44 w 406"/>
              <a:gd name="T113" fmla="*/ 97 h 193"/>
              <a:gd name="T114" fmla="*/ 32 w 406"/>
              <a:gd name="T115" fmla="*/ 84 h 193"/>
              <a:gd name="T116" fmla="*/ 15 w 406"/>
              <a:gd name="T117" fmla="*/ 77 h 193"/>
              <a:gd name="T118" fmla="*/ 3 w 406"/>
              <a:gd name="T119" fmla="*/ 6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193">
                <a:moveTo>
                  <a:pt x="0" y="57"/>
                </a:moveTo>
                <a:cubicBezTo>
                  <a:pt x="0" y="57"/>
                  <a:pt x="0" y="56"/>
                  <a:pt x="0" y="55"/>
                </a:cubicBezTo>
                <a:cubicBezTo>
                  <a:pt x="0" y="54"/>
                  <a:pt x="0" y="54"/>
                  <a:pt x="1" y="53"/>
                </a:cubicBezTo>
                <a:cubicBezTo>
                  <a:pt x="2" y="53"/>
                  <a:pt x="1" y="53"/>
                  <a:pt x="4" y="53"/>
                </a:cubicBezTo>
                <a:cubicBezTo>
                  <a:pt x="6" y="53"/>
                  <a:pt x="9" y="52"/>
                  <a:pt x="10" y="51"/>
                </a:cubicBezTo>
                <a:cubicBezTo>
                  <a:pt x="11" y="50"/>
                  <a:pt x="15" y="47"/>
                  <a:pt x="16" y="46"/>
                </a:cubicBezTo>
                <a:cubicBezTo>
                  <a:pt x="16" y="46"/>
                  <a:pt x="20" y="42"/>
                  <a:pt x="20" y="42"/>
                </a:cubicBezTo>
                <a:cubicBezTo>
                  <a:pt x="20" y="42"/>
                  <a:pt x="21" y="41"/>
                  <a:pt x="21" y="41"/>
                </a:cubicBezTo>
                <a:cubicBezTo>
                  <a:pt x="22" y="40"/>
                  <a:pt x="22" y="40"/>
                  <a:pt x="22" y="40"/>
                </a:cubicBezTo>
                <a:cubicBezTo>
                  <a:pt x="23" y="39"/>
                  <a:pt x="23" y="39"/>
                  <a:pt x="24" y="38"/>
                </a:cubicBezTo>
                <a:cubicBezTo>
                  <a:pt x="25" y="38"/>
                  <a:pt x="25" y="38"/>
                  <a:pt x="25" y="37"/>
                </a:cubicBezTo>
                <a:cubicBezTo>
                  <a:pt x="26" y="36"/>
                  <a:pt x="26" y="37"/>
                  <a:pt x="27" y="36"/>
                </a:cubicBezTo>
                <a:cubicBezTo>
                  <a:pt x="28" y="35"/>
                  <a:pt x="28" y="35"/>
                  <a:pt x="29" y="35"/>
                </a:cubicBezTo>
                <a:cubicBezTo>
                  <a:pt x="31" y="35"/>
                  <a:pt x="31" y="35"/>
                  <a:pt x="32" y="35"/>
                </a:cubicBezTo>
                <a:cubicBezTo>
                  <a:pt x="34" y="35"/>
                  <a:pt x="34" y="35"/>
                  <a:pt x="35" y="34"/>
                </a:cubicBezTo>
                <a:cubicBezTo>
                  <a:pt x="35" y="34"/>
                  <a:pt x="36" y="32"/>
                  <a:pt x="37" y="32"/>
                </a:cubicBezTo>
                <a:cubicBezTo>
                  <a:pt x="37" y="31"/>
                  <a:pt x="37" y="30"/>
                  <a:pt x="39" y="30"/>
                </a:cubicBezTo>
                <a:cubicBezTo>
                  <a:pt x="41" y="30"/>
                  <a:pt x="42" y="30"/>
                  <a:pt x="43" y="29"/>
                </a:cubicBezTo>
                <a:cubicBezTo>
                  <a:pt x="44" y="29"/>
                  <a:pt x="45" y="28"/>
                  <a:pt x="46" y="28"/>
                </a:cubicBezTo>
                <a:cubicBezTo>
                  <a:pt x="46" y="28"/>
                  <a:pt x="49" y="28"/>
                  <a:pt x="49" y="28"/>
                </a:cubicBezTo>
                <a:cubicBezTo>
                  <a:pt x="50" y="28"/>
                  <a:pt x="52" y="27"/>
                  <a:pt x="53" y="28"/>
                </a:cubicBezTo>
                <a:cubicBezTo>
                  <a:pt x="53" y="29"/>
                  <a:pt x="54" y="30"/>
                  <a:pt x="54" y="30"/>
                </a:cubicBezTo>
                <a:cubicBezTo>
                  <a:pt x="54" y="31"/>
                  <a:pt x="53" y="32"/>
                  <a:pt x="55" y="32"/>
                </a:cubicBezTo>
                <a:cubicBezTo>
                  <a:pt x="56" y="32"/>
                  <a:pt x="59" y="32"/>
                  <a:pt x="59" y="32"/>
                </a:cubicBezTo>
                <a:cubicBezTo>
                  <a:pt x="62" y="32"/>
                  <a:pt x="62" y="32"/>
                  <a:pt x="62" y="32"/>
                </a:cubicBezTo>
                <a:cubicBezTo>
                  <a:pt x="62" y="32"/>
                  <a:pt x="63" y="32"/>
                  <a:pt x="64" y="32"/>
                </a:cubicBezTo>
                <a:cubicBezTo>
                  <a:pt x="65" y="32"/>
                  <a:pt x="67" y="32"/>
                  <a:pt x="67" y="31"/>
                </a:cubicBezTo>
                <a:cubicBezTo>
                  <a:pt x="68" y="31"/>
                  <a:pt x="69" y="31"/>
                  <a:pt x="69" y="30"/>
                </a:cubicBezTo>
                <a:cubicBezTo>
                  <a:pt x="70" y="30"/>
                  <a:pt x="72" y="30"/>
                  <a:pt x="72" y="30"/>
                </a:cubicBezTo>
                <a:cubicBezTo>
                  <a:pt x="72" y="30"/>
                  <a:pt x="73" y="29"/>
                  <a:pt x="74" y="30"/>
                </a:cubicBezTo>
                <a:cubicBezTo>
                  <a:pt x="76" y="31"/>
                  <a:pt x="77" y="32"/>
                  <a:pt x="78" y="33"/>
                </a:cubicBezTo>
                <a:cubicBezTo>
                  <a:pt x="78" y="34"/>
                  <a:pt x="79" y="35"/>
                  <a:pt x="80" y="36"/>
                </a:cubicBezTo>
                <a:cubicBezTo>
                  <a:pt x="80" y="36"/>
                  <a:pt x="81" y="37"/>
                  <a:pt x="81" y="38"/>
                </a:cubicBezTo>
                <a:cubicBezTo>
                  <a:pt x="82" y="39"/>
                  <a:pt x="82" y="39"/>
                  <a:pt x="83" y="40"/>
                </a:cubicBezTo>
                <a:cubicBezTo>
                  <a:pt x="84" y="41"/>
                  <a:pt x="84" y="41"/>
                  <a:pt x="85" y="42"/>
                </a:cubicBezTo>
                <a:cubicBezTo>
                  <a:pt x="87" y="42"/>
                  <a:pt x="89" y="42"/>
                  <a:pt x="89" y="42"/>
                </a:cubicBezTo>
                <a:cubicBezTo>
                  <a:pt x="90" y="42"/>
                  <a:pt x="89" y="41"/>
                  <a:pt x="91" y="42"/>
                </a:cubicBezTo>
                <a:cubicBezTo>
                  <a:pt x="92" y="42"/>
                  <a:pt x="93" y="42"/>
                  <a:pt x="93" y="42"/>
                </a:cubicBezTo>
                <a:cubicBezTo>
                  <a:pt x="94" y="42"/>
                  <a:pt x="94" y="42"/>
                  <a:pt x="95" y="42"/>
                </a:cubicBezTo>
                <a:cubicBezTo>
                  <a:pt x="96" y="42"/>
                  <a:pt x="96" y="42"/>
                  <a:pt x="97" y="41"/>
                </a:cubicBezTo>
                <a:cubicBezTo>
                  <a:pt x="98" y="41"/>
                  <a:pt x="99" y="41"/>
                  <a:pt x="100" y="41"/>
                </a:cubicBezTo>
                <a:cubicBezTo>
                  <a:pt x="101" y="41"/>
                  <a:pt x="104" y="41"/>
                  <a:pt x="104" y="41"/>
                </a:cubicBezTo>
                <a:cubicBezTo>
                  <a:pt x="104" y="41"/>
                  <a:pt x="105" y="41"/>
                  <a:pt x="106" y="42"/>
                </a:cubicBezTo>
                <a:cubicBezTo>
                  <a:pt x="107" y="42"/>
                  <a:pt x="108" y="42"/>
                  <a:pt x="109" y="43"/>
                </a:cubicBezTo>
                <a:cubicBezTo>
                  <a:pt x="110" y="43"/>
                  <a:pt x="110" y="43"/>
                  <a:pt x="112" y="44"/>
                </a:cubicBezTo>
                <a:cubicBezTo>
                  <a:pt x="113" y="44"/>
                  <a:pt x="116" y="44"/>
                  <a:pt x="117" y="44"/>
                </a:cubicBezTo>
                <a:cubicBezTo>
                  <a:pt x="118" y="43"/>
                  <a:pt x="120" y="43"/>
                  <a:pt x="121" y="43"/>
                </a:cubicBezTo>
                <a:cubicBezTo>
                  <a:pt x="121" y="42"/>
                  <a:pt x="123" y="41"/>
                  <a:pt x="123" y="40"/>
                </a:cubicBezTo>
                <a:cubicBezTo>
                  <a:pt x="124" y="39"/>
                  <a:pt x="125" y="38"/>
                  <a:pt x="125" y="37"/>
                </a:cubicBezTo>
                <a:cubicBezTo>
                  <a:pt x="125" y="36"/>
                  <a:pt x="125" y="36"/>
                  <a:pt x="125" y="35"/>
                </a:cubicBezTo>
                <a:cubicBezTo>
                  <a:pt x="125" y="34"/>
                  <a:pt x="126" y="33"/>
                  <a:pt x="126" y="32"/>
                </a:cubicBezTo>
                <a:cubicBezTo>
                  <a:pt x="126" y="32"/>
                  <a:pt x="126" y="31"/>
                  <a:pt x="125" y="30"/>
                </a:cubicBezTo>
                <a:cubicBezTo>
                  <a:pt x="124" y="30"/>
                  <a:pt x="122" y="29"/>
                  <a:pt x="122" y="28"/>
                </a:cubicBezTo>
                <a:cubicBezTo>
                  <a:pt x="122" y="28"/>
                  <a:pt x="121" y="27"/>
                  <a:pt x="121" y="27"/>
                </a:cubicBezTo>
                <a:cubicBezTo>
                  <a:pt x="121" y="27"/>
                  <a:pt x="120" y="24"/>
                  <a:pt x="120" y="23"/>
                </a:cubicBezTo>
                <a:cubicBezTo>
                  <a:pt x="120" y="23"/>
                  <a:pt x="119" y="21"/>
                  <a:pt x="119" y="20"/>
                </a:cubicBezTo>
                <a:cubicBezTo>
                  <a:pt x="118" y="19"/>
                  <a:pt x="118" y="19"/>
                  <a:pt x="118" y="18"/>
                </a:cubicBezTo>
                <a:cubicBezTo>
                  <a:pt x="118" y="17"/>
                  <a:pt x="118" y="17"/>
                  <a:pt x="118" y="16"/>
                </a:cubicBezTo>
                <a:cubicBezTo>
                  <a:pt x="119" y="15"/>
                  <a:pt x="119" y="13"/>
                  <a:pt x="120" y="12"/>
                </a:cubicBezTo>
                <a:cubicBezTo>
                  <a:pt x="120" y="11"/>
                  <a:pt x="120" y="11"/>
                  <a:pt x="121" y="10"/>
                </a:cubicBezTo>
                <a:cubicBezTo>
                  <a:pt x="122" y="9"/>
                  <a:pt x="123" y="8"/>
                  <a:pt x="123" y="8"/>
                </a:cubicBezTo>
                <a:cubicBezTo>
                  <a:pt x="123" y="7"/>
                  <a:pt x="123" y="7"/>
                  <a:pt x="124" y="6"/>
                </a:cubicBezTo>
                <a:cubicBezTo>
                  <a:pt x="124" y="5"/>
                  <a:pt x="124" y="4"/>
                  <a:pt x="124" y="3"/>
                </a:cubicBezTo>
                <a:cubicBezTo>
                  <a:pt x="125" y="2"/>
                  <a:pt x="125" y="1"/>
                  <a:pt x="125" y="0"/>
                </a:cubicBezTo>
                <a:cubicBezTo>
                  <a:pt x="128" y="0"/>
                  <a:pt x="128" y="0"/>
                  <a:pt x="128" y="0"/>
                </a:cubicBezTo>
                <a:cubicBezTo>
                  <a:pt x="129" y="1"/>
                  <a:pt x="129" y="2"/>
                  <a:pt x="130" y="2"/>
                </a:cubicBezTo>
                <a:cubicBezTo>
                  <a:pt x="131" y="3"/>
                  <a:pt x="132" y="4"/>
                  <a:pt x="133" y="4"/>
                </a:cubicBezTo>
                <a:cubicBezTo>
                  <a:pt x="133" y="4"/>
                  <a:pt x="135" y="6"/>
                  <a:pt x="136" y="6"/>
                </a:cubicBezTo>
                <a:cubicBezTo>
                  <a:pt x="137" y="6"/>
                  <a:pt x="138" y="6"/>
                  <a:pt x="140" y="6"/>
                </a:cubicBezTo>
                <a:cubicBezTo>
                  <a:pt x="141" y="6"/>
                  <a:pt x="141" y="6"/>
                  <a:pt x="142" y="6"/>
                </a:cubicBezTo>
                <a:cubicBezTo>
                  <a:pt x="143" y="6"/>
                  <a:pt x="145" y="4"/>
                  <a:pt x="146" y="4"/>
                </a:cubicBezTo>
                <a:cubicBezTo>
                  <a:pt x="146" y="4"/>
                  <a:pt x="148" y="4"/>
                  <a:pt x="148" y="4"/>
                </a:cubicBezTo>
                <a:cubicBezTo>
                  <a:pt x="149" y="4"/>
                  <a:pt x="153" y="4"/>
                  <a:pt x="154" y="4"/>
                </a:cubicBezTo>
                <a:cubicBezTo>
                  <a:pt x="155" y="5"/>
                  <a:pt x="157" y="6"/>
                  <a:pt x="157" y="6"/>
                </a:cubicBezTo>
                <a:cubicBezTo>
                  <a:pt x="158" y="7"/>
                  <a:pt x="158" y="8"/>
                  <a:pt x="159" y="8"/>
                </a:cubicBezTo>
                <a:cubicBezTo>
                  <a:pt x="161" y="9"/>
                  <a:pt x="161" y="10"/>
                  <a:pt x="163" y="10"/>
                </a:cubicBezTo>
                <a:cubicBezTo>
                  <a:pt x="163" y="10"/>
                  <a:pt x="163" y="11"/>
                  <a:pt x="165" y="11"/>
                </a:cubicBezTo>
                <a:cubicBezTo>
                  <a:pt x="166" y="11"/>
                  <a:pt x="167" y="11"/>
                  <a:pt x="168" y="12"/>
                </a:cubicBezTo>
                <a:cubicBezTo>
                  <a:pt x="169" y="13"/>
                  <a:pt x="169" y="13"/>
                  <a:pt x="169" y="15"/>
                </a:cubicBezTo>
                <a:cubicBezTo>
                  <a:pt x="170" y="16"/>
                  <a:pt x="170" y="16"/>
                  <a:pt x="171" y="18"/>
                </a:cubicBezTo>
                <a:cubicBezTo>
                  <a:pt x="171" y="19"/>
                  <a:pt x="171" y="20"/>
                  <a:pt x="171" y="21"/>
                </a:cubicBezTo>
                <a:cubicBezTo>
                  <a:pt x="171" y="22"/>
                  <a:pt x="173" y="25"/>
                  <a:pt x="173" y="25"/>
                </a:cubicBezTo>
                <a:cubicBezTo>
                  <a:pt x="174" y="26"/>
                  <a:pt x="174" y="27"/>
                  <a:pt x="174" y="29"/>
                </a:cubicBezTo>
                <a:cubicBezTo>
                  <a:pt x="175" y="30"/>
                  <a:pt x="175" y="32"/>
                  <a:pt x="176" y="32"/>
                </a:cubicBezTo>
                <a:cubicBezTo>
                  <a:pt x="176" y="33"/>
                  <a:pt x="178" y="35"/>
                  <a:pt x="179" y="35"/>
                </a:cubicBezTo>
                <a:cubicBezTo>
                  <a:pt x="179" y="36"/>
                  <a:pt x="183" y="36"/>
                  <a:pt x="184" y="35"/>
                </a:cubicBezTo>
                <a:cubicBezTo>
                  <a:pt x="184" y="35"/>
                  <a:pt x="185" y="34"/>
                  <a:pt x="186" y="34"/>
                </a:cubicBezTo>
                <a:cubicBezTo>
                  <a:pt x="186" y="34"/>
                  <a:pt x="187" y="34"/>
                  <a:pt x="188" y="34"/>
                </a:cubicBezTo>
                <a:cubicBezTo>
                  <a:pt x="190" y="35"/>
                  <a:pt x="192" y="36"/>
                  <a:pt x="193" y="36"/>
                </a:cubicBezTo>
                <a:cubicBezTo>
                  <a:pt x="194" y="36"/>
                  <a:pt x="195" y="37"/>
                  <a:pt x="196" y="36"/>
                </a:cubicBezTo>
                <a:cubicBezTo>
                  <a:pt x="197" y="36"/>
                  <a:pt x="199" y="36"/>
                  <a:pt x="200" y="36"/>
                </a:cubicBezTo>
                <a:cubicBezTo>
                  <a:pt x="201" y="36"/>
                  <a:pt x="203" y="36"/>
                  <a:pt x="204" y="36"/>
                </a:cubicBezTo>
                <a:cubicBezTo>
                  <a:pt x="205" y="36"/>
                  <a:pt x="206" y="36"/>
                  <a:pt x="206" y="36"/>
                </a:cubicBezTo>
                <a:cubicBezTo>
                  <a:pt x="206" y="36"/>
                  <a:pt x="208" y="36"/>
                  <a:pt x="209" y="35"/>
                </a:cubicBezTo>
                <a:cubicBezTo>
                  <a:pt x="209" y="35"/>
                  <a:pt x="209" y="34"/>
                  <a:pt x="211" y="34"/>
                </a:cubicBezTo>
                <a:cubicBezTo>
                  <a:pt x="212" y="34"/>
                  <a:pt x="212" y="34"/>
                  <a:pt x="213" y="34"/>
                </a:cubicBezTo>
                <a:cubicBezTo>
                  <a:pt x="215" y="34"/>
                  <a:pt x="216" y="34"/>
                  <a:pt x="218" y="34"/>
                </a:cubicBezTo>
                <a:cubicBezTo>
                  <a:pt x="221" y="34"/>
                  <a:pt x="222" y="34"/>
                  <a:pt x="223" y="34"/>
                </a:cubicBezTo>
                <a:cubicBezTo>
                  <a:pt x="224" y="34"/>
                  <a:pt x="225" y="34"/>
                  <a:pt x="226" y="34"/>
                </a:cubicBezTo>
                <a:cubicBezTo>
                  <a:pt x="228" y="34"/>
                  <a:pt x="230" y="34"/>
                  <a:pt x="231" y="34"/>
                </a:cubicBezTo>
                <a:cubicBezTo>
                  <a:pt x="232" y="34"/>
                  <a:pt x="236" y="35"/>
                  <a:pt x="237" y="36"/>
                </a:cubicBezTo>
                <a:cubicBezTo>
                  <a:pt x="237" y="36"/>
                  <a:pt x="238" y="36"/>
                  <a:pt x="239" y="37"/>
                </a:cubicBezTo>
                <a:cubicBezTo>
                  <a:pt x="239" y="38"/>
                  <a:pt x="239" y="39"/>
                  <a:pt x="240" y="39"/>
                </a:cubicBezTo>
                <a:cubicBezTo>
                  <a:pt x="241" y="40"/>
                  <a:pt x="241" y="40"/>
                  <a:pt x="242" y="40"/>
                </a:cubicBezTo>
                <a:cubicBezTo>
                  <a:pt x="243" y="41"/>
                  <a:pt x="244" y="41"/>
                  <a:pt x="244" y="42"/>
                </a:cubicBezTo>
                <a:cubicBezTo>
                  <a:pt x="245" y="42"/>
                  <a:pt x="245" y="43"/>
                  <a:pt x="245" y="43"/>
                </a:cubicBezTo>
                <a:cubicBezTo>
                  <a:pt x="246" y="44"/>
                  <a:pt x="247" y="45"/>
                  <a:pt x="247" y="46"/>
                </a:cubicBezTo>
                <a:cubicBezTo>
                  <a:pt x="248" y="47"/>
                  <a:pt x="248" y="47"/>
                  <a:pt x="248" y="48"/>
                </a:cubicBezTo>
                <a:cubicBezTo>
                  <a:pt x="249" y="49"/>
                  <a:pt x="249" y="49"/>
                  <a:pt x="250" y="50"/>
                </a:cubicBezTo>
                <a:cubicBezTo>
                  <a:pt x="251" y="50"/>
                  <a:pt x="252" y="51"/>
                  <a:pt x="252" y="51"/>
                </a:cubicBezTo>
                <a:cubicBezTo>
                  <a:pt x="252" y="51"/>
                  <a:pt x="254" y="51"/>
                  <a:pt x="254" y="52"/>
                </a:cubicBezTo>
                <a:cubicBezTo>
                  <a:pt x="255" y="52"/>
                  <a:pt x="256" y="52"/>
                  <a:pt x="258" y="53"/>
                </a:cubicBezTo>
                <a:cubicBezTo>
                  <a:pt x="260" y="53"/>
                  <a:pt x="260" y="54"/>
                  <a:pt x="262" y="54"/>
                </a:cubicBezTo>
                <a:cubicBezTo>
                  <a:pt x="263" y="54"/>
                  <a:pt x="265" y="55"/>
                  <a:pt x="266" y="55"/>
                </a:cubicBezTo>
                <a:cubicBezTo>
                  <a:pt x="267" y="55"/>
                  <a:pt x="267" y="55"/>
                  <a:pt x="269" y="55"/>
                </a:cubicBezTo>
                <a:cubicBezTo>
                  <a:pt x="271" y="55"/>
                  <a:pt x="271" y="55"/>
                  <a:pt x="273" y="55"/>
                </a:cubicBezTo>
                <a:cubicBezTo>
                  <a:pt x="274" y="55"/>
                  <a:pt x="274" y="55"/>
                  <a:pt x="275" y="54"/>
                </a:cubicBezTo>
                <a:cubicBezTo>
                  <a:pt x="277" y="54"/>
                  <a:pt x="277" y="53"/>
                  <a:pt x="279" y="53"/>
                </a:cubicBezTo>
                <a:cubicBezTo>
                  <a:pt x="281" y="53"/>
                  <a:pt x="286" y="52"/>
                  <a:pt x="287" y="52"/>
                </a:cubicBezTo>
                <a:cubicBezTo>
                  <a:pt x="288" y="51"/>
                  <a:pt x="291" y="51"/>
                  <a:pt x="291" y="51"/>
                </a:cubicBezTo>
                <a:cubicBezTo>
                  <a:pt x="292" y="51"/>
                  <a:pt x="293" y="51"/>
                  <a:pt x="294" y="50"/>
                </a:cubicBezTo>
                <a:cubicBezTo>
                  <a:pt x="295" y="50"/>
                  <a:pt x="297" y="50"/>
                  <a:pt x="297" y="50"/>
                </a:cubicBezTo>
                <a:cubicBezTo>
                  <a:pt x="297" y="50"/>
                  <a:pt x="298" y="49"/>
                  <a:pt x="300" y="49"/>
                </a:cubicBezTo>
                <a:cubicBezTo>
                  <a:pt x="301" y="49"/>
                  <a:pt x="301" y="49"/>
                  <a:pt x="303" y="48"/>
                </a:cubicBezTo>
                <a:cubicBezTo>
                  <a:pt x="303" y="48"/>
                  <a:pt x="303" y="47"/>
                  <a:pt x="305" y="47"/>
                </a:cubicBezTo>
                <a:cubicBezTo>
                  <a:pt x="305" y="46"/>
                  <a:pt x="306" y="47"/>
                  <a:pt x="307" y="45"/>
                </a:cubicBezTo>
                <a:cubicBezTo>
                  <a:pt x="308" y="44"/>
                  <a:pt x="310" y="41"/>
                  <a:pt x="310" y="41"/>
                </a:cubicBezTo>
                <a:cubicBezTo>
                  <a:pt x="310" y="41"/>
                  <a:pt x="310" y="40"/>
                  <a:pt x="312" y="40"/>
                </a:cubicBezTo>
                <a:cubicBezTo>
                  <a:pt x="313" y="40"/>
                  <a:pt x="314" y="39"/>
                  <a:pt x="315" y="39"/>
                </a:cubicBezTo>
                <a:cubicBezTo>
                  <a:pt x="316" y="39"/>
                  <a:pt x="318" y="38"/>
                  <a:pt x="320" y="38"/>
                </a:cubicBezTo>
                <a:cubicBezTo>
                  <a:pt x="321" y="38"/>
                  <a:pt x="322" y="38"/>
                  <a:pt x="322" y="38"/>
                </a:cubicBezTo>
                <a:cubicBezTo>
                  <a:pt x="323" y="37"/>
                  <a:pt x="324" y="37"/>
                  <a:pt x="325" y="37"/>
                </a:cubicBezTo>
                <a:cubicBezTo>
                  <a:pt x="326" y="36"/>
                  <a:pt x="326" y="36"/>
                  <a:pt x="327" y="36"/>
                </a:cubicBezTo>
                <a:cubicBezTo>
                  <a:pt x="328" y="36"/>
                  <a:pt x="328" y="35"/>
                  <a:pt x="329" y="36"/>
                </a:cubicBezTo>
                <a:cubicBezTo>
                  <a:pt x="330" y="36"/>
                  <a:pt x="331" y="36"/>
                  <a:pt x="331" y="37"/>
                </a:cubicBezTo>
                <a:cubicBezTo>
                  <a:pt x="332" y="38"/>
                  <a:pt x="332" y="38"/>
                  <a:pt x="334" y="38"/>
                </a:cubicBezTo>
                <a:cubicBezTo>
                  <a:pt x="335" y="38"/>
                  <a:pt x="335" y="38"/>
                  <a:pt x="336" y="38"/>
                </a:cubicBezTo>
                <a:cubicBezTo>
                  <a:pt x="337" y="39"/>
                  <a:pt x="339" y="40"/>
                  <a:pt x="339" y="40"/>
                </a:cubicBezTo>
                <a:cubicBezTo>
                  <a:pt x="339" y="40"/>
                  <a:pt x="340" y="40"/>
                  <a:pt x="341" y="40"/>
                </a:cubicBezTo>
                <a:cubicBezTo>
                  <a:pt x="342" y="40"/>
                  <a:pt x="343" y="40"/>
                  <a:pt x="343" y="40"/>
                </a:cubicBezTo>
                <a:cubicBezTo>
                  <a:pt x="344" y="40"/>
                  <a:pt x="344" y="40"/>
                  <a:pt x="346" y="40"/>
                </a:cubicBezTo>
                <a:cubicBezTo>
                  <a:pt x="347" y="40"/>
                  <a:pt x="348" y="40"/>
                  <a:pt x="349" y="41"/>
                </a:cubicBezTo>
                <a:cubicBezTo>
                  <a:pt x="349" y="41"/>
                  <a:pt x="351" y="43"/>
                  <a:pt x="351" y="43"/>
                </a:cubicBezTo>
                <a:cubicBezTo>
                  <a:pt x="352" y="43"/>
                  <a:pt x="352" y="45"/>
                  <a:pt x="351" y="46"/>
                </a:cubicBezTo>
                <a:cubicBezTo>
                  <a:pt x="351" y="47"/>
                  <a:pt x="350" y="49"/>
                  <a:pt x="350" y="49"/>
                </a:cubicBezTo>
                <a:cubicBezTo>
                  <a:pt x="349" y="50"/>
                  <a:pt x="349" y="52"/>
                  <a:pt x="349" y="53"/>
                </a:cubicBezTo>
                <a:cubicBezTo>
                  <a:pt x="348" y="54"/>
                  <a:pt x="348" y="58"/>
                  <a:pt x="348" y="59"/>
                </a:cubicBezTo>
                <a:cubicBezTo>
                  <a:pt x="348" y="60"/>
                  <a:pt x="348" y="61"/>
                  <a:pt x="348" y="63"/>
                </a:cubicBezTo>
                <a:cubicBezTo>
                  <a:pt x="348" y="64"/>
                  <a:pt x="347" y="65"/>
                  <a:pt x="348" y="66"/>
                </a:cubicBezTo>
                <a:cubicBezTo>
                  <a:pt x="348" y="68"/>
                  <a:pt x="348" y="68"/>
                  <a:pt x="348" y="69"/>
                </a:cubicBezTo>
                <a:cubicBezTo>
                  <a:pt x="348" y="70"/>
                  <a:pt x="347" y="71"/>
                  <a:pt x="347" y="72"/>
                </a:cubicBezTo>
                <a:cubicBezTo>
                  <a:pt x="348" y="72"/>
                  <a:pt x="346" y="74"/>
                  <a:pt x="345" y="76"/>
                </a:cubicBezTo>
                <a:cubicBezTo>
                  <a:pt x="345" y="78"/>
                  <a:pt x="347" y="81"/>
                  <a:pt x="349" y="81"/>
                </a:cubicBezTo>
                <a:cubicBezTo>
                  <a:pt x="350" y="81"/>
                  <a:pt x="352" y="81"/>
                  <a:pt x="353" y="80"/>
                </a:cubicBezTo>
                <a:cubicBezTo>
                  <a:pt x="354" y="80"/>
                  <a:pt x="356" y="80"/>
                  <a:pt x="357" y="79"/>
                </a:cubicBezTo>
                <a:cubicBezTo>
                  <a:pt x="358" y="79"/>
                  <a:pt x="358" y="78"/>
                  <a:pt x="360" y="79"/>
                </a:cubicBezTo>
                <a:cubicBezTo>
                  <a:pt x="361" y="79"/>
                  <a:pt x="363" y="79"/>
                  <a:pt x="364" y="80"/>
                </a:cubicBezTo>
                <a:cubicBezTo>
                  <a:pt x="365" y="80"/>
                  <a:pt x="365" y="82"/>
                  <a:pt x="366" y="82"/>
                </a:cubicBezTo>
                <a:cubicBezTo>
                  <a:pt x="368" y="82"/>
                  <a:pt x="369" y="82"/>
                  <a:pt x="370" y="81"/>
                </a:cubicBezTo>
                <a:cubicBezTo>
                  <a:pt x="370" y="80"/>
                  <a:pt x="371" y="79"/>
                  <a:pt x="371" y="79"/>
                </a:cubicBezTo>
                <a:cubicBezTo>
                  <a:pt x="372" y="78"/>
                  <a:pt x="373" y="77"/>
                  <a:pt x="373" y="76"/>
                </a:cubicBezTo>
                <a:cubicBezTo>
                  <a:pt x="375" y="76"/>
                  <a:pt x="377" y="75"/>
                  <a:pt x="378" y="75"/>
                </a:cubicBezTo>
                <a:cubicBezTo>
                  <a:pt x="379" y="75"/>
                  <a:pt x="382" y="76"/>
                  <a:pt x="382" y="76"/>
                </a:cubicBezTo>
                <a:cubicBezTo>
                  <a:pt x="383" y="76"/>
                  <a:pt x="384" y="77"/>
                  <a:pt x="385" y="78"/>
                </a:cubicBezTo>
                <a:cubicBezTo>
                  <a:pt x="386" y="79"/>
                  <a:pt x="386" y="80"/>
                  <a:pt x="388" y="80"/>
                </a:cubicBezTo>
                <a:cubicBezTo>
                  <a:pt x="390" y="81"/>
                  <a:pt x="391" y="82"/>
                  <a:pt x="392" y="83"/>
                </a:cubicBezTo>
                <a:cubicBezTo>
                  <a:pt x="394" y="84"/>
                  <a:pt x="395" y="85"/>
                  <a:pt x="396" y="85"/>
                </a:cubicBezTo>
                <a:cubicBezTo>
                  <a:pt x="397" y="86"/>
                  <a:pt x="400" y="87"/>
                  <a:pt x="400" y="87"/>
                </a:cubicBezTo>
                <a:cubicBezTo>
                  <a:pt x="400" y="87"/>
                  <a:pt x="402" y="90"/>
                  <a:pt x="403" y="91"/>
                </a:cubicBezTo>
                <a:cubicBezTo>
                  <a:pt x="404" y="92"/>
                  <a:pt x="405" y="94"/>
                  <a:pt x="405" y="95"/>
                </a:cubicBezTo>
                <a:cubicBezTo>
                  <a:pt x="406" y="97"/>
                  <a:pt x="404" y="100"/>
                  <a:pt x="404" y="101"/>
                </a:cubicBezTo>
                <a:cubicBezTo>
                  <a:pt x="404" y="102"/>
                  <a:pt x="401" y="103"/>
                  <a:pt x="400" y="103"/>
                </a:cubicBezTo>
                <a:cubicBezTo>
                  <a:pt x="400" y="103"/>
                  <a:pt x="396" y="101"/>
                  <a:pt x="396" y="100"/>
                </a:cubicBezTo>
                <a:cubicBezTo>
                  <a:pt x="395" y="100"/>
                  <a:pt x="391" y="100"/>
                  <a:pt x="390" y="100"/>
                </a:cubicBezTo>
                <a:cubicBezTo>
                  <a:pt x="390" y="100"/>
                  <a:pt x="387" y="100"/>
                  <a:pt x="386" y="100"/>
                </a:cubicBezTo>
                <a:cubicBezTo>
                  <a:pt x="385" y="100"/>
                  <a:pt x="381" y="102"/>
                  <a:pt x="381" y="103"/>
                </a:cubicBezTo>
                <a:cubicBezTo>
                  <a:pt x="381" y="103"/>
                  <a:pt x="378" y="103"/>
                  <a:pt x="377" y="104"/>
                </a:cubicBezTo>
                <a:cubicBezTo>
                  <a:pt x="376" y="104"/>
                  <a:pt x="374" y="104"/>
                  <a:pt x="373" y="105"/>
                </a:cubicBezTo>
                <a:cubicBezTo>
                  <a:pt x="373" y="106"/>
                  <a:pt x="373" y="107"/>
                  <a:pt x="371" y="107"/>
                </a:cubicBezTo>
                <a:cubicBezTo>
                  <a:pt x="369" y="108"/>
                  <a:pt x="369" y="108"/>
                  <a:pt x="368" y="109"/>
                </a:cubicBezTo>
                <a:cubicBezTo>
                  <a:pt x="367" y="110"/>
                  <a:pt x="366" y="110"/>
                  <a:pt x="366" y="111"/>
                </a:cubicBezTo>
                <a:cubicBezTo>
                  <a:pt x="365" y="112"/>
                  <a:pt x="364" y="114"/>
                  <a:pt x="364" y="114"/>
                </a:cubicBezTo>
                <a:cubicBezTo>
                  <a:pt x="364" y="114"/>
                  <a:pt x="362" y="116"/>
                  <a:pt x="362" y="117"/>
                </a:cubicBezTo>
                <a:cubicBezTo>
                  <a:pt x="361" y="118"/>
                  <a:pt x="360" y="119"/>
                  <a:pt x="360" y="120"/>
                </a:cubicBezTo>
                <a:cubicBezTo>
                  <a:pt x="359" y="120"/>
                  <a:pt x="359" y="121"/>
                  <a:pt x="358" y="122"/>
                </a:cubicBezTo>
                <a:cubicBezTo>
                  <a:pt x="357" y="122"/>
                  <a:pt x="356" y="123"/>
                  <a:pt x="355" y="123"/>
                </a:cubicBezTo>
                <a:cubicBezTo>
                  <a:pt x="354" y="123"/>
                  <a:pt x="354" y="123"/>
                  <a:pt x="352" y="123"/>
                </a:cubicBezTo>
                <a:cubicBezTo>
                  <a:pt x="351" y="123"/>
                  <a:pt x="348" y="122"/>
                  <a:pt x="348" y="122"/>
                </a:cubicBezTo>
                <a:cubicBezTo>
                  <a:pt x="347" y="122"/>
                  <a:pt x="345" y="123"/>
                  <a:pt x="345" y="124"/>
                </a:cubicBezTo>
                <a:cubicBezTo>
                  <a:pt x="345" y="125"/>
                  <a:pt x="343" y="126"/>
                  <a:pt x="343" y="128"/>
                </a:cubicBezTo>
                <a:cubicBezTo>
                  <a:pt x="343" y="129"/>
                  <a:pt x="342" y="131"/>
                  <a:pt x="341" y="132"/>
                </a:cubicBezTo>
                <a:cubicBezTo>
                  <a:pt x="341" y="133"/>
                  <a:pt x="340" y="134"/>
                  <a:pt x="339" y="134"/>
                </a:cubicBezTo>
                <a:cubicBezTo>
                  <a:pt x="338" y="134"/>
                  <a:pt x="336" y="135"/>
                  <a:pt x="335" y="136"/>
                </a:cubicBezTo>
                <a:cubicBezTo>
                  <a:pt x="334" y="136"/>
                  <a:pt x="331" y="136"/>
                  <a:pt x="330" y="136"/>
                </a:cubicBezTo>
                <a:cubicBezTo>
                  <a:pt x="329" y="136"/>
                  <a:pt x="328" y="136"/>
                  <a:pt x="327" y="135"/>
                </a:cubicBezTo>
                <a:cubicBezTo>
                  <a:pt x="326" y="134"/>
                  <a:pt x="323" y="132"/>
                  <a:pt x="323" y="132"/>
                </a:cubicBezTo>
                <a:cubicBezTo>
                  <a:pt x="320" y="130"/>
                  <a:pt x="320" y="130"/>
                  <a:pt x="320" y="130"/>
                </a:cubicBezTo>
                <a:cubicBezTo>
                  <a:pt x="320" y="130"/>
                  <a:pt x="318" y="129"/>
                  <a:pt x="318" y="129"/>
                </a:cubicBezTo>
                <a:cubicBezTo>
                  <a:pt x="317" y="129"/>
                  <a:pt x="316" y="128"/>
                  <a:pt x="315" y="129"/>
                </a:cubicBezTo>
                <a:cubicBezTo>
                  <a:pt x="314" y="130"/>
                  <a:pt x="313" y="132"/>
                  <a:pt x="312" y="133"/>
                </a:cubicBezTo>
                <a:cubicBezTo>
                  <a:pt x="311" y="135"/>
                  <a:pt x="310" y="138"/>
                  <a:pt x="310" y="140"/>
                </a:cubicBezTo>
                <a:cubicBezTo>
                  <a:pt x="310" y="141"/>
                  <a:pt x="309" y="143"/>
                  <a:pt x="310" y="144"/>
                </a:cubicBezTo>
                <a:cubicBezTo>
                  <a:pt x="312" y="146"/>
                  <a:pt x="312" y="146"/>
                  <a:pt x="314" y="146"/>
                </a:cubicBezTo>
                <a:cubicBezTo>
                  <a:pt x="315" y="148"/>
                  <a:pt x="315" y="149"/>
                  <a:pt x="315" y="150"/>
                </a:cubicBezTo>
                <a:cubicBezTo>
                  <a:pt x="315" y="151"/>
                  <a:pt x="314" y="153"/>
                  <a:pt x="314" y="155"/>
                </a:cubicBezTo>
                <a:cubicBezTo>
                  <a:pt x="313" y="156"/>
                  <a:pt x="311" y="159"/>
                  <a:pt x="310" y="159"/>
                </a:cubicBezTo>
                <a:cubicBezTo>
                  <a:pt x="309" y="160"/>
                  <a:pt x="308" y="161"/>
                  <a:pt x="307" y="163"/>
                </a:cubicBezTo>
                <a:cubicBezTo>
                  <a:pt x="306" y="164"/>
                  <a:pt x="305" y="167"/>
                  <a:pt x="304" y="168"/>
                </a:cubicBezTo>
                <a:cubicBezTo>
                  <a:pt x="303" y="169"/>
                  <a:pt x="299" y="172"/>
                  <a:pt x="298" y="173"/>
                </a:cubicBezTo>
                <a:cubicBezTo>
                  <a:pt x="297" y="174"/>
                  <a:pt x="295" y="176"/>
                  <a:pt x="294" y="176"/>
                </a:cubicBezTo>
                <a:cubicBezTo>
                  <a:pt x="294" y="176"/>
                  <a:pt x="292" y="177"/>
                  <a:pt x="291" y="177"/>
                </a:cubicBezTo>
                <a:cubicBezTo>
                  <a:pt x="290" y="177"/>
                  <a:pt x="286" y="176"/>
                  <a:pt x="284" y="176"/>
                </a:cubicBezTo>
                <a:cubicBezTo>
                  <a:pt x="282" y="176"/>
                  <a:pt x="279" y="175"/>
                  <a:pt x="278" y="175"/>
                </a:cubicBezTo>
                <a:cubicBezTo>
                  <a:pt x="277" y="175"/>
                  <a:pt x="274" y="175"/>
                  <a:pt x="273" y="175"/>
                </a:cubicBezTo>
                <a:cubicBezTo>
                  <a:pt x="272" y="175"/>
                  <a:pt x="270" y="176"/>
                  <a:pt x="269" y="176"/>
                </a:cubicBezTo>
                <a:cubicBezTo>
                  <a:pt x="267" y="176"/>
                  <a:pt x="265" y="176"/>
                  <a:pt x="264" y="176"/>
                </a:cubicBezTo>
                <a:cubicBezTo>
                  <a:pt x="263" y="176"/>
                  <a:pt x="261" y="176"/>
                  <a:pt x="260" y="176"/>
                </a:cubicBezTo>
                <a:cubicBezTo>
                  <a:pt x="258" y="177"/>
                  <a:pt x="257" y="178"/>
                  <a:pt x="255" y="179"/>
                </a:cubicBezTo>
                <a:cubicBezTo>
                  <a:pt x="254" y="179"/>
                  <a:pt x="251" y="182"/>
                  <a:pt x="250" y="182"/>
                </a:cubicBezTo>
                <a:cubicBezTo>
                  <a:pt x="250" y="183"/>
                  <a:pt x="248" y="185"/>
                  <a:pt x="246" y="186"/>
                </a:cubicBezTo>
                <a:cubicBezTo>
                  <a:pt x="245" y="187"/>
                  <a:pt x="243" y="191"/>
                  <a:pt x="241" y="191"/>
                </a:cubicBezTo>
                <a:cubicBezTo>
                  <a:pt x="239" y="192"/>
                  <a:pt x="238" y="193"/>
                  <a:pt x="237" y="193"/>
                </a:cubicBezTo>
                <a:cubicBezTo>
                  <a:pt x="237" y="193"/>
                  <a:pt x="235" y="193"/>
                  <a:pt x="234" y="193"/>
                </a:cubicBezTo>
                <a:cubicBezTo>
                  <a:pt x="234" y="193"/>
                  <a:pt x="232" y="193"/>
                  <a:pt x="232" y="193"/>
                </a:cubicBezTo>
                <a:cubicBezTo>
                  <a:pt x="232" y="193"/>
                  <a:pt x="231" y="192"/>
                  <a:pt x="231" y="192"/>
                </a:cubicBezTo>
                <a:cubicBezTo>
                  <a:pt x="231" y="191"/>
                  <a:pt x="231" y="189"/>
                  <a:pt x="230" y="189"/>
                </a:cubicBezTo>
                <a:cubicBezTo>
                  <a:pt x="230" y="188"/>
                  <a:pt x="229" y="188"/>
                  <a:pt x="229" y="188"/>
                </a:cubicBezTo>
                <a:cubicBezTo>
                  <a:pt x="228" y="187"/>
                  <a:pt x="228" y="187"/>
                  <a:pt x="227" y="188"/>
                </a:cubicBezTo>
                <a:cubicBezTo>
                  <a:pt x="226" y="189"/>
                  <a:pt x="223" y="189"/>
                  <a:pt x="223" y="189"/>
                </a:cubicBezTo>
                <a:cubicBezTo>
                  <a:pt x="222" y="188"/>
                  <a:pt x="221" y="188"/>
                  <a:pt x="219" y="188"/>
                </a:cubicBezTo>
                <a:cubicBezTo>
                  <a:pt x="218" y="187"/>
                  <a:pt x="215" y="186"/>
                  <a:pt x="214" y="186"/>
                </a:cubicBezTo>
                <a:cubicBezTo>
                  <a:pt x="213" y="186"/>
                  <a:pt x="211" y="186"/>
                  <a:pt x="210" y="185"/>
                </a:cubicBezTo>
                <a:cubicBezTo>
                  <a:pt x="209" y="185"/>
                  <a:pt x="207" y="184"/>
                  <a:pt x="206" y="184"/>
                </a:cubicBezTo>
                <a:cubicBezTo>
                  <a:pt x="205" y="184"/>
                  <a:pt x="203" y="183"/>
                  <a:pt x="202" y="182"/>
                </a:cubicBezTo>
                <a:cubicBezTo>
                  <a:pt x="201" y="182"/>
                  <a:pt x="199" y="181"/>
                  <a:pt x="199" y="181"/>
                </a:cubicBezTo>
                <a:cubicBezTo>
                  <a:pt x="198" y="180"/>
                  <a:pt x="196" y="178"/>
                  <a:pt x="196" y="178"/>
                </a:cubicBezTo>
                <a:cubicBezTo>
                  <a:pt x="195" y="178"/>
                  <a:pt x="195" y="176"/>
                  <a:pt x="194" y="176"/>
                </a:cubicBezTo>
                <a:cubicBezTo>
                  <a:pt x="194" y="176"/>
                  <a:pt x="193" y="174"/>
                  <a:pt x="193" y="174"/>
                </a:cubicBezTo>
                <a:cubicBezTo>
                  <a:pt x="193" y="174"/>
                  <a:pt x="192" y="173"/>
                  <a:pt x="191" y="172"/>
                </a:cubicBezTo>
                <a:cubicBezTo>
                  <a:pt x="190" y="172"/>
                  <a:pt x="186" y="171"/>
                  <a:pt x="185" y="171"/>
                </a:cubicBezTo>
                <a:cubicBezTo>
                  <a:pt x="184" y="171"/>
                  <a:pt x="183" y="170"/>
                  <a:pt x="181" y="170"/>
                </a:cubicBezTo>
                <a:cubicBezTo>
                  <a:pt x="180" y="170"/>
                  <a:pt x="178" y="170"/>
                  <a:pt x="177" y="170"/>
                </a:cubicBezTo>
                <a:cubicBezTo>
                  <a:pt x="176" y="170"/>
                  <a:pt x="173" y="170"/>
                  <a:pt x="172" y="171"/>
                </a:cubicBezTo>
                <a:cubicBezTo>
                  <a:pt x="171" y="172"/>
                  <a:pt x="169" y="172"/>
                  <a:pt x="168" y="173"/>
                </a:cubicBezTo>
                <a:cubicBezTo>
                  <a:pt x="167" y="174"/>
                  <a:pt x="165" y="174"/>
                  <a:pt x="164" y="174"/>
                </a:cubicBezTo>
                <a:cubicBezTo>
                  <a:pt x="163" y="175"/>
                  <a:pt x="160" y="175"/>
                  <a:pt x="160" y="175"/>
                </a:cubicBezTo>
                <a:cubicBezTo>
                  <a:pt x="160" y="175"/>
                  <a:pt x="155" y="175"/>
                  <a:pt x="154" y="175"/>
                </a:cubicBezTo>
                <a:cubicBezTo>
                  <a:pt x="154" y="175"/>
                  <a:pt x="151" y="174"/>
                  <a:pt x="150" y="174"/>
                </a:cubicBezTo>
                <a:cubicBezTo>
                  <a:pt x="149" y="174"/>
                  <a:pt x="148" y="173"/>
                  <a:pt x="147" y="173"/>
                </a:cubicBezTo>
                <a:cubicBezTo>
                  <a:pt x="146" y="173"/>
                  <a:pt x="144" y="173"/>
                  <a:pt x="143" y="174"/>
                </a:cubicBezTo>
                <a:cubicBezTo>
                  <a:pt x="142" y="174"/>
                  <a:pt x="140" y="174"/>
                  <a:pt x="138" y="175"/>
                </a:cubicBezTo>
                <a:cubicBezTo>
                  <a:pt x="137" y="175"/>
                  <a:pt x="133" y="175"/>
                  <a:pt x="133" y="175"/>
                </a:cubicBezTo>
                <a:cubicBezTo>
                  <a:pt x="133" y="175"/>
                  <a:pt x="131" y="176"/>
                  <a:pt x="129" y="175"/>
                </a:cubicBezTo>
                <a:cubicBezTo>
                  <a:pt x="128" y="175"/>
                  <a:pt x="126" y="173"/>
                  <a:pt x="126" y="173"/>
                </a:cubicBezTo>
                <a:cubicBezTo>
                  <a:pt x="122" y="167"/>
                  <a:pt x="122" y="167"/>
                  <a:pt x="122" y="167"/>
                </a:cubicBezTo>
                <a:cubicBezTo>
                  <a:pt x="120" y="165"/>
                  <a:pt x="120" y="165"/>
                  <a:pt x="120" y="165"/>
                </a:cubicBezTo>
                <a:cubicBezTo>
                  <a:pt x="120" y="165"/>
                  <a:pt x="118" y="164"/>
                  <a:pt x="118" y="163"/>
                </a:cubicBezTo>
                <a:cubicBezTo>
                  <a:pt x="117" y="161"/>
                  <a:pt x="116" y="159"/>
                  <a:pt x="116" y="159"/>
                </a:cubicBezTo>
                <a:cubicBezTo>
                  <a:pt x="115" y="158"/>
                  <a:pt x="113" y="153"/>
                  <a:pt x="112" y="152"/>
                </a:cubicBezTo>
                <a:cubicBezTo>
                  <a:pt x="110" y="152"/>
                  <a:pt x="107" y="149"/>
                  <a:pt x="107" y="149"/>
                </a:cubicBezTo>
                <a:cubicBezTo>
                  <a:pt x="107" y="149"/>
                  <a:pt x="103" y="146"/>
                  <a:pt x="101" y="146"/>
                </a:cubicBezTo>
                <a:cubicBezTo>
                  <a:pt x="100" y="146"/>
                  <a:pt x="99" y="146"/>
                  <a:pt x="98" y="146"/>
                </a:cubicBezTo>
                <a:cubicBezTo>
                  <a:pt x="98" y="145"/>
                  <a:pt x="94" y="142"/>
                  <a:pt x="94" y="142"/>
                </a:cubicBezTo>
                <a:cubicBezTo>
                  <a:pt x="94" y="142"/>
                  <a:pt x="91" y="141"/>
                  <a:pt x="91" y="140"/>
                </a:cubicBezTo>
                <a:cubicBezTo>
                  <a:pt x="89" y="139"/>
                  <a:pt x="87" y="138"/>
                  <a:pt x="87" y="137"/>
                </a:cubicBezTo>
                <a:cubicBezTo>
                  <a:pt x="86" y="137"/>
                  <a:pt x="84" y="136"/>
                  <a:pt x="83" y="135"/>
                </a:cubicBezTo>
                <a:cubicBezTo>
                  <a:pt x="82" y="135"/>
                  <a:pt x="78" y="133"/>
                  <a:pt x="78" y="133"/>
                </a:cubicBezTo>
                <a:cubicBezTo>
                  <a:pt x="77" y="133"/>
                  <a:pt x="73" y="132"/>
                  <a:pt x="72" y="132"/>
                </a:cubicBezTo>
                <a:cubicBezTo>
                  <a:pt x="72" y="132"/>
                  <a:pt x="70" y="132"/>
                  <a:pt x="69" y="132"/>
                </a:cubicBezTo>
                <a:cubicBezTo>
                  <a:pt x="68" y="132"/>
                  <a:pt x="65" y="132"/>
                  <a:pt x="65" y="132"/>
                </a:cubicBezTo>
                <a:cubicBezTo>
                  <a:pt x="64" y="132"/>
                  <a:pt x="62" y="133"/>
                  <a:pt x="61" y="133"/>
                </a:cubicBezTo>
                <a:cubicBezTo>
                  <a:pt x="60" y="132"/>
                  <a:pt x="58" y="131"/>
                  <a:pt x="57" y="131"/>
                </a:cubicBezTo>
                <a:cubicBezTo>
                  <a:pt x="57" y="131"/>
                  <a:pt x="53" y="131"/>
                  <a:pt x="51" y="130"/>
                </a:cubicBezTo>
                <a:cubicBezTo>
                  <a:pt x="50" y="130"/>
                  <a:pt x="48" y="129"/>
                  <a:pt x="47" y="129"/>
                </a:cubicBezTo>
                <a:cubicBezTo>
                  <a:pt x="46" y="129"/>
                  <a:pt x="46" y="129"/>
                  <a:pt x="46" y="128"/>
                </a:cubicBezTo>
                <a:cubicBezTo>
                  <a:pt x="46" y="127"/>
                  <a:pt x="48" y="121"/>
                  <a:pt x="48" y="121"/>
                </a:cubicBezTo>
                <a:cubicBezTo>
                  <a:pt x="48" y="121"/>
                  <a:pt x="49" y="118"/>
                  <a:pt x="49" y="117"/>
                </a:cubicBezTo>
                <a:cubicBezTo>
                  <a:pt x="49" y="116"/>
                  <a:pt x="50" y="115"/>
                  <a:pt x="50" y="114"/>
                </a:cubicBezTo>
                <a:cubicBezTo>
                  <a:pt x="50" y="113"/>
                  <a:pt x="49" y="112"/>
                  <a:pt x="49" y="112"/>
                </a:cubicBezTo>
                <a:cubicBezTo>
                  <a:pt x="48" y="111"/>
                  <a:pt x="48" y="110"/>
                  <a:pt x="48" y="109"/>
                </a:cubicBezTo>
                <a:cubicBezTo>
                  <a:pt x="48" y="108"/>
                  <a:pt x="47" y="108"/>
                  <a:pt x="47" y="107"/>
                </a:cubicBezTo>
                <a:cubicBezTo>
                  <a:pt x="47" y="106"/>
                  <a:pt x="47" y="105"/>
                  <a:pt x="48" y="104"/>
                </a:cubicBezTo>
                <a:cubicBezTo>
                  <a:pt x="48" y="103"/>
                  <a:pt x="48" y="103"/>
                  <a:pt x="48" y="102"/>
                </a:cubicBezTo>
                <a:cubicBezTo>
                  <a:pt x="48" y="102"/>
                  <a:pt x="47" y="99"/>
                  <a:pt x="46" y="99"/>
                </a:cubicBezTo>
                <a:cubicBezTo>
                  <a:pt x="46" y="98"/>
                  <a:pt x="45" y="97"/>
                  <a:pt x="44" y="97"/>
                </a:cubicBezTo>
                <a:cubicBezTo>
                  <a:pt x="44" y="96"/>
                  <a:pt x="43" y="95"/>
                  <a:pt x="43" y="94"/>
                </a:cubicBezTo>
                <a:cubicBezTo>
                  <a:pt x="43" y="93"/>
                  <a:pt x="41" y="91"/>
                  <a:pt x="40" y="91"/>
                </a:cubicBezTo>
                <a:cubicBezTo>
                  <a:pt x="40" y="90"/>
                  <a:pt x="39" y="89"/>
                  <a:pt x="39" y="89"/>
                </a:cubicBezTo>
                <a:cubicBezTo>
                  <a:pt x="38" y="88"/>
                  <a:pt x="34" y="86"/>
                  <a:pt x="34" y="86"/>
                </a:cubicBezTo>
                <a:cubicBezTo>
                  <a:pt x="34" y="86"/>
                  <a:pt x="33" y="85"/>
                  <a:pt x="32" y="84"/>
                </a:cubicBezTo>
                <a:cubicBezTo>
                  <a:pt x="32" y="84"/>
                  <a:pt x="30" y="83"/>
                  <a:pt x="29" y="83"/>
                </a:cubicBezTo>
                <a:cubicBezTo>
                  <a:pt x="28" y="83"/>
                  <a:pt x="25" y="82"/>
                  <a:pt x="25" y="82"/>
                </a:cubicBezTo>
                <a:cubicBezTo>
                  <a:pt x="25" y="82"/>
                  <a:pt x="21" y="80"/>
                  <a:pt x="20" y="80"/>
                </a:cubicBezTo>
                <a:cubicBezTo>
                  <a:pt x="20" y="80"/>
                  <a:pt x="17" y="79"/>
                  <a:pt x="17" y="79"/>
                </a:cubicBezTo>
                <a:cubicBezTo>
                  <a:pt x="16" y="78"/>
                  <a:pt x="15" y="78"/>
                  <a:pt x="15" y="77"/>
                </a:cubicBezTo>
                <a:cubicBezTo>
                  <a:pt x="15" y="76"/>
                  <a:pt x="14" y="75"/>
                  <a:pt x="13" y="75"/>
                </a:cubicBezTo>
                <a:cubicBezTo>
                  <a:pt x="13" y="74"/>
                  <a:pt x="11" y="73"/>
                  <a:pt x="10" y="72"/>
                </a:cubicBezTo>
                <a:cubicBezTo>
                  <a:pt x="9" y="72"/>
                  <a:pt x="8" y="72"/>
                  <a:pt x="8" y="71"/>
                </a:cubicBezTo>
                <a:cubicBezTo>
                  <a:pt x="7" y="71"/>
                  <a:pt x="6" y="69"/>
                  <a:pt x="6" y="68"/>
                </a:cubicBezTo>
                <a:cubicBezTo>
                  <a:pt x="6" y="68"/>
                  <a:pt x="4" y="66"/>
                  <a:pt x="3" y="65"/>
                </a:cubicBezTo>
                <a:cubicBezTo>
                  <a:pt x="3" y="65"/>
                  <a:pt x="1" y="64"/>
                  <a:pt x="1" y="63"/>
                </a:cubicBezTo>
                <a:cubicBezTo>
                  <a:pt x="1" y="62"/>
                  <a:pt x="2" y="59"/>
                  <a:pt x="2" y="59"/>
                </a:cubicBezTo>
                <a:cubicBezTo>
                  <a:pt x="1" y="58"/>
                  <a:pt x="0" y="57"/>
                  <a:pt x="0" y="57"/>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0" name="North Korea"/>
          <p:cNvSpPr>
            <a:spLocks/>
          </p:cNvSpPr>
          <p:nvPr/>
        </p:nvSpPr>
        <p:spPr bwMode="auto">
          <a:xfrm>
            <a:off x="9438070" y="2630063"/>
            <a:ext cx="137188" cy="189450"/>
          </a:xfrm>
          <a:custGeom>
            <a:avLst/>
            <a:gdLst>
              <a:gd name="T0" fmla="*/ 67 w 67"/>
              <a:gd name="T1" fmla="*/ 11 h 92"/>
              <a:gd name="T2" fmla="*/ 64 w 67"/>
              <a:gd name="T3" fmla="*/ 19 h 92"/>
              <a:gd name="T4" fmla="*/ 65 w 67"/>
              <a:gd name="T5" fmla="*/ 29 h 92"/>
              <a:gd name="T6" fmla="*/ 62 w 67"/>
              <a:gd name="T7" fmla="*/ 38 h 92"/>
              <a:gd name="T8" fmla="*/ 56 w 67"/>
              <a:gd name="T9" fmla="*/ 44 h 92"/>
              <a:gd name="T10" fmla="*/ 52 w 67"/>
              <a:gd name="T11" fmla="*/ 49 h 92"/>
              <a:gd name="T12" fmla="*/ 46 w 67"/>
              <a:gd name="T13" fmla="*/ 50 h 92"/>
              <a:gd name="T14" fmla="*/ 42 w 67"/>
              <a:gd name="T15" fmla="*/ 54 h 92"/>
              <a:gd name="T16" fmla="*/ 42 w 67"/>
              <a:gd name="T17" fmla="*/ 63 h 92"/>
              <a:gd name="T18" fmla="*/ 44 w 67"/>
              <a:gd name="T19" fmla="*/ 67 h 92"/>
              <a:gd name="T20" fmla="*/ 52 w 67"/>
              <a:gd name="T21" fmla="*/ 72 h 92"/>
              <a:gd name="T22" fmla="*/ 58 w 67"/>
              <a:gd name="T23" fmla="*/ 76 h 92"/>
              <a:gd name="T24" fmla="*/ 54 w 67"/>
              <a:gd name="T25" fmla="*/ 81 h 92"/>
              <a:gd name="T26" fmla="*/ 41 w 67"/>
              <a:gd name="T27" fmla="*/ 84 h 92"/>
              <a:gd name="T28" fmla="*/ 36 w 67"/>
              <a:gd name="T29" fmla="*/ 87 h 92"/>
              <a:gd name="T30" fmla="*/ 33 w 67"/>
              <a:gd name="T31" fmla="*/ 89 h 92"/>
              <a:gd name="T32" fmla="*/ 32 w 67"/>
              <a:gd name="T33" fmla="*/ 90 h 92"/>
              <a:gd name="T34" fmla="*/ 28 w 67"/>
              <a:gd name="T35" fmla="*/ 87 h 92"/>
              <a:gd name="T36" fmla="*/ 24 w 67"/>
              <a:gd name="T37" fmla="*/ 88 h 92"/>
              <a:gd name="T38" fmla="*/ 20 w 67"/>
              <a:gd name="T39" fmla="*/ 88 h 92"/>
              <a:gd name="T40" fmla="*/ 18 w 67"/>
              <a:gd name="T41" fmla="*/ 85 h 92"/>
              <a:gd name="T42" fmla="*/ 13 w 67"/>
              <a:gd name="T43" fmla="*/ 83 h 92"/>
              <a:gd name="T44" fmla="*/ 12 w 67"/>
              <a:gd name="T45" fmla="*/ 81 h 92"/>
              <a:gd name="T46" fmla="*/ 13 w 67"/>
              <a:gd name="T47" fmla="*/ 74 h 92"/>
              <a:gd name="T48" fmla="*/ 14 w 67"/>
              <a:gd name="T49" fmla="*/ 71 h 92"/>
              <a:gd name="T50" fmla="*/ 18 w 67"/>
              <a:gd name="T51" fmla="*/ 61 h 92"/>
              <a:gd name="T52" fmla="*/ 9 w 67"/>
              <a:gd name="T53" fmla="*/ 57 h 92"/>
              <a:gd name="T54" fmla="*/ 3 w 67"/>
              <a:gd name="T55" fmla="*/ 54 h 92"/>
              <a:gd name="T56" fmla="*/ 1 w 67"/>
              <a:gd name="T57" fmla="*/ 52 h 92"/>
              <a:gd name="T58" fmla="*/ 1 w 67"/>
              <a:gd name="T59" fmla="*/ 50 h 92"/>
              <a:gd name="T60" fmla="*/ 3 w 67"/>
              <a:gd name="T61" fmla="*/ 45 h 92"/>
              <a:gd name="T62" fmla="*/ 9 w 67"/>
              <a:gd name="T63" fmla="*/ 39 h 92"/>
              <a:gd name="T64" fmla="*/ 14 w 67"/>
              <a:gd name="T65" fmla="*/ 30 h 92"/>
              <a:gd name="T66" fmla="*/ 17 w 67"/>
              <a:gd name="T67" fmla="*/ 27 h 92"/>
              <a:gd name="T68" fmla="*/ 19 w 67"/>
              <a:gd name="T69" fmla="*/ 18 h 92"/>
              <a:gd name="T70" fmla="*/ 27 w 67"/>
              <a:gd name="T71" fmla="*/ 26 h 92"/>
              <a:gd name="T72" fmla="*/ 34 w 67"/>
              <a:gd name="T73" fmla="*/ 25 h 92"/>
              <a:gd name="T74" fmla="*/ 35 w 67"/>
              <a:gd name="T75" fmla="*/ 17 h 92"/>
              <a:gd name="T76" fmla="*/ 43 w 67"/>
              <a:gd name="T77" fmla="*/ 15 h 92"/>
              <a:gd name="T78" fmla="*/ 47 w 67"/>
              <a:gd name="T79" fmla="*/ 9 h 92"/>
              <a:gd name="T80" fmla="*/ 52 w 67"/>
              <a:gd name="T81" fmla="*/ 5 h 92"/>
              <a:gd name="T82" fmla="*/ 56 w 67"/>
              <a:gd name="T83" fmla="*/ 1 h 92"/>
              <a:gd name="T84" fmla="*/ 59 w 67"/>
              <a:gd name="T85" fmla="*/ 0 h 92"/>
              <a:gd name="T86" fmla="*/ 63 w 67"/>
              <a:gd name="T87" fmla="*/ 3 h 92"/>
              <a:gd name="T88" fmla="*/ 67 w 67"/>
              <a:gd name="T89"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7" h="92">
                <a:moveTo>
                  <a:pt x="67" y="9"/>
                </a:moveTo>
                <a:cubicBezTo>
                  <a:pt x="67" y="9"/>
                  <a:pt x="67" y="10"/>
                  <a:pt x="67" y="11"/>
                </a:cubicBezTo>
                <a:cubicBezTo>
                  <a:pt x="67" y="12"/>
                  <a:pt x="65" y="14"/>
                  <a:pt x="65" y="14"/>
                </a:cubicBezTo>
                <a:cubicBezTo>
                  <a:pt x="65" y="14"/>
                  <a:pt x="65" y="17"/>
                  <a:pt x="64" y="19"/>
                </a:cubicBezTo>
                <a:cubicBezTo>
                  <a:pt x="62" y="21"/>
                  <a:pt x="62" y="23"/>
                  <a:pt x="63" y="24"/>
                </a:cubicBezTo>
                <a:cubicBezTo>
                  <a:pt x="65" y="24"/>
                  <a:pt x="66" y="26"/>
                  <a:pt x="65" y="29"/>
                </a:cubicBezTo>
                <a:cubicBezTo>
                  <a:pt x="64" y="31"/>
                  <a:pt x="65" y="32"/>
                  <a:pt x="65" y="35"/>
                </a:cubicBezTo>
                <a:cubicBezTo>
                  <a:pt x="65" y="37"/>
                  <a:pt x="64" y="39"/>
                  <a:pt x="62" y="38"/>
                </a:cubicBezTo>
                <a:cubicBezTo>
                  <a:pt x="59" y="37"/>
                  <a:pt x="60" y="40"/>
                  <a:pt x="60" y="40"/>
                </a:cubicBezTo>
                <a:cubicBezTo>
                  <a:pt x="60" y="40"/>
                  <a:pt x="59" y="45"/>
                  <a:pt x="56" y="44"/>
                </a:cubicBezTo>
                <a:cubicBezTo>
                  <a:pt x="54" y="43"/>
                  <a:pt x="55" y="46"/>
                  <a:pt x="55" y="46"/>
                </a:cubicBezTo>
                <a:cubicBezTo>
                  <a:pt x="55" y="46"/>
                  <a:pt x="55" y="50"/>
                  <a:pt x="52" y="49"/>
                </a:cubicBezTo>
                <a:cubicBezTo>
                  <a:pt x="50" y="49"/>
                  <a:pt x="52" y="49"/>
                  <a:pt x="50" y="51"/>
                </a:cubicBezTo>
                <a:cubicBezTo>
                  <a:pt x="48" y="53"/>
                  <a:pt x="48" y="51"/>
                  <a:pt x="46" y="50"/>
                </a:cubicBezTo>
                <a:cubicBezTo>
                  <a:pt x="44" y="49"/>
                  <a:pt x="44" y="51"/>
                  <a:pt x="44" y="51"/>
                </a:cubicBezTo>
                <a:cubicBezTo>
                  <a:pt x="44" y="51"/>
                  <a:pt x="44" y="53"/>
                  <a:pt x="42" y="54"/>
                </a:cubicBezTo>
                <a:cubicBezTo>
                  <a:pt x="39" y="55"/>
                  <a:pt x="42" y="57"/>
                  <a:pt x="42" y="57"/>
                </a:cubicBezTo>
                <a:cubicBezTo>
                  <a:pt x="42" y="57"/>
                  <a:pt x="44" y="62"/>
                  <a:pt x="42" y="63"/>
                </a:cubicBezTo>
                <a:cubicBezTo>
                  <a:pt x="40" y="64"/>
                  <a:pt x="42" y="65"/>
                  <a:pt x="42" y="65"/>
                </a:cubicBezTo>
                <a:cubicBezTo>
                  <a:pt x="44" y="67"/>
                  <a:pt x="44" y="67"/>
                  <a:pt x="44" y="67"/>
                </a:cubicBezTo>
                <a:cubicBezTo>
                  <a:pt x="44" y="67"/>
                  <a:pt x="52" y="68"/>
                  <a:pt x="50" y="70"/>
                </a:cubicBezTo>
                <a:cubicBezTo>
                  <a:pt x="50" y="72"/>
                  <a:pt x="52" y="72"/>
                  <a:pt x="52" y="72"/>
                </a:cubicBezTo>
                <a:cubicBezTo>
                  <a:pt x="52" y="72"/>
                  <a:pt x="55" y="71"/>
                  <a:pt x="57" y="74"/>
                </a:cubicBezTo>
                <a:cubicBezTo>
                  <a:pt x="58" y="75"/>
                  <a:pt x="58" y="75"/>
                  <a:pt x="58" y="76"/>
                </a:cubicBezTo>
                <a:cubicBezTo>
                  <a:pt x="58" y="76"/>
                  <a:pt x="58" y="79"/>
                  <a:pt x="57" y="79"/>
                </a:cubicBezTo>
                <a:cubicBezTo>
                  <a:pt x="56" y="80"/>
                  <a:pt x="54" y="81"/>
                  <a:pt x="54" y="81"/>
                </a:cubicBezTo>
                <a:cubicBezTo>
                  <a:pt x="53" y="81"/>
                  <a:pt x="46" y="83"/>
                  <a:pt x="45" y="83"/>
                </a:cubicBezTo>
                <a:cubicBezTo>
                  <a:pt x="44" y="83"/>
                  <a:pt x="41" y="84"/>
                  <a:pt x="41" y="84"/>
                </a:cubicBezTo>
                <a:cubicBezTo>
                  <a:pt x="40" y="84"/>
                  <a:pt x="38" y="85"/>
                  <a:pt x="38" y="85"/>
                </a:cubicBezTo>
                <a:cubicBezTo>
                  <a:pt x="37" y="85"/>
                  <a:pt x="36" y="86"/>
                  <a:pt x="36" y="87"/>
                </a:cubicBezTo>
                <a:cubicBezTo>
                  <a:pt x="35" y="87"/>
                  <a:pt x="35" y="87"/>
                  <a:pt x="35" y="88"/>
                </a:cubicBezTo>
                <a:cubicBezTo>
                  <a:pt x="34" y="88"/>
                  <a:pt x="33" y="89"/>
                  <a:pt x="33" y="89"/>
                </a:cubicBezTo>
                <a:cubicBezTo>
                  <a:pt x="33" y="90"/>
                  <a:pt x="33" y="92"/>
                  <a:pt x="33" y="92"/>
                </a:cubicBezTo>
                <a:cubicBezTo>
                  <a:pt x="32" y="91"/>
                  <a:pt x="32" y="90"/>
                  <a:pt x="32" y="90"/>
                </a:cubicBezTo>
                <a:cubicBezTo>
                  <a:pt x="32" y="90"/>
                  <a:pt x="33" y="88"/>
                  <a:pt x="31" y="89"/>
                </a:cubicBezTo>
                <a:cubicBezTo>
                  <a:pt x="30" y="89"/>
                  <a:pt x="30" y="88"/>
                  <a:pt x="28" y="87"/>
                </a:cubicBezTo>
                <a:cubicBezTo>
                  <a:pt x="26" y="87"/>
                  <a:pt x="27" y="85"/>
                  <a:pt x="26" y="85"/>
                </a:cubicBezTo>
                <a:cubicBezTo>
                  <a:pt x="25" y="85"/>
                  <a:pt x="24" y="86"/>
                  <a:pt x="24" y="88"/>
                </a:cubicBezTo>
                <a:cubicBezTo>
                  <a:pt x="24" y="90"/>
                  <a:pt x="21" y="90"/>
                  <a:pt x="20" y="90"/>
                </a:cubicBezTo>
                <a:cubicBezTo>
                  <a:pt x="20" y="90"/>
                  <a:pt x="20" y="88"/>
                  <a:pt x="20" y="88"/>
                </a:cubicBezTo>
                <a:cubicBezTo>
                  <a:pt x="20" y="88"/>
                  <a:pt x="17" y="88"/>
                  <a:pt x="17" y="87"/>
                </a:cubicBezTo>
                <a:cubicBezTo>
                  <a:pt x="16" y="87"/>
                  <a:pt x="17" y="86"/>
                  <a:pt x="18" y="85"/>
                </a:cubicBezTo>
                <a:cubicBezTo>
                  <a:pt x="18" y="84"/>
                  <a:pt x="19" y="84"/>
                  <a:pt x="18" y="83"/>
                </a:cubicBezTo>
                <a:cubicBezTo>
                  <a:pt x="17" y="82"/>
                  <a:pt x="13" y="83"/>
                  <a:pt x="13" y="83"/>
                </a:cubicBezTo>
                <a:cubicBezTo>
                  <a:pt x="13" y="83"/>
                  <a:pt x="10" y="85"/>
                  <a:pt x="10" y="84"/>
                </a:cubicBezTo>
                <a:cubicBezTo>
                  <a:pt x="10" y="83"/>
                  <a:pt x="12" y="81"/>
                  <a:pt x="12" y="81"/>
                </a:cubicBezTo>
                <a:cubicBezTo>
                  <a:pt x="12" y="81"/>
                  <a:pt x="13" y="81"/>
                  <a:pt x="12" y="79"/>
                </a:cubicBezTo>
                <a:cubicBezTo>
                  <a:pt x="12" y="77"/>
                  <a:pt x="12" y="77"/>
                  <a:pt x="13" y="74"/>
                </a:cubicBezTo>
                <a:cubicBezTo>
                  <a:pt x="14" y="72"/>
                  <a:pt x="16" y="74"/>
                  <a:pt x="17" y="73"/>
                </a:cubicBezTo>
                <a:cubicBezTo>
                  <a:pt x="18" y="72"/>
                  <a:pt x="15" y="72"/>
                  <a:pt x="14" y="71"/>
                </a:cubicBezTo>
                <a:cubicBezTo>
                  <a:pt x="13" y="70"/>
                  <a:pt x="15" y="67"/>
                  <a:pt x="15" y="65"/>
                </a:cubicBezTo>
                <a:cubicBezTo>
                  <a:pt x="16" y="64"/>
                  <a:pt x="17" y="62"/>
                  <a:pt x="18" y="61"/>
                </a:cubicBezTo>
                <a:cubicBezTo>
                  <a:pt x="18" y="60"/>
                  <a:pt x="19" y="58"/>
                  <a:pt x="17" y="57"/>
                </a:cubicBezTo>
                <a:cubicBezTo>
                  <a:pt x="15" y="56"/>
                  <a:pt x="11" y="57"/>
                  <a:pt x="9" y="57"/>
                </a:cubicBezTo>
                <a:cubicBezTo>
                  <a:pt x="7" y="56"/>
                  <a:pt x="6" y="57"/>
                  <a:pt x="5" y="57"/>
                </a:cubicBezTo>
                <a:cubicBezTo>
                  <a:pt x="4" y="58"/>
                  <a:pt x="3" y="55"/>
                  <a:pt x="3" y="54"/>
                </a:cubicBezTo>
                <a:cubicBezTo>
                  <a:pt x="2" y="54"/>
                  <a:pt x="2" y="53"/>
                  <a:pt x="1" y="53"/>
                </a:cubicBezTo>
                <a:cubicBezTo>
                  <a:pt x="1" y="53"/>
                  <a:pt x="1" y="53"/>
                  <a:pt x="1" y="52"/>
                </a:cubicBezTo>
                <a:cubicBezTo>
                  <a:pt x="1" y="52"/>
                  <a:pt x="0" y="51"/>
                  <a:pt x="0" y="51"/>
                </a:cubicBezTo>
                <a:cubicBezTo>
                  <a:pt x="0" y="50"/>
                  <a:pt x="1" y="50"/>
                  <a:pt x="1" y="50"/>
                </a:cubicBezTo>
                <a:cubicBezTo>
                  <a:pt x="1" y="50"/>
                  <a:pt x="2" y="50"/>
                  <a:pt x="2" y="49"/>
                </a:cubicBezTo>
                <a:cubicBezTo>
                  <a:pt x="2" y="48"/>
                  <a:pt x="3" y="46"/>
                  <a:pt x="3" y="45"/>
                </a:cubicBezTo>
                <a:cubicBezTo>
                  <a:pt x="3" y="45"/>
                  <a:pt x="5" y="43"/>
                  <a:pt x="5" y="42"/>
                </a:cubicBezTo>
                <a:cubicBezTo>
                  <a:pt x="6" y="41"/>
                  <a:pt x="8" y="39"/>
                  <a:pt x="9" y="39"/>
                </a:cubicBezTo>
                <a:cubicBezTo>
                  <a:pt x="9" y="38"/>
                  <a:pt x="14" y="35"/>
                  <a:pt x="14" y="35"/>
                </a:cubicBezTo>
                <a:cubicBezTo>
                  <a:pt x="14" y="34"/>
                  <a:pt x="14" y="30"/>
                  <a:pt x="14" y="30"/>
                </a:cubicBezTo>
                <a:cubicBezTo>
                  <a:pt x="16" y="30"/>
                  <a:pt x="16" y="30"/>
                  <a:pt x="16" y="30"/>
                </a:cubicBezTo>
                <a:cubicBezTo>
                  <a:pt x="16" y="30"/>
                  <a:pt x="17" y="28"/>
                  <a:pt x="17" y="27"/>
                </a:cubicBezTo>
                <a:cubicBezTo>
                  <a:pt x="17" y="26"/>
                  <a:pt x="16" y="22"/>
                  <a:pt x="16" y="21"/>
                </a:cubicBezTo>
                <a:cubicBezTo>
                  <a:pt x="16" y="19"/>
                  <a:pt x="18" y="18"/>
                  <a:pt x="19" y="18"/>
                </a:cubicBezTo>
                <a:cubicBezTo>
                  <a:pt x="20" y="18"/>
                  <a:pt x="22" y="19"/>
                  <a:pt x="23" y="20"/>
                </a:cubicBezTo>
                <a:cubicBezTo>
                  <a:pt x="23" y="21"/>
                  <a:pt x="26" y="26"/>
                  <a:pt x="27" y="26"/>
                </a:cubicBezTo>
                <a:cubicBezTo>
                  <a:pt x="27" y="27"/>
                  <a:pt x="29" y="28"/>
                  <a:pt x="30" y="28"/>
                </a:cubicBezTo>
                <a:cubicBezTo>
                  <a:pt x="31" y="27"/>
                  <a:pt x="33" y="26"/>
                  <a:pt x="34" y="25"/>
                </a:cubicBezTo>
                <a:cubicBezTo>
                  <a:pt x="34" y="24"/>
                  <a:pt x="34" y="22"/>
                  <a:pt x="34" y="21"/>
                </a:cubicBezTo>
                <a:cubicBezTo>
                  <a:pt x="34" y="19"/>
                  <a:pt x="34" y="17"/>
                  <a:pt x="35" y="17"/>
                </a:cubicBezTo>
                <a:cubicBezTo>
                  <a:pt x="35" y="17"/>
                  <a:pt x="36" y="16"/>
                  <a:pt x="38" y="16"/>
                </a:cubicBezTo>
                <a:cubicBezTo>
                  <a:pt x="39" y="16"/>
                  <a:pt x="42" y="15"/>
                  <a:pt x="43" y="15"/>
                </a:cubicBezTo>
                <a:cubicBezTo>
                  <a:pt x="44" y="15"/>
                  <a:pt x="45" y="14"/>
                  <a:pt x="45" y="13"/>
                </a:cubicBezTo>
                <a:cubicBezTo>
                  <a:pt x="46" y="13"/>
                  <a:pt x="47" y="10"/>
                  <a:pt x="47" y="9"/>
                </a:cubicBezTo>
                <a:cubicBezTo>
                  <a:pt x="47" y="8"/>
                  <a:pt x="48" y="7"/>
                  <a:pt x="49" y="6"/>
                </a:cubicBezTo>
                <a:cubicBezTo>
                  <a:pt x="49" y="6"/>
                  <a:pt x="52" y="5"/>
                  <a:pt x="52" y="5"/>
                </a:cubicBezTo>
                <a:cubicBezTo>
                  <a:pt x="53" y="4"/>
                  <a:pt x="55" y="3"/>
                  <a:pt x="55" y="3"/>
                </a:cubicBezTo>
                <a:cubicBezTo>
                  <a:pt x="55" y="3"/>
                  <a:pt x="56" y="2"/>
                  <a:pt x="56" y="1"/>
                </a:cubicBezTo>
                <a:cubicBezTo>
                  <a:pt x="56" y="1"/>
                  <a:pt x="56" y="0"/>
                  <a:pt x="57" y="0"/>
                </a:cubicBezTo>
                <a:cubicBezTo>
                  <a:pt x="58" y="0"/>
                  <a:pt x="59" y="0"/>
                  <a:pt x="59" y="0"/>
                </a:cubicBezTo>
                <a:cubicBezTo>
                  <a:pt x="60" y="0"/>
                  <a:pt x="61" y="0"/>
                  <a:pt x="61" y="0"/>
                </a:cubicBezTo>
                <a:cubicBezTo>
                  <a:pt x="61" y="1"/>
                  <a:pt x="63" y="3"/>
                  <a:pt x="63" y="3"/>
                </a:cubicBezTo>
                <a:cubicBezTo>
                  <a:pt x="64" y="4"/>
                  <a:pt x="64" y="7"/>
                  <a:pt x="65" y="8"/>
                </a:cubicBezTo>
                <a:cubicBezTo>
                  <a:pt x="65" y="9"/>
                  <a:pt x="66" y="9"/>
                  <a:pt x="67" y="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1" name="South Korea"/>
          <p:cNvSpPr>
            <a:spLocks/>
          </p:cNvSpPr>
          <p:nvPr/>
        </p:nvSpPr>
        <p:spPr bwMode="auto">
          <a:xfrm>
            <a:off x="9505030" y="2786848"/>
            <a:ext cx="101259" cy="191995"/>
          </a:xfrm>
          <a:custGeom>
            <a:avLst/>
            <a:gdLst>
              <a:gd name="connsiteX0" fmla="*/ 30741 w 98426"/>
              <a:gd name="connsiteY0" fmla="*/ 175079 h 186624"/>
              <a:gd name="connsiteX1" fmla="*/ 36802 w 98426"/>
              <a:gd name="connsiteY1" fmla="*/ 175079 h 186624"/>
              <a:gd name="connsiteX2" fmla="*/ 40843 w 98426"/>
              <a:gd name="connsiteY2" fmla="*/ 175079 h 186624"/>
              <a:gd name="connsiteX3" fmla="*/ 42863 w 98426"/>
              <a:gd name="connsiteY3" fmla="*/ 179161 h 186624"/>
              <a:gd name="connsiteX4" fmla="*/ 36802 w 98426"/>
              <a:gd name="connsiteY4" fmla="*/ 183243 h 186624"/>
              <a:gd name="connsiteX5" fmla="*/ 30741 w 98426"/>
              <a:gd name="connsiteY5" fmla="*/ 185284 h 186624"/>
              <a:gd name="connsiteX6" fmla="*/ 20638 w 98426"/>
              <a:gd name="connsiteY6" fmla="*/ 183243 h 186624"/>
              <a:gd name="connsiteX7" fmla="*/ 26700 w 98426"/>
              <a:gd name="connsiteY7" fmla="*/ 179161 h 186624"/>
              <a:gd name="connsiteX8" fmla="*/ 30741 w 98426"/>
              <a:gd name="connsiteY8" fmla="*/ 175079 h 186624"/>
              <a:gd name="connsiteX9" fmla="*/ 92473 w 98426"/>
              <a:gd name="connsiteY9" fmla="*/ 132954 h 186624"/>
              <a:gd name="connsiteX10" fmla="*/ 98426 w 98426"/>
              <a:gd name="connsiteY10" fmla="*/ 141685 h 186624"/>
              <a:gd name="connsiteX11" fmla="*/ 92473 w 98426"/>
              <a:gd name="connsiteY11" fmla="*/ 143867 h 186624"/>
              <a:gd name="connsiteX12" fmla="*/ 92473 w 98426"/>
              <a:gd name="connsiteY12" fmla="*/ 132954 h 186624"/>
              <a:gd name="connsiteX13" fmla="*/ 49821 w 98426"/>
              <a:gd name="connsiteY13" fmla="*/ 0 h 186624"/>
              <a:gd name="connsiteX14" fmla="*/ 55799 w 98426"/>
              <a:gd name="connsiteY14" fmla="*/ 5969 h 186624"/>
              <a:gd name="connsiteX15" fmla="*/ 55799 w 98426"/>
              <a:gd name="connsiteY15" fmla="*/ 15917 h 186624"/>
              <a:gd name="connsiteX16" fmla="*/ 59785 w 98426"/>
              <a:gd name="connsiteY16" fmla="*/ 19897 h 186624"/>
              <a:gd name="connsiteX17" fmla="*/ 75728 w 98426"/>
              <a:gd name="connsiteY17" fmla="*/ 35814 h 186624"/>
              <a:gd name="connsiteX18" fmla="*/ 87685 w 98426"/>
              <a:gd name="connsiteY18" fmla="*/ 79587 h 186624"/>
              <a:gd name="connsiteX19" fmla="*/ 89678 w 98426"/>
              <a:gd name="connsiteY19" fmla="*/ 87545 h 186624"/>
              <a:gd name="connsiteX20" fmla="*/ 91670 w 98426"/>
              <a:gd name="connsiteY20" fmla="*/ 103463 h 186624"/>
              <a:gd name="connsiteX21" fmla="*/ 93663 w 98426"/>
              <a:gd name="connsiteY21" fmla="*/ 115401 h 186624"/>
              <a:gd name="connsiteX22" fmla="*/ 75728 w 98426"/>
              <a:gd name="connsiteY22" fmla="*/ 119380 h 186624"/>
              <a:gd name="connsiteX23" fmla="*/ 69749 w 98426"/>
              <a:gd name="connsiteY23" fmla="*/ 123359 h 186624"/>
              <a:gd name="connsiteX24" fmla="*/ 63771 w 98426"/>
              <a:gd name="connsiteY24" fmla="*/ 129328 h 186624"/>
              <a:gd name="connsiteX25" fmla="*/ 55799 w 98426"/>
              <a:gd name="connsiteY25" fmla="*/ 133308 h 186624"/>
              <a:gd name="connsiteX26" fmla="*/ 47828 w 98426"/>
              <a:gd name="connsiteY26" fmla="*/ 127339 h 186624"/>
              <a:gd name="connsiteX27" fmla="*/ 41850 w 98426"/>
              <a:gd name="connsiteY27" fmla="*/ 137287 h 186624"/>
              <a:gd name="connsiteX28" fmla="*/ 33878 w 98426"/>
              <a:gd name="connsiteY28" fmla="*/ 139277 h 186624"/>
              <a:gd name="connsiteX29" fmla="*/ 29893 w 98426"/>
              <a:gd name="connsiteY29" fmla="*/ 141266 h 186624"/>
              <a:gd name="connsiteX30" fmla="*/ 19929 w 98426"/>
              <a:gd name="connsiteY30" fmla="*/ 145246 h 186624"/>
              <a:gd name="connsiteX31" fmla="*/ 19929 w 98426"/>
              <a:gd name="connsiteY31" fmla="*/ 131318 h 186624"/>
              <a:gd name="connsiteX32" fmla="*/ 15943 w 98426"/>
              <a:gd name="connsiteY32" fmla="*/ 123359 h 186624"/>
              <a:gd name="connsiteX33" fmla="*/ 17936 w 98426"/>
              <a:gd name="connsiteY33" fmla="*/ 117390 h 186624"/>
              <a:gd name="connsiteX34" fmla="*/ 15943 w 98426"/>
              <a:gd name="connsiteY34" fmla="*/ 111421 h 186624"/>
              <a:gd name="connsiteX35" fmla="*/ 15943 w 98426"/>
              <a:gd name="connsiteY35" fmla="*/ 103463 h 186624"/>
              <a:gd name="connsiteX36" fmla="*/ 17936 w 98426"/>
              <a:gd name="connsiteY36" fmla="*/ 93514 h 186624"/>
              <a:gd name="connsiteX37" fmla="*/ 17936 w 98426"/>
              <a:gd name="connsiteY37" fmla="*/ 89535 h 186624"/>
              <a:gd name="connsiteX38" fmla="*/ 11957 w 98426"/>
              <a:gd name="connsiteY38" fmla="*/ 83566 h 186624"/>
              <a:gd name="connsiteX39" fmla="*/ 9964 w 98426"/>
              <a:gd name="connsiteY39" fmla="*/ 67649 h 186624"/>
              <a:gd name="connsiteX40" fmla="*/ 3986 w 98426"/>
              <a:gd name="connsiteY40" fmla="*/ 61680 h 186624"/>
              <a:gd name="connsiteX41" fmla="*/ 1993 w 98426"/>
              <a:gd name="connsiteY41" fmla="*/ 55711 h 186624"/>
              <a:gd name="connsiteX42" fmla="*/ 11957 w 98426"/>
              <a:gd name="connsiteY42" fmla="*/ 53721 h 186624"/>
              <a:gd name="connsiteX43" fmla="*/ 11957 w 98426"/>
              <a:gd name="connsiteY43" fmla="*/ 49742 h 186624"/>
              <a:gd name="connsiteX44" fmla="*/ 9964 w 98426"/>
              <a:gd name="connsiteY44" fmla="*/ 41783 h 186624"/>
              <a:gd name="connsiteX45" fmla="*/ 1993 w 98426"/>
              <a:gd name="connsiteY45" fmla="*/ 33824 h 186624"/>
              <a:gd name="connsiteX46" fmla="*/ 0 w 98426"/>
              <a:gd name="connsiteY46" fmla="*/ 31835 h 186624"/>
              <a:gd name="connsiteX47" fmla="*/ 0 w 98426"/>
              <a:gd name="connsiteY47" fmla="*/ 25866 h 186624"/>
              <a:gd name="connsiteX48" fmla="*/ 3986 w 98426"/>
              <a:gd name="connsiteY48" fmla="*/ 23876 h 186624"/>
              <a:gd name="connsiteX49" fmla="*/ 5979 w 98426"/>
              <a:gd name="connsiteY49" fmla="*/ 21886 h 186624"/>
              <a:gd name="connsiteX50" fmla="*/ 9964 w 98426"/>
              <a:gd name="connsiteY50" fmla="*/ 17907 h 186624"/>
              <a:gd name="connsiteX51" fmla="*/ 15943 w 98426"/>
              <a:gd name="connsiteY51" fmla="*/ 15917 h 186624"/>
              <a:gd name="connsiteX52" fmla="*/ 23914 w 98426"/>
              <a:gd name="connsiteY52" fmla="*/ 13928 h 186624"/>
              <a:gd name="connsiteX53" fmla="*/ 41850 w 98426"/>
              <a:gd name="connsiteY53" fmla="*/ 9948 h 186624"/>
              <a:gd name="connsiteX54" fmla="*/ 47828 w 98426"/>
              <a:gd name="connsiteY54" fmla="*/ 5969 h 186624"/>
              <a:gd name="connsiteX55" fmla="*/ 49821 w 98426"/>
              <a:gd name="connsiteY55" fmla="*/ 0 h 1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8426" h="186624">
                <a:moveTo>
                  <a:pt x="30741" y="175079"/>
                </a:moveTo>
                <a:cubicBezTo>
                  <a:pt x="30741" y="173038"/>
                  <a:pt x="34781" y="173038"/>
                  <a:pt x="36802" y="175079"/>
                </a:cubicBezTo>
                <a:cubicBezTo>
                  <a:pt x="36802" y="175079"/>
                  <a:pt x="40843" y="175079"/>
                  <a:pt x="40843" y="175079"/>
                </a:cubicBezTo>
                <a:cubicBezTo>
                  <a:pt x="40843" y="175079"/>
                  <a:pt x="42863" y="177120"/>
                  <a:pt x="42863" y="179161"/>
                </a:cubicBezTo>
                <a:cubicBezTo>
                  <a:pt x="42863" y="181202"/>
                  <a:pt x="36802" y="183243"/>
                  <a:pt x="36802" y="183243"/>
                </a:cubicBezTo>
                <a:cubicBezTo>
                  <a:pt x="36802" y="183243"/>
                  <a:pt x="34781" y="183243"/>
                  <a:pt x="30741" y="185284"/>
                </a:cubicBezTo>
                <a:cubicBezTo>
                  <a:pt x="24679" y="187325"/>
                  <a:pt x="22659" y="187325"/>
                  <a:pt x="20638" y="183243"/>
                </a:cubicBezTo>
                <a:cubicBezTo>
                  <a:pt x="20638" y="179161"/>
                  <a:pt x="26700" y="179161"/>
                  <a:pt x="26700" y="179161"/>
                </a:cubicBezTo>
                <a:cubicBezTo>
                  <a:pt x="26700" y="179161"/>
                  <a:pt x="28720" y="179161"/>
                  <a:pt x="30741" y="175079"/>
                </a:cubicBezTo>
                <a:close/>
                <a:moveTo>
                  <a:pt x="92473" y="132954"/>
                </a:moveTo>
                <a:cubicBezTo>
                  <a:pt x="98426" y="128588"/>
                  <a:pt x="98426" y="135136"/>
                  <a:pt x="98426" y="141685"/>
                </a:cubicBezTo>
                <a:cubicBezTo>
                  <a:pt x="98426" y="146050"/>
                  <a:pt x="94457" y="146050"/>
                  <a:pt x="92473" y="143867"/>
                </a:cubicBezTo>
                <a:cubicBezTo>
                  <a:pt x="90488" y="141685"/>
                  <a:pt x="92473" y="132954"/>
                  <a:pt x="92473" y="132954"/>
                </a:cubicBezTo>
                <a:close/>
                <a:moveTo>
                  <a:pt x="49821" y="0"/>
                </a:moveTo>
                <a:cubicBezTo>
                  <a:pt x="51814" y="1990"/>
                  <a:pt x="51814" y="3979"/>
                  <a:pt x="55799" y="5969"/>
                </a:cubicBezTo>
                <a:cubicBezTo>
                  <a:pt x="59785" y="5969"/>
                  <a:pt x="55799" y="15917"/>
                  <a:pt x="55799" y="15917"/>
                </a:cubicBezTo>
                <a:cubicBezTo>
                  <a:pt x="55799" y="15917"/>
                  <a:pt x="55799" y="15917"/>
                  <a:pt x="59785" y="19897"/>
                </a:cubicBezTo>
                <a:cubicBezTo>
                  <a:pt x="59785" y="19897"/>
                  <a:pt x="71742" y="33824"/>
                  <a:pt x="75728" y="35814"/>
                </a:cubicBezTo>
                <a:cubicBezTo>
                  <a:pt x="77721" y="35814"/>
                  <a:pt x="89678" y="73618"/>
                  <a:pt x="87685" y="79587"/>
                </a:cubicBezTo>
                <a:cubicBezTo>
                  <a:pt x="85692" y="85556"/>
                  <a:pt x="87685" y="87545"/>
                  <a:pt x="89678" y="87545"/>
                </a:cubicBezTo>
                <a:cubicBezTo>
                  <a:pt x="93663" y="87545"/>
                  <a:pt x="91670" y="103463"/>
                  <a:pt x="91670" y="103463"/>
                </a:cubicBezTo>
                <a:cubicBezTo>
                  <a:pt x="91670" y="103463"/>
                  <a:pt x="93663" y="111421"/>
                  <a:pt x="93663" y="115401"/>
                </a:cubicBezTo>
                <a:cubicBezTo>
                  <a:pt x="93663" y="119380"/>
                  <a:pt x="83699" y="121370"/>
                  <a:pt x="75728" y="119380"/>
                </a:cubicBezTo>
                <a:cubicBezTo>
                  <a:pt x="67756" y="117390"/>
                  <a:pt x="69749" y="123359"/>
                  <a:pt x="69749" y="123359"/>
                </a:cubicBezTo>
                <a:cubicBezTo>
                  <a:pt x="69749" y="123359"/>
                  <a:pt x="71742" y="133308"/>
                  <a:pt x="63771" y="129328"/>
                </a:cubicBezTo>
                <a:cubicBezTo>
                  <a:pt x="55799" y="125349"/>
                  <a:pt x="59785" y="133308"/>
                  <a:pt x="55799" y="133308"/>
                </a:cubicBezTo>
                <a:cubicBezTo>
                  <a:pt x="51814" y="133308"/>
                  <a:pt x="53807" y="127339"/>
                  <a:pt x="47828" y="127339"/>
                </a:cubicBezTo>
                <a:cubicBezTo>
                  <a:pt x="43843" y="127339"/>
                  <a:pt x="41850" y="133308"/>
                  <a:pt x="41850" y="137287"/>
                </a:cubicBezTo>
                <a:cubicBezTo>
                  <a:pt x="39857" y="141266"/>
                  <a:pt x="37864" y="141266"/>
                  <a:pt x="33878" y="139277"/>
                </a:cubicBezTo>
                <a:cubicBezTo>
                  <a:pt x="27900" y="137287"/>
                  <a:pt x="29893" y="139277"/>
                  <a:pt x="29893" y="141266"/>
                </a:cubicBezTo>
                <a:cubicBezTo>
                  <a:pt x="29893" y="145246"/>
                  <a:pt x="21921" y="149225"/>
                  <a:pt x="19929" y="145246"/>
                </a:cubicBezTo>
                <a:cubicBezTo>
                  <a:pt x="17936" y="139277"/>
                  <a:pt x="19929" y="135297"/>
                  <a:pt x="19929" y="131318"/>
                </a:cubicBezTo>
                <a:cubicBezTo>
                  <a:pt x="21921" y="125349"/>
                  <a:pt x="15943" y="127339"/>
                  <a:pt x="15943" y="123359"/>
                </a:cubicBezTo>
                <a:cubicBezTo>
                  <a:pt x="13950" y="119380"/>
                  <a:pt x="15943" y="119380"/>
                  <a:pt x="17936" y="117390"/>
                </a:cubicBezTo>
                <a:cubicBezTo>
                  <a:pt x="17936" y="117390"/>
                  <a:pt x="17936" y="113411"/>
                  <a:pt x="15943" y="111421"/>
                </a:cubicBezTo>
                <a:cubicBezTo>
                  <a:pt x="13950" y="109432"/>
                  <a:pt x="11957" y="107442"/>
                  <a:pt x="15943" y="103463"/>
                </a:cubicBezTo>
                <a:cubicBezTo>
                  <a:pt x="17936" y="101473"/>
                  <a:pt x="17936" y="93514"/>
                  <a:pt x="17936" y="93514"/>
                </a:cubicBezTo>
                <a:cubicBezTo>
                  <a:pt x="17936" y="93514"/>
                  <a:pt x="17936" y="91525"/>
                  <a:pt x="17936" y="89535"/>
                </a:cubicBezTo>
                <a:cubicBezTo>
                  <a:pt x="17936" y="85556"/>
                  <a:pt x="13950" y="87545"/>
                  <a:pt x="11957" y="83566"/>
                </a:cubicBezTo>
                <a:cubicBezTo>
                  <a:pt x="9964" y="79587"/>
                  <a:pt x="9964" y="71628"/>
                  <a:pt x="9964" y="67649"/>
                </a:cubicBezTo>
                <a:cubicBezTo>
                  <a:pt x="9964" y="61680"/>
                  <a:pt x="5979" y="63669"/>
                  <a:pt x="3986" y="61680"/>
                </a:cubicBezTo>
                <a:cubicBezTo>
                  <a:pt x="0" y="59690"/>
                  <a:pt x="0" y="59690"/>
                  <a:pt x="1993" y="55711"/>
                </a:cubicBezTo>
                <a:cubicBezTo>
                  <a:pt x="3986" y="49742"/>
                  <a:pt x="7972" y="53721"/>
                  <a:pt x="11957" y="53721"/>
                </a:cubicBezTo>
                <a:cubicBezTo>
                  <a:pt x="13950" y="55711"/>
                  <a:pt x="11957" y="49742"/>
                  <a:pt x="11957" y="49742"/>
                </a:cubicBezTo>
                <a:cubicBezTo>
                  <a:pt x="11957" y="49742"/>
                  <a:pt x="9964" y="45762"/>
                  <a:pt x="9964" y="41783"/>
                </a:cubicBezTo>
                <a:cubicBezTo>
                  <a:pt x="11957" y="39793"/>
                  <a:pt x="7972" y="33824"/>
                  <a:pt x="1993" y="33824"/>
                </a:cubicBezTo>
                <a:cubicBezTo>
                  <a:pt x="1993" y="33824"/>
                  <a:pt x="0" y="31835"/>
                  <a:pt x="0" y="31835"/>
                </a:cubicBezTo>
                <a:cubicBezTo>
                  <a:pt x="0" y="31835"/>
                  <a:pt x="0" y="27855"/>
                  <a:pt x="0" y="25866"/>
                </a:cubicBezTo>
                <a:cubicBezTo>
                  <a:pt x="0" y="25866"/>
                  <a:pt x="1993" y="23876"/>
                  <a:pt x="3986" y="23876"/>
                </a:cubicBezTo>
                <a:cubicBezTo>
                  <a:pt x="3986" y="21886"/>
                  <a:pt x="3986" y="21886"/>
                  <a:pt x="5979" y="21886"/>
                </a:cubicBezTo>
                <a:cubicBezTo>
                  <a:pt x="5979" y="19897"/>
                  <a:pt x="7972" y="17907"/>
                  <a:pt x="9964" y="17907"/>
                </a:cubicBezTo>
                <a:cubicBezTo>
                  <a:pt x="9964" y="17907"/>
                  <a:pt x="13950" y="15917"/>
                  <a:pt x="15943" y="15917"/>
                </a:cubicBezTo>
                <a:cubicBezTo>
                  <a:pt x="15943" y="15917"/>
                  <a:pt x="21921" y="13928"/>
                  <a:pt x="23914" y="13928"/>
                </a:cubicBezTo>
                <a:cubicBezTo>
                  <a:pt x="25907" y="13928"/>
                  <a:pt x="39857" y="9948"/>
                  <a:pt x="41850" y="9948"/>
                </a:cubicBezTo>
                <a:cubicBezTo>
                  <a:pt x="41850" y="9948"/>
                  <a:pt x="45835" y="7959"/>
                  <a:pt x="47828" y="5969"/>
                </a:cubicBezTo>
                <a:cubicBezTo>
                  <a:pt x="49821" y="5969"/>
                  <a:pt x="49821" y="0"/>
                  <a:pt x="49821"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2" name="Japan"/>
          <p:cNvSpPr>
            <a:spLocks/>
          </p:cNvSpPr>
          <p:nvPr/>
        </p:nvSpPr>
        <p:spPr bwMode="auto">
          <a:xfrm>
            <a:off x="9478899" y="2533705"/>
            <a:ext cx="512823" cy="750722"/>
          </a:xfrm>
          <a:custGeom>
            <a:avLst/>
            <a:gdLst>
              <a:gd name="connsiteX0" fmla="*/ 32147 w 498476"/>
              <a:gd name="connsiteY0" fmla="*/ 724217 h 729720"/>
              <a:gd name="connsiteX1" fmla="*/ 38101 w 498476"/>
              <a:gd name="connsiteY1" fmla="*/ 728027 h 729720"/>
              <a:gd name="connsiteX2" fmla="*/ 34132 w 498476"/>
              <a:gd name="connsiteY2" fmla="*/ 728027 h 729720"/>
              <a:gd name="connsiteX3" fmla="*/ 32147 w 498476"/>
              <a:gd name="connsiteY3" fmla="*/ 724217 h 729720"/>
              <a:gd name="connsiteX4" fmla="*/ 19447 w 498476"/>
              <a:gd name="connsiteY4" fmla="*/ 723900 h 729720"/>
              <a:gd name="connsiteX5" fmla="*/ 25401 w 498476"/>
              <a:gd name="connsiteY5" fmla="*/ 726017 h 729720"/>
              <a:gd name="connsiteX6" fmla="*/ 17463 w 498476"/>
              <a:gd name="connsiteY6" fmla="*/ 726017 h 729720"/>
              <a:gd name="connsiteX7" fmla="*/ 19447 w 498476"/>
              <a:gd name="connsiteY7" fmla="*/ 723900 h 729720"/>
              <a:gd name="connsiteX8" fmla="*/ 3969 w 498476"/>
              <a:gd name="connsiteY8" fmla="*/ 720725 h 729720"/>
              <a:gd name="connsiteX9" fmla="*/ 0 w 498476"/>
              <a:gd name="connsiteY9" fmla="*/ 722842 h 729720"/>
              <a:gd name="connsiteX10" fmla="*/ 3969 w 498476"/>
              <a:gd name="connsiteY10" fmla="*/ 720725 h 729720"/>
              <a:gd name="connsiteX11" fmla="*/ 484982 w 498476"/>
              <a:gd name="connsiteY11" fmla="*/ 718185 h 729720"/>
              <a:gd name="connsiteX12" fmla="*/ 488951 w 498476"/>
              <a:gd name="connsiteY12" fmla="*/ 722629 h 729720"/>
              <a:gd name="connsiteX13" fmla="*/ 481013 w 498476"/>
              <a:gd name="connsiteY13" fmla="*/ 720407 h 729720"/>
              <a:gd name="connsiteX14" fmla="*/ 484982 w 498476"/>
              <a:gd name="connsiteY14" fmla="*/ 718185 h 729720"/>
              <a:gd name="connsiteX15" fmla="*/ 50271 w 498476"/>
              <a:gd name="connsiteY15" fmla="*/ 716491 h 729720"/>
              <a:gd name="connsiteX16" fmla="*/ 48154 w 498476"/>
              <a:gd name="connsiteY16" fmla="*/ 719137 h 729720"/>
              <a:gd name="connsiteX17" fmla="*/ 46038 w 498476"/>
              <a:gd name="connsiteY17" fmla="*/ 717020 h 729720"/>
              <a:gd name="connsiteX18" fmla="*/ 50271 w 498476"/>
              <a:gd name="connsiteY18" fmla="*/ 716491 h 729720"/>
              <a:gd name="connsiteX19" fmla="*/ 64135 w 498476"/>
              <a:gd name="connsiteY19" fmla="*/ 708025 h 729720"/>
              <a:gd name="connsiteX20" fmla="*/ 64135 w 498476"/>
              <a:gd name="connsiteY20" fmla="*/ 714375 h 729720"/>
              <a:gd name="connsiteX21" fmla="*/ 64135 w 498476"/>
              <a:gd name="connsiteY21" fmla="*/ 708025 h 729720"/>
              <a:gd name="connsiteX22" fmla="*/ 496492 w 498476"/>
              <a:gd name="connsiteY22" fmla="*/ 651192 h 729720"/>
              <a:gd name="connsiteX23" fmla="*/ 498476 w 498476"/>
              <a:gd name="connsiteY23" fmla="*/ 656907 h 729720"/>
              <a:gd name="connsiteX24" fmla="*/ 496492 w 498476"/>
              <a:gd name="connsiteY24" fmla="*/ 656907 h 729720"/>
              <a:gd name="connsiteX25" fmla="*/ 492523 w 498476"/>
              <a:gd name="connsiteY25" fmla="*/ 655002 h 729720"/>
              <a:gd name="connsiteX26" fmla="*/ 490538 w 498476"/>
              <a:gd name="connsiteY26" fmla="*/ 653097 h 729720"/>
              <a:gd name="connsiteX27" fmla="*/ 496492 w 498476"/>
              <a:gd name="connsiteY27" fmla="*/ 651192 h 729720"/>
              <a:gd name="connsiteX28" fmla="*/ 127681 w 498476"/>
              <a:gd name="connsiteY28" fmla="*/ 646479 h 729720"/>
              <a:gd name="connsiteX29" fmla="*/ 131763 w 498476"/>
              <a:gd name="connsiteY29" fmla="*/ 648433 h 729720"/>
              <a:gd name="connsiteX30" fmla="*/ 127681 w 498476"/>
              <a:gd name="connsiteY30" fmla="*/ 652340 h 729720"/>
              <a:gd name="connsiteX31" fmla="*/ 125640 w 498476"/>
              <a:gd name="connsiteY31" fmla="*/ 658202 h 729720"/>
              <a:gd name="connsiteX32" fmla="*/ 123599 w 498476"/>
              <a:gd name="connsiteY32" fmla="*/ 660156 h 729720"/>
              <a:gd name="connsiteX33" fmla="*/ 121558 w 498476"/>
              <a:gd name="connsiteY33" fmla="*/ 666017 h 729720"/>
              <a:gd name="connsiteX34" fmla="*/ 117475 w 498476"/>
              <a:gd name="connsiteY34" fmla="*/ 667971 h 729720"/>
              <a:gd name="connsiteX35" fmla="*/ 117475 w 498476"/>
              <a:gd name="connsiteY35" fmla="*/ 656248 h 729720"/>
              <a:gd name="connsiteX36" fmla="*/ 119516 w 498476"/>
              <a:gd name="connsiteY36" fmla="*/ 650386 h 729720"/>
              <a:gd name="connsiteX37" fmla="*/ 123599 w 498476"/>
              <a:gd name="connsiteY37" fmla="*/ 648433 h 729720"/>
              <a:gd name="connsiteX38" fmla="*/ 127681 w 498476"/>
              <a:gd name="connsiteY38" fmla="*/ 646479 h 729720"/>
              <a:gd name="connsiteX39" fmla="*/ 492919 w 498476"/>
              <a:gd name="connsiteY39" fmla="*/ 625475 h 729720"/>
              <a:gd name="connsiteX40" fmla="*/ 494904 w 498476"/>
              <a:gd name="connsiteY40" fmla="*/ 631428 h 729720"/>
              <a:gd name="connsiteX41" fmla="*/ 490935 w 498476"/>
              <a:gd name="connsiteY41" fmla="*/ 629443 h 729720"/>
              <a:gd name="connsiteX42" fmla="*/ 492919 w 498476"/>
              <a:gd name="connsiteY42" fmla="*/ 625475 h 729720"/>
              <a:gd name="connsiteX43" fmla="*/ 135573 w 498476"/>
              <a:gd name="connsiteY43" fmla="*/ 622300 h 729720"/>
              <a:gd name="connsiteX44" fmla="*/ 139383 w 498476"/>
              <a:gd name="connsiteY44" fmla="*/ 624284 h 729720"/>
              <a:gd name="connsiteX45" fmla="*/ 131763 w 498476"/>
              <a:gd name="connsiteY45" fmla="*/ 626268 h 729720"/>
              <a:gd name="connsiteX46" fmla="*/ 135573 w 498476"/>
              <a:gd name="connsiteY46" fmla="*/ 622300 h 729720"/>
              <a:gd name="connsiteX47" fmla="*/ 490538 w 498476"/>
              <a:gd name="connsiteY47" fmla="*/ 620712 h 729720"/>
              <a:gd name="connsiteX48" fmla="*/ 492125 w 498476"/>
              <a:gd name="connsiteY48" fmla="*/ 623093 h 729720"/>
              <a:gd name="connsiteX49" fmla="*/ 488950 w 498476"/>
              <a:gd name="connsiteY49" fmla="*/ 623093 h 729720"/>
              <a:gd name="connsiteX50" fmla="*/ 490538 w 498476"/>
              <a:gd name="connsiteY50" fmla="*/ 620712 h 729720"/>
              <a:gd name="connsiteX51" fmla="*/ 487363 w 498476"/>
              <a:gd name="connsiteY51" fmla="*/ 611187 h 729720"/>
              <a:gd name="connsiteX52" fmla="*/ 490539 w 498476"/>
              <a:gd name="connsiteY52" fmla="*/ 615420 h 729720"/>
              <a:gd name="connsiteX53" fmla="*/ 488951 w 498476"/>
              <a:gd name="connsiteY53" fmla="*/ 615420 h 729720"/>
              <a:gd name="connsiteX54" fmla="*/ 487363 w 498476"/>
              <a:gd name="connsiteY54" fmla="*/ 613304 h 729720"/>
              <a:gd name="connsiteX55" fmla="*/ 487363 w 498476"/>
              <a:gd name="connsiteY55" fmla="*/ 611187 h 729720"/>
              <a:gd name="connsiteX56" fmla="*/ 143421 w 498476"/>
              <a:gd name="connsiteY56" fmla="*/ 610658 h 729720"/>
              <a:gd name="connsiteX57" fmla="*/ 145654 w 498476"/>
              <a:gd name="connsiteY57" fmla="*/ 614892 h 729720"/>
              <a:gd name="connsiteX58" fmla="*/ 143669 w 498476"/>
              <a:gd name="connsiteY58" fmla="*/ 619125 h 729720"/>
              <a:gd name="connsiteX59" fmla="*/ 139700 w 498476"/>
              <a:gd name="connsiteY59" fmla="*/ 612775 h 729720"/>
              <a:gd name="connsiteX60" fmla="*/ 143421 w 498476"/>
              <a:gd name="connsiteY60" fmla="*/ 610658 h 729720"/>
              <a:gd name="connsiteX61" fmla="*/ 161221 w 498476"/>
              <a:gd name="connsiteY61" fmla="*/ 584676 h 729720"/>
              <a:gd name="connsiteX62" fmla="*/ 165101 w 498476"/>
              <a:gd name="connsiteY62" fmla="*/ 586739 h 729720"/>
              <a:gd name="connsiteX63" fmla="*/ 161221 w 498476"/>
              <a:gd name="connsiteY63" fmla="*/ 590867 h 729720"/>
              <a:gd name="connsiteX64" fmla="*/ 157340 w 498476"/>
              <a:gd name="connsiteY64" fmla="*/ 599121 h 729720"/>
              <a:gd name="connsiteX65" fmla="*/ 153459 w 498476"/>
              <a:gd name="connsiteY65" fmla="*/ 603249 h 729720"/>
              <a:gd name="connsiteX66" fmla="*/ 147638 w 498476"/>
              <a:gd name="connsiteY66" fmla="*/ 601185 h 729720"/>
              <a:gd name="connsiteX67" fmla="*/ 149579 w 498476"/>
              <a:gd name="connsiteY67" fmla="*/ 597058 h 729720"/>
              <a:gd name="connsiteX68" fmla="*/ 155400 w 498476"/>
              <a:gd name="connsiteY68" fmla="*/ 590867 h 729720"/>
              <a:gd name="connsiteX69" fmla="*/ 161221 w 498476"/>
              <a:gd name="connsiteY69" fmla="*/ 584676 h 729720"/>
              <a:gd name="connsiteX70" fmla="*/ 169863 w 498476"/>
              <a:gd name="connsiteY70" fmla="*/ 525462 h 729720"/>
              <a:gd name="connsiteX71" fmla="*/ 175817 w 498476"/>
              <a:gd name="connsiteY71" fmla="*/ 531812 h 729720"/>
              <a:gd name="connsiteX72" fmla="*/ 171848 w 498476"/>
              <a:gd name="connsiteY72" fmla="*/ 529695 h 729720"/>
              <a:gd name="connsiteX73" fmla="*/ 169863 w 498476"/>
              <a:gd name="connsiteY73" fmla="*/ 525462 h 729720"/>
              <a:gd name="connsiteX74" fmla="*/ 424498 w 498476"/>
              <a:gd name="connsiteY74" fmla="*/ 520700 h 729720"/>
              <a:gd name="connsiteX75" fmla="*/ 428308 w 498476"/>
              <a:gd name="connsiteY75" fmla="*/ 525145 h 729720"/>
              <a:gd name="connsiteX76" fmla="*/ 424498 w 498476"/>
              <a:gd name="connsiteY76" fmla="*/ 529589 h 729720"/>
              <a:gd name="connsiteX77" fmla="*/ 420688 w 498476"/>
              <a:gd name="connsiteY77" fmla="*/ 525145 h 729720"/>
              <a:gd name="connsiteX78" fmla="*/ 424498 w 498476"/>
              <a:gd name="connsiteY78" fmla="*/ 520700 h 729720"/>
              <a:gd name="connsiteX79" fmla="*/ 187325 w 498476"/>
              <a:gd name="connsiteY79" fmla="*/ 509587 h 729720"/>
              <a:gd name="connsiteX80" fmla="*/ 187325 w 498476"/>
              <a:gd name="connsiteY80" fmla="*/ 517669 h 729720"/>
              <a:gd name="connsiteX81" fmla="*/ 185209 w 498476"/>
              <a:gd name="connsiteY81" fmla="*/ 523730 h 729720"/>
              <a:gd name="connsiteX82" fmla="*/ 183092 w 498476"/>
              <a:gd name="connsiteY82" fmla="*/ 529791 h 729720"/>
              <a:gd name="connsiteX83" fmla="*/ 180975 w 498476"/>
              <a:gd name="connsiteY83" fmla="*/ 525751 h 729720"/>
              <a:gd name="connsiteX84" fmla="*/ 180975 w 498476"/>
              <a:gd name="connsiteY84" fmla="*/ 521710 h 729720"/>
              <a:gd name="connsiteX85" fmla="*/ 180975 w 498476"/>
              <a:gd name="connsiteY85" fmla="*/ 517669 h 729720"/>
              <a:gd name="connsiteX86" fmla="*/ 180975 w 498476"/>
              <a:gd name="connsiteY86" fmla="*/ 511607 h 729720"/>
              <a:gd name="connsiteX87" fmla="*/ 187325 w 498476"/>
              <a:gd name="connsiteY87" fmla="*/ 509587 h 729720"/>
              <a:gd name="connsiteX88" fmla="*/ 113348 w 498476"/>
              <a:gd name="connsiteY88" fmla="*/ 443366 h 729720"/>
              <a:gd name="connsiteX89" fmla="*/ 119063 w 498476"/>
              <a:gd name="connsiteY89" fmla="*/ 449489 h 729720"/>
              <a:gd name="connsiteX90" fmla="*/ 109538 w 498476"/>
              <a:gd name="connsiteY90" fmla="*/ 449489 h 729720"/>
              <a:gd name="connsiteX91" fmla="*/ 113348 w 498476"/>
              <a:gd name="connsiteY91" fmla="*/ 443366 h 729720"/>
              <a:gd name="connsiteX92" fmla="*/ 119063 w 498476"/>
              <a:gd name="connsiteY92" fmla="*/ 434975 h 729720"/>
              <a:gd name="connsiteX93" fmla="*/ 123826 w 498476"/>
              <a:gd name="connsiteY93" fmla="*/ 440690 h 729720"/>
              <a:gd name="connsiteX94" fmla="*/ 119063 w 498476"/>
              <a:gd name="connsiteY94" fmla="*/ 440690 h 729720"/>
              <a:gd name="connsiteX95" fmla="*/ 119063 w 498476"/>
              <a:gd name="connsiteY95" fmla="*/ 434975 h 729720"/>
              <a:gd name="connsiteX96" fmla="*/ 158115 w 498476"/>
              <a:gd name="connsiteY96" fmla="*/ 411162 h 729720"/>
              <a:gd name="connsiteX97" fmla="*/ 170090 w 498476"/>
              <a:gd name="connsiteY97" fmla="*/ 413146 h 729720"/>
              <a:gd name="connsiteX98" fmla="*/ 176077 w 498476"/>
              <a:gd name="connsiteY98" fmla="*/ 421084 h 729720"/>
              <a:gd name="connsiteX99" fmla="*/ 182064 w 498476"/>
              <a:gd name="connsiteY99" fmla="*/ 419099 h 729720"/>
              <a:gd name="connsiteX100" fmla="*/ 186055 w 498476"/>
              <a:gd name="connsiteY100" fmla="*/ 419099 h 729720"/>
              <a:gd name="connsiteX101" fmla="*/ 190047 w 498476"/>
              <a:gd name="connsiteY101" fmla="*/ 423068 h 729720"/>
              <a:gd name="connsiteX102" fmla="*/ 188051 w 498476"/>
              <a:gd name="connsiteY102" fmla="*/ 427037 h 729720"/>
              <a:gd name="connsiteX103" fmla="*/ 186055 w 498476"/>
              <a:gd name="connsiteY103" fmla="*/ 431006 h 729720"/>
              <a:gd name="connsiteX104" fmla="*/ 190047 w 498476"/>
              <a:gd name="connsiteY104" fmla="*/ 432990 h 729720"/>
              <a:gd name="connsiteX105" fmla="*/ 194038 w 498476"/>
              <a:gd name="connsiteY105" fmla="*/ 432990 h 729720"/>
              <a:gd name="connsiteX106" fmla="*/ 200025 w 498476"/>
              <a:gd name="connsiteY106" fmla="*/ 434974 h 729720"/>
              <a:gd name="connsiteX107" fmla="*/ 198030 w 498476"/>
              <a:gd name="connsiteY107" fmla="*/ 440927 h 729720"/>
              <a:gd name="connsiteX108" fmla="*/ 198030 w 498476"/>
              <a:gd name="connsiteY108" fmla="*/ 446881 h 729720"/>
              <a:gd name="connsiteX109" fmla="*/ 192042 w 498476"/>
              <a:gd name="connsiteY109" fmla="*/ 452834 h 729720"/>
              <a:gd name="connsiteX110" fmla="*/ 190047 w 498476"/>
              <a:gd name="connsiteY110" fmla="*/ 462756 h 729720"/>
              <a:gd name="connsiteX111" fmla="*/ 192042 w 498476"/>
              <a:gd name="connsiteY111" fmla="*/ 468709 h 729720"/>
              <a:gd name="connsiteX112" fmla="*/ 190047 w 498476"/>
              <a:gd name="connsiteY112" fmla="*/ 474662 h 729720"/>
              <a:gd name="connsiteX113" fmla="*/ 190047 w 498476"/>
              <a:gd name="connsiteY113" fmla="*/ 480615 h 729720"/>
              <a:gd name="connsiteX114" fmla="*/ 188051 w 498476"/>
              <a:gd name="connsiteY114" fmla="*/ 490537 h 729720"/>
              <a:gd name="connsiteX115" fmla="*/ 182064 w 498476"/>
              <a:gd name="connsiteY115" fmla="*/ 496490 h 729720"/>
              <a:gd name="connsiteX116" fmla="*/ 178072 w 498476"/>
              <a:gd name="connsiteY116" fmla="*/ 506412 h 729720"/>
              <a:gd name="connsiteX117" fmla="*/ 174081 w 498476"/>
              <a:gd name="connsiteY117" fmla="*/ 504427 h 729720"/>
              <a:gd name="connsiteX118" fmla="*/ 176077 w 498476"/>
              <a:gd name="connsiteY118" fmla="*/ 492521 h 729720"/>
              <a:gd name="connsiteX119" fmla="*/ 176077 w 498476"/>
              <a:gd name="connsiteY119" fmla="*/ 484584 h 729720"/>
              <a:gd name="connsiteX120" fmla="*/ 174081 w 498476"/>
              <a:gd name="connsiteY120" fmla="*/ 478631 h 729720"/>
              <a:gd name="connsiteX121" fmla="*/ 168094 w 498476"/>
              <a:gd name="connsiteY121" fmla="*/ 486568 h 729720"/>
              <a:gd name="connsiteX122" fmla="*/ 168094 w 498476"/>
              <a:gd name="connsiteY122" fmla="*/ 496490 h 729720"/>
              <a:gd name="connsiteX123" fmla="*/ 162107 w 498476"/>
              <a:gd name="connsiteY123" fmla="*/ 490537 h 729720"/>
              <a:gd name="connsiteX124" fmla="*/ 160111 w 498476"/>
              <a:gd name="connsiteY124" fmla="*/ 482599 h 729720"/>
              <a:gd name="connsiteX125" fmla="*/ 158115 w 498476"/>
              <a:gd name="connsiteY125" fmla="*/ 476646 h 729720"/>
              <a:gd name="connsiteX126" fmla="*/ 156120 w 498476"/>
              <a:gd name="connsiteY126" fmla="*/ 468709 h 729720"/>
              <a:gd name="connsiteX127" fmla="*/ 152128 w 498476"/>
              <a:gd name="connsiteY127" fmla="*/ 460771 h 729720"/>
              <a:gd name="connsiteX128" fmla="*/ 154124 w 498476"/>
              <a:gd name="connsiteY128" fmla="*/ 458787 h 729720"/>
              <a:gd name="connsiteX129" fmla="*/ 158115 w 498476"/>
              <a:gd name="connsiteY129" fmla="*/ 462756 h 729720"/>
              <a:gd name="connsiteX130" fmla="*/ 162107 w 498476"/>
              <a:gd name="connsiteY130" fmla="*/ 462756 h 729720"/>
              <a:gd name="connsiteX131" fmla="*/ 164102 w 498476"/>
              <a:gd name="connsiteY131" fmla="*/ 452834 h 729720"/>
              <a:gd name="connsiteX132" fmla="*/ 160111 w 498476"/>
              <a:gd name="connsiteY132" fmla="*/ 436959 h 729720"/>
              <a:gd name="connsiteX133" fmla="*/ 158115 w 498476"/>
              <a:gd name="connsiteY133" fmla="*/ 432990 h 729720"/>
              <a:gd name="connsiteX134" fmla="*/ 152128 w 498476"/>
              <a:gd name="connsiteY134" fmla="*/ 436959 h 729720"/>
              <a:gd name="connsiteX135" fmla="*/ 148137 w 498476"/>
              <a:gd name="connsiteY135" fmla="*/ 438943 h 729720"/>
              <a:gd name="connsiteX136" fmla="*/ 140154 w 498476"/>
              <a:gd name="connsiteY136" fmla="*/ 444896 h 729720"/>
              <a:gd name="connsiteX137" fmla="*/ 138158 w 498476"/>
              <a:gd name="connsiteY137" fmla="*/ 440927 h 729720"/>
              <a:gd name="connsiteX138" fmla="*/ 140154 w 498476"/>
              <a:gd name="connsiteY138" fmla="*/ 436959 h 729720"/>
              <a:gd name="connsiteX139" fmla="*/ 144145 w 498476"/>
              <a:gd name="connsiteY139" fmla="*/ 438943 h 729720"/>
              <a:gd name="connsiteX140" fmla="*/ 140154 w 498476"/>
              <a:gd name="connsiteY140" fmla="*/ 434974 h 729720"/>
              <a:gd name="connsiteX141" fmla="*/ 136162 w 498476"/>
              <a:gd name="connsiteY141" fmla="*/ 431006 h 729720"/>
              <a:gd name="connsiteX142" fmla="*/ 132171 w 498476"/>
              <a:gd name="connsiteY142" fmla="*/ 427037 h 729720"/>
              <a:gd name="connsiteX143" fmla="*/ 132171 w 498476"/>
              <a:gd name="connsiteY143" fmla="*/ 423068 h 729720"/>
              <a:gd name="connsiteX144" fmla="*/ 140154 w 498476"/>
              <a:gd name="connsiteY144" fmla="*/ 423068 h 729720"/>
              <a:gd name="connsiteX145" fmla="*/ 148137 w 498476"/>
              <a:gd name="connsiteY145" fmla="*/ 421084 h 729720"/>
              <a:gd name="connsiteX146" fmla="*/ 154124 w 498476"/>
              <a:gd name="connsiteY146" fmla="*/ 417115 h 729720"/>
              <a:gd name="connsiteX147" fmla="*/ 158115 w 498476"/>
              <a:gd name="connsiteY147" fmla="*/ 411162 h 729720"/>
              <a:gd name="connsiteX148" fmla="*/ 246281 w 498476"/>
              <a:gd name="connsiteY148" fmla="*/ 394949 h 729720"/>
              <a:gd name="connsiteX149" fmla="*/ 250932 w 498476"/>
              <a:gd name="connsiteY149" fmla="*/ 395699 h 729720"/>
              <a:gd name="connsiteX150" fmla="*/ 258763 w 498476"/>
              <a:gd name="connsiteY150" fmla="*/ 399697 h 729720"/>
              <a:gd name="connsiteX151" fmla="*/ 256805 w 498476"/>
              <a:gd name="connsiteY151" fmla="*/ 409692 h 729720"/>
              <a:gd name="connsiteX152" fmla="*/ 252889 w 498476"/>
              <a:gd name="connsiteY152" fmla="*/ 417689 h 729720"/>
              <a:gd name="connsiteX153" fmla="*/ 243100 w 498476"/>
              <a:gd name="connsiteY153" fmla="*/ 421687 h 729720"/>
              <a:gd name="connsiteX154" fmla="*/ 233310 w 498476"/>
              <a:gd name="connsiteY154" fmla="*/ 427684 h 729720"/>
              <a:gd name="connsiteX155" fmla="*/ 227436 w 498476"/>
              <a:gd name="connsiteY155" fmla="*/ 433681 h 729720"/>
              <a:gd name="connsiteX156" fmla="*/ 227436 w 498476"/>
              <a:gd name="connsiteY156" fmla="*/ 443677 h 729720"/>
              <a:gd name="connsiteX157" fmla="*/ 225478 w 498476"/>
              <a:gd name="connsiteY157" fmla="*/ 447675 h 729720"/>
              <a:gd name="connsiteX158" fmla="*/ 221563 w 498476"/>
              <a:gd name="connsiteY158" fmla="*/ 445676 h 729720"/>
              <a:gd name="connsiteX159" fmla="*/ 217647 w 498476"/>
              <a:gd name="connsiteY159" fmla="*/ 441678 h 729720"/>
              <a:gd name="connsiteX160" fmla="*/ 211773 w 498476"/>
              <a:gd name="connsiteY160" fmla="*/ 441678 h 729720"/>
              <a:gd name="connsiteX161" fmla="*/ 207857 w 498476"/>
              <a:gd name="connsiteY161" fmla="*/ 437680 h 729720"/>
              <a:gd name="connsiteX162" fmla="*/ 209815 w 498476"/>
              <a:gd name="connsiteY162" fmla="*/ 429683 h 729720"/>
              <a:gd name="connsiteX163" fmla="*/ 203941 w 498476"/>
              <a:gd name="connsiteY163" fmla="*/ 423686 h 729720"/>
              <a:gd name="connsiteX164" fmla="*/ 203941 w 498476"/>
              <a:gd name="connsiteY164" fmla="*/ 419688 h 729720"/>
              <a:gd name="connsiteX165" fmla="*/ 211773 w 498476"/>
              <a:gd name="connsiteY165" fmla="*/ 413691 h 729720"/>
              <a:gd name="connsiteX166" fmla="*/ 215689 w 498476"/>
              <a:gd name="connsiteY166" fmla="*/ 405694 h 729720"/>
              <a:gd name="connsiteX167" fmla="*/ 229394 w 498476"/>
              <a:gd name="connsiteY167" fmla="*/ 405694 h 729720"/>
              <a:gd name="connsiteX168" fmla="*/ 237226 w 498476"/>
              <a:gd name="connsiteY168" fmla="*/ 395699 h 729720"/>
              <a:gd name="connsiteX169" fmla="*/ 246281 w 498476"/>
              <a:gd name="connsiteY169" fmla="*/ 394949 h 729720"/>
              <a:gd name="connsiteX170" fmla="*/ 209551 w 498476"/>
              <a:gd name="connsiteY170" fmla="*/ 331787 h 729720"/>
              <a:gd name="connsiteX171" fmla="*/ 211139 w 498476"/>
              <a:gd name="connsiteY171" fmla="*/ 335755 h 729720"/>
              <a:gd name="connsiteX172" fmla="*/ 207963 w 498476"/>
              <a:gd name="connsiteY172" fmla="*/ 333771 h 729720"/>
              <a:gd name="connsiteX173" fmla="*/ 209551 w 498476"/>
              <a:gd name="connsiteY173" fmla="*/ 331787 h 729720"/>
              <a:gd name="connsiteX174" fmla="*/ 213123 w 498476"/>
              <a:gd name="connsiteY174" fmla="*/ 324167 h 729720"/>
              <a:gd name="connsiteX175" fmla="*/ 219076 w 498476"/>
              <a:gd name="connsiteY175" fmla="*/ 327977 h 729720"/>
              <a:gd name="connsiteX176" fmla="*/ 213123 w 498476"/>
              <a:gd name="connsiteY176" fmla="*/ 329882 h 729720"/>
              <a:gd name="connsiteX177" fmla="*/ 213123 w 498476"/>
              <a:gd name="connsiteY177" fmla="*/ 324167 h 729720"/>
              <a:gd name="connsiteX178" fmla="*/ 334567 w 498476"/>
              <a:gd name="connsiteY178" fmla="*/ 259001 h 729720"/>
              <a:gd name="connsiteX179" fmla="*/ 336551 w 498476"/>
              <a:gd name="connsiteY179" fmla="*/ 265430 h 729720"/>
              <a:gd name="connsiteX180" fmla="*/ 330598 w 498476"/>
              <a:gd name="connsiteY180" fmla="*/ 267335 h 729720"/>
              <a:gd name="connsiteX181" fmla="*/ 332582 w 498476"/>
              <a:gd name="connsiteY181" fmla="*/ 259715 h 729720"/>
              <a:gd name="connsiteX182" fmla="*/ 334567 w 498476"/>
              <a:gd name="connsiteY182" fmla="*/ 259001 h 729720"/>
              <a:gd name="connsiteX183" fmla="*/ 373584 w 498476"/>
              <a:gd name="connsiteY183" fmla="*/ 141701 h 729720"/>
              <a:gd name="connsiteX184" fmla="*/ 379574 w 498476"/>
              <a:gd name="connsiteY184" fmla="*/ 141701 h 729720"/>
              <a:gd name="connsiteX185" fmla="*/ 385565 w 498476"/>
              <a:gd name="connsiteY185" fmla="*/ 141701 h 729720"/>
              <a:gd name="connsiteX186" fmla="*/ 387562 w 498476"/>
              <a:gd name="connsiteY186" fmla="*/ 143702 h 729720"/>
              <a:gd name="connsiteX187" fmla="*/ 389558 w 498476"/>
              <a:gd name="connsiteY187" fmla="*/ 147704 h 729720"/>
              <a:gd name="connsiteX188" fmla="*/ 389558 w 498476"/>
              <a:gd name="connsiteY188" fmla="*/ 153708 h 729720"/>
              <a:gd name="connsiteX189" fmla="*/ 385565 w 498476"/>
              <a:gd name="connsiteY189" fmla="*/ 155709 h 729720"/>
              <a:gd name="connsiteX190" fmla="*/ 389558 w 498476"/>
              <a:gd name="connsiteY190" fmla="*/ 165715 h 729720"/>
              <a:gd name="connsiteX191" fmla="*/ 397545 w 498476"/>
              <a:gd name="connsiteY191" fmla="*/ 175720 h 729720"/>
              <a:gd name="connsiteX192" fmla="*/ 401539 w 498476"/>
              <a:gd name="connsiteY192" fmla="*/ 179723 h 729720"/>
              <a:gd name="connsiteX193" fmla="*/ 403536 w 498476"/>
              <a:gd name="connsiteY193" fmla="*/ 183725 h 729720"/>
              <a:gd name="connsiteX194" fmla="*/ 403536 w 498476"/>
              <a:gd name="connsiteY194" fmla="*/ 187727 h 729720"/>
              <a:gd name="connsiteX195" fmla="*/ 403536 w 498476"/>
              <a:gd name="connsiteY195" fmla="*/ 195732 h 729720"/>
              <a:gd name="connsiteX196" fmla="*/ 411523 w 498476"/>
              <a:gd name="connsiteY196" fmla="*/ 203736 h 729720"/>
              <a:gd name="connsiteX197" fmla="*/ 411523 w 498476"/>
              <a:gd name="connsiteY197" fmla="*/ 209740 h 729720"/>
              <a:gd name="connsiteX198" fmla="*/ 411523 w 498476"/>
              <a:gd name="connsiteY198" fmla="*/ 213742 h 729720"/>
              <a:gd name="connsiteX199" fmla="*/ 413520 w 498476"/>
              <a:gd name="connsiteY199" fmla="*/ 217744 h 729720"/>
              <a:gd name="connsiteX200" fmla="*/ 417513 w 498476"/>
              <a:gd name="connsiteY200" fmla="*/ 221747 h 729720"/>
              <a:gd name="connsiteX201" fmla="*/ 415516 w 498476"/>
              <a:gd name="connsiteY201" fmla="*/ 225749 h 729720"/>
              <a:gd name="connsiteX202" fmla="*/ 413520 w 498476"/>
              <a:gd name="connsiteY202" fmla="*/ 231752 h 729720"/>
              <a:gd name="connsiteX203" fmla="*/ 409526 w 498476"/>
              <a:gd name="connsiteY203" fmla="*/ 237756 h 729720"/>
              <a:gd name="connsiteX204" fmla="*/ 409526 w 498476"/>
              <a:gd name="connsiteY204" fmla="*/ 243759 h 729720"/>
              <a:gd name="connsiteX205" fmla="*/ 407529 w 498476"/>
              <a:gd name="connsiteY205" fmla="*/ 245760 h 729720"/>
              <a:gd name="connsiteX206" fmla="*/ 399542 w 498476"/>
              <a:gd name="connsiteY206" fmla="*/ 245760 h 729720"/>
              <a:gd name="connsiteX207" fmla="*/ 399542 w 498476"/>
              <a:gd name="connsiteY207" fmla="*/ 253765 h 729720"/>
              <a:gd name="connsiteX208" fmla="*/ 395549 w 498476"/>
              <a:gd name="connsiteY208" fmla="*/ 267773 h 729720"/>
              <a:gd name="connsiteX209" fmla="*/ 397545 w 498476"/>
              <a:gd name="connsiteY209" fmla="*/ 277779 h 729720"/>
              <a:gd name="connsiteX210" fmla="*/ 403536 w 498476"/>
              <a:gd name="connsiteY210" fmla="*/ 289785 h 729720"/>
              <a:gd name="connsiteX211" fmla="*/ 401539 w 498476"/>
              <a:gd name="connsiteY211" fmla="*/ 299791 h 729720"/>
              <a:gd name="connsiteX212" fmla="*/ 401539 w 498476"/>
              <a:gd name="connsiteY212" fmla="*/ 311798 h 729720"/>
              <a:gd name="connsiteX213" fmla="*/ 397545 w 498476"/>
              <a:gd name="connsiteY213" fmla="*/ 321804 h 729720"/>
              <a:gd name="connsiteX214" fmla="*/ 403536 w 498476"/>
              <a:gd name="connsiteY214" fmla="*/ 339814 h 729720"/>
              <a:gd name="connsiteX215" fmla="*/ 405533 w 498476"/>
              <a:gd name="connsiteY215" fmla="*/ 347819 h 729720"/>
              <a:gd name="connsiteX216" fmla="*/ 401539 w 498476"/>
              <a:gd name="connsiteY216" fmla="*/ 361827 h 729720"/>
              <a:gd name="connsiteX217" fmla="*/ 389558 w 498476"/>
              <a:gd name="connsiteY217" fmla="*/ 371832 h 729720"/>
              <a:gd name="connsiteX218" fmla="*/ 385565 w 498476"/>
              <a:gd name="connsiteY218" fmla="*/ 371832 h 729720"/>
              <a:gd name="connsiteX219" fmla="*/ 385565 w 498476"/>
              <a:gd name="connsiteY219" fmla="*/ 363828 h 729720"/>
              <a:gd name="connsiteX220" fmla="*/ 383568 w 498476"/>
              <a:gd name="connsiteY220" fmla="*/ 355823 h 729720"/>
              <a:gd name="connsiteX221" fmla="*/ 385565 w 498476"/>
              <a:gd name="connsiteY221" fmla="*/ 349820 h 729720"/>
              <a:gd name="connsiteX222" fmla="*/ 377578 w 498476"/>
              <a:gd name="connsiteY222" fmla="*/ 347819 h 729720"/>
              <a:gd name="connsiteX223" fmla="*/ 373584 w 498476"/>
              <a:gd name="connsiteY223" fmla="*/ 363828 h 729720"/>
              <a:gd name="connsiteX224" fmla="*/ 369590 w 498476"/>
              <a:gd name="connsiteY224" fmla="*/ 375834 h 729720"/>
              <a:gd name="connsiteX225" fmla="*/ 365597 w 498476"/>
              <a:gd name="connsiteY225" fmla="*/ 381838 h 729720"/>
              <a:gd name="connsiteX226" fmla="*/ 359607 w 498476"/>
              <a:gd name="connsiteY226" fmla="*/ 377836 h 729720"/>
              <a:gd name="connsiteX227" fmla="*/ 359607 w 498476"/>
              <a:gd name="connsiteY227" fmla="*/ 367830 h 729720"/>
              <a:gd name="connsiteX228" fmla="*/ 353616 w 498476"/>
              <a:gd name="connsiteY228" fmla="*/ 373833 h 729720"/>
              <a:gd name="connsiteX229" fmla="*/ 345629 w 498476"/>
              <a:gd name="connsiteY229" fmla="*/ 383839 h 729720"/>
              <a:gd name="connsiteX230" fmla="*/ 337642 w 498476"/>
              <a:gd name="connsiteY230" fmla="*/ 381838 h 729720"/>
              <a:gd name="connsiteX231" fmla="*/ 331652 w 498476"/>
              <a:gd name="connsiteY231" fmla="*/ 381838 h 729720"/>
              <a:gd name="connsiteX232" fmla="*/ 327658 w 498476"/>
              <a:gd name="connsiteY232" fmla="*/ 381838 h 729720"/>
              <a:gd name="connsiteX233" fmla="*/ 319671 w 498476"/>
              <a:gd name="connsiteY233" fmla="*/ 381838 h 729720"/>
              <a:gd name="connsiteX234" fmla="*/ 317674 w 498476"/>
              <a:gd name="connsiteY234" fmla="*/ 377836 h 729720"/>
              <a:gd name="connsiteX235" fmla="*/ 311684 w 498476"/>
              <a:gd name="connsiteY235" fmla="*/ 373833 h 729720"/>
              <a:gd name="connsiteX236" fmla="*/ 307690 w 498476"/>
              <a:gd name="connsiteY236" fmla="*/ 367830 h 729720"/>
              <a:gd name="connsiteX237" fmla="*/ 305693 w 498476"/>
              <a:gd name="connsiteY237" fmla="*/ 375834 h 729720"/>
              <a:gd name="connsiteX238" fmla="*/ 309687 w 498476"/>
              <a:gd name="connsiteY238" fmla="*/ 381838 h 729720"/>
              <a:gd name="connsiteX239" fmla="*/ 311684 w 498476"/>
              <a:gd name="connsiteY239" fmla="*/ 389842 h 729720"/>
              <a:gd name="connsiteX240" fmla="*/ 309687 w 498476"/>
              <a:gd name="connsiteY240" fmla="*/ 397847 h 729720"/>
              <a:gd name="connsiteX241" fmla="*/ 299703 w 498476"/>
              <a:gd name="connsiteY241" fmla="*/ 401849 h 729720"/>
              <a:gd name="connsiteX242" fmla="*/ 287722 w 498476"/>
              <a:gd name="connsiteY242" fmla="*/ 423862 h 729720"/>
              <a:gd name="connsiteX243" fmla="*/ 279735 w 498476"/>
              <a:gd name="connsiteY243" fmla="*/ 415857 h 729720"/>
              <a:gd name="connsiteX244" fmla="*/ 275742 w 498476"/>
              <a:gd name="connsiteY244" fmla="*/ 409854 h 729720"/>
              <a:gd name="connsiteX245" fmla="*/ 275742 w 498476"/>
              <a:gd name="connsiteY245" fmla="*/ 395846 h 729720"/>
              <a:gd name="connsiteX246" fmla="*/ 275742 w 498476"/>
              <a:gd name="connsiteY246" fmla="*/ 389842 h 729720"/>
              <a:gd name="connsiteX247" fmla="*/ 275742 w 498476"/>
              <a:gd name="connsiteY247" fmla="*/ 379837 h 729720"/>
              <a:gd name="connsiteX248" fmla="*/ 247787 w 498476"/>
              <a:gd name="connsiteY248" fmla="*/ 381838 h 729720"/>
              <a:gd name="connsiteX249" fmla="*/ 233809 w 498476"/>
              <a:gd name="connsiteY249" fmla="*/ 387841 h 729720"/>
              <a:gd name="connsiteX250" fmla="*/ 215838 w 498476"/>
              <a:gd name="connsiteY250" fmla="*/ 393845 h 729720"/>
              <a:gd name="connsiteX251" fmla="*/ 205854 w 498476"/>
              <a:gd name="connsiteY251" fmla="*/ 395846 h 729720"/>
              <a:gd name="connsiteX252" fmla="*/ 197867 w 498476"/>
              <a:gd name="connsiteY252" fmla="*/ 403850 h 729720"/>
              <a:gd name="connsiteX253" fmla="*/ 195871 w 498476"/>
              <a:gd name="connsiteY253" fmla="*/ 407853 h 729720"/>
              <a:gd name="connsiteX254" fmla="*/ 187883 w 498476"/>
              <a:gd name="connsiteY254" fmla="*/ 407853 h 729720"/>
              <a:gd name="connsiteX255" fmla="*/ 187883 w 498476"/>
              <a:gd name="connsiteY255" fmla="*/ 403850 h 729720"/>
              <a:gd name="connsiteX256" fmla="*/ 179896 w 498476"/>
              <a:gd name="connsiteY256" fmla="*/ 407853 h 729720"/>
              <a:gd name="connsiteX257" fmla="*/ 171909 w 498476"/>
              <a:gd name="connsiteY257" fmla="*/ 405852 h 729720"/>
              <a:gd name="connsiteX258" fmla="*/ 163922 w 498476"/>
              <a:gd name="connsiteY258" fmla="*/ 403850 h 729720"/>
              <a:gd name="connsiteX259" fmla="*/ 163922 w 498476"/>
              <a:gd name="connsiteY259" fmla="*/ 393845 h 729720"/>
              <a:gd name="connsiteX260" fmla="*/ 169912 w 498476"/>
              <a:gd name="connsiteY260" fmla="*/ 393845 h 729720"/>
              <a:gd name="connsiteX261" fmla="*/ 173906 w 498476"/>
              <a:gd name="connsiteY261" fmla="*/ 391844 h 729720"/>
              <a:gd name="connsiteX262" fmla="*/ 179896 w 498476"/>
              <a:gd name="connsiteY262" fmla="*/ 379837 h 729720"/>
              <a:gd name="connsiteX263" fmla="*/ 189880 w 498476"/>
              <a:gd name="connsiteY263" fmla="*/ 369831 h 729720"/>
              <a:gd name="connsiteX264" fmla="*/ 195871 w 498476"/>
              <a:gd name="connsiteY264" fmla="*/ 361827 h 729720"/>
              <a:gd name="connsiteX265" fmla="*/ 199864 w 498476"/>
              <a:gd name="connsiteY265" fmla="*/ 353822 h 729720"/>
              <a:gd name="connsiteX266" fmla="*/ 213842 w 498476"/>
              <a:gd name="connsiteY266" fmla="*/ 347819 h 729720"/>
              <a:gd name="connsiteX267" fmla="*/ 217835 w 498476"/>
              <a:gd name="connsiteY267" fmla="*/ 353822 h 729720"/>
              <a:gd name="connsiteX268" fmla="*/ 225822 w 498476"/>
              <a:gd name="connsiteY268" fmla="*/ 351821 h 729720"/>
              <a:gd name="connsiteX269" fmla="*/ 239800 w 498476"/>
              <a:gd name="connsiteY269" fmla="*/ 347819 h 729720"/>
              <a:gd name="connsiteX270" fmla="*/ 247787 w 498476"/>
              <a:gd name="connsiteY270" fmla="*/ 345817 h 729720"/>
              <a:gd name="connsiteX271" fmla="*/ 261764 w 498476"/>
              <a:gd name="connsiteY271" fmla="*/ 347819 h 729720"/>
              <a:gd name="connsiteX272" fmla="*/ 267755 w 498476"/>
              <a:gd name="connsiteY272" fmla="*/ 349820 h 729720"/>
              <a:gd name="connsiteX273" fmla="*/ 273745 w 498476"/>
              <a:gd name="connsiteY273" fmla="*/ 345817 h 729720"/>
              <a:gd name="connsiteX274" fmla="*/ 285726 w 498476"/>
              <a:gd name="connsiteY274" fmla="*/ 345817 h 729720"/>
              <a:gd name="connsiteX275" fmla="*/ 285726 w 498476"/>
              <a:gd name="connsiteY275" fmla="*/ 339814 h 729720"/>
              <a:gd name="connsiteX276" fmla="*/ 285726 w 498476"/>
              <a:gd name="connsiteY276" fmla="*/ 329808 h 729720"/>
              <a:gd name="connsiteX277" fmla="*/ 293713 w 498476"/>
              <a:gd name="connsiteY277" fmla="*/ 319803 h 729720"/>
              <a:gd name="connsiteX278" fmla="*/ 295710 w 498476"/>
              <a:gd name="connsiteY278" fmla="*/ 305795 h 729720"/>
              <a:gd name="connsiteX279" fmla="*/ 295710 w 498476"/>
              <a:gd name="connsiteY279" fmla="*/ 287784 h 729720"/>
              <a:gd name="connsiteX280" fmla="*/ 301700 w 498476"/>
              <a:gd name="connsiteY280" fmla="*/ 285783 h 729720"/>
              <a:gd name="connsiteX281" fmla="*/ 307690 w 498476"/>
              <a:gd name="connsiteY281" fmla="*/ 285783 h 729720"/>
              <a:gd name="connsiteX282" fmla="*/ 303697 w 498476"/>
              <a:gd name="connsiteY282" fmla="*/ 289785 h 729720"/>
              <a:gd name="connsiteX283" fmla="*/ 301700 w 498476"/>
              <a:gd name="connsiteY283" fmla="*/ 293788 h 729720"/>
              <a:gd name="connsiteX284" fmla="*/ 305693 w 498476"/>
              <a:gd name="connsiteY284" fmla="*/ 301792 h 729720"/>
              <a:gd name="connsiteX285" fmla="*/ 307690 w 498476"/>
              <a:gd name="connsiteY285" fmla="*/ 307796 h 729720"/>
              <a:gd name="connsiteX286" fmla="*/ 313681 w 498476"/>
              <a:gd name="connsiteY286" fmla="*/ 303793 h 729720"/>
              <a:gd name="connsiteX287" fmla="*/ 319671 w 498476"/>
              <a:gd name="connsiteY287" fmla="*/ 299791 h 729720"/>
              <a:gd name="connsiteX288" fmla="*/ 327658 w 498476"/>
              <a:gd name="connsiteY288" fmla="*/ 295789 h 729720"/>
              <a:gd name="connsiteX289" fmla="*/ 335645 w 498476"/>
              <a:gd name="connsiteY289" fmla="*/ 291787 h 729720"/>
              <a:gd name="connsiteX290" fmla="*/ 341636 w 498476"/>
              <a:gd name="connsiteY290" fmla="*/ 281781 h 729720"/>
              <a:gd name="connsiteX291" fmla="*/ 347626 w 498476"/>
              <a:gd name="connsiteY291" fmla="*/ 269774 h 729720"/>
              <a:gd name="connsiteX292" fmla="*/ 355613 w 498476"/>
              <a:gd name="connsiteY292" fmla="*/ 259768 h 729720"/>
              <a:gd name="connsiteX293" fmla="*/ 357610 w 498476"/>
              <a:gd name="connsiteY293" fmla="*/ 245760 h 729720"/>
              <a:gd name="connsiteX294" fmla="*/ 365597 w 498476"/>
              <a:gd name="connsiteY294" fmla="*/ 225749 h 729720"/>
              <a:gd name="connsiteX295" fmla="*/ 363600 w 498476"/>
              <a:gd name="connsiteY295" fmla="*/ 209740 h 729720"/>
              <a:gd name="connsiteX296" fmla="*/ 359607 w 498476"/>
              <a:gd name="connsiteY296" fmla="*/ 199734 h 729720"/>
              <a:gd name="connsiteX297" fmla="*/ 361603 w 498476"/>
              <a:gd name="connsiteY297" fmla="*/ 191730 h 729720"/>
              <a:gd name="connsiteX298" fmla="*/ 357610 w 498476"/>
              <a:gd name="connsiteY298" fmla="*/ 187727 h 729720"/>
              <a:gd name="connsiteX299" fmla="*/ 355613 w 498476"/>
              <a:gd name="connsiteY299" fmla="*/ 179723 h 729720"/>
              <a:gd name="connsiteX300" fmla="*/ 351619 w 498476"/>
              <a:gd name="connsiteY300" fmla="*/ 171718 h 729720"/>
              <a:gd name="connsiteX301" fmla="*/ 353616 w 498476"/>
              <a:gd name="connsiteY301" fmla="*/ 165715 h 729720"/>
              <a:gd name="connsiteX302" fmla="*/ 359607 w 498476"/>
              <a:gd name="connsiteY302" fmla="*/ 161712 h 729720"/>
              <a:gd name="connsiteX303" fmla="*/ 357610 w 498476"/>
              <a:gd name="connsiteY303" fmla="*/ 153708 h 729720"/>
              <a:gd name="connsiteX304" fmla="*/ 365597 w 498476"/>
              <a:gd name="connsiteY304" fmla="*/ 151707 h 729720"/>
              <a:gd name="connsiteX305" fmla="*/ 367594 w 498476"/>
              <a:gd name="connsiteY305" fmla="*/ 157710 h 729720"/>
              <a:gd name="connsiteX306" fmla="*/ 369590 w 498476"/>
              <a:gd name="connsiteY306" fmla="*/ 161712 h 729720"/>
              <a:gd name="connsiteX307" fmla="*/ 379574 w 498476"/>
              <a:gd name="connsiteY307" fmla="*/ 161712 h 729720"/>
              <a:gd name="connsiteX308" fmla="*/ 381571 w 498476"/>
              <a:gd name="connsiteY308" fmla="*/ 155709 h 729720"/>
              <a:gd name="connsiteX309" fmla="*/ 383568 w 498476"/>
              <a:gd name="connsiteY309" fmla="*/ 149706 h 729720"/>
              <a:gd name="connsiteX310" fmla="*/ 379574 w 498476"/>
              <a:gd name="connsiteY310" fmla="*/ 147704 h 729720"/>
              <a:gd name="connsiteX311" fmla="*/ 371587 w 498476"/>
              <a:gd name="connsiteY311" fmla="*/ 149706 h 729720"/>
              <a:gd name="connsiteX312" fmla="*/ 369590 w 498476"/>
              <a:gd name="connsiteY312" fmla="*/ 145703 h 729720"/>
              <a:gd name="connsiteX313" fmla="*/ 373584 w 498476"/>
              <a:gd name="connsiteY313" fmla="*/ 141701 h 729720"/>
              <a:gd name="connsiteX314" fmla="*/ 360972 w 498476"/>
              <a:gd name="connsiteY314" fmla="*/ 0 h 729720"/>
              <a:gd name="connsiteX315" fmla="*/ 364974 w 498476"/>
              <a:gd name="connsiteY315" fmla="*/ 2006 h 729720"/>
              <a:gd name="connsiteX316" fmla="*/ 370976 w 498476"/>
              <a:gd name="connsiteY316" fmla="*/ 10032 h 729720"/>
              <a:gd name="connsiteX317" fmla="*/ 378978 w 498476"/>
              <a:gd name="connsiteY317" fmla="*/ 18058 h 729720"/>
              <a:gd name="connsiteX318" fmla="*/ 388982 w 498476"/>
              <a:gd name="connsiteY318" fmla="*/ 26083 h 729720"/>
              <a:gd name="connsiteX319" fmla="*/ 396984 w 498476"/>
              <a:gd name="connsiteY319" fmla="*/ 30096 h 729720"/>
              <a:gd name="connsiteX320" fmla="*/ 402987 w 498476"/>
              <a:gd name="connsiteY320" fmla="*/ 38122 h 729720"/>
              <a:gd name="connsiteX321" fmla="*/ 410989 w 498476"/>
              <a:gd name="connsiteY321" fmla="*/ 44141 h 729720"/>
              <a:gd name="connsiteX322" fmla="*/ 426995 w 498476"/>
              <a:gd name="connsiteY322" fmla="*/ 48154 h 729720"/>
              <a:gd name="connsiteX323" fmla="*/ 447002 w 498476"/>
              <a:gd name="connsiteY323" fmla="*/ 52167 h 729720"/>
              <a:gd name="connsiteX324" fmla="*/ 453004 w 498476"/>
              <a:gd name="connsiteY324" fmla="*/ 46147 h 729720"/>
              <a:gd name="connsiteX325" fmla="*/ 457005 w 498476"/>
              <a:gd name="connsiteY325" fmla="*/ 42135 h 729720"/>
              <a:gd name="connsiteX326" fmla="*/ 457005 w 498476"/>
              <a:gd name="connsiteY326" fmla="*/ 50160 h 729720"/>
              <a:gd name="connsiteX327" fmla="*/ 457005 w 498476"/>
              <a:gd name="connsiteY327" fmla="*/ 64205 h 729720"/>
              <a:gd name="connsiteX328" fmla="*/ 465008 w 498476"/>
              <a:gd name="connsiteY328" fmla="*/ 74237 h 729720"/>
              <a:gd name="connsiteX329" fmla="*/ 469009 w 498476"/>
              <a:gd name="connsiteY329" fmla="*/ 74237 h 729720"/>
              <a:gd name="connsiteX330" fmla="*/ 479013 w 498476"/>
              <a:gd name="connsiteY330" fmla="*/ 72231 h 729720"/>
              <a:gd name="connsiteX331" fmla="*/ 475011 w 498476"/>
              <a:gd name="connsiteY331" fmla="*/ 76244 h 729720"/>
              <a:gd name="connsiteX332" fmla="*/ 467008 w 498476"/>
              <a:gd name="connsiteY332" fmla="*/ 82263 h 729720"/>
              <a:gd name="connsiteX333" fmla="*/ 457005 w 498476"/>
              <a:gd name="connsiteY333" fmla="*/ 92295 h 729720"/>
              <a:gd name="connsiteX334" fmla="*/ 441000 w 498476"/>
              <a:gd name="connsiteY334" fmla="*/ 90289 h 729720"/>
              <a:gd name="connsiteX335" fmla="*/ 434997 w 498476"/>
              <a:gd name="connsiteY335" fmla="*/ 96308 h 729720"/>
              <a:gd name="connsiteX336" fmla="*/ 428995 w 498476"/>
              <a:gd name="connsiteY336" fmla="*/ 106340 h 729720"/>
              <a:gd name="connsiteX337" fmla="*/ 424994 w 498476"/>
              <a:gd name="connsiteY337" fmla="*/ 114366 h 729720"/>
              <a:gd name="connsiteX338" fmla="*/ 422993 w 498476"/>
              <a:gd name="connsiteY338" fmla="*/ 124398 h 729720"/>
              <a:gd name="connsiteX339" fmla="*/ 416991 w 498476"/>
              <a:gd name="connsiteY339" fmla="*/ 124398 h 729720"/>
              <a:gd name="connsiteX340" fmla="*/ 410989 w 498476"/>
              <a:gd name="connsiteY340" fmla="*/ 122391 h 729720"/>
              <a:gd name="connsiteX341" fmla="*/ 402987 w 498476"/>
              <a:gd name="connsiteY341" fmla="*/ 116372 h 729720"/>
              <a:gd name="connsiteX342" fmla="*/ 398985 w 498476"/>
              <a:gd name="connsiteY342" fmla="*/ 110353 h 729720"/>
              <a:gd name="connsiteX343" fmla="*/ 392983 w 498476"/>
              <a:gd name="connsiteY343" fmla="*/ 104334 h 729720"/>
              <a:gd name="connsiteX344" fmla="*/ 380979 w 498476"/>
              <a:gd name="connsiteY344" fmla="*/ 104334 h 729720"/>
              <a:gd name="connsiteX345" fmla="*/ 374977 w 498476"/>
              <a:gd name="connsiteY345" fmla="*/ 106340 h 729720"/>
              <a:gd name="connsiteX346" fmla="*/ 366974 w 498476"/>
              <a:gd name="connsiteY346" fmla="*/ 110353 h 729720"/>
              <a:gd name="connsiteX347" fmla="*/ 360972 w 498476"/>
              <a:gd name="connsiteY347" fmla="*/ 110353 h 729720"/>
              <a:gd name="connsiteX348" fmla="*/ 350969 w 498476"/>
              <a:gd name="connsiteY348" fmla="*/ 106340 h 729720"/>
              <a:gd name="connsiteX349" fmla="*/ 350969 w 498476"/>
              <a:gd name="connsiteY349" fmla="*/ 114366 h 729720"/>
              <a:gd name="connsiteX350" fmla="*/ 360972 w 498476"/>
              <a:gd name="connsiteY350" fmla="*/ 122391 h 729720"/>
              <a:gd name="connsiteX351" fmla="*/ 372976 w 498476"/>
              <a:gd name="connsiteY351" fmla="*/ 128411 h 729720"/>
              <a:gd name="connsiteX352" fmla="*/ 368975 w 498476"/>
              <a:gd name="connsiteY352" fmla="*/ 132423 h 729720"/>
              <a:gd name="connsiteX353" fmla="*/ 360972 w 498476"/>
              <a:gd name="connsiteY353" fmla="*/ 130417 h 729720"/>
              <a:gd name="connsiteX354" fmla="*/ 354970 w 498476"/>
              <a:gd name="connsiteY354" fmla="*/ 132423 h 729720"/>
              <a:gd name="connsiteX355" fmla="*/ 348968 w 498476"/>
              <a:gd name="connsiteY355" fmla="*/ 142455 h 729720"/>
              <a:gd name="connsiteX356" fmla="*/ 346967 w 498476"/>
              <a:gd name="connsiteY356" fmla="*/ 134430 h 729720"/>
              <a:gd name="connsiteX357" fmla="*/ 342966 w 498476"/>
              <a:gd name="connsiteY357" fmla="*/ 128411 h 729720"/>
              <a:gd name="connsiteX358" fmla="*/ 334963 w 498476"/>
              <a:gd name="connsiteY358" fmla="*/ 116372 h 729720"/>
              <a:gd name="connsiteX359" fmla="*/ 338965 w 498476"/>
              <a:gd name="connsiteY359" fmla="*/ 100321 h 729720"/>
              <a:gd name="connsiteX360" fmla="*/ 342966 w 498476"/>
              <a:gd name="connsiteY360" fmla="*/ 92295 h 729720"/>
              <a:gd name="connsiteX361" fmla="*/ 340965 w 498476"/>
              <a:gd name="connsiteY361" fmla="*/ 86276 h 729720"/>
              <a:gd name="connsiteX362" fmla="*/ 336964 w 498476"/>
              <a:gd name="connsiteY362" fmla="*/ 80257 h 729720"/>
              <a:gd name="connsiteX363" fmla="*/ 344967 w 498476"/>
              <a:gd name="connsiteY363" fmla="*/ 80257 h 729720"/>
              <a:gd name="connsiteX364" fmla="*/ 350969 w 498476"/>
              <a:gd name="connsiteY364" fmla="*/ 82263 h 729720"/>
              <a:gd name="connsiteX365" fmla="*/ 356971 w 498476"/>
              <a:gd name="connsiteY365" fmla="*/ 80257 h 729720"/>
              <a:gd name="connsiteX366" fmla="*/ 362973 w 498476"/>
              <a:gd name="connsiteY366" fmla="*/ 78250 h 729720"/>
              <a:gd name="connsiteX367" fmla="*/ 362973 w 498476"/>
              <a:gd name="connsiteY367" fmla="*/ 64205 h 729720"/>
              <a:gd name="connsiteX368" fmla="*/ 366974 w 498476"/>
              <a:gd name="connsiteY368" fmla="*/ 54173 h 729720"/>
              <a:gd name="connsiteX369" fmla="*/ 364974 w 498476"/>
              <a:gd name="connsiteY369" fmla="*/ 42135 h 729720"/>
              <a:gd name="connsiteX370" fmla="*/ 364974 w 498476"/>
              <a:gd name="connsiteY370" fmla="*/ 32103 h 729720"/>
              <a:gd name="connsiteX371" fmla="*/ 358971 w 498476"/>
              <a:gd name="connsiteY371" fmla="*/ 24077 h 729720"/>
              <a:gd name="connsiteX372" fmla="*/ 354970 w 498476"/>
              <a:gd name="connsiteY372" fmla="*/ 14045 h 729720"/>
              <a:gd name="connsiteX373" fmla="*/ 356971 w 498476"/>
              <a:gd name="connsiteY373" fmla="*/ 8026 h 729720"/>
              <a:gd name="connsiteX374" fmla="*/ 360972 w 498476"/>
              <a:gd name="connsiteY374" fmla="*/ 0 h 72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498476" h="729720">
                <a:moveTo>
                  <a:pt x="32147" y="724217"/>
                </a:moveTo>
                <a:cubicBezTo>
                  <a:pt x="34132" y="722312"/>
                  <a:pt x="38101" y="726122"/>
                  <a:pt x="38101" y="728027"/>
                </a:cubicBezTo>
                <a:cubicBezTo>
                  <a:pt x="38101" y="728027"/>
                  <a:pt x="36116" y="731837"/>
                  <a:pt x="34132" y="728027"/>
                </a:cubicBezTo>
                <a:cubicBezTo>
                  <a:pt x="30163" y="726122"/>
                  <a:pt x="32147" y="724217"/>
                  <a:pt x="32147" y="724217"/>
                </a:cubicBezTo>
                <a:close/>
                <a:moveTo>
                  <a:pt x="19447" y="723900"/>
                </a:moveTo>
                <a:cubicBezTo>
                  <a:pt x="19447" y="723900"/>
                  <a:pt x="25401" y="723900"/>
                  <a:pt x="25401" y="726017"/>
                </a:cubicBezTo>
                <a:cubicBezTo>
                  <a:pt x="25401" y="728133"/>
                  <a:pt x="17463" y="730250"/>
                  <a:pt x="17463" y="726017"/>
                </a:cubicBezTo>
                <a:cubicBezTo>
                  <a:pt x="17463" y="723900"/>
                  <a:pt x="19447" y="723900"/>
                  <a:pt x="19447" y="723900"/>
                </a:cubicBezTo>
                <a:close/>
                <a:moveTo>
                  <a:pt x="3969" y="720725"/>
                </a:moveTo>
                <a:cubicBezTo>
                  <a:pt x="7938" y="724958"/>
                  <a:pt x="1984" y="727075"/>
                  <a:pt x="0" y="722842"/>
                </a:cubicBezTo>
                <a:cubicBezTo>
                  <a:pt x="0" y="720725"/>
                  <a:pt x="3969" y="720725"/>
                  <a:pt x="3969" y="720725"/>
                </a:cubicBezTo>
                <a:close/>
                <a:moveTo>
                  <a:pt x="484982" y="718185"/>
                </a:moveTo>
                <a:cubicBezTo>
                  <a:pt x="486967" y="715962"/>
                  <a:pt x="488951" y="720407"/>
                  <a:pt x="488951" y="722629"/>
                </a:cubicBezTo>
                <a:cubicBezTo>
                  <a:pt x="486967" y="727074"/>
                  <a:pt x="482998" y="724852"/>
                  <a:pt x="481013" y="720407"/>
                </a:cubicBezTo>
                <a:cubicBezTo>
                  <a:pt x="481013" y="718185"/>
                  <a:pt x="484982" y="718185"/>
                  <a:pt x="484982" y="718185"/>
                </a:cubicBezTo>
                <a:close/>
                <a:moveTo>
                  <a:pt x="50271" y="716491"/>
                </a:moveTo>
                <a:cubicBezTo>
                  <a:pt x="50800" y="717550"/>
                  <a:pt x="50271" y="719137"/>
                  <a:pt x="48154" y="719137"/>
                </a:cubicBezTo>
                <a:cubicBezTo>
                  <a:pt x="46038" y="719137"/>
                  <a:pt x="46038" y="717020"/>
                  <a:pt x="46038" y="717020"/>
                </a:cubicBezTo>
                <a:cubicBezTo>
                  <a:pt x="48155" y="714904"/>
                  <a:pt x="49742" y="715433"/>
                  <a:pt x="50271" y="716491"/>
                </a:cubicBezTo>
                <a:close/>
                <a:moveTo>
                  <a:pt x="64135" y="708025"/>
                </a:moveTo>
                <a:cubicBezTo>
                  <a:pt x="67945" y="708025"/>
                  <a:pt x="69850" y="714375"/>
                  <a:pt x="64135" y="714375"/>
                </a:cubicBezTo>
                <a:cubicBezTo>
                  <a:pt x="60325" y="714375"/>
                  <a:pt x="64135" y="708025"/>
                  <a:pt x="64135" y="708025"/>
                </a:cubicBezTo>
                <a:close/>
                <a:moveTo>
                  <a:pt x="496492" y="651192"/>
                </a:moveTo>
                <a:cubicBezTo>
                  <a:pt x="498476" y="653097"/>
                  <a:pt x="498476" y="655002"/>
                  <a:pt x="498476" y="656907"/>
                </a:cubicBezTo>
                <a:cubicBezTo>
                  <a:pt x="498476" y="658812"/>
                  <a:pt x="496492" y="656907"/>
                  <a:pt x="496492" y="656907"/>
                </a:cubicBezTo>
                <a:lnTo>
                  <a:pt x="492523" y="655002"/>
                </a:lnTo>
                <a:cubicBezTo>
                  <a:pt x="492523" y="655002"/>
                  <a:pt x="490538" y="655002"/>
                  <a:pt x="490538" y="653097"/>
                </a:cubicBezTo>
                <a:cubicBezTo>
                  <a:pt x="492523" y="649287"/>
                  <a:pt x="496492" y="649287"/>
                  <a:pt x="496492" y="651192"/>
                </a:cubicBezTo>
                <a:close/>
                <a:moveTo>
                  <a:pt x="127681" y="646479"/>
                </a:moveTo>
                <a:cubicBezTo>
                  <a:pt x="127681" y="644525"/>
                  <a:pt x="131763" y="648433"/>
                  <a:pt x="131763" y="648433"/>
                </a:cubicBezTo>
                <a:cubicBezTo>
                  <a:pt x="131763" y="648433"/>
                  <a:pt x="131763" y="648433"/>
                  <a:pt x="127681" y="652340"/>
                </a:cubicBezTo>
                <a:cubicBezTo>
                  <a:pt x="127681" y="652340"/>
                  <a:pt x="127681" y="656248"/>
                  <a:pt x="125640" y="658202"/>
                </a:cubicBezTo>
                <a:cubicBezTo>
                  <a:pt x="123599" y="658202"/>
                  <a:pt x="123599" y="660156"/>
                  <a:pt x="123599" y="660156"/>
                </a:cubicBezTo>
                <a:cubicBezTo>
                  <a:pt x="123599" y="662109"/>
                  <a:pt x="123599" y="664063"/>
                  <a:pt x="121558" y="666017"/>
                </a:cubicBezTo>
                <a:cubicBezTo>
                  <a:pt x="119516" y="669925"/>
                  <a:pt x="117475" y="669925"/>
                  <a:pt x="117475" y="667971"/>
                </a:cubicBezTo>
                <a:cubicBezTo>
                  <a:pt x="117475" y="664063"/>
                  <a:pt x="117475" y="658202"/>
                  <a:pt x="117475" y="656248"/>
                </a:cubicBezTo>
                <a:cubicBezTo>
                  <a:pt x="119516" y="654294"/>
                  <a:pt x="119516" y="650386"/>
                  <a:pt x="119516" y="650386"/>
                </a:cubicBezTo>
                <a:cubicBezTo>
                  <a:pt x="119516" y="648433"/>
                  <a:pt x="121558" y="648433"/>
                  <a:pt x="123599" y="648433"/>
                </a:cubicBezTo>
                <a:cubicBezTo>
                  <a:pt x="125640" y="648433"/>
                  <a:pt x="127681" y="648433"/>
                  <a:pt x="127681" y="646479"/>
                </a:cubicBezTo>
                <a:close/>
                <a:moveTo>
                  <a:pt x="492919" y="625475"/>
                </a:moveTo>
                <a:cubicBezTo>
                  <a:pt x="494904" y="625475"/>
                  <a:pt x="496888" y="627459"/>
                  <a:pt x="494904" y="631428"/>
                </a:cubicBezTo>
                <a:cubicBezTo>
                  <a:pt x="494904" y="633412"/>
                  <a:pt x="490935" y="631428"/>
                  <a:pt x="490935" y="629443"/>
                </a:cubicBezTo>
                <a:cubicBezTo>
                  <a:pt x="488950" y="625475"/>
                  <a:pt x="492919" y="625475"/>
                  <a:pt x="492919" y="625475"/>
                </a:cubicBezTo>
                <a:close/>
                <a:moveTo>
                  <a:pt x="135573" y="622300"/>
                </a:moveTo>
                <a:cubicBezTo>
                  <a:pt x="135573" y="622300"/>
                  <a:pt x="139383" y="622300"/>
                  <a:pt x="139383" y="624284"/>
                </a:cubicBezTo>
                <a:cubicBezTo>
                  <a:pt x="141288" y="626268"/>
                  <a:pt x="131763" y="630237"/>
                  <a:pt x="131763" y="626268"/>
                </a:cubicBezTo>
                <a:cubicBezTo>
                  <a:pt x="131763" y="622300"/>
                  <a:pt x="135573" y="622300"/>
                  <a:pt x="135573" y="622300"/>
                </a:cubicBezTo>
                <a:close/>
                <a:moveTo>
                  <a:pt x="490538" y="620712"/>
                </a:moveTo>
                <a:cubicBezTo>
                  <a:pt x="490538" y="620712"/>
                  <a:pt x="492125" y="620712"/>
                  <a:pt x="492125" y="623093"/>
                </a:cubicBezTo>
                <a:cubicBezTo>
                  <a:pt x="492125" y="625474"/>
                  <a:pt x="488950" y="625474"/>
                  <a:pt x="488950" y="623093"/>
                </a:cubicBezTo>
                <a:cubicBezTo>
                  <a:pt x="488950" y="620712"/>
                  <a:pt x="490538" y="620712"/>
                  <a:pt x="490538" y="620712"/>
                </a:cubicBezTo>
                <a:close/>
                <a:moveTo>
                  <a:pt x="487363" y="611187"/>
                </a:moveTo>
                <a:cubicBezTo>
                  <a:pt x="487363" y="611187"/>
                  <a:pt x="490539" y="613304"/>
                  <a:pt x="490539" y="615420"/>
                </a:cubicBezTo>
                <a:cubicBezTo>
                  <a:pt x="492126" y="615420"/>
                  <a:pt x="490539" y="615420"/>
                  <a:pt x="488951" y="615420"/>
                </a:cubicBezTo>
                <a:cubicBezTo>
                  <a:pt x="487363" y="617537"/>
                  <a:pt x="487363" y="617537"/>
                  <a:pt x="487363" y="613304"/>
                </a:cubicBezTo>
                <a:cubicBezTo>
                  <a:pt x="487363" y="611187"/>
                  <a:pt x="487363" y="611187"/>
                  <a:pt x="487363" y="611187"/>
                </a:cubicBezTo>
                <a:close/>
                <a:moveTo>
                  <a:pt x="143421" y="610658"/>
                </a:moveTo>
                <a:cubicBezTo>
                  <a:pt x="144662" y="611717"/>
                  <a:pt x="145654" y="613833"/>
                  <a:pt x="145654" y="614892"/>
                </a:cubicBezTo>
                <a:cubicBezTo>
                  <a:pt x="147638" y="614892"/>
                  <a:pt x="145654" y="617008"/>
                  <a:pt x="143669" y="619125"/>
                </a:cubicBezTo>
                <a:cubicBezTo>
                  <a:pt x="141685" y="619125"/>
                  <a:pt x="139700" y="612775"/>
                  <a:pt x="139700" y="612775"/>
                </a:cubicBezTo>
                <a:cubicBezTo>
                  <a:pt x="140693" y="609600"/>
                  <a:pt x="142181" y="609600"/>
                  <a:pt x="143421" y="610658"/>
                </a:cubicBezTo>
                <a:close/>
                <a:moveTo>
                  <a:pt x="161221" y="584676"/>
                </a:moveTo>
                <a:cubicBezTo>
                  <a:pt x="163161" y="582612"/>
                  <a:pt x="165101" y="584676"/>
                  <a:pt x="165101" y="586739"/>
                </a:cubicBezTo>
                <a:cubicBezTo>
                  <a:pt x="163161" y="588803"/>
                  <a:pt x="163161" y="590867"/>
                  <a:pt x="161221" y="590867"/>
                </a:cubicBezTo>
                <a:cubicBezTo>
                  <a:pt x="157340" y="592930"/>
                  <a:pt x="157340" y="597058"/>
                  <a:pt x="157340" y="599121"/>
                </a:cubicBezTo>
                <a:cubicBezTo>
                  <a:pt x="157340" y="601185"/>
                  <a:pt x="155400" y="603249"/>
                  <a:pt x="153459" y="603249"/>
                </a:cubicBezTo>
                <a:cubicBezTo>
                  <a:pt x="149579" y="603249"/>
                  <a:pt x="147638" y="601185"/>
                  <a:pt x="147638" y="601185"/>
                </a:cubicBezTo>
                <a:cubicBezTo>
                  <a:pt x="147638" y="601185"/>
                  <a:pt x="147638" y="601185"/>
                  <a:pt x="149579" y="597058"/>
                </a:cubicBezTo>
                <a:cubicBezTo>
                  <a:pt x="147638" y="588803"/>
                  <a:pt x="153459" y="590867"/>
                  <a:pt x="155400" y="590867"/>
                </a:cubicBezTo>
                <a:cubicBezTo>
                  <a:pt x="157340" y="588803"/>
                  <a:pt x="157340" y="588803"/>
                  <a:pt x="161221" y="584676"/>
                </a:cubicBezTo>
                <a:close/>
                <a:moveTo>
                  <a:pt x="169863" y="525462"/>
                </a:moveTo>
                <a:cubicBezTo>
                  <a:pt x="173832" y="525462"/>
                  <a:pt x="177801" y="529695"/>
                  <a:pt x="175817" y="531812"/>
                </a:cubicBezTo>
                <a:cubicBezTo>
                  <a:pt x="175817" y="531812"/>
                  <a:pt x="171848" y="531812"/>
                  <a:pt x="171848" y="529695"/>
                </a:cubicBezTo>
                <a:cubicBezTo>
                  <a:pt x="169863" y="525462"/>
                  <a:pt x="169863" y="525462"/>
                  <a:pt x="169863" y="525462"/>
                </a:cubicBezTo>
                <a:close/>
                <a:moveTo>
                  <a:pt x="424498" y="520700"/>
                </a:moveTo>
                <a:cubicBezTo>
                  <a:pt x="424498" y="520700"/>
                  <a:pt x="430213" y="520700"/>
                  <a:pt x="428308" y="525145"/>
                </a:cubicBezTo>
                <a:cubicBezTo>
                  <a:pt x="426403" y="531812"/>
                  <a:pt x="424498" y="529589"/>
                  <a:pt x="424498" y="529589"/>
                </a:cubicBezTo>
                <a:cubicBezTo>
                  <a:pt x="424498" y="529589"/>
                  <a:pt x="420688" y="529589"/>
                  <a:pt x="420688" y="525145"/>
                </a:cubicBezTo>
                <a:cubicBezTo>
                  <a:pt x="422593" y="520700"/>
                  <a:pt x="424498" y="520700"/>
                  <a:pt x="424498" y="520700"/>
                </a:cubicBezTo>
                <a:close/>
                <a:moveTo>
                  <a:pt x="187325" y="509587"/>
                </a:moveTo>
                <a:cubicBezTo>
                  <a:pt x="187325" y="509587"/>
                  <a:pt x="187325" y="515648"/>
                  <a:pt x="187325" y="517669"/>
                </a:cubicBezTo>
                <a:cubicBezTo>
                  <a:pt x="185209" y="517669"/>
                  <a:pt x="183092" y="519689"/>
                  <a:pt x="185209" y="523730"/>
                </a:cubicBezTo>
                <a:cubicBezTo>
                  <a:pt x="185209" y="525751"/>
                  <a:pt x="187325" y="529791"/>
                  <a:pt x="183092" y="529791"/>
                </a:cubicBezTo>
                <a:cubicBezTo>
                  <a:pt x="180975" y="531812"/>
                  <a:pt x="180975" y="529791"/>
                  <a:pt x="180975" y="525751"/>
                </a:cubicBezTo>
                <a:cubicBezTo>
                  <a:pt x="180975" y="523730"/>
                  <a:pt x="180975" y="521710"/>
                  <a:pt x="180975" y="521710"/>
                </a:cubicBezTo>
                <a:cubicBezTo>
                  <a:pt x="180975" y="519689"/>
                  <a:pt x="180975" y="517669"/>
                  <a:pt x="180975" y="517669"/>
                </a:cubicBezTo>
                <a:cubicBezTo>
                  <a:pt x="180975" y="517669"/>
                  <a:pt x="180975" y="513628"/>
                  <a:pt x="180975" y="511607"/>
                </a:cubicBezTo>
                <a:cubicBezTo>
                  <a:pt x="183092" y="509587"/>
                  <a:pt x="185209" y="509587"/>
                  <a:pt x="187325" y="509587"/>
                </a:cubicBezTo>
                <a:close/>
                <a:moveTo>
                  <a:pt x="113348" y="443366"/>
                </a:moveTo>
                <a:cubicBezTo>
                  <a:pt x="119063" y="441325"/>
                  <a:pt x="119063" y="445407"/>
                  <a:pt x="119063" y="449489"/>
                </a:cubicBezTo>
                <a:cubicBezTo>
                  <a:pt x="119063" y="455612"/>
                  <a:pt x="111443" y="455612"/>
                  <a:pt x="109538" y="449489"/>
                </a:cubicBezTo>
                <a:cubicBezTo>
                  <a:pt x="109538" y="445407"/>
                  <a:pt x="113348" y="443366"/>
                  <a:pt x="113348" y="443366"/>
                </a:cubicBezTo>
                <a:close/>
                <a:moveTo>
                  <a:pt x="119063" y="434975"/>
                </a:moveTo>
                <a:cubicBezTo>
                  <a:pt x="123826" y="434975"/>
                  <a:pt x="123826" y="436880"/>
                  <a:pt x="123826" y="440690"/>
                </a:cubicBezTo>
                <a:cubicBezTo>
                  <a:pt x="123826" y="444500"/>
                  <a:pt x="121445" y="444500"/>
                  <a:pt x="119063" y="440690"/>
                </a:cubicBezTo>
                <a:cubicBezTo>
                  <a:pt x="119063" y="438785"/>
                  <a:pt x="119063" y="434975"/>
                  <a:pt x="119063" y="434975"/>
                </a:cubicBezTo>
                <a:close/>
                <a:moveTo>
                  <a:pt x="158115" y="411162"/>
                </a:moveTo>
                <a:cubicBezTo>
                  <a:pt x="162107" y="411162"/>
                  <a:pt x="170090" y="411162"/>
                  <a:pt x="170090" y="413146"/>
                </a:cubicBezTo>
                <a:cubicBezTo>
                  <a:pt x="170090" y="415131"/>
                  <a:pt x="172085" y="419099"/>
                  <a:pt x="176077" y="421084"/>
                </a:cubicBezTo>
                <a:cubicBezTo>
                  <a:pt x="180068" y="423068"/>
                  <a:pt x="182064" y="421084"/>
                  <a:pt x="182064" y="419099"/>
                </a:cubicBezTo>
                <a:cubicBezTo>
                  <a:pt x="182064" y="419099"/>
                  <a:pt x="186055" y="417115"/>
                  <a:pt x="186055" y="419099"/>
                </a:cubicBezTo>
                <a:cubicBezTo>
                  <a:pt x="188051" y="421084"/>
                  <a:pt x="190047" y="419099"/>
                  <a:pt x="190047" y="423068"/>
                </a:cubicBezTo>
                <a:cubicBezTo>
                  <a:pt x="190047" y="425052"/>
                  <a:pt x="188051" y="427037"/>
                  <a:pt x="188051" y="427037"/>
                </a:cubicBezTo>
                <a:cubicBezTo>
                  <a:pt x="188051" y="427037"/>
                  <a:pt x="184060" y="429021"/>
                  <a:pt x="186055" y="431006"/>
                </a:cubicBezTo>
                <a:cubicBezTo>
                  <a:pt x="188051" y="432990"/>
                  <a:pt x="190047" y="431006"/>
                  <a:pt x="190047" y="432990"/>
                </a:cubicBezTo>
                <a:cubicBezTo>
                  <a:pt x="192042" y="432990"/>
                  <a:pt x="194038" y="434974"/>
                  <a:pt x="194038" y="432990"/>
                </a:cubicBezTo>
                <a:cubicBezTo>
                  <a:pt x="196034" y="432990"/>
                  <a:pt x="200025" y="432990"/>
                  <a:pt x="200025" y="434974"/>
                </a:cubicBezTo>
                <a:cubicBezTo>
                  <a:pt x="198030" y="436959"/>
                  <a:pt x="196034" y="436959"/>
                  <a:pt x="198030" y="440927"/>
                </a:cubicBezTo>
                <a:cubicBezTo>
                  <a:pt x="200025" y="442912"/>
                  <a:pt x="200025" y="444896"/>
                  <a:pt x="198030" y="446881"/>
                </a:cubicBezTo>
                <a:cubicBezTo>
                  <a:pt x="194038" y="448865"/>
                  <a:pt x="194038" y="452834"/>
                  <a:pt x="192042" y="452834"/>
                </a:cubicBezTo>
                <a:cubicBezTo>
                  <a:pt x="192042" y="456802"/>
                  <a:pt x="188051" y="460771"/>
                  <a:pt x="190047" y="462756"/>
                </a:cubicBezTo>
                <a:cubicBezTo>
                  <a:pt x="190047" y="466724"/>
                  <a:pt x="192042" y="466724"/>
                  <a:pt x="192042" y="468709"/>
                </a:cubicBezTo>
                <a:cubicBezTo>
                  <a:pt x="190047" y="472677"/>
                  <a:pt x="188051" y="470693"/>
                  <a:pt x="190047" y="474662"/>
                </a:cubicBezTo>
                <a:cubicBezTo>
                  <a:pt x="192042" y="476646"/>
                  <a:pt x="190047" y="480615"/>
                  <a:pt x="190047" y="480615"/>
                </a:cubicBezTo>
                <a:cubicBezTo>
                  <a:pt x="190047" y="480615"/>
                  <a:pt x="192042" y="488552"/>
                  <a:pt x="188051" y="490537"/>
                </a:cubicBezTo>
                <a:cubicBezTo>
                  <a:pt x="186055" y="492521"/>
                  <a:pt x="184060" y="492521"/>
                  <a:pt x="182064" y="496490"/>
                </a:cubicBezTo>
                <a:cubicBezTo>
                  <a:pt x="182064" y="500459"/>
                  <a:pt x="180068" y="506412"/>
                  <a:pt x="178072" y="506412"/>
                </a:cubicBezTo>
                <a:cubicBezTo>
                  <a:pt x="174081" y="506412"/>
                  <a:pt x="170090" y="506412"/>
                  <a:pt x="174081" y="504427"/>
                </a:cubicBezTo>
                <a:cubicBezTo>
                  <a:pt x="176077" y="500459"/>
                  <a:pt x="176077" y="494506"/>
                  <a:pt x="176077" y="492521"/>
                </a:cubicBezTo>
                <a:cubicBezTo>
                  <a:pt x="176077" y="490537"/>
                  <a:pt x="176077" y="484584"/>
                  <a:pt x="176077" y="484584"/>
                </a:cubicBezTo>
                <a:cubicBezTo>
                  <a:pt x="176077" y="484584"/>
                  <a:pt x="176077" y="478631"/>
                  <a:pt x="174081" y="478631"/>
                </a:cubicBezTo>
                <a:cubicBezTo>
                  <a:pt x="170090" y="480615"/>
                  <a:pt x="166098" y="482599"/>
                  <a:pt x="168094" y="486568"/>
                </a:cubicBezTo>
                <a:cubicBezTo>
                  <a:pt x="168094" y="490537"/>
                  <a:pt x="170090" y="496490"/>
                  <a:pt x="168094" y="496490"/>
                </a:cubicBezTo>
                <a:cubicBezTo>
                  <a:pt x="166098" y="496490"/>
                  <a:pt x="162107" y="490537"/>
                  <a:pt x="162107" y="490537"/>
                </a:cubicBezTo>
                <a:cubicBezTo>
                  <a:pt x="162107" y="490537"/>
                  <a:pt x="162107" y="486568"/>
                  <a:pt x="160111" y="482599"/>
                </a:cubicBezTo>
                <a:cubicBezTo>
                  <a:pt x="158115" y="480615"/>
                  <a:pt x="158115" y="478631"/>
                  <a:pt x="158115" y="476646"/>
                </a:cubicBezTo>
                <a:cubicBezTo>
                  <a:pt x="158115" y="474662"/>
                  <a:pt x="158115" y="470693"/>
                  <a:pt x="156120" y="468709"/>
                </a:cubicBezTo>
                <a:cubicBezTo>
                  <a:pt x="154124" y="466724"/>
                  <a:pt x="152128" y="462756"/>
                  <a:pt x="152128" y="460771"/>
                </a:cubicBezTo>
                <a:cubicBezTo>
                  <a:pt x="150132" y="458787"/>
                  <a:pt x="150132" y="456802"/>
                  <a:pt x="154124" y="458787"/>
                </a:cubicBezTo>
                <a:cubicBezTo>
                  <a:pt x="158115" y="458787"/>
                  <a:pt x="158115" y="460771"/>
                  <a:pt x="158115" y="462756"/>
                </a:cubicBezTo>
                <a:cubicBezTo>
                  <a:pt x="158115" y="462756"/>
                  <a:pt x="162107" y="466724"/>
                  <a:pt x="162107" y="462756"/>
                </a:cubicBezTo>
                <a:cubicBezTo>
                  <a:pt x="164102" y="458787"/>
                  <a:pt x="166098" y="456802"/>
                  <a:pt x="164102" y="452834"/>
                </a:cubicBezTo>
                <a:cubicBezTo>
                  <a:pt x="164102" y="452834"/>
                  <a:pt x="160111" y="442912"/>
                  <a:pt x="160111" y="436959"/>
                </a:cubicBezTo>
                <a:cubicBezTo>
                  <a:pt x="160111" y="432990"/>
                  <a:pt x="160111" y="432990"/>
                  <a:pt x="158115" y="432990"/>
                </a:cubicBezTo>
                <a:cubicBezTo>
                  <a:pt x="154124" y="432990"/>
                  <a:pt x="152128" y="432990"/>
                  <a:pt x="152128" y="436959"/>
                </a:cubicBezTo>
                <a:cubicBezTo>
                  <a:pt x="150132" y="438943"/>
                  <a:pt x="148137" y="438943"/>
                  <a:pt x="148137" y="438943"/>
                </a:cubicBezTo>
                <a:cubicBezTo>
                  <a:pt x="148137" y="438943"/>
                  <a:pt x="140154" y="444896"/>
                  <a:pt x="140154" y="444896"/>
                </a:cubicBezTo>
                <a:cubicBezTo>
                  <a:pt x="140154" y="442912"/>
                  <a:pt x="138158" y="440927"/>
                  <a:pt x="138158" y="440927"/>
                </a:cubicBezTo>
                <a:cubicBezTo>
                  <a:pt x="138158" y="440927"/>
                  <a:pt x="136162" y="436959"/>
                  <a:pt x="140154" y="436959"/>
                </a:cubicBezTo>
                <a:cubicBezTo>
                  <a:pt x="140154" y="438943"/>
                  <a:pt x="144145" y="440927"/>
                  <a:pt x="144145" y="438943"/>
                </a:cubicBezTo>
                <a:cubicBezTo>
                  <a:pt x="144145" y="438943"/>
                  <a:pt x="142150" y="436959"/>
                  <a:pt x="140154" y="434974"/>
                </a:cubicBezTo>
                <a:cubicBezTo>
                  <a:pt x="138158" y="434974"/>
                  <a:pt x="136162" y="431006"/>
                  <a:pt x="136162" y="431006"/>
                </a:cubicBezTo>
                <a:cubicBezTo>
                  <a:pt x="132171" y="427037"/>
                  <a:pt x="132171" y="427037"/>
                  <a:pt x="132171" y="427037"/>
                </a:cubicBezTo>
                <a:cubicBezTo>
                  <a:pt x="132171" y="427037"/>
                  <a:pt x="130175" y="423068"/>
                  <a:pt x="132171" y="423068"/>
                </a:cubicBezTo>
                <a:cubicBezTo>
                  <a:pt x="136162" y="423068"/>
                  <a:pt x="140154" y="423068"/>
                  <a:pt x="140154" y="423068"/>
                </a:cubicBezTo>
                <a:cubicBezTo>
                  <a:pt x="140154" y="423068"/>
                  <a:pt x="146141" y="421084"/>
                  <a:pt x="148137" y="421084"/>
                </a:cubicBezTo>
                <a:cubicBezTo>
                  <a:pt x="150132" y="419099"/>
                  <a:pt x="154124" y="417115"/>
                  <a:pt x="154124" y="417115"/>
                </a:cubicBezTo>
                <a:cubicBezTo>
                  <a:pt x="154124" y="417115"/>
                  <a:pt x="154124" y="411162"/>
                  <a:pt x="158115" y="411162"/>
                </a:cubicBezTo>
                <a:close/>
                <a:moveTo>
                  <a:pt x="246281" y="394949"/>
                </a:moveTo>
                <a:cubicBezTo>
                  <a:pt x="248974" y="395199"/>
                  <a:pt x="250932" y="395699"/>
                  <a:pt x="250932" y="395699"/>
                </a:cubicBezTo>
                <a:cubicBezTo>
                  <a:pt x="250932" y="395699"/>
                  <a:pt x="258763" y="395699"/>
                  <a:pt x="258763" y="399697"/>
                </a:cubicBezTo>
                <a:cubicBezTo>
                  <a:pt x="258763" y="401696"/>
                  <a:pt x="256805" y="405694"/>
                  <a:pt x="256805" y="409692"/>
                </a:cubicBezTo>
                <a:cubicBezTo>
                  <a:pt x="256805" y="413691"/>
                  <a:pt x="258763" y="415690"/>
                  <a:pt x="252889" y="417689"/>
                </a:cubicBezTo>
                <a:cubicBezTo>
                  <a:pt x="248974" y="417689"/>
                  <a:pt x="245058" y="419688"/>
                  <a:pt x="243100" y="421687"/>
                </a:cubicBezTo>
                <a:cubicBezTo>
                  <a:pt x="241142" y="421687"/>
                  <a:pt x="237226" y="427684"/>
                  <a:pt x="233310" y="427684"/>
                </a:cubicBezTo>
                <a:cubicBezTo>
                  <a:pt x="231352" y="429683"/>
                  <a:pt x="227436" y="429683"/>
                  <a:pt x="227436" y="433681"/>
                </a:cubicBezTo>
                <a:cubicBezTo>
                  <a:pt x="227436" y="435680"/>
                  <a:pt x="227436" y="443677"/>
                  <a:pt x="227436" y="443677"/>
                </a:cubicBezTo>
                <a:cubicBezTo>
                  <a:pt x="227436" y="443677"/>
                  <a:pt x="227436" y="447675"/>
                  <a:pt x="225478" y="447675"/>
                </a:cubicBezTo>
                <a:cubicBezTo>
                  <a:pt x="221563" y="447675"/>
                  <a:pt x="221563" y="445676"/>
                  <a:pt x="221563" y="445676"/>
                </a:cubicBezTo>
                <a:cubicBezTo>
                  <a:pt x="221563" y="445676"/>
                  <a:pt x="221563" y="441678"/>
                  <a:pt x="217647" y="441678"/>
                </a:cubicBezTo>
                <a:cubicBezTo>
                  <a:pt x="215689" y="441678"/>
                  <a:pt x="211773" y="441678"/>
                  <a:pt x="211773" y="441678"/>
                </a:cubicBezTo>
                <a:cubicBezTo>
                  <a:pt x="211773" y="441678"/>
                  <a:pt x="207857" y="439679"/>
                  <a:pt x="207857" y="437680"/>
                </a:cubicBezTo>
                <a:cubicBezTo>
                  <a:pt x="207857" y="433681"/>
                  <a:pt x="209815" y="433681"/>
                  <a:pt x="209815" y="429683"/>
                </a:cubicBezTo>
                <a:cubicBezTo>
                  <a:pt x="207857" y="425685"/>
                  <a:pt x="203941" y="423686"/>
                  <a:pt x="203941" y="423686"/>
                </a:cubicBezTo>
                <a:cubicBezTo>
                  <a:pt x="203941" y="423686"/>
                  <a:pt x="200025" y="421687"/>
                  <a:pt x="203941" y="419688"/>
                </a:cubicBezTo>
                <a:cubicBezTo>
                  <a:pt x="207857" y="415690"/>
                  <a:pt x="211773" y="413691"/>
                  <a:pt x="211773" y="413691"/>
                </a:cubicBezTo>
                <a:cubicBezTo>
                  <a:pt x="211773" y="413691"/>
                  <a:pt x="211773" y="405694"/>
                  <a:pt x="215689" y="405694"/>
                </a:cubicBezTo>
                <a:cubicBezTo>
                  <a:pt x="221563" y="407693"/>
                  <a:pt x="227436" y="411692"/>
                  <a:pt x="229394" y="405694"/>
                </a:cubicBezTo>
                <a:cubicBezTo>
                  <a:pt x="233310" y="401696"/>
                  <a:pt x="231352" y="397698"/>
                  <a:pt x="237226" y="395699"/>
                </a:cubicBezTo>
                <a:cubicBezTo>
                  <a:pt x="240163" y="394699"/>
                  <a:pt x="243589" y="394699"/>
                  <a:pt x="246281" y="394949"/>
                </a:cubicBezTo>
                <a:close/>
                <a:moveTo>
                  <a:pt x="209551" y="331787"/>
                </a:moveTo>
                <a:cubicBezTo>
                  <a:pt x="209551" y="331787"/>
                  <a:pt x="212726" y="331787"/>
                  <a:pt x="211139" y="335755"/>
                </a:cubicBezTo>
                <a:cubicBezTo>
                  <a:pt x="209551" y="339724"/>
                  <a:pt x="207963" y="335755"/>
                  <a:pt x="207963" y="333771"/>
                </a:cubicBezTo>
                <a:cubicBezTo>
                  <a:pt x="207963" y="331787"/>
                  <a:pt x="209551" y="331787"/>
                  <a:pt x="209551" y="331787"/>
                </a:cubicBezTo>
                <a:close/>
                <a:moveTo>
                  <a:pt x="213123" y="324167"/>
                </a:moveTo>
                <a:cubicBezTo>
                  <a:pt x="215107" y="322262"/>
                  <a:pt x="219076" y="324167"/>
                  <a:pt x="219076" y="327977"/>
                </a:cubicBezTo>
                <a:cubicBezTo>
                  <a:pt x="219076" y="329882"/>
                  <a:pt x="215107" y="331787"/>
                  <a:pt x="213123" y="329882"/>
                </a:cubicBezTo>
                <a:cubicBezTo>
                  <a:pt x="211138" y="327977"/>
                  <a:pt x="213123" y="324167"/>
                  <a:pt x="213123" y="324167"/>
                </a:cubicBezTo>
                <a:close/>
                <a:moveTo>
                  <a:pt x="334567" y="259001"/>
                </a:moveTo>
                <a:cubicBezTo>
                  <a:pt x="335559" y="260667"/>
                  <a:pt x="336551" y="263525"/>
                  <a:pt x="336551" y="265430"/>
                </a:cubicBezTo>
                <a:cubicBezTo>
                  <a:pt x="336551" y="269240"/>
                  <a:pt x="332582" y="273050"/>
                  <a:pt x="330598" y="267335"/>
                </a:cubicBezTo>
                <a:cubicBezTo>
                  <a:pt x="328613" y="263525"/>
                  <a:pt x="332582" y="259715"/>
                  <a:pt x="332582" y="259715"/>
                </a:cubicBezTo>
                <a:cubicBezTo>
                  <a:pt x="332582" y="256857"/>
                  <a:pt x="333575" y="257334"/>
                  <a:pt x="334567" y="259001"/>
                </a:cubicBezTo>
                <a:close/>
                <a:moveTo>
                  <a:pt x="373584" y="141701"/>
                </a:moveTo>
                <a:cubicBezTo>
                  <a:pt x="377578" y="143702"/>
                  <a:pt x="379574" y="141701"/>
                  <a:pt x="379574" y="141701"/>
                </a:cubicBezTo>
                <a:cubicBezTo>
                  <a:pt x="379574" y="141701"/>
                  <a:pt x="383568" y="141701"/>
                  <a:pt x="385565" y="141701"/>
                </a:cubicBezTo>
                <a:cubicBezTo>
                  <a:pt x="385565" y="141701"/>
                  <a:pt x="387562" y="143702"/>
                  <a:pt x="387562" y="143702"/>
                </a:cubicBezTo>
                <a:cubicBezTo>
                  <a:pt x="387562" y="145703"/>
                  <a:pt x="389558" y="147704"/>
                  <a:pt x="389558" y="147704"/>
                </a:cubicBezTo>
                <a:cubicBezTo>
                  <a:pt x="389558" y="147704"/>
                  <a:pt x="389558" y="151707"/>
                  <a:pt x="389558" y="153708"/>
                </a:cubicBezTo>
                <a:cubicBezTo>
                  <a:pt x="385565" y="153708"/>
                  <a:pt x="385565" y="155709"/>
                  <a:pt x="385565" y="155709"/>
                </a:cubicBezTo>
                <a:cubicBezTo>
                  <a:pt x="385565" y="155709"/>
                  <a:pt x="389558" y="163714"/>
                  <a:pt x="389558" y="165715"/>
                </a:cubicBezTo>
                <a:cubicBezTo>
                  <a:pt x="391555" y="167716"/>
                  <a:pt x="397545" y="173719"/>
                  <a:pt x="397545" y="175720"/>
                </a:cubicBezTo>
                <a:cubicBezTo>
                  <a:pt x="397545" y="179723"/>
                  <a:pt x="399542" y="179723"/>
                  <a:pt x="401539" y="179723"/>
                </a:cubicBezTo>
                <a:cubicBezTo>
                  <a:pt x="403536" y="181724"/>
                  <a:pt x="403536" y="183725"/>
                  <a:pt x="403536" y="183725"/>
                </a:cubicBezTo>
                <a:cubicBezTo>
                  <a:pt x="401539" y="185726"/>
                  <a:pt x="403536" y="187727"/>
                  <a:pt x="403536" y="187727"/>
                </a:cubicBezTo>
                <a:cubicBezTo>
                  <a:pt x="403536" y="187727"/>
                  <a:pt x="401539" y="191730"/>
                  <a:pt x="403536" y="195732"/>
                </a:cubicBezTo>
                <a:cubicBezTo>
                  <a:pt x="405533" y="199734"/>
                  <a:pt x="411523" y="199734"/>
                  <a:pt x="411523" y="203736"/>
                </a:cubicBezTo>
                <a:cubicBezTo>
                  <a:pt x="411523" y="205738"/>
                  <a:pt x="411523" y="209740"/>
                  <a:pt x="411523" y="209740"/>
                </a:cubicBezTo>
                <a:cubicBezTo>
                  <a:pt x="411523" y="209740"/>
                  <a:pt x="409526" y="213742"/>
                  <a:pt x="411523" y="213742"/>
                </a:cubicBezTo>
                <a:cubicBezTo>
                  <a:pt x="413520" y="215743"/>
                  <a:pt x="415516" y="215743"/>
                  <a:pt x="413520" y="217744"/>
                </a:cubicBezTo>
                <a:cubicBezTo>
                  <a:pt x="413520" y="219746"/>
                  <a:pt x="415516" y="221747"/>
                  <a:pt x="417513" y="221747"/>
                </a:cubicBezTo>
                <a:cubicBezTo>
                  <a:pt x="417513" y="221747"/>
                  <a:pt x="417513" y="223748"/>
                  <a:pt x="415516" y="225749"/>
                </a:cubicBezTo>
                <a:cubicBezTo>
                  <a:pt x="415516" y="225749"/>
                  <a:pt x="415516" y="229751"/>
                  <a:pt x="413520" y="231752"/>
                </a:cubicBezTo>
                <a:cubicBezTo>
                  <a:pt x="411523" y="233753"/>
                  <a:pt x="409526" y="233753"/>
                  <a:pt x="409526" y="237756"/>
                </a:cubicBezTo>
                <a:cubicBezTo>
                  <a:pt x="409526" y="239757"/>
                  <a:pt x="409526" y="243759"/>
                  <a:pt x="409526" y="243759"/>
                </a:cubicBezTo>
                <a:cubicBezTo>
                  <a:pt x="409526" y="243759"/>
                  <a:pt x="411523" y="247761"/>
                  <a:pt x="407529" y="245760"/>
                </a:cubicBezTo>
                <a:cubicBezTo>
                  <a:pt x="403536" y="243759"/>
                  <a:pt x="399542" y="241758"/>
                  <a:pt x="399542" y="245760"/>
                </a:cubicBezTo>
                <a:cubicBezTo>
                  <a:pt x="399542" y="249763"/>
                  <a:pt x="401539" y="251764"/>
                  <a:pt x="399542" y="253765"/>
                </a:cubicBezTo>
                <a:cubicBezTo>
                  <a:pt x="397545" y="255766"/>
                  <a:pt x="395549" y="261769"/>
                  <a:pt x="395549" y="267773"/>
                </a:cubicBezTo>
                <a:cubicBezTo>
                  <a:pt x="397545" y="271775"/>
                  <a:pt x="397545" y="275777"/>
                  <a:pt x="397545" y="277779"/>
                </a:cubicBezTo>
                <a:cubicBezTo>
                  <a:pt x="399542" y="279780"/>
                  <a:pt x="403536" y="283782"/>
                  <a:pt x="403536" y="289785"/>
                </a:cubicBezTo>
                <a:cubicBezTo>
                  <a:pt x="403536" y="295789"/>
                  <a:pt x="401539" y="295789"/>
                  <a:pt x="401539" y="299791"/>
                </a:cubicBezTo>
                <a:cubicBezTo>
                  <a:pt x="403536" y="303793"/>
                  <a:pt x="403536" y="309797"/>
                  <a:pt x="401539" y="311798"/>
                </a:cubicBezTo>
                <a:cubicBezTo>
                  <a:pt x="397545" y="313799"/>
                  <a:pt x="397545" y="321804"/>
                  <a:pt x="397545" y="321804"/>
                </a:cubicBezTo>
                <a:cubicBezTo>
                  <a:pt x="397545" y="321804"/>
                  <a:pt x="399542" y="337813"/>
                  <a:pt x="403536" y="339814"/>
                </a:cubicBezTo>
                <a:cubicBezTo>
                  <a:pt x="405533" y="339814"/>
                  <a:pt x="407529" y="343816"/>
                  <a:pt x="405533" y="347819"/>
                </a:cubicBezTo>
                <a:cubicBezTo>
                  <a:pt x="403536" y="353822"/>
                  <a:pt x="407529" y="357824"/>
                  <a:pt x="401539" y="361827"/>
                </a:cubicBezTo>
                <a:cubicBezTo>
                  <a:pt x="397545" y="365829"/>
                  <a:pt x="393552" y="369831"/>
                  <a:pt x="389558" y="371832"/>
                </a:cubicBezTo>
                <a:cubicBezTo>
                  <a:pt x="385565" y="371832"/>
                  <a:pt x="385565" y="371832"/>
                  <a:pt x="385565" y="371832"/>
                </a:cubicBezTo>
                <a:cubicBezTo>
                  <a:pt x="385565" y="371832"/>
                  <a:pt x="385565" y="365829"/>
                  <a:pt x="385565" y="363828"/>
                </a:cubicBezTo>
                <a:cubicBezTo>
                  <a:pt x="385565" y="361827"/>
                  <a:pt x="381571" y="357824"/>
                  <a:pt x="383568" y="355823"/>
                </a:cubicBezTo>
                <a:cubicBezTo>
                  <a:pt x="385565" y="351821"/>
                  <a:pt x="389558" y="351821"/>
                  <a:pt x="385565" y="349820"/>
                </a:cubicBezTo>
                <a:cubicBezTo>
                  <a:pt x="383568" y="345817"/>
                  <a:pt x="377578" y="343816"/>
                  <a:pt x="377578" y="347819"/>
                </a:cubicBezTo>
                <a:cubicBezTo>
                  <a:pt x="377578" y="353822"/>
                  <a:pt x="375581" y="359825"/>
                  <a:pt x="373584" y="363828"/>
                </a:cubicBezTo>
                <a:cubicBezTo>
                  <a:pt x="371587" y="367830"/>
                  <a:pt x="369590" y="371832"/>
                  <a:pt x="369590" y="375834"/>
                </a:cubicBezTo>
                <a:cubicBezTo>
                  <a:pt x="369590" y="381838"/>
                  <a:pt x="369590" y="383839"/>
                  <a:pt x="365597" y="381838"/>
                </a:cubicBezTo>
                <a:cubicBezTo>
                  <a:pt x="359607" y="381838"/>
                  <a:pt x="359607" y="377836"/>
                  <a:pt x="359607" y="377836"/>
                </a:cubicBezTo>
                <a:cubicBezTo>
                  <a:pt x="357610" y="375834"/>
                  <a:pt x="359607" y="369831"/>
                  <a:pt x="359607" y="367830"/>
                </a:cubicBezTo>
                <a:cubicBezTo>
                  <a:pt x="357610" y="367830"/>
                  <a:pt x="355613" y="369831"/>
                  <a:pt x="353616" y="373833"/>
                </a:cubicBezTo>
                <a:cubicBezTo>
                  <a:pt x="351619" y="375834"/>
                  <a:pt x="347626" y="383839"/>
                  <a:pt x="345629" y="383839"/>
                </a:cubicBezTo>
                <a:cubicBezTo>
                  <a:pt x="341636" y="381838"/>
                  <a:pt x="341636" y="381838"/>
                  <a:pt x="337642" y="381838"/>
                </a:cubicBezTo>
                <a:cubicBezTo>
                  <a:pt x="335645" y="381838"/>
                  <a:pt x="331652" y="381838"/>
                  <a:pt x="331652" y="381838"/>
                </a:cubicBezTo>
                <a:cubicBezTo>
                  <a:pt x="331652" y="381838"/>
                  <a:pt x="331652" y="379837"/>
                  <a:pt x="327658" y="381838"/>
                </a:cubicBezTo>
                <a:cubicBezTo>
                  <a:pt x="325661" y="385840"/>
                  <a:pt x="319671" y="381838"/>
                  <a:pt x="319671" y="381838"/>
                </a:cubicBezTo>
                <a:cubicBezTo>
                  <a:pt x="319671" y="381838"/>
                  <a:pt x="319671" y="377836"/>
                  <a:pt x="317674" y="377836"/>
                </a:cubicBezTo>
                <a:cubicBezTo>
                  <a:pt x="313681" y="377836"/>
                  <a:pt x="313681" y="377836"/>
                  <a:pt x="311684" y="373833"/>
                </a:cubicBezTo>
                <a:cubicBezTo>
                  <a:pt x="311684" y="369831"/>
                  <a:pt x="311684" y="367830"/>
                  <a:pt x="307690" y="367830"/>
                </a:cubicBezTo>
                <a:cubicBezTo>
                  <a:pt x="305693" y="367830"/>
                  <a:pt x="305693" y="375834"/>
                  <a:pt x="305693" y="375834"/>
                </a:cubicBezTo>
                <a:cubicBezTo>
                  <a:pt x="305693" y="375834"/>
                  <a:pt x="307690" y="379837"/>
                  <a:pt x="309687" y="381838"/>
                </a:cubicBezTo>
                <a:cubicBezTo>
                  <a:pt x="309687" y="385840"/>
                  <a:pt x="311684" y="383839"/>
                  <a:pt x="311684" y="389842"/>
                </a:cubicBezTo>
                <a:cubicBezTo>
                  <a:pt x="313681" y="395846"/>
                  <a:pt x="311684" y="397847"/>
                  <a:pt x="309687" y="397847"/>
                </a:cubicBezTo>
                <a:cubicBezTo>
                  <a:pt x="305693" y="397847"/>
                  <a:pt x="301700" y="395846"/>
                  <a:pt x="299703" y="401849"/>
                </a:cubicBezTo>
                <a:cubicBezTo>
                  <a:pt x="297706" y="405852"/>
                  <a:pt x="291716" y="423862"/>
                  <a:pt x="287722" y="423862"/>
                </a:cubicBezTo>
                <a:cubicBezTo>
                  <a:pt x="283729" y="421861"/>
                  <a:pt x="281732" y="419860"/>
                  <a:pt x="279735" y="415857"/>
                </a:cubicBezTo>
                <a:cubicBezTo>
                  <a:pt x="279735" y="413856"/>
                  <a:pt x="275742" y="415857"/>
                  <a:pt x="275742" y="409854"/>
                </a:cubicBezTo>
                <a:cubicBezTo>
                  <a:pt x="275742" y="403850"/>
                  <a:pt x="275742" y="397847"/>
                  <a:pt x="275742" y="395846"/>
                </a:cubicBezTo>
                <a:cubicBezTo>
                  <a:pt x="275742" y="393845"/>
                  <a:pt x="273745" y="391844"/>
                  <a:pt x="275742" y="389842"/>
                </a:cubicBezTo>
                <a:cubicBezTo>
                  <a:pt x="277739" y="387841"/>
                  <a:pt x="277739" y="379837"/>
                  <a:pt x="275742" y="379837"/>
                </a:cubicBezTo>
                <a:cubicBezTo>
                  <a:pt x="271748" y="379837"/>
                  <a:pt x="251780" y="379837"/>
                  <a:pt x="247787" y="381838"/>
                </a:cubicBezTo>
                <a:cubicBezTo>
                  <a:pt x="241796" y="383839"/>
                  <a:pt x="233809" y="387841"/>
                  <a:pt x="233809" y="387841"/>
                </a:cubicBezTo>
                <a:cubicBezTo>
                  <a:pt x="233809" y="387841"/>
                  <a:pt x="219832" y="391844"/>
                  <a:pt x="215838" y="393845"/>
                </a:cubicBezTo>
                <a:cubicBezTo>
                  <a:pt x="209848" y="395846"/>
                  <a:pt x="209848" y="395846"/>
                  <a:pt x="205854" y="395846"/>
                </a:cubicBezTo>
                <a:cubicBezTo>
                  <a:pt x="201861" y="395846"/>
                  <a:pt x="197867" y="401849"/>
                  <a:pt x="197867" y="403850"/>
                </a:cubicBezTo>
                <a:cubicBezTo>
                  <a:pt x="197867" y="405852"/>
                  <a:pt x="197867" y="407853"/>
                  <a:pt x="195871" y="407853"/>
                </a:cubicBezTo>
                <a:cubicBezTo>
                  <a:pt x="191877" y="407853"/>
                  <a:pt x="187883" y="407853"/>
                  <a:pt x="187883" y="407853"/>
                </a:cubicBezTo>
                <a:cubicBezTo>
                  <a:pt x="187883" y="405852"/>
                  <a:pt x="189880" y="403850"/>
                  <a:pt x="187883" y="403850"/>
                </a:cubicBezTo>
                <a:cubicBezTo>
                  <a:pt x="183890" y="403850"/>
                  <a:pt x="181893" y="407853"/>
                  <a:pt x="179896" y="407853"/>
                </a:cubicBezTo>
                <a:cubicBezTo>
                  <a:pt x="175903" y="405852"/>
                  <a:pt x="177899" y="403850"/>
                  <a:pt x="171909" y="405852"/>
                </a:cubicBezTo>
                <a:cubicBezTo>
                  <a:pt x="167916" y="405852"/>
                  <a:pt x="165919" y="407853"/>
                  <a:pt x="163922" y="403850"/>
                </a:cubicBezTo>
                <a:cubicBezTo>
                  <a:pt x="161925" y="401849"/>
                  <a:pt x="161925" y="395846"/>
                  <a:pt x="163922" y="393845"/>
                </a:cubicBezTo>
                <a:cubicBezTo>
                  <a:pt x="165919" y="391844"/>
                  <a:pt x="169912" y="393845"/>
                  <a:pt x="169912" y="393845"/>
                </a:cubicBezTo>
                <a:cubicBezTo>
                  <a:pt x="169912" y="393845"/>
                  <a:pt x="173906" y="393845"/>
                  <a:pt x="173906" y="391844"/>
                </a:cubicBezTo>
                <a:cubicBezTo>
                  <a:pt x="175903" y="387841"/>
                  <a:pt x="175903" y="381838"/>
                  <a:pt x="179896" y="379837"/>
                </a:cubicBezTo>
                <a:cubicBezTo>
                  <a:pt x="183890" y="375834"/>
                  <a:pt x="187883" y="373833"/>
                  <a:pt x="189880" y="369831"/>
                </a:cubicBezTo>
                <a:cubicBezTo>
                  <a:pt x="191877" y="367830"/>
                  <a:pt x="191877" y="363828"/>
                  <a:pt x="195871" y="361827"/>
                </a:cubicBezTo>
                <a:cubicBezTo>
                  <a:pt x="199864" y="361827"/>
                  <a:pt x="193874" y="357824"/>
                  <a:pt x="199864" y="353822"/>
                </a:cubicBezTo>
                <a:cubicBezTo>
                  <a:pt x="203858" y="347819"/>
                  <a:pt x="211845" y="345817"/>
                  <a:pt x="213842" y="347819"/>
                </a:cubicBezTo>
                <a:cubicBezTo>
                  <a:pt x="215838" y="349820"/>
                  <a:pt x="215838" y="353822"/>
                  <a:pt x="217835" y="353822"/>
                </a:cubicBezTo>
                <a:cubicBezTo>
                  <a:pt x="219832" y="351821"/>
                  <a:pt x="223825" y="347819"/>
                  <a:pt x="225822" y="351821"/>
                </a:cubicBezTo>
                <a:cubicBezTo>
                  <a:pt x="229816" y="353822"/>
                  <a:pt x="239800" y="347819"/>
                  <a:pt x="239800" y="347819"/>
                </a:cubicBezTo>
                <a:cubicBezTo>
                  <a:pt x="239800" y="347819"/>
                  <a:pt x="241796" y="345817"/>
                  <a:pt x="247787" y="345817"/>
                </a:cubicBezTo>
                <a:cubicBezTo>
                  <a:pt x="253777" y="345817"/>
                  <a:pt x="259768" y="345817"/>
                  <a:pt x="261764" y="347819"/>
                </a:cubicBezTo>
                <a:cubicBezTo>
                  <a:pt x="263761" y="349820"/>
                  <a:pt x="265758" y="349820"/>
                  <a:pt x="267755" y="349820"/>
                </a:cubicBezTo>
                <a:cubicBezTo>
                  <a:pt x="269751" y="347819"/>
                  <a:pt x="271748" y="345817"/>
                  <a:pt x="273745" y="345817"/>
                </a:cubicBezTo>
                <a:cubicBezTo>
                  <a:pt x="277739" y="345817"/>
                  <a:pt x="283729" y="345817"/>
                  <a:pt x="285726" y="345817"/>
                </a:cubicBezTo>
                <a:cubicBezTo>
                  <a:pt x="287722" y="343816"/>
                  <a:pt x="287722" y="341815"/>
                  <a:pt x="285726" y="339814"/>
                </a:cubicBezTo>
                <a:cubicBezTo>
                  <a:pt x="283729" y="339814"/>
                  <a:pt x="283729" y="335812"/>
                  <a:pt x="285726" y="329808"/>
                </a:cubicBezTo>
                <a:cubicBezTo>
                  <a:pt x="287722" y="323805"/>
                  <a:pt x="289719" y="321804"/>
                  <a:pt x="293713" y="319803"/>
                </a:cubicBezTo>
                <a:cubicBezTo>
                  <a:pt x="295710" y="315800"/>
                  <a:pt x="295710" y="307796"/>
                  <a:pt x="295710" y="305795"/>
                </a:cubicBezTo>
                <a:cubicBezTo>
                  <a:pt x="295710" y="303793"/>
                  <a:pt x="295710" y="287784"/>
                  <a:pt x="295710" y="287784"/>
                </a:cubicBezTo>
                <a:cubicBezTo>
                  <a:pt x="301700" y="285783"/>
                  <a:pt x="301700" y="285783"/>
                  <a:pt x="301700" y="285783"/>
                </a:cubicBezTo>
                <a:cubicBezTo>
                  <a:pt x="301700" y="285783"/>
                  <a:pt x="307690" y="283782"/>
                  <a:pt x="307690" y="285783"/>
                </a:cubicBezTo>
                <a:cubicBezTo>
                  <a:pt x="307690" y="287784"/>
                  <a:pt x="305693" y="289785"/>
                  <a:pt x="303697" y="289785"/>
                </a:cubicBezTo>
                <a:cubicBezTo>
                  <a:pt x="301700" y="291787"/>
                  <a:pt x="299703" y="293788"/>
                  <a:pt x="301700" y="293788"/>
                </a:cubicBezTo>
                <a:cubicBezTo>
                  <a:pt x="301700" y="297790"/>
                  <a:pt x="305693" y="299791"/>
                  <a:pt x="305693" y="301792"/>
                </a:cubicBezTo>
                <a:cubicBezTo>
                  <a:pt x="305693" y="305795"/>
                  <a:pt x="305693" y="307796"/>
                  <a:pt x="307690" y="307796"/>
                </a:cubicBezTo>
                <a:cubicBezTo>
                  <a:pt x="309687" y="307796"/>
                  <a:pt x="313681" y="305795"/>
                  <a:pt x="313681" y="303793"/>
                </a:cubicBezTo>
                <a:cubicBezTo>
                  <a:pt x="313681" y="301792"/>
                  <a:pt x="319671" y="299791"/>
                  <a:pt x="319671" y="299791"/>
                </a:cubicBezTo>
                <a:cubicBezTo>
                  <a:pt x="319671" y="299791"/>
                  <a:pt x="325661" y="297790"/>
                  <a:pt x="327658" y="295789"/>
                </a:cubicBezTo>
                <a:cubicBezTo>
                  <a:pt x="331652" y="293788"/>
                  <a:pt x="331652" y="291787"/>
                  <a:pt x="335645" y="291787"/>
                </a:cubicBezTo>
                <a:cubicBezTo>
                  <a:pt x="337642" y="289785"/>
                  <a:pt x="341636" y="285783"/>
                  <a:pt x="341636" y="281781"/>
                </a:cubicBezTo>
                <a:cubicBezTo>
                  <a:pt x="341636" y="275777"/>
                  <a:pt x="343632" y="269774"/>
                  <a:pt x="347626" y="269774"/>
                </a:cubicBezTo>
                <a:cubicBezTo>
                  <a:pt x="351619" y="269774"/>
                  <a:pt x="355613" y="265772"/>
                  <a:pt x="355613" y="259768"/>
                </a:cubicBezTo>
                <a:cubicBezTo>
                  <a:pt x="355613" y="255766"/>
                  <a:pt x="353616" y="251764"/>
                  <a:pt x="357610" y="245760"/>
                </a:cubicBezTo>
                <a:cubicBezTo>
                  <a:pt x="359607" y="241758"/>
                  <a:pt x="367594" y="229751"/>
                  <a:pt x="365597" y="225749"/>
                </a:cubicBezTo>
                <a:cubicBezTo>
                  <a:pt x="365597" y="221747"/>
                  <a:pt x="365597" y="211741"/>
                  <a:pt x="363600" y="209740"/>
                </a:cubicBezTo>
                <a:cubicBezTo>
                  <a:pt x="361603" y="207739"/>
                  <a:pt x="359607" y="201735"/>
                  <a:pt x="359607" y="199734"/>
                </a:cubicBezTo>
                <a:cubicBezTo>
                  <a:pt x="361603" y="195732"/>
                  <a:pt x="363600" y="193731"/>
                  <a:pt x="361603" y="191730"/>
                </a:cubicBezTo>
                <a:cubicBezTo>
                  <a:pt x="359607" y="191730"/>
                  <a:pt x="355613" y="191730"/>
                  <a:pt x="357610" y="187727"/>
                </a:cubicBezTo>
                <a:cubicBezTo>
                  <a:pt x="357610" y="185726"/>
                  <a:pt x="359607" y="181724"/>
                  <a:pt x="355613" y="179723"/>
                </a:cubicBezTo>
                <a:cubicBezTo>
                  <a:pt x="355613" y="175720"/>
                  <a:pt x="355613" y="173719"/>
                  <a:pt x="351619" y="171718"/>
                </a:cubicBezTo>
                <a:cubicBezTo>
                  <a:pt x="349623" y="169717"/>
                  <a:pt x="349623" y="165715"/>
                  <a:pt x="353616" y="165715"/>
                </a:cubicBezTo>
                <a:cubicBezTo>
                  <a:pt x="355613" y="165715"/>
                  <a:pt x="359607" y="163714"/>
                  <a:pt x="359607" y="161712"/>
                </a:cubicBezTo>
                <a:cubicBezTo>
                  <a:pt x="359607" y="159711"/>
                  <a:pt x="355613" y="157710"/>
                  <a:pt x="357610" y="153708"/>
                </a:cubicBezTo>
                <a:cubicBezTo>
                  <a:pt x="359607" y="149706"/>
                  <a:pt x="365597" y="149706"/>
                  <a:pt x="365597" y="151707"/>
                </a:cubicBezTo>
                <a:cubicBezTo>
                  <a:pt x="365597" y="153708"/>
                  <a:pt x="367594" y="153708"/>
                  <a:pt x="367594" y="157710"/>
                </a:cubicBezTo>
                <a:cubicBezTo>
                  <a:pt x="367594" y="159711"/>
                  <a:pt x="367594" y="161712"/>
                  <a:pt x="369590" y="161712"/>
                </a:cubicBezTo>
                <a:cubicBezTo>
                  <a:pt x="369590" y="161712"/>
                  <a:pt x="377578" y="163714"/>
                  <a:pt x="379574" y="161712"/>
                </a:cubicBezTo>
                <a:cubicBezTo>
                  <a:pt x="381571" y="159711"/>
                  <a:pt x="381571" y="159711"/>
                  <a:pt x="381571" y="155709"/>
                </a:cubicBezTo>
                <a:cubicBezTo>
                  <a:pt x="383568" y="153708"/>
                  <a:pt x="383568" y="151707"/>
                  <a:pt x="383568" y="149706"/>
                </a:cubicBezTo>
                <a:cubicBezTo>
                  <a:pt x="383568" y="147704"/>
                  <a:pt x="381571" y="145703"/>
                  <a:pt x="379574" y="147704"/>
                </a:cubicBezTo>
                <a:cubicBezTo>
                  <a:pt x="377578" y="149706"/>
                  <a:pt x="373584" y="151707"/>
                  <a:pt x="371587" y="149706"/>
                </a:cubicBezTo>
                <a:cubicBezTo>
                  <a:pt x="371587" y="149706"/>
                  <a:pt x="369590" y="147704"/>
                  <a:pt x="369590" y="145703"/>
                </a:cubicBezTo>
                <a:cubicBezTo>
                  <a:pt x="369590" y="141701"/>
                  <a:pt x="371587" y="139700"/>
                  <a:pt x="373584" y="141701"/>
                </a:cubicBezTo>
                <a:close/>
                <a:moveTo>
                  <a:pt x="360972" y="0"/>
                </a:moveTo>
                <a:cubicBezTo>
                  <a:pt x="360972" y="0"/>
                  <a:pt x="364974" y="0"/>
                  <a:pt x="364974" y="2006"/>
                </a:cubicBezTo>
                <a:cubicBezTo>
                  <a:pt x="366974" y="6019"/>
                  <a:pt x="366974" y="8026"/>
                  <a:pt x="370976" y="10032"/>
                </a:cubicBezTo>
                <a:cubicBezTo>
                  <a:pt x="372976" y="14045"/>
                  <a:pt x="378978" y="18058"/>
                  <a:pt x="378978" y="18058"/>
                </a:cubicBezTo>
                <a:cubicBezTo>
                  <a:pt x="388982" y="26083"/>
                  <a:pt x="388982" y="26083"/>
                  <a:pt x="388982" y="26083"/>
                </a:cubicBezTo>
                <a:cubicBezTo>
                  <a:pt x="396984" y="30096"/>
                  <a:pt x="396984" y="30096"/>
                  <a:pt x="396984" y="30096"/>
                </a:cubicBezTo>
                <a:cubicBezTo>
                  <a:pt x="396984" y="30096"/>
                  <a:pt x="402987" y="36115"/>
                  <a:pt x="402987" y="38122"/>
                </a:cubicBezTo>
                <a:cubicBezTo>
                  <a:pt x="402987" y="40128"/>
                  <a:pt x="408989" y="44141"/>
                  <a:pt x="410989" y="44141"/>
                </a:cubicBezTo>
                <a:cubicBezTo>
                  <a:pt x="414991" y="46147"/>
                  <a:pt x="424994" y="46147"/>
                  <a:pt x="426995" y="48154"/>
                </a:cubicBezTo>
                <a:cubicBezTo>
                  <a:pt x="430996" y="52167"/>
                  <a:pt x="445001" y="54173"/>
                  <a:pt x="447002" y="52167"/>
                </a:cubicBezTo>
                <a:cubicBezTo>
                  <a:pt x="451003" y="52167"/>
                  <a:pt x="453004" y="46147"/>
                  <a:pt x="453004" y="46147"/>
                </a:cubicBezTo>
                <a:cubicBezTo>
                  <a:pt x="453004" y="44141"/>
                  <a:pt x="453004" y="42135"/>
                  <a:pt x="457005" y="42135"/>
                </a:cubicBezTo>
                <a:cubicBezTo>
                  <a:pt x="459006" y="42135"/>
                  <a:pt x="457005" y="50160"/>
                  <a:pt x="457005" y="50160"/>
                </a:cubicBezTo>
                <a:cubicBezTo>
                  <a:pt x="457005" y="50160"/>
                  <a:pt x="453004" y="58186"/>
                  <a:pt x="457005" y="64205"/>
                </a:cubicBezTo>
                <a:cubicBezTo>
                  <a:pt x="463007" y="70224"/>
                  <a:pt x="465008" y="70224"/>
                  <a:pt x="465008" y="74237"/>
                </a:cubicBezTo>
                <a:cubicBezTo>
                  <a:pt x="465008" y="78250"/>
                  <a:pt x="467008" y="76244"/>
                  <a:pt x="469009" y="74237"/>
                </a:cubicBezTo>
                <a:cubicBezTo>
                  <a:pt x="473011" y="72231"/>
                  <a:pt x="475011" y="70224"/>
                  <a:pt x="479013" y="72231"/>
                </a:cubicBezTo>
                <a:cubicBezTo>
                  <a:pt x="481013" y="74237"/>
                  <a:pt x="477012" y="76244"/>
                  <a:pt x="475011" y="76244"/>
                </a:cubicBezTo>
                <a:cubicBezTo>
                  <a:pt x="473011" y="78250"/>
                  <a:pt x="469009" y="78250"/>
                  <a:pt x="467008" y="82263"/>
                </a:cubicBezTo>
                <a:cubicBezTo>
                  <a:pt x="465008" y="86276"/>
                  <a:pt x="463007" y="90289"/>
                  <a:pt x="457005" y="92295"/>
                </a:cubicBezTo>
                <a:cubicBezTo>
                  <a:pt x="453004" y="94301"/>
                  <a:pt x="441000" y="90289"/>
                  <a:pt x="441000" y="90289"/>
                </a:cubicBezTo>
                <a:cubicBezTo>
                  <a:pt x="441000" y="90289"/>
                  <a:pt x="438999" y="88282"/>
                  <a:pt x="434997" y="96308"/>
                </a:cubicBezTo>
                <a:cubicBezTo>
                  <a:pt x="430996" y="102327"/>
                  <a:pt x="428995" y="106340"/>
                  <a:pt x="428995" y="106340"/>
                </a:cubicBezTo>
                <a:cubicBezTo>
                  <a:pt x="424994" y="114366"/>
                  <a:pt x="424994" y="114366"/>
                  <a:pt x="424994" y="114366"/>
                </a:cubicBezTo>
                <a:cubicBezTo>
                  <a:pt x="422993" y="124398"/>
                  <a:pt x="422993" y="124398"/>
                  <a:pt x="422993" y="124398"/>
                </a:cubicBezTo>
                <a:cubicBezTo>
                  <a:pt x="416991" y="124398"/>
                  <a:pt x="416991" y="124398"/>
                  <a:pt x="416991" y="124398"/>
                </a:cubicBezTo>
                <a:cubicBezTo>
                  <a:pt x="416991" y="124398"/>
                  <a:pt x="412990" y="122391"/>
                  <a:pt x="410989" y="122391"/>
                </a:cubicBezTo>
                <a:cubicBezTo>
                  <a:pt x="410989" y="122391"/>
                  <a:pt x="404987" y="118378"/>
                  <a:pt x="402987" y="116372"/>
                </a:cubicBezTo>
                <a:cubicBezTo>
                  <a:pt x="400986" y="114366"/>
                  <a:pt x="398985" y="112359"/>
                  <a:pt x="398985" y="110353"/>
                </a:cubicBezTo>
                <a:cubicBezTo>
                  <a:pt x="396984" y="108346"/>
                  <a:pt x="396984" y="104334"/>
                  <a:pt x="392983" y="104334"/>
                </a:cubicBezTo>
                <a:cubicBezTo>
                  <a:pt x="388982" y="104334"/>
                  <a:pt x="384980" y="100321"/>
                  <a:pt x="380979" y="104334"/>
                </a:cubicBezTo>
                <a:cubicBezTo>
                  <a:pt x="376978" y="106340"/>
                  <a:pt x="374977" y="106340"/>
                  <a:pt x="374977" y="106340"/>
                </a:cubicBezTo>
                <a:cubicBezTo>
                  <a:pt x="366974" y="110353"/>
                  <a:pt x="366974" y="110353"/>
                  <a:pt x="366974" y="110353"/>
                </a:cubicBezTo>
                <a:cubicBezTo>
                  <a:pt x="366974" y="110353"/>
                  <a:pt x="362973" y="112359"/>
                  <a:pt x="360972" y="110353"/>
                </a:cubicBezTo>
                <a:cubicBezTo>
                  <a:pt x="356971" y="108346"/>
                  <a:pt x="354970" y="104334"/>
                  <a:pt x="350969" y="106340"/>
                </a:cubicBezTo>
                <a:cubicBezTo>
                  <a:pt x="346967" y="108346"/>
                  <a:pt x="348968" y="112359"/>
                  <a:pt x="350969" y="114366"/>
                </a:cubicBezTo>
                <a:cubicBezTo>
                  <a:pt x="350969" y="116372"/>
                  <a:pt x="358971" y="120385"/>
                  <a:pt x="360972" y="122391"/>
                </a:cubicBezTo>
                <a:cubicBezTo>
                  <a:pt x="362973" y="124398"/>
                  <a:pt x="372976" y="128411"/>
                  <a:pt x="372976" y="128411"/>
                </a:cubicBezTo>
                <a:cubicBezTo>
                  <a:pt x="372976" y="128411"/>
                  <a:pt x="372976" y="134430"/>
                  <a:pt x="368975" y="132423"/>
                </a:cubicBezTo>
                <a:cubicBezTo>
                  <a:pt x="364974" y="132423"/>
                  <a:pt x="360972" y="130417"/>
                  <a:pt x="360972" y="130417"/>
                </a:cubicBezTo>
                <a:cubicBezTo>
                  <a:pt x="360972" y="130417"/>
                  <a:pt x="354970" y="128411"/>
                  <a:pt x="354970" y="132423"/>
                </a:cubicBezTo>
                <a:cubicBezTo>
                  <a:pt x="354970" y="138443"/>
                  <a:pt x="350969" y="144462"/>
                  <a:pt x="348968" y="142455"/>
                </a:cubicBezTo>
                <a:cubicBezTo>
                  <a:pt x="346967" y="140449"/>
                  <a:pt x="346967" y="138443"/>
                  <a:pt x="346967" y="134430"/>
                </a:cubicBezTo>
                <a:cubicBezTo>
                  <a:pt x="346967" y="130417"/>
                  <a:pt x="346967" y="128411"/>
                  <a:pt x="342966" y="128411"/>
                </a:cubicBezTo>
                <a:cubicBezTo>
                  <a:pt x="338965" y="126404"/>
                  <a:pt x="334963" y="124398"/>
                  <a:pt x="334963" y="116372"/>
                </a:cubicBezTo>
                <a:cubicBezTo>
                  <a:pt x="334963" y="108346"/>
                  <a:pt x="334963" y="104334"/>
                  <a:pt x="338965" y="100321"/>
                </a:cubicBezTo>
                <a:cubicBezTo>
                  <a:pt x="342966" y="98314"/>
                  <a:pt x="338965" y="94301"/>
                  <a:pt x="342966" y="92295"/>
                </a:cubicBezTo>
                <a:cubicBezTo>
                  <a:pt x="346967" y="90289"/>
                  <a:pt x="340965" y="86276"/>
                  <a:pt x="340965" y="86276"/>
                </a:cubicBezTo>
                <a:cubicBezTo>
                  <a:pt x="340965" y="86276"/>
                  <a:pt x="334963" y="84269"/>
                  <a:pt x="336964" y="80257"/>
                </a:cubicBezTo>
                <a:cubicBezTo>
                  <a:pt x="338965" y="76244"/>
                  <a:pt x="344967" y="80257"/>
                  <a:pt x="344967" y="80257"/>
                </a:cubicBezTo>
                <a:cubicBezTo>
                  <a:pt x="344967" y="80257"/>
                  <a:pt x="348968" y="82263"/>
                  <a:pt x="350969" y="82263"/>
                </a:cubicBezTo>
                <a:cubicBezTo>
                  <a:pt x="354970" y="80257"/>
                  <a:pt x="354970" y="80257"/>
                  <a:pt x="356971" y="80257"/>
                </a:cubicBezTo>
                <a:cubicBezTo>
                  <a:pt x="358971" y="82263"/>
                  <a:pt x="362973" y="82263"/>
                  <a:pt x="362973" y="78250"/>
                </a:cubicBezTo>
                <a:cubicBezTo>
                  <a:pt x="360972" y="74237"/>
                  <a:pt x="358971" y="68218"/>
                  <a:pt x="362973" y="64205"/>
                </a:cubicBezTo>
                <a:cubicBezTo>
                  <a:pt x="364974" y="60192"/>
                  <a:pt x="366974" y="58186"/>
                  <a:pt x="366974" y="54173"/>
                </a:cubicBezTo>
                <a:cubicBezTo>
                  <a:pt x="364974" y="50160"/>
                  <a:pt x="364974" y="46147"/>
                  <a:pt x="364974" y="42135"/>
                </a:cubicBezTo>
                <a:cubicBezTo>
                  <a:pt x="366974" y="38122"/>
                  <a:pt x="364974" y="32103"/>
                  <a:pt x="364974" y="32103"/>
                </a:cubicBezTo>
                <a:cubicBezTo>
                  <a:pt x="364974" y="32103"/>
                  <a:pt x="358971" y="28090"/>
                  <a:pt x="358971" y="24077"/>
                </a:cubicBezTo>
                <a:cubicBezTo>
                  <a:pt x="358971" y="20064"/>
                  <a:pt x="354970" y="14045"/>
                  <a:pt x="354970" y="14045"/>
                </a:cubicBezTo>
                <a:cubicBezTo>
                  <a:pt x="354970" y="14045"/>
                  <a:pt x="354970" y="12038"/>
                  <a:pt x="356971" y="8026"/>
                </a:cubicBezTo>
                <a:cubicBezTo>
                  <a:pt x="358971" y="4013"/>
                  <a:pt x="360972" y="0"/>
                  <a:pt x="360972"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3" name="Taiwan"/>
          <p:cNvSpPr>
            <a:spLocks/>
          </p:cNvSpPr>
          <p:nvPr/>
        </p:nvSpPr>
        <p:spPr bwMode="auto">
          <a:xfrm>
            <a:off x="9405406" y="3249043"/>
            <a:ext cx="48996" cy="112690"/>
          </a:xfrm>
          <a:custGeom>
            <a:avLst/>
            <a:gdLst>
              <a:gd name="T0" fmla="*/ 13 w 24"/>
              <a:gd name="T1" fmla="*/ 1 h 55"/>
              <a:gd name="T2" fmla="*/ 9 w 24"/>
              <a:gd name="T3" fmla="*/ 7 h 55"/>
              <a:gd name="T4" fmla="*/ 6 w 24"/>
              <a:gd name="T5" fmla="*/ 14 h 55"/>
              <a:gd name="T6" fmla="*/ 4 w 24"/>
              <a:gd name="T7" fmla="*/ 22 h 55"/>
              <a:gd name="T8" fmla="*/ 2 w 24"/>
              <a:gd name="T9" fmla="*/ 28 h 55"/>
              <a:gd name="T10" fmla="*/ 0 w 24"/>
              <a:gd name="T11" fmla="*/ 34 h 55"/>
              <a:gd name="T12" fmla="*/ 1 w 24"/>
              <a:gd name="T13" fmla="*/ 38 h 55"/>
              <a:gd name="T14" fmla="*/ 2 w 24"/>
              <a:gd name="T15" fmla="*/ 40 h 55"/>
              <a:gd name="T16" fmla="*/ 3 w 24"/>
              <a:gd name="T17" fmla="*/ 43 h 55"/>
              <a:gd name="T18" fmla="*/ 7 w 24"/>
              <a:gd name="T19" fmla="*/ 47 h 55"/>
              <a:gd name="T20" fmla="*/ 10 w 24"/>
              <a:gd name="T21" fmla="*/ 50 h 55"/>
              <a:gd name="T22" fmla="*/ 11 w 24"/>
              <a:gd name="T23" fmla="*/ 55 h 55"/>
              <a:gd name="T24" fmla="*/ 13 w 24"/>
              <a:gd name="T25" fmla="*/ 51 h 55"/>
              <a:gd name="T26" fmla="*/ 15 w 24"/>
              <a:gd name="T27" fmla="*/ 45 h 55"/>
              <a:gd name="T28" fmla="*/ 16 w 24"/>
              <a:gd name="T29" fmla="*/ 41 h 55"/>
              <a:gd name="T30" fmla="*/ 18 w 24"/>
              <a:gd name="T31" fmla="*/ 38 h 55"/>
              <a:gd name="T32" fmla="*/ 19 w 24"/>
              <a:gd name="T33" fmla="*/ 34 h 55"/>
              <a:gd name="T34" fmla="*/ 19 w 24"/>
              <a:gd name="T35" fmla="*/ 29 h 55"/>
              <a:gd name="T36" fmla="*/ 20 w 24"/>
              <a:gd name="T37" fmla="*/ 24 h 55"/>
              <a:gd name="T38" fmla="*/ 21 w 24"/>
              <a:gd name="T39" fmla="*/ 18 h 55"/>
              <a:gd name="T40" fmla="*/ 22 w 24"/>
              <a:gd name="T41" fmla="*/ 13 h 55"/>
              <a:gd name="T42" fmla="*/ 21 w 24"/>
              <a:gd name="T43" fmla="*/ 9 h 55"/>
              <a:gd name="T44" fmla="*/ 21 w 24"/>
              <a:gd name="T45" fmla="*/ 3 h 55"/>
              <a:gd name="T46" fmla="*/ 13 w 24"/>
              <a:gd name="T4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55">
                <a:moveTo>
                  <a:pt x="13" y="1"/>
                </a:moveTo>
                <a:cubicBezTo>
                  <a:pt x="13" y="1"/>
                  <a:pt x="10" y="2"/>
                  <a:pt x="9" y="7"/>
                </a:cubicBezTo>
                <a:cubicBezTo>
                  <a:pt x="8" y="12"/>
                  <a:pt x="7" y="11"/>
                  <a:pt x="6" y="14"/>
                </a:cubicBezTo>
                <a:cubicBezTo>
                  <a:pt x="6" y="17"/>
                  <a:pt x="6" y="21"/>
                  <a:pt x="4" y="22"/>
                </a:cubicBezTo>
                <a:cubicBezTo>
                  <a:pt x="2" y="23"/>
                  <a:pt x="0" y="26"/>
                  <a:pt x="2" y="28"/>
                </a:cubicBezTo>
                <a:cubicBezTo>
                  <a:pt x="3" y="31"/>
                  <a:pt x="0" y="34"/>
                  <a:pt x="0" y="34"/>
                </a:cubicBezTo>
                <a:cubicBezTo>
                  <a:pt x="0" y="34"/>
                  <a:pt x="0" y="37"/>
                  <a:pt x="1" y="38"/>
                </a:cubicBezTo>
                <a:cubicBezTo>
                  <a:pt x="3" y="39"/>
                  <a:pt x="2" y="40"/>
                  <a:pt x="2" y="40"/>
                </a:cubicBezTo>
                <a:cubicBezTo>
                  <a:pt x="2" y="40"/>
                  <a:pt x="2" y="42"/>
                  <a:pt x="3" y="43"/>
                </a:cubicBezTo>
                <a:cubicBezTo>
                  <a:pt x="5" y="44"/>
                  <a:pt x="4" y="47"/>
                  <a:pt x="7" y="47"/>
                </a:cubicBezTo>
                <a:cubicBezTo>
                  <a:pt x="9" y="47"/>
                  <a:pt x="10" y="47"/>
                  <a:pt x="10" y="50"/>
                </a:cubicBezTo>
                <a:cubicBezTo>
                  <a:pt x="10" y="54"/>
                  <a:pt x="9" y="55"/>
                  <a:pt x="11" y="55"/>
                </a:cubicBezTo>
                <a:cubicBezTo>
                  <a:pt x="14" y="54"/>
                  <a:pt x="14" y="53"/>
                  <a:pt x="13" y="51"/>
                </a:cubicBezTo>
                <a:cubicBezTo>
                  <a:pt x="13" y="49"/>
                  <a:pt x="13" y="46"/>
                  <a:pt x="15" y="45"/>
                </a:cubicBezTo>
                <a:cubicBezTo>
                  <a:pt x="16" y="43"/>
                  <a:pt x="16" y="41"/>
                  <a:pt x="16" y="41"/>
                </a:cubicBezTo>
                <a:cubicBezTo>
                  <a:pt x="16" y="41"/>
                  <a:pt x="16" y="38"/>
                  <a:pt x="18" y="38"/>
                </a:cubicBezTo>
                <a:cubicBezTo>
                  <a:pt x="19" y="38"/>
                  <a:pt x="19" y="35"/>
                  <a:pt x="19" y="34"/>
                </a:cubicBezTo>
                <a:cubicBezTo>
                  <a:pt x="19" y="32"/>
                  <a:pt x="19" y="31"/>
                  <a:pt x="19" y="29"/>
                </a:cubicBezTo>
                <a:cubicBezTo>
                  <a:pt x="21" y="28"/>
                  <a:pt x="20" y="24"/>
                  <a:pt x="20" y="24"/>
                </a:cubicBezTo>
                <a:cubicBezTo>
                  <a:pt x="20" y="24"/>
                  <a:pt x="20" y="19"/>
                  <a:pt x="21" y="18"/>
                </a:cubicBezTo>
                <a:cubicBezTo>
                  <a:pt x="22" y="16"/>
                  <a:pt x="22" y="13"/>
                  <a:pt x="22" y="13"/>
                </a:cubicBezTo>
                <a:cubicBezTo>
                  <a:pt x="22" y="13"/>
                  <a:pt x="21" y="10"/>
                  <a:pt x="21" y="9"/>
                </a:cubicBezTo>
                <a:cubicBezTo>
                  <a:pt x="22" y="8"/>
                  <a:pt x="24" y="5"/>
                  <a:pt x="21" y="3"/>
                </a:cubicBezTo>
                <a:cubicBezTo>
                  <a:pt x="19" y="0"/>
                  <a:pt x="13" y="1"/>
                  <a:pt x="13" y="1"/>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4" name="Burma"/>
          <p:cNvSpPr>
            <a:spLocks/>
          </p:cNvSpPr>
          <p:nvPr/>
        </p:nvSpPr>
        <p:spPr bwMode="auto">
          <a:xfrm>
            <a:off x="8655770" y="3118387"/>
            <a:ext cx="241712" cy="683558"/>
          </a:xfrm>
          <a:custGeom>
            <a:avLst/>
            <a:gdLst>
              <a:gd name="connsiteX0" fmla="*/ 173566 w 234950"/>
              <a:gd name="connsiteY0" fmla="*/ 658812 h 664435"/>
              <a:gd name="connsiteX1" fmla="*/ 177800 w 234950"/>
              <a:gd name="connsiteY1" fmla="*/ 660929 h 664435"/>
              <a:gd name="connsiteX2" fmla="*/ 171450 w 234950"/>
              <a:gd name="connsiteY2" fmla="*/ 663045 h 664435"/>
              <a:gd name="connsiteX3" fmla="*/ 173566 w 234950"/>
              <a:gd name="connsiteY3" fmla="*/ 658812 h 664435"/>
              <a:gd name="connsiteX4" fmla="*/ 173038 w 234950"/>
              <a:gd name="connsiteY4" fmla="*/ 654579 h 664435"/>
              <a:gd name="connsiteX5" fmla="*/ 177801 w 234950"/>
              <a:gd name="connsiteY5" fmla="*/ 656695 h 664435"/>
              <a:gd name="connsiteX6" fmla="*/ 173038 w 234950"/>
              <a:gd name="connsiteY6" fmla="*/ 656695 h 664435"/>
              <a:gd name="connsiteX7" fmla="*/ 173038 w 234950"/>
              <a:gd name="connsiteY7" fmla="*/ 654579 h 664435"/>
              <a:gd name="connsiteX8" fmla="*/ 177800 w 234950"/>
              <a:gd name="connsiteY8" fmla="*/ 643467 h 664435"/>
              <a:gd name="connsiteX9" fmla="*/ 179388 w 234950"/>
              <a:gd name="connsiteY9" fmla="*/ 643467 h 664435"/>
              <a:gd name="connsiteX10" fmla="*/ 177800 w 234950"/>
              <a:gd name="connsiteY10" fmla="*/ 647700 h 664435"/>
              <a:gd name="connsiteX11" fmla="*/ 177800 w 234950"/>
              <a:gd name="connsiteY11" fmla="*/ 643467 h 664435"/>
              <a:gd name="connsiteX12" fmla="*/ 187855 w 234950"/>
              <a:gd name="connsiteY12" fmla="*/ 641350 h 664435"/>
              <a:gd name="connsiteX13" fmla="*/ 192088 w 234950"/>
              <a:gd name="connsiteY13" fmla="*/ 643467 h 664435"/>
              <a:gd name="connsiteX14" fmla="*/ 187855 w 234950"/>
              <a:gd name="connsiteY14" fmla="*/ 645583 h 664435"/>
              <a:gd name="connsiteX15" fmla="*/ 187855 w 234950"/>
              <a:gd name="connsiteY15" fmla="*/ 641350 h 664435"/>
              <a:gd name="connsiteX16" fmla="*/ 189707 w 234950"/>
              <a:gd name="connsiteY16" fmla="*/ 635396 h 664435"/>
              <a:gd name="connsiteX17" fmla="*/ 192088 w 234950"/>
              <a:gd name="connsiteY17" fmla="*/ 639365 h 664435"/>
              <a:gd name="connsiteX18" fmla="*/ 187325 w 234950"/>
              <a:gd name="connsiteY18" fmla="*/ 637381 h 664435"/>
              <a:gd name="connsiteX19" fmla="*/ 189707 w 234950"/>
              <a:gd name="connsiteY19" fmla="*/ 635396 h 664435"/>
              <a:gd name="connsiteX20" fmla="*/ 188279 w 234950"/>
              <a:gd name="connsiteY20" fmla="*/ 617537 h 664435"/>
              <a:gd name="connsiteX21" fmla="*/ 190501 w 234950"/>
              <a:gd name="connsiteY21" fmla="*/ 621347 h 664435"/>
              <a:gd name="connsiteX22" fmla="*/ 183833 w 234950"/>
              <a:gd name="connsiteY22" fmla="*/ 625157 h 664435"/>
              <a:gd name="connsiteX23" fmla="*/ 183833 w 234950"/>
              <a:gd name="connsiteY23" fmla="*/ 623252 h 664435"/>
              <a:gd name="connsiteX24" fmla="*/ 186056 w 234950"/>
              <a:gd name="connsiteY24" fmla="*/ 621347 h 664435"/>
              <a:gd name="connsiteX25" fmla="*/ 188279 w 234950"/>
              <a:gd name="connsiteY25" fmla="*/ 617537 h 664435"/>
              <a:gd name="connsiteX26" fmla="*/ 179389 w 234950"/>
              <a:gd name="connsiteY26" fmla="*/ 603250 h 664435"/>
              <a:gd name="connsiteX27" fmla="*/ 180976 w 234950"/>
              <a:gd name="connsiteY27" fmla="*/ 603250 h 664435"/>
              <a:gd name="connsiteX28" fmla="*/ 177800 w 234950"/>
              <a:gd name="connsiteY28" fmla="*/ 604838 h 664435"/>
              <a:gd name="connsiteX29" fmla="*/ 179389 w 234950"/>
              <a:gd name="connsiteY29" fmla="*/ 603250 h 664435"/>
              <a:gd name="connsiteX30" fmla="*/ 176213 w 234950"/>
              <a:gd name="connsiteY30" fmla="*/ 591343 h 664435"/>
              <a:gd name="connsiteX31" fmla="*/ 177800 w 234950"/>
              <a:gd name="connsiteY31" fmla="*/ 591343 h 664435"/>
              <a:gd name="connsiteX32" fmla="*/ 177800 w 234950"/>
              <a:gd name="connsiteY32" fmla="*/ 593724 h 664435"/>
              <a:gd name="connsiteX33" fmla="*/ 176213 w 234950"/>
              <a:gd name="connsiteY33" fmla="*/ 591343 h 664435"/>
              <a:gd name="connsiteX34" fmla="*/ 183622 w 234950"/>
              <a:gd name="connsiteY34" fmla="*/ 549672 h 664435"/>
              <a:gd name="connsiteX35" fmla="*/ 187855 w 234950"/>
              <a:gd name="connsiteY35" fmla="*/ 551656 h 664435"/>
              <a:gd name="connsiteX36" fmla="*/ 192088 w 234950"/>
              <a:gd name="connsiteY36" fmla="*/ 557609 h 664435"/>
              <a:gd name="connsiteX37" fmla="*/ 189972 w 234950"/>
              <a:gd name="connsiteY37" fmla="*/ 563562 h 664435"/>
              <a:gd name="connsiteX38" fmla="*/ 192088 w 234950"/>
              <a:gd name="connsiteY38" fmla="*/ 569515 h 664435"/>
              <a:gd name="connsiteX39" fmla="*/ 187855 w 234950"/>
              <a:gd name="connsiteY39" fmla="*/ 571500 h 664435"/>
              <a:gd name="connsiteX40" fmla="*/ 183622 w 234950"/>
              <a:gd name="connsiteY40" fmla="*/ 579437 h 664435"/>
              <a:gd name="connsiteX41" fmla="*/ 179388 w 234950"/>
              <a:gd name="connsiteY41" fmla="*/ 577453 h 664435"/>
              <a:gd name="connsiteX42" fmla="*/ 181505 w 234950"/>
              <a:gd name="connsiteY42" fmla="*/ 573484 h 664435"/>
              <a:gd name="connsiteX43" fmla="*/ 175154 w 234950"/>
              <a:gd name="connsiteY43" fmla="*/ 575468 h 664435"/>
              <a:gd name="connsiteX44" fmla="*/ 175154 w 234950"/>
              <a:gd name="connsiteY44" fmla="*/ 571500 h 664435"/>
              <a:gd name="connsiteX45" fmla="*/ 179388 w 234950"/>
              <a:gd name="connsiteY45" fmla="*/ 565547 h 664435"/>
              <a:gd name="connsiteX46" fmla="*/ 175154 w 234950"/>
              <a:gd name="connsiteY46" fmla="*/ 561578 h 664435"/>
              <a:gd name="connsiteX47" fmla="*/ 179388 w 234950"/>
              <a:gd name="connsiteY47" fmla="*/ 557609 h 664435"/>
              <a:gd name="connsiteX48" fmla="*/ 185738 w 234950"/>
              <a:gd name="connsiteY48" fmla="*/ 557609 h 664435"/>
              <a:gd name="connsiteX49" fmla="*/ 183622 w 234950"/>
              <a:gd name="connsiteY49" fmla="*/ 553640 h 664435"/>
              <a:gd name="connsiteX50" fmla="*/ 179388 w 234950"/>
              <a:gd name="connsiteY50" fmla="*/ 551656 h 664435"/>
              <a:gd name="connsiteX51" fmla="*/ 183622 w 234950"/>
              <a:gd name="connsiteY51" fmla="*/ 549672 h 664435"/>
              <a:gd name="connsiteX52" fmla="*/ 183833 w 234950"/>
              <a:gd name="connsiteY52" fmla="*/ 515937 h 664435"/>
              <a:gd name="connsiteX53" fmla="*/ 190501 w 234950"/>
              <a:gd name="connsiteY53" fmla="*/ 521652 h 664435"/>
              <a:gd name="connsiteX54" fmla="*/ 190501 w 234950"/>
              <a:gd name="connsiteY54" fmla="*/ 529272 h 664435"/>
              <a:gd name="connsiteX55" fmla="*/ 190501 w 234950"/>
              <a:gd name="connsiteY55" fmla="*/ 536892 h 664435"/>
              <a:gd name="connsiteX56" fmla="*/ 186056 w 234950"/>
              <a:gd name="connsiteY56" fmla="*/ 540702 h 664435"/>
              <a:gd name="connsiteX57" fmla="*/ 186056 w 234950"/>
              <a:gd name="connsiteY57" fmla="*/ 531177 h 664435"/>
              <a:gd name="connsiteX58" fmla="*/ 183833 w 234950"/>
              <a:gd name="connsiteY58" fmla="*/ 521652 h 664435"/>
              <a:gd name="connsiteX59" fmla="*/ 183833 w 234950"/>
              <a:gd name="connsiteY59" fmla="*/ 519747 h 664435"/>
              <a:gd name="connsiteX60" fmla="*/ 183833 w 234950"/>
              <a:gd name="connsiteY60" fmla="*/ 515937 h 664435"/>
              <a:gd name="connsiteX61" fmla="*/ 123448 w 234950"/>
              <a:gd name="connsiteY61" fmla="*/ 0 h 664435"/>
              <a:gd name="connsiteX62" fmla="*/ 127430 w 234950"/>
              <a:gd name="connsiteY62" fmla="*/ 0 h 664435"/>
              <a:gd name="connsiteX63" fmla="*/ 133404 w 234950"/>
              <a:gd name="connsiteY63" fmla="*/ 0 h 664435"/>
              <a:gd name="connsiteX64" fmla="*/ 137386 w 234950"/>
              <a:gd name="connsiteY64" fmla="*/ 1998 h 664435"/>
              <a:gd name="connsiteX65" fmla="*/ 137386 w 234950"/>
              <a:gd name="connsiteY65" fmla="*/ 7994 h 664435"/>
              <a:gd name="connsiteX66" fmla="*/ 139377 w 234950"/>
              <a:gd name="connsiteY66" fmla="*/ 11991 h 664435"/>
              <a:gd name="connsiteX67" fmla="*/ 139377 w 234950"/>
              <a:gd name="connsiteY67" fmla="*/ 15988 h 664435"/>
              <a:gd name="connsiteX68" fmla="*/ 139377 w 234950"/>
              <a:gd name="connsiteY68" fmla="*/ 21983 h 664435"/>
              <a:gd name="connsiteX69" fmla="*/ 141368 w 234950"/>
              <a:gd name="connsiteY69" fmla="*/ 23982 h 664435"/>
              <a:gd name="connsiteX70" fmla="*/ 139377 w 234950"/>
              <a:gd name="connsiteY70" fmla="*/ 29977 h 664435"/>
              <a:gd name="connsiteX71" fmla="*/ 141368 w 234950"/>
              <a:gd name="connsiteY71" fmla="*/ 35973 h 664435"/>
              <a:gd name="connsiteX72" fmla="*/ 143359 w 234950"/>
              <a:gd name="connsiteY72" fmla="*/ 39970 h 664435"/>
              <a:gd name="connsiteX73" fmla="*/ 147341 w 234950"/>
              <a:gd name="connsiteY73" fmla="*/ 45965 h 664435"/>
              <a:gd name="connsiteX74" fmla="*/ 147341 w 234950"/>
              <a:gd name="connsiteY74" fmla="*/ 49962 h 664435"/>
              <a:gd name="connsiteX75" fmla="*/ 151323 w 234950"/>
              <a:gd name="connsiteY75" fmla="*/ 53959 h 664435"/>
              <a:gd name="connsiteX76" fmla="*/ 157297 w 234950"/>
              <a:gd name="connsiteY76" fmla="*/ 59955 h 664435"/>
              <a:gd name="connsiteX77" fmla="*/ 159288 w 234950"/>
              <a:gd name="connsiteY77" fmla="*/ 59955 h 664435"/>
              <a:gd name="connsiteX78" fmla="*/ 163270 w 234950"/>
              <a:gd name="connsiteY78" fmla="*/ 63952 h 664435"/>
              <a:gd name="connsiteX79" fmla="*/ 163270 w 234950"/>
              <a:gd name="connsiteY79" fmla="*/ 67949 h 664435"/>
              <a:gd name="connsiteX80" fmla="*/ 163270 w 234950"/>
              <a:gd name="connsiteY80" fmla="*/ 71946 h 664435"/>
              <a:gd name="connsiteX81" fmla="*/ 161279 w 234950"/>
              <a:gd name="connsiteY81" fmla="*/ 77941 h 664435"/>
              <a:gd name="connsiteX82" fmla="*/ 161279 w 234950"/>
              <a:gd name="connsiteY82" fmla="*/ 81938 h 664435"/>
              <a:gd name="connsiteX83" fmla="*/ 161279 w 234950"/>
              <a:gd name="connsiteY83" fmla="*/ 89932 h 664435"/>
              <a:gd name="connsiteX84" fmla="*/ 163270 w 234950"/>
              <a:gd name="connsiteY84" fmla="*/ 93929 h 664435"/>
              <a:gd name="connsiteX85" fmla="*/ 161279 w 234950"/>
              <a:gd name="connsiteY85" fmla="*/ 99925 h 664435"/>
              <a:gd name="connsiteX86" fmla="*/ 159288 w 234950"/>
              <a:gd name="connsiteY86" fmla="*/ 103922 h 664435"/>
              <a:gd name="connsiteX87" fmla="*/ 157297 w 234950"/>
              <a:gd name="connsiteY87" fmla="*/ 105920 h 664435"/>
              <a:gd name="connsiteX88" fmla="*/ 159288 w 234950"/>
              <a:gd name="connsiteY88" fmla="*/ 111916 h 664435"/>
              <a:gd name="connsiteX89" fmla="*/ 157297 w 234950"/>
              <a:gd name="connsiteY89" fmla="*/ 115913 h 664435"/>
              <a:gd name="connsiteX90" fmla="*/ 155306 w 234950"/>
              <a:gd name="connsiteY90" fmla="*/ 119910 h 664435"/>
              <a:gd name="connsiteX91" fmla="*/ 155306 w 234950"/>
              <a:gd name="connsiteY91" fmla="*/ 121908 h 664435"/>
              <a:gd name="connsiteX92" fmla="*/ 153315 w 234950"/>
              <a:gd name="connsiteY92" fmla="*/ 123907 h 664435"/>
              <a:gd name="connsiteX93" fmla="*/ 149332 w 234950"/>
              <a:gd name="connsiteY93" fmla="*/ 127904 h 664435"/>
              <a:gd name="connsiteX94" fmla="*/ 147341 w 234950"/>
              <a:gd name="connsiteY94" fmla="*/ 129902 h 664435"/>
              <a:gd name="connsiteX95" fmla="*/ 145350 w 234950"/>
              <a:gd name="connsiteY95" fmla="*/ 133899 h 664435"/>
              <a:gd name="connsiteX96" fmla="*/ 141368 w 234950"/>
              <a:gd name="connsiteY96" fmla="*/ 137896 h 664435"/>
              <a:gd name="connsiteX97" fmla="*/ 137386 w 234950"/>
              <a:gd name="connsiteY97" fmla="*/ 143892 h 664435"/>
              <a:gd name="connsiteX98" fmla="*/ 135395 w 234950"/>
              <a:gd name="connsiteY98" fmla="*/ 147889 h 664435"/>
              <a:gd name="connsiteX99" fmla="*/ 137386 w 234950"/>
              <a:gd name="connsiteY99" fmla="*/ 153884 h 664435"/>
              <a:gd name="connsiteX100" fmla="*/ 139377 w 234950"/>
              <a:gd name="connsiteY100" fmla="*/ 159880 h 664435"/>
              <a:gd name="connsiteX101" fmla="*/ 141368 w 234950"/>
              <a:gd name="connsiteY101" fmla="*/ 165876 h 664435"/>
              <a:gd name="connsiteX102" fmla="*/ 141368 w 234950"/>
              <a:gd name="connsiteY102" fmla="*/ 169873 h 664435"/>
              <a:gd name="connsiteX103" fmla="*/ 145350 w 234950"/>
              <a:gd name="connsiteY103" fmla="*/ 171871 h 664435"/>
              <a:gd name="connsiteX104" fmla="*/ 147341 w 234950"/>
              <a:gd name="connsiteY104" fmla="*/ 171871 h 664435"/>
              <a:gd name="connsiteX105" fmla="*/ 149332 w 234950"/>
              <a:gd name="connsiteY105" fmla="*/ 167874 h 664435"/>
              <a:gd name="connsiteX106" fmla="*/ 149332 w 234950"/>
              <a:gd name="connsiteY106" fmla="*/ 165876 h 664435"/>
              <a:gd name="connsiteX107" fmla="*/ 155306 w 234950"/>
              <a:gd name="connsiteY107" fmla="*/ 165876 h 664435"/>
              <a:gd name="connsiteX108" fmla="*/ 159288 w 234950"/>
              <a:gd name="connsiteY108" fmla="*/ 165876 h 664435"/>
              <a:gd name="connsiteX109" fmla="*/ 163270 w 234950"/>
              <a:gd name="connsiteY109" fmla="*/ 165876 h 664435"/>
              <a:gd name="connsiteX110" fmla="*/ 167252 w 234950"/>
              <a:gd name="connsiteY110" fmla="*/ 169873 h 664435"/>
              <a:gd name="connsiteX111" fmla="*/ 169243 w 234950"/>
              <a:gd name="connsiteY111" fmla="*/ 169873 h 664435"/>
              <a:gd name="connsiteX112" fmla="*/ 171235 w 234950"/>
              <a:gd name="connsiteY112" fmla="*/ 177867 h 664435"/>
              <a:gd name="connsiteX113" fmla="*/ 175217 w 234950"/>
              <a:gd name="connsiteY113" fmla="*/ 181864 h 664435"/>
              <a:gd name="connsiteX114" fmla="*/ 177208 w 234950"/>
              <a:gd name="connsiteY114" fmla="*/ 185861 h 664435"/>
              <a:gd name="connsiteX115" fmla="*/ 179199 w 234950"/>
              <a:gd name="connsiteY115" fmla="*/ 187859 h 664435"/>
              <a:gd name="connsiteX116" fmla="*/ 179199 w 234950"/>
              <a:gd name="connsiteY116" fmla="*/ 191856 h 664435"/>
              <a:gd name="connsiteX117" fmla="*/ 179199 w 234950"/>
              <a:gd name="connsiteY117" fmla="*/ 197852 h 664435"/>
              <a:gd name="connsiteX118" fmla="*/ 183182 w 234950"/>
              <a:gd name="connsiteY118" fmla="*/ 199850 h 664435"/>
              <a:gd name="connsiteX119" fmla="*/ 189155 w 234950"/>
              <a:gd name="connsiteY119" fmla="*/ 199850 h 664435"/>
              <a:gd name="connsiteX120" fmla="*/ 189155 w 234950"/>
              <a:gd name="connsiteY120" fmla="*/ 203847 h 664435"/>
              <a:gd name="connsiteX121" fmla="*/ 187164 w 234950"/>
              <a:gd name="connsiteY121" fmla="*/ 205846 h 664435"/>
              <a:gd name="connsiteX122" fmla="*/ 185173 w 234950"/>
              <a:gd name="connsiteY122" fmla="*/ 207844 h 664435"/>
              <a:gd name="connsiteX123" fmla="*/ 185173 w 234950"/>
              <a:gd name="connsiteY123" fmla="*/ 213840 h 664435"/>
              <a:gd name="connsiteX124" fmla="*/ 185173 w 234950"/>
              <a:gd name="connsiteY124" fmla="*/ 217837 h 664435"/>
              <a:gd name="connsiteX125" fmla="*/ 187164 w 234950"/>
              <a:gd name="connsiteY125" fmla="*/ 219835 h 664435"/>
              <a:gd name="connsiteX126" fmla="*/ 185173 w 234950"/>
              <a:gd name="connsiteY126" fmla="*/ 221834 h 664435"/>
              <a:gd name="connsiteX127" fmla="*/ 185173 w 234950"/>
              <a:gd name="connsiteY127" fmla="*/ 223832 h 664435"/>
              <a:gd name="connsiteX128" fmla="*/ 183182 w 234950"/>
              <a:gd name="connsiteY128" fmla="*/ 225831 h 664435"/>
              <a:gd name="connsiteX129" fmla="*/ 183182 w 234950"/>
              <a:gd name="connsiteY129" fmla="*/ 229828 h 664435"/>
              <a:gd name="connsiteX130" fmla="*/ 187164 w 234950"/>
              <a:gd name="connsiteY130" fmla="*/ 233825 h 664435"/>
              <a:gd name="connsiteX131" fmla="*/ 193137 w 234950"/>
              <a:gd name="connsiteY131" fmla="*/ 233825 h 664435"/>
              <a:gd name="connsiteX132" fmla="*/ 201102 w 234950"/>
              <a:gd name="connsiteY132" fmla="*/ 231826 h 664435"/>
              <a:gd name="connsiteX133" fmla="*/ 203093 w 234950"/>
              <a:gd name="connsiteY133" fmla="*/ 231826 h 664435"/>
              <a:gd name="connsiteX134" fmla="*/ 205084 w 234950"/>
              <a:gd name="connsiteY134" fmla="*/ 235823 h 664435"/>
              <a:gd name="connsiteX135" fmla="*/ 205084 w 234950"/>
              <a:gd name="connsiteY135" fmla="*/ 237822 h 664435"/>
              <a:gd name="connsiteX136" fmla="*/ 205084 w 234950"/>
              <a:gd name="connsiteY136" fmla="*/ 241819 h 664435"/>
              <a:gd name="connsiteX137" fmla="*/ 207075 w 234950"/>
              <a:gd name="connsiteY137" fmla="*/ 245816 h 664435"/>
              <a:gd name="connsiteX138" fmla="*/ 211057 w 234950"/>
              <a:gd name="connsiteY138" fmla="*/ 243817 h 664435"/>
              <a:gd name="connsiteX139" fmla="*/ 215039 w 234950"/>
              <a:gd name="connsiteY139" fmla="*/ 243817 h 664435"/>
              <a:gd name="connsiteX140" fmla="*/ 219021 w 234950"/>
              <a:gd name="connsiteY140" fmla="*/ 245816 h 664435"/>
              <a:gd name="connsiteX141" fmla="*/ 224995 w 234950"/>
              <a:gd name="connsiteY141" fmla="*/ 245816 h 664435"/>
              <a:gd name="connsiteX142" fmla="*/ 228977 w 234950"/>
              <a:gd name="connsiteY142" fmla="*/ 243817 h 664435"/>
              <a:gd name="connsiteX143" fmla="*/ 234950 w 234950"/>
              <a:gd name="connsiteY143" fmla="*/ 243817 h 664435"/>
              <a:gd name="connsiteX144" fmla="*/ 234950 w 234950"/>
              <a:gd name="connsiteY144" fmla="*/ 247814 h 664435"/>
              <a:gd name="connsiteX145" fmla="*/ 226986 w 234950"/>
              <a:gd name="connsiteY145" fmla="*/ 249813 h 664435"/>
              <a:gd name="connsiteX146" fmla="*/ 224995 w 234950"/>
              <a:gd name="connsiteY146" fmla="*/ 253810 h 664435"/>
              <a:gd name="connsiteX147" fmla="*/ 221013 w 234950"/>
              <a:gd name="connsiteY147" fmla="*/ 261804 h 664435"/>
              <a:gd name="connsiteX148" fmla="*/ 221013 w 234950"/>
              <a:gd name="connsiteY148" fmla="*/ 271796 h 664435"/>
              <a:gd name="connsiteX149" fmla="*/ 217030 w 234950"/>
              <a:gd name="connsiteY149" fmla="*/ 277792 h 664435"/>
              <a:gd name="connsiteX150" fmla="*/ 213048 w 234950"/>
              <a:gd name="connsiteY150" fmla="*/ 285786 h 664435"/>
              <a:gd name="connsiteX151" fmla="*/ 207075 w 234950"/>
              <a:gd name="connsiteY151" fmla="*/ 285786 h 664435"/>
              <a:gd name="connsiteX152" fmla="*/ 201102 w 234950"/>
              <a:gd name="connsiteY152" fmla="*/ 285786 h 664435"/>
              <a:gd name="connsiteX153" fmla="*/ 201102 w 234950"/>
              <a:gd name="connsiteY153" fmla="*/ 291781 h 664435"/>
              <a:gd name="connsiteX154" fmla="*/ 197119 w 234950"/>
              <a:gd name="connsiteY154" fmla="*/ 295778 h 664435"/>
              <a:gd name="connsiteX155" fmla="*/ 191146 w 234950"/>
              <a:gd name="connsiteY155" fmla="*/ 295778 h 664435"/>
              <a:gd name="connsiteX156" fmla="*/ 189155 w 234950"/>
              <a:gd name="connsiteY156" fmla="*/ 291781 h 664435"/>
              <a:gd name="connsiteX157" fmla="*/ 183182 w 234950"/>
              <a:gd name="connsiteY157" fmla="*/ 289783 h 664435"/>
              <a:gd name="connsiteX158" fmla="*/ 177208 w 234950"/>
              <a:gd name="connsiteY158" fmla="*/ 289783 h 664435"/>
              <a:gd name="connsiteX159" fmla="*/ 175217 w 234950"/>
              <a:gd name="connsiteY159" fmla="*/ 293780 h 664435"/>
              <a:gd name="connsiteX160" fmla="*/ 171235 w 234950"/>
              <a:gd name="connsiteY160" fmla="*/ 299775 h 664435"/>
              <a:gd name="connsiteX161" fmla="*/ 163270 w 234950"/>
              <a:gd name="connsiteY161" fmla="*/ 301774 h 664435"/>
              <a:gd name="connsiteX162" fmla="*/ 159288 w 234950"/>
              <a:gd name="connsiteY162" fmla="*/ 301774 h 664435"/>
              <a:gd name="connsiteX163" fmla="*/ 153315 w 234950"/>
              <a:gd name="connsiteY163" fmla="*/ 307769 h 664435"/>
              <a:gd name="connsiteX164" fmla="*/ 153315 w 234950"/>
              <a:gd name="connsiteY164" fmla="*/ 315763 h 664435"/>
              <a:gd name="connsiteX165" fmla="*/ 153315 w 234950"/>
              <a:gd name="connsiteY165" fmla="*/ 323757 h 664435"/>
              <a:gd name="connsiteX166" fmla="*/ 151323 w 234950"/>
              <a:gd name="connsiteY166" fmla="*/ 331751 h 664435"/>
              <a:gd name="connsiteX167" fmla="*/ 153315 w 234950"/>
              <a:gd name="connsiteY167" fmla="*/ 345741 h 664435"/>
              <a:gd name="connsiteX168" fmla="*/ 153315 w 234950"/>
              <a:gd name="connsiteY168" fmla="*/ 351736 h 664435"/>
              <a:gd name="connsiteX169" fmla="*/ 157297 w 234950"/>
              <a:gd name="connsiteY169" fmla="*/ 353735 h 664435"/>
              <a:gd name="connsiteX170" fmla="*/ 159288 w 234950"/>
              <a:gd name="connsiteY170" fmla="*/ 357732 h 664435"/>
              <a:gd name="connsiteX171" fmla="*/ 163270 w 234950"/>
              <a:gd name="connsiteY171" fmla="*/ 359730 h 664435"/>
              <a:gd name="connsiteX172" fmla="*/ 165261 w 234950"/>
              <a:gd name="connsiteY172" fmla="*/ 365726 h 664435"/>
              <a:gd name="connsiteX173" fmla="*/ 169243 w 234950"/>
              <a:gd name="connsiteY173" fmla="*/ 371721 h 664435"/>
              <a:gd name="connsiteX174" fmla="*/ 173226 w 234950"/>
              <a:gd name="connsiteY174" fmla="*/ 373720 h 664435"/>
              <a:gd name="connsiteX175" fmla="*/ 177208 w 234950"/>
              <a:gd name="connsiteY175" fmla="*/ 373720 h 664435"/>
              <a:gd name="connsiteX176" fmla="*/ 179199 w 234950"/>
              <a:gd name="connsiteY176" fmla="*/ 381714 h 664435"/>
              <a:gd name="connsiteX177" fmla="*/ 181190 w 234950"/>
              <a:gd name="connsiteY177" fmla="*/ 385711 h 664435"/>
              <a:gd name="connsiteX178" fmla="*/ 185173 w 234950"/>
              <a:gd name="connsiteY178" fmla="*/ 389708 h 664435"/>
              <a:gd name="connsiteX179" fmla="*/ 189155 w 234950"/>
              <a:gd name="connsiteY179" fmla="*/ 395703 h 664435"/>
              <a:gd name="connsiteX180" fmla="*/ 191146 w 234950"/>
              <a:gd name="connsiteY180" fmla="*/ 403697 h 664435"/>
              <a:gd name="connsiteX181" fmla="*/ 193137 w 234950"/>
              <a:gd name="connsiteY181" fmla="*/ 413690 h 664435"/>
              <a:gd name="connsiteX182" fmla="*/ 197119 w 234950"/>
              <a:gd name="connsiteY182" fmla="*/ 413690 h 664435"/>
              <a:gd name="connsiteX183" fmla="*/ 199110 w 234950"/>
              <a:gd name="connsiteY183" fmla="*/ 413690 h 664435"/>
              <a:gd name="connsiteX184" fmla="*/ 201102 w 234950"/>
              <a:gd name="connsiteY184" fmla="*/ 419685 h 664435"/>
              <a:gd name="connsiteX185" fmla="*/ 195128 w 234950"/>
              <a:gd name="connsiteY185" fmla="*/ 425681 h 664435"/>
              <a:gd name="connsiteX186" fmla="*/ 191146 w 234950"/>
              <a:gd name="connsiteY186" fmla="*/ 431676 h 664435"/>
              <a:gd name="connsiteX187" fmla="*/ 191146 w 234950"/>
              <a:gd name="connsiteY187" fmla="*/ 439670 h 664435"/>
              <a:gd name="connsiteX188" fmla="*/ 189155 w 234950"/>
              <a:gd name="connsiteY188" fmla="*/ 445666 h 664435"/>
              <a:gd name="connsiteX189" fmla="*/ 187164 w 234950"/>
              <a:gd name="connsiteY189" fmla="*/ 449663 h 664435"/>
              <a:gd name="connsiteX190" fmla="*/ 185173 w 234950"/>
              <a:gd name="connsiteY190" fmla="*/ 453660 h 664435"/>
              <a:gd name="connsiteX191" fmla="*/ 187164 w 234950"/>
              <a:gd name="connsiteY191" fmla="*/ 457657 h 664435"/>
              <a:gd name="connsiteX192" fmla="*/ 189155 w 234950"/>
              <a:gd name="connsiteY192" fmla="*/ 463652 h 664435"/>
              <a:gd name="connsiteX193" fmla="*/ 191146 w 234950"/>
              <a:gd name="connsiteY193" fmla="*/ 469648 h 664435"/>
              <a:gd name="connsiteX194" fmla="*/ 193137 w 234950"/>
              <a:gd name="connsiteY194" fmla="*/ 471646 h 664435"/>
              <a:gd name="connsiteX195" fmla="*/ 197119 w 234950"/>
              <a:gd name="connsiteY195" fmla="*/ 473645 h 664435"/>
              <a:gd name="connsiteX196" fmla="*/ 199110 w 234950"/>
              <a:gd name="connsiteY196" fmla="*/ 477642 h 664435"/>
              <a:gd name="connsiteX197" fmla="*/ 201102 w 234950"/>
              <a:gd name="connsiteY197" fmla="*/ 479640 h 664435"/>
              <a:gd name="connsiteX198" fmla="*/ 205084 w 234950"/>
              <a:gd name="connsiteY198" fmla="*/ 485636 h 664435"/>
              <a:gd name="connsiteX199" fmla="*/ 209066 w 234950"/>
              <a:gd name="connsiteY199" fmla="*/ 491631 h 664435"/>
              <a:gd name="connsiteX200" fmla="*/ 215039 w 234950"/>
              <a:gd name="connsiteY200" fmla="*/ 493630 h 664435"/>
              <a:gd name="connsiteX201" fmla="*/ 217030 w 234950"/>
              <a:gd name="connsiteY201" fmla="*/ 497627 h 664435"/>
              <a:gd name="connsiteX202" fmla="*/ 215039 w 234950"/>
              <a:gd name="connsiteY202" fmla="*/ 511616 h 664435"/>
              <a:gd name="connsiteX203" fmla="*/ 213048 w 234950"/>
              <a:gd name="connsiteY203" fmla="*/ 523608 h 664435"/>
              <a:gd name="connsiteX204" fmla="*/ 215039 w 234950"/>
              <a:gd name="connsiteY204" fmla="*/ 531602 h 664435"/>
              <a:gd name="connsiteX205" fmla="*/ 217030 w 234950"/>
              <a:gd name="connsiteY205" fmla="*/ 535599 h 664435"/>
              <a:gd name="connsiteX206" fmla="*/ 223004 w 234950"/>
              <a:gd name="connsiteY206" fmla="*/ 539596 h 664435"/>
              <a:gd name="connsiteX207" fmla="*/ 224995 w 234950"/>
              <a:gd name="connsiteY207" fmla="*/ 545591 h 664435"/>
              <a:gd name="connsiteX208" fmla="*/ 224995 w 234950"/>
              <a:gd name="connsiteY208" fmla="*/ 551587 h 664435"/>
              <a:gd name="connsiteX209" fmla="*/ 221013 w 234950"/>
              <a:gd name="connsiteY209" fmla="*/ 557582 h 664435"/>
              <a:gd name="connsiteX210" fmla="*/ 219021 w 234950"/>
              <a:gd name="connsiteY210" fmla="*/ 563578 h 664435"/>
              <a:gd name="connsiteX211" fmla="*/ 219021 w 234950"/>
              <a:gd name="connsiteY211" fmla="*/ 571572 h 664435"/>
              <a:gd name="connsiteX212" fmla="*/ 217030 w 234950"/>
              <a:gd name="connsiteY212" fmla="*/ 575569 h 664435"/>
              <a:gd name="connsiteX213" fmla="*/ 215039 w 234950"/>
              <a:gd name="connsiteY213" fmla="*/ 583563 h 664435"/>
              <a:gd name="connsiteX214" fmla="*/ 209066 w 234950"/>
              <a:gd name="connsiteY214" fmla="*/ 589558 h 664435"/>
              <a:gd name="connsiteX215" fmla="*/ 203093 w 234950"/>
              <a:gd name="connsiteY215" fmla="*/ 595554 h 664435"/>
              <a:gd name="connsiteX216" fmla="*/ 201102 w 234950"/>
              <a:gd name="connsiteY216" fmla="*/ 603548 h 664435"/>
              <a:gd name="connsiteX217" fmla="*/ 201102 w 234950"/>
              <a:gd name="connsiteY217" fmla="*/ 607545 h 664435"/>
              <a:gd name="connsiteX218" fmla="*/ 197119 w 234950"/>
              <a:gd name="connsiteY218" fmla="*/ 613540 h 664435"/>
              <a:gd name="connsiteX219" fmla="*/ 187164 w 234950"/>
              <a:gd name="connsiteY219" fmla="*/ 615539 h 664435"/>
              <a:gd name="connsiteX220" fmla="*/ 191146 w 234950"/>
              <a:gd name="connsiteY220" fmla="*/ 607545 h 664435"/>
              <a:gd name="connsiteX221" fmla="*/ 191146 w 234950"/>
              <a:gd name="connsiteY221" fmla="*/ 593682 h 664435"/>
              <a:gd name="connsiteX222" fmla="*/ 187643 w 234950"/>
              <a:gd name="connsiteY222" fmla="*/ 596899 h 664435"/>
              <a:gd name="connsiteX223" fmla="*/ 183198 w 234950"/>
              <a:gd name="connsiteY223" fmla="*/ 588735 h 664435"/>
              <a:gd name="connsiteX224" fmla="*/ 185420 w 234950"/>
              <a:gd name="connsiteY224" fmla="*/ 582612 h 664435"/>
              <a:gd name="connsiteX225" fmla="*/ 187643 w 234950"/>
              <a:gd name="connsiteY225" fmla="*/ 590776 h 664435"/>
              <a:gd name="connsiteX226" fmla="*/ 191742 w 234950"/>
              <a:gd name="connsiteY226" fmla="*/ 592658 h 664435"/>
              <a:gd name="connsiteX227" fmla="*/ 195128 w 234950"/>
              <a:gd name="connsiteY227" fmla="*/ 587560 h 664435"/>
              <a:gd name="connsiteX228" fmla="*/ 195128 w 234950"/>
              <a:gd name="connsiteY228" fmla="*/ 581564 h 664435"/>
              <a:gd name="connsiteX229" fmla="*/ 195128 w 234950"/>
              <a:gd name="connsiteY229" fmla="*/ 571572 h 664435"/>
              <a:gd name="connsiteX230" fmla="*/ 197119 w 234950"/>
              <a:gd name="connsiteY230" fmla="*/ 569573 h 664435"/>
              <a:gd name="connsiteX231" fmla="*/ 203093 w 234950"/>
              <a:gd name="connsiteY231" fmla="*/ 567575 h 664435"/>
              <a:gd name="connsiteX232" fmla="*/ 195128 w 234950"/>
              <a:gd name="connsiteY232" fmla="*/ 561579 h 664435"/>
              <a:gd name="connsiteX233" fmla="*/ 193137 w 234950"/>
              <a:gd name="connsiteY233" fmla="*/ 551587 h 664435"/>
              <a:gd name="connsiteX234" fmla="*/ 195128 w 234950"/>
              <a:gd name="connsiteY234" fmla="*/ 541594 h 664435"/>
              <a:gd name="connsiteX235" fmla="*/ 197119 w 234950"/>
              <a:gd name="connsiteY235" fmla="*/ 529603 h 664435"/>
              <a:gd name="connsiteX236" fmla="*/ 195128 w 234950"/>
              <a:gd name="connsiteY236" fmla="*/ 523608 h 664435"/>
              <a:gd name="connsiteX237" fmla="*/ 191146 w 234950"/>
              <a:gd name="connsiteY237" fmla="*/ 515613 h 664435"/>
              <a:gd name="connsiteX238" fmla="*/ 187164 w 234950"/>
              <a:gd name="connsiteY238" fmla="*/ 507619 h 664435"/>
              <a:gd name="connsiteX239" fmla="*/ 179199 w 234950"/>
              <a:gd name="connsiteY239" fmla="*/ 503622 h 664435"/>
              <a:gd name="connsiteX240" fmla="*/ 177208 w 234950"/>
              <a:gd name="connsiteY240" fmla="*/ 493630 h 664435"/>
              <a:gd name="connsiteX241" fmla="*/ 175217 w 234950"/>
              <a:gd name="connsiteY241" fmla="*/ 485636 h 664435"/>
              <a:gd name="connsiteX242" fmla="*/ 175217 w 234950"/>
              <a:gd name="connsiteY242" fmla="*/ 477642 h 664435"/>
              <a:gd name="connsiteX243" fmla="*/ 175217 w 234950"/>
              <a:gd name="connsiteY243" fmla="*/ 471646 h 664435"/>
              <a:gd name="connsiteX244" fmla="*/ 171235 w 234950"/>
              <a:gd name="connsiteY244" fmla="*/ 465651 h 664435"/>
              <a:gd name="connsiteX245" fmla="*/ 171235 w 234950"/>
              <a:gd name="connsiteY245" fmla="*/ 449663 h 664435"/>
              <a:gd name="connsiteX246" fmla="*/ 167252 w 234950"/>
              <a:gd name="connsiteY246" fmla="*/ 441669 h 664435"/>
              <a:gd name="connsiteX247" fmla="*/ 165261 w 234950"/>
              <a:gd name="connsiteY247" fmla="*/ 429678 h 664435"/>
              <a:gd name="connsiteX248" fmla="*/ 155306 w 234950"/>
              <a:gd name="connsiteY248" fmla="*/ 407694 h 664435"/>
              <a:gd name="connsiteX249" fmla="*/ 149332 w 234950"/>
              <a:gd name="connsiteY249" fmla="*/ 393705 h 664435"/>
              <a:gd name="connsiteX250" fmla="*/ 141368 w 234950"/>
              <a:gd name="connsiteY250" fmla="*/ 381714 h 664435"/>
              <a:gd name="connsiteX251" fmla="*/ 141368 w 234950"/>
              <a:gd name="connsiteY251" fmla="*/ 397702 h 664435"/>
              <a:gd name="connsiteX252" fmla="*/ 133404 w 234950"/>
              <a:gd name="connsiteY252" fmla="*/ 407694 h 664435"/>
              <a:gd name="connsiteX253" fmla="*/ 127430 w 234950"/>
              <a:gd name="connsiteY253" fmla="*/ 407694 h 664435"/>
              <a:gd name="connsiteX254" fmla="*/ 121457 w 234950"/>
              <a:gd name="connsiteY254" fmla="*/ 419685 h 664435"/>
              <a:gd name="connsiteX255" fmla="*/ 115484 w 234950"/>
              <a:gd name="connsiteY255" fmla="*/ 425681 h 664435"/>
              <a:gd name="connsiteX256" fmla="*/ 101546 w 234950"/>
              <a:gd name="connsiteY256" fmla="*/ 431676 h 664435"/>
              <a:gd name="connsiteX257" fmla="*/ 91590 w 234950"/>
              <a:gd name="connsiteY257" fmla="*/ 431676 h 664435"/>
              <a:gd name="connsiteX258" fmla="*/ 87608 w 234950"/>
              <a:gd name="connsiteY258" fmla="*/ 421684 h 664435"/>
              <a:gd name="connsiteX259" fmla="*/ 87608 w 234950"/>
              <a:gd name="connsiteY259" fmla="*/ 413690 h 664435"/>
              <a:gd name="connsiteX260" fmla="*/ 85617 w 234950"/>
              <a:gd name="connsiteY260" fmla="*/ 417687 h 664435"/>
              <a:gd name="connsiteX261" fmla="*/ 79644 w 234950"/>
              <a:gd name="connsiteY261" fmla="*/ 427679 h 664435"/>
              <a:gd name="connsiteX262" fmla="*/ 73671 w 234950"/>
              <a:gd name="connsiteY262" fmla="*/ 421684 h 664435"/>
              <a:gd name="connsiteX263" fmla="*/ 73671 w 234950"/>
              <a:gd name="connsiteY263" fmla="*/ 409693 h 664435"/>
              <a:gd name="connsiteX264" fmla="*/ 63715 w 234950"/>
              <a:gd name="connsiteY264" fmla="*/ 403697 h 664435"/>
              <a:gd name="connsiteX265" fmla="*/ 61724 w 234950"/>
              <a:gd name="connsiteY265" fmla="*/ 391706 h 664435"/>
              <a:gd name="connsiteX266" fmla="*/ 59733 w 234950"/>
              <a:gd name="connsiteY266" fmla="*/ 381714 h 664435"/>
              <a:gd name="connsiteX267" fmla="*/ 61724 w 234950"/>
              <a:gd name="connsiteY267" fmla="*/ 367724 h 664435"/>
              <a:gd name="connsiteX268" fmla="*/ 57742 w 234950"/>
              <a:gd name="connsiteY268" fmla="*/ 357732 h 664435"/>
              <a:gd name="connsiteX269" fmla="*/ 59733 w 234950"/>
              <a:gd name="connsiteY269" fmla="*/ 335748 h 664435"/>
              <a:gd name="connsiteX270" fmla="*/ 57742 w 234950"/>
              <a:gd name="connsiteY270" fmla="*/ 325756 h 664435"/>
              <a:gd name="connsiteX271" fmla="*/ 53759 w 234950"/>
              <a:gd name="connsiteY271" fmla="*/ 315763 h 664435"/>
              <a:gd name="connsiteX272" fmla="*/ 51768 w 234950"/>
              <a:gd name="connsiteY272" fmla="*/ 307769 h 664435"/>
              <a:gd name="connsiteX273" fmla="*/ 47786 w 234950"/>
              <a:gd name="connsiteY273" fmla="*/ 295778 h 664435"/>
              <a:gd name="connsiteX274" fmla="*/ 39822 w 234950"/>
              <a:gd name="connsiteY274" fmla="*/ 287784 h 664435"/>
              <a:gd name="connsiteX275" fmla="*/ 19911 w 234950"/>
              <a:gd name="connsiteY275" fmla="*/ 271796 h 664435"/>
              <a:gd name="connsiteX276" fmla="*/ 13937 w 234950"/>
              <a:gd name="connsiteY276" fmla="*/ 265801 h 664435"/>
              <a:gd name="connsiteX277" fmla="*/ 5973 w 234950"/>
              <a:gd name="connsiteY277" fmla="*/ 253810 h 664435"/>
              <a:gd name="connsiteX278" fmla="*/ 0 w 234950"/>
              <a:gd name="connsiteY278" fmla="*/ 243817 h 664435"/>
              <a:gd name="connsiteX279" fmla="*/ 1991 w 234950"/>
              <a:gd name="connsiteY279" fmla="*/ 241819 h 664435"/>
              <a:gd name="connsiteX280" fmla="*/ 1991 w 234950"/>
              <a:gd name="connsiteY280" fmla="*/ 235823 h 664435"/>
              <a:gd name="connsiteX281" fmla="*/ 1991 w 234950"/>
              <a:gd name="connsiteY281" fmla="*/ 231826 h 664435"/>
              <a:gd name="connsiteX282" fmla="*/ 3982 w 234950"/>
              <a:gd name="connsiteY282" fmla="*/ 231826 h 664435"/>
              <a:gd name="connsiteX283" fmla="*/ 7964 w 234950"/>
              <a:gd name="connsiteY283" fmla="*/ 233825 h 664435"/>
              <a:gd name="connsiteX284" fmla="*/ 11946 w 234950"/>
              <a:gd name="connsiteY284" fmla="*/ 233825 h 664435"/>
              <a:gd name="connsiteX285" fmla="*/ 15929 w 234950"/>
              <a:gd name="connsiteY285" fmla="*/ 231826 h 664435"/>
              <a:gd name="connsiteX286" fmla="*/ 15929 w 234950"/>
              <a:gd name="connsiteY286" fmla="*/ 227829 h 664435"/>
              <a:gd name="connsiteX287" fmla="*/ 17920 w 234950"/>
              <a:gd name="connsiteY287" fmla="*/ 225831 h 664435"/>
              <a:gd name="connsiteX288" fmla="*/ 19911 w 234950"/>
              <a:gd name="connsiteY288" fmla="*/ 223832 h 664435"/>
              <a:gd name="connsiteX289" fmla="*/ 15929 w 234950"/>
              <a:gd name="connsiteY289" fmla="*/ 221834 h 664435"/>
              <a:gd name="connsiteX290" fmla="*/ 15929 w 234950"/>
              <a:gd name="connsiteY290" fmla="*/ 215838 h 664435"/>
              <a:gd name="connsiteX291" fmla="*/ 15929 w 234950"/>
              <a:gd name="connsiteY291" fmla="*/ 213840 h 664435"/>
              <a:gd name="connsiteX292" fmla="*/ 19911 w 234950"/>
              <a:gd name="connsiteY292" fmla="*/ 211841 h 664435"/>
              <a:gd name="connsiteX293" fmla="*/ 23893 w 234950"/>
              <a:gd name="connsiteY293" fmla="*/ 213840 h 664435"/>
              <a:gd name="connsiteX294" fmla="*/ 25884 w 234950"/>
              <a:gd name="connsiteY294" fmla="*/ 217837 h 664435"/>
              <a:gd name="connsiteX295" fmla="*/ 29866 w 234950"/>
              <a:gd name="connsiteY295" fmla="*/ 213840 h 664435"/>
              <a:gd name="connsiteX296" fmla="*/ 25884 w 234950"/>
              <a:gd name="connsiteY296" fmla="*/ 197852 h 664435"/>
              <a:gd name="connsiteX297" fmla="*/ 23893 w 234950"/>
              <a:gd name="connsiteY297" fmla="*/ 189858 h 664435"/>
              <a:gd name="connsiteX298" fmla="*/ 25884 w 234950"/>
              <a:gd name="connsiteY298" fmla="*/ 183862 h 664435"/>
              <a:gd name="connsiteX299" fmla="*/ 31857 w 234950"/>
              <a:gd name="connsiteY299" fmla="*/ 175868 h 664435"/>
              <a:gd name="connsiteX300" fmla="*/ 31857 w 234950"/>
              <a:gd name="connsiteY300" fmla="*/ 163877 h 664435"/>
              <a:gd name="connsiteX301" fmla="*/ 27875 w 234950"/>
              <a:gd name="connsiteY301" fmla="*/ 157881 h 664435"/>
              <a:gd name="connsiteX302" fmla="*/ 27875 w 234950"/>
              <a:gd name="connsiteY302" fmla="*/ 151886 h 664435"/>
              <a:gd name="connsiteX303" fmla="*/ 39822 w 234950"/>
              <a:gd name="connsiteY303" fmla="*/ 153884 h 664435"/>
              <a:gd name="connsiteX304" fmla="*/ 49777 w 234950"/>
              <a:gd name="connsiteY304" fmla="*/ 155883 h 664435"/>
              <a:gd name="connsiteX305" fmla="*/ 55751 w 234950"/>
              <a:gd name="connsiteY305" fmla="*/ 151886 h 664435"/>
              <a:gd name="connsiteX306" fmla="*/ 55751 w 234950"/>
              <a:gd name="connsiteY306" fmla="*/ 143892 h 664435"/>
              <a:gd name="connsiteX307" fmla="*/ 59733 w 234950"/>
              <a:gd name="connsiteY307" fmla="*/ 137896 h 664435"/>
              <a:gd name="connsiteX308" fmla="*/ 63715 w 234950"/>
              <a:gd name="connsiteY308" fmla="*/ 129902 h 664435"/>
              <a:gd name="connsiteX309" fmla="*/ 65706 w 234950"/>
              <a:gd name="connsiteY309" fmla="*/ 121908 h 664435"/>
              <a:gd name="connsiteX310" fmla="*/ 61724 w 234950"/>
              <a:gd name="connsiteY310" fmla="*/ 115913 h 664435"/>
              <a:gd name="connsiteX311" fmla="*/ 65706 w 234950"/>
              <a:gd name="connsiteY311" fmla="*/ 107919 h 664435"/>
              <a:gd name="connsiteX312" fmla="*/ 71679 w 234950"/>
              <a:gd name="connsiteY312" fmla="*/ 103922 h 664435"/>
              <a:gd name="connsiteX313" fmla="*/ 75662 w 234950"/>
              <a:gd name="connsiteY313" fmla="*/ 93929 h 664435"/>
              <a:gd name="connsiteX314" fmla="*/ 73671 w 234950"/>
              <a:gd name="connsiteY314" fmla="*/ 87934 h 664435"/>
              <a:gd name="connsiteX315" fmla="*/ 71679 w 234950"/>
              <a:gd name="connsiteY315" fmla="*/ 75943 h 664435"/>
              <a:gd name="connsiteX316" fmla="*/ 75662 w 234950"/>
              <a:gd name="connsiteY316" fmla="*/ 69947 h 664435"/>
              <a:gd name="connsiteX317" fmla="*/ 85617 w 234950"/>
              <a:gd name="connsiteY317" fmla="*/ 63952 h 664435"/>
              <a:gd name="connsiteX318" fmla="*/ 91590 w 234950"/>
              <a:gd name="connsiteY318" fmla="*/ 59955 h 664435"/>
              <a:gd name="connsiteX319" fmla="*/ 91590 w 234950"/>
              <a:gd name="connsiteY319" fmla="*/ 57956 h 664435"/>
              <a:gd name="connsiteX320" fmla="*/ 97564 w 234950"/>
              <a:gd name="connsiteY320" fmla="*/ 53959 h 664435"/>
              <a:gd name="connsiteX321" fmla="*/ 101546 w 234950"/>
              <a:gd name="connsiteY321" fmla="*/ 49962 h 664435"/>
              <a:gd name="connsiteX322" fmla="*/ 107519 w 234950"/>
              <a:gd name="connsiteY322" fmla="*/ 49962 h 664435"/>
              <a:gd name="connsiteX323" fmla="*/ 113493 w 234950"/>
              <a:gd name="connsiteY323" fmla="*/ 49962 h 664435"/>
              <a:gd name="connsiteX324" fmla="*/ 119466 w 234950"/>
              <a:gd name="connsiteY324" fmla="*/ 51961 h 664435"/>
              <a:gd name="connsiteX325" fmla="*/ 123448 w 234950"/>
              <a:gd name="connsiteY325" fmla="*/ 47964 h 664435"/>
              <a:gd name="connsiteX326" fmla="*/ 121457 w 234950"/>
              <a:gd name="connsiteY326" fmla="*/ 39970 h 664435"/>
              <a:gd name="connsiteX327" fmla="*/ 127430 w 234950"/>
              <a:gd name="connsiteY327" fmla="*/ 31976 h 664435"/>
              <a:gd name="connsiteX328" fmla="*/ 131412 w 234950"/>
              <a:gd name="connsiteY328" fmla="*/ 25980 h 664435"/>
              <a:gd name="connsiteX329" fmla="*/ 125439 w 234950"/>
              <a:gd name="connsiteY329" fmla="*/ 15988 h 664435"/>
              <a:gd name="connsiteX330" fmla="*/ 121457 w 234950"/>
              <a:gd name="connsiteY330" fmla="*/ 15988 h 664435"/>
              <a:gd name="connsiteX331" fmla="*/ 119466 w 234950"/>
              <a:gd name="connsiteY331" fmla="*/ 13989 h 664435"/>
              <a:gd name="connsiteX332" fmla="*/ 117475 w 234950"/>
              <a:gd name="connsiteY332" fmla="*/ 15988 h 664435"/>
              <a:gd name="connsiteX333" fmla="*/ 119466 w 234950"/>
              <a:gd name="connsiteY333" fmla="*/ 9992 h 664435"/>
              <a:gd name="connsiteX334" fmla="*/ 121457 w 234950"/>
              <a:gd name="connsiteY334" fmla="*/ 3997 h 664435"/>
              <a:gd name="connsiteX335" fmla="*/ 123448 w 234950"/>
              <a:gd name="connsiteY335" fmla="*/ 3997 h 664435"/>
              <a:gd name="connsiteX336" fmla="*/ 123448 w 234950"/>
              <a:gd name="connsiteY336" fmla="*/ 0 h 66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234950" h="664435">
                <a:moveTo>
                  <a:pt x="173566" y="658812"/>
                </a:moveTo>
                <a:cubicBezTo>
                  <a:pt x="173566" y="658812"/>
                  <a:pt x="177800" y="658812"/>
                  <a:pt x="177800" y="660929"/>
                </a:cubicBezTo>
                <a:cubicBezTo>
                  <a:pt x="177800" y="665162"/>
                  <a:pt x="173566" y="665162"/>
                  <a:pt x="171450" y="663045"/>
                </a:cubicBezTo>
                <a:cubicBezTo>
                  <a:pt x="171450" y="660929"/>
                  <a:pt x="173566" y="658812"/>
                  <a:pt x="173566" y="658812"/>
                </a:cubicBezTo>
                <a:close/>
                <a:moveTo>
                  <a:pt x="173038" y="654579"/>
                </a:moveTo>
                <a:cubicBezTo>
                  <a:pt x="175419" y="652462"/>
                  <a:pt x="177801" y="654579"/>
                  <a:pt x="177801" y="656695"/>
                </a:cubicBezTo>
                <a:cubicBezTo>
                  <a:pt x="177801" y="658812"/>
                  <a:pt x="175419" y="658812"/>
                  <a:pt x="173038" y="656695"/>
                </a:cubicBezTo>
                <a:cubicBezTo>
                  <a:pt x="173038" y="654579"/>
                  <a:pt x="173038" y="654579"/>
                  <a:pt x="173038" y="654579"/>
                </a:cubicBezTo>
                <a:close/>
                <a:moveTo>
                  <a:pt x="177800" y="643467"/>
                </a:moveTo>
                <a:cubicBezTo>
                  <a:pt x="177800" y="641350"/>
                  <a:pt x="179388" y="643467"/>
                  <a:pt x="179388" y="643467"/>
                </a:cubicBezTo>
                <a:cubicBezTo>
                  <a:pt x="179388" y="645583"/>
                  <a:pt x="179388" y="647700"/>
                  <a:pt x="177800" y="647700"/>
                </a:cubicBezTo>
                <a:cubicBezTo>
                  <a:pt x="177800" y="647700"/>
                  <a:pt x="176213" y="645583"/>
                  <a:pt x="177800" y="643467"/>
                </a:cubicBezTo>
                <a:close/>
                <a:moveTo>
                  <a:pt x="187855" y="641350"/>
                </a:moveTo>
                <a:cubicBezTo>
                  <a:pt x="189972" y="641350"/>
                  <a:pt x="192088" y="641350"/>
                  <a:pt x="192088" y="643467"/>
                </a:cubicBezTo>
                <a:cubicBezTo>
                  <a:pt x="192088" y="645583"/>
                  <a:pt x="187855" y="647700"/>
                  <a:pt x="187855" y="645583"/>
                </a:cubicBezTo>
                <a:cubicBezTo>
                  <a:pt x="185738" y="641350"/>
                  <a:pt x="187855" y="641350"/>
                  <a:pt x="187855" y="641350"/>
                </a:cubicBezTo>
                <a:close/>
                <a:moveTo>
                  <a:pt x="189707" y="635396"/>
                </a:moveTo>
                <a:cubicBezTo>
                  <a:pt x="192088" y="635396"/>
                  <a:pt x="192088" y="637381"/>
                  <a:pt x="192088" y="639365"/>
                </a:cubicBezTo>
                <a:cubicBezTo>
                  <a:pt x="189707" y="641349"/>
                  <a:pt x="187325" y="641349"/>
                  <a:pt x="187325" y="637381"/>
                </a:cubicBezTo>
                <a:cubicBezTo>
                  <a:pt x="187325" y="633412"/>
                  <a:pt x="189707" y="635396"/>
                  <a:pt x="189707" y="635396"/>
                </a:cubicBezTo>
                <a:close/>
                <a:moveTo>
                  <a:pt x="188279" y="617537"/>
                </a:moveTo>
                <a:cubicBezTo>
                  <a:pt x="190501" y="617537"/>
                  <a:pt x="190501" y="619442"/>
                  <a:pt x="190501" y="621347"/>
                </a:cubicBezTo>
                <a:cubicBezTo>
                  <a:pt x="190501" y="623252"/>
                  <a:pt x="188279" y="627062"/>
                  <a:pt x="183833" y="625157"/>
                </a:cubicBezTo>
                <a:cubicBezTo>
                  <a:pt x="179388" y="625157"/>
                  <a:pt x="181611" y="623252"/>
                  <a:pt x="183833" y="623252"/>
                </a:cubicBezTo>
                <a:cubicBezTo>
                  <a:pt x="183833" y="623252"/>
                  <a:pt x="186056" y="621347"/>
                  <a:pt x="186056" y="621347"/>
                </a:cubicBezTo>
                <a:cubicBezTo>
                  <a:pt x="186056" y="621347"/>
                  <a:pt x="183833" y="617537"/>
                  <a:pt x="188279" y="617537"/>
                </a:cubicBezTo>
                <a:close/>
                <a:moveTo>
                  <a:pt x="179389" y="603250"/>
                </a:moveTo>
                <a:cubicBezTo>
                  <a:pt x="179389" y="603250"/>
                  <a:pt x="179389" y="603250"/>
                  <a:pt x="180976" y="603250"/>
                </a:cubicBezTo>
                <a:cubicBezTo>
                  <a:pt x="180976" y="604838"/>
                  <a:pt x="177800" y="606425"/>
                  <a:pt x="177800" y="604838"/>
                </a:cubicBezTo>
                <a:cubicBezTo>
                  <a:pt x="176213" y="603250"/>
                  <a:pt x="179389" y="603250"/>
                  <a:pt x="179389" y="603250"/>
                </a:cubicBezTo>
                <a:close/>
                <a:moveTo>
                  <a:pt x="176213" y="591343"/>
                </a:moveTo>
                <a:cubicBezTo>
                  <a:pt x="176213" y="588962"/>
                  <a:pt x="177800" y="591343"/>
                  <a:pt x="177800" y="591343"/>
                </a:cubicBezTo>
                <a:cubicBezTo>
                  <a:pt x="179388" y="588962"/>
                  <a:pt x="179388" y="593724"/>
                  <a:pt x="177800" y="593724"/>
                </a:cubicBezTo>
                <a:cubicBezTo>
                  <a:pt x="176213" y="593724"/>
                  <a:pt x="176213" y="593724"/>
                  <a:pt x="176213" y="591343"/>
                </a:cubicBezTo>
                <a:close/>
                <a:moveTo>
                  <a:pt x="183622" y="549672"/>
                </a:moveTo>
                <a:cubicBezTo>
                  <a:pt x="185738" y="551656"/>
                  <a:pt x="187855" y="551656"/>
                  <a:pt x="187855" y="551656"/>
                </a:cubicBezTo>
                <a:cubicBezTo>
                  <a:pt x="189972" y="553640"/>
                  <a:pt x="192088" y="557609"/>
                  <a:pt x="192088" y="557609"/>
                </a:cubicBezTo>
                <a:cubicBezTo>
                  <a:pt x="189972" y="559593"/>
                  <a:pt x="187855" y="559593"/>
                  <a:pt x="189972" y="563562"/>
                </a:cubicBezTo>
                <a:cubicBezTo>
                  <a:pt x="192088" y="565547"/>
                  <a:pt x="192088" y="567531"/>
                  <a:pt x="192088" y="569515"/>
                </a:cubicBezTo>
                <a:cubicBezTo>
                  <a:pt x="192088" y="573484"/>
                  <a:pt x="189972" y="573484"/>
                  <a:pt x="187855" y="571500"/>
                </a:cubicBezTo>
                <a:cubicBezTo>
                  <a:pt x="187855" y="575468"/>
                  <a:pt x="185738" y="577453"/>
                  <a:pt x="183622" y="579437"/>
                </a:cubicBezTo>
                <a:cubicBezTo>
                  <a:pt x="183622" y="579437"/>
                  <a:pt x="179388" y="579437"/>
                  <a:pt x="179388" y="577453"/>
                </a:cubicBezTo>
                <a:cubicBezTo>
                  <a:pt x="181505" y="575468"/>
                  <a:pt x="183622" y="573484"/>
                  <a:pt x="181505" y="573484"/>
                </a:cubicBezTo>
                <a:cubicBezTo>
                  <a:pt x="179388" y="573484"/>
                  <a:pt x="177271" y="577453"/>
                  <a:pt x="175154" y="575468"/>
                </a:cubicBezTo>
                <a:cubicBezTo>
                  <a:pt x="173038" y="575468"/>
                  <a:pt x="175154" y="571500"/>
                  <a:pt x="175154" y="571500"/>
                </a:cubicBezTo>
                <a:cubicBezTo>
                  <a:pt x="177271" y="571500"/>
                  <a:pt x="179388" y="569515"/>
                  <a:pt x="179388" y="565547"/>
                </a:cubicBezTo>
                <a:cubicBezTo>
                  <a:pt x="179388" y="563562"/>
                  <a:pt x="175154" y="565547"/>
                  <a:pt x="175154" y="561578"/>
                </a:cubicBezTo>
                <a:cubicBezTo>
                  <a:pt x="175154" y="557609"/>
                  <a:pt x="177271" y="555625"/>
                  <a:pt x="179388" y="557609"/>
                </a:cubicBezTo>
                <a:cubicBezTo>
                  <a:pt x="179388" y="559593"/>
                  <a:pt x="183622" y="557609"/>
                  <a:pt x="185738" y="557609"/>
                </a:cubicBezTo>
                <a:cubicBezTo>
                  <a:pt x="187855" y="555625"/>
                  <a:pt x="183622" y="553640"/>
                  <a:pt x="183622" y="553640"/>
                </a:cubicBezTo>
                <a:cubicBezTo>
                  <a:pt x="183622" y="553640"/>
                  <a:pt x="179388" y="555625"/>
                  <a:pt x="179388" y="551656"/>
                </a:cubicBezTo>
                <a:cubicBezTo>
                  <a:pt x="179388" y="547687"/>
                  <a:pt x="183622" y="547687"/>
                  <a:pt x="183622" y="549672"/>
                </a:cubicBezTo>
                <a:close/>
                <a:moveTo>
                  <a:pt x="183833" y="515937"/>
                </a:moveTo>
                <a:cubicBezTo>
                  <a:pt x="188279" y="515937"/>
                  <a:pt x="190501" y="517842"/>
                  <a:pt x="190501" y="521652"/>
                </a:cubicBezTo>
                <a:cubicBezTo>
                  <a:pt x="190501" y="523557"/>
                  <a:pt x="190501" y="527367"/>
                  <a:pt x="190501" y="529272"/>
                </a:cubicBezTo>
                <a:cubicBezTo>
                  <a:pt x="190501" y="529272"/>
                  <a:pt x="190501" y="534987"/>
                  <a:pt x="190501" y="536892"/>
                </a:cubicBezTo>
                <a:cubicBezTo>
                  <a:pt x="190501" y="538797"/>
                  <a:pt x="188279" y="544512"/>
                  <a:pt x="186056" y="540702"/>
                </a:cubicBezTo>
                <a:cubicBezTo>
                  <a:pt x="186056" y="536892"/>
                  <a:pt x="186056" y="531177"/>
                  <a:pt x="186056" y="531177"/>
                </a:cubicBezTo>
                <a:cubicBezTo>
                  <a:pt x="186056" y="529272"/>
                  <a:pt x="183833" y="521652"/>
                  <a:pt x="183833" y="521652"/>
                </a:cubicBezTo>
                <a:lnTo>
                  <a:pt x="183833" y="519747"/>
                </a:lnTo>
                <a:cubicBezTo>
                  <a:pt x="183833" y="519747"/>
                  <a:pt x="179388" y="515937"/>
                  <a:pt x="183833" y="515937"/>
                </a:cubicBezTo>
                <a:close/>
                <a:moveTo>
                  <a:pt x="123448" y="0"/>
                </a:moveTo>
                <a:cubicBezTo>
                  <a:pt x="123448" y="0"/>
                  <a:pt x="125439" y="0"/>
                  <a:pt x="127430" y="0"/>
                </a:cubicBezTo>
                <a:cubicBezTo>
                  <a:pt x="129421" y="0"/>
                  <a:pt x="131412" y="0"/>
                  <a:pt x="133404" y="0"/>
                </a:cubicBezTo>
                <a:cubicBezTo>
                  <a:pt x="133404" y="0"/>
                  <a:pt x="135395" y="0"/>
                  <a:pt x="137386" y="1998"/>
                </a:cubicBezTo>
                <a:cubicBezTo>
                  <a:pt x="137386" y="3997"/>
                  <a:pt x="137386" y="5995"/>
                  <a:pt x="137386" y="7994"/>
                </a:cubicBezTo>
                <a:cubicBezTo>
                  <a:pt x="139377" y="7994"/>
                  <a:pt x="139377" y="9992"/>
                  <a:pt x="139377" y="11991"/>
                </a:cubicBezTo>
                <a:cubicBezTo>
                  <a:pt x="139377" y="11991"/>
                  <a:pt x="139377" y="15988"/>
                  <a:pt x="139377" y="15988"/>
                </a:cubicBezTo>
                <a:cubicBezTo>
                  <a:pt x="139377" y="17986"/>
                  <a:pt x="139377" y="19985"/>
                  <a:pt x="139377" y="21983"/>
                </a:cubicBezTo>
                <a:cubicBezTo>
                  <a:pt x="141368" y="21983"/>
                  <a:pt x="141368" y="23982"/>
                  <a:pt x="141368" y="23982"/>
                </a:cubicBezTo>
                <a:cubicBezTo>
                  <a:pt x="141368" y="25980"/>
                  <a:pt x="139377" y="27979"/>
                  <a:pt x="139377" y="29977"/>
                </a:cubicBezTo>
                <a:cubicBezTo>
                  <a:pt x="139377" y="29977"/>
                  <a:pt x="141368" y="33974"/>
                  <a:pt x="141368" y="35973"/>
                </a:cubicBezTo>
                <a:cubicBezTo>
                  <a:pt x="141368" y="37971"/>
                  <a:pt x="143359" y="39970"/>
                  <a:pt x="143359" y="39970"/>
                </a:cubicBezTo>
                <a:cubicBezTo>
                  <a:pt x="145350" y="41968"/>
                  <a:pt x="145350" y="43967"/>
                  <a:pt x="147341" y="45965"/>
                </a:cubicBezTo>
                <a:cubicBezTo>
                  <a:pt x="147341" y="45965"/>
                  <a:pt x="147341" y="49962"/>
                  <a:pt x="147341" y="49962"/>
                </a:cubicBezTo>
                <a:cubicBezTo>
                  <a:pt x="147341" y="51961"/>
                  <a:pt x="149332" y="53959"/>
                  <a:pt x="151323" y="53959"/>
                </a:cubicBezTo>
                <a:cubicBezTo>
                  <a:pt x="153315" y="55958"/>
                  <a:pt x="157297" y="59955"/>
                  <a:pt x="157297" y="59955"/>
                </a:cubicBezTo>
                <a:cubicBezTo>
                  <a:pt x="157297" y="59955"/>
                  <a:pt x="159288" y="59955"/>
                  <a:pt x="159288" y="59955"/>
                </a:cubicBezTo>
                <a:cubicBezTo>
                  <a:pt x="159288" y="59955"/>
                  <a:pt x="163270" y="61953"/>
                  <a:pt x="163270" y="63952"/>
                </a:cubicBezTo>
                <a:cubicBezTo>
                  <a:pt x="163270" y="63952"/>
                  <a:pt x="163270" y="67949"/>
                  <a:pt x="163270" y="67949"/>
                </a:cubicBezTo>
                <a:cubicBezTo>
                  <a:pt x="163270" y="69947"/>
                  <a:pt x="163270" y="69947"/>
                  <a:pt x="163270" y="71946"/>
                </a:cubicBezTo>
                <a:cubicBezTo>
                  <a:pt x="163270" y="73944"/>
                  <a:pt x="161279" y="75943"/>
                  <a:pt x="161279" y="77941"/>
                </a:cubicBezTo>
                <a:cubicBezTo>
                  <a:pt x="161279" y="79940"/>
                  <a:pt x="161279" y="79940"/>
                  <a:pt x="161279" y="81938"/>
                </a:cubicBezTo>
                <a:cubicBezTo>
                  <a:pt x="159288" y="83937"/>
                  <a:pt x="159288" y="89932"/>
                  <a:pt x="161279" y="89932"/>
                </a:cubicBezTo>
                <a:cubicBezTo>
                  <a:pt x="161279" y="91931"/>
                  <a:pt x="163270" y="93929"/>
                  <a:pt x="163270" y="93929"/>
                </a:cubicBezTo>
                <a:cubicBezTo>
                  <a:pt x="163270" y="93929"/>
                  <a:pt x="163270" y="99925"/>
                  <a:pt x="161279" y="99925"/>
                </a:cubicBezTo>
                <a:cubicBezTo>
                  <a:pt x="161279" y="101923"/>
                  <a:pt x="159288" y="103922"/>
                  <a:pt x="159288" y="103922"/>
                </a:cubicBezTo>
                <a:cubicBezTo>
                  <a:pt x="159288" y="105920"/>
                  <a:pt x="157297" y="105920"/>
                  <a:pt x="157297" y="105920"/>
                </a:cubicBezTo>
                <a:cubicBezTo>
                  <a:pt x="157297" y="107919"/>
                  <a:pt x="159288" y="109917"/>
                  <a:pt x="159288" y="111916"/>
                </a:cubicBezTo>
                <a:cubicBezTo>
                  <a:pt x="159288" y="111916"/>
                  <a:pt x="157297" y="113914"/>
                  <a:pt x="157297" y="115913"/>
                </a:cubicBezTo>
                <a:cubicBezTo>
                  <a:pt x="157297" y="115913"/>
                  <a:pt x="155306" y="117911"/>
                  <a:pt x="155306" y="119910"/>
                </a:cubicBezTo>
                <a:cubicBezTo>
                  <a:pt x="155306" y="119910"/>
                  <a:pt x="155306" y="119910"/>
                  <a:pt x="155306" y="121908"/>
                </a:cubicBezTo>
                <a:cubicBezTo>
                  <a:pt x="153315" y="121908"/>
                  <a:pt x="153315" y="123907"/>
                  <a:pt x="153315" y="123907"/>
                </a:cubicBezTo>
                <a:cubicBezTo>
                  <a:pt x="151323" y="125905"/>
                  <a:pt x="151323" y="125905"/>
                  <a:pt x="149332" y="127904"/>
                </a:cubicBezTo>
                <a:cubicBezTo>
                  <a:pt x="149332" y="127904"/>
                  <a:pt x="149332" y="127904"/>
                  <a:pt x="147341" y="129902"/>
                </a:cubicBezTo>
                <a:cubicBezTo>
                  <a:pt x="147341" y="129902"/>
                  <a:pt x="145350" y="131901"/>
                  <a:pt x="145350" y="133899"/>
                </a:cubicBezTo>
                <a:cubicBezTo>
                  <a:pt x="143359" y="135898"/>
                  <a:pt x="141368" y="137896"/>
                  <a:pt x="141368" y="137896"/>
                </a:cubicBezTo>
                <a:cubicBezTo>
                  <a:pt x="141368" y="139895"/>
                  <a:pt x="139377" y="141893"/>
                  <a:pt x="137386" y="143892"/>
                </a:cubicBezTo>
                <a:cubicBezTo>
                  <a:pt x="137386" y="143892"/>
                  <a:pt x="135395" y="145890"/>
                  <a:pt x="135395" y="147889"/>
                </a:cubicBezTo>
                <a:cubicBezTo>
                  <a:pt x="135395" y="147889"/>
                  <a:pt x="137386" y="153884"/>
                  <a:pt x="137386" y="153884"/>
                </a:cubicBezTo>
                <a:cubicBezTo>
                  <a:pt x="137386" y="153884"/>
                  <a:pt x="139377" y="157881"/>
                  <a:pt x="139377" y="159880"/>
                </a:cubicBezTo>
                <a:cubicBezTo>
                  <a:pt x="139377" y="161878"/>
                  <a:pt x="141368" y="163877"/>
                  <a:pt x="141368" y="165876"/>
                </a:cubicBezTo>
                <a:cubicBezTo>
                  <a:pt x="141368" y="165876"/>
                  <a:pt x="141368" y="167874"/>
                  <a:pt x="141368" y="169873"/>
                </a:cubicBezTo>
                <a:cubicBezTo>
                  <a:pt x="141368" y="169873"/>
                  <a:pt x="143359" y="171871"/>
                  <a:pt x="145350" y="171871"/>
                </a:cubicBezTo>
                <a:cubicBezTo>
                  <a:pt x="145350" y="171871"/>
                  <a:pt x="147341" y="171871"/>
                  <a:pt x="147341" y="171871"/>
                </a:cubicBezTo>
                <a:cubicBezTo>
                  <a:pt x="149332" y="171871"/>
                  <a:pt x="149332" y="169873"/>
                  <a:pt x="149332" y="167874"/>
                </a:cubicBezTo>
                <a:cubicBezTo>
                  <a:pt x="149332" y="167874"/>
                  <a:pt x="149332" y="167874"/>
                  <a:pt x="149332" y="165876"/>
                </a:cubicBezTo>
                <a:cubicBezTo>
                  <a:pt x="151323" y="165876"/>
                  <a:pt x="153315" y="165876"/>
                  <a:pt x="155306" y="165876"/>
                </a:cubicBezTo>
                <a:cubicBezTo>
                  <a:pt x="157297" y="165876"/>
                  <a:pt x="157297" y="165876"/>
                  <a:pt x="159288" y="165876"/>
                </a:cubicBezTo>
                <a:cubicBezTo>
                  <a:pt x="161279" y="165876"/>
                  <a:pt x="161279" y="165876"/>
                  <a:pt x="163270" y="165876"/>
                </a:cubicBezTo>
                <a:cubicBezTo>
                  <a:pt x="165261" y="167874"/>
                  <a:pt x="165261" y="169873"/>
                  <a:pt x="167252" y="169873"/>
                </a:cubicBezTo>
                <a:cubicBezTo>
                  <a:pt x="167252" y="169873"/>
                  <a:pt x="167252" y="169873"/>
                  <a:pt x="169243" y="169873"/>
                </a:cubicBezTo>
                <a:cubicBezTo>
                  <a:pt x="171235" y="169873"/>
                  <a:pt x="171235" y="177867"/>
                  <a:pt x="171235" y="177867"/>
                </a:cubicBezTo>
                <a:cubicBezTo>
                  <a:pt x="175217" y="181864"/>
                  <a:pt x="175217" y="181864"/>
                  <a:pt x="175217" y="181864"/>
                </a:cubicBezTo>
                <a:cubicBezTo>
                  <a:pt x="175217" y="181864"/>
                  <a:pt x="175217" y="183862"/>
                  <a:pt x="177208" y="185861"/>
                </a:cubicBezTo>
                <a:cubicBezTo>
                  <a:pt x="177208" y="185861"/>
                  <a:pt x="179199" y="185861"/>
                  <a:pt x="179199" y="187859"/>
                </a:cubicBezTo>
                <a:cubicBezTo>
                  <a:pt x="179199" y="189858"/>
                  <a:pt x="179199" y="189858"/>
                  <a:pt x="179199" y="191856"/>
                </a:cubicBezTo>
                <a:cubicBezTo>
                  <a:pt x="177208" y="193855"/>
                  <a:pt x="177208" y="197852"/>
                  <a:pt x="179199" y="197852"/>
                </a:cubicBezTo>
                <a:cubicBezTo>
                  <a:pt x="179199" y="199850"/>
                  <a:pt x="181190" y="199850"/>
                  <a:pt x="183182" y="199850"/>
                </a:cubicBezTo>
                <a:cubicBezTo>
                  <a:pt x="185173" y="199850"/>
                  <a:pt x="189155" y="199850"/>
                  <a:pt x="189155" y="199850"/>
                </a:cubicBezTo>
                <a:cubicBezTo>
                  <a:pt x="189155" y="199850"/>
                  <a:pt x="189155" y="201849"/>
                  <a:pt x="189155" y="203847"/>
                </a:cubicBezTo>
                <a:cubicBezTo>
                  <a:pt x="187164" y="203847"/>
                  <a:pt x="187164" y="205846"/>
                  <a:pt x="187164" y="205846"/>
                </a:cubicBezTo>
                <a:cubicBezTo>
                  <a:pt x="187164" y="205846"/>
                  <a:pt x="187164" y="205846"/>
                  <a:pt x="185173" y="207844"/>
                </a:cubicBezTo>
                <a:cubicBezTo>
                  <a:pt x="185173" y="209843"/>
                  <a:pt x="185173" y="211841"/>
                  <a:pt x="185173" y="213840"/>
                </a:cubicBezTo>
                <a:cubicBezTo>
                  <a:pt x="185173" y="213840"/>
                  <a:pt x="185173" y="215838"/>
                  <a:pt x="185173" y="217837"/>
                </a:cubicBezTo>
                <a:cubicBezTo>
                  <a:pt x="187164" y="217837"/>
                  <a:pt x="187164" y="217837"/>
                  <a:pt x="187164" y="219835"/>
                </a:cubicBezTo>
                <a:cubicBezTo>
                  <a:pt x="187164" y="219835"/>
                  <a:pt x="185173" y="219835"/>
                  <a:pt x="185173" y="221834"/>
                </a:cubicBezTo>
                <a:cubicBezTo>
                  <a:pt x="185173" y="223832"/>
                  <a:pt x="185173" y="223832"/>
                  <a:pt x="185173" y="223832"/>
                </a:cubicBezTo>
                <a:cubicBezTo>
                  <a:pt x="185173" y="223832"/>
                  <a:pt x="183182" y="223832"/>
                  <a:pt x="183182" y="225831"/>
                </a:cubicBezTo>
                <a:cubicBezTo>
                  <a:pt x="183182" y="227829"/>
                  <a:pt x="183182" y="227829"/>
                  <a:pt x="183182" y="229828"/>
                </a:cubicBezTo>
                <a:cubicBezTo>
                  <a:pt x="183182" y="229828"/>
                  <a:pt x="185173" y="231826"/>
                  <a:pt x="187164" y="233825"/>
                </a:cubicBezTo>
                <a:cubicBezTo>
                  <a:pt x="187164" y="233825"/>
                  <a:pt x="193137" y="233825"/>
                  <a:pt x="193137" y="233825"/>
                </a:cubicBezTo>
                <a:cubicBezTo>
                  <a:pt x="193137" y="231826"/>
                  <a:pt x="201102" y="231826"/>
                  <a:pt x="201102" y="231826"/>
                </a:cubicBezTo>
                <a:cubicBezTo>
                  <a:pt x="203093" y="231826"/>
                  <a:pt x="203093" y="231826"/>
                  <a:pt x="203093" y="231826"/>
                </a:cubicBezTo>
                <a:cubicBezTo>
                  <a:pt x="205084" y="235823"/>
                  <a:pt x="205084" y="235823"/>
                  <a:pt x="205084" y="235823"/>
                </a:cubicBezTo>
                <a:cubicBezTo>
                  <a:pt x="205084" y="235823"/>
                  <a:pt x="205084" y="235823"/>
                  <a:pt x="205084" y="237822"/>
                </a:cubicBezTo>
                <a:cubicBezTo>
                  <a:pt x="205084" y="239820"/>
                  <a:pt x="205084" y="241819"/>
                  <a:pt x="205084" y="241819"/>
                </a:cubicBezTo>
                <a:cubicBezTo>
                  <a:pt x="205084" y="243817"/>
                  <a:pt x="205084" y="245816"/>
                  <a:pt x="207075" y="245816"/>
                </a:cubicBezTo>
                <a:cubicBezTo>
                  <a:pt x="209066" y="245816"/>
                  <a:pt x="209066" y="243817"/>
                  <a:pt x="211057" y="243817"/>
                </a:cubicBezTo>
                <a:cubicBezTo>
                  <a:pt x="211057" y="243817"/>
                  <a:pt x="213048" y="243817"/>
                  <a:pt x="215039" y="243817"/>
                </a:cubicBezTo>
                <a:cubicBezTo>
                  <a:pt x="217030" y="243817"/>
                  <a:pt x="217030" y="245816"/>
                  <a:pt x="219021" y="245816"/>
                </a:cubicBezTo>
                <a:cubicBezTo>
                  <a:pt x="221013" y="245816"/>
                  <a:pt x="224995" y="245816"/>
                  <a:pt x="224995" y="245816"/>
                </a:cubicBezTo>
                <a:cubicBezTo>
                  <a:pt x="224995" y="243817"/>
                  <a:pt x="228977" y="243817"/>
                  <a:pt x="228977" y="243817"/>
                </a:cubicBezTo>
                <a:cubicBezTo>
                  <a:pt x="230968" y="243817"/>
                  <a:pt x="232959" y="243817"/>
                  <a:pt x="234950" y="243817"/>
                </a:cubicBezTo>
                <a:cubicBezTo>
                  <a:pt x="234950" y="245816"/>
                  <a:pt x="234950" y="247814"/>
                  <a:pt x="234950" y="247814"/>
                </a:cubicBezTo>
                <a:cubicBezTo>
                  <a:pt x="234950" y="247814"/>
                  <a:pt x="228977" y="249813"/>
                  <a:pt x="226986" y="249813"/>
                </a:cubicBezTo>
                <a:cubicBezTo>
                  <a:pt x="224995" y="249813"/>
                  <a:pt x="224995" y="251811"/>
                  <a:pt x="224995" y="253810"/>
                </a:cubicBezTo>
                <a:cubicBezTo>
                  <a:pt x="224995" y="255808"/>
                  <a:pt x="223004" y="257807"/>
                  <a:pt x="221013" y="261804"/>
                </a:cubicBezTo>
                <a:cubicBezTo>
                  <a:pt x="221013" y="265801"/>
                  <a:pt x="221013" y="271796"/>
                  <a:pt x="221013" y="271796"/>
                </a:cubicBezTo>
                <a:cubicBezTo>
                  <a:pt x="221013" y="271796"/>
                  <a:pt x="219021" y="277792"/>
                  <a:pt x="217030" y="277792"/>
                </a:cubicBezTo>
                <a:cubicBezTo>
                  <a:pt x="215039" y="281789"/>
                  <a:pt x="215039" y="283787"/>
                  <a:pt x="213048" y="285786"/>
                </a:cubicBezTo>
                <a:cubicBezTo>
                  <a:pt x="213048" y="285786"/>
                  <a:pt x="209066" y="285786"/>
                  <a:pt x="207075" y="285786"/>
                </a:cubicBezTo>
                <a:cubicBezTo>
                  <a:pt x="205084" y="285786"/>
                  <a:pt x="203093" y="283787"/>
                  <a:pt x="201102" y="285786"/>
                </a:cubicBezTo>
                <a:cubicBezTo>
                  <a:pt x="201102" y="287784"/>
                  <a:pt x="201102" y="287784"/>
                  <a:pt x="201102" y="291781"/>
                </a:cubicBezTo>
                <a:cubicBezTo>
                  <a:pt x="201102" y="293780"/>
                  <a:pt x="201102" y="295778"/>
                  <a:pt x="197119" y="295778"/>
                </a:cubicBezTo>
                <a:cubicBezTo>
                  <a:pt x="195128" y="295778"/>
                  <a:pt x="193137" y="297777"/>
                  <a:pt x="191146" y="295778"/>
                </a:cubicBezTo>
                <a:cubicBezTo>
                  <a:pt x="191146" y="295778"/>
                  <a:pt x="191146" y="293780"/>
                  <a:pt x="189155" y="291781"/>
                </a:cubicBezTo>
                <a:cubicBezTo>
                  <a:pt x="187164" y="291781"/>
                  <a:pt x="185173" y="289783"/>
                  <a:pt x="183182" y="289783"/>
                </a:cubicBezTo>
                <a:cubicBezTo>
                  <a:pt x="181190" y="289783"/>
                  <a:pt x="179199" y="289783"/>
                  <a:pt x="177208" y="289783"/>
                </a:cubicBezTo>
                <a:cubicBezTo>
                  <a:pt x="175217" y="289783"/>
                  <a:pt x="177208" y="291781"/>
                  <a:pt x="175217" y="293780"/>
                </a:cubicBezTo>
                <a:cubicBezTo>
                  <a:pt x="175217" y="295778"/>
                  <a:pt x="173226" y="297777"/>
                  <a:pt x="171235" y="299775"/>
                </a:cubicBezTo>
                <a:cubicBezTo>
                  <a:pt x="169243" y="299775"/>
                  <a:pt x="167252" y="299775"/>
                  <a:pt x="163270" y="301774"/>
                </a:cubicBezTo>
                <a:cubicBezTo>
                  <a:pt x="161279" y="301774"/>
                  <a:pt x="161279" y="299775"/>
                  <a:pt x="159288" y="301774"/>
                </a:cubicBezTo>
                <a:cubicBezTo>
                  <a:pt x="157297" y="303772"/>
                  <a:pt x="155306" y="303772"/>
                  <a:pt x="153315" y="307769"/>
                </a:cubicBezTo>
                <a:cubicBezTo>
                  <a:pt x="153315" y="309768"/>
                  <a:pt x="153315" y="311766"/>
                  <a:pt x="153315" y="315763"/>
                </a:cubicBezTo>
                <a:cubicBezTo>
                  <a:pt x="155306" y="315763"/>
                  <a:pt x="153315" y="321759"/>
                  <a:pt x="153315" y="323757"/>
                </a:cubicBezTo>
                <a:cubicBezTo>
                  <a:pt x="153315" y="325756"/>
                  <a:pt x="153315" y="329753"/>
                  <a:pt x="151323" y="331751"/>
                </a:cubicBezTo>
                <a:cubicBezTo>
                  <a:pt x="151323" y="333750"/>
                  <a:pt x="153315" y="343742"/>
                  <a:pt x="153315" y="345741"/>
                </a:cubicBezTo>
                <a:cubicBezTo>
                  <a:pt x="153315" y="347739"/>
                  <a:pt x="153315" y="351736"/>
                  <a:pt x="153315" y="351736"/>
                </a:cubicBezTo>
                <a:cubicBezTo>
                  <a:pt x="155306" y="353735"/>
                  <a:pt x="157297" y="353735"/>
                  <a:pt x="157297" y="353735"/>
                </a:cubicBezTo>
                <a:cubicBezTo>
                  <a:pt x="159288" y="355733"/>
                  <a:pt x="159288" y="357732"/>
                  <a:pt x="159288" y="357732"/>
                </a:cubicBezTo>
                <a:cubicBezTo>
                  <a:pt x="159288" y="357732"/>
                  <a:pt x="163270" y="357732"/>
                  <a:pt x="163270" y="359730"/>
                </a:cubicBezTo>
                <a:cubicBezTo>
                  <a:pt x="165261" y="359730"/>
                  <a:pt x="165261" y="363727"/>
                  <a:pt x="165261" y="365726"/>
                </a:cubicBezTo>
                <a:cubicBezTo>
                  <a:pt x="167252" y="367724"/>
                  <a:pt x="169243" y="369723"/>
                  <a:pt x="169243" y="371721"/>
                </a:cubicBezTo>
                <a:cubicBezTo>
                  <a:pt x="171235" y="371721"/>
                  <a:pt x="173226" y="373720"/>
                  <a:pt x="173226" y="373720"/>
                </a:cubicBezTo>
                <a:cubicBezTo>
                  <a:pt x="173226" y="373720"/>
                  <a:pt x="177208" y="371721"/>
                  <a:pt x="177208" y="373720"/>
                </a:cubicBezTo>
                <a:cubicBezTo>
                  <a:pt x="177208" y="377717"/>
                  <a:pt x="179199" y="379715"/>
                  <a:pt x="179199" y="381714"/>
                </a:cubicBezTo>
                <a:cubicBezTo>
                  <a:pt x="179199" y="383712"/>
                  <a:pt x="181190" y="385711"/>
                  <a:pt x="181190" y="385711"/>
                </a:cubicBezTo>
                <a:cubicBezTo>
                  <a:pt x="181190" y="385711"/>
                  <a:pt x="185173" y="387709"/>
                  <a:pt x="185173" y="389708"/>
                </a:cubicBezTo>
                <a:cubicBezTo>
                  <a:pt x="187164" y="389708"/>
                  <a:pt x="187164" y="393705"/>
                  <a:pt x="189155" y="395703"/>
                </a:cubicBezTo>
                <a:cubicBezTo>
                  <a:pt x="189155" y="397702"/>
                  <a:pt x="191146" y="401699"/>
                  <a:pt x="191146" y="403697"/>
                </a:cubicBezTo>
                <a:cubicBezTo>
                  <a:pt x="193137" y="405696"/>
                  <a:pt x="191146" y="409693"/>
                  <a:pt x="193137" y="413690"/>
                </a:cubicBezTo>
                <a:cubicBezTo>
                  <a:pt x="195128" y="413690"/>
                  <a:pt x="193137" y="413690"/>
                  <a:pt x="197119" y="413690"/>
                </a:cubicBezTo>
                <a:cubicBezTo>
                  <a:pt x="199110" y="413690"/>
                  <a:pt x="199110" y="413690"/>
                  <a:pt x="199110" y="413690"/>
                </a:cubicBezTo>
                <a:cubicBezTo>
                  <a:pt x="201102" y="417687"/>
                  <a:pt x="203093" y="417687"/>
                  <a:pt x="201102" y="419685"/>
                </a:cubicBezTo>
                <a:cubicBezTo>
                  <a:pt x="199110" y="421684"/>
                  <a:pt x="195128" y="423682"/>
                  <a:pt x="195128" y="425681"/>
                </a:cubicBezTo>
                <a:cubicBezTo>
                  <a:pt x="193137" y="427679"/>
                  <a:pt x="191146" y="429678"/>
                  <a:pt x="191146" y="431676"/>
                </a:cubicBezTo>
                <a:cubicBezTo>
                  <a:pt x="189155" y="433675"/>
                  <a:pt x="189155" y="437672"/>
                  <a:pt x="191146" y="439670"/>
                </a:cubicBezTo>
                <a:cubicBezTo>
                  <a:pt x="191146" y="441669"/>
                  <a:pt x="191146" y="443667"/>
                  <a:pt x="189155" y="445666"/>
                </a:cubicBezTo>
                <a:cubicBezTo>
                  <a:pt x="189155" y="447664"/>
                  <a:pt x="187164" y="447664"/>
                  <a:pt x="187164" y="449663"/>
                </a:cubicBezTo>
                <a:cubicBezTo>
                  <a:pt x="187164" y="449663"/>
                  <a:pt x="185173" y="451661"/>
                  <a:pt x="185173" y="453660"/>
                </a:cubicBezTo>
                <a:cubicBezTo>
                  <a:pt x="187164" y="455658"/>
                  <a:pt x="185173" y="455658"/>
                  <a:pt x="187164" y="457657"/>
                </a:cubicBezTo>
                <a:cubicBezTo>
                  <a:pt x="187164" y="461654"/>
                  <a:pt x="189155" y="461654"/>
                  <a:pt x="189155" y="463652"/>
                </a:cubicBezTo>
                <a:cubicBezTo>
                  <a:pt x="189155" y="465651"/>
                  <a:pt x="191146" y="467649"/>
                  <a:pt x="191146" y="469648"/>
                </a:cubicBezTo>
                <a:cubicBezTo>
                  <a:pt x="191146" y="469648"/>
                  <a:pt x="191146" y="469648"/>
                  <a:pt x="193137" y="471646"/>
                </a:cubicBezTo>
                <a:cubicBezTo>
                  <a:pt x="195128" y="471646"/>
                  <a:pt x="197119" y="471646"/>
                  <a:pt x="197119" y="473645"/>
                </a:cubicBezTo>
                <a:cubicBezTo>
                  <a:pt x="199110" y="473645"/>
                  <a:pt x="199110" y="477642"/>
                  <a:pt x="199110" y="477642"/>
                </a:cubicBezTo>
                <a:cubicBezTo>
                  <a:pt x="201102" y="479640"/>
                  <a:pt x="201102" y="479640"/>
                  <a:pt x="201102" y="479640"/>
                </a:cubicBezTo>
                <a:cubicBezTo>
                  <a:pt x="203093" y="479640"/>
                  <a:pt x="205084" y="483637"/>
                  <a:pt x="205084" y="485636"/>
                </a:cubicBezTo>
                <a:cubicBezTo>
                  <a:pt x="205084" y="485636"/>
                  <a:pt x="207075" y="491631"/>
                  <a:pt x="209066" y="491631"/>
                </a:cubicBezTo>
                <a:cubicBezTo>
                  <a:pt x="213048" y="491631"/>
                  <a:pt x="215039" y="491631"/>
                  <a:pt x="215039" y="493630"/>
                </a:cubicBezTo>
                <a:cubicBezTo>
                  <a:pt x="217030" y="493630"/>
                  <a:pt x="217030" y="495628"/>
                  <a:pt x="217030" y="497627"/>
                </a:cubicBezTo>
                <a:cubicBezTo>
                  <a:pt x="217030" y="499625"/>
                  <a:pt x="215039" y="509618"/>
                  <a:pt x="215039" y="511616"/>
                </a:cubicBezTo>
                <a:cubicBezTo>
                  <a:pt x="213048" y="515613"/>
                  <a:pt x="213048" y="521609"/>
                  <a:pt x="213048" y="523608"/>
                </a:cubicBezTo>
                <a:cubicBezTo>
                  <a:pt x="213048" y="525606"/>
                  <a:pt x="215039" y="529603"/>
                  <a:pt x="215039" y="531602"/>
                </a:cubicBezTo>
                <a:cubicBezTo>
                  <a:pt x="215039" y="533600"/>
                  <a:pt x="213048" y="533600"/>
                  <a:pt x="217030" y="535599"/>
                </a:cubicBezTo>
                <a:cubicBezTo>
                  <a:pt x="219021" y="537597"/>
                  <a:pt x="223004" y="539596"/>
                  <a:pt x="223004" y="539596"/>
                </a:cubicBezTo>
                <a:cubicBezTo>
                  <a:pt x="224995" y="541594"/>
                  <a:pt x="224995" y="545591"/>
                  <a:pt x="224995" y="545591"/>
                </a:cubicBezTo>
                <a:cubicBezTo>
                  <a:pt x="224995" y="547590"/>
                  <a:pt x="224995" y="551587"/>
                  <a:pt x="224995" y="551587"/>
                </a:cubicBezTo>
                <a:cubicBezTo>
                  <a:pt x="224995" y="553585"/>
                  <a:pt x="223004" y="557582"/>
                  <a:pt x="221013" y="557582"/>
                </a:cubicBezTo>
                <a:cubicBezTo>
                  <a:pt x="221013" y="559581"/>
                  <a:pt x="219021" y="563578"/>
                  <a:pt x="219021" y="563578"/>
                </a:cubicBezTo>
                <a:cubicBezTo>
                  <a:pt x="217030" y="565576"/>
                  <a:pt x="219021" y="569573"/>
                  <a:pt x="219021" y="571572"/>
                </a:cubicBezTo>
                <a:cubicBezTo>
                  <a:pt x="217030" y="573570"/>
                  <a:pt x="217030" y="575569"/>
                  <a:pt x="217030" y="575569"/>
                </a:cubicBezTo>
                <a:cubicBezTo>
                  <a:pt x="217030" y="575569"/>
                  <a:pt x="215039" y="583563"/>
                  <a:pt x="215039" y="583563"/>
                </a:cubicBezTo>
                <a:cubicBezTo>
                  <a:pt x="213048" y="585561"/>
                  <a:pt x="209066" y="587560"/>
                  <a:pt x="209066" y="589558"/>
                </a:cubicBezTo>
                <a:cubicBezTo>
                  <a:pt x="209066" y="591557"/>
                  <a:pt x="205084" y="595554"/>
                  <a:pt x="203093" y="595554"/>
                </a:cubicBezTo>
                <a:cubicBezTo>
                  <a:pt x="203093" y="597552"/>
                  <a:pt x="201102" y="599551"/>
                  <a:pt x="201102" y="603548"/>
                </a:cubicBezTo>
                <a:cubicBezTo>
                  <a:pt x="201102" y="605546"/>
                  <a:pt x="201102" y="607545"/>
                  <a:pt x="201102" y="607545"/>
                </a:cubicBezTo>
                <a:cubicBezTo>
                  <a:pt x="197119" y="607545"/>
                  <a:pt x="197119" y="613540"/>
                  <a:pt x="197119" y="613540"/>
                </a:cubicBezTo>
                <a:cubicBezTo>
                  <a:pt x="197119" y="613540"/>
                  <a:pt x="189155" y="617537"/>
                  <a:pt x="187164" y="615539"/>
                </a:cubicBezTo>
                <a:cubicBezTo>
                  <a:pt x="187164" y="611542"/>
                  <a:pt x="189155" y="609543"/>
                  <a:pt x="191146" y="607545"/>
                </a:cubicBezTo>
                <a:lnTo>
                  <a:pt x="191146" y="593682"/>
                </a:lnTo>
                <a:lnTo>
                  <a:pt x="187643" y="596899"/>
                </a:lnTo>
                <a:cubicBezTo>
                  <a:pt x="183198" y="596899"/>
                  <a:pt x="183198" y="592817"/>
                  <a:pt x="183198" y="588735"/>
                </a:cubicBezTo>
                <a:cubicBezTo>
                  <a:pt x="180975" y="582612"/>
                  <a:pt x="185420" y="582612"/>
                  <a:pt x="185420" y="582612"/>
                </a:cubicBezTo>
                <a:cubicBezTo>
                  <a:pt x="187643" y="582612"/>
                  <a:pt x="187643" y="586694"/>
                  <a:pt x="187643" y="590776"/>
                </a:cubicBezTo>
                <a:lnTo>
                  <a:pt x="191742" y="592658"/>
                </a:lnTo>
                <a:lnTo>
                  <a:pt x="195128" y="587560"/>
                </a:lnTo>
                <a:cubicBezTo>
                  <a:pt x="197119" y="587560"/>
                  <a:pt x="195128" y="583563"/>
                  <a:pt x="195128" y="581564"/>
                </a:cubicBezTo>
                <a:cubicBezTo>
                  <a:pt x="197119" y="577567"/>
                  <a:pt x="195128" y="575569"/>
                  <a:pt x="195128" y="571572"/>
                </a:cubicBezTo>
                <a:cubicBezTo>
                  <a:pt x="195128" y="567575"/>
                  <a:pt x="197119" y="569573"/>
                  <a:pt x="197119" y="569573"/>
                </a:cubicBezTo>
                <a:cubicBezTo>
                  <a:pt x="197119" y="569573"/>
                  <a:pt x="203093" y="569573"/>
                  <a:pt x="203093" y="567575"/>
                </a:cubicBezTo>
                <a:cubicBezTo>
                  <a:pt x="203093" y="563578"/>
                  <a:pt x="199110" y="563578"/>
                  <a:pt x="195128" y="561579"/>
                </a:cubicBezTo>
                <a:cubicBezTo>
                  <a:pt x="189155" y="559581"/>
                  <a:pt x="193137" y="551587"/>
                  <a:pt x="193137" y="551587"/>
                </a:cubicBezTo>
                <a:cubicBezTo>
                  <a:pt x="193137" y="551587"/>
                  <a:pt x="191146" y="543593"/>
                  <a:pt x="195128" y="541594"/>
                </a:cubicBezTo>
                <a:cubicBezTo>
                  <a:pt x="197119" y="537597"/>
                  <a:pt x="197119" y="533600"/>
                  <a:pt x="197119" y="529603"/>
                </a:cubicBezTo>
                <a:cubicBezTo>
                  <a:pt x="197119" y="525606"/>
                  <a:pt x="195128" y="525606"/>
                  <a:pt x="195128" y="523608"/>
                </a:cubicBezTo>
                <a:cubicBezTo>
                  <a:pt x="195128" y="521609"/>
                  <a:pt x="195128" y="519611"/>
                  <a:pt x="191146" y="515613"/>
                </a:cubicBezTo>
                <a:cubicBezTo>
                  <a:pt x="189155" y="513615"/>
                  <a:pt x="187164" y="509618"/>
                  <a:pt x="187164" y="507619"/>
                </a:cubicBezTo>
                <a:cubicBezTo>
                  <a:pt x="187164" y="503622"/>
                  <a:pt x="183182" y="503622"/>
                  <a:pt x="179199" y="503622"/>
                </a:cubicBezTo>
                <a:cubicBezTo>
                  <a:pt x="177208" y="503622"/>
                  <a:pt x="177208" y="497627"/>
                  <a:pt x="177208" y="493630"/>
                </a:cubicBezTo>
                <a:cubicBezTo>
                  <a:pt x="179199" y="491631"/>
                  <a:pt x="177208" y="485636"/>
                  <a:pt x="175217" y="485636"/>
                </a:cubicBezTo>
                <a:cubicBezTo>
                  <a:pt x="171235" y="485636"/>
                  <a:pt x="171235" y="479640"/>
                  <a:pt x="175217" y="477642"/>
                </a:cubicBezTo>
                <a:cubicBezTo>
                  <a:pt x="179199" y="477642"/>
                  <a:pt x="179199" y="471646"/>
                  <a:pt x="175217" y="471646"/>
                </a:cubicBezTo>
                <a:cubicBezTo>
                  <a:pt x="171235" y="469648"/>
                  <a:pt x="173226" y="471646"/>
                  <a:pt x="171235" y="465651"/>
                </a:cubicBezTo>
                <a:cubicBezTo>
                  <a:pt x="167252" y="459655"/>
                  <a:pt x="169243" y="455658"/>
                  <a:pt x="171235" y="449663"/>
                </a:cubicBezTo>
                <a:cubicBezTo>
                  <a:pt x="171235" y="443667"/>
                  <a:pt x="167252" y="447664"/>
                  <a:pt x="167252" y="441669"/>
                </a:cubicBezTo>
                <a:cubicBezTo>
                  <a:pt x="167252" y="435673"/>
                  <a:pt x="169243" y="435673"/>
                  <a:pt x="165261" y="429678"/>
                </a:cubicBezTo>
                <a:cubicBezTo>
                  <a:pt x="159288" y="421684"/>
                  <a:pt x="159288" y="413690"/>
                  <a:pt x="155306" y="407694"/>
                </a:cubicBezTo>
                <a:cubicBezTo>
                  <a:pt x="151323" y="401699"/>
                  <a:pt x="151323" y="397702"/>
                  <a:pt x="149332" y="393705"/>
                </a:cubicBezTo>
                <a:cubicBezTo>
                  <a:pt x="149332" y="387709"/>
                  <a:pt x="145350" y="381714"/>
                  <a:pt x="141368" y="381714"/>
                </a:cubicBezTo>
                <a:cubicBezTo>
                  <a:pt x="137386" y="381714"/>
                  <a:pt x="141368" y="389708"/>
                  <a:pt x="141368" y="397702"/>
                </a:cubicBezTo>
                <a:cubicBezTo>
                  <a:pt x="141368" y="403697"/>
                  <a:pt x="135395" y="407694"/>
                  <a:pt x="133404" y="407694"/>
                </a:cubicBezTo>
                <a:cubicBezTo>
                  <a:pt x="129421" y="409693"/>
                  <a:pt x="129421" y="405696"/>
                  <a:pt x="127430" y="407694"/>
                </a:cubicBezTo>
                <a:cubicBezTo>
                  <a:pt x="125439" y="409693"/>
                  <a:pt x="125439" y="417687"/>
                  <a:pt x="121457" y="419685"/>
                </a:cubicBezTo>
                <a:cubicBezTo>
                  <a:pt x="115484" y="419685"/>
                  <a:pt x="119466" y="419685"/>
                  <a:pt x="115484" y="425681"/>
                </a:cubicBezTo>
                <a:cubicBezTo>
                  <a:pt x="111501" y="429678"/>
                  <a:pt x="103537" y="425681"/>
                  <a:pt x="101546" y="431676"/>
                </a:cubicBezTo>
                <a:cubicBezTo>
                  <a:pt x="97564" y="435673"/>
                  <a:pt x="93582" y="431676"/>
                  <a:pt x="91590" y="431676"/>
                </a:cubicBezTo>
                <a:cubicBezTo>
                  <a:pt x="87608" y="431676"/>
                  <a:pt x="87608" y="423682"/>
                  <a:pt x="87608" y="421684"/>
                </a:cubicBezTo>
                <a:cubicBezTo>
                  <a:pt x="87608" y="417687"/>
                  <a:pt x="87608" y="413690"/>
                  <a:pt x="87608" y="413690"/>
                </a:cubicBezTo>
                <a:cubicBezTo>
                  <a:pt x="85617" y="413690"/>
                  <a:pt x="85617" y="417687"/>
                  <a:pt x="85617" y="417687"/>
                </a:cubicBezTo>
                <a:cubicBezTo>
                  <a:pt x="85617" y="417687"/>
                  <a:pt x="83626" y="425681"/>
                  <a:pt x="79644" y="427679"/>
                </a:cubicBezTo>
                <a:cubicBezTo>
                  <a:pt x="73671" y="427679"/>
                  <a:pt x="75662" y="423682"/>
                  <a:pt x="73671" y="421684"/>
                </a:cubicBezTo>
                <a:cubicBezTo>
                  <a:pt x="73671" y="417687"/>
                  <a:pt x="73671" y="411691"/>
                  <a:pt x="73671" y="409693"/>
                </a:cubicBezTo>
                <a:cubicBezTo>
                  <a:pt x="73671" y="405696"/>
                  <a:pt x="67697" y="405696"/>
                  <a:pt x="63715" y="403697"/>
                </a:cubicBezTo>
                <a:cubicBezTo>
                  <a:pt x="59733" y="399700"/>
                  <a:pt x="63715" y="395703"/>
                  <a:pt x="61724" y="391706"/>
                </a:cubicBezTo>
                <a:cubicBezTo>
                  <a:pt x="61724" y="385711"/>
                  <a:pt x="59733" y="387709"/>
                  <a:pt x="59733" y="381714"/>
                </a:cubicBezTo>
                <a:cubicBezTo>
                  <a:pt x="59733" y="377717"/>
                  <a:pt x="61724" y="371721"/>
                  <a:pt x="61724" y="367724"/>
                </a:cubicBezTo>
                <a:cubicBezTo>
                  <a:pt x="63715" y="363727"/>
                  <a:pt x="59733" y="361729"/>
                  <a:pt x="57742" y="357732"/>
                </a:cubicBezTo>
                <a:cubicBezTo>
                  <a:pt x="57742" y="351736"/>
                  <a:pt x="57742" y="337747"/>
                  <a:pt x="59733" y="335748"/>
                </a:cubicBezTo>
                <a:cubicBezTo>
                  <a:pt x="59733" y="333750"/>
                  <a:pt x="57742" y="327754"/>
                  <a:pt x="57742" y="325756"/>
                </a:cubicBezTo>
                <a:cubicBezTo>
                  <a:pt x="57742" y="321759"/>
                  <a:pt x="55751" y="317762"/>
                  <a:pt x="53759" y="315763"/>
                </a:cubicBezTo>
                <a:cubicBezTo>
                  <a:pt x="51768" y="315763"/>
                  <a:pt x="53759" y="311766"/>
                  <a:pt x="51768" y="307769"/>
                </a:cubicBezTo>
                <a:cubicBezTo>
                  <a:pt x="49777" y="303772"/>
                  <a:pt x="47786" y="299775"/>
                  <a:pt x="47786" y="295778"/>
                </a:cubicBezTo>
                <a:cubicBezTo>
                  <a:pt x="47786" y="289783"/>
                  <a:pt x="43804" y="289783"/>
                  <a:pt x="39822" y="287784"/>
                </a:cubicBezTo>
                <a:cubicBezTo>
                  <a:pt x="33848" y="283787"/>
                  <a:pt x="23893" y="275793"/>
                  <a:pt x="19911" y="271796"/>
                </a:cubicBezTo>
                <a:cubicBezTo>
                  <a:pt x="13937" y="269798"/>
                  <a:pt x="17920" y="267799"/>
                  <a:pt x="13937" y="265801"/>
                </a:cubicBezTo>
                <a:cubicBezTo>
                  <a:pt x="7964" y="261804"/>
                  <a:pt x="7964" y="257807"/>
                  <a:pt x="5973" y="253810"/>
                </a:cubicBezTo>
                <a:cubicBezTo>
                  <a:pt x="5973" y="249813"/>
                  <a:pt x="1991" y="251811"/>
                  <a:pt x="0" y="243817"/>
                </a:cubicBezTo>
                <a:cubicBezTo>
                  <a:pt x="1991" y="243817"/>
                  <a:pt x="1991" y="241819"/>
                  <a:pt x="1991" y="241819"/>
                </a:cubicBezTo>
                <a:cubicBezTo>
                  <a:pt x="3982" y="239820"/>
                  <a:pt x="1991" y="237822"/>
                  <a:pt x="1991" y="235823"/>
                </a:cubicBezTo>
                <a:cubicBezTo>
                  <a:pt x="1991" y="235823"/>
                  <a:pt x="1991" y="233825"/>
                  <a:pt x="1991" y="231826"/>
                </a:cubicBezTo>
                <a:cubicBezTo>
                  <a:pt x="1991" y="231826"/>
                  <a:pt x="1991" y="229828"/>
                  <a:pt x="3982" y="231826"/>
                </a:cubicBezTo>
                <a:cubicBezTo>
                  <a:pt x="3982" y="231826"/>
                  <a:pt x="5973" y="233825"/>
                  <a:pt x="7964" y="233825"/>
                </a:cubicBezTo>
                <a:cubicBezTo>
                  <a:pt x="9955" y="233825"/>
                  <a:pt x="9955" y="233825"/>
                  <a:pt x="11946" y="233825"/>
                </a:cubicBezTo>
                <a:cubicBezTo>
                  <a:pt x="13937" y="233825"/>
                  <a:pt x="13937" y="233825"/>
                  <a:pt x="15929" y="231826"/>
                </a:cubicBezTo>
                <a:cubicBezTo>
                  <a:pt x="15929" y="231826"/>
                  <a:pt x="15929" y="229828"/>
                  <a:pt x="15929" y="227829"/>
                </a:cubicBezTo>
                <a:cubicBezTo>
                  <a:pt x="15929" y="227829"/>
                  <a:pt x="17920" y="227829"/>
                  <a:pt x="17920" y="225831"/>
                </a:cubicBezTo>
                <a:cubicBezTo>
                  <a:pt x="17920" y="223832"/>
                  <a:pt x="19911" y="223832"/>
                  <a:pt x="19911" y="223832"/>
                </a:cubicBezTo>
                <a:cubicBezTo>
                  <a:pt x="17920" y="221834"/>
                  <a:pt x="15929" y="223832"/>
                  <a:pt x="15929" y="221834"/>
                </a:cubicBezTo>
                <a:cubicBezTo>
                  <a:pt x="15929" y="221834"/>
                  <a:pt x="15929" y="217837"/>
                  <a:pt x="15929" y="215838"/>
                </a:cubicBezTo>
                <a:cubicBezTo>
                  <a:pt x="17920" y="215838"/>
                  <a:pt x="15929" y="213840"/>
                  <a:pt x="15929" y="213840"/>
                </a:cubicBezTo>
                <a:cubicBezTo>
                  <a:pt x="15929" y="213840"/>
                  <a:pt x="19911" y="211841"/>
                  <a:pt x="19911" y="211841"/>
                </a:cubicBezTo>
                <a:cubicBezTo>
                  <a:pt x="19911" y="211841"/>
                  <a:pt x="21902" y="211841"/>
                  <a:pt x="23893" y="213840"/>
                </a:cubicBezTo>
                <a:cubicBezTo>
                  <a:pt x="23893" y="215838"/>
                  <a:pt x="25884" y="217837"/>
                  <a:pt x="25884" y="217837"/>
                </a:cubicBezTo>
                <a:cubicBezTo>
                  <a:pt x="25884" y="217837"/>
                  <a:pt x="27875" y="215838"/>
                  <a:pt x="29866" y="213840"/>
                </a:cubicBezTo>
                <a:cubicBezTo>
                  <a:pt x="29866" y="213840"/>
                  <a:pt x="25884" y="199850"/>
                  <a:pt x="25884" y="197852"/>
                </a:cubicBezTo>
                <a:cubicBezTo>
                  <a:pt x="25884" y="197852"/>
                  <a:pt x="23893" y="193855"/>
                  <a:pt x="23893" y="189858"/>
                </a:cubicBezTo>
                <a:cubicBezTo>
                  <a:pt x="23893" y="185861"/>
                  <a:pt x="23893" y="183862"/>
                  <a:pt x="25884" y="183862"/>
                </a:cubicBezTo>
                <a:cubicBezTo>
                  <a:pt x="27875" y="181864"/>
                  <a:pt x="31857" y="177867"/>
                  <a:pt x="31857" y="175868"/>
                </a:cubicBezTo>
                <a:cubicBezTo>
                  <a:pt x="31857" y="171871"/>
                  <a:pt x="31857" y="165876"/>
                  <a:pt x="31857" y="163877"/>
                </a:cubicBezTo>
                <a:cubicBezTo>
                  <a:pt x="31857" y="163877"/>
                  <a:pt x="27875" y="159880"/>
                  <a:pt x="27875" y="157881"/>
                </a:cubicBezTo>
                <a:cubicBezTo>
                  <a:pt x="25884" y="155883"/>
                  <a:pt x="25884" y="153884"/>
                  <a:pt x="27875" y="151886"/>
                </a:cubicBezTo>
                <a:cubicBezTo>
                  <a:pt x="29866" y="151886"/>
                  <a:pt x="35840" y="155883"/>
                  <a:pt x="39822" y="153884"/>
                </a:cubicBezTo>
                <a:cubicBezTo>
                  <a:pt x="39822" y="153884"/>
                  <a:pt x="47786" y="155883"/>
                  <a:pt x="49777" y="155883"/>
                </a:cubicBezTo>
                <a:cubicBezTo>
                  <a:pt x="51768" y="155883"/>
                  <a:pt x="53759" y="153884"/>
                  <a:pt x="55751" y="151886"/>
                </a:cubicBezTo>
                <a:cubicBezTo>
                  <a:pt x="55751" y="149887"/>
                  <a:pt x="53759" y="145890"/>
                  <a:pt x="55751" y="143892"/>
                </a:cubicBezTo>
                <a:cubicBezTo>
                  <a:pt x="55751" y="141893"/>
                  <a:pt x="57742" y="139895"/>
                  <a:pt x="59733" y="137896"/>
                </a:cubicBezTo>
                <a:cubicBezTo>
                  <a:pt x="61724" y="137896"/>
                  <a:pt x="63715" y="131901"/>
                  <a:pt x="63715" y="129902"/>
                </a:cubicBezTo>
                <a:cubicBezTo>
                  <a:pt x="65706" y="129902"/>
                  <a:pt x="65706" y="123907"/>
                  <a:pt x="65706" y="121908"/>
                </a:cubicBezTo>
                <a:cubicBezTo>
                  <a:pt x="65706" y="117911"/>
                  <a:pt x="61724" y="117911"/>
                  <a:pt x="61724" y="115913"/>
                </a:cubicBezTo>
                <a:cubicBezTo>
                  <a:pt x="61724" y="113914"/>
                  <a:pt x="63715" y="109917"/>
                  <a:pt x="65706" y="107919"/>
                </a:cubicBezTo>
                <a:cubicBezTo>
                  <a:pt x="65706" y="107919"/>
                  <a:pt x="69688" y="105920"/>
                  <a:pt x="71679" y="103922"/>
                </a:cubicBezTo>
                <a:cubicBezTo>
                  <a:pt x="71679" y="99925"/>
                  <a:pt x="73671" y="95928"/>
                  <a:pt x="75662" y="93929"/>
                </a:cubicBezTo>
                <a:cubicBezTo>
                  <a:pt x="75662" y="91931"/>
                  <a:pt x="75662" y="89932"/>
                  <a:pt x="73671" y="87934"/>
                </a:cubicBezTo>
                <a:cubicBezTo>
                  <a:pt x="73671" y="85935"/>
                  <a:pt x="71679" y="77941"/>
                  <a:pt x="71679" y="75943"/>
                </a:cubicBezTo>
                <a:cubicBezTo>
                  <a:pt x="71679" y="75943"/>
                  <a:pt x="73671" y="71946"/>
                  <a:pt x="75662" y="69947"/>
                </a:cubicBezTo>
                <a:cubicBezTo>
                  <a:pt x="77653" y="67949"/>
                  <a:pt x="83626" y="65950"/>
                  <a:pt x="85617" y="63952"/>
                </a:cubicBezTo>
                <a:cubicBezTo>
                  <a:pt x="87608" y="63952"/>
                  <a:pt x="89599" y="61953"/>
                  <a:pt x="91590" y="59955"/>
                </a:cubicBezTo>
                <a:cubicBezTo>
                  <a:pt x="91590" y="57956"/>
                  <a:pt x="91590" y="59955"/>
                  <a:pt x="91590" y="57956"/>
                </a:cubicBezTo>
                <a:cubicBezTo>
                  <a:pt x="93582" y="57956"/>
                  <a:pt x="95573" y="53959"/>
                  <a:pt x="97564" y="53959"/>
                </a:cubicBezTo>
                <a:cubicBezTo>
                  <a:pt x="99555" y="51961"/>
                  <a:pt x="99555" y="49962"/>
                  <a:pt x="101546" y="49962"/>
                </a:cubicBezTo>
                <a:cubicBezTo>
                  <a:pt x="105528" y="49962"/>
                  <a:pt x="105528" y="49962"/>
                  <a:pt x="107519" y="49962"/>
                </a:cubicBezTo>
                <a:cubicBezTo>
                  <a:pt x="109510" y="49962"/>
                  <a:pt x="111501" y="47964"/>
                  <a:pt x="113493" y="49962"/>
                </a:cubicBezTo>
                <a:cubicBezTo>
                  <a:pt x="117475" y="51961"/>
                  <a:pt x="117475" y="53959"/>
                  <a:pt x="119466" y="51961"/>
                </a:cubicBezTo>
                <a:cubicBezTo>
                  <a:pt x="121457" y="51961"/>
                  <a:pt x="123448" y="49962"/>
                  <a:pt x="123448" y="47964"/>
                </a:cubicBezTo>
                <a:cubicBezTo>
                  <a:pt x="121457" y="45965"/>
                  <a:pt x="119466" y="41968"/>
                  <a:pt x="121457" y="39970"/>
                </a:cubicBezTo>
                <a:cubicBezTo>
                  <a:pt x="121457" y="37971"/>
                  <a:pt x="125439" y="33974"/>
                  <a:pt x="127430" y="31976"/>
                </a:cubicBezTo>
                <a:cubicBezTo>
                  <a:pt x="129421" y="29977"/>
                  <a:pt x="131412" y="27979"/>
                  <a:pt x="131412" y="25980"/>
                </a:cubicBezTo>
                <a:cubicBezTo>
                  <a:pt x="131412" y="21983"/>
                  <a:pt x="129421" y="17986"/>
                  <a:pt x="125439" y="15988"/>
                </a:cubicBezTo>
                <a:cubicBezTo>
                  <a:pt x="121457" y="15988"/>
                  <a:pt x="121457" y="15988"/>
                  <a:pt x="121457" y="15988"/>
                </a:cubicBezTo>
                <a:cubicBezTo>
                  <a:pt x="119466" y="13989"/>
                  <a:pt x="119466" y="13989"/>
                  <a:pt x="119466" y="13989"/>
                </a:cubicBezTo>
                <a:lnTo>
                  <a:pt x="117475" y="15988"/>
                </a:lnTo>
                <a:cubicBezTo>
                  <a:pt x="119466" y="15988"/>
                  <a:pt x="119466" y="9992"/>
                  <a:pt x="119466" y="9992"/>
                </a:cubicBezTo>
                <a:cubicBezTo>
                  <a:pt x="119466" y="7994"/>
                  <a:pt x="121457" y="3997"/>
                  <a:pt x="121457" y="3997"/>
                </a:cubicBezTo>
                <a:cubicBezTo>
                  <a:pt x="123448" y="3997"/>
                  <a:pt x="123448" y="3997"/>
                  <a:pt x="123448" y="3997"/>
                </a:cubicBezTo>
                <a:cubicBezTo>
                  <a:pt x="123448" y="0"/>
                  <a:pt x="123448" y="0"/>
                  <a:pt x="123448"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5" name="Thailand"/>
          <p:cNvSpPr>
            <a:spLocks/>
          </p:cNvSpPr>
          <p:nvPr/>
        </p:nvSpPr>
        <p:spPr bwMode="auto">
          <a:xfrm>
            <a:off x="8812558" y="3410728"/>
            <a:ext cx="233547" cy="483424"/>
          </a:xfrm>
          <a:custGeom>
            <a:avLst/>
            <a:gdLst>
              <a:gd name="T0" fmla="*/ 23 w 114"/>
              <a:gd name="T1" fmla="*/ 6 h 236"/>
              <a:gd name="T2" fmla="*/ 12 w 114"/>
              <a:gd name="T3" fmla="*/ 5 h 236"/>
              <a:gd name="T4" fmla="*/ 1 w 114"/>
              <a:gd name="T5" fmla="*/ 16 h 236"/>
              <a:gd name="T6" fmla="*/ 3 w 114"/>
              <a:gd name="T7" fmla="*/ 35 h 236"/>
              <a:gd name="T8" fmla="*/ 11 w 114"/>
              <a:gd name="T9" fmla="*/ 45 h 236"/>
              <a:gd name="T10" fmla="*/ 19 w 114"/>
              <a:gd name="T11" fmla="*/ 56 h 236"/>
              <a:gd name="T12" fmla="*/ 25 w 114"/>
              <a:gd name="T13" fmla="*/ 68 h 236"/>
              <a:gd name="T14" fmla="*/ 18 w 114"/>
              <a:gd name="T15" fmla="*/ 83 h 236"/>
              <a:gd name="T16" fmla="*/ 21 w 114"/>
              <a:gd name="T17" fmla="*/ 94 h 236"/>
              <a:gd name="T18" fmla="*/ 29 w 114"/>
              <a:gd name="T19" fmla="*/ 104 h 236"/>
              <a:gd name="T20" fmla="*/ 32 w 114"/>
              <a:gd name="T21" fmla="*/ 124 h 236"/>
              <a:gd name="T22" fmla="*/ 35 w 114"/>
              <a:gd name="T23" fmla="*/ 137 h 236"/>
              <a:gd name="T24" fmla="*/ 29 w 114"/>
              <a:gd name="T25" fmla="*/ 153 h 236"/>
              <a:gd name="T26" fmla="*/ 25 w 114"/>
              <a:gd name="T27" fmla="*/ 168 h 236"/>
              <a:gd name="T28" fmla="*/ 18 w 114"/>
              <a:gd name="T29" fmla="*/ 195 h 236"/>
              <a:gd name="T30" fmla="*/ 24 w 114"/>
              <a:gd name="T31" fmla="*/ 192 h 236"/>
              <a:gd name="T32" fmla="*/ 36 w 114"/>
              <a:gd name="T33" fmla="*/ 206 h 236"/>
              <a:gd name="T34" fmla="*/ 43 w 114"/>
              <a:gd name="T35" fmla="*/ 218 h 236"/>
              <a:gd name="T36" fmla="*/ 56 w 114"/>
              <a:gd name="T37" fmla="*/ 225 h 236"/>
              <a:gd name="T38" fmla="*/ 64 w 114"/>
              <a:gd name="T39" fmla="*/ 234 h 236"/>
              <a:gd name="T40" fmla="*/ 73 w 114"/>
              <a:gd name="T41" fmla="*/ 227 h 236"/>
              <a:gd name="T42" fmla="*/ 67 w 114"/>
              <a:gd name="T43" fmla="*/ 222 h 236"/>
              <a:gd name="T44" fmla="*/ 63 w 114"/>
              <a:gd name="T45" fmla="*/ 216 h 236"/>
              <a:gd name="T46" fmla="*/ 49 w 114"/>
              <a:gd name="T47" fmla="*/ 210 h 236"/>
              <a:gd name="T48" fmla="*/ 44 w 114"/>
              <a:gd name="T49" fmla="*/ 192 h 236"/>
              <a:gd name="T50" fmla="*/ 42 w 114"/>
              <a:gd name="T51" fmla="*/ 181 h 236"/>
              <a:gd name="T52" fmla="*/ 36 w 114"/>
              <a:gd name="T53" fmla="*/ 179 h 236"/>
              <a:gd name="T54" fmla="*/ 31 w 114"/>
              <a:gd name="T55" fmla="*/ 169 h 236"/>
              <a:gd name="T56" fmla="*/ 33 w 114"/>
              <a:gd name="T57" fmla="*/ 156 h 236"/>
              <a:gd name="T58" fmla="*/ 40 w 114"/>
              <a:gd name="T59" fmla="*/ 142 h 236"/>
              <a:gd name="T60" fmla="*/ 42 w 114"/>
              <a:gd name="T61" fmla="*/ 120 h 236"/>
              <a:gd name="T62" fmla="*/ 45 w 114"/>
              <a:gd name="T63" fmla="*/ 110 h 236"/>
              <a:gd name="T64" fmla="*/ 53 w 114"/>
              <a:gd name="T65" fmla="*/ 110 h 236"/>
              <a:gd name="T66" fmla="*/ 52 w 114"/>
              <a:gd name="T67" fmla="*/ 117 h 236"/>
              <a:gd name="T68" fmla="*/ 54 w 114"/>
              <a:gd name="T69" fmla="*/ 126 h 236"/>
              <a:gd name="T70" fmla="*/ 66 w 114"/>
              <a:gd name="T71" fmla="*/ 127 h 236"/>
              <a:gd name="T72" fmla="*/ 76 w 114"/>
              <a:gd name="T73" fmla="*/ 133 h 236"/>
              <a:gd name="T74" fmla="*/ 82 w 114"/>
              <a:gd name="T75" fmla="*/ 133 h 236"/>
              <a:gd name="T76" fmla="*/ 73 w 114"/>
              <a:gd name="T77" fmla="*/ 111 h 236"/>
              <a:gd name="T78" fmla="*/ 90 w 114"/>
              <a:gd name="T79" fmla="*/ 96 h 236"/>
              <a:gd name="T80" fmla="*/ 113 w 114"/>
              <a:gd name="T81" fmla="*/ 95 h 236"/>
              <a:gd name="T82" fmla="*/ 112 w 114"/>
              <a:gd name="T83" fmla="*/ 80 h 236"/>
              <a:gd name="T84" fmla="*/ 109 w 114"/>
              <a:gd name="T85" fmla="*/ 69 h 236"/>
              <a:gd name="T86" fmla="*/ 102 w 114"/>
              <a:gd name="T87" fmla="*/ 57 h 236"/>
              <a:gd name="T88" fmla="*/ 96 w 114"/>
              <a:gd name="T89" fmla="*/ 48 h 236"/>
              <a:gd name="T90" fmla="*/ 90 w 114"/>
              <a:gd name="T91" fmla="*/ 41 h 236"/>
              <a:gd name="T92" fmla="*/ 82 w 114"/>
              <a:gd name="T93" fmla="*/ 32 h 236"/>
              <a:gd name="T94" fmla="*/ 73 w 114"/>
              <a:gd name="T95" fmla="*/ 37 h 236"/>
              <a:gd name="T96" fmla="*/ 63 w 114"/>
              <a:gd name="T97" fmla="*/ 40 h 236"/>
              <a:gd name="T98" fmla="*/ 50 w 114"/>
              <a:gd name="T99" fmla="*/ 42 h 236"/>
              <a:gd name="T100" fmla="*/ 45 w 114"/>
              <a:gd name="T101" fmla="*/ 42 h 236"/>
              <a:gd name="T102" fmla="*/ 47 w 114"/>
              <a:gd name="T103" fmla="*/ 27 h 236"/>
              <a:gd name="T104" fmla="*/ 49 w 114"/>
              <a:gd name="T105" fmla="*/ 13 h 236"/>
              <a:gd name="T106" fmla="*/ 39 w 114"/>
              <a:gd name="T107" fmla="*/ 12 h 236"/>
              <a:gd name="T108" fmla="*/ 35 w 114"/>
              <a:gd name="T109"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36">
                <a:moveTo>
                  <a:pt x="31" y="1"/>
                </a:moveTo>
                <a:cubicBezTo>
                  <a:pt x="31" y="1"/>
                  <a:pt x="29" y="1"/>
                  <a:pt x="28" y="1"/>
                </a:cubicBezTo>
                <a:cubicBezTo>
                  <a:pt x="27" y="1"/>
                  <a:pt x="26" y="0"/>
                  <a:pt x="25" y="1"/>
                </a:cubicBezTo>
                <a:cubicBezTo>
                  <a:pt x="25" y="2"/>
                  <a:pt x="25" y="2"/>
                  <a:pt x="25" y="4"/>
                </a:cubicBezTo>
                <a:cubicBezTo>
                  <a:pt x="25" y="5"/>
                  <a:pt x="25" y="6"/>
                  <a:pt x="23" y="6"/>
                </a:cubicBezTo>
                <a:cubicBezTo>
                  <a:pt x="22" y="6"/>
                  <a:pt x="21" y="7"/>
                  <a:pt x="20" y="6"/>
                </a:cubicBezTo>
                <a:cubicBezTo>
                  <a:pt x="20" y="6"/>
                  <a:pt x="20" y="5"/>
                  <a:pt x="19" y="4"/>
                </a:cubicBezTo>
                <a:cubicBezTo>
                  <a:pt x="18" y="4"/>
                  <a:pt x="17" y="3"/>
                  <a:pt x="16" y="3"/>
                </a:cubicBezTo>
                <a:cubicBezTo>
                  <a:pt x="15" y="3"/>
                  <a:pt x="14" y="3"/>
                  <a:pt x="13" y="3"/>
                </a:cubicBezTo>
                <a:cubicBezTo>
                  <a:pt x="12" y="3"/>
                  <a:pt x="13" y="4"/>
                  <a:pt x="12" y="5"/>
                </a:cubicBezTo>
                <a:cubicBezTo>
                  <a:pt x="12" y="6"/>
                  <a:pt x="11" y="7"/>
                  <a:pt x="10" y="8"/>
                </a:cubicBezTo>
                <a:cubicBezTo>
                  <a:pt x="9" y="8"/>
                  <a:pt x="8" y="8"/>
                  <a:pt x="6" y="9"/>
                </a:cubicBezTo>
                <a:cubicBezTo>
                  <a:pt x="5" y="9"/>
                  <a:pt x="5" y="8"/>
                  <a:pt x="4" y="9"/>
                </a:cubicBezTo>
                <a:cubicBezTo>
                  <a:pt x="3" y="10"/>
                  <a:pt x="2" y="10"/>
                  <a:pt x="1" y="12"/>
                </a:cubicBezTo>
                <a:cubicBezTo>
                  <a:pt x="1" y="13"/>
                  <a:pt x="1" y="14"/>
                  <a:pt x="1" y="16"/>
                </a:cubicBezTo>
                <a:cubicBezTo>
                  <a:pt x="2" y="16"/>
                  <a:pt x="1" y="19"/>
                  <a:pt x="1" y="20"/>
                </a:cubicBezTo>
                <a:cubicBezTo>
                  <a:pt x="1" y="21"/>
                  <a:pt x="1" y="23"/>
                  <a:pt x="0" y="24"/>
                </a:cubicBezTo>
                <a:cubicBezTo>
                  <a:pt x="0" y="25"/>
                  <a:pt x="1" y="30"/>
                  <a:pt x="1" y="31"/>
                </a:cubicBezTo>
                <a:cubicBezTo>
                  <a:pt x="1" y="32"/>
                  <a:pt x="1" y="34"/>
                  <a:pt x="1" y="34"/>
                </a:cubicBezTo>
                <a:cubicBezTo>
                  <a:pt x="2" y="35"/>
                  <a:pt x="3" y="35"/>
                  <a:pt x="3" y="35"/>
                </a:cubicBezTo>
                <a:cubicBezTo>
                  <a:pt x="4" y="36"/>
                  <a:pt x="4" y="37"/>
                  <a:pt x="4" y="37"/>
                </a:cubicBezTo>
                <a:cubicBezTo>
                  <a:pt x="4" y="37"/>
                  <a:pt x="6" y="37"/>
                  <a:pt x="6" y="38"/>
                </a:cubicBezTo>
                <a:cubicBezTo>
                  <a:pt x="7" y="38"/>
                  <a:pt x="7" y="40"/>
                  <a:pt x="7" y="41"/>
                </a:cubicBezTo>
                <a:cubicBezTo>
                  <a:pt x="8" y="42"/>
                  <a:pt x="9" y="43"/>
                  <a:pt x="9" y="44"/>
                </a:cubicBezTo>
                <a:cubicBezTo>
                  <a:pt x="10" y="44"/>
                  <a:pt x="11" y="45"/>
                  <a:pt x="11" y="45"/>
                </a:cubicBezTo>
                <a:cubicBezTo>
                  <a:pt x="11" y="45"/>
                  <a:pt x="13" y="44"/>
                  <a:pt x="13" y="45"/>
                </a:cubicBezTo>
                <a:cubicBezTo>
                  <a:pt x="13" y="47"/>
                  <a:pt x="14" y="48"/>
                  <a:pt x="14" y="49"/>
                </a:cubicBezTo>
                <a:cubicBezTo>
                  <a:pt x="14" y="50"/>
                  <a:pt x="15" y="51"/>
                  <a:pt x="15" y="51"/>
                </a:cubicBezTo>
                <a:cubicBezTo>
                  <a:pt x="15" y="51"/>
                  <a:pt x="17" y="52"/>
                  <a:pt x="17" y="53"/>
                </a:cubicBezTo>
                <a:cubicBezTo>
                  <a:pt x="18" y="53"/>
                  <a:pt x="18" y="55"/>
                  <a:pt x="19" y="56"/>
                </a:cubicBezTo>
                <a:cubicBezTo>
                  <a:pt x="19" y="57"/>
                  <a:pt x="20" y="59"/>
                  <a:pt x="20" y="60"/>
                </a:cubicBezTo>
                <a:cubicBezTo>
                  <a:pt x="21" y="61"/>
                  <a:pt x="20" y="63"/>
                  <a:pt x="21" y="65"/>
                </a:cubicBezTo>
                <a:cubicBezTo>
                  <a:pt x="22" y="65"/>
                  <a:pt x="21" y="65"/>
                  <a:pt x="23" y="65"/>
                </a:cubicBezTo>
                <a:cubicBezTo>
                  <a:pt x="24" y="65"/>
                  <a:pt x="24" y="65"/>
                  <a:pt x="24" y="65"/>
                </a:cubicBezTo>
                <a:cubicBezTo>
                  <a:pt x="25" y="67"/>
                  <a:pt x="26" y="67"/>
                  <a:pt x="25" y="68"/>
                </a:cubicBezTo>
                <a:cubicBezTo>
                  <a:pt x="24" y="69"/>
                  <a:pt x="22" y="70"/>
                  <a:pt x="22" y="71"/>
                </a:cubicBezTo>
                <a:cubicBezTo>
                  <a:pt x="21" y="72"/>
                  <a:pt x="20" y="73"/>
                  <a:pt x="20" y="74"/>
                </a:cubicBezTo>
                <a:cubicBezTo>
                  <a:pt x="19" y="75"/>
                  <a:pt x="19" y="77"/>
                  <a:pt x="20" y="78"/>
                </a:cubicBezTo>
                <a:cubicBezTo>
                  <a:pt x="20" y="79"/>
                  <a:pt x="20" y="80"/>
                  <a:pt x="19" y="81"/>
                </a:cubicBezTo>
                <a:cubicBezTo>
                  <a:pt x="19" y="82"/>
                  <a:pt x="18" y="82"/>
                  <a:pt x="18" y="83"/>
                </a:cubicBezTo>
                <a:cubicBezTo>
                  <a:pt x="18" y="83"/>
                  <a:pt x="17" y="84"/>
                  <a:pt x="17" y="85"/>
                </a:cubicBezTo>
                <a:cubicBezTo>
                  <a:pt x="18" y="86"/>
                  <a:pt x="17" y="86"/>
                  <a:pt x="18" y="87"/>
                </a:cubicBezTo>
                <a:cubicBezTo>
                  <a:pt x="18" y="89"/>
                  <a:pt x="19" y="89"/>
                  <a:pt x="19" y="90"/>
                </a:cubicBezTo>
                <a:cubicBezTo>
                  <a:pt x="19" y="91"/>
                  <a:pt x="20" y="92"/>
                  <a:pt x="20" y="93"/>
                </a:cubicBezTo>
                <a:cubicBezTo>
                  <a:pt x="20" y="93"/>
                  <a:pt x="20" y="93"/>
                  <a:pt x="21" y="94"/>
                </a:cubicBezTo>
                <a:cubicBezTo>
                  <a:pt x="22" y="94"/>
                  <a:pt x="23" y="94"/>
                  <a:pt x="23" y="95"/>
                </a:cubicBezTo>
                <a:cubicBezTo>
                  <a:pt x="24" y="95"/>
                  <a:pt x="24" y="97"/>
                  <a:pt x="24" y="97"/>
                </a:cubicBezTo>
                <a:cubicBezTo>
                  <a:pt x="25" y="98"/>
                  <a:pt x="25" y="98"/>
                  <a:pt x="25" y="98"/>
                </a:cubicBezTo>
                <a:cubicBezTo>
                  <a:pt x="26" y="98"/>
                  <a:pt x="27" y="100"/>
                  <a:pt x="27" y="101"/>
                </a:cubicBezTo>
                <a:cubicBezTo>
                  <a:pt x="27" y="101"/>
                  <a:pt x="28" y="104"/>
                  <a:pt x="29" y="104"/>
                </a:cubicBezTo>
                <a:cubicBezTo>
                  <a:pt x="31" y="104"/>
                  <a:pt x="32" y="104"/>
                  <a:pt x="32" y="105"/>
                </a:cubicBezTo>
                <a:cubicBezTo>
                  <a:pt x="33" y="105"/>
                  <a:pt x="33" y="106"/>
                  <a:pt x="33" y="107"/>
                </a:cubicBezTo>
                <a:cubicBezTo>
                  <a:pt x="33" y="108"/>
                  <a:pt x="32" y="113"/>
                  <a:pt x="32" y="114"/>
                </a:cubicBezTo>
                <a:cubicBezTo>
                  <a:pt x="31" y="116"/>
                  <a:pt x="31" y="119"/>
                  <a:pt x="31" y="120"/>
                </a:cubicBezTo>
                <a:cubicBezTo>
                  <a:pt x="31" y="121"/>
                  <a:pt x="32" y="123"/>
                  <a:pt x="32" y="124"/>
                </a:cubicBezTo>
                <a:cubicBezTo>
                  <a:pt x="32" y="125"/>
                  <a:pt x="31" y="125"/>
                  <a:pt x="33" y="126"/>
                </a:cubicBezTo>
                <a:cubicBezTo>
                  <a:pt x="34" y="127"/>
                  <a:pt x="36" y="128"/>
                  <a:pt x="36" y="128"/>
                </a:cubicBezTo>
                <a:cubicBezTo>
                  <a:pt x="37" y="129"/>
                  <a:pt x="37" y="131"/>
                  <a:pt x="37" y="131"/>
                </a:cubicBezTo>
                <a:cubicBezTo>
                  <a:pt x="37" y="132"/>
                  <a:pt x="37" y="134"/>
                  <a:pt x="37" y="134"/>
                </a:cubicBezTo>
                <a:cubicBezTo>
                  <a:pt x="37" y="135"/>
                  <a:pt x="36" y="137"/>
                  <a:pt x="35" y="137"/>
                </a:cubicBezTo>
                <a:cubicBezTo>
                  <a:pt x="35" y="138"/>
                  <a:pt x="34" y="140"/>
                  <a:pt x="34" y="140"/>
                </a:cubicBezTo>
                <a:cubicBezTo>
                  <a:pt x="33" y="141"/>
                  <a:pt x="34" y="143"/>
                  <a:pt x="34" y="144"/>
                </a:cubicBezTo>
                <a:cubicBezTo>
                  <a:pt x="33" y="145"/>
                  <a:pt x="33" y="146"/>
                  <a:pt x="33" y="146"/>
                </a:cubicBezTo>
                <a:cubicBezTo>
                  <a:pt x="33" y="146"/>
                  <a:pt x="32" y="150"/>
                  <a:pt x="32" y="150"/>
                </a:cubicBezTo>
                <a:cubicBezTo>
                  <a:pt x="31" y="151"/>
                  <a:pt x="29" y="152"/>
                  <a:pt x="29" y="153"/>
                </a:cubicBezTo>
                <a:cubicBezTo>
                  <a:pt x="29" y="154"/>
                  <a:pt x="27" y="156"/>
                  <a:pt x="26" y="156"/>
                </a:cubicBezTo>
                <a:cubicBezTo>
                  <a:pt x="26" y="157"/>
                  <a:pt x="25" y="158"/>
                  <a:pt x="25" y="160"/>
                </a:cubicBezTo>
                <a:cubicBezTo>
                  <a:pt x="25" y="161"/>
                  <a:pt x="25" y="162"/>
                  <a:pt x="25" y="162"/>
                </a:cubicBezTo>
                <a:cubicBezTo>
                  <a:pt x="26" y="162"/>
                  <a:pt x="25" y="163"/>
                  <a:pt x="25" y="165"/>
                </a:cubicBezTo>
                <a:cubicBezTo>
                  <a:pt x="25" y="167"/>
                  <a:pt x="25" y="168"/>
                  <a:pt x="25" y="168"/>
                </a:cubicBezTo>
                <a:cubicBezTo>
                  <a:pt x="23" y="170"/>
                  <a:pt x="23" y="170"/>
                  <a:pt x="23" y="170"/>
                </a:cubicBezTo>
                <a:cubicBezTo>
                  <a:pt x="22" y="179"/>
                  <a:pt x="22" y="179"/>
                  <a:pt x="22" y="179"/>
                </a:cubicBezTo>
                <a:cubicBezTo>
                  <a:pt x="22" y="179"/>
                  <a:pt x="22" y="184"/>
                  <a:pt x="20" y="184"/>
                </a:cubicBezTo>
                <a:cubicBezTo>
                  <a:pt x="19" y="185"/>
                  <a:pt x="18" y="186"/>
                  <a:pt x="18" y="188"/>
                </a:cubicBezTo>
                <a:cubicBezTo>
                  <a:pt x="19" y="190"/>
                  <a:pt x="19" y="194"/>
                  <a:pt x="18" y="195"/>
                </a:cubicBezTo>
                <a:cubicBezTo>
                  <a:pt x="18" y="196"/>
                  <a:pt x="18" y="201"/>
                  <a:pt x="19" y="201"/>
                </a:cubicBezTo>
                <a:cubicBezTo>
                  <a:pt x="20" y="201"/>
                  <a:pt x="22" y="199"/>
                  <a:pt x="21" y="198"/>
                </a:cubicBezTo>
                <a:cubicBezTo>
                  <a:pt x="20" y="197"/>
                  <a:pt x="21" y="196"/>
                  <a:pt x="22" y="196"/>
                </a:cubicBezTo>
                <a:cubicBezTo>
                  <a:pt x="22" y="195"/>
                  <a:pt x="22" y="192"/>
                  <a:pt x="22" y="192"/>
                </a:cubicBezTo>
                <a:cubicBezTo>
                  <a:pt x="22" y="192"/>
                  <a:pt x="22" y="190"/>
                  <a:pt x="24" y="192"/>
                </a:cubicBezTo>
                <a:cubicBezTo>
                  <a:pt x="27" y="193"/>
                  <a:pt x="26" y="194"/>
                  <a:pt x="26" y="194"/>
                </a:cubicBezTo>
                <a:cubicBezTo>
                  <a:pt x="26" y="194"/>
                  <a:pt x="26" y="198"/>
                  <a:pt x="28" y="198"/>
                </a:cubicBezTo>
                <a:cubicBezTo>
                  <a:pt x="30" y="198"/>
                  <a:pt x="30" y="199"/>
                  <a:pt x="30" y="200"/>
                </a:cubicBezTo>
                <a:cubicBezTo>
                  <a:pt x="30" y="201"/>
                  <a:pt x="30" y="203"/>
                  <a:pt x="32" y="203"/>
                </a:cubicBezTo>
                <a:cubicBezTo>
                  <a:pt x="34" y="203"/>
                  <a:pt x="36" y="205"/>
                  <a:pt x="36" y="206"/>
                </a:cubicBezTo>
                <a:cubicBezTo>
                  <a:pt x="36" y="207"/>
                  <a:pt x="38" y="208"/>
                  <a:pt x="39" y="208"/>
                </a:cubicBezTo>
                <a:cubicBezTo>
                  <a:pt x="41" y="208"/>
                  <a:pt x="40" y="210"/>
                  <a:pt x="40" y="210"/>
                </a:cubicBezTo>
                <a:cubicBezTo>
                  <a:pt x="40" y="210"/>
                  <a:pt x="41" y="211"/>
                  <a:pt x="42" y="211"/>
                </a:cubicBezTo>
                <a:cubicBezTo>
                  <a:pt x="43" y="211"/>
                  <a:pt x="42" y="212"/>
                  <a:pt x="42" y="213"/>
                </a:cubicBezTo>
                <a:cubicBezTo>
                  <a:pt x="42" y="215"/>
                  <a:pt x="42" y="216"/>
                  <a:pt x="43" y="218"/>
                </a:cubicBezTo>
                <a:cubicBezTo>
                  <a:pt x="44" y="220"/>
                  <a:pt x="47" y="221"/>
                  <a:pt x="47" y="221"/>
                </a:cubicBezTo>
                <a:cubicBezTo>
                  <a:pt x="47" y="221"/>
                  <a:pt x="48" y="221"/>
                  <a:pt x="48" y="222"/>
                </a:cubicBezTo>
                <a:cubicBezTo>
                  <a:pt x="48" y="224"/>
                  <a:pt x="52" y="224"/>
                  <a:pt x="52" y="224"/>
                </a:cubicBezTo>
                <a:cubicBezTo>
                  <a:pt x="52" y="224"/>
                  <a:pt x="54" y="223"/>
                  <a:pt x="54" y="224"/>
                </a:cubicBezTo>
                <a:cubicBezTo>
                  <a:pt x="55" y="225"/>
                  <a:pt x="56" y="225"/>
                  <a:pt x="56" y="225"/>
                </a:cubicBezTo>
                <a:cubicBezTo>
                  <a:pt x="56" y="225"/>
                  <a:pt x="59" y="225"/>
                  <a:pt x="60" y="226"/>
                </a:cubicBezTo>
                <a:cubicBezTo>
                  <a:pt x="61" y="227"/>
                  <a:pt x="61" y="228"/>
                  <a:pt x="61" y="229"/>
                </a:cubicBezTo>
                <a:cubicBezTo>
                  <a:pt x="61" y="230"/>
                  <a:pt x="60" y="232"/>
                  <a:pt x="60" y="233"/>
                </a:cubicBezTo>
                <a:cubicBezTo>
                  <a:pt x="61" y="234"/>
                  <a:pt x="62" y="235"/>
                  <a:pt x="63" y="235"/>
                </a:cubicBezTo>
                <a:cubicBezTo>
                  <a:pt x="63" y="236"/>
                  <a:pt x="64" y="235"/>
                  <a:pt x="64" y="234"/>
                </a:cubicBezTo>
                <a:cubicBezTo>
                  <a:pt x="64" y="233"/>
                  <a:pt x="64" y="233"/>
                  <a:pt x="65" y="233"/>
                </a:cubicBezTo>
                <a:cubicBezTo>
                  <a:pt x="67" y="233"/>
                  <a:pt x="70" y="233"/>
                  <a:pt x="70" y="232"/>
                </a:cubicBezTo>
                <a:cubicBezTo>
                  <a:pt x="70" y="232"/>
                  <a:pt x="71" y="231"/>
                  <a:pt x="71" y="230"/>
                </a:cubicBezTo>
                <a:cubicBezTo>
                  <a:pt x="71" y="229"/>
                  <a:pt x="73" y="229"/>
                  <a:pt x="73" y="229"/>
                </a:cubicBezTo>
                <a:cubicBezTo>
                  <a:pt x="73" y="228"/>
                  <a:pt x="73" y="228"/>
                  <a:pt x="73" y="227"/>
                </a:cubicBezTo>
                <a:cubicBezTo>
                  <a:pt x="73" y="227"/>
                  <a:pt x="73" y="226"/>
                  <a:pt x="73" y="226"/>
                </a:cubicBezTo>
                <a:cubicBezTo>
                  <a:pt x="73" y="226"/>
                  <a:pt x="73" y="225"/>
                  <a:pt x="72" y="225"/>
                </a:cubicBezTo>
                <a:cubicBezTo>
                  <a:pt x="72" y="224"/>
                  <a:pt x="71" y="224"/>
                  <a:pt x="71" y="224"/>
                </a:cubicBezTo>
                <a:cubicBezTo>
                  <a:pt x="69" y="223"/>
                  <a:pt x="70" y="224"/>
                  <a:pt x="70" y="223"/>
                </a:cubicBezTo>
                <a:cubicBezTo>
                  <a:pt x="69" y="222"/>
                  <a:pt x="68" y="222"/>
                  <a:pt x="67" y="222"/>
                </a:cubicBezTo>
                <a:cubicBezTo>
                  <a:pt x="67" y="222"/>
                  <a:pt x="67" y="222"/>
                  <a:pt x="67" y="222"/>
                </a:cubicBezTo>
                <a:cubicBezTo>
                  <a:pt x="67" y="222"/>
                  <a:pt x="66" y="222"/>
                  <a:pt x="66" y="220"/>
                </a:cubicBezTo>
                <a:cubicBezTo>
                  <a:pt x="66" y="220"/>
                  <a:pt x="66" y="220"/>
                  <a:pt x="66" y="220"/>
                </a:cubicBezTo>
                <a:cubicBezTo>
                  <a:pt x="66" y="219"/>
                  <a:pt x="66" y="218"/>
                  <a:pt x="63" y="216"/>
                </a:cubicBezTo>
                <a:cubicBezTo>
                  <a:pt x="63" y="216"/>
                  <a:pt x="63" y="216"/>
                  <a:pt x="63" y="216"/>
                </a:cubicBezTo>
                <a:cubicBezTo>
                  <a:pt x="61" y="215"/>
                  <a:pt x="61" y="217"/>
                  <a:pt x="61" y="217"/>
                </a:cubicBezTo>
                <a:cubicBezTo>
                  <a:pt x="61" y="217"/>
                  <a:pt x="59" y="219"/>
                  <a:pt x="58" y="217"/>
                </a:cubicBezTo>
                <a:cubicBezTo>
                  <a:pt x="58" y="215"/>
                  <a:pt x="57" y="214"/>
                  <a:pt x="55" y="214"/>
                </a:cubicBezTo>
                <a:cubicBezTo>
                  <a:pt x="52" y="214"/>
                  <a:pt x="52" y="215"/>
                  <a:pt x="52" y="213"/>
                </a:cubicBezTo>
                <a:cubicBezTo>
                  <a:pt x="51" y="212"/>
                  <a:pt x="50" y="211"/>
                  <a:pt x="49" y="210"/>
                </a:cubicBezTo>
                <a:cubicBezTo>
                  <a:pt x="48" y="210"/>
                  <a:pt x="47" y="209"/>
                  <a:pt x="49" y="208"/>
                </a:cubicBezTo>
                <a:cubicBezTo>
                  <a:pt x="50" y="207"/>
                  <a:pt x="48" y="204"/>
                  <a:pt x="48" y="202"/>
                </a:cubicBezTo>
                <a:cubicBezTo>
                  <a:pt x="48" y="200"/>
                  <a:pt x="46" y="200"/>
                  <a:pt x="47" y="198"/>
                </a:cubicBezTo>
                <a:cubicBezTo>
                  <a:pt x="48" y="196"/>
                  <a:pt x="48" y="196"/>
                  <a:pt x="46" y="195"/>
                </a:cubicBezTo>
                <a:cubicBezTo>
                  <a:pt x="44" y="195"/>
                  <a:pt x="44" y="194"/>
                  <a:pt x="44" y="192"/>
                </a:cubicBezTo>
                <a:cubicBezTo>
                  <a:pt x="44" y="191"/>
                  <a:pt x="44" y="190"/>
                  <a:pt x="44" y="188"/>
                </a:cubicBezTo>
                <a:cubicBezTo>
                  <a:pt x="44" y="188"/>
                  <a:pt x="44" y="187"/>
                  <a:pt x="43" y="186"/>
                </a:cubicBezTo>
                <a:cubicBezTo>
                  <a:pt x="43" y="186"/>
                  <a:pt x="44" y="185"/>
                  <a:pt x="43" y="184"/>
                </a:cubicBezTo>
                <a:cubicBezTo>
                  <a:pt x="43" y="184"/>
                  <a:pt x="42" y="183"/>
                  <a:pt x="42" y="183"/>
                </a:cubicBezTo>
                <a:cubicBezTo>
                  <a:pt x="42" y="183"/>
                  <a:pt x="41" y="182"/>
                  <a:pt x="42" y="181"/>
                </a:cubicBezTo>
                <a:cubicBezTo>
                  <a:pt x="43" y="181"/>
                  <a:pt x="42" y="179"/>
                  <a:pt x="40" y="178"/>
                </a:cubicBezTo>
                <a:cubicBezTo>
                  <a:pt x="39" y="178"/>
                  <a:pt x="39" y="178"/>
                  <a:pt x="39" y="178"/>
                </a:cubicBezTo>
                <a:cubicBezTo>
                  <a:pt x="39" y="178"/>
                  <a:pt x="39" y="179"/>
                  <a:pt x="38" y="178"/>
                </a:cubicBezTo>
                <a:cubicBezTo>
                  <a:pt x="37" y="178"/>
                  <a:pt x="37" y="178"/>
                  <a:pt x="36" y="178"/>
                </a:cubicBezTo>
                <a:cubicBezTo>
                  <a:pt x="36" y="178"/>
                  <a:pt x="36" y="179"/>
                  <a:pt x="36" y="179"/>
                </a:cubicBezTo>
                <a:cubicBezTo>
                  <a:pt x="36" y="179"/>
                  <a:pt x="35" y="181"/>
                  <a:pt x="33" y="180"/>
                </a:cubicBezTo>
                <a:cubicBezTo>
                  <a:pt x="32" y="179"/>
                  <a:pt x="32" y="179"/>
                  <a:pt x="33" y="177"/>
                </a:cubicBezTo>
                <a:cubicBezTo>
                  <a:pt x="33" y="176"/>
                  <a:pt x="33" y="174"/>
                  <a:pt x="33" y="173"/>
                </a:cubicBezTo>
                <a:cubicBezTo>
                  <a:pt x="32" y="172"/>
                  <a:pt x="32" y="171"/>
                  <a:pt x="32" y="171"/>
                </a:cubicBezTo>
                <a:cubicBezTo>
                  <a:pt x="31" y="170"/>
                  <a:pt x="31" y="169"/>
                  <a:pt x="31" y="169"/>
                </a:cubicBezTo>
                <a:cubicBezTo>
                  <a:pt x="32" y="168"/>
                  <a:pt x="30" y="168"/>
                  <a:pt x="31" y="167"/>
                </a:cubicBezTo>
                <a:cubicBezTo>
                  <a:pt x="33" y="166"/>
                  <a:pt x="32" y="164"/>
                  <a:pt x="32" y="164"/>
                </a:cubicBezTo>
                <a:cubicBezTo>
                  <a:pt x="32" y="164"/>
                  <a:pt x="32" y="162"/>
                  <a:pt x="33" y="162"/>
                </a:cubicBezTo>
                <a:cubicBezTo>
                  <a:pt x="33" y="161"/>
                  <a:pt x="33" y="160"/>
                  <a:pt x="33" y="159"/>
                </a:cubicBezTo>
                <a:cubicBezTo>
                  <a:pt x="32" y="158"/>
                  <a:pt x="31" y="156"/>
                  <a:pt x="33" y="156"/>
                </a:cubicBezTo>
                <a:cubicBezTo>
                  <a:pt x="34" y="156"/>
                  <a:pt x="35" y="156"/>
                  <a:pt x="35" y="155"/>
                </a:cubicBezTo>
                <a:cubicBezTo>
                  <a:pt x="35" y="153"/>
                  <a:pt x="33" y="152"/>
                  <a:pt x="35" y="152"/>
                </a:cubicBezTo>
                <a:cubicBezTo>
                  <a:pt x="37" y="151"/>
                  <a:pt x="37" y="151"/>
                  <a:pt x="37" y="149"/>
                </a:cubicBezTo>
                <a:cubicBezTo>
                  <a:pt x="37" y="148"/>
                  <a:pt x="37" y="147"/>
                  <a:pt x="38" y="146"/>
                </a:cubicBezTo>
                <a:cubicBezTo>
                  <a:pt x="40" y="146"/>
                  <a:pt x="40" y="144"/>
                  <a:pt x="40" y="142"/>
                </a:cubicBezTo>
                <a:cubicBezTo>
                  <a:pt x="39" y="141"/>
                  <a:pt x="38" y="139"/>
                  <a:pt x="40" y="138"/>
                </a:cubicBezTo>
                <a:cubicBezTo>
                  <a:pt x="41" y="137"/>
                  <a:pt x="41" y="134"/>
                  <a:pt x="40" y="133"/>
                </a:cubicBezTo>
                <a:cubicBezTo>
                  <a:pt x="40" y="131"/>
                  <a:pt x="40" y="131"/>
                  <a:pt x="41" y="130"/>
                </a:cubicBezTo>
                <a:cubicBezTo>
                  <a:pt x="42" y="128"/>
                  <a:pt x="41" y="125"/>
                  <a:pt x="40" y="124"/>
                </a:cubicBezTo>
                <a:cubicBezTo>
                  <a:pt x="40" y="124"/>
                  <a:pt x="40" y="121"/>
                  <a:pt x="42" y="120"/>
                </a:cubicBezTo>
                <a:cubicBezTo>
                  <a:pt x="44" y="118"/>
                  <a:pt x="44" y="116"/>
                  <a:pt x="43" y="115"/>
                </a:cubicBezTo>
                <a:cubicBezTo>
                  <a:pt x="42" y="114"/>
                  <a:pt x="41" y="114"/>
                  <a:pt x="42" y="113"/>
                </a:cubicBezTo>
                <a:cubicBezTo>
                  <a:pt x="43" y="112"/>
                  <a:pt x="42" y="111"/>
                  <a:pt x="42" y="111"/>
                </a:cubicBezTo>
                <a:cubicBezTo>
                  <a:pt x="42" y="111"/>
                  <a:pt x="42" y="110"/>
                  <a:pt x="43" y="110"/>
                </a:cubicBezTo>
                <a:cubicBezTo>
                  <a:pt x="45" y="110"/>
                  <a:pt x="45" y="110"/>
                  <a:pt x="45" y="110"/>
                </a:cubicBezTo>
                <a:cubicBezTo>
                  <a:pt x="45" y="110"/>
                  <a:pt x="47" y="110"/>
                  <a:pt x="47" y="109"/>
                </a:cubicBezTo>
                <a:cubicBezTo>
                  <a:pt x="47" y="108"/>
                  <a:pt x="48" y="108"/>
                  <a:pt x="48" y="108"/>
                </a:cubicBezTo>
                <a:cubicBezTo>
                  <a:pt x="49" y="108"/>
                  <a:pt x="48" y="110"/>
                  <a:pt x="50" y="110"/>
                </a:cubicBezTo>
                <a:cubicBezTo>
                  <a:pt x="50" y="110"/>
                  <a:pt x="51" y="110"/>
                  <a:pt x="51" y="110"/>
                </a:cubicBezTo>
                <a:cubicBezTo>
                  <a:pt x="52" y="110"/>
                  <a:pt x="52" y="110"/>
                  <a:pt x="53" y="110"/>
                </a:cubicBezTo>
                <a:cubicBezTo>
                  <a:pt x="54" y="110"/>
                  <a:pt x="54" y="112"/>
                  <a:pt x="53" y="112"/>
                </a:cubicBezTo>
                <a:cubicBezTo>
                  <a:pt x="52" y="112"/>
                  <a:pt x="52" y="112"/>
                  <a:pt x="52" y="112"/>
                </a:cubicBezTo>
                <a:cubicBezTo>
                  <a:pt x="51" y="112"/>
                  <a:pt x="51" y="112"/>
                  <a:pt x="51" y="113"/>
                </a:cubicBezTo>
                <a:cubicBezTo>
                  <a:pt x="51" y="115"/>
                  <a:pt x="51" y="115"/>
                  <a:pt x="51" y="115"/>
                </a:cubicBezTo>
                <a:cubicBezTo>
                  <a:pt x="51" y="115"/>
                  <a:pt x="51" y="117"/>
                  <a:pt x="52" y="117"/>
                </a:cubicBezTo>
                <a:cubicBezTo>
                  <a:pt x="52" y="118"/>
                  <a:pt x="53" y="118"/>
                  <a:pt x="52" y="118"/>
                </a:cubicBezTo>
                <a:cubicBezTo>
                  <a:pt x="52" y="119"/>
                  <a:pt x="51" y="120"/>
                  <a:pt x="51" y="121"/>
                </a:cubicBezTo>
                <a:cubicBezTo>
                  <a:pt x="52" y="122"/>
                  <a:pt x="53" y="122"/>
                  <a:pt x="52" y="123"/>
                </a:cubicBezTo>
                <a:cubicBezTo>
                  <a:pt x="51" y="124"/>
                  <a:pt x="50" y="125"/>
                  <a:pt x="51" y="126"/>
                </a:cubicBezTo>
                <a:cubicBezTo>
                  <a:pt x="52" y="127"/>
                  <a:pt x="54" y="127"/>
                  <a:pt x="54" y="126"/>
                </a:cubicBezTo>
                <a:cubicBezTo>
                  <a:pt x="54" y="126"/>
                  <a:pt x="55" y="126"/>
                  <a:pt x="55" y="125"/>
                </a:cubicBezTo>
                <a:cubicBezTo>
                  <a:pt x="55" y="124"/>
                  <a:pt x="57" y="124"/>
                  <a:pt x="57" y="125"/>
                </a:cubicBezTo>
                <a:cubicBezTo>
                  <a:pt x="57" y="126"/>
                  <a:pt x="59" y="127"/>
                  <a:pt x="60" y="126"/>
                </a:cubicBezTo>
                <a:cubicBezTo>
                  <a:pt x="62" y="125"/>
                  <a:pt x="63" y="124"/>
                  <a:pt x="64" y="125"/>
                </a:cubicBezTo>
                <a:cubicBezTo>
                  <a:pt x="65" y="126"/>
                  <a:pt x="64" y="127"/>
                  <a:pt x="66" y="127"/>
                </a:cubicBezTo>
                <a:cubicBezTo>
                  <a:pt x="67" y="127"/>
                  <a:pt x="67" y="125"/>
                  <a:pt x="68" y="128"/>
                </a:cubicBezTo>
                <a:cubicBezTo>
                  <a:pt x="68" y="130"/>
                  <a:pt x="70" y="129"/>
                  <a:pt x="70" y="129"/>
                </a:cubicBezTo>
                <a:cubicBezTo>
                  <a:pt x="70" y="129"/>
                  <a:pt x="70" y="129"/>
                  <a:pt x="70" y="131"/>
                </a:cubicBezTo>
                <a:cubicBezTo>
                  <a:pt x="70" y="132"/>
                  <a:pt x="73" y="133"/>
                  <a:pt x="73" y="133"/>
                </a:cubicBezTo>
                <a:cubicBezTo>
                  <a:pt x="73" y="133"/>
                  <a:pt x="75" y="134"/>
                  <a:pt x="76" y="133"/>
                </a:cubicBezTo>
                <a:cubicBezTo>
                  <a:pt x="76" y="133"/>
                  <a:pt x="76" y="132"/>
                  <a:pt x="78" y="132"/>
                </a:cubicBezTo>
                <a:cubicBezTo>
                  <a:pt x="79" y="132"/>
                  <a:pt x="80" y="133"/>
                  <a:pt x="80" y="134"/>
                </a:cubicBezTo>
                <a:cubicBezTo>
                  <a:pt x="80" y="135"/>
                  <a:pt x="80" y="138"/>
                  <a:pt x="81" y="138"/>
                </a:cubicBezTo>
                <a:cubicBezTo>
                  <a:pt x="82" y="139"/>
                  <a:pt x="82" y="137"/>
                  <a:pt x="82" y="137"/>
                </a:cubicBezTo>
                <a:cubicBezTo>
                  <a:pt x="82" y="137"/>
                  <a:pt x="83" y="133"/>
                  <a:pt x="82" y="133"/>
                </a:cubicBezTo>
                <a:cubicBezTo>
                  <a:pt x="82" y="132"/>
                  <a:pt x="81" y="131"/>
                  <a:pt x="80" y="129"/>
                </a:cubicBezTo>
                <a:cubicBezTo>
                  <a:pt x="80" y="128"/>
                  <a:pt x="78" y="125"/>
                  <a:pt x="78" y="124"/>
                </a:cubicBezTo>
                <a:cubicBezTo>
                  <a:pt x="77" y="123"/>
                  <a:pt x="76" y="120"/>
                  <a:pt x="76" y="119"/>
                </a:cubicBezTo>
                <a:cubicBezTo>
                  <a:pt x="76" y="118"/>
                  <a:pt x="75" y="113"/>
                  <a:pt x="75" y="113"/>
                </a:cubicBezTo>
                <a:cubicBezTo>
                  <a:pt x="75" y="113"/>
                  <a:pt x="73" y="113"/>
                  <a:pt x="73" y="111"/>
                </a:cubicBezTo>
                <a:cubicBezTo>
                  <a:pt x="73" y="110"/>
                  <a:pt x="74" y="108"/>
                  <a:pt x="75" y="107"/>
                </a:cubicBezTo>
                <a:cubicBezTo>
                  <a:pt x="76" y="106"/>
                  <a:pt x="77" y="106"/>
                  <a:pt x="78" y="105"/>
                </a:cubicBezTo>
                <a:cubicBezTo>
                  <a:pt x="79" y="104"/>
                  <a:pt x="80" y="102"/>
                  <a:pt x="80" y="100"/>
                </a:cubicBezTo>
                <a:cubicBezTo>
                  <a:pt x="80" y="99"/>
                  <a:pt x="80" y="98"/>
                  <a:pt x="82" y="98"/>
                </a:cubicBezTo>
                <a:cubicBezTo>
                  <a:pt x="84" y="97"/>
                  <a:pt x="88" y="96"/>
                  <a:pt x="90" y="96"/>
                </a:cubicBezTo>
                <a:cubicBezTo>
                  <a:pt x="93" y="96"/>
                  <a:pt x="94" y="96"/>
                  <a:pt x="96" y="96"/>
                </a:cubicBezTo>
                <a:cubicBezTo>
                  <a:pt x="98" y="96"/>
                  <a:pt x="100" y="95"/>
                  <a:pt x="101" y="95"/>
                </a:cubicBezTo>
                <a:cubicBezTo>
                  <a:pt x="103" y="95"/>
                  <a:pt x="105" y="96"/>
                  <a:pt x="105" y="96"/>
                </a:cubicBezTo>
                <a:cubicBezTo>
                  <a:pt x="106" y="97"/>
                  <a:pt x="109" y="98"/>
                  <a:pt x="109" y="98"/>
                </a:cubicBezTo>
                <a:cubicBezTo>
                  <a:pt x="110" y="97"/>
                  <a:pt x="113" y="95"/>
                  <a:pt x="113" y="95"/>
                </a:cubicBezTo>
                <a:cubicBezTo>
                  <a:pt x="113" y="95"/>
                  <a:pt x="113" y="91"/>
                  <a:pt x="113" y="90"/>
                </a:cubicBezTo>
                <a:cubicBezTo>
                  <a:pt x="113" y="89"/>
                  <a:pt x="113" y="88"/>
                  <a:pt x="113" y="87"/>
                </a:cubicBezTo>
                <a:cubicBezTo>
                  <a:pt x="114" y="87"/>
                  <a:pt x="114" y="86"/>
                  <a:pt x="114" y="85"/>
                </a:cubicBezTo>
                <a:cubicBezTo>
                  <a:pt x="114" y="85"/>
                  <a:pt x="112" y="84"/>
                  <a:pt x="112" y="83"/>
                </a:cubicBezTo>
                <a:cubicBezTo>
                  <a:pt x="111" y="82"/>
                  <a:pt x="111" y="81"/>
                  <a:pt x="112" y="80"/>
                </a:cubicBezTo>
                <a:cubicBezTo>
                  <a:pt x="112" y="79"/>
                  <a:pt x="114" y="77"/>
                  <a:pt x="113" y="77"/>
                </a:cubicBezTo>
                <a:cubicBezTo>
                  <a:pt x="113" y="76"/>
                  <a:pt x="112" y="75"/>
                  <a:pt x="112" y="75"/>
                </a:cubicBezTo>
                <a:cubicBezTo>
                  <a:pt x="111" y="74"/>
                  <a:pt x="111" y="74"/>
                  <a:pt x="111" y="73"/>
                </a:cubicBezTo>
                <a:cubicBezTo>
                  <a:pt x="111" y="72"/>
                  <a:pt x="111" y="71"/>
                  <a:pt x="110" y="71"/>
                </a:cubicBezTo>
                <a:cubicBezTo>
                  <a:pt x="110" y="71"/>
                  <a:pt x="110" y="70"/>
                  <a:pt x="109" y="69"/>
                </a:cubicBezTo>
                <a:cubicBezTo>
                  <a:pt x="109" y="69"/>
                  <a:pt x="107" y="68"/>
                  <a:pt x="107" y="68"/>
                </a:cubicBezTo>
                <a:cubicBezTo>
                  <a:pt x="106" y="67"/>
                  <a:pt x="104" y="67"/>
                  <a:pt x="104" y="66"/>
                </a:cubicBezTo>
                <a:cubicBezTo>
                  <a:pt x="103" y="65"/>
                  <a:pt x="103" y="62"/>
                  <a:pt x="103" y="61"/>
                </a:cubicBezTo>
                <a:cubicBezTo>
                  <a:pt x="102" y="61"/>
                  <a:pt x="102" y="60"/>
                  <a:pt x="101" y="59"/>
                </a:cubicBezTo>
                <a:cubicBezTo>
                  <a:pt x="101" y="58"/>
                  <a:pt x="101" y="57"/>
                  <a:pt x="102" y="57"/>
                </a:cubicBezTo>
                <a:cubicBezTo>
                  <a:pt x="103" y="56"/>
                  <a:pt x="103" y="55"/>
                  <a:pt x="103" y="55"/>
                </a:cubicBezTo>
                <a:cubicBezTo>
                  <a:pt x="103" y="54"/>
                  <a:pt x="103" y="53"/>
                  <a:pt x="103" y="52"/>
                </a:cubicBezTo>
                <a:cubicBezTo>
                  <a:pt x="103" y="52"/>
                  <a:pt x="102" y="51"/>
                  <a:pt x="101" y="51"/>
                </a:cubicBezTo>
                <a:cubicBezTo>
                  <a:pt x="101" y="51"/>
                  <a:pt x="101" y="50"/>
                  <a:pt x="100" y="50"/>
                </a:cubicBezTo>
                <a:cubicBezTo>
                  <a:pt x="99" y="49"/>
                  <a:pt x="97" y="48"/>
                  <a:pt x="96" y="48"/>
                </a:cubicBezTo>
                <a:cubicBezTo>
                  <a:pt x="96" y="48"/>
                  <a:pt x="95" y="48"/>
                  <a:pt x="94" y="47"/>
                </a:cubicBezTo>
                <a:cubicBezTo>
                  <a:pt x="93" y="47"/>
                  <a:pt x="92" y="46"/>
                  <a:pt x="92" y="46"/>
                </a:cubicBezTo>
                <a:cubicBezTo>
                  <a:pt x="92" y="46"/>
                  <a:pt x="92" y="45"/>
                  <a:pt x="92" y="45"/>
                </a:cubicBezTo>
                <a:cubicBezTo>
                  <a:pt x="91" y="44"/>
                  <a:pt x="91" y="43"/>
                  <a:pt x="91" y="42"/>
                </a:cubicBezTo>
                <a:cubicBezTo>
                  <a:pt x="91" y="42"/>
                  <a:pt x="91" y="41"/>
                  <a:pt x="90" y="41"/>
                </a:cubicBezTo>
                <a:cubicBezTo>
                  <a:pt x="89" y="41"/>
                  <a:pt x="89" y="41"/>
                  <a:pt x="88" y="41"/>
                </a:cubicBezTo>
                <a:cubicBezTo>
                  <a:pt x="87" y="40"/>
                  <a:pt x="86" y="40"/>
                  <a:pt x="86" y="39"/>
                </a:cubicBezTo>
                <a:cubicBezTo>
                  <a:pt x="85" y="39"/>
                  <a:pt x="85" y="38"/>
                  <a:pt x="85" y="38"/>
                </a:cubicBezTo>
                <a:cubicBezTo>
                  <a:pt x="85" y="37"/>
                  <a:pt x="85" y="35"/>
                  <a:pt x="85" y="34"/>
                </a:cubicBezTo>
                <a:cubicBezTo>
                  <a:pt x="84" y="34"/>
                  <a:pt x="83" y="32"/>
                  <a:pt x="82" y="32"/>
                </a:cubicBezTo>
                <a:cubicBezTo>
                  <a:pt x="82" y="32"/>
                  <a:pt x="80" y="32"/>
                  <a:pt x="80" y="32"/>
                </a:cubicBezTo>
                <a:cubicBezTo>
                  <a:pt x="80" y="32"/>
                  <a:pt x="79" y="32"/>
                  <a:pt x="78" y="32"/>
                </a:cubicBezTo>
                <a:cubicBezTo>
                  <a:pt x="77" y="32"/>
                  <a:pt x="76" y="32"/>
                  <a:pt x="76" y="32"/>
                </a:cubicBezTo>
                <a:cubicBezTo>
                  <a:pt x="76" y="33"/>
                  <a:pt x="75" y="33"/>
                  <a:pt x="74" y="34"/>
                </a:cubicBezTo>
                <a:cubicBezTo>
                  <a:pt x="74" y="35"/>
                  <a:pt x="73" y="36"/>
                  <a:pt x="73" y="37"/>
                </a:cubicBezTo>
                <a:cubicBezTo>
                  <a:pt x="73" y="38"/>
                  <a:pt x="72" y="38"/>
                  <a:pt x="71" y="38"/>
                </a:cubicBezTo>
                <a:cubicBezTo>
                  <a:pt x="70" y="38"/>
                  <a:pt x="70" y="38"/>
                  <a:pt x="69" y="39"/>
                </a:cubicBezTo>
                <a:cubicBezTo>
                  <a:pt x="69" y="39"/>
                  <a:pt x="68" y="40"/>
                  <a:pt x="67" y="40"/>
                </a:cubicBezTo>
                <a:cubicBezTo>
                  <a:pt x="67" y="40"/>
                  <a:pt x="66" y="40"/>
                  <a:pt x="65" y="40"/>
                </a:cubicBezTo>
                <a:cubicBezTo>
                  <a:pt x="65" y="40"/>
                  <a:pt x="64" y="40"/>
                  <a:pt x="63" y="40"/>
                </a:cubicBezTo>
                <a:cubicBezTo>
                  <a:pt x="62" y="40"/>
                  <a:pt x="61" y="40"/>
                  <a:pt x="60" y="40"/>
                </a:cubicBezTo>
                <a:cubicBezTo>
                  <a:pt x="60" y="40"/>
                  <a:pt x="60" y="40"/>
                  <a:pt x="59" y="40"/>
                </a:cubicBezTo>
                <a:cubicBezTo>
                  <a:pt x="58" y="40"/>
                  <a:pt x="56" y="41"/>
                  <a:pt x="56" y="40"/>
                </a:cubicBezTo>
                <a:cubicBezTo>
                  <a:pt x="55" y="40"/>
                  <a:pt x="52" y="41"/>
                  <a:pt x="52" y="41"/>
                </a:cubicBezTo>
                <a:cubicBezTo>
                  <a:pt x="52" y="41"/>
                  <a:pt x="50" y="41"/>
                  <a:pt x="50" y="42"/>
                </a:cubicBezTo>
                <a:cubicBezTo>
                  <a:pt x="49" y="43"/>
                  <a:pt x="48" y="45"/>
                  <a:pt x="48" y="46"/>
                </a:cubicBezTo>
                <a:cubicBezTo>
                  <a:pt x="48" y="46"/>
                  <a:pt x="45" y="48"/>
                  <a:pt x="45" y="48"/>
                </a:cubicBezTo>
                <a:cubicBezTo>
                  <a:pt x="44" y="48"/>
                  <a:pt x="43" y="47"/>
                  <a:pt x="43" y="47"/>
                </a:cubicBezTo>
                <a:cubicBezTo>
                  <a:pt x="42" y="46"/>
                  <a:pt x="42" y="45"/>
                  <a:pt x="43" y="45"/>
                </a:cubicBezTo>
                <a:cubicBezTo>
                  <a:pt x="44" y="45"/>
                  <a:pt x="45" y="43"/>
                  <a:pt x="45" y="42"/>
                </a:cubicBezTo>
                <a:cubicBezTo>
                  <a:pt x="44" y="41"/>
                  <a:pt x="44" y="38"/>
                  <a:pt x="44" y="37"/>
                </a:cubicBezTo>
                <a:cubicBezTo>
                  <a:pt x="45" y="36"/>
                  <a:pt x="45" y="35"/>
                  <a:pt x="46" y="35"/>
                </a:cubicBezTo>
                <a:cubicBezTo>
                  <a:pt x="46" y="35"/>
                  <a:pt x="46" y="33"/>
                  <a:pt x="46" y="33"/>
                </a:cubicBezTo>
                <a:cubicBezTo>
                  <a:pt x="47" y="32"/>
                  <a:pt x="47" y="31"/>
                  <a:pt x="47" y="31"/>
                </a:cubicBezTo>
                <a:cubicBezTo>
                  <a:pt x="47" y="30"/>
                  <a:pt x="47" y="28"/>
                  <a:pt x="47" y="27"/>
                </a:cubicBezTo>
                <a:cubicBezTo>
                  <a:pt x="47" y="25"/>
                  <a:pt x="46" y="24"/>
                  <a:pt x="47" y="23"/>
                </a:cubicBezTo>
                <a:cubicBezTo>
                  <a:pt x="47" y="23"/>
                  <a:pt x="47" y="20"/>
                  <a:pt x="47" y="19"/>
                </a:cubicBezTo>
                <a:cubicBezTo>
                  <a:pt x="47" y="19"/>
                  <a:pt x="46" y="18"/>
                  <a:pt x="47" y="17"/>
                </a:cubicBezTo>
                <a:cubicBezTo>
                  <a:pt x="48" y="17"/>
                  <a:pt x="49" y="15"/>
                  <a:pt x="49" y="15"/>
                </a:cubicBezTo>
                <a:cubicBezTo>
                  <a:pt x="50" y="15"/>
                  <a:pt x="49" y="14"/>
                  <a:pt x="49" y="13"/>
                </a:cubicBezTo>
                <a:cubicBezTo>
                  <a:pt x="48" y="12"/>
                  <a:pt x="48" y="12"/>
                  <a:pt x="47" y="12"/>
                </a:cubicBezTo>
                <a:cubicBezTo>
                  <a:pt x="47" y="12"/>
                  <a:pt x="46" y="12"/>
                  <a:pt x="45" y="12"/>
                </a:cubicBezTo>
                <a:cubicBezTo>
                  <a:pt x="44" y="12"/>
                  <a:pt x="43" y="12"/>
                  <a:pt x="43" y="12"/>
                </a:cubicBezTo>
                <a:cubicBezTo>
                  <a:pt x="42" y="12"/>
                  <a:pt x="42" y="12"/>
                  <a:pt x="41" y="12"/>
                </a:cubicBezTo>
                <a:cubicBezTo>
                  <a:pt x="40" y="12"/>
                  <a:pt x="40" y="11"/>
                  <a:pt x="39" y="12"/>
                </a:cubicBezTo>
                <a:cubicBezTo>
                  <a:pt x="39" y="12"/>
                  <a:pt x="38" y="12"/>
                  <a:pt x="37" y="12"/>
                </a:cubicBezTo>
                <a:cubicBezTo>
                  <a:pt x="36" y="12"/>
                  <a:pt x="37" y="11"/>
                  <a:pt x="37" y="10"/>
                </a:cubicBezTo>
                <a:cubicBezTo>
                  <a:pt x="37" y="9"/>
                  <a:pt x="37" y="8"/>
                  <a:pt x="37" y="7"/>
                </a:cubicBezTo>
                <a:cubicBezTo>
                  <a:pt x="37" y="7"/>
                  <a:pt x="38" y="6"/>
                  <a:pt x="37" y="6"/>
                </a:cubicBezTo>
                <a:cubicBezTo>
                  <a:pt x="37" y="6"/>
                  <a:pt x="35" y="5"/>
                  <a:pt x="35" y="4"/>
                </a:cubicBezTo>
                <a:cubicBezTo>
                  <a:pt x="35" y="4"/>
                  <a:pt x="35" y="2"/>
                  <a:pt x="35" y="2"/>
                </a:cubicBezTo>
                <a:cubicBezTo>
                  <a:pt x="32" y="2"/>
                  <a:pt x="32" y="2"/>
                  <a:pt x="32" y="2"/>
                </a:cubicBezTo>
                <a:cubicBezTo>
                  <a:pt x="32" y="2"/>
                  <a:pt x="32" y="2"/>
                  <a:pt x="32" y="2"/>
                </a:cubicBezTo>
                <a:lnTo>
                  <a:pt x="31" y="1"/>
                </a:ln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6" name="Malaysia"/>
          <p:cNvSpPr>
            <a:spLocks/>
          </p:cNvSpPr>
          <p:nvPr/>
        </p:nvSpPr>
        <p:spPr bwMode="auto">
          <a:xfrm>
            <a:off x="8910768" y="3847468"/>
            <a:ext cx="523880" cy="195305"/>
          </a:xfrm>
          <a:custGeom>
            <a:avLst/>
            <a:gdLst>
              <a:gd name="connsiteX0" fmla="*/ 178 w 509224"/>
              <a:gd name="connsiteY0" fmla="*/ 18392 h 189842"/>
              <a:gd name="connsiteX1" fmla="*/ 8089 w 509224"/>
              <a:gd name="connsiteY1" fmla="*/ 22381 h 189842"/>
              <a:gd name="connsiteX2" fmla="*/ 12045 w 509224"/>
              <a:gd name="connsiteY2" fmla="*/ 22381 h 189842"/>
              <a:gd name="connsiteX3" fmla="*/ 16001 w 509224"/>
              <a:gd name="connsiteY3" fmla="*/ 24376 h 189842"/>
              <a:gd name="connsiteX4" fmla="*/ 23912 w 509224"/>
              <a:gd name="connsiteY4" fmla="*/ 26370 h 189842"/>
              <a:gd name="connsiteX5" fmla="*/ 25890 w 509224"/>
              <a:gd name="connsiteY5" fmla="*/ 32354 h 189842"/>
              <a:gd name="connsiteX6" fmla="*/ 23912 w 509224"/>
              <a:gd name="connsiteY6" fmla="*/ 40332 h 189842"/>
              <a:gd name="connsiteX7" fmla="*/ 29846 w 509224"/>
              <a:gd name="connsiteY7" fmla="*/ 44321 h 189842"/>
              <a:gd name="connsiteX8" fmla="*/ 31824 w 509224"/>
              <a:gd name="connsiteY8" fmla="*/ 42327 h 189842"/>
              <a:gd name="connsiteX9" fmla="*/ 33801 w 509224"/>
              <a:gd name="connsiteY9" fmla="*/ 40332 h 189842"/>
              <a:gd name="connsiteX10" fmla="*/ 43691 w 509224"/>
              <a:gd name="connsiteY10" fmla="*/ 38338 h 189842"/>
              <a:gd name="connsiteX11" fmla="*/ 45669 w 509224"/>
              <a:gd name="connsiteY11" fmla="*/ 34349 h 189842"/>
              <a:gd name="connsiteX12" fmla="*/ 49624 w 509224"/>
              <a:gd name="connsiteY12" fmla="*/ 30360 h 189842"/>
              <a:gd name="connsiteX13" fmla="*/ 49624 w 509224"/>
              <a:gd name="connsiteY13" fmla="*/ 34349 h 189842"/>
              <a:gd name="connsiteX14" fmla="*/ 55558 w 509224"/>
              <a:gd name="connsiteY14" fmla="*/ 38338 h 189842"/>
              <a:gd name="connsiteX15" fmla="*/ 61492 w 509224"/>
              <a:gd name="connsiteY15" fmla="*/ 44321 h 189842"/>
              <a:gd name="connsiteX16" fmla="*/ 63469 w 509224"/>
              <a:gd name="connsiteY16" fmla="*/ 48311 h 189842"/>
              <a:gd name="connsiteX17" fmla="*/ 67425 w 509224"/>
              <a:gd name="connsiteY17" fmla="*/ 48311 h 189842"/>
              <a:gd name="connsiteX18" fmla="*/ 69403 w 509224"/>
              <a:gd name="connsiteY18" fmla="*/ 50305 h 189842"/>
              <a:gd name="connsiteX19" fmla="*/ 75337 w 509224"/>
              <a:gd name="connsiteY19" fmla="*/ 58283 h 189842"/>
              <a:gd name="connsiteX20" fmla="*/ 83248 w 509224"/>
              <a:gd name="connsiteY20" fmla="*/ 68256 h 189842"/>
              <a:gd name="connsiteX21" fmla="*/ 85226 w 509224"/>
              <a:gd name="connsiteY21" fmla="*/ 82218 h 189842"/>
              <a:gd name="connsiteX22" fmla="*/ 85226 w 509224"/>
              <a:gd name="connsiteY22" fmla="*/ 92191 h 189842"/>
              <a:gd name="connsiteX23" fmla="*/ 83248 w 509224"/>
              <a:gd name="connsiteY23" fmla="*/ 102163 h 189842"/>
              <a:gd name="connsiteX24" fmla="*/ 85226 w 509224"/>
              <a:gd name="connsiteY24" fmla="*/ 110142 h 189842"/>
              <a:gd name="connsiteX25" fmla="*/ 87204 w 509224"/>
              <a:gd name="connsiteY25" fmla="*/ 124103 h 189842"/>
              <a:gd name="connsiteX26" fmla="*/ 87204 w 509224"/>
              <a:gd name="connsiteY26" fmla="*/ 132082 h 189842"/>
              <a:gd name="connsiteX27" fmla="*/ 91160 w 509224"/>
              <a:gd name="connsiteY27" fmla="*/ 136071 h 189842"/>
              <a:gd name="connsiteX28" fmla="*/ 95115 w 509224"/>
              <a:gd name="connsiteY28" fmla="*/ 140060 h 189842"/>
              <a:gd name="connsiteX29" fmla="*/ 101049 w 509224"/>
              <a:gd name="connsiteY29" fmla="*/ 144049 h 189842"/>
              <a:gd name="connsiteX30" fmla="*/ 101049 w 509224"/>
              <a:gd name="connsiteY30" fmla="*/ 148038 h 189842"/>
              <a:gd name="connsiteX31" fmla="*/ 105005 w 509224"/>
              <a:gd name="connsiteY31" fmla="*/ 156016 h 189842"/>
              <a:gd name="connsiteX32" fmla="*/ 110938 w 509224"/>
              <a:gd name="connsiteY32" fmla="*/ 163994 h 189842"/>
              <a:gd name="connsiteX33" fmla="*/ 114894 w 509224"/>
              <a:gd name="connsiteY33" fmla="*/ 171973 h 189842"/>
              <a:gd name="connsiteX34" fmla="*/ 106983 w 509224"/>
              <a:gd name="connsiteY34" fmla="*/ 167984 h 189842"/>
              <a:gd name="connsiteX35" fmla="*/ 101049 w 509224"/>
              <a:gd name="connsiteY35" fmla="*/ 167984 h 189842"/>
              <a:gd name="connsiteX36" fmla="*/ 95115 w 509224"/>
              <a:gd name="connsiteY36" fmla="*/ 173967 h 189842"/>
              <a:gd name="connsiteX37" fmla="*/ 85226 w 509224"/>
              <a:gd name="connsiteY37" fmla="*/ 169978 h 189842"/>
              <a:gd name="connsiteX38" fmla="*/ 77315 w 509224"/>
              <a:gd name="connsiteY38" fmla="*/ 163994 h 189842"/>
              <a:gd name="connsiteX39" fmla="*/ 71381 w 509224"/>
              <a:gd name="connsiteY39" fmla="*/ 162000 h 189842"/>
              <a:gd name="connsiteX40" fmla="*/ 65447 w 509224"/>
              <a:gd name="connsiteY40" fmla="*/ 160005 h 189842"/>
              <a:gd name="connsiteX41" fmla="*/ 61492 w 509224"/>
              <a:gd name="connsiteY41" fmla="*/ 158011 h 189842"/>
              <a:gd name="connsiteX42" fmla="*/ 57536 w 509224"/>
              <a:gd name="connsiteY42" fmla="*/ 154022 h 189842"/>
              <a:gd name="connsiteX43" fmla="*/ 51602 w 509224"/>
              <a:gd name="connsiteY43" fmla="*/ 150033 h 189842"/>
              <a:gd name="connsiteX44" fmla="*/ 41713 w 509224"/>
              <a:gd name="connsiteY44" fmla="*/ 148038 h 189842"/>
              <a:gd name="connsiteX45" fmla="*/ 37757 w 509224"/>
              <a:gd name="connsiteY45" fmla="*/ 144049 h 189842"/>
              <a:gd name="connsiteX46" fmla="*/ 35779 w 509224"/>
              <a:gd name="connsiteY46" fmla="*/ 142054 h 189842"/>
              <a:gd name="connsiteX47" fmla="*/ 29846 w 509224"/>
              <a:gd name="connsiteY47" fmla="*/ 138065 h 189842"/>
              <a:gd name="connsiteX48" fmla="*/ 25890 w 509224"/>
              <a:gd name="connsiteY48" fmla="*/ 134076 h 189842"/>
              <a:gd name="connsiteX49" fmla="*/ 27868 w 509224"/>
              <a:gd name="connsiteY49" fmla="*/ 128093 h 189842"/>
              <a:gd name="connsiteX50" fmla="*/ 27868 w 509224"/>
              <a:gd name="connsiteY50" fmla="*/ 120114 h 189842"/>
              <a:gd name="connsiteX51" fmla="*/ 27868 w 509224"/>
              <a:gd name="connsiteY51" fmla="*/ 116125 h 189842"/>
              <a:gd name="connsiteX52" fmla="*/ 21934 w 509224"/>
              <a:gd name="connsiteY52" fmla="*/ 114131 h 189842"/>
              <a:gd name="connsiteX53" fmla="*/ 19956 w 509224"/>
              <a:gd name="connsiteY53" fmla="*/ 106153 h 189842"/>
              <a:gd name="connsiteX54" fmla="*/ 16001 w 509224"/>
              <a:gd name="connsiteY54" fmla="*/ 96180 h 189842"/>
              <a:gd name="connsiteX55" fmla="*/ 10067 w 509224"/>
              <a:gd name="connsiteY55" fmla="*/ 90196 h 189842"/>
              <a:gd name="connsiteX56" fmla="*/ 12045 w 509224"/>
              <a:gd name="connsiteY56" fmla="*/ 76234 h 189842"/>
              <a:gd name="connsiteX57" fmla="*/ 8089 w 509224"/>
              <a:gd name="connsiteY57" fmla="*/ 64267 h 189842"/>
              <a:gd name="connsiteX58" fmla="*/ 4133 w 509224"/>
              <a:gd name="connsiteY58" fmla="*/ 58283 h 189842"/>
              <a:gd name="connsiteX59" fmla="*/ 2155 w 509224"/>
              <a:gd name="connsiteY59" fmla="*/ 52300 h 189842"/>
              <a:gd name="connsiteX60" fmla="*/ 4133 w 509224"/>
              <a:gd name="connsiteY60" fmla="*/ 44321 h 189842"/>
              <a:gd name="connsiteX61" fmla="*/ 2155 w 509224"/>
              <a:gd name="connsiteY61" fmla="*/ 34349 h 189842"/>
              <a:gd name="connsiteX62" fmla="*/ 178 w 509224"/>
              <a:gd name="connsiteY62" fmla="*/ 22381 h 189842"/>
              <a:gd name="connsiteX63" fmla="*/ 178 w 509224"/>
              <a:gd name="connsiteY63" fmla="*/ 18392 h 189842"/>
              <a:gd name="connsiteX64" fmla="*/ 455801 w 509224"/>
              <a:gd name="connsiteY64" fmla="*/ 161 h 189842"/>
              <a:gd name="connsiteX65" fmla="*/ 459046 w 509224"/>
              <a:gd name="connsiteY65" fmla="*/ 4154 h 189842"/>
              <a:gd name="connsiteX66" fmla="*/ 461043 w 509224"/>
              <a:gd name="connsiteY66" fmla="*/ 12140 h 189842"/>
              <a:gd name="connsiteX67" fmla="*/ 465036 w 509224"/>
              <a:gd name="connsiteY67" fmla="*/ 24120 h 189842"/>
              <a:gd name="connsiteX68" fmla="*/ 465036 w 509224"/>
              <a:gd name="connsiteY68" fmla="*/ 38097 h 189842"/>
              <a:gd name="connsiteX69" fmla="*/ 473023 w 509224"/>
              <a:gd name="connsiteY69" fmla="*/ 44087 h 189842"/>
              <a:gd name="connsiteX70" fmla="*/ 494988 w 509224"/>
              <a:gd name="connsiteY70" fmla="*/ 46083 h 189842"/>
              <a:gd name="connsiteX71" fmla="*/ 508965 w 509224"/>
              <a:gd name="connsiteY71" fmla="*/ 58063 h 189842"/>
              <a:gd name="connsiteX72" fmla="*/ 498982 w 509224"/>
              <a:gd name="connsiteY72" fmla="*/ 64053 h 189842"/>
              <a:gd name="connsiteX73" fmla="*/ 485004 w 509224"/>
              <a:gd name="connsiteY73" fmla="*/ 64053 h 189842"/>
              <a:gd name="connsiteX74" fmla="*/ 473023 w 509224"/>
              <a:gd name="connsiteY74" fmla="*/ 68047 h 189842"/>
              <a:gd name="connsiteX75" fmla="*/ 481011 w 509224"/>
              <a:gd name="connsiteY75" fmla="*/ 78030 h 189842"/>
              <a:gd name="connsiteX76" fmla="*/ 487001 w 509224"/>
              <a:gd name="connsiteY76" fmla="*/ 78030 h 189842"/>
              <a:gd name="connsiteX77" fmla="*/ 490994 w 509224"/>
              <a:gd name="connsiteY77" fmla="*/ 82023 h 189842"/>
              <a:gd name="connsiteX78" fmla="*/ 490994 w 509224"/>
              <a:gd name="connsiteY78" fmla="*/ 90010 h 189842"/>
              <a:gd name="connsiteX79" fmla="*/ 475020 w 509224"/>
              <a:gd name="connsiteY79" fmla="*/ 90010 h 189842"/>
              <a:gd name="connsiteX80" fmla="*/ 465036 w 509224"/>
              <a:gd name="connsiteY80" fmla="*/ 88013 h 189842"/>
              <a:gd name="connsiteX81" fmla="*/ 461043 w 509224"/>
              <a:gd name="connsiteY81" fmla="*/ 90010 h 189842"/>
              <a:gd name="connsiteX82" fmla="*/ 447065 w 509224"/>
              <a:gd name="connsiteY82" fmla="*/ 90010 h 189842"/>
              <a:gd name="connsiteX83" fmla="*/ 435085 w 509224"/>
              <a:gd name="connsiteY83" fmla="*/ 84020 h 189842"/>
              <a:gd name="connsiteX84" fmla="*/ 419110 w 509224"/>
              <a:gd name="connsiteY84" fmla="*/ 88013 h 189842"/>
              <a:gd name="connsiteX85" fmla="*/ 413120 w 509224"/>
              <a:gd name="connsiteY85" fmla="*/ 96000 h 189842"/>
              <a:gd name="connsiteX86" fmla="*/ 413120 w 509224"/>
              <a:gd name="connsiteY86" fmla="*/ 103986 h 189842"/>
              <a:gd name="connsiteX87" fmla="*/ 403136 w 509224"/>
              <a:gd name="connsiteY87" fmla="*/ 133936 h 189842"/>
              <a:gd name="connsiteX88" fmla="*/ 387162 w 509224"/>
              <a:gd name="connsiteY88" fmla="*/ 165882 h 189842"/>
              <a:gd name="connsiteX89" fmla="*/ 347226 w 509224"/>
              <a:gd name="connsiteY89" fmla="*/ 175866 h 189842"/>
              <a:gd name="connsiteX90" fmla="*/ 327258 w 509224"/>
              <a:gd name="connsiteY90" fmla="*/ 173869 h 189842"/>
              <a:gd name="connsiteX91" fmla="*/ 313281 w 509224"/>
              <a:gd name="connsiteY91" fmla="*/ 185849 h 189842"/>
              <a:gd name="connsiteX92" fmla="*/ 273345 w 509224"/>
              <a:gd name="connsiteY92" fmla="*/ 189842 h 189842"/>
              <a:gd name="connsiteX93" fmla="*/ 257371 w 509224"/>
              <a:gd name="connsiteY93" fmla="*/ 173869 h 189842"/>
              <a:gd name="connsiteX94" fmla="*/ 255374 w 509224"/>
              <a:gd name="connsiteY94" fmla="*/ 159892 h 189842"/>
              <a:gd name="connsiteX95" fmla="*/ 261365 w 509224"/>
              <a:gd name="connsiteY95" fmla="*/ 163886 h 189842"/>
              <a:gd name="connsiteX96" fmla="*/ 265358 w 509224"/>
              <a:gd name="connsiteY96" fmla="*/ 165882 h 189842"/>
              <a:gd name="connsiteX97" fmla="*/ 277339 w 509224"/>
              <a:gd name="connsiteY97" fmla="*/ 163886 h 189842"/>
              <a:gd name="connsiteX98" fmla="*/ 285326 w 509224"/>
              <a:gd name="connsiteY98" fmla="*/ 169876 h 189842"/>
              <a:gd name="connsiteX99" fmla="*/ 293313 w 509224"/>
              <a:gd name="connsiteY99" fmla="*/ 169876 h 189842"/>
              <a:gd name="connsiteX100" fmla="*/ 303297 w 509224"/>
              <a:gd name="connsiteY100" fmla="*/ 141923 h 189842"/>
              <a:gd name="connsiteX101" fmla="*/ 303297 w 509224"/>
              <a:gd name="connsiteY101" fmla="*/ 139926 h 189842"/>
              <a:gd name="connsiteX102" fmla="*/ 313281 w 509224"/>
              <a:gd name="connsiteY102" fmla="*/ 129943 h 189842"/>
              <a:gd name="connsiteX103" fmla="*/ 327258 w 509224"/>
              <a:gd name="connsiteY103" fmla="*/ 125949 h 189842"/>
              <a:gd name="connsiteX104" fmla="*/ 339239 w 509224"/>
              <a:gd name="connsiteY104" fmla="*/ 119960 h 189842"/>
              <a:gd name="connsiteX105" fmla="*/ 347226 w 509224"/>
              <a:gd name="connsiteY105" fmla="*/ 115966 h 189842"/>
              <a:gd name="connsiteX106" fmla="*/ 349223 w 509224"/>
              <a:gd name="connsiteY106" fmla="*/ 113970 h 189842"/>
              <a:gd name="connsiteX107" fmla="*/ 363200 w 509224"/>
              <a:gd name="connsiteY107" fmla="*/ 97996 h 189842"/>
              <a:gd name="connsiteX108" fmla="*/ 367194 w 509224"/>
              <a:gd name="connsiteY108" fmla="*/ 82023 h 189842"/>
              <a:gd name="connsiteX109" fmla="*/ 375181 w 509224"/>
              <a:gd name="connsiteY109" fmla="*/ 76033 h 189842"/>
              <a:gd name="connsiteX110" fmla="*/ 387162 w 509224"/>
              <a:gd name="connsiteY110" fmla="*/ 70043 h 189842"/>
              <a:gd name="connsiteX111" fmla="*/ 405133 w 509224"/>
              <a:gd name="connsiteY111" fmla="*/ 66050 h 189842"/>
              <a:gd name="connsiteX112" fmla="*/ 407130 w 509224"/>
              <a:gd name="connsiteY112" fmla="*/ 58063 h 189842"/>
              <a:gd name="connsiteX113" fmla="*/ 409126 w 509224"/>
              <a:gd name="connsiteY113" fmla="*/ 48080 h 189842"/>
              <a:gd name="connsiteX114" fmla="*/ 419110 w 509224"/>
              <a:gd name="connsiteY114" fmla="*/ 32107 h 189842"/>
              <a:gd name="connsiteX115" fmla="*/ 431091 w 509224"/>
              <a:gd name="connsiteY115" fmla="*/ 12140 h 189842"/>
              <a:gd name="connsiteX116" fmla="*/ 435085 w 509224"/>
              <a:gd name="connsiteY116" fmla="*/ 14137 h 189842"/>
              <a:gd name="connsiteX117" fmla="*/ 441075 w 509224"/>
              <a:gd name="connsiteY117" fmla="*/ 8147 h 189842"/>
              <a:gd name="connsiteX118" fmla="*/ 451059 w 509224"/>
              <a:gd name="connsiteY118" fmla="*/ 2157 h 189842"/>
              <a:gd name="connsiteX119" fmla="*/ 455801 w 509224"/>
              <a:gd name="connsiteY119" fmla="*/ 161 h 189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9224" h="189842">
                <a:moveTo>
                  <a:pt x="178" y="18392"/>
                </a:moveTo>
                <a:cubicBezTo>
                  <a:pt x="2155" y="22381"/>
                  <a:pt x="8089" y="22381"/>
                  <a:pt x="8089" y="22381"/>
                </a:cubicBezTo>
                <a:cubicBezTo>
                  <a:pt x="8089" y="22381"/>
                  <a:pt x="12045" y="20387"/>
                  <a:pt x="12045" y="22381"/>
                </a:cubicBezTo>
                <a:cubicBezTo>
                  <a:pt x="14023" y="24376"/>
                  <a:pt x="16001" y="24376"/>
                  <a:pt x="16001" y="24376"/>
                </a:cubicBezTo>
                <a:cubicBezTo>
                  <a:pt x="16001" y="24376"/>
                  <a:pt x="21934" y="24376"/>
                  <a:pt x="23912" y="26370"/>
                </a:cubicBezTo>
                <a:cubicBezTo>
                  <a:pt x="25890" y="28365"/>
                  <a:pt x="25890" y="30360"/>
                  <a:pt x="25890" y="32354"/>
                </a:cubicBezTo>
                <a:cubicBezTo>
                  <a:pt x="25890" y="34349"/>
                  <a:pt x="23912" y="38338"/>
                  <a:pt x="23912" y="40332"/>
                </a:cubicBezTo>
                <a:cubicBezTo>
                  <a:pt x="25890" y="42327"/>
                  <a:pt x="27868" y="44321"/>
                  <a:pt x="29846" y="44321"/>
                </a:cubicBezTo>
                <a:cubicBezTo>
                  <a:pt x="29846" y="46316"/>
                  <a:pt x="31824" y="44321"/>
                  <a:pt x="31824" y="42327"/>
                </a:cubicBezTo>
                <a:cubicBezTo>
                  <a:pt x="31824" y="40332"/>
                  <a:pt x="31824" y="40332"/>
                  <a:pt x="33801" y="40332"/>
                </a:cubicBezTo>
                <a:cubicBezTo>
                  <a:pt x="37757" y="40332"/>
                  <a:pt x="43691" y="40332"/>
                  <a:pt x="43691" y="38338"/>
                </a:cubicBezTo>
                <a:cubicBezTo>
                  <a:pt x="43691" y="38338"/>
                  <a:pt x="45669" y="36343"/>
                  <a:pt x="45669" y="34349"/>
                </a:cubicBezTo>
                <a:cubicBezTo>
                  <a:pt x="45669" y="32354"/>
                  <a:pt x="49624" y="30360"/>
                  <a:pt x="49624" y="30360"/>
                </a:cubicBezTo>
                <a:cubicBezTo>
                  <a:pt x="49624" y="32354"/>
                  <a:pt x="49624" y="32354"/>
                  <a:pt x="49624" y="34349"/>
                </a:cubicBezTo>
                <a:cubicBezTo>
                  <a:pt x="49624" y="38338"/>
                  <a:pt x="55558" y="38338"/>
                  <a:pt x="55558" y="38338"/>
                </a:cubicBezTo>
                <a:cubicBezTo>
                  <a:pt x="55558" y="38338"/>
                  <a:pt x="61492" y="42327"/>
                  <a:pt x="61492" y="44321"/>
                </a:cubicBezTo>
                <a:cubicBezTo>
                  <a:pt x="61492" y="46316"/>
                  <a:pt x="63469" y="48311"/>
                  <a:pt x="63469" y="48311"/>
                </a:cubicBezTo>
                <a:cubicBezTo>
                  <a:pt x="65447" y="46316"/>
                  <a:pt x="67425" y="48311"/>
                  <a:pt x="67425" y="48311"/>
                </a:cubicBezTo>
                <a:cubicBezTo>
                  <a:pt x="67425" y="48311"/>
                  <a:pt x="67425" y="48311"/>
                  <a:pt x="69403" y="50305"/>
                </a:cubicBezTo>
                <a:cubicBezTo>
                  <a:pt x="73359" y="50305"/>
                  <a:pt x="73359" y="52300"/>
                  <a:pt x="75337" y="58283"/>
                </a:cubicBezTo>
                <a:cubicBezTo>
                  <a:pt x="79292" y="64267"/>
                  <a:pt x="83248" y="68256"/>
                  <a:pt x="83248" y="68256"/>
                </a:cubicBezTo>
                <a:cubicBezTo>
                  <a:pt x="83248" y="68256"/>
                  <a:pt x="87204" y="78229"/>
                  <a:pt x="85226" y="82218"/>
                </a:cubicBezTo>
                <a:cubicBezTo>
                  <a:pt x="83248" y="88202"/>
                  <a:pt x="85226" y="88202"/>
                  <a:pt x="85226" y="92191"/>
                </a:cubicBezTo>
                <a:cubicBezTo>
                  <a:pt x="87204" y="94185"/>
                  <a:pt x="85226" y="98174"/>
                  <a:pt x="83248" y="102163"/>
                </a:cubicBezTo>
                <a:cubicBezTo>
                  <a:pt x="79292" y="106153"/>
                  <a:pt x="83248" y="110142"/>
                  <a:pt x="85226" y="110142"/>
                </a:cubicBezTo>
                <a:cubicBezTo>
                  <a:pt x="87204" y="112136"/>
                  <a:pt x="87204" y="118120"/>
                  <a:pt x="87204" y="124103"/>
                </a:cubicBezTo>
                <a:cubicBezTo>
                  <a:pt x="87204" y="128093"/>
                  <a:pt x="87204" y="130087"/>
                  <a:pt x="87204" y="132082"/>
                </a:cubicBezTo>
                <a:cubicBezTo>
                  <a:pt x="89182" y="132082"/>
                  <a:pt x="89182" y="136071"/>
                  <a:pt x="91160" y="136071"/>
                </a:cubicBezTo>
                <a:cubicBezTo>
                  <a:pt x="93137" y="138065"/>
                  <a:pt x="95115" y="140060"/>
                  <a:pt x="95115" y="140060"/>
                </a:cubicBezTo>
                <a:cubicBezTo>
                  <a:pt x="95115" y="140060"/>
                  <a:pt x="99071" y="138065"/>
                  <a:pt x="101049" y="144049"/>
                </a:cubicBezTo>
                <a:cubicBezTo>
                  <a:pt x="105005" y="148038"/>
                  <a:pt x="101049" y="146044"/>
                  <a:pt x="101049" y="148038"/>
                </a:cubicBezTo>
                <a:cubicBezTo>
                  <a:pt x="101049" y="152027"/>
                  <a:pt x="105005" y="154022"/>
                  <a:pt x="105005" y="156016"/>
                </a:cubicBezTo>
                <a:cubicBezTo>
                  <a:pt x="106983" y="158011"/>
                  <a:pt x="108960" y="162000"/>
                  <a:pt x="110938" y="163994"/>
                </a:cubicBezTo>
                <a:cubicBezTo>
                  <a:pt x="112916" y="165989"/>
                  <a:pt x="118850" y="171973"/>
                  <a:pt x="114894" y="171973"/>
                </a:cubicBezTo>
                <a:cubicBezTo>
                  <a:pt x="112916" y="173967"/>
                  <a:pt x="108960" y="171973"/>
                  <a:pt x="106983" y="167984"/>
                </a:cubicBezTo>
                <a:cubicBezTo>
                  <a:pt x="105005" y="163994"/>
                  <a:pt x="101049" y="165989"/>
                  <a:pt x="101049" y="167984"/>
                </a:cubicBezTo>
                <a:cubicBezTo>
                  <a:pt x="101049" y="169978"/>
                  <a:pt x="101049" y="171973"/>
                  <a:pt x="95115" y="173967"/>
                </a:cubicBezTo>
                <a:cubicBezTo>
                  <a:pt x="89182" y="173967"/>
                  <a:pt x="85226" y="169978"/>
                  <a:pt x="85226" y="169978"/>
                </a:cubicBezTo>
                <a:cubicBezTo>
                  <a:pt x="85226" y="167984"/>
                  <a:pt x="81270" y="165989"/>
                  <a:pt x="77315" y="163994"/>
                </a:cubicBezTo>
                <a:cubicBezTo>
                  <a:pt x="73359" y="162000"/>
                  <a:pt x="71381" y="163994"/>
                  <a:pt x="71381" y="162000"/>
                </a:cubicBezTo>
                <a:cubicBezTo>
                  <a:pt x="71381" y="162000"/>
                  <a:pt x="69403" y="160005"/>
                  <a:pt x="65447" y="160005"/>
                </a:cubicBezTo>
                <a:cubicBezTo>
                  <a:pt x="63469" y="160005"/>
                  <a:pt x="61492" y="158011"/>
                  <a:pt x="61492" y="158011"/>
                </a:cubicBezTo>
                <a:cubicBezTo>
                  <a:pt x="61492" y="158011"/>
                  <a:pt x="59514" y="154022"/>
                  <a:pt x="57536" y="154022"/>
                </a:cubicBezTo>
                <a:cubicBezTo>
                  <a:pt x="53580" y="154022"/>
                  <a:pt x="55558" y="152027"/>
                  <a:pt x="51602" y="150033"/>
                </a:cubicBezTo>
                <a:cubicBezTo>
                  <a:pt x="47646" y="148038"/>
                  <a:pt x="47646" y="148038"/>
                  <a:pt x="41713" y="148038"/>
                </a:cubicBezTo>
                <a:cubicBezTo>
                  <a:pt x="37757" y="148038"/>
                  <a:pt x="37757" y="144049"/>
                  <a:pt x="37757" y="144049"/>
                </a:cubicBezTo>
                <a:cubicBezTo>
                  <a:pt x="37757" y="142054"/>
                  <a:pt x="37757" y="140060"/>
                  <a:pt x="35779" y="142054"/>
                </a:cubicBezTo>
                <a:cubicBezTo>
                  <a:pt x="33801" y="142054"/>
                  <a:pt x="31824" y="140060"/>
                  <a:pt x="29846" y="138065"/>
                </a:cubicBezTo>
                <a:cubicBezTo>
                  <a:pt x="27868" y="136071"/>
                  <a:pt x="25890" y="136071"/>
                  <a:pt x="25890" y="134076"/>
                </a:cubicBezTo>
                <a:cubicBezTo>
                  <a:pt x="25890" y="132082"/>
                  <a:pt x="25890" y="128093"/>
                  <a:pt x="27868" y="128093"/>
                </a:cubicBezTo>
                <a:cubicBezTo>
                  <a:pt x="29846" y="126098"/>
                  <a:pt x="29846" y="124103"/>
                  <a:pt x="27868" y="120114"/>
                </a:cubicBezTo>
                <a:cubicBezTo>
                  <a:pt x="27868" y="120114"/>
                  <a:pt x="27868" y="118120"/>
                  <a:pt x="27868" y="116125"/>
                </a:cubicBezTo>
                <a:cubicBezTo>
                  <a:pt x="27868" y="114131"/>
                  <a:pt x="25890" y="116125"/>
                  <a:pt x="21934" y="114131"/>
                </a:cubicBezTo>
                <a:cubicBezTo>
                  <a:pt x="19956" y="110142"/>
                  <a:pt x="19956" y="106153"/>
                  <a:pt x="19956" y="106153"/>
                </a:cubicBezTo>
                <a:cubicBezTo>
                  <a:pt x="19956" y="106153"/>
                  <a:pt x="16001" y="102163"/>
                  <a:pt x="16001" y="96180"/>
                </a:cubicBezTo>
                <a:cubicBezTo>
                  <a:pt x="16001" y="90196"/>
                  <a:pt x="14023" y="94185"/>
                  <a:pt x="10067" y="90196"/>
                </a:cubicBezTo>
                <a:cubicBezTo>
                  <a:pt x="6111" y="86207"/>
                  <a:pt x="12045" y="82218"/>
                  <a:pt x="12045" y="76234"/>
                </a:cubicBezTo>
                <a:cubicBezTo>
                  <a:pt x="12045" y="70251"/>
                  <a:pt x="8089" y="64267"/>
                  <a:pt x="8089" y="64267"/>
                </a:cubicBezTo>
                <a:cubicBezTo>
                  <a:pt x="8089" y="64267"/>
                  <a:pt x="4133" y="60278"/>
                  <a:pt x="4133" y="58283"/>
                </a:cubicBezTo>
                <a:cubicBezTo>
                  <a:pt x="6111" y="56289"/>
                  <a:pt x="4133" y="54294"/>
                  <a:pt x="2155" y="52300"/>
                </a:cubicBezTo>
                <a:cubicBezTo>
                  <a:pt x="-1800" y="48311"/>
                  <a:pt x="178" y="46316"/>
                  <a:pt x="4133" y="44321"/>
                </a:cubicBezTo>
                <a:cubicBezTo>
                  <a:pt x="6111" y="40332"/>
                  <a:pt x="4133" y="38338"/>
                  <a:pt x="2155" y="34349"/>
                </a:cubicBezTo>
                <a:cubicBezTo>
                  <a:pt x="178" y="30360"/>
                  <a:pt x="178" y="26370"/>
                  <a:pt x="178" y="22381"/>
                </a:cubicBezTo>
                <a:cubicBezTo>
                  <a:pt x="178" y="20387"/>
                  <a:pt x="178" y="20387"/>
                  <a:pt x="178" y="18392"/>
                </a:cubicBezTo>
                <a:close/>
                <a:moveTo>
                  <a:pt x="455801" y="161"/>
                </a:moveTo>
                <a:cubicBezTo>
                  <a:pt x="458048" y="-339"/>
                  <a:pt x="460044" y="161"/>
                  <a:pt x="459046" y="4154"/>
                </a:cubicBezTo>
                <a:cubicBezTo>
                  <a:pt x="455052" y="10144"/>
                  <a:pt x="457049" y="8147"/>
                  <a:pt x="461043" y="12140"/>
                </a:cubicBezTo>
                <a:cubicBezTo>
                  <a:pt x="463039" y="16134"/>
                  <a:pt x="465036" y="24120"/>
                  <a:pt x="465036" y="24120"/>
                </a:cubicBezTo>
                <a:cubicBezTo>
                  <a:pt x="465036" y="24120"/>
                  <a:pt x="463039" y="32107"/>
                  <a:pt x="465036" y="38097"/>
                </a:cubicBezTo>
                <a:cubicBezTo>
                  <a:pt x="469030" y="44087"/>
                  <a:pt x="465036" y="46083"/>
                  <a:pt x="473023" y="44087"/>
                </a:cubicBezTo>
                <a:cubicBezTo>
                  <a:pt x="483007" y="44087"/>
                  <a:pt x="488998" y="42090"/>
                  <a:pt x="494988" y="46083"/>
                </a:cubicBezTo>
                <a:cubicBezTo>
                  <a:pt x="500978" y="48080"/>
                  <a:pt x="510962" y="48080"/>
                  <a:pt x="508965" y="58063"/>
                </a:cubicBezTo>
                <a:cubicBezTo>
                  <a:pt x="508965" y="66050"/>
                  <a:pt x="506969" y="60060"/>
                  <a:pt x="498982" y="64053"/>
                </a:cubicBezTo>
                <a:cubicBezTo>
                  <a:pt x="492991" y="68047"/>
                  <a:pt x="485004" y="64053"/>
                  <a:pt x="485004" y="64053"/>
                </a:cubicBezTo>
                <a:cubicBezTo>
                  <a:pt x="485004" y="64053"/>
                  <a:pt x="473023" y="62057"/>
                  <a:pt x="473023" y="68047"/>
                </a:cubicBezTo>
                <a:cubicBezTo>
                  <a:pt x="473023" y="74037"/>
                  <a:pt x="479014" y="78030"/>
                  <a:pt x="481011" y="78030"/>
                </a:cubicBezTo>
                <a:cubicBezTo>
                  <a:pt x="483007" y="80027"/>
                  <a:pt x="487001" y="72040"/>
                  <a:pt x="487001" y="78030"/>
                </a:cubicBezTo>
                <a:cubicBezTo>
                  <a:pt x="487001" y="82023"/>
                  <a:pt x="487001" y="82023"/>
                  <a:pt x="490994" y="82023"/>
                </a:cubicBezTo>
                <a:cubicBezTo>
                  <a:pt x="494988" y="84020"/>
                  <a:pt x="496985" y="88013"/>
                  <a:pt x="490994" y="90010"/>
                </a:cubicBezTo>
                <a:cubicBezTo>
                  <a:pt x="483007" y="90010"/>
                  <a:pt x="479014" y="90010"/>
                  <a:pt x="475020" y="90010"/>
                </a:cubicBezTo>
                <a:cubicBezTo>
                  <a:pt x="471027" y="90010"/>
                  <a:pt x="467033" y="88013"/>
                  <a:pt x="465036" y="88013"/>
                </a:cubicBezTo>
                <a:cubicBezTo>
                  <a:pt x="461043" y="88013"/>
                  <a:pt x="461043" y="86016"/>
                  <a:pt x="461043" y="90010"/>
                </a:cubicBezTo>
                <a:cubicBezTo>
                  <a:pt x="459046" y="90010"/>
                  <a:pt x="451059" y="90010"/>
                  <a:pt x="447065" y="90010"/>
                </a:cubicBezTo>
                <a:cubicBezTo>
                  <a:pt x="445068" y="90010"/>
                  <a:pt x="447065" y="88013"/>
                  <a:pt x="435085" y="84020"/>
                </a:cubicBezTo>
                <a:cubicBezTo>
                  <a:pt x="425101" y="78030"/>
                  <a:pt x="421107" y="84020"/>
                  <a:pt x="419110" y="88013"/>
                </a:cubicBezTo>
                <a:cubicBezTo>
                  <a:pt x="419110" y="92006"/>
                  <a:pt x="413120" y="96000"/>
                  <a:pt x="413120" y="96000"/>
                </a:cubicBezTo>
                <a:cubicBezTo>
                  <a:pt x="413120" y="96000"/>
                  <a:pt x="411123" y="99993"/>
                  <a:pt x="413120" y="103986"/>
                </a:cubicBezTo>
                <a:cubicBezTo>
                  <a:pt x="413120" y="107980"/>
                  <a:pt x="411123" y="125949"/>
                  <a:pt x="403136" y="133936"/>
                </a:cubicBezTo>
                <a:cubicBezTo>
                  <a:pt x="393152" y="143919"/>
                  <a:pt x="393152" y="157896"/>
                  <a:pt x="387162" y="165882"/>
                </a:cubicBezTo>
                <a:cubicBezTo>
                  <a:pt x="381171" y="171872"/>
                  <a:pt x="353217" y="177862"/>
                  <a:pt x="347226" y="175866"/>
                </a:cubicBezTo>
                <a:cubicBezTo>
                  <a:pt x="343233" y="173869"/>
                  <a:pt x="337242" y="171872"/>
                  <a:pt x="327258" y="173869"/>
                </a:cubicBezTo>
                <a:cubicBezTo>
                  <a:pt x="317274" y="175866"/>
                  <a:pt x="315278" y="181856"/>
                  <a:pt x="313281" y="185849"/>
                </a:cubicBezTo>
                <a:cubicBezTo>
                  <a:pt x="309287" y="189842"/>
                  <a:pt x="273345" y="189842"/>
                  <a:pt x="273345" y="189842"/>
                </a:cubicBezTo>
                <a:cubicBezTo>
                  <a:pt x="257371" y="173869"/>
                  <a:pt x="257371" y="173869"/>
                  <a:pt x="257371" y="173869"/>
                </a:cubicBezTo>
                <a:cubicBezTo>
                  <a:pt x="255374" y="159892"/>
                  <a:pt x="255374" y="159892"/>
                  <a:pt x="255374" y="159892"/>
                </a:cubicBezTo>
                <a:cubicBezTo>
                  <a:pt x="255374" y="159892"/>
                  <a:pt x="259368" y="159892"/>
                  <a:pt x="261365" y="163886"/>
                </a:cubicBezTo>
                <a:cubicBezTo>
                  <a:pt x="265358" y="165882"/>
                  <a:pt x="265358" y="165882"/>
                  <a:pt x="265358" y="165882"/>
                </a:cubicBezTo>
                <a:cubicBezTo>
                  <a:pt x="277339" y="163886"/>
                  <a:pt x="277339" y="163886"/>
                  <a:pt x="277339" y="163886"/>
                </a:cubicBezTo>
                <a:cubicBezTo>
                  <a:pt x="277339" y="163886"/>
                  <a:pt x="281332" y="167879"/>
                  <a:pt x="285326" y="169876"/>
                </a:cubicBezTo>
                <a:cubicBezTo>
                  <a:pt x="289320" y="169876"/>
                  <a:pt x="293313" y="169876"/>
                  <a:pt x="293313" y="169876"/>
                </a:cubicBezTo>
                <a:cubicBezTo>
                  <a:pt x="293313" y="169876"/>
                  <a:pt x="299303" y="147913"/>
                  <a:pt x="303297" y="141923"/>
                </a:cubicBezTo>
                <a:cubicBezTo>
                  <a:pt x="303297" y="139926"/>
                  <a:pt x="303297" y="139926"/>
                  <a:pt x="303297" y="139926"/>
                </a:cubicBezTo>
                <a:cubicBezTo>
                  <a:pt x="305294" y="135933"/>
                  <a:pt x="313281" y="129943"/>
                  <a:pt x="313281" y="129943"/>
                </a:cubicBezTo>
                <a:cubicBezTo>
                  <a:pt x="315278" y="127946"/>
                  <a:pt x="325262" y="125949"/>
                  <a:pt x="327258" y="125949"/>
                </a:cubicBezTo>
                <a:cubicBezTo>
                  <a:pt x="329255" y="123953"/>
                  <a:pt x="337242" y="119960"/>
                  <a:pt x="339239" y="119960"/>
                </a:cubicBezTo>
                <a:cubicBezTo>
                  <a:pt x="341236" y="119960"/>
                  <a:pt x="347226" y="115966"/>
                  <a:pt x="347226" y="115966"/>
                </a:cubicBezTo>
                <a:cubicBezTo>
                  <a:pt x="349223" y="113970"/>
                  <a:pt x="349223" y="113970"/>
                  <a:pt x="349223" y="113970"/>
                </a:cubicBezTo>
                <a:cubicBezTo>
                  <a:pt x="363200" y="97996"/>
                  <a:pt x="363200" y="97996"/>
                  <a:pt x="363200" y="97996"/>
                </a:cubicBezTo>
                <a:cubicBezTo>
                  <a:pt x="367194" y="82023"/>
                  <a:pt x="367194" y="82023"/>
                  <a:pt x="367194" y="82023"/>
                </a:cubicBezTo>
                <a:cubicBezTo>
                  <a:pt x="367194" y="82023"/>
                  <a:pt x="367194" y="74037"/>
                  <a:pt x="375181" y="76033"/>
                </a:cubicBezTo>
                <a:cubicBezTo>
                  <a:pt x="383168" y="76033"/>
                  <a:pt x="387162" y="70043"/>
                  <a:pt x="387162" y="70043"/>
                </a:cubicBezTo>
                <a:cubicBezTo>
                  <a:pt x="387162" y="70043"/>
                  <a:pt x="401139" y="64053"/>
                  <a:pt x="405133" y="66050"/>
                </a:cubicBezTo>
                <a:cubicBezTo>
                  <a:pt x="411123" y="66050"/>
                  <a:pt x="415117" y="60060"/>
                  <a:pt x="407130" y="58063"/>
                </a:cubicBezTo>
                <a:cubicBezTo>
                  <a:pt x="401139" y="56067"/>
                  <a:pt x="405133" y="48080"/>
                  <a:pt x="409126" y="48080"/>
                </a:cubicBezTo>
                <a:cubicBezTo>
                  <a:pt x="415117" y="48080"/>
                  <a:pt x="419110" y="32107"/>
                  <a:pt x="419110" y="32107"/>
                </a:cubicBezTo>
                <a:cubicBezTo>
                  <a:pt x="419110" y="32107"/>
                  <a:pt x="427097" y="12140"/>
                  <a:pt x="431091" y="12140"/>
                </a:cubicBezTo>
                <a:cubicBezTo>
                  <a:pt x="435085" y="12140"/>
                  <a:pt x="435085" y="6150"/>
                  <a:pt x="435085" y="14137"/>
                </a:cubicBezTo>
                <a:cubicBezTo>
                  <a:pt x="435085" y="20127"/>
                  <a:pt x="441075" y="14137"/>
                  <a:pt x="441075" y="8147"/>
                </a:cubicBezTo>
                <a:cubicBezTo>
                  <a:pt x="443072" y="2157"/>
                  <a:pt x="451059" y="2157"/>
                  <a:pt x="451059" y="2157"/>
                </a:cubicBezTo>
                <a:cubicBezTo>
                  <a:pt x="451059" y="2157"/>
                  <a:pt x="453555" y="660"/>
                  <a:pt x="455801" y="161"/>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7" name="Singapore"/>
          <p:cNvSpPr>
            <a:spLocks/>
          </p:cNvSpPr>
          <p:nvPr/>
        </p:nvSpPr>
        <p:spPr bwMode="auto">
          <a:xfrm>
            <a:off x="9017521" y="4017457"/>
            <a:ext cx="9407" cy="9407"/>
          </a:xfrm>
          <a:custGeom>
            <a:avLst/>
            <a:gdLst>
              <a:gd name="T0" fmla="*/ 0 w 11"/>
              <a:gd name="T1" fmla="*/ 6 h 10"/>
              <a:gd name="T2" fmla="*/ 0 w 11"/>
              <a:gd name="T3" fmla="*/ 4 h 10"/>
              <a:gd name="T4" fmla="*/ 1 w 11"/>
              <a:gd name="T5" fmla="*/ 2 h 10"/>
              <a:gd name="T6" fmla="*/ 3 w 11"/>
              <a:gd name="T7" fmla="*/ 0 h 10"/>
              <a:gd name="T8" fmla="*/ 7 w 11"/>
              <a:gd name="T9" fmla="*/ 0 h 10"/>
              <a:gd name="T10" fmla="*/ 9 w 11"/>
              <a:gd name="T11" fmla="*/ 1 h 10"/>
              <a:gd name="T12" fmla="*/ 11 w 11"/>
              <a:gd name="T13" fmla="*/ 2 h 10"/>
              <a:gd name="T14" fmla="*/ 10 w 11"/>
              <a:gd name="T15" fmla="*/ 5 h 10"/>
              <a:gd name="T16" fmla="*/ 9 w 11"/>
              <a:gd name="T17" fmla="*/ 8 h 10"/>
              <a:gd name="T18" fmla="*/ 7 w 11"/>
              <a:gd name="T19" fmla="*/ 10 h 10"/>
              <a:gd name="T20" fmla="*/ 5 w 11"/>
              <a:gd name="T21" fmla="*/ 9 h 10"/>
              <a:gd name="T22" fmla="*/ 3 w 11"/>
              <a:gd name="T23" fmla="*/ 9 h 10"/>
              <a:gd name="T24" fmla="*/ 0 w 11"/>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6"/>
                </a:moveTo>
                <a:cubicBezTo>
                  <a:pt x="0" y="5"/>
                  <a:pt x="0" y="4"/>
                  <a:pt x="0" y="4"/>
                </a:cubicBezTo>
                <a:cubicBezTo>
                  <a:pt x="1" y="3"/>
                  <a:pt x="1" y="3"/>
                  <a:pt x="1" y="2"/>
                </a:cubicBezTo>
                <a:cubicBezTo>
                  <a:pt x="2" y="1"/>
                  <a:pt x="2" y="1"/>
                  <a:pt x="3" y="0"/>
                </a:cubicBezTo>
                <a:cubicBezTo>
                  <a:pt x="4" y="0"/>
                  <a:pt x="6" y="0"/>
                  <a:pt x="7" y="0"/>
                </a:cubicBezTo>
                <a:cubicBezTo>
                  <a:pt x="8" y="1"/>
                  <a:pt x="8" y="1"/>
                  <a:pt x="9" y="1"/>
                </a:cubicBezTo>
                <a:cubicBezTo>
                  <a:pt x="10" y="2"/>
                  <a:pt x="10" y="1"/>
                  <a:pt x="11" y="2"/>
                </a:cubicBezTo>
                <a:cubicBezTo>
                  <a:pt x="11" y="3"/>
                  <a:pt x="10" y="4"/>
                  <a:pt x="10" y="5"/>
                </a:cubicBezTo>
                <a:cubicBezTo>
                  <a:pt x="10" y="5"/>
                  <a:pt x="10" y="7"/>
                  <a:pt x="9" y="8"/>
                </a:cubicBezTo>
                <a:cubicBezTo>
                  <a:pt x="9" y="8"/>
                  <a:pt x="7" y="10"/>
                  <a:pt x="7" y="10"/>
                </a:cubicBezTo>
                <a:cubicBezTo>
                  <a:pt x="7" y="10"/>
                  <a:pt x="6" y="10"/>
                  <a:pt x="5" y="9"/>
                </a:cubicBezTo>
                <a:cubicBezTo>
                  <a:pt x="5" y="9"/>
                  <a:pt x="3" y="9"/>
                  <a:pt x="3" y="9"/>
                </a:cubicBezTo>
                <a:cubicBezTo>
                  <a:pt x="0" y="9"/>
                  <a:pt x="0" y="8"/>
                  <a:pt x="0" y="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8" name="Philippines"/>
          <p:cNvSpPr>
            <a:spLocks/>
          </p:cNvSpPr>
          <p:nvPr/>
        </p:nvSpPr>
        <p:spPr bwMode="auto">
          <a:xfrm>
            <a:off x="9362540" y="3381331"/>
            <a:ext cx="263347" cy="553702"/>
          </a:xfrm>
          <a:custGeom>
            <a:avLst/>
            <a:gdLst>
              <a:gd name="connsiteX0" fmla="*/ 226875 w 255979"/>
              <a:gd name="connsiteY0" fmla="*/ 522818 h 538211"/>
              <a:gd name="connsiteX1" fmla="*/ 230756 w 255979"/>
              <a:gd name="connsiteY1" fmla="*/ 522818 h 538211"/>
              <a:gd name="connsiteX2" fmla="*/ 234637 w 255979"/>
              <a:gd name="connsiteY2" fmla="*/ 524935 h 538211"/>
              <a:gd name="connsiteX3" fmla="*/ 238517 w 255979"/>
              <a:gd name="connsiteY3" fmla="*/ 533401 h 538211"/>
              <a:gd name="connsiteX4" fmla="*/ 234637 w 255979"/>
              <a:gd name="connsiteY4" fmla="*/ 537635 h 538211"/>
              <a:gd name="connsiteX5" fmla="*/ 234637 w 255979"/>
              <a:gd name="connsiteY5" fmla="*/ 531285 h 538211"/>
              <a:gd name="connsiteX6" fmla="*/ 234637 w 255979"/>
              <a:gd name="connsiteY6" fmla="*/ 529168 h 538211"/>
              <a:gd name="connsiteX7" fmla="*/ 228816 w 255979"/>
              <a:gd name="connsiteY7" fmla="*/ 524935 h 538211"/>
              <a:gd name="connsiteX8" fmla="*/ 226875 w 255979"/>
              <a:gd name="connsiteY8" fmla="*/ 529168 h 538211"/>
              <a:gd name="connsiteX9" fmla="*/ 222995 w 255979"/>
              <a:gd name="connsiteY9" fmla="*/ 531285 h 538211"/>
              <a:gd name="connsiteX10" fmla="*/ 222995 w 255979"/>
              <a:gd name="connsiteY10" fmla="*/ 529168 h 538211"/>
              <a:gd name="connsiteX11" fmla="*/ 222995 w 255979"/>
              <a:gd name="connsiteY11" fmla="*/ 524935 h 538211"/>
              <a:gd name="connsiteX12" fmla="*/ 226875 w 255979"/>
              <a:gd name="connsiteY12" fmla="*/ 522818 h 538211"/>
              <a:gd name="connsiteX13" fmla="*/ 70771 w 255979"/>
              <a:gd name="connsiteY13" fmla="*/ 521607 h 538211"/>
              <a:gd name="connsiteX14" fmla="*/ 75004 w 255979"/>
              <a:gd name="connsiteY14" fmla="*/ 525689 h 538211"/>
              <a:gd name="connsiteX15" fmla="*/ 75004 w 255979"/>
              <a:gd name="connsiteY15" fmla="*/ 529771 h 538211"/>
              <a:gd name="connsiteX16" fmla="*/ 70771 w 255979"/>
              <a:gd name="connsiteY16" fmla="*/ 529771 h 538211"/>
              <a:gd name="connsiteX17" fmla="*/ 68654 w 255979"/>
              <a:gd name="connsiteY17" fmla="*/ 525689 h 538211"/>
              <a:gd name="connsiteX18" fmla="*/ 70771 w 255979"/>
              <a:gd name="connsiteY18" fmla="*/ 521607 h 538211"/>
              <a:gd name="connsiteX19" fmla="*/ 94849 w 255979"/>
              <a:gd name="connsiteY19" fmla="*/ 511175 h 538211"/>
              <a:gd name="connsiteX20" fmla="*/ 97230 w 255979"/>
              <a:gd name="connsiteY20" fmla="*/ 511175 h 538211"/>
              <a:gd name="connsiteX21" fmla="*/ 97230 w 255979"/>
              <a:gd name="connsiteY21" fmla="*/ 514350 h 538211"/>
              <a:gd name="connsiteX22" fmla="*/ 92467 w 255979"/>
              <a:gd name="connsiteY22" fmla="*/ 514350 h 538211"/>
              <a:gd name="connsiteX23" fmla="*/ 94849 w 255979"/>
              <a:gd name="connsiteY23" fmla="*/ 511175 h 538211"/>
              <a:gd name="connsiteX24" fmla="*/ 100934 w 255979"/>
              <a:gd name="connsiteY24" fmla="*/ 505355 h 538211"/>
              <a:gd name="connsiteX25" fmla="*/ 103051 w 255979"/>
              <a:gd name="connsiteY25" fmla="*/ 505355 h 538211"/>
              <a:gd name="connsiteX26" fmla="*/ 105167 w 255979"/>
              <a:gd name="connsiteY26" fmla="*/ 507472 h 538211"/>
              <a:gd name="connsiteX27" fmla="*/ 105167 w 255979"/>
              <a:gd name="connsiteY27" fmla="*/ 509588 h 538211"/>
              <a:gd name="connsiteX28" fmla="*/ 100934 w 255979"/>
              <a:gd name="connsiteY28" fmla="*/ 509588 h 538211"/>
              <a:gd name="connsiteX29" fmla="*/ 100934 w 255979"/>
              <a:gd name="connsiteY29" fmla="*/ 505355 h 538211"/>
              <a:gd name="connsiteX30" fmla="*/ 91409 w 255979"/>
              <a:gd name="connsiteY30" fmla="*/ 503465 h 538211"/>
              <a:gd name="connsiteX31" fmla="*/ 95290 w 255979"/>
              <a:gd name="connsiteY31" fmla="*/ 503465 h 538211"/>
              <a:gd name="connsiteX32" fmla="*/ 93350 w 255979"/>
              <a:gd name="connsiteY32" fmla="*/ 508907 h 538211"/>
              <a:gd name="connsiteX33" fmla="*/ 89469 w 255979"/>
              <a:gd name="connsiteY33" fmla="*/ 510722 h 538211"/>
              <a:gd name="connsiteX34" fmla="*/ 87529 w 255979"/>
              <a:gd name="connsiteY34" fmla="*/ 512536 h 538211"/>
              <a:gd name="connsiteX35" fmla="*/ 83648 w 255979"/>
              <a:gd name="connsiteY35" fmla="*/ 514350 h 538211"/>
              <a:gd name="connsiteX36" fmla="*/ 79767 w 255979"/>
              <a:gd name="connsiteY36" fmla="*/ 512536 h 538211"/>
              <a:gd name="connsiteX37" fmla="*/ 85588 w 255979"/>
              <a:gd name="connsiteY37" fmla="*/ 507093 h 538211"/>
              <a:gd name="connsiteX38" fmla="*/ 91409 w 255979"/>
              <a:gd name="connsiteY38" fmla="*/ 503465 h 538211"/>
              <a:gd name="connsiteX39" fmla="*/ 105167 w 255979"/>
              <a:gd name="connsiteY39" fmla="*/ 498475 h 538211"/>
              <a:gd name="connsiteX40" fmla="*/ 106755 w 255979"/>
              <a:gd name="connsiteY40" fmla="*/ 500592 h 538211"/>
              <a:gd name="connsiteX41" fmla="*/ 106755 w 255979"/>
              <a:gd name="connsiteY41" fmla="*/ 502709 h 538211"/>
              <a:gd name="connsiteX42" fmla="*/ 103579 w 255979"/>
              <a:gd name="connsiteY42" fmla="*/ 502709 h 538211"/>
              <a:gd name="connsiteX43" fmla="*/ 105167 w 255979"/>
              <a:gd name="connsiteY43" fmla="*/ 498475 h 538211"/>
              <a:gd name="connsiteX44" fmla="*/ 110837 w 255979"/>
              <a:gd name="connsiteY44" fmla="*/ 483130 h 538211"/>
              <a:gd name="connsiteX45" fmla="*/ 116960 w 255979"/>
              <a:gd name="connsiteY45" fmla="*/ 485247 h 538211"/>
              <a:gd name="connsiteX46" fmla="*/ 121042 w 255979"/>
              <a:gd name="connsiteY46" fmla="*/ 487363 h 538211"/>
              <a:gd name="connsiteX47" fmla="*/ 119001 w 255979"/>
              <a:gd name="connsiteY47" fmla="*/ 491597 h 538211"/>
              <a:gd name="connsiteX48" fmla="*/ 114919 w 255979"/>
              <a:gd name="connsiteY48" fmla="*/ 493713 h 538211"/>
              <a:gd name="connsiteX49" fmla="*/ 112878 w 255979"/>
              <a:gd name="connsiteY49" fmla="*/ 489480 h 538211"/>
              <a:gd name="connsiteX50" fmla="*/ 108795 w 255979"/>
              <a:gd name="connsiteY50" fmla="*/ 487363 h 538211"/>
              <a:gd name="connsiteX51" fmla="*/ 106754 w 255979"/>
              <a:gd name="connsiteY51" fmla="*/ 485247 h 538211"/>
              <a:gd name="connsiteX52" fmla="*/ 110837 w 255979"/>
              <a:gd name="connsiteY52" fmla="*/ 483130 h 538211"/>
              <a:gd name="connsiteX53" fmla="*/ 97230 w 255979"/>
              <a:gd name="connsiteY53" fmla="*/ 475192 h 538211"/>
              <a:gd name="connsiteX54" fmla="*/ 98818 w 255979"/>
              <a:gd name="connsiteY54" fmla="*/ 475192 h 538211"/>
              <a:gd name="connsiteX55" fmla="*/ 100405 w 255979"/>
              <a:gd name="connsiteY55" fmla="*/ 477309 h 538211"/>
              <a:gd name="connsiteX56" fmla="*/ 97230 w 255979"/>
              <a:gd name="connsiteY56" fmla="*/ 477309 h 538211"/>
              <a:gd name="connsiteX57" fmla="*/ 97230 w 255979"/>
              <a:gd name="connsiteY57" fmla="*/ 475192 h 538211"/>
              <a:gd name="connsiteX58" fmla="*/ 109136 w 255979"/>
              <a:gd name="connsiteY58" fmla="*/ 473075 h 538211"/>
              <a:gd name="connsiteX59" fmla="*/ 107152 w 255979"/>
              <a:gd name="connsiteY59" fmla="*/ 477309 h 538211"/>
              <a:gd name="connsiteX60" fmla="*/ 105167 w 255979"/>
              <a:gd name="connsiteY60" fmla="*/ 475192 h 538211"/>
              <a:gd name="connsiteX61" fmla="*/ 109136 w 255979"/>
              <a:gd name="connsiteY61" fmla="*/ 473075 h 538211"/>
              <a:gd name="connsiteX62" fmla="*/ 100404 w 255979"/>
              <a:gd name="connsiteY62" fmla="*/ 471488 h 538211"/>
              <a:gd name="connsiteX63" fmla="*/ 103579 w 255979"/>
              <a:gd name="connsiteY63" fmla="*/ 471488 h 538211"/>
              <a:gd name="connsiteX64" fmla="*/ 103579 w 255979"/>
              <a:gd name="connsiteY64" fmla="*/ 473075 h 538211"/>
              <a:gd name="connsiteX65" fmla="*/ 100404 w 255979"/>
              <a:gd name="connsiteY65" fmla="*/ 473075 h 538211"/>
              <a:gd name="connsiteX66" fmla="*/ 100404 w 255979"/>
              <a:gd name="connsiteY66" fmla="*/ 471488 h 538211"/>
              <a:gd name="connsiteX67" fmla="*/ 136599 w 255979"/>
              <a:gd name="connsiteY67" fmla="*/ 463550 h 538211"/>
              <a:gd name="connsiteX68" fmla="*/ 138504 w 255979"/>
              <a:gd name="connsiteY68" fmla="*/ 469503 h 538211"/>
              <a:gd name="connsiteX69" fmla="*/ 138504 w 255979"/>
              <a:gd name="connsiteY69" fmla="*/ 473472 h 538211"/>
              <a:gd name="connsiteX70" fmla="*/ 136599 w 255979"/>
              <a:gd name="connsiteY70" fmla="*/ 479425 h 538211"/>
              <a:gd name="connsiteX71" fmla="*/ 134694 w 255979"/>
              <a:gd name="connsiteY71" fmla="*/ 479425 h 538211"/>
              <a:gd name="connsiteX72" fmla="*/ 132789 w 255979"/>
              <a:gd name="connsiteY72" fmla="*/ 477441 h 538211"/>
              <a:gd name="connsiteX73" fmla="*/ 132789 w 255979"/>
              <a:gd name="connsiteY73" fmla="*/ 471488 h 538211"/>
              <a:gd name="connsiteX74" fmla="*/ 128979 w 255979"/>
              <a:gd name="connsiteY74" fmla="*/ 471488 h 538211"/>
              <a:gd name="connsiteX75" fmla="*/ 130884 w 255979"/>
              <a:gd name="connsiteY75" fmla="*/ 465535 h 538211"/>
              <a:gd name="connsiteX76" fmla="*/ 136599 w 255979"/>
              <a:gd name="connsiteY76" fmla="*/ 463550 h 538211"/>
              <a:gd name="connsiteX77" fmla="*/ 38889 w 255979"/>
              <a:gd name="connsiteY77" fmla="*/ 451380 h 538211"/>
              <a:gd name="connsiteX78" fmla="*/ 42858 w 255979"/>
              <a:gd name="connsiteY78" fmla="*/ 451380 h 538211"/>
              <a:gd name="connsiteX79" fmla="*/ 44842 w 255979"/>
              <a:gd name="connsiteY79" fmla="*/ 453497 h 538211"/>
              <a:gd name="connsiteX80" fmla="*/ 42858 w 255979"/>
              <a:gd name="connsiteY80" fmla="*/ 455613 h 538211"/>
              <a:gd name="connsiteX81" fmla="*/ 36904 w 255979"/>
              <a:gd name="connsiteY81" fmla="*/ 455613 h 538211"/>
              <a:gd name="connsiteX82" fmla="*/ 38889 w 255979"/>
              <a:gd name="connsiteY82" fmla="*/ 451380 h 538211"/>
              <a:gd name="connsiteX83" fmla="*/ 4928 w 255979"/>
              <a:gd name="connsiteY83" fmla="*/ 441722 h 538211"/>
              <a:gd name="connsiteX84" fmla="*/ 13092 w 255979"/>
              <a:gd name="connsiteY84" fmla="*/ 441722 h 538211"/>
              <a:gd name="connsiteX85" fmla="*/ 6969 w 255979"/>
              <a:gd name="connsiteY85" fmla="*/ 445691 h 538211"/>
              <a:gd name="connsiteX86" fmla="*/ 2887 w 255979"/>
              <a:gd name="connsiteY86" fmla="*/ 445691 h 538211"/>
              <a:gd name="connsiteX87" fmla="*/ 845 w 255979"/>
              <a:gd name="connsiteY87" fmla="*/ 443707 h 538211"/>
              <a:gd name="connsiteX88" fmla="*/ 4928 w 255979"/>
              <a:gd name="connsiteY88" fmla="*/ 441722 h 538211"/>
              <a:gd name="connsiteX89" fmla="*/ 61246 w 255979"/>
              <a:gd name="connsiteY89" fmla="*/ 415925 h 538211"/>
              <a:gd name="connsiteX90" fmla="*/ 63363 w 255979"/>
              <a:gd name="connsiteY90" fmla="*/ 415925 h 538211"/>
              <a:gd name="connsiteX91" fmla="*/ 65479 w 255979"/>
              <a:gd name="connsiteY91" fmla="*/ 417512 h 538211"/>
              <a:gd name="connsiteX92" fmla="*/ 63363 w 255979"/>
              <a:gd name="connsiteY92" fmla="*/ 419100 h 538211"/>
              <a:gd name="connsiteX93" fmla="*/ 61246 w 255979"/>
              <a:gd name="connsiteY93" fmla="*/ 419100 h 538211"/>
              <a:gd name="connsiteX94" fmla="*/ 61246 w 255979"/>
              <a:gd name="connsiteY94" fmla="*/ 415925 h 538211"/>
              <a:gd name="connsiteX95" fmla="*/ 73417 w 255979"/>
              <a:gd name="connsiteY95" fmla="*/ 393700 h 538211"/>
              <a:gd name="connsiteX96" fmla="*/ 75005 w 255979"/>
              <a:gd name="connsiteY96" fmla="*/ 393700 h 538211"/>
              <a:gd name="connsiteX97" fmla="*/ 76592 w 255979"/>
              <a:gd name="connsiteY97" fmla="*/ 395817 h 538211"/>
              <a:gd name="connsiteX98" fmla="*/ 75005 w 255979"/>
              <a:gd name="connsiteY98" fmla="*/ 397933 h 538211"/>
              <a:gd name="connsiteX99" fmla="*/ 73417 w 255979"/>
              <a:gd name="connsiteY99" fmla="*/ 397933 h 538211"/>
              <a:gd name="connsiteX100" fmla="*/ 73417 w 255979"/>
              <a:gd name="connsiteY100" fmla="*/ 395817 h 538211"/>
              <a:gd name="connsiteX101" fmla="*/ 73417 w 255979"/>
              <a:gd name="connsiteY101" fmla="*/ 393700 h 538211"/>
              <a:gd name="connsiteX102" fmla="*/ 172371 w 255979"/>
              <a:gd name="connsiteY102" fmla="*/ 377825 h 538211"/>
              <a:gd name="connsiteX103" fmla="*/ 176604 w 255979"/>
              <a:gd name="connsiteY103" fmla="*/ 377825 h 538211"/>
              <a:gd name="connsiteX104" fmla="*/ 176604 w 255979"/>
              <a:gd name="connsiteY104" fmla="*/ 381794 h 538211"/>
              <a:gd name="connsiteX105" fmla="*/ 172371 w 255979"/>
              <a:gd name="connsiteY105" fmla="*/ 383778 h 538211"/>
              <a:gd name="connsiteX106" fmla="*/ 170254 w 255979"/>
              <a:gd name="connsiteY106" fmla="*/ 379809 h 538211"/>
              <a:gd name="connsiteX107" fmla="*/ 172371 w 255979"/>
              <a:gd name="connsiteY107" fmla="*/ 377825 h 538211"/>
              <a:gd name="connsiteX108" fmla="*/ 99611 w 255979"/>
              <a:gd name="connsiteY108" fmla="*/ 377825 h 538211"/>
              <a:gd name="connsiteX109" fmla="*/ 103580 w 255979"/>
              <a:gd name="connsiteY109" fmla="*/ 381794 h 538211"/>
              <a:gd name="connsiteX110" fmla="*/ 101596 w 255979"/>
              <a:gd name="connsiteY110" fmla="*/ 383778 h 538211"/>
              <a:gd name="connsiteX111" fmla="*/ 99611 w 255979"/>
              <a:gd name="connsiteY111" fmla="*/ 383778 h 538211"/>
              <a:gd name="connsiteX112" fmla="*/ 97627 w 255979"/>
              <a:gd name="connsiteY112" fmla="*/ 383778 h 538211"/>
              <a:gd name="connsiteX113" fmla="*/ 97627 w 255979"/>
              <a:gd name="connsiteY113" fmla="*/ 379809 h 538211"/>
              <a:gd name="connsiteX114" fmla="*/ 99611 w 255979"/>
              <a:gd name="connsiteY114" fmla="*/ 377825 h 538211"/>
              <a:gd name="connsiteX115" fmla="*/ 220378 w 255979"/>
              <a:gd name="connsiteY115" fmla="*/ 366713 h 538211"/>
              <a:gd name="connsiteX116" fmla="*/ 224333 w 255979"/>
              <a:gd name="connsiteY116" fmla="*/ 368716 h 538211"/>
              <a:gd name="connsiteX117" fmla="*/ 228289 w 255979"/>
              <a:gd name="connsiteY117" fmla="*/ 372721 h 538211"/>
              <a:gd name="connsiteX118" fmla="*/ 232245 w 255979"/>
              <a:gd name="connsiteY118" fmla="*/ 376727 h 538211"/>
              <a:gd name="connsiteX119" fmla="*/ 236201 w 255979"/>
              <a:gd name="connsiteY119" fmla="*/ 378729 h 538211"/>
              <a:gd name="connsiteX120" fmla="*/ 242134 w 255979"/>
              <a:gd name="connsiteY120" fmla="*/ 376727 h 538211"/>
              <a:gd name="connsiteX121" fmla="*/ 244112 w 255979"/>
              <a:gd name="connsiteY121" fmla="*/ 382735 h 538211"/>
              <a:gd name="connsiteX122" fmla="*/ 244112 w 255979"/>
              <a:gd name="connsiteY122" fmla="*/ 388743 h 538211"/>
              <a:gd name="connsiteX123" fmla="*/ 244112 w 255979"/>
              <a:gd name="connsiteY123" fmla="*/ 394751 h 538211"/>
              <a:gd name="connsiteX124" fmla="*/ 242134 w 255979"/>
              <a:gd name="connsiteY124" fmla="*/ 398756 h 538211"/>
              <a:gd name="connsiteX125" fmla="*/ 244112 w 255979"/>
              <a:gd name="connsiteY125" fmla="*/ 402762 h 538211"/>
              <a:gd name="connsiteX126" fmla="*/ 248068 w 255979"/>
              <a:gd name="connsiteY126" fmla="*/ 406767 h 538211"/>
              <a:gd name="connsiteX127" fmla="*/ 248068 w 255979"/>
              <a:gd name="connsiteY127" fmla="*/ 412775 h 538211"/>
              <a:gd name="connsiteX128" fmla="*/ 248068 w 255979"/>
              <a:gd name="connsiteY128" fmla="*/ 422789 h 538211"/>
              <a:gd name="connsiteX129" fmla="*/ 252024 w 255979"/>
              <a:gd name="connsiteY129" fmla="*/ 426794 h 538211"/>
              <a:gd name="connsiteX130" fmla="*/ 254001 w 255979"/>
              <a:gd name="connsiteY130" fmla="*/ 432802 h 538211"/>
              <a:gd name="connsiteX131" fmla="*/ 254001 w 255979"/>
              <a:gd name="connsiteY131" fmla="*/ 438810 h 538211"/>
              <a:gd name="connsiteX132" fmla="*/ 255979 w 255979"/>
              <a:gd name="connsiteY132" fmla="*/ 444818 h 538211"/>
              <a:gd name="connsiteX133" fmla="*/ 255979 w 255979"/>
              <a:gd name="connsiteY133" fmla="*/ 450826 h 538211"/>
              <a:gd name="connsiteX134" fmla="*/ 252024 w 255979"/>
              <a:gd name="connsiteY134" fmla="*/ 450826 h 538211"/>
              <a:gd name="connsiteX135" fmla="*/ 250046 w 255979"/>
              <a:gd name="connsiteY135" fmla="*/ 452829 h 538211"/>
              <a:gd name="connsiteX136" fmla="*/ 248068 w 255979"/>
              <a:gd name="connsiteY136" fmla="*/ 456834 h 538211"/>
              <a:gd name="connsiteX137" fmla="*/ 244112 w 255979"/>
              <a:gd name="connsiteY137" fmla="*/ 468851 h 538211"/>
              <a:gd name="connsiteX138" fmla="*/ 242134 w 255979"/>
              <a:gd name="connsiteY138" fmla="*/ 474859 h 538211"/>
              <a:gd name="connsiteX139" fmla="*/ 240156 w 255979"/>
              <a:gd name="connsiteY139" fmla="*/ 468851 h 538211"/>
              <a:gd name="connsiteX140" fmla="*/ 240156 w 255979"/>
              <a:gd name="connsiteY140" fmla="*/ 462842 h 538211"/>
              <a:gd name="connsiteX141" fmla="*/ 238178 w 255979"/>
              <a:gd name="connsiteY141" fmla="*/ 456834 h 538211"/>
              <a:gd name="connsiteX142" fmla="*/ 236201 w 255979"/>
              <a:gd name="connsiteY142" fmla="*/ 442816 h 538211"/>
              <a:gd name="connsiteX143" fmla="*/ 232245 w 255979"/>
              <a:gd name="connsiteY143" fmla="*/ 438810 h 538211"/>
              <a:gd name="connsiteX144" fmla="*/ 228289 w 255979"/>
              <a:gd name="connsiteY144" fmla="*/ 438810 h 538211"/>
              <a:gd name="connsiteX145" fmla="*/ 228289 w 255979"/>
              <a:gd name="connsiteY145" fmla="*/ 444818 h 538211"/>
              <a:gd name="connsiteX146" fmla="*/ 226311 w 255979"/>
              <a:gd name="connsiteY146" fmla="*/ 446821 h 538211"/>
              <a:gd name="connsiteX147" fmla="*/ 228289 w 255979"/>
              <a:gd name="connsiteY147" fmla="*/ 452829 h 538211"/>
              <a:gd name="connsiteX148" fmla="*/ 224333 w 255979"/>
              <a:gd name="connsiteY148" fmla="*/ 458837 h 538211"/>
              <a:gd name="connsiteX149" fmla="*/ 226311 w 255979"/>
              <a:gd name="connsiteY149" fmla="*/ 462842 h 538211"/>
              <a:gd name="connsiteX150" fmla="*/ 232245 w 255979"/>
              <a:gd name="connsiteY150" fmla="*/ 468851 h 538211"/>
              <a:gd name="connsiteX151" fmla="*/ 232245 w 255979"/>
              <a:gd name="connsiteY151" fmla="*/ 472856 h 538211"/>
              <a:gd name="connsiteX152" fmla="*/ 234223 w 255979"/>
              <a:gd name="connsiteY152" fmla="*/ 478864 h 538211"/>
              <a:gd name="connsiteX153" fmla="*/ 234223 w 255979"/>
              <a:gd name="connsiteY153" fmla="*/ 484872 h 538211"/>
              <a:gd name="connsiteX154" fmla="*/ 232245 w 255979"/>
              <a:gd name="connsiteY154" fmla="*/ 490880 h 538211"/>
              <a:gd name="connsiteX155" fmla="*/ 226311 w 255979"/>
              <a:gd name="connsiteY155" fmla="*/ 496888 h 538211"/>
              <a:gd name="connsiteX156" fmla="*/ 220378 w 255979"/>
              <a:gd name="connsiteY156" fmla="*/ 494886 h 538211"/>
              <a:gd name="connsiteX157" fmla="*/ 222355 w 255979"/>
              <a:gd name="connsiteY157" fmla="*/ 490880 h 538211"/>
              <a:gd name="connsiteX158" fmla="*/ 222355 w 255979"/>
              <a:gd name="connsiteY158" fmla="*/ 484872 h 538211"/>
              <a:gd name="connsiteX159" fmla="*/ 222355 w 255979"/>
              <a:gd name="connsiteY159" fmla="*/ 480867 h 538211"/>
              <a:gd name="connsiteX160" fmla="*/ 216422 w 255979"/>
              <a:gd name="connsiteY160" fmla="*/ 480867 h 538211"/>
              <a:gd name="connsiteX161" fmla="*/ 216422 w 255979"/>
              <a:gd name="connsiteY161" fmla="*/ 486875 h 538211"/>
              <a:gd name="connsiteX162" fmla="*/ 210488 w 255979"/>
              <a:gd name="connsiteY162" fmla="*/ 490880 h 538211"/>
              <a:gd name="connsiteX163" fmla="*/ 200599 w 255979"/>
              <a:gd name="connsiteY163" fmla="*/ 486875 h 538211"/>
              <a:gd name="connsiteX164" fmla="*/ 196643 w 255979"/>
              <a:gd name="connsiteY164" fmla="*/ 484872 h 538211"/>
              <a:gd name="connsiteX165" fmla="*/ 190710 w 255979"/>
              <a:gd name="connsiteY165" fmla="*/ 478864 h 538211"/>
              <a:gd name="connsiteX166" fmla="*/ 188732 w 255979"/>
              <a:gd name="connsiteY166" fmla="*/ 470853 h 538211"/>
              <a:gd name="connsiteX167" fmla="*/ 188732 w 255979"/>
              <a:gd name="connsiteY167" fmla="*/ 464845 h 538211"/>
              <a:gd name="connsiteX168" fmla="*/ 184776 w 255979"/>
              <a:gd name="connsiteY168" fmla="*/ 458837 h 538211"/>
              <a:gd name="connsiteX169" fmla="*/ 184776 w 255979"/>
              <a:gd name="connsiteY169" fmla="*/ 448824 h 538211"/>
              <a:gd name="connsiteX170" fmla="*/ 190710 w 255979"/>
              <a:gd name="connsiteY170" fmla="*/ 444818 h 538211"/>
              <a:gd name="connsiteX171" fmla="*/ 192687 w 255979"/>
              <a:gd name="connsiteY171" fmla="*/ 442816 h 538211"/>
              <a:gd name="connsiteX172" fmla="*/ 194665 w 255979"/>
              <a:gd name="connsiteY172" fmla="*/ 438810 h 538211"/>
              <a:gd name="connsiteX173" fmla="*/ 194665 w 255979"/>
              <a:gd name="connsiteY173" fmla="*/ 432802 h 538211"/>
              <a:gd name="connsiteX174" fmla="*/ 190710 w 255979"/>
              <a:gd name="connsiteY174" fmla="*/ 432802 h 538211"/>
              <a:gd name="connsiteX175" fmla="*/ 180820 w 255979"/>
              <a:gd name="connsiteY175" fmla="*/ 428797 h 538211"/>
              <a:gd name="connsiteX176" fmla="*/ 172909 w 255979"/>
              <a:gd name="connsiteY176" fmla="*/ 426794 h 538211"/>
              <a:gd name="connsiteX177" fmla="*/ 170931 w 255979"/>
              <a:gd name="connsiteY177" fmla="*/ 428797 h 538211"/>
              <a:gd name="connsiteX178" fmla="*/ 168953 w 255979"/>
              <a:gd name="connsiteY178" fmla="*/ 432802 h 538211"/>
              <a:gd name="connsiteX179" fmla="*/ 168953 w 255979"/>
              <a:gd name="connsiteY179" fmla="*/ 440813 h 538211"/>
              <a:gd name="connsiteX180" fmla="*/ 164997 w 255979"/>
              <a:gd name="connsiteY180" fmla="*/ 438810 h 538211"/>
              <a:gd name="connsiteX181" fmla="*/ 163019 w 255979"/>
              <a:gd name="connsiteY181" fmla="*/ 430799 h 538211"/>
              <a:gd name="connsiteX182" fmla="*/ 159064 w 255979"/>
              <a:gd name="connsiteY182" fmla="*/ 430799 h 538211"/>
              <a:gd name="connsiteX183" fmla="*/ 157086 w 255979"/>
              <a:gd name="connsiteY183" fmla="*/ 436807 h 538211"/>
              <a:gd name="connsiteX184" fmla="*/ 153130 w 255979"/>
              <a:gd name="connsiteY184" fmla="*/ 438810 h 538211"/>
              <a:gd name="connsiteX185" fmla="*/ 153130 w 255979"/>
              <a:gd name="connsiteY185" fmla="*/ 432802 h 538211"/>
              <a:gd name="connsiteX186" fmla="*/ 153130 w 255979"/>
              <a:gd name="connsiteY186" fmla="*/ 430799 h 538211"/>
              <a:gd name="connsiteX187" fmla="*/ 149174 w 255979"/>
              <a:gd name="connsiteY187" fmla="*/ 428797 h 538211"/>
              <a:gd name="connsiteX188" fmla="*/ 147196 w 255979"/>
              <a:gd name="connsiteY188" fmla="*/ 434805 h 538211"/>
              <a:gd name="connsiteX189" fmla="*/ 145219 w 255979"/>
              <a:gd name="connsiteY189" fmla="*/ 440813 h 538211"/>
              <a:gd name="connsiteX190" fmla="*/ 141263 w 255979"/>
              <a:gd name="connsiteY190" fmla="*/ 444818 h 538211"/>
              <a:gd name="connsiteX191" fmla="*/ 135329 w 255979"/>
              <a:gd name="connsiteY191" fmla="*/ 436807 h 538211"/>
              <a:gd name="connsiteX192" fmla="*/ 135329 w 255979"/>
              <a:gd name="connsiteY192" fmla="*/ 426794 h 538211"/>
              <a:gd name="connsiteX193" fmla="*/ 139285 w 255979"/>
              <a:gd name="connsiteY193" fmla="*/ 424791 h 538211"/>
              <a:gd name="connsiteX194" fmla="*/ 143241 w 255979"/>
              <a:gd name="connsiteY194" fmla="*/ 414778 h 538211"/>
              <a:gd name="connsiteX195" fmla="*/ 151152 w 255979"/>
              <a:gd name="connsiteY195" fmla="*/ 408770 h 538211"/>
              <a:gd name="connsiteX196" fmla="*/ 161042 w 255979"/>
              <a:gd name="connsiteY196" fmla="*/ 406767 h 538211"/>
              <a:gd name="connsiteX197" fmla="*/ 163019 w 255979"/>
              <a:gd name="connsiteY197" fmla="*/ 402762 h 538211"/>
              <a:gd name="connsiteX198" fmla="*/ 164997 w 255979"/>
              <a:gd name="connsiteY198" fmla="*/ 398756 h 538211"/>
              <a:gd name="connsiteX199" fmla="*/ 172909 w 255979"/>
              <a:gd name="connsiteY199" fmla="*/ 398756 h 538211"/>
              <a:gd name="connsiteX200" fmla="*/ 176864 w 255979"/>
              <a:gd name="connsiteY200" fmla="*/ 404764 h 538211"/>
              <a:gd name="connsiteX201" fmla="*/ 180820 w 255979"/>
              <a:gd name="connsiteY201" fmla="*/ 410772 h 538211"/>
              <a:gd name="connsiteX202" fmla="*/ 186754 w 255979"/>
              <a:gd name="connsiteY202" fmla="*/ 414778 h 538211"/>
              <a:gd name="connsiteX203" fmla="*/ 190710 w 255979"/>
              <a:gd name="connsiteY203" fmla="*/ 410772 h 538211"/>
              <a:gd name="connsiteX204" fmla="*/ 188732 w 255979"/>
              <a:gd name="connsiteY204" fmla="*/ 404764 h 538211"/>
              <a:gd name="connsiteX205" fmla="*/ 190710 w 255979"/>
              <a:gd name="connsiteY205" fmla="*/ 400759 h 538211"/>
              <a:gd name="connsiteX206" fmla="*/ 196643 w 255979"/>
              <a:gd name="connsiteY206" fmla="*/ 402762 h 538211"/>
              <a:gd name="connsiteX207" fmla="*/ 200599 w 255979"/>
              <a:gd name="connsiteY207" fmla="*/ 398756 h 538211"/>
              <a:gd name="connsiteX208" fmla="*/ 198621 w 255979"/>
              <a:gd name="connsiteY208" fmla="*/ 392748 h 538211"/>
              <a:gd name="connsiteX209" fmla="*/ 200599 w 255979"/>
              <a:gd name="connsiteY209" fmla="*/ 386740 h 538211"/>
              <a:gd name="connsiteX210" fmla="*/ 196643 w 255979"/>
              <a:gd name="connsiteY210" fmla="*/ 382735 h 538211"/>
              <a:gd name="connsiteX211" fmla="*/ 198621 w 255979"/>
              <a:gd name="connsiteY211" fmla="*/ 378729 h 538211"/>
              <a:gd name="connsiteX212" fmla="*/ 204555 w 255979"/>
              <a:gd name="connsiteY212" fmla="*/ 382735 h 538211"/>
              <a:gd name="connsiteX213" fmla="*/ 206533 w 255979"/>
              <a:gd name="connsiteY213" fmla="*/ 386740 h 538211"/>
              <a:gd name="connsiteX214" fmla="*/ 210488 w 255979"/>
              <a:gd name="connsiteY214" fmla="*/ 388743 h 538211"/>
              <a:gd name="connsiteX215" fmla="*/ 214444 w 255979"/>
              <a:gd name="connsiteY215" fmla="*/ 384737 h 538211"/>
              <a:gd name="connsiteX216" fmla="*/ 218400 w 255979"/>
              <a:gd name="connsiteY216" fmla="*/ 386740 h 538211"/>
              <a:gd name="connsiteX217" fmla="*/ 222355 w 255979"/>
              <a:gd name="connsiteY217" fmla="*/ 382735 h 538211"/>
              <a:gd name="connsiteX218" fmla="*/ 220378 w 255979"/>
              <a:gd name="connsiteY218" fmla="*/ 376727 h 538211"/>
              <a:gd name="connsiteX219" fmla="*/ 218400 w 255979"/>
              <a:gd name="connsiteY219" fmla="*/ 372721 h 538211"/>
              <a:gd name="connsiteX220" fmla="*/ 220378 w 255979"/>
              <a:gd name="connsiteY220" fmla="*/ 366713 h 538211"/>
              <a:gd name="connsiteX221" fmla="*/ 235342 w 255979"/>
              <a:gd name="connsiteY221" fmla="*/ 357188 h 538211"/>
              <a:gd name="connsiteX222" fmla="*/ 236930 w 255979"/>
              <a:gd name="connsiteY222" fmla="*/ 359093 h 538211"/>
              <a:gd name="connsiteX223" fmla="*/ 240105 w 255979"/>
              <a:gd name="connsiteY223" fmla="*/ 360998 h 538211"/>
              <a:gd name="connsiteX224" fmla="*/ 238518 w 255979"/>
              <a:gd name="connsiteY224" fmla="*/ 364808 h 538211"/>
              <a:gd name="connsiteX225" fmla="*/ 236930 w 255979"/>
              <a:gd name="connsiteY225" fmla="*/ 364808 h 538211"/>
              <a:gd name="connsiteX226" fmla="*/ 235342 w 255979"/>
              <a:gd name="connsiteY226" fmla="*/ 360998 h 538211"/>
              <a:gd name="connsiteX227" fmla="*/ 235342 w 255979"/>
              <a:gd name="connsiteY227" fmla="*/ 357188 h 538211"/>
              <a:gd name="connsiteX228" fmla="*/ 184542 w 255979"/>
              <a:gd name="connsiteY228" fmla="*/ 350838 h 538211"/>
              <a:gd name="connsiteX229" fmla="*/ 186659 w 255979"/>
              <a:gd name="connsiteY229" fmla="*/ 352859 h 538211"/>
              <a:gd name="connsiteX230" fmla="*/ 190892 w 255979"/>
              <a:gd name="connsiteY230" fmla="*/ 352859 h 538211"/>
              <a:gd name="connsiteX231" fmla="*/ 197242 w 255979"/>
              <a:gd name="connsiteY231" fmla="*/ 354879 h 538211"/>
              <a:gd name="connsiteX232" fmla="*/ 195126 w 255979"/>
              <a:gd name="connsiteY232" fmla="*/ 360940 h 538211"/>
              <a:gd name="connsiteX233" fmla="*/ 195126 w 255979"/>
              <a:gd name="connsiteY233" fmla="*/ 369022 h 538211"/>
              <a:gd name="connsiteX234" fmla="*/ 188776 w 255979"/>
              <a:gd name="connsiteY234" fmla="*/ 369022 h 538211"/>
              <a:gd name="connsiteX235" fmla="*/ 182426 w 255979"/>
              <a:gd name="connsiteY235" fmla="*/ 371043 h 538211"/>
              <a:gd name="connsiteX236" fmla="*/ 178192 w 255979"/>
              <a:gd name="connsiteY236" fmla="*/ 367002 h 538211"/>
              <a:gd name="connsiteX237" fmla="*/ 178192 w 255979"/>
              <a:gd name="connsiteY237" fmla="*/ 364981 h 538211"/>
              <a:gd name="connsiteX238" fmla="*/ 182426 w 255979"/>
              <a:gd name="connsiteY238" fmla="*/ 360940 h 538211"/>
              <a:gd name="connsiteX239" fmla="*/ 184542 w 255979"/>
              <a:gd name="connsiteY239" fmla="*/ 354879 h 538211"/>
              <a:gd name="connsiteX240" fmla="*/ 184542 w 255979"/>
              <a:gd name="connsiteY240" fmla="*/ 350838 h 538211"/>
              <a:gd name="connsiteX241" fmla="*/ 77121 w 255979"/>
              <a:gd name="connsiteY241" fmla="*/ 339725 h 538211"/>
              <a:gd name="connsiteX242" fmla="*/ 81354 w 255979"/>
              <a:gd name="connsiteY242" fmla="*/ 341630 h 538211"/>
              <a:gd name="connsiteX243" fmla="*/ 77121 w 255979"/>
              <a:gd name="connsiteY243" fmla="*/ 343535 h 538211"/>
              <a:gd name="connsiteX244" fmla="*/ 75004 w 255979"/>
              <a:gd name="connsiteY244" fmla="*/ 347345 h 538211"/>
              <a:gd name="connsiteX245" fmla="*/ 70771 w 255979"/>
              <a:gd name="connsiteY245" fmla="*/ 347345 h 538211"/>
              <a:gd name="connsiteX246" fmla="*/ 70771 w 255979"/>
              <a:gd name="connsiteY246" fmla="*/ 341630 h 538211"/>
              <a:gd name="connsiteX247" fmla="*/ 77121 w 255979"/>
              <a:gd name="connsiteY247" fmla="*/ 339725 h 538211"/>
              <a:gd name="connsiteX248" fmla="*/ 190892 w 255979"/>
              <a:gd name="connsiteY248" fmla="*/ 334963 h 538211"/>
              <a:gd name="connsiteX249" fmla="*/ 188776 w 255979"/>
              <a:gd name="connsiteY249" fmla="*/ 339196 h 538211"/>
              <a:gd name="connsiteX250" fmla="*/ 190892 w 255979"/>
              <a:gd name="connsiteY250" fmla="*/ 334963 h 538211"/>
              <a:gd name="connsiteX251" fmla="*/ 224547 w 255979"/>
              <a:gd name="connsiteY251" fmla="*/ 331788 h 538211"/>
              <a:gd name="connsiteX252" fmla="*/ 230262 w 255979"/>
              <a:gd name="connsiteY252" fmla="*/ 333773 h 538211"/>
              <a:gd name="connsiteX253" fmla="*/ 232167 w 255979"/>
              <a:gd name="connsiteY253" fmla="*/ 341710 h 538211"/>
              <a:gd name="connsiteX254" fmla="*/ 232167 w 255979"/>
              <a:gd name="connsiteY254" fmla="*/ 345679 h 538211"/>
              <a:gd name="connsiteX255" fmla="*/ 232167 w 255979"/>
              <a:gd name="connsiteY255" fmla="*/ 351632 h 538211"/>
              <a:gd name="connsiteX256" fmla="*/ 232167 w 255979"/>
              <a:gd name="connsiteY256" fmla="*/ 357585 h 538211"/>
              <a:gd name="connsiteX257" fmla="*/ 228357 w 255979"/>
              <a:gd name="connsiteY257" fmla="*/ 359569 h 538211"/>
              <a:gd name="connsiteX258" fmla="*/ 224547 w 255979"/>
              <a:gd name="connsiteY258" fmla="*/ 361554 h 538211"/>
              <a:gd name="connsiteX259" fmla="*/ 224547 w 255979"/>
              <a:gd name="connsiteY259" fmla="*/ 359569 h 538211"/>
              <a:gd name="connsiteX260" fmla="*/ 226452 w 255979"/>
              <a:gd name="connsiteY260" fmla="*/ 355601 h 538211"/>
              <a:gd name="connsiteX261" fmla="*/ 224547 w 255979"/>
              <a:gd name="connsiteY261" fmla="*/ 351632 h 538211"/>
              <a:gd name="connsiteX262" fmla="*/ 222642 w 255979"/>
              <a:gd name="connsiteY262" fmla="*/ 345679 h 538211"/>
              <a:gd name="connsiteX263" fmla="*/ 226452 w 255979"/>
              <a:gd name="connsiteY263" fmla="*/ 343694 h 538211"/>
              <a:gd name="connsiteX264" fmla="*/ 226452 w 255979"/>
              <a:gd name="connsiteY264" fmla="*/ 337741 h 538211"/>
              <a:gd name="connsiteX265" fmla="*/ 224547 w 255979"/>
              <a:gd name="connsiteY265" fmla="*/ 331788 h 538211"/>
              <a:gd name="connsiteX266" fmla="*/ 154591 w 255979"/>
              <a:gd name="connsiteY266" fmla="*/ 327025 h 538211"/>
              <a:gd name="connsiteX267" fmla="*/ 160624 w 255979"/>
              <a:gd name="connsiteY267" fmla="*/ 327025 h 538211"/>
              <a:gd name="connsiteX268" fmla="*/ 164646 w 255979"/>
              <a:gd name="connsiteY268" fmla="*/ 329051 h 538211"/>
              <a:gd name="connsiteX269" fmla="*/ 168667 w 255979"/>
              <a:gd name="connsiteY269" fmla="*/ 333101 h 538211"/>
              <a:gd name="connsiteX270" fmla="*/ 166656 w 255979"/>
              <a:gd name="connsiteY270" fmla="*/ 339178 h 538211"/>
              <a:gd name="connsiteX271" fmla="*/ 164646 w 255979"/>
              <a:gd name="connsiteY271" fmla="*/ 347279 h 538211"/>
              <a:gd name="connsiteX272" fmla="*/ 162635 w 255979"/>
              <a:gd name="connsiteY272" fmla="*/ 351330 h 538211"/>
              <a:gd name="connsiteX273" fmla="*/ 160624 w 255979"/>
              <a:gd name="connsiteY273" fmla="*/ 359432 h 538211"/>
              <a:gd name="connsiteX274" fmla="*/ 160624 w 255979"/>
              <a:gd name="connsiteY274" fmla="*/ 371584 h 538211"/>
              <a:gd name="connsiteX275" fmla="*/ 162635 w 255979"/>
              <a:gd name="connsiteY275" fmla="*/ 381711 h 538211"/>
              <a:gd name="connsiteX276" fmla="*/ 160624 w 255979"/>
              <a:gd name="connsiteY276" fmla="*/ 385762 h 538211"/>
              <a:gd name="connsiteX277" fmla="*/ 156602 w 255979"/>
              <a:gd name="connsiteY277" fmla="*/ 383737 h 538211"/>
              <a:gd name="connsiteX278" fmla="*/ 150569 w 255979"/>
              <a:gd name="connsiteY278" fmla="*/ 377660 h 538211"/>
              <a:gd name="connsiteX279" fmla="*/ 144537 w 255979"/>
              <a:gd name="connsiteY279" fmla="*/ 369559 h 538211"/>
              <a:gd name="connsiteX280" fmla="*/ 140515 w 255979"/>
              <a:gd name="connsiteY280" fmla="*/ 367533 h 538211"/>
              <a:gd name="connsiteX281" fmla="*/ 140515 w 255979"/>
              <a:gd name="connsiteY281" fmla="*/ 363483 h 538211"/>
              <a:gd name="connsiteX282" fmla="*/ 144537 w 255979"/>
              <a:gd name="connsiteY282" fmla="*/ 361457 h 538211"/>
              <a:gd name="connsiteX283" fmla="*/ 148559 w 255979"/>
              <a:gd name="connsiteY283" fmla="*/ 357406 h 538211"/>
              <a:gd name="connsiteX284" fmla="*/ 150569 w 255979"/>
              <a:gd name="connsiteY284" fmla="*/ 349305 h 538211"/>
              <a:gd name="connsiteX285" fmla="*/ 152580 w 255979"/>
              <a:gd name="connsiteY285" fmla="*/ 341203 h 538211"/>
              <a:gd name="connsiteX286" fmla="*/ 152580 w 255979"/>
              <a:gd name="connsiteY286" fmla="*/ 337152 h 538211"/>
              <a:gd name="connsiteX287" fmla="*/ 150569 w 255979"/>
              <a:gd name="connsiteY287" fmla="*/ 331076 h 538211"/>
              <a:gd name="connsiteX288" fmla="*/ 154591 w 255979"/>
              <a:gd name="connsiteY288" fmla="*/ 327025 h 538211"/>
              <a:gd name="connsiteX289" fmla="*/ 179075 w 255979"/>
              <a:gd name="connsiteY289" fmla="*/ 317867 h 538211"/>
              <a:gd name="connsiteX290" fmla="*/ 181015 w 255979"/>
              <a:gd name="connsiteY290" fmla="*/ 317867 h 538211"/>
              <a:gd name="connsiteX291" fmla="*/ 181015 w 255979"/>
              <a:gd name="connsiteY291" fmla="*/ 329590 h 538211"/>
              <a:gd name="connsiteX292" fmla="*/ 182955 w 255979"/>
              <a:gd name="connsiteY292" fmla="*/ 341313 h 538211"/>
              <a:gd name="connsiteX293" fmla="*/ 179075 w 255979"/>
              <a:gd name="connsiteY293" fmla="*/ 351082 h 538211"/>
              <a:gd name="connsiteX294" fmla="*/ 175194 w 255979"/>
              <a:gd name="connsiteY294" fmla="*/ 353036 h 538211"/>
              <a:gd name="connsiteX295" fmla="*/ 173254 w 255979"/>
              <a:gd name="connsiteY295" fmla="*/ 356944 h 538211"/>
              <a:gd name="connsiteX296" fmla="*/ 169373 w 255979"/>
              <a:gd name="connsiteY296" fmla="*/ 364759 h 538211"/>
              <a:gd name="connsiteX297" fmla="*/ 165492 w 255979"/>
              <a:gd name="connsiteY297" fmla="*/ 366713 h 538211"/>
              <a:gd name="connsiteX298" fmla="*/ 167433 w 255979"/>
              <a:gd name="connsiteY298" fmla="*/ 356944 h 538211"/>
              <a:gd name="connsiteX299" fmla="*/ 169373 w 255979"/>
              <a:gd name="connsiteY299" fmla="*/ 349129 h 538211"/>
              <a:gd name="connsiteX300" fmla="*/ 169373 w 255979"/>
              <a:gd name="connsiteY300" fmla="*/ 339359 h 538211"/>
              <a:gd name="connsiteX301" fmla="*/ 177134 w 255979"/>
              <a:gd name="connsiteY301" fmla="*/ 333498 h 538211"/>
              <a:gd name="connsiteX302" fmla="*/ 177134 w 255979"/>
              <a:gd name="connsiteY302" fmla="*/ 323729 h 538211"/>
              <a:gd name="connsiteX303" fmla="*/ 179075 w 255979"/>
              <a:gd name="connsiteY303" fmla="*/ 317867 h 538211"/>
              <a:gd name="connsiteX304" fmla="*/ 226875 w 255979"/>
              <a:gd name="connsiteY304" fmla="*/ 317501 h 538211"/>
              <a:gd name="connsiteX305" fmla="*/ 228991 w 255979"/>
              <a:gd name="connsiteY305" fmla="*/ 319485 h 538211"/>
              <a:gd name="connsiteX306" fmla="*/ 228991 w 255979"/>
              <a:gd name="connsiteY306" fmla="*/ 325438 h 538211"/>
              <a:gd name="connsiteX307" fmla="*/ 226875 w 255979"/>
              <a:gd name="connsiteY307" fmla="*/ 325438 h 538211"/>
              <a:gd name="connsiteX308" fmla="*/ 224758 w 255979"/>
              <a:gd name="connsiteY308" fmla="*/ 323454 h 538211"/>
              <a:gd name="connsiteX309" fmla="*/ 224758 w 255979"/>
              <a:gd name="connsiteY309" fmla="*/ 319485 h 538211"/>
              <a:gd name="connsiteX310" fmla="*/ 226875 w 255979"/>
              <a:gd name="connsiteY310" fmla="*/ 317501 h 538211"/>
              <a:gd name="connsiteX311" fmla="*/ 82942 w 255979"/>
              <a:gd name="connsiteY311" fmla="*/ 314325 h 538211"/>
              <a:gd name="connsiteX312" fmla="*/ 85324 w 255979"/>
              <a:gd name="connsiteY312" fmla="*/ 315912 h 538211"/>
              <a:gd name="connsiteX313" fmla="*/ 82942 w 255979"/>
              <a:gd name="connsiteY313" fmla="*/ 314325 h 538211"/>
              <a:gd name="connsiteX314" fmla="*/ 62771 w 255979"/>
              <a:gd name="connsiteY314" fmla="*/ 313150 h 538211"/>
              <a:gd name="connsiteX315" fmla="*/ 64732 w 255979"/>
              <a:gd name="connsiteY315" fmla="*/ 317151 h 538211"/>
              <a:gd name="connsiteX316" fmla="*/ 62771 w 255979"/>
              <a:gd name="connsiteY316" fmla="*/ 325152 h 538211"/>
              <a:gd name="connsiteX317" fmla="*/ 58849 w 255979"/>
              <a:gd name="connsiteY317" fmla="*/ 331153 h 538211"/>
              <a:gd name="connsiteX318" fmla="*/ 62771 w 255979"/>
              <a:gd name="connsiteY318" fmla="*/ 333153 h 538211"/>
              <a:gd name="connsiteX319" fmla="*/ 68654 w 255979"/>
              <a:gd name="connsiteY319" fmla="*/ 343154 h 538211"/>
              <a:gd name="connsiteX320" fmla="*/ 62771 w 255979"/>
              <a:gd name="connsiteY320" fmla="*/ 347154 h 538211"/>
              <a:gd name="connsiteX321" fmla="*/ 58849 w 255979"/>
              <a:gd name="connsiteY321" fmla="*/ 349155 h 538211"/>
              <a:gd name="connsiteX322" fmla="*/ 56888 w 255979"/>
              <a:gd name="connsiteY322" fmla="*/ 355155 h 538211"/>
              <a:gd name="connsiteX323" fmla="*/ 47083 w 255979"/>
              <a:gd name="connsiteY323" fmla="*/ 359156 h 538211"/>
              <a:gd name="connsiteX324" fmla="*/ 41200 w 255979"/>
              <a:gd name="connsiteY324" fmla="*/ 361156 h 538211"/>
              <a:gd name="connsiteX325" fmla="*/ 37278 w 255979"/>
              <a:gd name="connsiteY325" fmla="*/ 373158 h 538211"/>
              <a:gd name="connsiteX326" fmla="*/ 35317 w 255979"/>
              <a:gd name="connsiteY326" fmla="*/ 381159 h 538211"/>
              <a:gd name="connsiteX327" fmla="*/ 29434 w 255979"/>
              <a:gd name="connsiteY327" fmla="*/ 385159 h 538211"/>
              <a:gd name="connsiteX328" fmla="*/ 27473 w 255979"/>
              <a:gd name="connsiteY328" fmla="*/ 393160 h 538211"/>
              <a:gd name="connsiteX329" fmla="*/ 21590 w 255979"/>
              <a:gd name="connsiteY329" fmla="*/ 397160 h 538211"/>
              <a:gd name="connsiteX330" fmla="*/ 13745 w 255979"/>
              <a:gd name="connsiteY330" fmla="*/ 401161 h 538211"/>
              <a:gd name="connsiteX331" fmla="*/ 9823 w 255979"/>
              <a:gd name="connsiteY331" fmla="*/ 407162 h 538211"/>
              <a:gd name="connsiteX332" fmla="*/ 3940 w 255979"/>
              <a:gd name="connsiteY332" fmla="*/ 409162 h 538211"/>
              <a:gd name="connsiteX333" fmla="*/ 3940 w 255979"/>
              <a:gd name="connsiteY333" fmla="*/ 403161 h 538211"/>
              <a:gd name="connsiteX334" fmla="*/ 11784 w 255979"/>
              <a:gd name="connsiteY334" fmla="*/ 399161 h 538211"/>
              <a:gd name="connsiteX335" fmla="*/ 15706 w 255979"/>
              <a:gd name="connsiteY335" fmla="*/ 389159 h 538211"/>
              <a:gd name="connsiteX336" fmla="*/ 23551 w 255979"/>
              <a:gd name="connsiteY336" fmla="*/ 381159 h 538211"/>
              <a:gd name="connsiteX337" fmla="*/ 31395 w 255979"/>
              <a:gd name="connsiteY337" fmla="*/ 373158 h 538211"/>
              <a:gd name="connsiteX338" fmla="*/ 33356 w 255979"/>
              <a:gd name="connsiteY338" fmla="*/ 365157 h 538211"/>
              <a:gd name="connsiteX339" fmla="*/ 37278 w 255979"/>
              <a:gd name="connsiteY339" fmla="*/ 353155 h 538211"/>
              <a:gd name="connsiteX340" fmla="*/ 41200 w 255979"/>
              <a:gd name="connsiteY340" fmla="*/ 349155 h 538211"/>
              <a:gd name="connsiteX341" fmla="*/ 47083 w 255979"/>
              <a:gd name="connsiteY341" fmla="*/ 347154 h 538211"/>
              <a:gd name="connsiteX342" fmla="*/ 51005 w 255979"/>
              <a:gd name="connsiteY342" fmla="*/ 343154 h 538211"/>
              <a:gd name="connsiteX343" fmla="*/ 54927 w 255979"/>
              <a:gd name="connsiteY343" fmla="*/ 339153 h 538211"/>
              <a:gd name="connsiteX344" fmla="*/ 54927 w 255979"/>
              <a:gd name="connsiteY344" fmla="*/ 327152 h 538211"/>
              <a:gd name="connsiteX345" fmla="*/ 56888 w 255979"/>
              <a:gd name="connsiteY345" fmla="*/ 317151 h 538211"/>
              <a:gd name="connsiteX346" fmla="*/ 62771 w 255979"/>
              <a:gd name="connsiteY346" fmla="*/ 313150 h 538211"/>
              <a:gd name="connsiteX347" fmla="*/ 188014 w 255979"/>
              <a:gd name="connsiteY347" fmla="*/ 308868 h 538211"/>
              <a:gd name="connsiteX348" fmla="*/ 192479 w 255979"/>
              <a:gd name="connsiteY348" fmla="*/ 312341 h 538211"/>
              <a:gd name="connsiteX349" fmla="*/ 198432 w 255979"/>
              <a:gd name="connsiteY349" fmla="*/ 314326 h 538211"/>
              <a:gd name="connsiteX350" fmla="*/ 202401 w 255979"/>
              <a:gd name="connsiteY350" fmla="*/ 312341 h 538211"/>
              <a:gd name="connsiteX351" fmla="*/ 206369 w 255979"/>
              <a:gd name="connsiteY351" fmla="*/ 316310 h 538211"/>
              <a:gd name="connsiteX352" fmla="*/ 206369 w 255979"/>
              <a:gd name="connsiteY352" fmla="*/ 324248 h 538211"/>
              <a:gd name="connsiteX353" fmla="*/ 208354 w 255979"/>
              <a:gd name="connsiteY353" fmla="*/ 332185 h 538211"/>
              <a:gd name="connsiteX354" fmla="*/ 210338 w 255979"/>
              <a:gd name="connsiteY354" fmla="*/ 336154 h 538211"/>
              <a:gd name="connsiteX355" fmla="*/ 214307 w 255979"/>
              <a:gd name="connsiteY355" fmla="*/ 340123 h 538211"/>
              <a:gd name="connsiteX356" fmla="*/ 214307 w 255979"/>
              <a:gd name="connsiteY356" fmla="*/ 346076 h 538211"/>
              <a:gd name="connsiteX357" fmla="*/ 210338 w 255979"/>
              <a:gd name="connsiteY357" fmla="*/ 346076 h 538211"/>
              <a:gd name="connsiteX358" fmla="*/ 210338 w 255979"/>
              <a:gd name="connsiteY358" fmla="*/ 352029 h 538211"/>
              <a:gd name="connsiteX359" fmla="*/ 202401 w 255979"/>
              <a:gd name="connsiteY359" fmla="*/ 354013 h 538211"/>
              <a:gd name="connsiteX360" fmla="*/ 198432 w 255979"/>
              <a:gd name="connsiteY360" fmla="*/ 350044 h 538211"/>
              <a:gd name="connsiteX361" fmla="*/ 200416 w 255979"/>
              <a:gd name="connsiteY361" fmla="*/ 342107 h 538211"/>
              <a:gd name="connsiteX362" fmla="*/ 200416 w 255979"/>
              <a:gd name="connsiteY362" fmla="*/ 336154 h 538211"/>
              <a:gd name="connsiteX363" fmla="*/ 200416 w 255979"/>
              <a:gd name="connsiteY363" fmla="*/ 328216 h 538211"/>
              <a:gd name="connsiteX364" fmla="*/ 196447 w 255979"/>
              <a:gd name="connsiteY364" fmla="*/ 328216 h 538211"/>
              <a:gd name="connsiteX365" fmla="*/ 192479 w 255979"/>
              <a:gd name="connsiteY365" fmla="*/ 332185 h 538211"/>
              <a:gd name="connsiteX366" fmla="*/ 188510 w 255979"/>
              <a:gd name="connsiteY366" fmla="*/ 330201 h 538211"/>
              <a:gd name="connsiteX367" fmla="*/ 186526 w 255979"/>
              <a:gd name="connsiteY367" fmla="*/ 322263 h 538211"/>
              <a:gd name="connsiteX368" fmla="*/ 186526 w 255979"/>
              <a:gd name="connsiteY368" fmla="*/ 314326 h 538211"/>
              <a:gd name="connsiteX369" fmla="*/ 188014 w 255979"/>
              <a:gd name="connsiteY369" fmla="*/ 308868 h 538211"/>
              <a:gd name="connsiteX370" fmla="*/ 67384 w 255979"/>
              <a:gd name="connsiteY370" fmla="*/ 307975 h 538211"/>
              <a:gd name="connsiteX371" fmla="*/ 67384 w 255979"/>
              <a:gd name="connsiteY371" fmla="*/ 313928 h 538211"/>
              <a:gd name="connsiteX372" fmla="*/ 65479 w 255979"/>
              <a:gd name="connsiteY372" fmla="*/ 309959 h 538211"/>
              <a:gd name="connsiteX373" fmla="*/ 67384 w 255979"/>
              <a:gd name="connsiteY373" fmla="*/ 307975 h 538211"/>
              <a:gd name="connsiteX374" fmla="*/ 124658 w 255979"/>
              <a:gd name="connsiteY374" fmla="*/ 297260 h 538211"/>
              <a:gd name="connsiteX375" fmla="*/ 130743 w 255979"/>
              <a:gd name="connsiteY375" fmla="*/ 297260 h 538211"/>
              <a:gd name="connsiteX376" fmla="*/ 134800 w 255979"/>
              <a:gd name="connsiteY376" fmla="*/ 301229 h 538211"/>
              <a:gd name="connsiteX377" fmla="*/ 138857 w 255979"/>
              <a:gd name="connsiteY377" fmla="*/ 305198 h 538211"/>
              <a:gd name="connsiteX378" fmla="*/ 142914 w 255979"/>
              <a:gd name="connsiteY378" fmla="*/ 305198 h 538211"/>
              <a:gd name="connsiteX379" fmla="*/ 149000 w 255979"/>
              <a:gd name="connsiteY379" fmla="*/ 305198 h 538211"/>
              <a:gd name="connsiteX380" fmla="*/ 157114 w 255979"/>
              <a:gd name="connsiteY380" fmla="*/ 305198 h 538211"/>
              <a:gd name="connsiteX381" fmla="*/ 157114 w 255979"/>
              <a:gd name="connsiteY381" fmla="*/ 309166 h 538211"/>
              <a:gd name="connsiteX382" fmla="*/ 157114 w 255979"/>
              <a:gd name="connsiteY382" fmla="*/ 317104 h 538211"/>
              <a:gd name="connsiteX383" fmla="*/ 153057 w 255979"/>
              <a:gd name="connsiteY383" fmla="*/ 319089 h 538211"/>
              <a:gd name="connsiteX384" fmla="*/ 146971 w 255979"/>
              <a:gd name="connsiteY384" fmla="*/ 321073 h 538211"/>
              <a:gd name="connsiteX385" fmla="*/ 146971 w 255979"/>
              <a:gd name="connsiteY385" fmla="*/ 327026 h 538211"/>
              <a:gd name="connsiteX386" fmla="*/ 149000 w 255979"/>
              <a:gd name="connsiteY386" fmla="*/ 334964 h 538211"/>
              <a:gd name="connsiteX387" fmla="*/ 146971 w 255979"/>
              <a:gd name="connsiteY387" fmla="*/ 340917 h 538211"/>
              <a:gd name="connsiteX388" fmla="*/ 142914 w 255979"/>
              <a:gd name="connsiteY388" fmla="*/ 342901 h 538211"/>
              <a:gd name="connsiteX389" fmla="*/ 140886 w 255979"/>
              <a:gd name="connsiteY389" fmla="*/ 336948 h 538211"/>
              <a:gd name="connsiteX390" fmla="*/ 136829 w 255979"/>
              <a:gd name="connsiteY390" fmla="*/ 336948 h 538211"/>
              <a:gd name="connsiteX391" fmla="*/ 132772 w 255979"/>
              <a:gd name="connsiteY391" fmla="*/ 338932 h 538211"/>
              <a:gd name="connsiteX392" fmla="*/ 126686 w 255979"/>
              <a:gd name="connsiteY392" fmla="*/ 342901 h 538211"/>
              <a:gd name="connsiteX393" fmla="*/ 126686 w 255979"/>
              <a:gd name="connsiteY393" fmla="*/ 338932 h 538211"/>
              <a:gd name="connsiteX394" fmla="*/ 126686 w 255979"/>
              <a:gd name="connsiteY394" fmla="*/ 329011 h 538211"/>
              <a:gd name="connsiteX395" fmla="*/ 130743 w 255979"/>
              <a:gd name="connsiteY395" fmla="*/ 321073 h 538211"/>
              <a:gd name="connsiteX396" fmla="*/ 130743 w 255979"/>
              <a:gd name="connsiteY396" fmla="*/ 307182 h 538211"/>
              <a:gd name="connsiteX397" fmla="*/ 124658 w 255979"/>
              <a:gd name="connsiteY397" fmla="*/ 301229 h 538211"/>
              <a:gd name="connsiteX398" fmla="*/ 124658 w 255979"/>
              <a:gd name="connsiteY398" fmla="*/ 297260 h 538211"/>
              <a:gd name="connsiteX399" fmla="*/ 78709 w 255979"/>
              <a:gd name="connsiteY399" fmla="*/ 285750 h 538211"/>
              <a:gd name="connsiteX400" fmla="*/ 78709 w 255979"/>
              <a:gd name="connsiteY400" fmla="*/ 289791 h 538211"/>
              <a:gd name="connsiteX401" fmla="*/ 84530 w 255979"/>
              <a:gd name="connsiteY401" fmla="*/ 291811 h 538211"/>
              <a:gd name="connsiteX402" fmla="*/ 82590 w 255979"/>
              <a:gd name="connsiteY402" fmla="*/ 297873 h 538211"/>
              <a:gd name="connsiteX403" fmla="*/ 78709 w 255979"/>
              <a:gd name="connsiteY403" fmla="*/ 299893 h 538211"/>
              <a:gd name="connsiteX404" fmla="*/ 78709 w 255979"/>
              <a:gd name="connsiteY404" fmla="*/ 305954 h 538211"/>
              <a:gd name="connsiteX405" fmla="*/ 72888 w 255979"/>
              <a:gd name="connsiteY405" fmla="*/ 299893 h 538211"/>
              <a:gd name="connsiteX406" fmla="*/ 69008 w 255979"/>
              <a:gd name="connsiteY406" fmla="*/ 295852 h 538211"/>
              <a:gd name="connsiteX407" fmla="*/ 70948 w 255979"/>
              <a:gd name="connsiteY407" fmla="*/ 293832 h 538211"/>
              <a:gd name="connsiteX408" fmla="*/ 70948 w 255979"/>
              <a:gd name="connsiteY408" fmla="*/ 289791 h 538211"/>
              <a:gd name="connsiteX409" fmla="*/ 70948 w 255979"/>
              <a:gd name="connsiteY409" fmla="*/ 287770 h 538211"/>
              <a:gd name="connsiteX410" fmla="*/ 78709 w 255979"/>
              <a:gd name="connsiteY410" fmla="*/ 285750 h 538211"/>
              <a:gd name="connsiteX411" fmla="*/ 157554 w 255979"/>
              <a:gd name="connsiteY411" fmla="*/ 280988 h 538211"/>
              <a:gd name="connsiteX412" fmla="*/ 161462 w 255979"/>
              <a:gd name="connsiteY412" fmla="*/ 280988 h 538211"/>
              <a:gd name="connsiteX413" fmla="*/ 169277 w 255979"/>
              <a:gd name="connsiteY413" fmla="*/ 283064 h 538211"/>
              <a:gd name="connsiteX414" fmla="*/ 177093 w 255979"/>
              <a:gd name="connsiteY414" fmla="*/ 285140 h 538211"/>
              <a:gd name="connsiteX415" fmla="*/ 181000 w 255979"/>
              <a:gd name="connsiteY415" fmla="*/ 289292 h 538211"/>
              <a:gd name="connsiteX416" fmla="*/ 182954 w 255979"/>
              <a:gd name="connsiteY416" fmla="*/ 291367 h 538211"/>
              <a:gd name="connsiteX417" fmla="*/ 181000 w 255979"/>
              <a:gd name="connsiteY417" fmla="*/ 295519 h 538211"/>
              <a:gd name="connsiteX418" fmla="*/ 181000 w 255979"/>
              <a:gd name="connsiteY418" fmla="*/ 301747 h 538211"/>
              <a:gd name="connsiteX419" fmla="*/ 181000 w 255979"/>
              <a:gd name="connsiteY419" fmla="*/ 305899 h 538211"/>
              <a:gd name="connsiteX420" fmla="*/ 177093 w 255979"/>
              <a:gd name="connsiteY420" fmla="*/ 303823 h 538211"/>
              <a:gd name="connsiteX421" fmla="*/ 177093 w 255979"/>
              <a:gd name="connsiteY421" fmla="*/ 297595 h 538211"/>
              <a:gd name="connsiteX422" fmla="*/ 171231 w 255979"/>
              <a:gd name="connsiteY422" fmla="*/ 293443 h 538211"/>
              <a:gd name="connsiteX423" fmla="*/ 167323 w 255979"/>
              <a:gd name="connsiteY423" fmla="*/ 289292 h 538211"/>
              <a:gd name="connsiteX424" fmla="*/ 161462 w 255979"/>
              <a:gd name="connsiteY424" fmla="*/ 289292 h 538211"/>
              <a:gd name="connsiteX425" fmla="*/ 157554 w 255979"/>
              <a:gd name="connsiteY425" fmla="*/ 285140 h 538211"/>
              <a:gd name="connsiteX426" fmla="*/ 157554 w 255979"/>
              <a:gd name="connsiteY426" fmla="*/ 280988 h 538211"/>
              <a:gd name="connsiteX427" fmla="*/ 127392 w 255979"/>
              <a:gd name="connsiteY427" fmla="*/ 279854 h 538211"/>
              <a:gd name="connsiteX428" fmla="*/ 130567 w 255979"/>
              <a:gd name="connsiteY428" fmla="*/ 279854 h 538211"/>
              <a:gd name="connsiteX429" fmla="*/ 128980 w 255979"/>
              <a:gd name="connsiteY429" fmla="*/ 285977 h 538211"/>
              <a:gd name="connsiteX430" fmla="*/ 125804 w 255979"/>
              <a:gd name="connsiteY430" fmla="*/ 288018 h 538211"/>
              <a:gd name="connsiteX431" fmla="*/ 125804 w 255979"/>
              <a:gd name="connsiteY431" fmla="*/ 281895 h 538211"/>
              <a:gd name="connsiteX432" fmla="*/ 127392 w 255979"/>
              <a:gd name="connsiteY432" fmla="*/ 279854 h 538211"/>
              <a:gd name="connsiteX433" fmla="*/ 138901 w 255979"/>
              <a:gd name="connsiteY433" fmla="*/ 276226 h 538211"/>
              <a:gd name="connsiteX434" fmla="*/ 142870 w 255979"/>
              <a:gd name="connsiteY434" fmla="*/ 280036 h 538211"/>
              <a:gd name="connsiteX435" fmla="*/ 144854 w 255979"/>
              <a:gd name="connsiteY435" fmla="*/ 283846 h 538211"/>
              <a:gd name="connsiteX436" fmla="*/ 142870 w 255979"/>
              <a:gd name="connsiteY436" fmla="*/ 285751 h 538211"/>
              <a:gd name="connsiteX437" fmla="*/ 138901 w 255979"/>
              <a:gd name="connsiteY437" fmla="*/ 283846 h 538211"/>
              <a:gd name="connsiteX438" fmla="*/ 136916 w 255979"/>
              <a:gd name="connsiteY438" fmla="*/ 281941 h 538211"/>
              <a:gd name="connsiteX439" fmla="*/ 138901 w 255979"/>
              <a:gd name="connsiteY439" fmla="*/ 276226 h 538211"/>
              <a:gd name="connsiteX440" fmla="*/ 196448 w 255979"/>
              <a:gd name="connsiteY440" fmla="*/ 275052 h 538211"/>
              <a:gd name="connsiteX441" fmla="*/ 198432 w 255979"/>
              <a:gd name="connsiteY441" fmla="*/ 275052 h 538211"/>
              <a:gd name="connsiteX442" fmla="*/ 202401 w 255979"/>
              <a:gd name="connsiteY442" fmla="*/ 277054 h 538211"/>
              <a:gd name="connsiteX443" fmla="*/ 206370 w 255979"/>
              <a:gd name="connsiteY443" fmla="*/ 275052 h 538211"/>
              <a:gd name="connsiteX444" fmla="*/ 212323 w 255979"/>
              <a:gd name="connsiteY444" fmla="*/ 275052 h 538211"/>
              <a:gd name="connsiteX445" fmla="*/ 214307 w 255979"/>
              <a:gd name="connsiteY445" fmla="*/ 281057 h 538211"/>
              <a:gd name="connsiteX446" fmla="*/ 218276 w 255979"/>
              <a:gd name="connsiteY446" fmla="*/ 287062 h 538211"/>
              <a:gd name="connsiteX447" fmla="*/ 220260 w 255979"/>
              <a:gd name="connsiteY447" fmla="*/ 291065 h 538211"/>
              <a:gd name="connsiteX448" fmla="*/ 218276 w 255979"/>
              <a:gd name="connsiteY448" fmla="*/ 297070 h 538211"/>
              <a:gd name="connsiteX449" fmla="*/ 220260 w 255979"/>
              <a:gd name="connsiteY449" fmla="*/ 309080 h 538211"/>
              <a:gd name="connsiteX450" fmla="*/ 224229 w 255979"/>
              <a:gd name="connsiteY450" fmla="*/ 313083 h 538211"/>
              <a:gd name="connsiteX451" fmla="*/ 220260 w 255979"/>
              <a:gd name="connsiteY451" fmla="*/ 319088 h 538211"/>
              <a:gd name="connsiteX452" fmla="*/ 212323 w 255979"/>
              <a:gd name="connsiteY452" fmla="*/ 319088 h 538211"/>
              <a:gd name="connsiteX453" fmla="*/ 206370 w 255979"/>
              <a:gd name="connsiteY453" fmla="*/ 315085 h 538211"/>
              <a:gd name="connsiteX454" fmla="*/ 202401 w 255979"/>
              <a:gd name="connsiteY454" fmla="*/ 309080 h 538211"/>
              <a:gd name="connsiteX455" fmla="*/ 202401 w 255979"/>
              <a:gd name="connsiteY455" fmla="*/ 301073 h 538211"/>
              <a:gd name="connsiteX456" fmla="*/ 196448 w 255979"/>
              <a:gd name="connsiteY456" fmla="*/ 297070 h 538211"/>
              <a:gd name="connsiteX457" fmla="*/ 194463 w 255979"/>
              <a:gd name="connsiteY457" fmla="*/ 293067 h 538211"/>
              <a:gd name="connsiteX458" fmla="*/ 190494 w 255979"/>
              <a:gd name="connsiteY458" fmla="*/ 289064 h 538211"/>
              <a:gd name="connsiteX459" fmla="*/ 184541 w 255979"/>
              <a:gd name="connsiteY459" fmla="*/ 285061 h 538211"/>
              <a:gd name="connsiteX460" fmla="*/ 184541 w 255979"/>
              <a:gd name="connsiteY460" fmla="*/ 279056 h 538211"/>
              <a:gd name="connsiteX461" fmla="*/ 192479 w 255979"/>
              <a:gd name="connsiteY461" fmla="*/ 279056 h 538211"/>
              <a:gd name="connsiteX462" fmla="*/ 196448 w 255979"/>
              <a:gd name="connsiteY462" fmla="*/ 275052 h 538211"/>
              <a:gd name="connsiteX463" fmla="*/ 167080 w 255979"/>
              <a:gd name="connsiteY463" fmla="*/ 273368 h 538211"/>
              <a:gd name="connsiteX464" fmla="*/ 170255 w 255979"/>
              <a:gd name="connsiteY464" fmla="*/ 279083 h 538211"/>
              <a:gd name="connsiteX465" fmla="*/ 165492 w 255979"/>
              <a:gd name="connsiteY465" fmla="*/ 277178 h 538211"/>
              <a:gd name="connsiteX466" fmla="*/ 167080 w 255979"/>
              <a:gd name="connsiteY466" fmla="*/ 273368 h 538211"/>
              <a:gd name="connsiteX467" fmla="*/ 77354 w 255979"/>
              <a:gd name="connsiteY467" fmla="*/ 247650 h 538211"/>
              <a:gd name="connsiteX468" fmla="*/ 85228 w 255979"/>
              <a:gd name="connsiteY468" fmla="*/ 247650 h 538211"/>
              <a:gd name="connsiteX469" fmla="*/ 91134 w 255979"/>
              <a:gd name="connsiteY469" fmla="*/ 247650 h 538211"/>
              <a:gd name="connsiteX470" fmla="*/ 97039 w 255979"/>
              <a:gd name="connsiteY470" fmla="*/ 249615 h 538211"/>
              <a:gd name="connsiteX471" fmla="*/ 104914 w 255979"/>
              <a:gd name="connsiteY471" fmla="*/ 251581 h 538211"/>
              <a:gd name="connsiteX472" fmla="*/ 108851 w 255979"/>
              <a:gd name="connsiteY472" fmla="*/ 251581 h 538211"/>
              <a:gd name="connsiteX473" fmla="*/ 116725 w 255979"/>
              <a:gd name="connsiteY473" fmla="*/ 251581 h 538211"/>
              <a:gd name="connsiteX474" fmla="*/ 120662 w 255979"/>
              <a:gd name="connsiteY474" fmla="*/ 251581 h 538211"/>
              <a:gd name="connsiteX475" fmla="*/ 120662 w 255979"/>
              <a:gd name="connsiteY475" fmla="*/ 257477 h 538211"/>
              <a:gd name="connsiteX476" fmla="*/ 118693 w 255979"/>
              <a:gd name="connsiteY476" fmla="*/ 263374 h 538211"/>
              <a:gd name="connsiteX477" fmla="*/ 118693 w 255979"/>
              <a:gd name="connsiteY477" fmla="*/ 269270 h 538211"/>
              <a:gd name="connsiteX478" fmla="*/ 116725 w 255979"/>
              <a:gd name="connsiteY478" fmla="*/ 275167 h 538211"/>
              <a:gd name="connsiteX479" fmla="*/ 118693 w 255979"/>
              <a:gd name="connsiteY479" fmla="*/ 281063 h 538211"/>
              <a:gd name="connsiteX480" fmla="*/ 114756 w 255979"/>
              <a:gd name="connsiteY480" fmla="*/ 286959 h 538211"/>
              <a:gd name="connsiteX481" fmla="*/ 110819 w 255979"/>
              <a:gd name="connsiteY481" fmla="*/ 288925 h 538211"/>
              <a:gd name="connsiteX482" fmla="*/ 97039 w 255979"/>
              <a:gd name="connsiteY482" fmla="*/ 283028 h 538211"/>
              <a:gd name="connsiteX483" fmla="*/ 93102 w 255979"/>
              <a:gd name="connsiteY483" fmla="*/ 277132 h 538211"/>
              <a:gd name="connsiteX484" fmla="*/ 95071 w 255979"/>
              <a:gd name="connsiteY484" fmla="*/ 273201 h 538211"/>
              <a:gd name="connsiteX485" fmla="*/ 89165 w 255979"/>
              <a:gd name="connsiteY485" fmla="*/ 271236 h 538211"/>
              <a:gd name="connsiteX486" fmla="*/ 89165 w 255979"/>
              <a:gd name="connsiteY486" fmla="*/ 265339 h 538211"/>
              <a:gd name="connsiteX487" fmla="*/ 85228 w 255979"/>
              <a:gd name="connsiteY487" fmla="*/ 259443 h 538211"/>
              <a:gd name="connsiteX488" fmla="*/ 85228 w 255979"/>
              <a:gd name="connsiteY488" fmla="*/ 253546 h 538211"/>
              <a:gd name="connsiteX489" fmla="*/ 77354 w 255979"/>
              <a:gd name="connsiteY489" fmla="*/ 253546 h 538211"/>
              <a:gd name="connsiteX490" fmla="*/ 73417 w 255979"/>
              <a:gd name="connsiteY490" fmla="*/ 249615 h 538211"/>
              <a:gd name="connsiteX491" fmla="*/ 77354 w 255979"/>
              <a:gd name="connsiteY491" fmla="*/ 247650 h 538211"/>
              <a:gd name="connsiteX492" fmla="*/ 125159 w 255979"/>
              <a:gd name="connsiteY492" fmla="*/ 234461 h 538211"/>
              <a:gd name="connsiteX493" fmla="*/ 131361 w 255979"/>
              <a:gd name="connsiteY493" fmla="*/ 235683 h 538211"/>
              <a:gd name="connsiteX494" fmla="*/ 137314 w 255979"/>
              <a:gd name="connsiteY494" fmla="*/ 241544 h 538211"/>
              <a:gd name="connsiteX495" fmla="*/ 139298 w 255979"/>
              <a:gd name="connsiteY495" fmla="*/ 247406 h 538211"/>
              <a:gd name="connsiteX496" fmla="*/ 141283 w 255979"/>
              <a:gd name="connsiteY496" fmla="*/ 255221 h 538211"/>
              <a:gd name="connsiteX497" fmla="*/ 137314 w 255979"/>
              <a:gd name="connsiteY497" fmla="*/ 255221 h 538211"/>
              <a:gd name="connsiteX498" fmla="*/ 131361 w 255979"/>
              <a:gd name="connsiteY498" fmla="*/ 247406 h 538211"/>
              <a:gd name="connsiteX499" fmla="*/ 125407 w 255979"/>
              <a:gd name="connsiteY499" fmla="*/ 243498 h 538211"/>
              <a:gd name="connsiteX500" fmla="*/ 123423 w 255979"/>
              <a:gd name="connsiteY500" fmla="*/ 237636 h 538211"/>
              <a:gd name="connsiteX501" fmla="*/ 125159 w 255979"/>
              <a:gd name="connsiteY501" fmla="*/ 234461 h 538211"/>
              <a:gd name="connsiteX502" fmla="*/ 180414 w 255979"/>
              <a:gd name="connsiteY502" fmla="*/ 230585 h 538211"/>
              <a:gd name="connsiteX503" fmla="*/ 184859 w 255979"/>
              <a:gd name="connsiteY503" fmla="*/ 232570 h 538211"/>
              <a:gd name="connsiteX504" fmla="*/ 187082 w 255979"/>
              <a:gd name="connsiteY504" fmla="*/ 238523 h 538211"/>
              <a:gd name="connsiteX505" fmla="*/ 187082 w 255979"/>
              <a:gd name="connsiteY505" fmla="*/ 242491 h 538211"/>
              <a:gd name="connsiteX506" fmla="*/ 184859 w 255979"/>
              <a:gd name="connsiteY506" fmla="*/ 244476 h 538211"/>
              <a:gd name="connsiteX507" fmla="*/ 180414 w 255979"/>
              <a:gd name="connsiteY507" fmla="*/ 244476 h 538211"/>
              <a:gd name="connsiteX508" fmla="*/ 178191 w 255979"/>
              <a:gd name="connsiteY508" fmla="*/ 242491 h 538211"/>
              <a:gd name="connsiteX509" fmla="*/ 180414 w 255979"/>
              <a:gd name="connsiteY509" fmla="*/ 236538 h 538211"/>
              <a:gd name="connsiteX510" fmla="*/ 180414 w 255979"/>
              <a:gd name="connsiteY510" fmla="*/ 230585 h 538211"/>
              <a:gd name="connsiteX511" fmla="*/ 124626 w 255979"/>
              <a:gd name="connsiteY511" fmla="*/ 225853 h 538211"/>
              <a:gd name="connsiteX512" fmla="*/ 130618 w 255979"/>
              <a:gd name="connsiteY512" fmla="*/ 227868 h 538211"/>
              <a:gd name="connsiteX513" fmla="*/ 134612 w 255979"/>
              <a:gd name="connsiteY513" fmla="*/ 225853 h 538211"/>
              <a:gd name="connsiteX514" fmla="*/ 142601 w 255979"/>
              <a:gd name="connsiteY514" fmla="*/ 225853 h 538211"/>
              <a:gd name="connsiteX515" fmla="*/ 146596 w 255979"/>
              <a:gd name="connsiteY515" fmla="*/ 229883 h 538211"/>
              <a:gd name="connsiteX516" fmla="*/ 152587 w 255979"/>
              <a:gd name="connsiteY516" fmla="*/ 237942 h 538211"/>
              <a:gd name="connsiteX517" fmla="*/ 152587 w 255979"/>
              <a:gd name="connsiteY517" fmla="*/ 241972 h 538211"/>
              <a:gd name="connsiteX518" fmla="*/ 156582 w 255979"/>
              <a:gd name="connsiteY518" fmla="*/ 246002 h 538211"/>
              <a:gd name="connsiteX519" fmla="*/ 160576 w 255979"/>
              <a:gd name="connsiteY519" fmla="*/ 246002 h 538211"/>
              <a:gd name="connsiteX520" fmla="*/ 160576 w 255979"/>
              <a:gd name="connsiteY520" fmla="*/ 239957 h 538211"/>
              <a:gd name="connsiteX521" fmla="*/ 154584 w 255979"/>
              <a:gd name="connsiteY521" fmla="*/ 231897 h 538211"/>
              <a:gd name="connsiteX522" fmla="*/ 152587 w 255979"/>
              <a:gd name="connsiteY522" fmla="*/ 227868 h 538211"/>
              <a:gd name="connsiteX523" fmla="*/ 158579 w 255979"/>
              <a:gd name="connsiteY523" fmla="*/ 225853 h 538211"/>
              <a:gd name="connsiteX524" fmla="*/ 158579 w 255979"/>
              <a:gd name="connsiteY524" fmla="*/ 231897 h 538211"/>
              <a:gd name="connsiteX525" fmla="*/ 164570 w 255979"/>
              <a:gd name="connsiteY525" fmla="*/ 233912 h 538211"/>
              <a:gd name="connsiteX526" fmla="*/ 172559 w 255979"/>
              <a:gd name="connsiteY526" fmla="*/ 233912 h 538211"/>
              <a:gd name="connsiteX527" fmla="*/ 174556 w 255979"/>
              <a:gd name="connsiteY527" fmla="*/ 237942 h 538211"/>
              <a:gd name="connsiteX528" fmla="*/ 172559 w 255979"/>
              <a:gd name="connsiteY528" fmla="*/ 241972 h 538211"/>
              <a:gd name="connsiteX529" fmla="*/ 164570 w 255979"/>
              <a:gd name="connsiteY529" fmla="*/ 241972 h 538211"/>
              <a:gd name="connsiteX530" fmla="*/ 164570 w 255979"/>
              <a:gd name="connsiteY530" fmla="*/ 243987 h 538211"/>
              <a:gd name="connsiteX531" fmla="*/ 166568 w 255979"/>
              <a:gd name="connsiteY531" fmla="*/ 248016 h 538211"/>
              <a:gd name="connsiteX532" fmla="*/ 170562 w 255979"/>
              <a:gd name="connsiteY532" fmla="*/ 250031 h 538211"/>
              <a:gd name="connsiteX533" fmla="*/ 172559 w 255979"/>
              <a:gd name="connsiteY533" fmla="*/ 254061 h 538211"/>
              <a:gd name="connsiteX534" fmla="*/ 168565 w 255979"/>
              <a:gd name="connsiteY534" fmla="*/ 256076 h 538211"/>
              <a:gd name="connsiteX535" fmla="*/ 170562 w 255979"/>
              <a:gd name="connsiteY535" fmla="*/ 260106 h 538211"/>
              <a:gd name="connsiteX536" fmla="*/ 176553 w 255979"/>
              <a:gd name="connsiteY536" fmla="*/ 260106 h 538211"/>
              <a:gd name="connsiteX537" fmla="*/ 184542 w 255979"/>
              <a:gd name="connsiteY537" fmla="*/ 262121 h 538211"/>
              <a:gd name="connsiteX538" fmla="*/ 180548 w 255979"/>
              <a:gd name="connsiteY538" fmla="*/ 264136 h 538211"/>
              <a:gd name="connsiteX539" fmla="*/ 178551 w 255979"/>
              <a:gd name="connsiteY539" fmla="*/ 268165 h 538211"/>
              <a:gd name="connsiteX540" fmla="*/ 176553 w 255979"/>
              <a:gd name="connsiteY540" fmla="*/ 276225 h 538211"/>
              <a:gd name="connsiteX541" fmla="*/ 172559 w 255979"/>
              <a:gd name="connsiteY541" fmla="*/ 276225 h 538211"/>
              <a:gd name="connsiteX542" fmla="*/ 170562 w 255979"/>
              <a:gd name="connsiteY542" fmla="*/ 272195 h 538211"/>
              <a:gd name="connsiteX543" fmla="*/ 164570 w 255979"/>
              <a:gd name="connsiteY543" fmla="*/ 270180 h 538211"/>
              <a:gd name="connsiteX544" fmla="*/ 162573 w 255979"/>
              <a:gd name="connsiteY544" fmla="*/ 268165 h 538211"/>
              <a:gd name="connsiteX545" fmla="*/ 164570 w 255979"/>
              <a:gd name="connsiteY545" fmla="*/ 264136 h 538211"/>
              <a:gd name="connsiteX546" fmla="*/ 158579 w 255979"/>
              <a:gd name="connsiteY546" fmla="*/ 264136 h 538211"/>
              <a:gd name="connsiteX547" fmla="*/ 156582 w 255979"/>
              <a:gd name="connsiteY547" fmla="*/ 260106 h 538211"/>
              <a:gd name="connsiteX548" fmla="*/ 154584 w 255979"/>
              <a:gd name="connsiteY548" fmla="*/ 252046 h 538211"/>
              <a:gd name="connsiteX549" fmla="*/ 148593 w 255979"/>
              <a:gd name="connsiteY549" fmla="*/ 246002 h 538211"/>
              <a:gd name="connsiteX550" fmla="*/ 144598 w 255979"/>
              <a:gd name="connsiteY550" fmla="*/ 241972 h 538211"/>
              <a:gd name="connsiteX551" fmla="*/ 142601 w 255979"/>
              <a:gd name="connsiteY551" fmla="*/ 239957 h 538211"/>
              <a:gd name="connsiteX552" fmla="*/ 136610 w 255979"/>
              <a:gd name="connsiteY552" fmla="*/ 235927 h 538211"/>
              <a:gd name="connsiteX553" fmla="*/ 130618 w 255979"/>
              <a:gd name="connsiteY553" fmla="*/ 231897 h 538211"/>
              <a:gd name="connsiteX554" fmla="*/ 124626 w 255979"/>
              <a:gd name="connsiteY554" fmla="*/ 231897 h 538211"/>
              <a:gd name="connsiteX555" fmla="*/ 122629 w 255979"/>
              <a:gd name="connsiteY555" fmla="*/ 229883 h 538211"/>
              <a:gd name="connsiteX556" fmla="*/ 124626 w 255979"/>
              <a:gd name="connsiteY556" fmla="*/ 225853 h 538211"/>
              <a:gd name="connsiteX557" fmla="*/ 113690 w 255979"/>
              <a:gd name="connsiteY557" fmla="*/ 86132 h 538211"/>
              <a:gd name="connsiteX558" fmla="*/ 119705 w 255979"/>
              <a:gd name="connsiteY558" fmla="*/ 88127 h 538211"/>
              <a:gd name="connsiteX559" fmla="*/ 119705 w 255979"/>
              <a:gd name="connsiteY559" fmla="*/ 90122 h 538211"/>
              <a:gd name="connsiteX560" fmla="*/ 121711 w 255979"/>
              <a:gd name="connsiteY560" fmla="*/ 98100 h 538211"/>
              <a:gd name="connsiteX561" fmla="*/ 117700 w 255979"/>
              <a:gd name="connsiteY561" fmla="*/ 102089 h 538211"/>
              <a:gd name="connsiteX562" fmla="*/ 117700 w 255979"/>
              <a:gd name="connsiteY562" fmla="*/ 112062 h 538211"/>
              <a:gd name="connsiteX563" fmla="*/ 121711 w 255979"/>
              <a:gd name="connsiteY563" fmla="*/ 122034 h 538211"/>
              <a:gd name="connsiteX564" fmla="*/ 125721 w 255979"/>
              <a:gd name="connsiteY564" fmla="*/ 130013 h 538211"/>
              <a:gd name="connsiteX565" fmla="*/ 131737 w 255979"/>
              <a:gd name="connsiteY565" fmla="*/ 134002 h 538211"/>
              <a:gd name="connsiteX566" fmla="*/ 127726 w 255979"/>
              <a:gd name="connsiteY566" fmla="*/ 141980 h 538211"/>
              <a:gd name="connsiteX567" fmla="*/ 125721 w 255979"/>
              <a:gd name="connsiteY567" fmla="*/ 147964 h 538211"/>
              <a:gd name="connsiteX568" fmla="*/ 125721 w 255979"/>
              <a:gd name="connsiteY568" fmla="*/ 155942 h 538211"/>
              <a:gd name="connsiteX569" fmla="*/ 121711 w 255979"/>
              <a:gd name="connsiteY569" fmla="*/ 163920 h 538211"/>
              <a:gd name="connsiteX570" fmla="*/ 109679 w 255979"/>
              <a:gd name="connsiteY570" fmla="*/ 169904 h 538211"/>
              <a:gd name="connsiteX571" fmla="*/ 105669 w 255979"/>
              <a:gd name="connsiteY571" fmla="*/ 173893 h 538211"/>
              <a:gd name="connsiteX572" fmla="*/ 109679 w 255979"/>
              <a:gd name="connsiteY572" fmla="*/ 177882 h 538211"/>
              <a:gd name="connsiteX573" fmla="*/ 109679 w 255979"/>
              <a:gd name="connsiteY573" fmla="*/ 181871 h 538211"/>
              <a:gd name="connsiteX574" fmla="*/ 105669 w 255979"/>
              <a:gd name="connsiteY574" fmla="*/ 185860 h 538211"/>
              <a:gd name="connsiteX575" fmla="*/ 105669 w 255979"/>
              <a:gd name="connsiteY575" fmla="*/ 195833 h 538211"/>
              <a:gd name="connsiteX576" fmla="*/ 111684 w 255979"/>
              <a:gd name="connsiteY576" fmla="*/ 201816 h 538211"/>
              <a:gd name="connsiteX577" fmla="*/ 115695 w 255979"/>
              <a:gd name="connsiteY577" fmla="*/ 203811 h 538211"/>
              <a:gd name="connsiteX578" fmla="*/ 119705 w 255979"/>
              <a:gd name="connsiteY578" fmla="*/ 199822 h 538211"/>
              <a:gd name="connsiteX579" fmla="*/ 123716 w 255979"/>
              <a:gd name="connsiteY579" fmla="*/ 199822 h 538211"/>
              <a:gd name="connsiteX580" fmla="*/ 123716 w 255979"/>
              <a:gd name="connsiteY580" fmla="*/ 203811 h 538211"/>
              <a:gd name="connsiteX581" fmla="*/ 117700 w 255979"/>
              <a:gd name="connsiteY581" fmla="*/ 207800 h 538211"/>
              <a:gd name="connsiteX582" fmla="*/ 111684 w 255979"/>
              <a:gd name="connsiteY582" fmla="*/ 215778 h 538211"/>
              <a:gd name="connsiteX583" fmla="*/ 113690 w 255979"/>
              <a:gd name="connsiteY583" fmla="*/ 221762 h 538211"/>
              <a:gd name="connsiteX584" fmla="*/ 117700 w 255979"/>
              <a:gd name="connsiteY584" fmla="*/ 231735 h 538211"/>
              <a:gd name="connsiteX585" fmla="*/ 119705 w 255979"/>
              <a:gd name="connsiteY585" fmla="*/ 235724 h 538211"/>
              <a:gd name="connsiteX586" fmla="*/ 117700 w 255979"/>
              <a:gd name="connsiteY586" fmla="*/ 239713 h 538211"/>
              <a:gd name="connsiteX587" fmla="*/ 111684 w 255979"/>
              <a:gd name="connsiteY587" fmla="*/ 235724 h 538211"/>
              <a:gd name="connsiteX588" fmla="*/ 105669 w 255979"/>
              <a:gd name="connsiteY588" fmla="*/ 237718 h 538211"/>
              <a:gd name="connsiteX589" fmla="*/ 97648 w 255979"/>
              <a:gd name="connsiteY589" fmla="*/ 239713 h 538211"/>
              <a:gd name="connsiteX590" fmla="*/ 95642 w 255979"/>
              <a:gd name="connsiteY590" fmla="*/ 235724 h 538211"/>
              <a:gd name="connsiteX591" fmla="*/ 89626 w 255979"/>
              <a:gd name="connsiteY591" fmla="*/ 233729 h 538211"/>
              <a:gd name="connsiteX592" fmla="*/ 85616 w 255979"/>
              <a:gd name="connsiteY592" fmla="*/ 231735 h 538211"/>
              <a:gd name="connsiteX593" fmla="*/ 85616 w 255979"/>
              <a:gd name="connsiteY593" fmla="*/ 227746 h 538211"/>
              <a:gd name="connsiteX594" fmla="*/ 89626 w 255979"/>
              <a:gd name="connsiteY594" fmla="*/ 225751 h 538211"/>
              <a:gd name="connsiteX595" fmla="*/ 95642 w 255979"/>
              <a:gd name="connsiteY595" fmla="*/ 221762 h 538211"/>
              <a:gd name="connsiteX596" fmla="*/ 95642 w 255979"/>
              <a:gd name="connsiteY596" fmla="*/ 213784 h 538211"/>
              <a:gd name="connsiteX597" fmla="*/ 93637 w 255979"/>
              <a:gd name="connsiteY597" fmla="*/ 209795 h 538211"/>
              <a:gd name="connsiteX598" fmla="*/ 87621 w 255979"/>
              <a:gd name="connsiteY598" fmla="*/ 211789 h 538211"/>
              <a:gd name="connsiteX599" fmla="*/ 83611 w 255979"/>
              <a:gd name="connsiteY599" fmla="*/ 217773 h 538211"/>
              <a:gd name="connsiteX600" fmla="*/ 81605 w 255979"/>
              <a:gd name="connsiteY600" fmla="*/ 219767 h 538211"/>
              <a:gd name="connsiteX601" fmla="*/ 75590 w 255979"/>
              <a:gd name="connsiteY601" fmla="*/ 215778 h 538211"/>
              <a:gd name="connsiteX602" fmla="*/ 71579 w 255979"/>
              <a:gd name="connsiteY602" fmla="*/ 213784 h 538211"/>
              <a:gd name="connsiteX603" fmla="*/ 69574 w 255979"/>
              <a:gd name="connsiteY603" fmla="*/ 203811 h 538211"/>
              <a:gd name="connsiteX604" fmla="*/ 67569 w 255979"/>
              <a:gd name="connsiteY604" fmla="*/ 197827 h 538211"/>
              <a:gd name="connsiteX605" fmla="*/ 61553 w 255979"/>
              <a:gd name="connsiteY605" fmla="*/ 189849 h 538211"/>
              <a:gd name="connsiteX606" fmla="*/ 59548 w 255979"/>
              <a:gd name="connsiteY606" fmla="*/ 183865 h 538211"/>
              <a:gd name="connsiteX607" fmla="*/ 61553 w 255979"/>
              <a:gd name="connsiteY607" fmla="*/ 175887 h 538211"/>
              <a:gd name="connsiteX608" fmla="*/ 61553 w 255979"/>
              <a:gd name="connsiteY608" fmla="*/ 171898 h 538211"/>
              <a:gd name="connsiteX609" fmla="*/ 59548 w 255979"/>
              <a:gd name="connsiteY609" fmla="*/ 167909 h 538211"/>
              <a:gd name="connsiteX610" fmla="*/ 59548 w 255979"/>
              <a:gd name="connsiteY610" fmla="*/ 159931 h 538211"/>
              <a:gd name="connsiteX611" fmla="*/ 61553 w 255979"/>
              <a:gd name="connsiteY611" fmla="*/ 157936 h 538211"/>
              <a:gd name="connsiteX612" fmla="*/ 67569 w 255979"/>
              <a:gd name="connsiteY612" fmla="*/ 157936 h 538211"/>
              <a:gd name="connsiteX613" fmla="*/ 69574 w 255979"/>
              <a:gd name="connsiteY613" fmla="*/ 147964 h 538211"/>
              <a:gd name="connsiteX614" fmla="*/ 65563 w 255979"/>
              <a:gd name="connsiteY614" fmla="*/ 118045 h 538211"/>
              <a:gd name="connsiteX615" fmla="*/ 65563 w 255979"/>
              <a:gd name="connsiteY615" fmla="*/ 100094 h 538211"/>
              <a:gd name="connsiteX616" fmla="*/ 65563 w 255979"/>
              <a:gd name="connsiteY616" fmla="*/ 94111 h 538211"/>
              <a:gd name="connsiteX617" fmla="*/ 73584 w 255979"/>
              <a:gd name="connsiteY617" fmla="*/ 88127 h 538211"/>
              <a:gd name="connsiteX618" fmla="*/ 77595 w 255979"/>
              <a:gd name="connsiteY618" fmla="*/ 88127 h 538211"/>
              <a:gd name="connsiteX619" fmla="*/ 85616 w 255979"/>
              <a:gd name="connsiteY619" fmla="*/ 88127 h 538211"/>
              <a:gd name="connsiteX620" fmla="*/ 91632 w 255979"/>
              <a:gd name="connsiteY620" fmla="*/ 94111 h 538211"/>
              <a:gd name="connsiteX621" fmla="*/ 99653 w 255979"/>
              <a:gd name="connsiteY621" fmla="*/ 94111 h 538211"/>
              <a:gd name="connsiteX622" fmla="*/ 107674 w 255979"/>
              <a:gd name="connsiteY622" fmla="*/ 96105 h 538211"/>
              <a:gd name="connsiteX623" fmla="*/ 113690 w 255979"/>
              <a:gd name="connsiteY623" fmla="*/ 92116 h 538211"/>
              <a:gd name="connsiteX624" fmla="*/ 113690 w 255979"/>
              <a:gd name="connsiteY624" fmla="*/ 86132 h 538211"/>
              <a:gd name="connsiteX625" fmla="*/ 90929 w 255979"/>
              <a:gd name="connsiteY625" fmla="*/ 76101 h 538211"/>
              <a:gd name="connsiteX626" fmla="*/ 93658 w 255979"/>
              <a:gd name="connsiteY626" fmla="*/ 76597 h 538211"/>
              <a:gd name="connsiteX627" fmla="*/ 95642 w 255979"/>
              <a:gd name="connsiteY627" fmla="*/ 80566 h 538211"/>
              <a:gd name="connsiteX628" fmla="*/ 89689 w 255979"/>
              <a:gd name="connsiteY628" fmla="*/ 78581 h 538211"/>
              <a:gd name="connsiteX629" fmla="*/ 90929 w 255979"/>
              <a:gd name="connsiteY629" fmla="*/ 76101 h 538211"/>
              <a:gd name="connsiteX630" fmla="*/ 108739 w 255979"/>
              <a:gd name="connsiteY630" fmla="*/ 71517 h 538211"/>
              <a:gd name="connsiteX631" fmla="*/ 109295 w 255979"/>
              <a:gd name="connsiteY631" fmla="*/ 74295 h 538211"/>
              <a:gd name="connsiteX632" fmla="*/ 102627 w 255979"/>
              <a:gd name="connsiteY632" fmla="*/ 78739 h 538211"/>
              <a:gd name="connsiteX633" fmla="*/ 104849 w 255979"/>
              <a:gd name="connsiteY633" fmla="*/ 72072 h 538211"/>
              <a:gd name="connsiteX634" fmla="*/ 108739 w 255979"/>
              <a:gd name="connsiteY634" fmla="*/ 71517 h 538211"/>
              <a:gd name="connsiteX635" fmla="*/ 91277 w 255979"/>
              <a:gd name="connsiteY635" fmla="*/ 57547 h 538211"/>
              <a:gd name="connsiteX636" fmla="*/ 97230 w 255979"/>
              <a:gd name="connsiteY636" fmla="*/ 59531 h 538211"/>
              <a:gd name="connsiteX637" fmla="*/ 95246 w 255979"/>
              <a:gd name="connsiteY637" fmla="*/ 63500 h 538211"/>
              <a:gd name="connsiteX638" fmla="*/ 91277 w 255979"/>
              <a:gd name="connsiteY638" fmla="*/ 57547 h 538211"/>
              <a:gd name="connsiteX639" fmla="*/ 97230 w 255979"/>
              <a:gd name="connsiteY639" fmla="*/ 31750 h 538211"/>
              <a:gd name="connsiteX640" fmla="*/ 100405 w 255979"/>
              <a:gd name="connsiteY640" fmla="*/ 35983 h 538211"/>
              <a:gd name="connsiteX641" fmla="*/ 95642 w 255979"/>
              <a:gd name="connsiteY641" fmla="*/ 33867 h 538211"/>
              <a:gd name="connsiteX642" fmla="*/ 97230 w 255979"/>
              <a:gd name="connsiteY642" fmla="*/ 31750 h 538211"/>
              <a:gd name="connsiteX643" fmla="*/ 99214 w 255979"/>
              <a:gd name="connsiteY643" fmla="*/ 25797 h 538211"/>
              <a:gd name="connsiteX644" fmla="*/ 103183 w 255979"/>
              <a:gd name="connsiteY644" fmla="*/ 25797 h 538211"/>
              <a:gd name="connsiteX645" fmla="*/ 101198 w 255979"/>
              <a:gd name="connsiteY645" fmla="*/ 29766 h 538211"/>
              <a:gd name="connsiteX646" fmla="*/ 99214 w 255979"/>
              <a:gd name="connsiteY646" fmla="*/ 25797 h 538211"/>
              <a:gd name="connsiteX647" fmla="*/ 98817 w 255979"/>
              <a:gd name="connsiteY647" fmla="*/ 6350 h 538211"/>
              <a:gd name="connsiteX648" fmla="*/ 100404 w 255979"/>
              <a:gd name="connsiteY648" fmla="*/ 8731 h 538211"/>
              <a:gd name="connsiteX649" fmla="*/ 97229 w 255979"/>
              <a:gd name="connsiteY649" fmla="*/ 8731 h 538211"/>
              <a:gd name="connsiteX650" fmla="*/ 98817 w 255979"/>
              <a:gd name="connsiteY650" fmla="*/ 6350 h 538211"/>
              <a:gd name="connsiteX651" fmla="*/ 100404 w 255979"/>
              <a:gd name="connsiteY651" fmla="*/ 0 h 538211"/>
              <a:gd name="connsiteX652" fmla="*/ 100404 w 255979"/>
              <a:gd name="connsiteY652" fmla="*/ 2381 h 538211"/>
              <a:gd name="connsiteX653" fmla="*/ 100404 w 255979"/>
              <a:gd name="connsiteY653" fmla="*/ 0 h 53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Lst>
            <a:rect l="l" t="t" r="r" b="b"/>
            <a:pathLst>
              <a:path w="255979" h="538211">
                <a:moveTo>
                  <a:pt x="226875" y="522818"/>
                </a:moveTo>
                <a:cubicBezTo>
                  <a:pt x="228816" y="520701"/>
                  <a:pt x="230756" y="522818"/>
                  <a:pt x="230756" y="522818"/>
                </a:cubicBezTo>
                <a:cubicBezTo>
                  <a:pt x="230756" y="522818"/>
                  <a:pt x="232696" y="524935"/>
                  <a:pt x="234637" y="524935"/>
                </a:cubicBezTo>
                <a:cubicBezTo>
                  <a:pt x="236577" y="527051"/>
                  <a:pt x="238517" y="531285"/>
                  <a:pt x="238517" y="533401"/>
                </a:cubicBezTo>
                <a:cubicBezTo>
                  <a:pt x="238517" y="535518"/>
                  <a:pt x="236577" y="539751"/>
                  <a:pt x="234637" y="537635"/>
                </a:cubicBezTo>
                <a:cubicBezTo>
                  <a:pt x="232696" y="535518"/>
                  <a:pt x="234637" y="533401"/>
                  <a:pt x="234637" y="531285"/>
                </a:cubicBezTo>
                <a:cubicBezTo>
                  <a:pt x="236577" y="529168"/>
                  <a:pt x="234637" y="529168"/>
                  <a:pt x="234637" y="529168"/>
                </a:cubicBezTo>
                <a:cubicBezTo>
                  <a:pt x="234637" y="529168"/>
                  <a:pt x="230756" y="524935"/>
                  <a:pt x="228816" y="524935"/>
                </a:cubicBezTo>
                <a:cubicBezTo>
                  <a:pt x="226875" y="524935"/>
                  <a:pt x="226875" y="529168"/>
                  <a:pt x="226875" y="529168"/>
                </a:cubicBezTo>
                <a:cubicBezTo>
                  <a:pt x="226875" y="529168"/>
                  <a:pt x="224935" y="535518"/>
                  <a:pt x="222995" y="531285"/>
                </a:cubicBezTo>
                <a:cubicBezTo>
                  <a:pt x="221054" y="529168"/>
                  <a:pt x="222995" y="529168"/>
                  <a:pt x="222995" y="529168"/>
                </a:cubicBezTo>
                <a:cubicBezTo>
                  <a:pt x="222995" y="529168"/>
                  <a:pt x="222995" y="529168"/>
                  <a:pt x="222995" y="524935"/>
                </a:cubicBezTo>
                <a:cubicBezTo>
                  <a:pt x="224935" y="522818"/>
                  <a:pt x="226875" y="522818"/>
                  <a:pt x="226875" y="522818"/>
                </a:cubicBezTo>
                <a:close/>
                <a:moveTo>
                  <a:pt x="70771" y="521607"/>
                </a:moveTo>
                <a:cubicBezTo>
                  <a:pt x="75004" y="517525"/>
                  <a:pt x="75004" y="521607"/>
                  <a:pt x="75004" y="525689"/>
                </a:cubicBezTo>
                <a:cubicBezTo>
                  <a:pt x="75004" y="525689"/>
                  <a:pt x="75004" y="529771"/>
                  <a:pt x="75004" y="529771"/>
                </a:cubicBezTo>
                <a:cubicBezTo>
                  <a:pt x="75004" y="529771"/>
                  <a:pt x="70771" y="531812"/>
                  <a:pt x="70771" y="529771"/>
                </a:cubicBezTo>
                <a:cubicBezTo>
                  <a:pt x="68654" y="529771"/>
                  <a:pt x="68654" y="527730"/>
                  <a:pt x="68654" y="525689"/>
                </a:cubicBezTo>
                <a:cubicBezTo>
                  <a:pt x="68654" y="525689"/>
                  <a:pt x="68654" y="523648"/>
                  <a:pt x="70771" y="521607"/>
                </a:cubicBezTo>
                <a:close/>
                <a:moveTo>
                  <a:pt x="94849" y="511175"/>
                </a:moveTo>
                <a:cubicBezTo>
                  <a:pt x="94849" y="511175"/>
                  <a:pt x="97230" y="511175"/>
                  <a:pt x="97230" y="511175"/>
                </a:cubicBezTo>
                <a:cubicBezTo>
                  <a:pt x="97230" y="512763"/>
                  <a:pt x="97230" y="514350"/>
                  <a:pt x="97230" y="514350"/>
                </a:cubicBezTo>
                <a:cubicBezTo>
                  <a:pt x="97230" y="514350"/>
                  <a:pt x="92467" y="514350"/>
                  <a:pt x="92467" y="514350"/>
                </a:cubicBezTo>
                <a:cubicBezTo>
                  <a:pt x="92467" y="512763"/>
                  <a:pt x="94849" y="511175"/>
                  <a:pt x="94849" y="511175"/>
                </a:cubicBezTo>
                <a:close/>
                <a:moveTo>
                  <a:pt x="100934" y="505355"/>
                </a:moveTo>
                <a:cubicBezTo>
                  <a:pt x="100934" y="505355"/>
                  <a:pt x="100934" y="503238"/>
                  <a:pt x="103051" y="505355"/>
                </a:cubicBezTo>
                <a:cubicBezTo>
                  <a:pt x="105167" y="505355"/>
                  <a:pt x="105167" y="505355"/>
                  <a:pt x="105167" y="507472"/>
                </a:cubicBezTo>
                <a:cubicBezTo>
                  <a:pt x="105167" y="507472"/>
                  <a:pt x="105167" y="509588"/>
                  <a:pt x="105167" y="509588"/>
                </a:cubicBezTo>
                <a:cubicBezTo>
                  <a:pt x="105167" y="509588"/>
                  <a:pt x="100934" y="509588"/>
                  <a:pt x="100934" y="509588"/>
                </a:cubicBezTo>
                <a:cubicBezTo>
                  <a:pt x="100934" y="507472"/>
                  <a:pt x="98817" y="505355"/>
                  <a:pt x="100934" y="505355"/>
                </a:cubicBezTo>
                <a:close/>
                <a:moveTo>
                  <a:pt x="91409" y="503465"/>
                </a:moveTo>
                <a:cubicBezTo>
                  <a:pt x="91409" y="503465"/>
                  <a:pt x="95290" y="501650"/>
                  <a:pt x="95290" y="503465"/>
                </a:cubicBezTo>
                <a:cubicBezTo>
                  <a:pt x="97230" y="505279"/>
                  <a:pt x="95290" y="508907"/>
                  <a:pt x="93350" y="508907"/>
                </a:cubicBezTo>
                <a:cubicBezTo>
                  <a:pt x="93350" y="508907"/>
                  <a:pt x="89469" y="510722"/>
                  <a:pt x="89469" y="510722"/>
                </a:cubicBezTo>
                <a:cubicBezTo>
                  <a:pt x="89469" y="510722"/>
                  <a:pt x="87529" y="512536"/>
                  <a:pt x="87529" y="512536"/>
                </a:cubicBezTo>
                <a:cubicBezTo>
                  <a:pt x="87529" y="512536"/>
                  <a:pt x="85588" y="514350"/>
                  <a:pt x="83648" y="514350"/>
                </a:cubicBezTo>
                <a:cubicBezTo>
                  <a:pt x="81708" y="514350"/>
                  <a:pt x="79767" y="514350"/>
                  <a:pt x="79767" y="512536"/>
                </a:cubicBezTo>
                <a:cubicBezTo>
                  <a:pt x="79767" y="510722"/>
                  <a:pt x="83648" y="508907"/>
                  <a:pt x="85588" y="507093"/>
                </a:cubicBezTo>
                <a:cubicBezTo>
                  <a:pt x="85588" y="505279"/>
                  <a:pt x="89469" y="503465"/>
                  <a:pt x="91409" y="503465"/>
                </a:cubicBezTo>
                <a:close/>
                <a:moveTo>
                  <a:pt x="105167" y="498475"/>
                </a:moveTo>
                <a:cubicBezTo>
                  <a:pt x="105167" y="498475"/>
                  <a:pt x="106755" y="498475"/>
                  <a:pt x="106755" y="500592"/>
                </a:cubicBezTo>
                <a:cubicBezTo>
                  <a:pt x="108342" y="500592"/>
                  <a:pt x="106755" y="502709"/>
                  <a:pt x="106755" y="502709"/>
                </a:cubicBezTo>
                <a:cubicBezTo>
                  <a:pt x="106755" y="502709"/>
                  <a:pt x="105167" y="504825"/>
                  <a:pt x="103579" y="502709"/>
                </a:cubicBezTo>
                <a:cubicBezTo>
                  <a:pt x="103579" y="502709"/>
                  <a:pt x="105167" y="498475"/>
                  <a:pt x="105167" y="498475"/>
                </a:cubicBezTo>
                <a:close/>
                <a:moveTo>
                  <a:pt x="110837" y="483130"/>
                </a:moveTo>
                <a:cubicBezTo>
                  <a:pt x="112878" y="483130"/>
                  <a:pt x="116960" y="485247"/>
                  <a:pt x="116960" y="485247"/>
                </a:cubicBezTo>
                <a:cubicBezTo>
                  <a:pt x="119001" y="485247"/>
                  <a:pt x="121042" y="487363"/>
                  <a:pt x="121042" y="487363"/>
                </a:cubicBezTo>
                <a:cubicBezTo>
                  <a:pt x="121042" y="489480"/>
                  <a:pt x="119001" y="491597"/>
                  <a:pt x="119001" y="491597"/>
                </a:cubicBezTo>
                <a:cubicBezTo>
                  <a:pt x="119001" y="493713"/>
                  <a:pt x="114919" y="493713"/>
                  <a:pt x="114919" y="493713"/>
                </a:cubicBezTo>
                <a:cubicBezTo>
                  <a:pt x="112878" y="491597"/>
                  <a:pt x="112878" y="489480"/>
                  <a:pt x="112878" y="489480"/>
                </a:cubicBezTo>
                <a:cubicBezTo>
                  <a:pt x="112878" y="489480"/>
                  <a:pt x="110837" y="489480"/>
                  <a:pt x="108795" y="487363"/>
                </a:cubicBezTo>
                <a:cubicBezTo>
                  <a:pt x="108795" y="487363"/>
                  <a:pt x="106754" y="487363"/>
                  <a:pt x="106754" y="485247"/>
                </a:cubicBezTo>
                <a:cubicBezTo>
                  <a:pt x="108795" y="483130"/>
                  <a:pt x="110837" y="481013"/>
                  <a:pt x="110837" y="483130"/>
                </a:cubicBezTo>
                <a:close/>
                <a:moveTo>
                  <a:pt x="97230" y="475192"/>
                </a:moveTo>
                <a:cubicBezTo>
                  <a:pt x="97230" y="475192"/>
                  <a:pt x="98818" y="473075"/>
                  <a:pt x="98818" y="475192"/>
                </a:cubicBezTo>
                <a:cubicBezTo>
                  <a:pt x="100405" y="475192"/>
                  <a:pt x="100405" y="477309"/>
                  <a:pt x="100405" y="477309"/>
                </a:cubicBezTo>
                <a:cubicBezTo>
                  <a:pt x="100405" y="477309"/>
                  <a:pt x="97230" y="479425"/>
                  <a:pt x="97230" y="477309"/>
                </a:cubicBezTo>
                <a:cubicBezTo>
                  <a:pt x="95642" y="477309"/>
                  <a:pt x="95642" y="475192"/>
                  <a:pt x="97230" y="475192"/>
                </a:cubicBezTo>
                <a:close/>
                <a:moveTo>
                  <a:pt x="109136" y="473075"/>
                </a:moveTo>
                <a:cubicBezTo>
                  <a:pt x="113105" y="473075"/>
                  <a:pt x="109136" y="479425"/>
                  <a:pt x="107152" y="477309"/>
                </a:cubicBezTo>
                <a:cubicBezTo>
                  <a:pt x="105167" y="477309"/>
                  <a:pt x="105167" y="475192"/>
                  <a:pt x="105167" y="475192"/>
                </a:cubicBezTo>
                <a:cubicBezTo>
                  <a:pt x="107152" y="475192"/>
                  <a:pt x="107152" y="473075"/>
                  <a:pt x="109136" y="473075"/>
                </a:cubicBezTo>
                <a:close/>
                <a:moveTo>
                  <a:pt x="100404" y="471488"/>
                </a:moveTo>
                <a:cubicBezTo>
                  <a:pt x="100404" y="471488"/>
                  <a:pt x="103579" y="471488"/>
                  <a:pt x="103579" y="471488"/>
                </a:cubicBezTo>
                <a:cubicBezTo>
                  <a:pt x="103579" y="471488"/>
                  <a:pt x="103579" y="473075"/>
                  <a:pt x="103579" y="473075"/>
                </a:cubicBezTo>
                <a:cubicBezTo>
                  <a:pt x="103579" y="473075"/>
                  <a:pt x="100404" y="473075"/>
                  <a:pt x="100404" y="473075"/>
                </a:cubicBezTo>
                <a:cubicBezTo>
                  <a:pt x="100404" y="471488"/>
                  <a:pt x="100404" y="471488"/>
                  <a:pt x="100404" y="471488"/>
                </a:cubicBezTo>
                <a:close/>
                <a:moveTo>
                  <a:pt x="136599" y="463550"/>
                </a:moveTo>
                <a:cubicBezTo>
                  <a:pt x="138504" y="463550"/>
                  <a:pt x="138504" y="467519"/>
                  <a:pt x="138504" y="469503"/>
                </a:cubicBezTo>
                <a:cubicBezTo>
                  <a:pt x="138504" y="471488"/>
                  <a:pt x="138504" y="471488"/>
                  <a:pt x="138504" y="473472"/>
                </a:cubicBezTo>
                <a:cubicBezTo>
                  <a:pt x="138504" y="475456"/>
                  <a:pt x="138504" y="477441"/>
                  <a:pt x="136599" y="479425"/>
                </a:cubicBezTo>
                <a:cubicBezTo>
                  <a:pt x="136599" y="479425"/>
                  <a:pt x="134694" y="479425"/>
                  <a:pt x="134694" y="479425"/>
                </a:cubicBezTo>
                <a:cubicBezTo>
                  <a:pt x="134694" y="479425"/>
                  <a:pt x="132789" y="479425"/>
                  <a:pt x="132789" y="477441"/>
                </a:cubicBezTo>
                <a:cubicBezTo>
                  <a:pt x="132789" y="475456"/>
                  <a:pt x="134694" y="471488"/>
                  <a:pt x="132789" y="471488"/>
                </a:cubicBezTo>
                <a:cubicBezTo>
                  <a:pt x="132789" y="471488"/>
                  <a:pt x="128979" y="471488"/>
                  <a:pt x="128979" y="471488"/>
                </a:cubicBezTo>
                <a:cubicBezTo>
                  <a:pt x="128979" y="469503"/>
                  <a:pt x="128979" y="465535"/>
                  <a:pt x="130884" y="465535"/>
                </a:cubicBezTo>
                <a:cubicBezTo>
                  <a:pt x="130884" y="463550"/>
                  <a:pt x="132789" y="463550"/>
                  <a:pt x="136599" y="463550"/>
                </a:cubicBezTo>
                <a:close/>
                <a:moveTo>
                  <a:pt x="38889" y="451380"/>
                </a:moveTo>
                <a:cubicBezTo>
                  <a:pt x="38889" y="451380"/>
                  <a:pt x="38889" y="449263"/>
                  <a:pt x="42858" y="451380"/>
                </a:cubicBezTo>
                <a:cubicBezTo>
                  <a:pt x="44842" y="451380"/>
                  <a:pt x="44842" y="453497"/>
                  <a:pt x="44842" y="453497"/>
                </a:cubicBezTo>
                <a:cubicBezTo>
                  <a:pt x="42858" y="453497"/>
                  <a:pt x="42858" y="455613"/>
                  <a:pt x="42858" y="455613"/>
                </a:cubicBezTo>
                <a:cubicBezTo>
                  <a:pt x="42858" y="455613"/>
                  <a:pt x="38889" y="455613"/>
                  <a:pt x="36904" y="455613"/>
                </a:cubicBezTo>
                <a:cubicBezTo>
                  <a:pt x="36904" y="453497"/>
                  <a:pt x="36904" y="451380"/>
                  <a:pt x="38889" y="451380"/>
                </a:cubicBezTo>
                <a:close/>
                <a:moveTo>
                  <a:pt x="4928" y="441722"/>
                </a:moveTo>
                <a:cubicBezTo>
                  <a:pt x="9010" y="441722"/>
                  <a:pt x="11051" y="439738"/>
                  <a:pt x="13092" y="441722"/>
                </a:cubicBezTo>
                <a:cubicBezTo>
                  <a:pt x="13092" y="441722"/>
                  <a:pt x="9010" y="447675"/>
                  <a:pt x="6969" y="445691"/>
                </a:cubicBezTo>
                <a:cubicBezTo>
                  <a:pt x="4928" y="445691"/>
                  <a:pt x="2887" y="445691"/>
                  <a:pt x="2887" y="445691"/>
                </a:cubicBezTo>
                <a:cubicBezTo>
                  <a:pt x="845" y="443707"/>
                  <a:pt x="-1196" y="443707"/>
                  <a:pt x="845" y="443707"/>
                </a:cubicBezTo>
                <a:cubicBezTo>
                  <a:pt x="2887" y="441722"/>
                  <a:pt x="2887" y="441722"/>
                  <a:pt x="4928" y="441722"/>
                </a:cubicBezTo>
                <a:close/>
                <a:moveTo>
                  <a:pt x="61246" y="415925"/>
                </a:moveTo>
                <a:cubicBezTo>
                  <a:pt x="63363" y="415925"/>
                  <a:pt x="63363" y="415925"/>
                  <a:pt x="63363" y="415925"/>
                </a:cubicBezTo>
                <a:cubicBezTo>
                  <a:pt x="65479" y="415925"/>
                  <a:pt x="65479" y="415925"/>
                  <a:pt x="65479" y="417512"/>
                </a:cubicBezTo>
                <a:cubicBezTo>
                  <a:pt x="65479" y="417512"/>
                  <a:pt x="65479" y="419100"/>
                  <a:pt x="63363" y="419100"/>
                </a:cubicBezTo>
                <a:cubicBezTo>
                  <a:pt x="63363" y="420687"/>
                  <a:pt x="61246" y="419100"/>
                  <a:pt x="61246" y="419100"/>
                </a:cubicBezTo>
                <a:cubicBezTo>
                  <a:pt x="61246" y="419100"/>
                  <a:pt x="59129" y="417512"/>
                  <a:pt x="61246" y="415925"/>
                </a:cubicBezTo>
                <a:close/>
                <a:moveTo>
                  <a:pt x="73417" y="393700"/>
                </a:moveTo>
                <a:cubicBezTo>
                  <a:pt x="75005" y="393700"/>
                  <a:pt x="75005" y="393700"/>
                  <a:pt x="75005" y="393700"/>
                </a:cubicBezTo>
                <a:cubicBezTo>
                  <a:pt x="76592" y="393700"/>
                  <a:pt x="76592" y="393700"/>
                  <a:pt x="76592" y="395817"/>
                </a:cubicBezTo>
                <a:cubicBezTo>
                  <a:pt x="76592" y="395817"/>
                  <a:pt x="76592" y="397933"/>
                  <a:pt x="75005" y="397933"/>
                </a:cubicBezTo>
                <a:cubicBezTo>
                  <a:pt x="75005" y="400050"/>
                  <a:pt x="73417" y="397933"/>
                  <a:pt x="73417" y="397933"/>
                </a:cubicBezTo>
                <a:cubicBezTo>
                  <a:pt x="73417" y="397933"/>
                  <a:pt x="73417" y="395817"/>
                  <a:pt x="73417" y="395817"/>
                </a:cubicBezTo>
                <a:cubicBezTo>
                  <a:pt x="73417" y="395817"/>
                  <a:pt x="71829" y="395817"/>
                  <a:pt x="73417" y="393700"/>
                </a:cubicBezTo>
                <a:close/>
                <a:moveTo>
                  <a:pt x="172371" y="377825"/>
                </a:moveTo>
                <a:cubicBezTo>
                  <a:pt x="172371" y="377825"/>
                  <a:pt x="174488" y="377825"/>
                  <a:pt x="176604" y="377825"/>
                </a:cubicBezTo>
                <a:cubicBezTo>
                  <a:pt x="176604" y="379809"/>
                  <a:pt x="176604" y="381794"/>
                  <a:pt x="176604" y="381794"/>
                </a:cubicBezTo>
                <a:cubicBezTo>
                  <a:pt x="176604" y="383778"/>
                  <a:pt x="172371" y="385762"/>
                  <a:pt x="172371" y="383778"/>
                </a:cubicBezTo>
                <a:cubicBezTo>
                  <a:pt x="172371" y="383778"/>
                  <a:pt x="170254" y="381794"/>
                  <a:pt x="170254" y="379809"/>
                </a:cubicBezTo>
                <a:cubicBezTo>
                  <a:pt x="172371" y="379809"/>
                  <a:pt x="172371" y="377825"/>
                  <a:pt x="172371" y="377825"/>
                </a:cubicBezTo>
                <a:close/>
                <a:moveTo>
                  <a:pt x="99611" y="377825"/>
                </a:moveTo>
                <a:cubicBezTo>
                  <a:pt x="99611" y="377825"/>
                  <a:pt x="103580" y="379809"/>
                  <a:pt x="103580" y="381794"/>
                </a:cubicBezTo>
                <a:cubicBezTo>
                  <a:pt x="103580" y="381794"/>
                  <a:pt x="101596" y="383778"/>
                  <a:pt x="101596" y="383778"/>
                </a:cubicBezTo>
                <a:cubicBezTo>
                  <a:pt x="101596" y="383778"/>
                  <a:pt x="99611" y="383778"/>
                  <a:pt x="99611" y="383778"/>
                </a:cubicBezTo>
                <a:cubicBezTo>
                  <a:pt x="99611" y="383778"/>
                  <a:pt x="97627" y="385762"/>
                  <a:pt x="97627" y="383778"/>
                </a:cubicBezTo>
                <a:cubicBezTo>
                  <a:pt x="95642" y="381794"/>
                  <a:pt x="97627" y="379809"/>
                  <a:pt x="97627" y="379809"/>
                </a:cubicBezTo>
                <a:cubicBezTo>
                  <a:pt x="97627" y="377825"/>
                  <a:pt x="97627" y="377825"/>
                  <a:pt x="99611" y="377825"/>
                </a:cubicBezTo>
                <a:close/>
                <a:moveTo>
                  <a:pt x="220378" y="366713"/>
                </a:moveTo>
                <a:cubicBezTo>
                  <a:pt x="220378" y="366713"/>
                  <a:pt x="224333" y="366713"/>
                  <a:pt x="224333" y="368716"/>
                </a:cubicBezTo>
                <a:cubicBezTo>
                  <a:pt x="226311" y="370719"/>
                  <a:pt x="226311" y="372721"/>
                  <a:pt x="228289" y="372721"/>
                </a:cubicBezTo>
                <a:cubicBezTo>
                  <a:pt x="230267" y="372721"/>
                  <a:pt x="230267" y="376727"/>
                  <a:pt x="232245" y="376727"/>
                </a:cubicBezTo>
                <a:cubicBezTo>
                  <a:pt x="234223" y="378729"/>
                  <a:pt x="234223" y="378729"/>
                  <a:pt x="236201" y="378729"/>
                </a:cubicBezTo>
                <a:cubicBezTo>
                  <a:pt x="238178" y="376727"/>
                  <a:pt x="240156" y="376727"/>
                  <a:pt x="242134" y="376727"/>
                </a:cubicBezTo>
                <a:cubicBezTo>
                  <a:pt x="244112" y="378729"/>
                  <a:pt x="244112" y="380732"/>
                  <a:pt x="244112" y="382735"/>
                </a:cubicBezTo>
                <a:cubicBezTo>
                  <a:pt x="244112" y="384737"/>
                  <a:pt x="244112" y="386740"/>
                  <a:pt x="244112" y="388743"/>
                </a:cubicBezTo>
                <a:cubicBezTo>
                  <a:pt x="244112" y="390745"/>
                  <a:pt x="246090" y="392748"/>
                  <a:pt x="244112" y="394751"/>
                </a:cubicBezTo>
                <a:cubicBezTo>
                  <a:pt x="244112" y="396754"/>
                  <a:pt x="242134" y="398756"/>
                  <a:pt x="242134" y="398756"/>
                </a:cubicBezTo>
                <a:cubicBezTo>
                  <a:pt x="242134" y="400759"/>
                  <a:pt x="240156" y="400759"/>
                  <a:pt x="244112" y="402762"/>
                </a:cubicBezTo>
                <a:cubicBezTo>
                  <a:pt x="244112" y="404764"/>
                  <a:pt x="246090" y="404764"/>
                  <a:pt x="248068" y="406767"/>
                </a:cubicBezTo>
                <a:cubicBezTo>
                  <a:pt x="248068" y="408770"/>
                  <a:pt x="248068" y="410772"/>
                  <a:pt x="248068" y="412775"/>
                </a:cubicBezTo>
                <a:cubicBezTo>
                  <a:pt x="248068" y="412775"/>
                  <a:pt x="248068" y="420786"/>
                  <a:pt x="248068" y="422789"/>
                </a:cubicBezTo>
                <a:cubicBezTo>
                  <a:pt x="250046" y="424791"/>
                  <a:pt x="250046" y="426794"/>
                  <a:pt x="252024" y="426794"/>
                </a:cubicBezTo>
                <a:cubicBezTo>
                  <a:pt x="252024" y="428797"/>
                  <a:pt x="254001" y="430799"/>
                  <a:pt x="254001" y="432802"/>
                </a:cubicBezTo>
                <a:cubicBezTo>
                  <a:pt x="254001" y="432802"/>
                  <a:pt x="254001" y="436807"/>
                  <a:pt x="254001" y="438810"/>
                </a:cubicBezTo>
                <a:cubicBezTo>
                  <a:pt x="254001" y="440813"/>
                  <a:pt x="255979" y="442816"/>
                  <a:pt x="255979" y="444818"/>
                </a:cubicBezTo>
                <a:cubicBezTo>
                  <a:pt x="255979" y="446821"/>
                  <a:pt x="255979" y="448824"/>
                  <a:pt x="255979" y="450826"/>
                </a:cubicBezTo>
                <a:cubicBezTo>
                  <a:pt x="254001" y="450826"/>
                  <a:pt x="254001" y="450826"/>
                  <a:pt x="252024" y="450826"/>
                </a:cubicBezTo>
                <a:cubicBezTo>
                  <a:pt x="252024" y="450826"/>
                  <a:pt x="250046" y="452829"/>
                  <a:pt x="250046" y="452829"/>
                </a:cubicBezTo>
                <a:cubicBezTo>
                  <a:pt x="248068" y="452829"/>
                  <a:pt x="248068" y="454832"/>
                  <a:pt x="248068" y="456834"/>
                </a:cubicBezTo>
                <a:cubicBezTo>
                  <a:pt x="248068" y="456834"/>
                  <a:pt x="244112" y="466848"/>
                  <a:pt x="244112" y="468851"/>
                </a:cubicBezTo>
                <a:cubicBezTo>
                  <a:pt x="244112" y="470853"/>
                  <a:pt x="242134" y="474859"/>
                  <a:pt x="242134" y="474859"/>
                </a:cubicBezTo>
                <a:cubicBezTo>
                  <a:pt x="240156" y="474859"/>
                  <a:pt x="240156" y="470853"/>
                  <a:pt x="240156" y="468851"/>
                </a:cubicBezTo>
                <a:cubicBezTo>
                  <a:pt x="240156" y="468851"/>
                  <a:pt x="240156" y="464845"/>
                  <a:pt x="240156" y="462842"/>
                </a:cubicBezTo>
                <a:cubicBezTo>
                  <a:pt x="240156" y="460840"/>
                  <a:pt x="240156" y="458837"/>
                  <a:pt x="238178" y="456834"/>
                </a:cubicBezTo>
                <a:cubicBezTo>
                  <a:pt x="236201" y="452829"/>
                  <a:pt x="236201" y="444818"/>
                  <a:pt x="236201" y="442816"/>
                </a:cubicBezTo>
                <a:cubicBezTo>
                  <a:pt x="234223" y="442816"/>
                  <a:pt x="232245" y="440813"/>
                  <a:pt x="232245" y="438810"/>
                </a:cubicBezTo>
                <a:cubicBezTo>
                  <a:pt x="230267" y="438810"/>
                  <a:pt x="230267" y="436807"/>
                  <a:pt x="228289" y="438810"/>
                </a:cubicBezTo>
                <a:cubicBezTo>
                  <a:pt x="228289" y="440813"/>
                  <a:pt x="230267" y="442816"/>
                  <a:pt x="228289" y="444818"/>
                </a:cubicBezTo>
                <a:cubicBezTo>
                  <a:pt x="228289" y="444818"/>
                  <a:pt x="226311" y="444818"/>
                  <a:pt x="226311" y="446821"/>
                </a:cubicBezTo>
                <a:cubicBezTo>
                  <a:pt x="226311" y="450826"/>
                  <a:pt x="228289" y="450826"/>
                  <a:pt x="228289" y="452829"/>
                </a:cubicBezTo>
                <a:cubicBezTo>
                  <a:pt x="226311" y="452829"/>
                  <a:pt x="222355" y="454832"/>
                  <a:pt x="224333" y="458837"/>
                </a:cubicBezTo>
                <a:cubicBezTo>
                  <a:pt x="224333" y="460840"/>
                  <a:pt x="226311" y="462842"/>
                  <a:pt x="226311" y="462842"/>
                </a:cubicBezTo>
                <a:cubicBezTo>
                  <a:pt x="228289" y="462842"/>
                  <a:pt x="230267" y="466848"/>
                  <a:pt x="232245" y="468851"/>
                </a:cubicBezTo>
                <a:cubicBezTo>
                  <a:pt x="232245" y="470853"/>
                  <a:pt x="232245" y="470853"/>
                  <a:pt x="232245" y="472856"/>
                </a:cubicBezTo>
                <a:cubicBezTo>
                  <a:pt x="232245" y="474859"/>
                  <a:pt x="234223" y="478864"/>
                  <a:pt x="234223" y="478864"/>
                </a:cubicBezTo>
                <a:cubicBezTo>
                  <a:pt x="234223" y="480867"/>
                  <a:pt x="234223" y="482869"/>
                  <a:pt x="234223" y="484872"/>
                </a:cubicBezTo>
                <a:cubicBezTo>
                  <a:pt x="234223" y="486875"/>
                  <a:pt x="232245" y="488877"/>
                  <a:pt x="232245" y="490880"/>
                </a:cubicBezTo>
                <a:cubicBezTo>
                  <a:pt x="230267" y="490880"/>
                  <a:pt x="228289" y="496888"/>
                  <a:pt x="226311" y="496888"/>
                </a:cubicBezTo>
                <a:cubicBezTo>
                  <a:pt x="224333" y="496888"/>
                  <a:pt x="220378" y="496888"/>
                  <a:pt x="220378" y="494886"/>
                </a:cubicBezTo>
                <a:cubicBezTo>
                  <a:pt x="220378" y="492883"/>
                  <a:pt x="220378" y="490880"/>
                  <a:pt x="222355" y="490880"/>
                </a:cubicBezTo>
                <a:cubicBezTo>
                  <a:pt x="222355" y="488877"/>
                  <a:pt x="222355" y="486875"/>
                  <a:pt x="222355" y="484872"/>
                </a:cubicBezTo>
                <a:cubicBezTo>
                  <a:pt x="222355" y="484872"/>
                  <a:pt x="222355" y="480867"/>
                  <a:pt x="222355" y="480867"/>
                </a:cubicBezTo>
                <a:cubicBezTo>
                  <a:pt x="220378" y="480867"/>
                  <a:pt x="218400" y="478864"/>
                  <a:pt x="216422" y="480867"/>
                </a:cubicBezTo>
                <a:cubicBezTo>
                  <a:pt x="216422" y="482869"/>
                  <a:pt x="216422" y="484872"/>
                  <a:pt x="216422" y="486875"/>
                </a:cubicBezTo>
                <a:cubicBezTo>
                  <a:pt x="214444" y="488877"/>
                  <a:pt x="212466" y="490880"/>
                  <a:pt x="210488" y="490880"/>
                </a:cubicBezTo>
                <a:cubicBezTo>
                  <a:pt x="208510" y="488877"/>
                  <a:pt x="202577" y="486875"/>
                  <a:pt x="200599" y="486875"/>
                </a:cubicBezTo>
                <a:cubicBezTo>
                  <a:pt x="198621" y="486875"/>
                  <a:pt x="196643" y="486875"/>
                  <a:pt x="196643" y="484872"/>
                </a:cubicBezTo>
                <a:cubicBezTo>
                  <a:pt x="194665" y="482869"/>
                  <a:pt x="192687" y="478864"/>
                  <a:pt x="190710" y="478864"/>
                </a:cubicBezTo>
                <a:cubicBezTo>
                  <a:pt x="190710" y="476861"/>
                  <a:pt x="188732" y="472856"/>
                  <a:pt x="188732" y="470853"/>
                </a:cubicBezTo>
                <a:cubicBezTo>
                  <a:pt x="188732" y="470853"/>
                  <a:pt x="188732" y="466848"/>
                  <a:pt x="188732" y="464845"/>
                </a:cubicBezTo>
                <a:cubicBezTo>
                  <a:pt x="188732" y="462842"/>
                  <a:pt x="186754" y="460840"/>
                  <a:pt x="184776" y="458837"/>
                </a:cubicBezTo>
                <a:cubicBezTo>
                  <a:pt x="184776" y="456834"/>
                  <a:pt x="184776" y="452829"/>
                  <a:pt x="184776" y="448824"/>
                </a:cubicBezTo>
                <a:cubicBezTo>
                  <a:pt x="184776" y="446821"/>
                  <a:pt x="188732" y="444818"/>
                  <a:pt x="190710" y="444818"/>
                </a:cubicBezTo>
                <a:cubicBezTo>
                  <a:pt x="190710" y="444818"/>
                  <a:pt x="192687" y="444818"/>
                  <a:pt x="192687" y="442816"/>
                </a:cubicBezTo>
                <a:cubicBezTo>
                  <a:pt x="192687" y="440813"/>
                  <a:pt x="192687" y="438810"/>
                  <a:pt x="194665" y="438810"/>
                </a:cubicBezTo>
                <a:cubicBezTo>
                  <a:pt x="194665" y="436807"/>
                  <a:pt x="196643" y="434805"/>
                  <a:pt x="194665" y="432802"/>
                </a:cubicBezTo>
                <a:cubicBezTo>
                  <a:pt x="194665" y="432802"/>
                  <a:pt x="192687" y="432802"/>
                  <a:pt x="190710" y="432802"/>
                </a:cubicBezTo>
                <a:cubicBezTo>
                  <a:pt x="190710" y="430799"/>
                  <a:pt x="180820" y="428797"/>
                  <a:pt x="180820" y="428797"/>
                </a:cubicBezTo>
                <a:cubicBezTo>
                  <a:pt x="180820" y="428797"/>
                  <a:pt x="176864" y="426794"/>
                  <a:pt x="172909" y="426794"/>
                </a:cubicBezTo>
                <a:cubicBezTo>
                  <a:pt x="170931" y="426794"/>
                  <a:pt x="170931" y="426794"/>
                  <a:pt x="170931" y="428797"/>
                </a:cubicBezTo>
                <a:cubicBezTo>
                  <a:pt x="170931" y="430799"/>
                  <a:pt x="168953" y="432802"/>
                  <a:pt x="168953" y="432802"/>
                </a:cubicBezTo>
                <a:cubicBezTo>
                  <a:pt x="168953" y="434805"/>
                  <a:pt x="168953" y="440813"/>
                  <a:pt x="168953" y="440813"/>
                </a:cubicBezTo>
                <a:cubicBezTo>
                  <a:pt x="166975" y="440813"/>
                  <a:pt x="164997" y="440813"/>
                  <a:pt x="164997" y="438810"/>
                </a:cubicBezTo>
                <a:cubicBezTo>
                  <a:pt x="164997" y="436807"/>
                  <a:pt x="164997" y="432802"/>
                  <a:pt x="163019" y="430799"/>
                </a:cubicBezTo>
                <a:cubicBezTo>
                  <a:pt x="163019" y="430799"/>
                  <a:pt x="161042" y="430799"/>
                  <a:pt x="159064" y="430799"/>
                </a:cubicBezTo>
                <a:cubicBezTo>
                  <a:pt x="157086" y="432802"/>
                  <a:pt x="157086" y="434805"/>
                  <a:pt x="157086" y="436807"/>
                </a:cubicBezTo>
                <a:cubicBezTo>
                  <a:pt x="157086" y="436807"/>
                  <a:pt x="155108" y="440813"/>
                  <a:pt x="153130" y="438810"/>
                </a:cubicBezTo>
                <a:cubicBezTo>
                  <a:pt x="153130" y="436807"/>
                  <a:pt x="153130" y="434805"/>
                  <a:pt x="153130" y="432802"/>
                </a:cubicBezTo>
                <a:cubicBezTo>
                  <a:pt x="153130" y="432802"/>
                  <a:pt x="153130" y="430799"/>
                  <a:pt x="153130" y="430799"/>
                </a:cubicBezTo>
                <a:cubicBezTo>
                  <a:pt x="153130" y="428797"/>
                  <a:pt x="151152" y="426794"/>
                  <a:pt x="149174" y="428797"/>
                </a:cubicBezTo>
                <a:cubicBezTo>
                  <a:pt x="147196" y="428797"/>
                  <a:pt x="147196" y="432802"/>
                  <a:pt x="147196" y="434805"/>
                </a:cubicBezTo>
                <a:cubicBezTo>
                  <a:pt x="147196" y="436807"/>
                  <a:pt x="145219" y="440813"/>
                  <a:pt x="145219" y="440813"/>
                </a:cubicBezTo>
                <a:cubicBezTo>
                  <a:pt x="145219" y="440813"/>
                  <a:pt x="141263" y="444818"/>
                  <a:pt x="141263" y="444818"/>
                </a:cubicBezTo>
                <a:cubicBezTo>
                  <a:pt x="135329" y="448824"/>
                  <a:pt x="135329" y="440813"/>
                  <a:pt x="135329" y="436807"/>
                </a:cubicBezTo>
                <a:cubicBezTo>
                  <a:pt x="135329" y="434805"/>
                  <a:pt x="135329" y="428797"/>
                  <a:pt x="135329" y="426794"/>
                </a:cubicBezTo>
                <a:cubicBezTo>
                  <a:pt x="137307" y="426794"/>
                  <a:pt x="139285" y="424791"/>
                  <a:pt x="139285" y="424791"/>
                </a:cubicBezTo>
                <a:cubicBezTo>
                  <a:pt x="139285" y="422789"/>
                  <a:pt x="141263" y="416780"/>
                  <a:pt x="143241" y="414778"/>
                </a:cubicBezTo>
                <a:cubicBezTo>
                  <a:pt x="145219" y="412775"/>
                  <a:pt x="149174" y="408770"/>
                  <a:pt x="151152" y="408770"/>
                </a:cubicBezTo>
                <a:cubicBezTo>
                  <a:pt x="153130" y="408770"/>
                  <a:pt x="159064" y="406767"/>
                  <a:pt x="161042" y="406767"/>
                </a:cubicBezTo>
                <a:cubicBezTo>
                  <a:pt x="163019" y="406767"/>
                  <a:pt x="163019" y="404764"/>
                  <a:pt x="163019" y="402762"/>
                </a:cubicBezTo>
                <a:cubicBezTo>
                  <a:pt x="161042" y="400759"/>
                  <a:pt x="163019" y="398756"/>
                  <a:pt x="164997" y="398756"/>
                </a:cubicBezTo>
                <a:cubicBezTo>
                  <a:pt x="166975" y="398756"/>
                  <a:pt x="170931" y="398756"/>
                  <a:pt x="172909" y="398756"/>
                </a:cubicBezTo>
                <a:cubicBezTo>
                  <a:pt x="172909" y="398756"/>
                  <a:pt x="174887" y="402762"/>
                  <a:pt x="176864" y="404764"/>
                </a:cubicBezTo>
                <a:cubicBezTo>
                  <a:pt x="176864" y="404764"/>
                  <a:pt x="178842" y="408770"/>
                  <a:pt x="180820" y="410772"/>
                </a:cubicBezTo>
                <a:cubicBezTo>
                  <a:pt x="180820" y="410772"/>
                  <a:pt x="184776" y="414778"/>
                  <a:pt x="186754" y="414778"/>
                </a:cubicBezTo>
                <a:cubicBezTo>
                  <a:pt x="188732" y="412775"/>
                  <a:pt x="188732" y="410772"/>
                  <a:pt x="190710" y="410772"/>
                </a:cubicBezTo>
                <a:cubicBezTo>
                  <a:pt x="190710" y="410772"/>
                  <a:pt x="188732" y="406767"/>
                  <a:pt x="188732" y="404764"/>
                </a:cubicBezTo>
                <a:cubicBezTo>
                  <a:pt x="188732" y="402762"/>
                  <a:pt x="190710" y="400759"/>
                  <a:pt x="190710" y="400759"/>
                </a:cubicBezTo>
                <a:cubicBezTo>
                  <a:pt x="192687" y="400759"/>
                  <a:pt x="194665" y="402762"/>
                  <a:pt x="196643" y="402762"/>
                </a:cubicBezTo>
                <a:cubicBezTo>
                  <a:pt x="198621" y="402762"/>
                  <a:pt x="198621" y="402762"/>
                  <a:pt x="200599" y="398756"/>
                </a:cubicBezTo>
                <a:cubicBezTo>
                  <a:pt x="200599" y="398756"/>
                  <a:pt x="198621" y="392748"/>
                  <a:pt x="198621" y="392748"/>
                </a:cubicBezTo>
                <a:cubicBezTo>
                  <a:pt x="200599" y="390745"/>
                  <a:pt x="202577" y="386740"/>
                  <a:pt x="200599" y="386740"/>
                </a:cubicBezTo>
                <a:cubicBezTo>
                  <a:pt x="198621" y="384737"/>
                  <a:pt x="198621" y="384737"/>
                  <a:pt x="196643" y="382735"/>
                </a:cubicBezTo>
                <a:cubicBezTo>
                  <a:pt x="196643" y="380732"/>
                  <a:pt x="198621" y="378729"/>
                  <a:pt x="198621" y="378729"/>
                </a:cubicBezTo>
                <a:cubicBezTo>
                  <a:pt x="200599" y="378729"/>
                  <a:pt x="204555" y="380732"/>
                  <a:pt x="204555" y="382735"/>
                </a:cubicBezTo>
                <a:cubicBezTo>
                  <a:pt x="206533" y="384737"/>
                  <a:pt x="206533" y="386740"/>
                  <a:pt x="206533" y="386740"/>
                </a:cubicBezTo>
                <a:cubicBezTo>
                  <a:pt x="206533" y="388743"/>
                  <a:pt x="208510" y="388743"/>
                  <a:pt x="210488" y="388743"/>
                </a:cubicBezTo>
                <a:cubicBezTo>
                  <a:pt x="210488" y="388743"/>
                  <a:pt x="212466" y="384737"/>
                  <a:pt x="214444" y="384737"/>
                </a:cubicBezTo>
                <a:cubicBezTo>
                  <a:pt x="214444" y="384737"/>
                  <a:pt x="218400" y="386740"/>
                  <a:pt x="218400" y="386740"/>
                </a:cubicBezTo>
                <a:cubicBezTo>
                  <a:pt x="222355" y="384737"/>
                  <a:pt x="222355" y="384737"/>
                  <a:pt x="222355" y="382735"/>
                </a:cubicBezTo>
                <a:cubicBezTo>
                  <a:pt x="222355" y="382735"/>
                  <a:pt x="220378" y="380732"/>
                  <a:pt x="220378" y="376727"/>
                </a:cubicBezTo>
                <a:cubicBezTo>
                  <a:pt x="220378" y="374724"/>
                  <a:pt x="220378" y="372721"/>
                  <a:pt x="218400" y="372721"/>
                </a:cubicBezTo>
                <a:cubicBezTo>
                  <a:pt x="218400" y="368716"/>
                  <a:pt x="218400" y="368716"/>
                  <a:pt x="220378" y="366713"/>
                </a:cubicBezTo>
                <a:close/>
                <a:moveTo>
                  <a:pt x="235342" y="357188"/>
                </a:moveTo>
                <a:cubicBezTo>
                  <a:pt x="236930" y="357188"/>
                  <a:pt x="236930" y="357188"/>
                  <a:pt x="236930" y="359093"/>
                </a:cubicBezTo>
                <a:cubicBezTo>
                  <a:pt x="238518" y="360998"/>
                  <a:pt x="238518" y="360998"/>
                  <a:pt x="240105" y="360998"/>
                </a:cubicBezTo>
                <a:cubicBezTo>
                  <a:pt x="240105" y="362903"/>
                  <a:pt x="238518" y="364808"/>
                  <a:pt x="238518" y="364808"/>
                </a:cubicBezTo>
                <a:cubicBezTo>
                  <a:pt x="238518" y="364808"/>
                  <a:pt x="236930" y="366713"/>
                  <a:pt x="236930" y="364808"/>
                </a:cubicBezTo>
                <a:cubicBezTo>
                  <a:pt x="235342" y="362903"/>
                  <a:pt x="235342" y="362903"/>
                  <a:pt x="235342" y="360998"/>
                </a:cubicBezTo>
                <a:cubicBezTo>
                  <a:pt x="235342" y="359093"/>
                  <a:pt x="235342" y="357188"/>
                  <a:pt x="235342" y="357188"/>
                </a:cubicBezTo>
                <a:close/>
                <a:moveTo>
                  <a:pt x="184542" y="350838"/>
                </a:moveTo>
                <a:cubicBezTo>
                  <a:pt x="184542" y="350838"/>
                  <a:pt x="186659" y="350838"/>
                  <a:pt x="186659" y="352859"/>
                </a:cubicBezTo>
                <a:cubicBezTo>
                  <a:pt x="188776" y="352859"/>
                  <a:pt x="190892" y="352859"/>
                  <a:pt x="190892" y="352859"/>
                </a:cubicBezTo>
                <a:cubicBezTo>
                  <a:pt x="193009" y="352859"/>
                  <a:pt x="195126" y="354879"/>
                  <a:pt x="197242" y="354879"/>
                </a:cubicBezTo>
                <a:cubicBezTo>
                  <a:pt x="197242" y="356899"/>
                  <a:pt x="195126" y="360940"/>
                  <a:pt x="195126" y="360940"/>
                </a:cubicBezTo>
                <a:cubicBezTo>
                  <a:pt x="195126" y="362961"/>
                  <a:pt x="195126" y="367002"/>
                  <a:pt x="195126" y="369022"/>
                </a:cubicBezTo>
                <a:cubicBezTo>
                  <a:pt x="193009" y="369022"/>
                  <a:pt x="190892" y="369022"/>
                  <a:pt x="188776" y="369022"/>
                </a:cubicBezTo>
                <a:cubicBezTo>
                  <a:pt x="188776" y="371043"/>
                  <a:pt x="184542" y="373063"/>
                  <a:pt x="182426" y="371043"/>
                </a:cubicBezTo>
                <a:cubicBezTo>
                  <a:pt x="180309" y="371043"/>
                  <a:pt x="178192" y="369022"/>
                  <a:pt x="178192" y="367002"/>
                </a:cubicBezTo>
                <a:cubicBezTo>
                  <a:pt x="178192" y="364981"/>
                  <a:pt x="178192" y="364981"/>
                  <a:pt x="178192" y="364981"/>
                </a:cubicBezTo>
                <a:cubicBezTo>
                  <a:pt x="178192" y="364981"/>
                  <a:pt x="182426" y="360940"/>
                  <a:pt x="182426" y="360940"/>
                </a:cubicBezTo>
                <a:cubicBezTo>
                  <a:pt x="182426" y="358920"/>
                  <a:pt x="184542" y="356899"/>
                  <a:pt x="184542" y="354879"/>
                </a:cubicBezTo>
                <a:cubicBezTo>
                  <a:pt x="182426" y="352859"/>
                  <a:pt x="182426" y="352859"/>
                  <a:pt x="184542" y="350838"/>
                </a:cubicBezTo>
                <a:close/>
                <a:moveTo>
                  <a:pt x="77121" y="339725"/>
                </a:moveTo>
                <a:cubicBezTo>
                  <a:pt x="79238" y="339725"/>
                  <a:pt x="81354" y="339725"/>
                  <a:pt x="81354" y="341630"/>
                </a:cubicBezTo>
                <a:cubicBezTo>
                  <a:pt x="79238" y="343535"/>
                  <a:pt x="77121" y="343535"/>
                  <a:pt x="77121" y="343535"/>
                </a:cubicBezTo>
                <a:cubicBezTo>
                  <a:pt x="77121" y="345440"/>
                  <a:pt x="75004" y="347345"/>
                  <a:pt x="75004" y="347345"/>
                </a:cubicBezTo>
                <a:cubicBezTo>
                  <a:pt x="75004" y="347345"/>
                  <a:pt x="70771" y="349250"/>
                  <a:pt x="70771" y="347345"/>
                </a:cubicBezTo>
                <a:cubicBezTo>
                  <a:pt x="68654" y="343535"/>
                  <a:pt x="70771" y="343535"/>
                  <a:pt x="70771" y="341630"/>
                </a:cubicBezTo>
                <a:cubicBezTo>
                  <a:pt x="72888" y="339725"/>
                  <a:pt x="75004" y="339725"/>
                  <a:pt x="77121" y="339725"/>
                </a:cubicBezTo>
                <a:close/>
                <a:moveTo>
                  <a:pt x="190892" y="334963"/>
                </a:moveTo>
                <a:cubicBezTo>
                  <a:pt x="197242" y="337080"/>
                  <a:pt x="193009" y="341313"/>
                  <a:pt x="188776" y="339196"/>
                </a:cubicBezTo>
                <a:cubicBezTo>
                  <a:pt x="184542" y="334963"/>
                  <a:pt x="190892" y="334963"/>
                  <a:pt x="190892" y="334963"/>
                </a:cubicBezTo>
                <a:close/>
                <a:moveTo>
                  <a:pt x="224547" y="331788"/>
                </a:moveTo>
                <a:cubicBezTo>
                  <a:pt x="224547" y="331788"/>
                  <a:pt x="228357" y="331788"/>
                  <a:pt x="230262" y="333773"/>
                </a:cubicBezTo>
                <a:cubicBezTo>
                  <a:pt x="230262" y="335757"/>
                  <a:pt x="232167" y="339726"/>
                  <a:pt x="232167" y="341710"/>
                </a:cubicBezTo>
                <a:cubicBezTo>
                  <a:pt x="232167" y="343694"/>
                  <a:pt x="232167" y="345679"/>
                  <a:pt x="232167" y="345679"/>
                </a:cubicBezTo>
                <a:cubicBezTo>
                  <a:pt x="232167" y="347663"/>
                  <a:pt x="230262" y="351632"/>
                  <a:pt x="232167" y="351632"/>
                </a:cubicBezTo>
                <a:cubicBezTo>
                  <a:pt x="232167" y="353616"/>
                  <a:pt x="232167" y="357585"/>
                  <a:pt x="232167" y="357585"/>
                </a:cubicBezTo>
                <a:cubicBezTo>
                  <a:pt x="230262" y="357585"/>
                  <a:pt x="228357" y="359569"/>
                  <a:pt x="228357" y="359569"/>
                </a:cubicBezTo>
                <a:cubicBezTo>
                  <a:pt x="228357" y="361554"/>
                  <a:pt x="226452" y="363538"/>
                  <a:pt x="224547" y="361554"/>
                </a:cubicBezTo>
                <a:cubicBezTo>
                  <a:pt x="224547" y="361554"/>
                  <a:pt x="222642" y="359569"/>
                  <a:pt x="224547" y="359569"/>
                </a:cubicBezTo>
                <a:cubicBezTo>
                  <a:pt x="226452" y="357585"/>
                  <a:pt x="226452" y="357585"/>
                  <a:pt x="226452" y="355601"/>
                </a:cubicBezTo>
                <a:cubicBezTo>
                  <a:pt x="226452" y="355601"/>
                  <a:pt x="224547" y="351632"/>
                  <a:pt x="224547" y="351632"/>
                </a:cubicBezTo>
                <a:cubicBezTo>
                  <a:pt x="224547" y="351632"/>
                  <a:pt x="222642" y="347663"/>
                  <a:pt x="222642" y="345679"/>
                </a:cubicBezTo>
                <a:cubicBezTo>
                  <a:pt x="224547" y="343694"/>
                  <a:pt x="226452" y="345679"/>
                  <a:pt x="226452" y="343694"/>
                </a:cubicBezTo>
                <a:cubicBezTo>
                  <a:pt x="228357" y="341710"/>
                  <a:pt x="226452" y="339726"/>
                  <a:pt x="226452" y="337741"/>
                </a:cubicBezTo>
                <a:cubicBezTo>
                  <a:pt x="224547" y="337741"/>
                  <a:pt x="222642" y="335757"/>
                  <a:pt x="224547" y="331788"/>
                </a:cubicBezTo>
                <a:close/>
                <a:moveTo>
                  <a:pt x="154591" y="327025"/>
                </a:moveTo>
                <a:cubicBezTo>
                  <a:pt x="156602" y="327025"/>
                  <a:pt x="156602" y="327025"/>
                  <a:pt x="160624" y="327025"/>
                </a:cubicBezTo>
                <a:cubicBezTo>
                  <a:pt x="162635" y="327025"/>
                  <a:pt x="162635" y="327025"/>
                  <a:pt x="164646" y="329051"/>
                </a:cubicBezTo>
                <a:cubicBezTo>
                  <a:pt x="168667" y="329051"/>
                  <a:pt x="168667" y="331076"/>
                  <a:pt x="168667" y="333101"/>
                </a:cubicBezTo>
                <a:cubicBezTo>
                  <a:pt x="168667" y="335127"/>
                  <a:pt x="166656" y="337152"/>
                  <a:pt x="166656" y="339178"/>
                </a:cubicBezTo>
                <a:cubicBezTo>
                  <a:pt x="166656" y="343228"/>
                  <a:pt x="164646" y="345254"/>
                  <a:pt x="164646" y="347279"/>
                </a:cubicBezTo>
                <a:cubicBezTo>
                  <a:pt x="164646" y="349305"/>
                  <a:pt x="162635" y="349305"/>
                  <a:pt x="162635" y="351330"/>
                </a:cubicBezTo>
                <a:cubicBezTo>
                  <a:pt x="162635" y="353356"/>
                  <a:pt x="160624" y="357406"/>
                  <a:pt x="160624" y="359432"/>
                </a:cubicBezTo>
                <a:cubicBezTo>
                  <a:pt x="160624" y="361457"/>
                  <a:pt x="160624" y="369559"/>
                  <a:pt x="160624" y="371584"/>
                </a:cubicBezTo>
                <a:cubicBezTo>
                  <a:pt x="162635" y="373610"/>
                  <a:pt x="162635" y="377660"/>
                  <a:pt x="162635" y="381711"/>
                </a:cubicBezTo>
                <a:cubicBezTo>
                  <a:pt x="162635" y="381711"/>
                  <a:pt x="162635" y="385762"/>
                  <a:pt x="160624" y="385762"/>
                </a:cubicBezTo>
                <a:cubicBezTo>
                  <a:pt x="158613" y="385762"/>
                  <a:pt x="156602" y="385762"/>
                  <a:pt x="156602" y="383737"/>
                </a:cubicBezTo>
                <a:cubicBezTo>
                  <a:pt x="154591" y="383737"/>
                  <a:pt x="152580" y="377660"/>
                  <a:pt x="150569" y="377660"/>
                </a:cubicBezTo>
                <a:cubicBezTo>
                  <a:pt x="150569" y="375635"/>
                  <a:pt x="144537" y="371584"/>
                  <a:pt x="144537" y="369559"/>
                </a:cubicBezTo>
                <a:cubicBezTo>
                  <a:pt x="142526" y="369559"/>
                  <a:pt x="140515" y="369559"/>
                  <a:pt x="140515" y="367533"/>
                </a:cubicBezTo>
                <a:cubicBezTo>
                  <a:pt x="140515" y="365508"/>
                  <a:pt x="138504" y="365508"/>
                  <a:pt x="140515" y="363483"/>
                </a:cubicBezTo>
                <a:cubicBezTo>
                  <a:pt x="142526" y="363483"/>
                  <a:pt x="144537" y="361457"/>
                  <a:pt x="144537" y="361457"/>
                </a:cubicBezTo>
                <a:cubicBezTo>
                  <a:pt x="146548" y="359432"/>
                  <a:pt x="148559" y="357406"/>
                  <a:pt x="148559" y="357406"/>
                </a:cubicBezTo>
                <a:cubicBezTo>
                  <a:pt x="148559" y="355381"/>
                  <a:pt x="150569" y="351330"/>
                  <a:pt x="150569" y="349305"/>
                </a:cubicBezTo>
                <a:cubicBezTo>
                  <a:pt x="150569" y="347279"/>
                  <a:pt x="150569" y="343228"/>
                  <a:pt x="152580" y="341203"/>
                </a:cubicBezTo>
                <a:cubicBezTo>
                  <a:pt x="152580" y="341203"/>
                  <a:pt x="152580" y="339178"/>
                  <a:pt x="152580" y="337152"/>
                </a:cubicBezTo>
                <a:cubicBezTo>
                  <a:pt x="150569" y="337152"/>
                  <a:pt x="150569" y="333101"/>
                  <a:pt x="150569" y="331076"/>
                </a:cubicBezTo>
                <a:cubicBezTo>
                  <a:pt x="150569" y="331076"/>
                  <a:pt x="152580" y="329051"/>
                  <a:pt x="154591" y="327025"/>
                </a:cubicBezTo>
                <a:close/>
                <a:moveTo>
                  <a:pt x="179075" y="317867"/>
                </a:moveTo>
                <a:cubicBezTo>
                  <a:pt x="179075" y="315913"/>
                  <a:pt x="181015" y="315913"/>
                  <a:pt x="181015" y="317867"/>
                </a:cubicBezTo>
                <a:cubicBezTo>
                  <a:pt x="181015" y="319821"/>
                  <a:pt x="181015" y="327636"/>
                  <a:pt x="181015" y="329590"/>
                </a:cubicBezTo>
                <a:cubicBezTo>
                  <a:pt x="181015" y="331544"/>
                  <a:pt x="182955" y="339359"/>
                  <a:pt x="182955" y="341313"/>
                </a:cubicBezTo>
                <a:cubicBezTo>
                  <a:pt x="182955" y="343267"/>
                  <a:pt x="181015" y="351082"/>
                  <a:pt x="179075" y="351082"/>
                </a:cubicBezTo>
                <a:cubicBezTo>
                  <a:pt x="177134" y="353036"/>
                  <a:pt x="177134" y="353036"/>
                  <a:pt x="175194" y="353036"/>
                </a:cubicBezTo>
                <a:cubicBezTo>
                  <a:pt x="175194" y="353036"/>
                  <a:pt x="173254" y="354990"/>
                  <a:pt x="173254" y="356944"/>
                </a:cubicBezTo>
                <a:cubicBezTo>
                  <a:pt x="173254" y="358898"/>
                  <a:pt x="171313" y="364759"/>
                  <a:pt x="169373" y="364759"/>
                </a:cubicBezTo>
                <a:cubicBezTo>
                  <a:pt x="169373" y="366713"/>
                  <a:pt x="165492" y="366713"/>
                  <a:pt x="165492" y="366713"/>
                </a:cubicBezTo>
                <a:cubicBezTo>
                  <a:pt x="165492" y="364759"/>
                  <a:pt x="167433" y="358898"/>
                  <a:pt x="167433" y="356944"/>
                </a:cubicBezTo>
                <a:cubicBezTo>
                  <a:pt x="167433" y="356944"/>
                  <a:pt x="169373" y="351082"/>
                  <a:pt x="169373" y="349129"/>
                </a:cubicBezTo>
                <a:cubicBezTo>
                  <a:pt x="169373" y="347175"/>
                  <a:pt x="169373" y="341313"/>
                  <a:pt x="169373" y="339359"/>
                </a:cubicBezTo>
                <a:cubicBezTo>
                  <a:pt x="171313" y="331544"/>
                  <a:pt x="173254" y="337405"/>
                  <a:pt x="177134" y="333498"/>
                </a:cubicBezTo>
                <a:cubicBezTo>
                  <a:pt x="177134" y="331544"/>
                  <a:pt x="177134" y="327636"/>
                  <a:pt x="177134" y="323729"/>
                </a:cubicBezTo>
                <a:cubicBezTo>
                  <a:pt x="177134" y="321775"/>
                  <a:pt x="177134" y="319821"/>
                  <a:pt x="179075" y="317867"/>
                </a:cubicBezTo>
                <a:close/>
                <a:moveTo>
                  <a:pt x="226875" y="317501"/>
                </a:moveTo>
                <a:cubicBezTo>
                  <a:pt x="228991" y="319485"/>
                  <a:pt x="228991" y="319485"/>
                  <a:pt x="228991" y="319485"/>
                </a:cubicBezTo>
                <a:cubicBezTo>
                  <a:pt x="228991" y="321470"/>
                  <a:pt x="228991" y="325438"/>
                  <a:pt x="228991" y="325438"/>
                </a:cubicBezTo>
                <a:cubicBezTo>
                  <a:pt x="228991" y="325438"/>
                  <a:pt x="226875" y="325438"/>
                  <a:pt x="226875" y="325438"/>
                </a:cubicBezTo>
                <a:cubicBezTo>
                  <a:pt x="226875" y="325438"/>
                  <a:pt x="224758" y="323454"/>
                  <a:pt x="224758" y="323454"/>
                </a:cubicBezTo>
                <a:cubicBezTo>
                  <a:pt x="224758" y="321470"/>
                  <a:pt x="222641" y="319485"/>
                  <a:pt x="224758" y="319485"/>
                </a:cubicBezTo>
                <a:cubicBezTo>
                  <a:pt x="224758" y="317501"/>
                  <a:pt x="224758" y="317501"/>
                  <a:pt x="226875" y="317501"/>
                </a:cubicBezTo>
                <a:close/>
                <a:moveTo>
                  <a:pt x="82942" y="314325"/>
                </a:moveTo>
                <a:cubicBezTo>
                  <a:pt x="87705" y="314325"/>
                  <a:pt x="85324" y="314325"/>
                  <a:pt x="85324" y="315912"/>
                </a:cubicBezTo>
                <a:cubicBezTo>
                  <a:pt x="82942" y="315912"/>
                  <a:pt x="82942" y="314325"/>
                  <a:pt x="82942" y="314325"/>
                </a:cubicBezTo>
                <a:close/>
                <a:moveTo>
                  <a:pt x="62771" y="313150"/>
                </a:moveTo>
                <a:cubicBezTo>
                  <a:pt x="64732" y="311150"/>
                  <a:pt x="64732" y="315151"/>
                  <a:pt x="64732" y="317151"/>
                </a:cubicBezTo>
                <a:cubicBezTo>
                  <a:pt x="64732" y="319151"/>
                  <a:pt x="62771" y="323152"/>
                  <a:pt x="62771" y="325152"/>
                </a:cubicBezTo>
                <a:cubicBezTo>
                  <a:pt x="60810" y="327152"/>
                  <a:pt x="58849" y="329152"/>
                  <a:pt x="58849" y="331153"/>
                </a:cubicBezTo>
                <a:cubicBezTo>
                  <a:pt x="60810" y="331153"/>
                  <a:pt x="62771" y="331153"/>
                  <a:pt x="62771" y="333153"/>
                </a:cubicBezTo>
                <a:cubicBezTo>
                  <a:pt x="64732" y="333153"/>
                  <a:pt x="68654" y="341154"/>
                  <a:pt x="68654" y="343154"/>
                </a:cubicBezTo>
                <a:cubicBezTo>
                  <a:pt x="66693" y="345154"/>
                  <a:pt x="62771" y="347154"/>
                  <a:pt x="62771" y="347154"/>
                </a:cubicBezTo>
                <a:cubicBezTo>
                  <a:pt x="62771" y="347154"/>
                  <a:pt x="58849" y="347154"/>
                  <a:pt x="58849" y="349155"/>
                </a:cubicBezTo>
                <a:cubicBezTo>
                  <a:pt x="58849" y="351155"/>
                  <a:pt x="58849" y="355155"/>
                  <a:pt x="56888" y="355155"/>
                </a:cubicBezTo>
                <a:cubicBezTo>
                  <a:pt x="54927" y="357156"/>
                  <a:pt x="49044" y="357156"/>
                  <a:pt x="47083" y="359156"/>
                </a:cubicBezTo>
                <a:cubicBezTo>
                  <a:pt x="45122" y="359156"/>
                  <a:pt x="41200" y="359156"/>
                  <a:pt x="41200" y="361156"/>
                </a:cubicBezTo>
                <a:cubicBezTo>
                  <a:pt x="39239" y="365157"/>
                  <a:pt x="37278" y="371157"/>
                  <a:pt x="37278" y="373158"/>
                </a:cubicBezTo>
                <a:cubicBezTo>
                  <a:pt x="37278" y="375158"/>
                  <a:pt x="37278" y="379158"/>
                  <a:pt x="35317" y="381159"/>
                </a:cubicBezTo>
                <a:cubicBezTo>
                  <a:pt x="33356" y="381159"/>
                  <a:pt x="29434" y="383159"/>
                  <a:pt x="29434" y="385159"/>
                </a:cubicBezTo>
                <a:cubicBezTo>
                  <a:pt x="27473" y="387159"/>
                  <a:pt x="29434" y="391160"/>
                  <a:pt x="27473" y="393160"/>
                </a:cubicBezTo>
                <a:cubicBezTo>
                  <a:pt x="27473" y="395160"/>
                  <a:pt x="23551" y="395160"/>
                  <a:pt x="21590" y="397160"/>
                </a:cubicBezTo>
                <a:cubicBezTo>
                  <a:pt x="19629" y="397160"/>
                  <a:pt x="15706" y="399161"/>
                  <a:pt x="13745" y="401161"/>
                </a:cubicBezTo>
                <a:cubicBezTo>
                  <a:pt x="13745" y="403161"/>
                  <a:pt x="11784" y="407162"/>
                  <a:pt x="9823" y="407162"/>
                </a:cubicBezTo>
                <a:cubicBezTo>
                  <a:pt x="7862" y="407162"/>
                  <a:pt x="3940" y="411162"/>
                  <a:pt x="3940" y="409162"/>
                </a:cubicBezTo>
                <a:cubicBezTo>
                  <a:pt x="1979" y="407162"/>
                  <a:pt x="3940" y="405161"/>
                  <a:pt x="3940" y="403161"/>
                </a:cubicBezTo>
                <a:cubicBezTo>
                  <a:pt x="7862" y="403161"/>
                  <a:pt x="9823" y="401161"/>
                  <a:pt x="11784" y="399161"/>
                </a:cubicBezTo>
                <a:cubicBezTo>
                  <a:pt x="11784" y="397160"/>
                  <a:pt x="13745" y="391160"/>
                  <a:pt x="15706" y="389159"/>
                </a:cubicBezTo>
                <a:cubicBezTo>
                  <a:pt x="15706" y="387159"/>
                  <a:pt x="21590" y="383159"/>
                  <a:pt x="23551" y="381159"/>
                </a:cubicBezTo>
                <a:cubicBezTo>
                  <a:pt x="25512" y="377158"/>
                  <a:pt x="31395" y="373158"/>
                  <a:pt x="31395" y="373158"/>
                </a:cubicBezTo>
                <a:cubicBezTo>
                  <a:pt x="31395" y="371157"/>
                  <a:pt x="33356" y="367157"/>
                  <a:pt x="33356" y="365157"/>
                </a:cubicBezTo>
                <a:cubicBezTo>
                  <a:pt x="33356" y="361156"/>
                  <a:pt x="35317" y="357156"/>
                  <a:pt x="37278" y="353155"/>
                </a:cubicBezTo>
                <a:cubicBezTo>
                  <a:pt x="39239" y="351155"/>
                  <a:pt x="39239" y="349155"/>
                  <a:pt x="41200" y="349155"/>
                </a:cubicBezTo>
                <a:cubicBezTo>
                  <a:pt x="43161" y="347154"/>
                  <a:pt x="45122" y="349155"/>
                  <a:pt x="47083" y="347154"/>
                </a:cubicBezTo>
                <a:cubicBezTo>
                  <a:pt x="49044" y="347154"/>
                  <a:pt x="49044" y="345154"/>
                  <a:pt x="51005" y="343154"/>
                </a:cubicBezTo>
                <a:cubicBezTo>
                  <a:pt x="52966" y="343154"/>
                  <a:pt x="54927" y="341154"/>
                  <a:pt x="54927" y="339153"/>
                </a:cubicBezTo>
                <a:cubicBezTo>
                  <a:pt x="54927" y="337153"/>
                  <a:pt x="52966" y="329152"/>
                  <a:pt x="54927" y="327152"/>
                </a:cubicBezTo>
                <a:cubicBezTo>
                  <a:pt x="54927" y="323152"/>
                  <a:pt x="56888" y="319151"/>
                  <a:pt x="56888" y="317151"/>
                </a:cubicBezTo>
                <a:cubicBezTo>
                  <a:pt x="58849" y="315151"/>
                  <a:pt x="60810" y="313150"/>
                  <a:pt x="62771" y="313150"/>
                </a:cubicBezTo>
                <a:close/>
                <a:moveTo>
                  <a:pt x="188014" y="308868"/>
                </a:moveTo>
                <a:cubicBezTo>
                  <a:pt x="189502" y="308868"/>
                  <a:pt x="191486" y="310357"/>
                  <a:pt x="192479" y="312341"/>
                </a:cubicBezTo>
                <a:cubicBezTo>
                  <a:pt x="194463" y="314326"/>
                  <a:pt x="196447" y="314326"/>
                  <a:pt x="198432" y="314326"/>
                </a:cubicBezTo>
                <a:cubicBezTo>
                  <a:pt x="200416" y="312341"/>
                  <a:pt x="200416" y="312341"/>
                  <a:pt x="202401" y="312341"/>
                </a:cubicBezTo>
                <a:cubicBezTo>
                  <a:pt x="202401" y="312341"/>
                  <a:pt x="206369" y="314326"/>
                  <a:pt x="206369" y="316310"/>
                </a:cubicBezTo>
                <a:cubicBezTo>
                  <a:pt x="206369" y="318294"/>
                  <a:pt x="206369" y="320279"/>
                  <a:pt x="206369" y="324248"/>
                </a:cubicBezTo>
                <a:cubicBezTo>
                  <a:pt x="206369" y="326232"/>
                  <a:pt x="206369" y="328216"/>
                  <a:pt x="208354" y="332185"/>
                </a:cubicBezTo>
                <a:cubicBezTo>
                  <a:pt x="208354" y="334169"/>
                  <a:pt x="208354" y="336154"/>
                  <a:pt x="210338" y="336154"/>
                </a:cubicBezTo>
                <a:cubicBezTo>
                  <a:pt x="212322" y="338138"/>
                  <a:pt x="214307" y="338138"/>
                  <a:pt x="214307" y="340123"/>
                </a:cubicBezTo>
                <a:cubicBezTo>
                  <a:pt x="214307" y="344091"/>
                  <a:pt x="216291" y="346076"/>
                  <a:pt x="214307" y="346076"/>
                </a:cubicBezTo>
                <a:cubicBezTo>
                  <a:pt x="212322" y="346076"/>
                  <a:pt x="210338" y="346076"/>
                  <a:pt x="210338" y="346076"/>
                </a:cubicBezTo>
                <a:cubicBezTo>
                  <a:pt x="210338" y="348060"/>
                  <a:pt x="210338" y="350044"/>
                  <a:pt x="210338" y="352029"/>
                </a:cubicBezTo>
                <a:cubicBezTo>
                  <a:pt x="210338" y="354013"/>
                  <a:pt x="204385" y="354013"/>
                  <a:pt x="202401" y="354013"/>
                </a:cubicBezTo>
                <a:cubicBezTo>
                  <a:pt x="200416" y="354013"/>
                  <a:pt x="198432" y="352029"/>
                  <a:pt x="198432" y="350044"/>
                </a:cubicBezTo>
                <a:cubicBezTo>
                  <a:pt x="198432" y="350044"/>
                  <a:pt x="200416" y="344091"/>
                  <a:pt x="200416" y="342107"/>
                </a:cubicBezTo>
                <a:cubicBezTo>
                  <a:pt x="202401" y="342107"/>
                  <a:pt x="200416" y="336154"/>
                  <a:pt x="200416" y="336154"/>
                </a:cubicBezTo>
                <a:cubicBezTo>
                  <a:pt x="200416" y="334169"/>
                  <a:pt x="200416" y="330201"/>
                  <a:pt x="200416" y="328216"/>
                </a:cubicBezTo>
                <a:cubicBezTo>
                  <a:pt x="198432" y="328216"/>
                  <a:pt x="198432" y="328216"/>
                  <a:pt x="196447" y="328216"/>
                </a:cubicBezTo>
                <a:cubicBezTo>
                  <a:pt x="194463" y="328216"/>
                  <a:pt x="192479" y="332185"/>
                  <a:pt x="192479" y="332185"/>
                </a:cubicBezTo>
                <a:cubicBezTo>
                  <a:pt x="190494" y="332185"/>
                  <a:pt x="188510" y="332185"/>
                  <a:pt x="188510" y="330201"/>
                </a:cubicBezTo>
                <a:cubicBezTo>
                  <a:pt x="188510" y="328216"/>
                  <a:pt x="186526" y="322263"/>
                  <a:pt x="186526" y="322263"/>
                </a:cubicBezTo>
                <a:cubicBezTo>
                  <a:pt x="186526" y="320279"/>
                  <a:pt x="186526" y="314326"/>
                  <a:pt x="186526" y="314326"/>
                </a:cubicBezTo>
                <a:cubicBezTo>
                  <a:pt x="185534" y="310357"/>
                  <a:pt x="186526" y="308868"/>
                  <a:pt x="188014" y="308868"/>
                </a:cubicBezTo>
                <a:close/>
                <a:moveTo>
                  <a:pt x="67384" y="307975"/>
                </a:moveTo>
                <a:cubicBezTo>
                  <a:pt x="75004" y="307975"/>
                  <a:pt x="71194" y="315912"/>
                  <a:pt x="67384" y="313928"/>
                </a:cubicBezTo>
                <a:cubicBezTo>
                  <a:pt x="67384" y="311944"/>
                  <a:pt x="65479" y="311944"/>
                  <a:pt x="65479" y="309959"/>
                </a:cubicBezTo>
                <a:cubicBezTo>
                  <a:pt x="65479" y="309959"/>
                  <a:pt x="65479" y="307975"/>
                  <a:pt x="67384" y="307975"/>
                </a:cubicBezTo>
                <a:close/>
                <a:moveTo>
                  <a:pt x="124658" y="297260"/>
                </a:moveTo>
                <a:cubicBezTo>
                  <a:pt x="126686" y="295276"/>
                  <a:pt x="126686" y="295276"/>
                  <a:pt x="130743" y="297260"/>
                </a:cubicBezTo>
                <a:cubicBezTo>
                  <a:pt x="132772" y="299245"/>
                  <a:pt x="134800" y="301229"/>
                  <a:pt x="134800" y="301229"/>
                </a:cubicBezTo>
                <a:cubicBezTo>
                  <a:pt x="134800" y="303213"/>
                  <a:pt x="136829" y="305198"/>
                  <a:pt x="138857" y="305198"/>
                </a:cubicBezTo>
                <a:cubicBezTo>
                  <a:pt x="138857" y="305198"/>
                  <a:pt x="142914" y="305198"/>
                  <a:pt x="142914" y="305198"/>
                </a:cubicBezTo>
                <a:cubicBezTo>
                  <a:pt x="144943" y="305198"/>
                  <a:pt x="146971" y="305198"/>
                  <a:pt x="149000" y="305198"/>
                </a:cubicBezTo>
                <a:cubicBezTo>
                  <a:pt x="151028" y="305198"/>
                  <a:pt x="155085" y="305198"/>
                  <a:pt x="157114" y="305198"/>
                </a:cubicBezTo>
                <a:cubicBezTo>
                  <a:pt x="159142" y="305198"/>
                  <a:pt x="159142" y="307182"/>
                  <a:pt x="157114" y="309166"/>
                </a:cubicBezTo>
                <a:cubicBezTo>
                  <a:pt x="157114" y="311151"/>
                  <a:pt x="157114" y="315120"/>
                  <a:pt x="157114" y="317104"/>
                </a:cubicBezTo>
                <a:cubicBezTo>
                  <a:pt x="157114" y="317104"/>
                  <a:pt x="155085" y="319089"/>
                  <a:pt x="153057" y="319089"/>
                </a:cubicBezTo>
                <a:cubicBezTo>
                  <a:pt x="151028" y="319089"/>
                  <a:pt x="149000" y="319089"/>
                  <a:pt x="146971" y="321073"/>
                </a:cubicBezTo>
                <a:cubicBezTo>
                  <a:pt x="146971" y="323057"/>
                  <a:pt x="146971" y="327026"/>
                  <a:pt x="146971" y="327026"/>
                </a:cubicBezTo>
                <a:cubicBezTo>
                  <a:pt x="146971" y="329011"/>
                  <a:pt x="149000" y="334964"/>
                  <a:pt x="149000" y="334964"/>
                </a:cubicBezTo>
                <a:cubicBezTo>
                  <a:pt x="149000" y="336948"/>
                  <a:pt x="149000" y="338932"/>
                  <a:pt x="146971" y="340917"/>
                </a:cubicBezTo>
                <a:cubicBezTo>
                  <a:pt x="144943" y="342901"/>
                  <a:pt x="144943" y="342901"/>
                  <a:pt x="142914" y="342901"/>
                </a:cubicBezTo>
                <a:cubicBezTo>
                  <a:pt x="140886" y="342901"/>
                  <a:pt x="140886" y="338932"/>
                  <a:pt x="140886" y="336948"/>
                </a:cubicBezTo>
                <a:cubicBezTo>
                  <a:pt x="140886" y="336948"/>
                  <a:pt x="138857" y="334964"/>
                  <a:pt x="136829" y="336948"/>
                </a:cubicBezTo>
                <a:cubicBezTo>
                  <a:pt x="134800" y="336948"/>
                  <a:pt x="132772" y="338932"/>
                  <a:pt x="132772" y="338932"/>
                </a:cubicBezTo>
                <a:cubicBezTo>
                  <a:pt x="130743" y="340917"/>
                  <a:pt x="128715" y="342901"/>
                  <a:pt x="126686" y="342901"/>
                </a:cubicBezTo>
                <a:cubicBezTo>
                  <a:pt x="126686" y="342901"/>
                  <a:pt x="126686" y="340917"/>
                  <a:pt x="126686" y="338932"/>
                </a:cubicBezTo>
                <a:cubicBezTo>
                  <a:pt x="126686" y="336948"/>
                  <a:pt x="126686" y="329011"/>
                  <a:pt x="126686" y="329011"/>
                </a:cubicBezTo>
                <a:cubicBezTo>
                  <a:pt x="126686" y="327026"/>
                  <a:pt x="130743" y="323057"/>
                  <a:pt x="130743" y="321073"/>
                </a:cubicBezTo>
                <a:cubicBezTo>
                  <a:pt x="130743" y="319089"/>
                  <a:pt x="132772" y="309166"/>
                  <a:pt x="130743" y="307182"/>
                </a:cubicBezTo>
                <a:cubicBezTo>
                  <a:pt x="130743" y="305198"/>
                  <a:pt x="124658" y="303213"/>
                  <a:pt x="124658" y="301229"/>
                </a:cubicBezTo>
                <a:cubicBezTo>
                  <a:pt x="122629" y="299245"/>
                  <a:pt x="122629" y="299245"/>
                  <a:pt x="124658" y="297260"/>
                </a:cubicBezTo>
                <a:close/>
                <a:moveTo>
                  <a:pt x="78709" y="285750"/>
                </a:moveTo>
                <a:cubicBezTo>
                  <a:pt x="78709" y="287770"/>
                  <a:pt x="76769" y="289791"/>
                  <a:pt x="78709" y="289791"/>
                </a:cubicBezTo>
                <a:cubicBezTo>
                  <a:pt x="80650" y="291811"/>
                  <a:pt x="82590" y="289791"/>
                  <a:pt x="84530" y="291811"/>
                </a:cubicBezTo>
                <a:cubicBezTo>
                  <a:pt x="84530" y="293832"/>
                  <a:pt x="82590" y="297873"/>
                  <a:pt x="82590" y="297873"/>
                </a:cubicBezTo>
                <a:cubicBezTo>
                  <a:pt x="80650" y="297873"/>
                  <a:pt x="80650" y="297873"/>
                  <a:pt x="78709" y="299893"/>
                </a:cubicBezTo>
                <a:cubicBezTo>
                  <a:pt x="78709" y="299893"/>
                  <a:pt x="80650" y="305954"/>
                  <a:pt x="78709" y="305954"/>
                </a:cubicBezTo>
                <a:cubicBezTo>
                  <a:pt x="70948" y="307975"/>
                  <a:pt x="74829" y="301914"/>
                  <a:pt x="72888" y="299893"/>
                </a:cubicBezTo>
                <a:cubicBezTo>
                  <a:pt x="70948" y="297873"/>
                  <a:pt x="69008" y="297873"/>
                  <a:pt x="69008" y="295852"/>
                </a:cubicBezTo>
                <a:cubicBezTo>
                  <a:pt x="67067" y="293832"/>
                  <a:pt x="69008" y="293832"/>
                  <a:pt x="70948" y="293832"/>
                </a:cubicBezTo>
                <a:cubicBezTo>
                  <a:pt x="70948" y="293832"/>
                  <a:pt x="70948" y="289791"/>
                  <a:pt x="70948" y="289791"/>
                </a:cubicBezTo>
                <a:cubicBezTo>
                  <a:pt x="70948" y="289791"/>
                  <a:pt x="69008" y="287770"/>
                  <a:pt x="70948" y="287770"/>
                </a:cubicBezTo>
                <a:cubicBezTo>
                  <a:pt x="70948" y="285750"/>
                  <a:pt x="76769" y="285750"/>
                  <a:pt x="78709" y="285750"/>
                </a:cubicBezTo>
                <a:close/>
                <a:moveTo>
                  <a:pt x="157554" y="280988"/>
                </a:moveTo>
                <a:cubicBezTo>
                  <a:pt x="157554" y="280988"/>
                  <a:pt x="159508" y="280988"/>
                  <a:pt x="161462" y="280988"/>
                </a:cubicBezTo>
                <a:cubicBezTo>
                  <a:pt x="163416" y="280988"/>
                  <a:pt x="165370" y="283064"/>
                  <a:pt x="169277" y="283064"/>
                </a:cubicBezTo>
                <a:cubicBezTo>
                  <a:pt x="171231" y="283064"/>
                  <a:pt x="175139" y="285140"/>
                  <a:pt x="177093" y="285140"/>
                </a:cubicBezTo>
                <a:cubicBezTo>
                  <a:pt x="179047" y="285140"/>
                  <a:pt x="179047" y="287216"/>
                  <a:pt x="181000" y="289292"/>
                </a:cubicBezTo>
                <a:cubicBezTo>
                  <a:pt x="181000" y="289292"/>
                  <a:pt x="182954" y="289292"/>
                  <a:pt x="182954" y="291367"/>
                </a:cubicBezTo>
                <a:cubicBezTo>
                  <a:pt x="182954" y="293443"/>
                  <a:pt x="181000" y="295519"/>
                  <a:pt x="181000" y="295519"/>
                </a:cubicBezTo>
                <a:cubicBezTo>
                  <a:pt x="181000" y="297595"/>
                  <a:pt x="181000" y="299671"/>
                  <a:pt x="181000" y="301747"/>
                </a:cubicBezTo>
                <a:cubicBezTo>
                  <a:pt x="181000" y="303823"/>
                  <a:pt x="181000" y="307975"/>
                  <a:pt x="181000" y="305899"/>
                </a:cubicBezTo>
                <a:cubicBezTo>
                  <a:pt x="179047" y="305899"/>
                  <a:pt x="177093" y="305899"/>
                  <a:pt x="177093" y="303823"/>
                </a:cubicBezTo>
                <a:cubicBezTo>
                  <a:pt x="177093" y="301747"/>
                  <a:pt x="177093" y="299671"/>
                  <a:pt x="177093" y="297595"/>
                </a:cubicBezTo>
                <a:cubicBezTo>
                  <a:pt x="177093" y="297595"/>
                  <a:pt x="173185" y="293443"/>
                  <a:pt x="171231" y="293443"/>
                </a:cubicBezTo>
                <a:cubicBezTo>
                  <a:pt x="171231" y="293443"/>
                  <a:pt x="167323" y="289292"/>
                  <a:pt x="167323" y="289292"/>
                </a:cubicBezTo>
                <a:cubicBezTo>
                  <a:pt x="165370" y="289292"/>
                  <a:pt x="161462" y="289292"/>
                  <a:pt x="161462" y="289292"/>
                </a:cubicBezTo>
                <a:cubicBezTo>
                  <a:pt x="161462" y="289292"/>
                  <a:pt x="157554" y="287216"/>
                  <a:pt x="157554" y="285140"/>
                </a:cubicBezTo>
                <a:cubicBezTo>
                  <a:pt x="157554" y="285140"/>
                  <a:pt x="157554" y="283064"/>
                  <a:pt x="157554" y="280988"/>
                </a:cubicBezTo>
                <a:close/>
                <a:moveTo>
                  <a:pt x="127392" y="279854"/>
                </a:moveTo>
                <a:cubicBezTo>
                  <a:pt x="128980" y="279854"/>
                  <a:pt x="130567" y="277813"/>
                  <a:pt x="130567" y="279854"/>
                </a:cubicBezTo>
                <a:cubicBezTo>
                  <a:pt x="130567" y="281895"/>
                  <a:pt x="128980" y="283936"/>
                  <a:pt x="128980" y="285977"/>
                </a:cubicBezTo>
                <a:cubicBezTo>
                  <a:pt x="128980" y="290059"/>
                  <a:pt x="125804" y="292100"/>
                  <a:pt x="125804" y="288018"/>
                </a:cubicBezTo>
                <a:cubicBezTo>
                  <a:pt x="125804" y="285977"/>
                  <a:pt x="125804" y="283936"/>
                  <a:pt x="125804" y="281895"/>
                </a:cubicBezTo>
                <a:cubicBezTo>
                  <a:pt x="125804" y="279854"/>
                  <a:pt x="125804" y="279854"/>
                  <a:pt x="127392" y="279854"/>
                </a:cubicBezTo>
                <a:close/>
                <a:moveTo>
                  <a:pt x="138901" y="276226"/>
                </a:moveTo>
                <a:cubicBezTo>
                  <a:pt x="138901" y="276226"/>
                  <a:pt x="142870" y="278131"/>
                  <a:pt x="142870" y="280036"/>
                </a:cubicBezTo>
                <a:cubicBezTo>
                  <a:pt x="144854" y="280036"/>
                  <a:pt x="144854" y="281941"/>
                  <a:pt x="144854" y="283846"/>
                </a:cubicBezTo>
                <a:cubicBezTo>
                  <a:pt x="144854" y="285751"/>
                  <a:pt x="142870" y="285751"/>
                  <a:pt x="142870" y="285751"/>
                </a:cubicBezTo>
                <a:cubicBezTo>
                  <a:pt x="142870" y="285751"/>
                  <a:pt x="138901" y="285751"/>
                  <a:pt x="138901" y="283846"/>
                </a:cubicBezTo>
                <a:cubicBezTo>
                  <a:pt x="136916" y="283846"/>
                  <a:pt x="136916" y="283846"/>
                  <a:pt x="136916" y="281941"/>
                </a:cubicBezTo>
                <a:cubicBezTo>
                  <a:pt x="136916" y="280036"/>
                  <a:pt x="136916" y="278131"/>
                  <a:pt x="138901" y="276226"/>
                </a:cubicBezTo>
                <a:close/>
                <a:moveTo>
                  <a:pt x="196448" y="275052"/>
                </a:moveTo>
                <a:cubicBezTo>
                  <a:pt x="198432" y="275052"/>
                  <a:pt x="198432" y="273051"/>
                  <a:pt x="198432" y="275052"/>
                </a:cubicBezTo>
                <a:cubicBezTo>
                  <a:pt x="200416" y="277054"/>
                  <a:pt x="200416" y="279056"/>
                  <a:pt x="202401" y="277054"/>
                </a:cubicBezTo>
                <a:cubicBezTo>
                  <a:pt x="204385" y="275052"/>
                  <a:pt x="204385" y="275052"/>
                  <a:pt x="206370" y="275052"/>
                </a:cubicBezTo>
                <a:cubicBezTo>
                  <a:pt x="206370" y="275052"/>
                  <a:pt x="212323" y="275052"/>
                  <a:pt x="212323" y="275052"/>
                </a:cubicBezTo>
                <a:cubicBezTo>
                  <a:pt x="214307" y="277054"/>
                  <a:pt x="214307" y="279056"/>
                  <a:pt x="214307" y="281057"/>
                </a:cubicBezTo>
                <a:cubicBezTo>
                  <a:pt x="216292" y="283059"/>
                  <a:pt x="216292" y="285061"/>
                  <a:pt x="218276" y="287062"/>
                </a:cubicBezTo>
                <a:cubicBezTo>
                  <a:pt x="220260" y="289064"/>
                  <a:pt x="220260" y="289064"/>
                  <a:pt x="220260" y="291065"/>
                </a:cubicBezTo>
                <a:cubicBezTo>
                  <a:pt x="220260" y="293067"/>
                  <a:pt x="218276" y="295069"/>
                  <a:pt x="218276" y="297070"/>
                </a:cubicBezTo>
                <a:cubicBezTo>
                  <a:pt x="218276" y="301073"/>
                  <a:pt x="218276" y="307078"/>
                  <a:pt x="220260" y="309080"/>
                </a:cubicBezTo>
                <a:cubicBezTo>
                  <a:pt x="222245" y="309080"/>
                  <a:pt x="224229" y="311081"/>
                  <a:pt x="224229" y="313083"/>
                </a:cubicBezTo>
                <a:cubicBezTo>
                  <a:pt x="224229" y="315085"/>
                  <a:pt x="222245" y="319088"/>
                  <a:pt x="220260" y="319088"/>
                </a:cubicBezTo>
                <a:cubicBezTo>
                  <a:pt x="218276" y="319088"/>
                  <a:pt x="212323" y="319088"/>
                  <a:pt x="212323" y="319088"/>
                </a:cubicBezTo>
                <a:cubicBezTo>
                  <a:pt x="212323" y="317087"/>
                  <a:pt x="208354" y="315085"/>
                  <a:pt x="206370" y="315085"/>
                </a:cubicBezTo>
                <a:cubicBezTo>
                  <a:pt x="206370" y="313083"/>
                  <a:pt x="202401" y="309080"/>
                  <a:pt x="202401" y="309080"/>
                </a:cubicBezTo>
                <a:cubicBezTo>
                  <a:pt x="202401" y="309080"/>
                  <a:pt x="202401" y="301073"/>
                  <a:pt x="202401" y="301073"/>
                </a:cubicBezTo>
                <a:cubicBezTo>
                  <a:pt x="202401" y="299072"/>
                  <a:pt x="198432" y="299072"/>
                  <a:pt x="196448" y="297070"/>
                </a:cubicBezTo>
                <a:cubicBezTo>
                  <a:pt x="194463" y="297070"/>
                  <a:pt x="196448" y="293067"/>
                  <a:pt x="194463" y="293067"/>
                </a:cubicBezTo>
                <a:cubicBezTo>
                  <a:pt x="194463" y="291065"/>
                  <a:pt x="190494" y="289064"/>
                  <a:pt x="190494" y="289064"/>
                </a:cubicBezTo>
                <a:cubicBezTo>
                  <a:pt x="188510" y="289064"/>
                  <a:pt x="186526" y="287062"/>
                  <a:pt x="184541" y="285061"/>
                </a:cubicBezTo>
                <a:cubicBezTo>
                  <a:pt x="184541" y="283059"/>
                  <a:pt x="184541" y="281057"/>
                  <a:pt x="184541" y="279056"/>
                </a:cubicBezTo>
                <a:cubicBezTo>
                  <a:pt x="184541" y="273051"/>
                  <a:pt x="190494" y="277054"/>
                  <a:pt x="192479" y="279056"/>
                </a:cubicBezTo>
                <a:cubicBezTo>
                  <a:pt x="192479" y="279056"/>
                  <a:pt x="194463" y="277054"/>
                  <a:pt x="196448" y="275052"/>
                </a:cubicBezTo>
                <a:close/>
                <a:moveTo>
                  <a:pt x="167080" y="273368"/>
                </a:moveTo>
                <a:cubicBezTo>
                  <a:pt x="168668" y="271463"/>
                  <a:pt x="170255" y="277178"/>
                  <a:pt x="170255" y="279083"/>
                </a:cubicBezTo>
                <a:cubicBezTo>
                  <a:pt x="170255" y="280988"/>
                  <a:pt x="168668" y="280988"/>
                  <a:pt x="165492" y="277178"/>
                </a:cubicBezTo>
                <a:cubicBezTo>
                  <a:pt x="165492" y="275273"/>
                  <a:pt x="167080" y="273368"/>
                  <a:pt x="167080" y="273368"/>
                </a:cubicBezTo>
                <a:close/>
                <a:moveTo>
                  <a:pt x="77354" y="247650"/>
                </a:moveTo>
                <a:cubicBezTo>
                  <a:pt x="79323" y="247650"/>
                  <a:pt x="83260" y="247650"/>
                  <a:pt x="85228" y="247650"/>
                </a:cubicBezTo>
                <a:cubicBezTo>
                  <a:pt x="87197" y="247650"/>
                  <a:pt x="89165" y="247650"/>
                  <a:pt x="91134" y="247650"/>
                </a:cubicBezTo>
                <a:cubicBezTo>
                  <a:pt x="93102" y="247650"/>
                  <a:pt x="95071" y="247650"/>
                  <a:pt x="97039" y="249615"/>
                </a:cubicBezTo>
                <a:cubicBezTo>
                  <a:pt x="99008" y="249615"/>
                  <a:pt x="102945" y="251581"/>
                  <a:pt x="104914" y="251581"/>
                </a:cubicBezTo>
                <a:cubicBezTo>
                  <a:pt x="104914" y="251581"/>
                  <a:pt x="106882" y="251581"/>
                  <a:pt x="108851" y="251581"/>
                </a:cubicBezTo>
                <a:cubicBezTo>
                  <a:pt x="110819" y="251581"/>
                  <a:pt x="112788" y="251581"/>
                  <a:pt x="116725" y="251581"/>
                </a:cubicBezTo>
                <a:cubicBezTo>
                  <a:pt x="118693" y="251581"/>
                  <a:pt x="120662" y="251581"/>
                  <a:pt x="120662" y="251581"/>
                </a:cubicBezTo>
                <a:cubicBezTo>
                  <a:pt x="122630" y="253546"/>
                  <a:pt x="122630" y="257477"/>
                  <a:pt x="120662" y="257477"/>
                </a:cubicBezTo>
                <a:cubicBezTo>
                  <a:pt x="120662" y="259443"/>
                  <a:pt x="118693" y="259443"/>
                  <a:pt x="118693" y="263374"/>
                </a:cubicBezTo>
                <a:cubicBezTo>
                  <a:pt x="118693" y="265339"/>
                  <a:pt x="118693" y="267305"/>
                  <a:pt x="118693" y="269270"/>
                </a:cubicBezTo>
                <a:cubicBezTo>
                  <a:pt x="120662" y="269270"/>
                  <a:pt x="118693" y="273201"/>
                  <a:pt x="116725" y="275167"/>
                </a:cubicBezTo>
                <a:cubicBezTo>
                  <a:pt x="116725" y="275167"/>
                  <a:pt x="118693" y="279097"/>
                  <a:pt x="118693" y="281063"/>
                </a:cubicBezTo>
                <a:cubicBezTo>
                  <a:pt x="118693" y="283028"/>
                  <a:pt x="114756" y="284994"/>
                  <a:pt x="114756" y="286959"/>
                </a:cubicBezTo>
                <a:cubicBezTo>
                  <a:pt x="114756" y="288925"/>
                  <a:pt x="112788" y="288925"/>
                  <a:pt x="110819" y="288925"/>
                </a:cubicBezTo>
                <a:cubicBezTo>
                  <a:pt x="110819" y="288925"/>
                  <a:pt x="97039" y="284994"/>
                  <a:pt x="97039" y="283028"/>
                </a:cubicBezTo>
                <a:cubicBezTo>
                  <a:pt x="95071" y="281063"/>
                  <a:pt x="93102" y="279097"/>
                  <a:pt x="93102" y="277132"/>
                </a:cubicBezTo>
                <a:cubicBezTo>
                  <a:pt x="95071" y="275167"/>
                  <a:pt x="97039" y="275167"/>
                  <a:pt x="95071" y="273201"/>
                </a:cubicBezTo>
                <a:cubicBezTo>
                  <a:pt x="93102" y="273201"/>
                  <a:pt x="91134" y="273201"/>
                  <a:pt x="89165" y="271236"/>
                </a:cubicBezTo>
                <a:cubicBezTo>
                  <a:pt x="89165" y="269270"/>
                  <a:pt x="89165" y="267305"/>
                  <a:pt x="89165" y="265339"/>
                </a:cubicBezTo>
                <a:cubicBezTo>
                  <a:pt x="89165" y="263374"/>
                  <a:pt x="85228" y="261408"/>
                  <a:pt x="85228" y="259443"/>
                </a:cubicBezTo>
                <a:cubicBezTo>
                  <a:pt x="83260" y="259443"/>
                  <a:pt x="85228" y="255512"/>
                  <a:pt x="85228" y="253546"/>
                </a:cubicBezTo>
                <a:cubicBezTo>
                  <a:pt x="83260" y="253546"/>
                  <a:pt x="79323" y="253546"/>
                  <a:pt x="77354" y="253546"/>
                </a:cubicBezTo>
                <a:cubicBezTo>
                  <a:pt x="75386" y="251581"/>
                  <a:pt x="73417" y="251581"/>
                  <a:pt x="73417" y="249615"/>
                </a:cubicBezTo>
                <a:cubicBezTo>
                  <a:pt x="73417" y="247650"/>
                  <a:pt x="77354" y="247650"/>
                  <a:pt x="77354" y="247650"/>
                </a:cubicBezTo>
                <a:close/>
                <a:moveTo>
                  <a:pt x="125159" y="234461"/>
                </a:moveTo>
                <a:cubicBezTo>
                  <a:pt x="127392" y="234706"/>
                  <a:pt x="130368" y="235683"/>
                  <a:pt x="131361" y="235683"/>
                </a:cubicBezTo>
                <a:cubicBezTo>
                  <a:pt x="133345" y="237636"/>
                  <a:pt x="135330" y="239590"/>
                  <a:pt x="137314" y="241544"/>
                </a:cubicBezTo>
                <a:cubicBezTo>
                  <a:pt x="137314" y="241544"/>
                  <a:pt x="139298" y="247406"/>
                  <a:pt x="139298" y="247406"/>
                </a:cubicBezTo>
                <a:cubicBezTo>
                  <a:pt x="141283" y="249359"/>
                  <a:pt x="143267" y="255221"/>
                  <a:pt x="141283" y="255221"/>
                </a:cubicBezTo>
                <a:cubicBezTo>
                  <a:pt x="141283" y="257175"/>
                  <a:pt x="137314" y="257175"/>
                  <a:pt x="137314" y="255221"/>
                </a:cubicBezTo>
                <a:cubicBezTo>
                  <a:pt x="135330" y="255221"/>
                  <a:pt x="131361" y="247406"/>
                  <a:pt x="131361" y="247406"/>
                </a:cubicBezTo>
                <a:cubicBezTo>
                  <a:pt x="131361" y="245452"/>
                  <a:pt x="127392" y="245452"/>
                  <a:pt x="125407" y="243498"/>
                </a:cubicBezTo>
                <a:cubicBezTo>
                  <a:pt x="123423" y="241544"/>
                  <a:pt x="123423" y="239590"/>
                  <a:pt x="123423" y="237636"/>
                </a:cubicBezTo>
                <a:cubicBezTo>
                  <a:pt x="121439" y="234706"/>
                  <a:pt x="122927" y="234217"/>
                  <a:pt x="125159" y="234461"/>
                </a:cubicBezTo>
                <a:close/>
                <a:moveTo>
                  <a:pt x="180414" y="230585"/>
                </a:moveTo>
                <a:cubicBezTo>
                  <a:pt x="180414" y="228601"/>
                  <a:pt x="184859" y="230585"/>
                  <a:pt x="184859" y="232570"/>
                </a:cubicBezTo>
                <a:cubicBezTo>
                  <a:pt x="184859" y="234554"/>
                  <a:pt x="187082" y="236538"/>
                  <a:pt x="187082" y="238523"/>
                </a:cubicBezTo>
                <a:cubicBezTo>
                  <a:pt x="187082" y="240507"/>
                  <a:pt x="189304" y="240507"/>
                  <a:pt x="187082" y="242491"/>
                </a:cubicBezTo>
                <a:cubicBezTo>
                  <a:pt x="187082" y="242491"/>
                  <a:pt x="184859" y="244476"/>
                  <a:pt x="184859" y="244476"/>
                </a:cubicBezTo>
                <a:cubicBezTo>
                  <a:pt x="182636" y="244476"/>
                  <a:pt x="180414" y="244476"/>
                  <a:pt x="180414" y="244476"/>
                </a:cubicBezTo>
                <a:cubicBezTo>
                  <a:pt x="178191" y="244476"/>
                  <a:pt x="178191" y="242491"/>
                  <a:pt x="178191" y="242491"/>
                </a:cubicBezTo>
                <a:cubicBezTo>
                  <a:pt x="180414" y="240507"/>
                  <a:pt x="180414" y="238523"/>
                  <a:pt x="180414" y="236538"/>
                </a:cubicBezTo>
                <a:cubicBezTo>
                  <a:pt x="180414" y="234554"/>
                  <a:pt x="178191" y="230585"/>
                  <a:pt x="180414" y="230585"/>
                </a:cubicBezTo>
                <a:close/>
                <a:moveTo>
                  <a:pt x="124626" y="225853"/>
                </a:moveTo>
                <a:cubicBezTo>
                  <a:pt x="126624" y="225853"/>
                  <a:pt x="130618" y="227868"/>
                  <a:pt x="130618" y="227868"/>
                </a:cubicBezTo>
                <a:cubicBezTo>
                  <a:pt x="132615" y="225853"/>
                  <a:pt x="134612" y="225853"/>
                  <a:pt x="134612" y="225853"/>
                </a:cubicBezTo>
                <a:cubicBezTo>
                  <a:pt x="136610" y="223838"/>
                  <a:pt x="140604" y="223838"/>
                  <a:pt x="142601" y="225853"/>
                </a:cubicBezTo>
                <a:cubicBezTo>
                  <a:pt x="144598" y="225853"/>
                  <a:pt x="146596" y="227868"/>
                  <a:pt x="146596" y="229883"/>
                </a:cubicBezTo>
                <a:cubicBezTo>
                  <a:pt x="146596" y="231897"/>
                  <a:pt x="150590" y="233912"/>
                  <a:pt x="152587" y="237942"/>
                </a:cubicBezTo>
                <a:cubicBezTo>
                  <a:pt x="152587" y="237942"/>
                  <a:pt x="152587" y="239957"/>
                  <a:pt x="152587" y="241972"/>
                </a:cubicBezTo>
                <a:cubicBezTo>
                  <a:pt x="154584" y="243987"/>
                  <a:pt x="154584" y="246002"/>
                  <a:pt x="156582" y="246002"/>
                </a:cubicBezTo>
                <a:cubicBezTo>
                  <a:pt x="156582" y="246002"/>
                  <a:pt x="160576" y="246002"/>
                  <a:pt x="160576" y="246002"/>
                </a:cubicBezTo>
                <a:cubicBezTo>
                  <a:pt x="160576" y="246002"/>
                  <a:pt x="160576" y="241972"/>
                  <a:pt x="160576" y="239957"/>
                </a:cubicBezTo>
                <a:cubicBezTo>
                  <a:pt x="160576" y="239957"/>
                  <a:pt x="156582" y="233912"/>
                  <a:pt x="154584" y="231897"/>
                </a:cubicBezTo>
                <a:cubicBezTo>
                  <a:pt x="154584" y="231897"/>
                  <a:pt x="152587" y="227868"/>
                  <a:pt x="152587" y="227868"/>
                </a:cubicBezTo>
                <a:cubicBezTo>
                  <a:pt x="152587" y="225853"/>
                  <a:pt x="156582" y="225853"/>
                  <a:pt x="158579" y="225853"/>
                </a:cubicBezTo>
                <a:cubicBezTo>
                  <a:pt x="158579" y="227868"/>
                  <a:pt x="158579" y="231897"/>
                  <a:pt x="158579" y="231897"/>
                </a:cubicBezTo>
                <a:cubicBezTo>
                  <a:pt x="160576" y="231897"/>
                  <a:pt x="162573" y="233912"/>
                  <a:pt x="164570" y="233912"/>
                </a:cubicBezTo>
                <a:cubicBezTo>
                  <a:pt x="166568" y="231897"/>
                  <a:pt x="168565" y="231897"/>
                  <a:pt x="172559" y="233912"/>
                </a:cubicBezTo>
                <a:cubicBezTo>
                  <a:pt x="174556" y="233912"/>
                  <a:pt x="174556" y="235927"/>
                  <a:pt x="174556" y="237942"/>
                </a:cubicBezTo>
                <a:cubicBezTo>
                  <a:pt x="174556" y="239957"/>
                  <a:pt x="172559" y="241972"/>
                  <a:pt x="172559" y="241972"/>
                </a:cubicBezTo>
                <a:cubicBezTo>
                  <a:pt x="170562" y="241972"/>
                  <a:pt x="166568" y="241972"/>
                  <a:pt x="164570" y="241972"/>
                </a:cubicBezTo>
                <a:cubicBezTo>
                  <a:pt x="164570" y="241972"/>
                  <a:pt x="164570" y="241972"/>
                  <a:pt x="164570" y="243987"/>
                </a:cubicBezTo>
                <a:cubicBezTo>
                  <a:pt x="164570" y="243987"/>
                  <a:pt x="164570" y="246002"/>
                  <a:pt x="166568" y="248016"/>
                </a:cubicBezTo>
                <a:cubicBezTo>
                  <a:pt x="168565" y="248016"/>
                  <a:pt x="168565" y="248016"/>
                  <a:pt x="170562" y="250031"/>
                </a:cubicBezTo>
                <a:cubicBezTo>
                  <a:pt x="172559" y="250031"/>
                  <a:pt x="172559" y="252046"/>
                  <a:pt x="172559" y="254061"/>
                </a:cubicBezTo>
                <a:cubicBezTo>
                  <a:pt x="172559" y="254061"/>
                  <a:pt x="170562" y="254061"/>
                  <a:pt x="168565" y="256076"/>
                </a:cubicBezTo>
                <a:cubicBezTo>
                  <a:pt x="168565" y="256076"/>
                  <a:pt x="170562" y="260106"/>
                  <a:pt x="170562" y="260106"/>
                </a:cubicBezTo>
                <a:cubicBezTo>
                  <a:pt x="172559" y="260106"/>
                  <a:pt x="176553" y="260106"/>
                  <a:pt x="176553" y="260106"/>
                </a:cubicBezTo>
                <a:cubicBezTo>
                  <a:pt x="178551" y="260106"/>
                  <a:pt x="184542" y="260106"/>
                  <a:pt x="184542" y="262121"/>
                </a:cubicBezTo>
                <a:cubicBezTo>
                  <a:pt x="184542" y="262121"/>
                  <a:pt x="182545" y="264136"/>
                  <a:pt x="180548" y="264136"/>
                </a:cubicBezTo>
                <a:cubicBezTo>
                  <a:pt x="180548" y="266150"/>
                  <a:pt x="178551" y="266150"/>
                  <a:pt x="178551" y="268165"/>
                </a:cubicBezTo>
                <a:cubicBezTo>
                  <a:pt x="178551" y="270180"/>
                  <a:pt x="178551" y="276225"/>
                  <a:pt x="176553" y="276225"/>
                </a:cubicBezTo>
                <a:cubicBezTo>
                  <a:pt x="176553" y="276225"/>
                  <a:pt x="172559" y="276225"/>
                  <a:pt x="172559" y="276225"/>
                </a:cubicBezTo>
                <a:cubicBezTo>
                  <a:pt x="172559" y="274210"/>
                  <a:pt x="172559" y="272195"/>
                  <a:pt x="170562" y="272195"/>
                </a:cubicBezTo>
                <a:cubicBezTo>
                  <a:pt x="170562" y="272195"/>
                  <a:pt x="164570" y="272195"/>
                  <a:pt x="164570" y="270180"/>
                </a:cubicBezTo>
                <a:cubicBezTo>
                  <a:pt x="164570" y="270180"/>
                  <a:pt x="162573" y="270180"/>
                  <a:pt x="162573" y="268165"/>
                </a:cubicBezTo>
                <a:cubicBezTo>
                  <a:pt x="162573" y="268165"/>
                  <a:pt x="164570" y="266150"/>
                  <a:pt x="164570" y="264136"/>
                </a:cubicBezTo>
                <a:cubicBezTo>
                  <a:pt x="162573" y="264136"/>
                  <a:pt x="160576" y="264136"/>
                  <a:pt x="158579" y="264136"/>
                </a:cubicBezTo>
                <a:cubicBezTo>
                  <a:pt x="158579" y="264136"/>
                  <a:pt x="156582" y="264136"/>
                  <a:pt x="156582" y="260106"/>
                </a:cubicBezTo>
                <a:cubicBezTo>
                  <a:pt x="156582" y="258091"/>
                  <a:pt x="156582" y="256076"/>
                  <a:pt x="154584" y="252046"/>
                </a:cubicBezTo>
                <a:cubicBezTo>
                  <a:pt x="152587" y="250031"/>
                  <a:pt x="148593" y="246002"/>
                  <a:pt x="148593" y="246002"/>
                </a:cubicBezTo>
                <a:cubicBezTo>
                  <a:pt x="148593" y="246002"/>
                  <a:pt x="146596" y="243987"/>
                  <a:pt x="144598" y="241972"/>
                </a:cubicBezTo>
                <a:cubicBezTo>
                  <a:pt x="144598" y="241972"/>
                  <a:pt x="142601" y="239957"/>
                  <a:pt x="142601" y="239957"/>
                </a:cubicBezTo>
                <a:cubicBezTo>
                  <a:pt x="140604" y="237942"/>
                  <a:pt x="136610" y="237942"/>
                  <a:pt x="136610" y="235927"/>
                </a:cubicBezTo>
                <a:cubicBezTo>
                  <a:pt x="136610" y="235927"/>
                  <a:pt x="132615" y="233912"/>
                  <a:pt x="130618" y="231897"/>
                </a:cubicBezTo>
                <a:cubicBezTo>
                  <a:pt x="130618" y="231897"/>
                  <a:pt x="126624" y="231897"/>
                  <a:pt x="124626" y="231897"/>
                </a:cubicBezTo>
                <a:cubicBezTo>
                  <a:pt x="122629" y="231897"/>
                  <a:pt x="122629" y="229883"/>
                  <a:pt x="122629" y="229883"/>
                </a:cubicBezTo>
                <a:cubicBezTo>
                  <a:pt x="122629" y="227868"/>
                  <a:pt x="122629" y="225853"/>
                  <a:pt x="124626" y="225853"/>
                </a:cubicBezTo>
                <a:close/>
                <a:moveTo>
                  <a:pt x="113690" y="86132"/>
                </a:moveTo>
                <a:cubicBezTo>
                  <a:pt x="115695" y="84138"/>
                  <a:pt x="119705" y="86132"/>
                  <a:pt x="119705" y="88127"/>
                </a:cubicBezTo>
                <a:cubicBezTo>
                  <a:pt x="119705" y="90122"/>
                  <a:pt x="119705" y="90122"/>
                  <a:pt x="119705" y="90122"/>
                </a:cubicBezTo>
                <a:cubicBezTo>
                  <a:pt x="119705" y="90122"/>
                  <a:pt x="123716" y="96105"/>
                  <a:pt x="121711" y="98100"/>
                </a:cubicBezTo>
                <a:cubicBezTo>
                  <a:pt x="119705" y="98100"/>
                  <a:pt x="117700" y="98100"/>
                  <a:pt x="117700" y="102089"/>
                </a:cubicBezTo>
                <a:cubicBezTo>
                  <a:pt x="115695" y="104083"/>
                  <a:pt x="117700" y="108072"/>
                  <a:pt x="117700" y="112062"/>
                </a:cubicBezTo>
                <a:cubicBezTo>
                  <a:pt x="117700" y="114056"/>
                  <a:pt x="121711" y="120040"/>
                  <a:pt x="121711" y="122034"/>
                </a:cubicBezTo>
                <a:cubicBezTo>
                  <a:pt x="121711" y="124029"/>
                  <a:pt x="123716" y="128018"/>
                  <a:pt x="125721" y="130013"/>
                </a:cubicBezTo>
                <a:cubicBezTo>
                  <a:pt x="129732" y="130013"/>
                  <a:pt x="131737" y="130013"/>
                  <a:pt x="131737" y="134002"/>
                </a:cubicBezTo>
                <a:cubicBezTo>
                  <a:pt x="133742" y="135996"/>
                  <a:pt x="127726" y="141980"/>
                  <a:pt x="127726" y="141980"/>
                </a:cubicBezTo>
                <a:cubicBezTo>
                  <a:pt x="127726" y="141980"/>
                  <a:pt x="125721" y="145969"/>
                  <a:pt x="125721" y="147964"/>
                </a:cubicBezTo>
                <a:cubicBezTo>
                  <a:pt x="125721" y="149958"/>
                  <a:pt x="127726" y="151953"/>
                  <a:pt x="125721" y="155942"/>
                </a:cubicBezTo>
                <a:cubicBezTo>
                  <a:pt x="123716" y="159931"/>
                  <a:pt x="123716" y="161925"/>
                  <a:pt x="121711" y="163920"/>
                </a:cubicBezTo>
                <a:cubicBezTo>
                  <a:pt x="117700" y="165914"/>
                  <a:pt x="111684" y="165914"/>
                  <a:pt x="109679" y="169904"/>
                </a:cubicBezTo>
                <a:cubicBezTo>
                  <a:pt x="107674" y="171898"/>
                  <a:pt x="105669" y="171898"/>
                  <a:pt x="105669" y="173893"/>
                </a:cubicBezTo>
                <a:cubicBezTo>
                  <a:pt x="105669" y="173893"/>
                  <a:pt x="109679" y="175887"/>
                  <a:pt x="109679" y="177882"/>
                </a:cubicBezTo>
                <a:cubicBezTo>
                  <a:pt x="109679" y="177882"/>
                  <a:pt x="111684" y="179876"/>
                  <a:pt x="109679" y="181871"/>
                </a:cubicBezTo>
                <a:cubicBezTo>
                  <a:pt x="109679" y="181871"/>
                  <a:pt x="105669" y="183865"/>
                  <a:pt x="105669" y="185860"/>
                </a:cubicBezTo>
                <a:cubicBezTo>
                  <a:pt x="103663" y="187855"/>
                  <a:pt x="103663" y="193838"/>
                  <a:pt x="105669" y="195833"/>
                </a:cubicBezTo>
                <a:cubicBezTo>
                  <a:pt x="107674" y="195833"/>
                  <a:pt x="109679" y="199822"/>
                  <a:pt x="111684" y="201816"/>
                </a:cubicBezTo>
                <a:cubicBezTo>
                  <a:pt x="111684" y="203811"/>
                  <a:pt x="113690" y="203811"/>
                  <a:pt x="115695" y="203811"/>
                </a:cubicBezTo>
                <a:cubicBezTo>
                  <a:pt x="117700" y="203811"/>
                  <a:pt x="117700" y="201816"/>
                  <a:pt x="119705" y="199822"/>
                </a:cubicBezTo>
                <a:cubicBezTo>
                  <a:pt x="119705" y="197827"/>
                  <a:pt x="123716" y="195833"/>
                  <a:pt x="123716" y="199822"/>
                </a:cubicBezTo>
                <a:cubicBezTo>
                  <a:pt x="123716" y="201816"/>
                  <a:pt x="123716" y="201816"/>
                  <a:pt x="123716" y="203811"/>
                </a:cubicBezTo>
                <a:cubicBezTo>
                  <a:pt x="121711" y="203811"/>
                  <a:pt x="119705" y="205805"/>
                  <a:pt x="117700" y="207800"/>
                </a:cubicBezTo>
                <a:cubicBezTo>
                  <a:pt x="115695" y="209795"/>
                  <a:pt x="111684" y="213784"/>
                  <a:pt x="111684" y="215778"/>
                </a:cubicBezTo>
                <a:cubicBezTo>
                  <a:pt x="111684" y="217773"/>
                  <a:pt x="113690" y="221762"/>
                  <a:pt x="113690" y="221762"/>
                </a:cubicBezTo>
                <a:cubicBezTo>
                  <a:pt x="113690" y="223756"/>
                  <a:pt x="117700" y="229740"/>
                  <a:pt x="117700" y="231735"/>
                </a:cubicBezTo>
                <a:cubicBezTo>
                  <a:pt x="119705" y="233729"/>
                  <a:pt x="119705" y="233729"/>
                  <a:pt x="119705" y="235724"/>
                </a:cubicBezTo>
                <a:cubicBezTo>
                  <a:pt x="119705" y="237718"/>
                  <a:pt x="117700" y="239713"/>
                  <a:pt x="117700" y="239713"/>
                </a:cubicBezTo>
                <a:cubicBezTo>
                  <a:pt x="117700" y="239713"/>
                  <a:pt x="113690" y="235724"/>
                  <a:pt x="111684" y="235724"/>
                </a:cubicBezTo>
                <a:cubicBezTo>
                  <a:pt x="109679" y="235724"/>
                  <a:pt x="105669" y="235724"/>
                  <a:pt x="105669" y="237718"/>
                </a:cubicBezTo>
                <a:cubicBezTo>
                  <a:pt x="103663" y="237718"/>
                  <a:pt x="99653" y="239713"/>
                  <a:pt x="97648" y="239713"/>
                </a:cubicBezTo>
                <a:cubicBezTo>
                  <a:pt x="97648" y="239713"/>
                  <a:pt x="97648" y="235724"/>
                  <a:pt x="95642" y="235724"/>
                </a:cubicBezTo>
                <a:cubicBezTo>
                  <a:pt x="95642" y="235724"/>
                  <a:pt x="89626" y="235724"/>
                  <a:pt x="89626" y="233729"/>
                </a:cubicBezTo>
                <a:cubicBezTo>
                  <a:pt x="87621" y="233729"/>
                  <a:pt x="85616" y="233729"/>
                  <a:pt x="85616" y="231735"/>
                </a:cubicBezTo>
                <a:cubicBezTo>
                  <a:pt x="85616" y="231735"/>
                  <a:pt x="83611" y="229740"/>
                  <a:pt x="85616" y="227746"/>
                </a:cubicBezTo>
                <a:cubicBezTo>
                  <a:pt x="85616" y="225751"/>
                  <a:pt x="87621" y="225751"/>
                  <a:pt x="89626" y="225751"/>
                </a:cubicBezTo>
                <a:cubicBezTo>
                  <a:pt x="93637" y="225751"/>
                  <a:pt x="93637" y="223756"/>
                  <a:pt x="95642" y="221762"/>
                </a:cubicBezTo>
                <a:cubicBezTo>
                  <a:pt x="95642" y="219767"/>
                  <a:pt x="95642" y="215778"/>
                  <a:pt x="95642" y="213784"/>
                </a:cubicBezTo>
                <a:cubicBezTo>
                  <a:pt x="95642" y="211789"/>
                  <a:pt x="93637" y="209795"/>
                  <a:pt x="93637" y="209795"/>
                </a:cubicBezTo>
                <a:cubicBezTo>
                  <a:pt x="93637" y="209795"/>
                  <a:pt x="87621" y="209795"/>
                  <a:pt x="87621" y="211789"/>
                </a:cubicBezTo>
                <a:cubicBezTo>
                  <a:pt x="85616" y="211789"/>
                  <a:pt x="83611" y="215778"/>
                  <a:pt x="83611" y="217773"/>
                </a:cubicBezTo>
                <a:cubicBezTo>
                  <a:pt x="83611" y="219767"/>
                  <a:pt x="81605" y="221762"/>
                  <a:pt x="81605" y="219767"/>
                </a:cubicBezTo>
                <a:cubicBezTo>
                  <a:pt x="79600" y="219767"/>
                  <a:pt x="75590" y="215778"/>
                  <a:pt x="75590" y="215778"/>
                </a:cubicBezTo>
                <a:cubicBezTo>
                  <a:pt x="73584" y="215778"/>
                  <a:pt x="73584" y="215778"/>
                  <a:pt x="71579" y="213784"/>
                </a:cubicBezTo>
                <a:cubicBezTo>
                  <a:pt x="71579" y="211789"/>
                  <a:pt x="69574" y="205805"/>
                  <a:pt x="69574" y="203811"/>
                </a:cubicBezTo>
                <a:cubicBezTo>
                  <a:pt x="71579" y="201816"/>
                  <a:pt x="69574" y="199822"/>
                  <a:pt x="67569" y="197827"/>
                </a:cubicBezTo>
                <a:cubicBezTo>
                  <a:pt x="67569" y="195833"/>
                  <a:pt x="63558" y="191844"/>
                  <a:pt x="61553" y="189849"/>
                </a:cubicBezTo>
                <a:cubicBezTo>
                  <a:pt x="61553" y="187855"/>
                  <a:pt x="59548" y="187855"/>
                  <a:pt x="59548" y="183865"/>
                </a:cubicBezTo>
                <a:cubicBezTo>
                  <a:pt x="61553" y="181871"/>
                  <a:pt x="63558" y="177882"/>
                  <a:pt x="61553" y="175887"/>
                </a:cubicBezTo>
                <a:cubicBezTo>
                  <a:pt x="61553" y="173893"/>
                  <a:pt x="61553" y="171898"/>
                  <a:pt x="61553" y="171898"/>
                </a:cubicBezTo>
                <a:cubicBezTo>
                  <a:pt x="59548" y="171898"/>
                  <a:pt x="59548" y="169904"/>
                  <a:pt x="59548" y="167909"/>
                </a:cubicBezTo>
                <a:cubicBezTo>
                  <a:pt x="59548" y="163920"/>
                  <a:pt x="57542" y="161925"/>
                  <a:pt x="59548" y="159931"/>
                </a:cubicBezTo>
                <a:cubicBezTo>
                  <a:pt x="59548" y="157936"/>
                  <a:pt x="59548" y="155942"/>
                  <a:pt x="61553" y="157936"/>
                </a:cubicBezTo>
                <a:cubicBezTo>
                  <a:pt x="63558" y="157936"/>
                  <a:pt x="65563" y="157936"/>
                  <a:pt x="67569" y="157936"/>
                </a:cubicBezTo>
                <a:cubicBezTo>
                  <a:pt x="69574" y="155942"/>
                  <a:pt x="69574" y="147964"/>
                  <a:pt x="69574" y="147964"/>
                </a:cubicBezTo>
                <a:cubicBezTo>
                  <a:pt x="69574" y="147964"/>
                  <a:pt x="67569" y="120040"/>
                  <a:pt x="65563" y="118045"/>
                </a:cubicBezTo>
                <a:cubicBezTo>
                  <a:pt x="65563" y="116051"/>
                  <a:pt x="65563" y="104083"/>
                  <a:pt x="65563" y="100094"/>
                </a:cubicBezTo>
                <a:cubicBezTo>
                  <a:pt x="65563" y="96105"/>
                  <a:pt x="65563" y="94111"/>
                  <a:pt x="65563" y="94111"/>
                </a:cubicBezTo>
                <a:cubicBezTo>
                  <a:pt x="65563" y="90122"/>
                  <a:pt x="73584" y="88127"/>
                  <a:pt x="73584" y="88127"/>
                </a:cubicBezTo>
                <a:lnTo>
                  <a:pt x="77595" y="88127"/>
                </a:lnTo>
                <a:cubicBezTo>
                  <a:pt x="79600" y="88127"/>
                  <a:pt x="83611" y="88127"/>
                  <a:pt x="85616" y="88127"/>
                </a:cubicBezTo>
                <a:cubicBezTo>
                  <a:pt x="85616" y="90122"/>
                  <a:pt x="85616" y="90122"/>
                  <a:pt x="91632" y="94111"/>
                </a:cubicBezTo>
                <a:cubicBezTo>
                  <a:pt x="97648" y="94111"/>
                  <a:pt x="95642" y="92116"/>
                  <a:pt x="99653" y="94111"/>
                </a:cubicBezTo>
                <a:cubicBezTo>
                  <a:pt x="103663" y="96105"/>
                  <a:pt x="107674" y="96105"/>
                  <a:pt x="107674" y="96105"/>
                </a:cubicBezTo>
                <a:cubicBezTo>
                  <a:pt x="107674" y="96105"/>
                  <a:pt x="113690" y="96105"/>
                  <a:pt x="113690" y="92116"/>
                </a:cubicBezTo>
                <a:cubicBezTo>
                  <a:pt x="113690" y="86132"/>
                  <a:pt x="113690" y="88127"/>
                  <a:pt x="113690" y="86132"/>
                </a:cubicBezTo>
                <a:close/>
                <a:moveTo>
                  <a:pt x="90929" y="76101"/>
                </a:moveTo>
                <a:cubicBezTo>
                  <a:pt x="92169" y="76101"/>
                  <a:pt x="93658" y="76597"/>
                  <a:pt x="93658" y="76597"/>
                </a:cubicBezTo>
                <a:cubicBezTo>
                  <a:pt x="93658" y="76597"/>
                  <a:pt x="95642" y="76597"/>
                  <a:pt x="95642" y="80566"/>
                </a:cubicBezTo>
                <a:cubicBezTo>
                  <a:pt x="95642" y="82550"/>
                  <a:pt x="89689" y="82550"/>
                  <a:pt x="89689" y="78581"/>
                </a:cubicBezTo>
                <a:cubicBezTo>
                  <a:pt x="88697" y="76597"/>
                  <a:pt x="89689" y="76101"/>
                  <a:pt x="90929" y="76101"/>
                </a:cubicBezTo>
                <a:close/>
                <a:moveTo>
                  <a:pt x="108739" y="71517"/>
                </a:moveTo>
                <a:cubicBezTo>
                  <a:pt x="109850" y="72072"/>
                  <a:pt x="110406" y="73184"/>
                  <a:pt x="109295" y="74295"/>
                </a:cubicBezTo>
                <a:cubicBezTo>
                  <a:pt x="109295" y="76517"/>
                  <a:pt x="102627" y="80962"/>
                  <a:pt x="102627" y="78739"/>
                </a:cubicBezTo>
                <a:cubicBezTo>
                  <a:pt x="100404" y="74295"/>
                  <a:pt x="104849" y="72072"/>
                  <a:pt x="104849" y="72072"/>
                </a:cubicBezTo>
                <a:cubicBezTo>
                  <a:pt x="105961" y="70961"/>
                  <a:pt x="107628" y="70961"/>
                  <a:pt x="108739" y="71517"/>
                </a:cubicBezTo>
                <a:close/>
                <a:moveTo>
                  <a:pt x="91277" y="57547"/>
                </a:moveTo>
                <a:cubicBezTo>
                  <a:pt x="93261" y="55563"/>
                  <a:pt x="97230" y="55563"/>
                  <a:pt x="97230" y="59531"/>
                </a:cubicBezTo>
                <a:cubicBezTo>
                  <a:pt x="97230" y="61516"/>
                  <a:pt x="97230" y="63500"/>
                  <a:pt x="95246" y="63500"/>
                </a:cubicBezTo>
                <a:cubicBezTo>
                  <a:pt x="95246" y="63500"/>
                  <a:pt x="89292" y="61516"/>
                  <a:pt x="91277" y="57547"/>
                </a:cubicBezTo>
                <a:close/>
                <a:moveTo>
                  <a:pt x="97230" y="31750"/>
                </a:moveTo>
                <a:cubicBezTo>
                  <a:pt x="97230" y="31750"/>
                  <a:pt x="100405" y="33867"/>
                  <a:pt x="100405" y="35983"/>
                </a:cubicBezTo>
                <a:cubicBezTo>
                  <a:pt x="100405" y="38100"/>
                  <a:pt x="95642" y="38100"/>
                  <a:pt x="95642" y="33867"/>
                </a:cubicBezTo>
                <a:cubicBezTo>
                  <a:pt x="95642" y="31750"/>
                  <a:pt x="97230" y="31750"/>
                  <a:pt x="97230" y="31750"/>
                </a:cubicBezTo>
                <a:close/>
                <a:moveTo>
                  <a:pt x="99214" y="25797"/>
                </a:moveTo>
                <a:cubicBezTo>
                  <a:pt x="101198" y="23813"/>
                  <a:pt x="103183" y="25797"/>
                  <a:pt x="103183" y="25797"/>
                </a:cubicBezTo>
                <a:cubicBezTo>
                  <a:pt x="103183" y="25797"/>
                  <a:pt x="105167" y="27781"/>
                  <a:pt x="101198" y="29766"/>
                </a:cubicBezTo>
                <a:cubicBezTo>
                  <a:pt x="97229" y="31750"/>
                  <a:pt x="99214" y="25797"/>
                  <a:pt x="99214" y="25797"/>
                </a:cubicBezTo>
                <a:close/>
                <a:moveTo>
                  <a:pt x="98817" y="6350"/>
                </a:moveTo>
                <a:cubicBezTo>
                  <a:pt x="98817" y="6350"/>
                  <a:pt x="100404" y="6350"/>
                  <a:pt x="100404" y="8731"/>
                </a:cubicBezTo>
                <a:cubicBezTo>
                  <a:pt x="100404" y="11112"/>
                  <a:pt x="97229" y="11112"/>
                  <a:pt x="97229" y="8731"/>
                </a:cubicBezTo>
                <a:cubicBezTo>
                  <a:pt x="97229" y="6350"/>
                  <a:pt x="98817" y="6350"/>
                  <a:pt x="98817" y="6350"/>
                </a:cubicBezTo>
                <a:close/>
                <a:moveTo>
                  <a:pt x="100404" y="0"/>
                </a:moveTo>
                <a:cubicBezTo>
                  <a:pt x="105167" y="0"/>
                  <a:pt x="102786" y="4762"/>
                  <a:pt x="100404" y="2381"/>
                </a:cubicBezTo>
                <a:cubicBezTo>
                  <a:pt x="100404" y="2381"/>
                  <a:pt x="100404" y="0"/>
                  <a:pt x="100404" y="0"/>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09" name="Timor Leste"/>
          <p:cNvSpPr>
            <a:spLocks/>
          </p:cNvSpPr>
          <p:nvPr/>
        </p:nvSpPr>
        <p:spPr bwMode="auto">
          <a:xfrm>
            <a:off x="9581790" y="4338381"/>
            <a:ext cx="62061" cy="31031"/>
          </a:xfrm>
          <a:custGeom>
            <a:avLst/>
            <a:gdLst>
              <a:gd name="T0" fmla="*/ 0 w 30"/>
              <a:gd name="T1" fmla="*/ 9 h 15"/>
              <a:gd name="T2" fmla="*/ 2 w 30"/>
              <a:gd name="T3" fmla="*/ 10 h 15"/>
              <a:gd name="T4" fmla="*/ 3 w 30"/>
              <a:gd name="T5" fmla="*/ 12 h 15"/>
              <a:gd name="T6" fmla="*/ 4 w 30"/>
              <a:gd name="T7" fmla="*/ 14 h 15"/>
              <a:gd name="T8" fmla="*/ 4 w 30"/>
              <a:gd name="T9" fmla="*/ 15 h 15"/>
              <a:gd name="T10" fmla="*/ 5 w 30"/>
              <a:gd name="T11" fmla="*/ 15 h 15"/>
              <a:gd name="T12" fmla="*/ 8 w 30"/>
              <a:gd name="T13" fmla="*/ 14 h 15"/>
              <a:gd name="T14" fmla="*/ 10 w 30"/>
              <a:gd name="T15" fmla="*/ 13 h 15"/>
              <a:gd name="T16" fmla="*/ 13 w 30"/>
              <a:gd name="T17" fmla="*/ 13 h 15"/>
              <a:gd name="T18" fmla="*/ 14 w 30"/>
              <a:gd name="T19" fmla="*/ 12 h 15"/>
              <a:gd name="T20" fmla="*/ 16 w 30"/>
              <a:gd name="T21" fmla="*/ 10 h 15"/>
              <a:gd name="T22" fmla="*/ 19 w 30"/>
              <a:gd name="T23" fmla="*/ 9 h 15"/>
              <a:gd name="T24" fmla="*/ 22 w 30"/>
              <a:gd name="T25" fmla="*/ 7 h 15"/>
              <a:gd name="T26" fmla="*/ 25 w 30"/>
              <a:gd name="T27" fmla="*/ 5 h 15"/>
              <a:gd name="T28" fmla="*/ 29 w 30"/>
              <a:gd name="T29" fmla="*/ 2 h 15"/>
              <a:gd name="T30" fmla="*/ 30 w 30"/>
              <a:gd name="T31" fmla="*/ 0 h 15"/>
              <a:gd name="T32" fmla="*/ 28 w 30"/>
              <a:gd name="T33" fmla="*/ 0 h 15"/>
              <a:gd name="T34" fmla="*/ 24 w 30"/>
              <a:gd name="T35" fmla="*/ 0 h 15"/>
              <a:gd name="T36" fmla="*/ 22 w 30"/>
              <a:gd name="T37" fmla="*/ 1 h 15"/>
              <a:gd name="T38" fmla="*/ 19 w 30"/>
              <a:gd name="T39" fmla="*/ 2 h 15"/>
              <a:gd name="T40" fmla="*/ 17 w 30"/>
              <a:gd name="T41" fmla="*/ 2 h 15"/>
              <a:gd name="T42" fmla="*/ 12 w 30"/>
              <a:gd name="T43" fmla="*/ 1 h 15"/>
              <a:gd name="T44" fmla="*/ 8 w 30"/>
              <a:gd name="T45" fmla="*/ 2 h 15"/>
              <a:gd name="T46" fmla="*/ 3 w 30"/>
              <a:gd name="T47" fmla="*/ 5 h 15"/>
              <a:gd name="T48" fmla="*/ 1 w 30"/>
              <a:gd name="T49" fmla="*/ 7 h 15"/>
              <a:gd name="T50" fmla="*/ 0 w 30"/>
              <a:gd name="T5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5">
                <a:moveTo>
                  <a:pt x="0" y="9"/>
                </a:moveTo>
                <a:cubicBezTo>
                  <a:pt x="1" y="8"/>
                  <a:pt x="2" y="9"/>
                  <a:pt x="2" y="10"/>
                </a:cubicBezTo>
                <a:cubicBezTo>
                  <a:pt x="2" y="10"/>
                  <a:pt x="3" y="12"/>
                  <a:pt x="3" y="12"/>
                </a:cubicBezTo>
                <a:cubicBezTo>
                  <a:pt x="3" y="12"/>
                  <a:pt x="4" y="12"/>
                  <a:pt x="4" y="14"/>
                </a:cubicBezTo>
                <a:cubicBezTo>
                  <a:pt x="4" y="14"/>
                  <a:pt x="4" y="15"/>
                  <a:pt x="4" y="15"/>
                </a:cubicBezTo>
                <a:cubicBezTo>
                  <a:pt x="4" y="15"/>
                  <a:pt x="5" y="15"/>
                  <a:pt x="5" y="15"/>
                </a:cubicBezTo>
                <a:cubicBezTo>
                  <a:pt x="6" y="15"/>
                  <a:pt x="8" y="14"/>
                  <a:pt x="8" y="14"/>
                </a:cubicBezTo>
                <a:cubicBezTo>
                  <a:pt x="9" y="13"/>
                  <a:pt x="10" y="13"/>
                  <a:pt x="10" y="13"/>
                </a:cubicBezTo>
                <a:cubicBezTo>
                  <a:pt x="11" y="13"/>
                  <a:pt x="12" y="13"/>
                  <a:pt x="13" y="13"/>
                </a:cubicBezTo>
                <a:cubicBezTo>
                  <a:pt x="14" y="14"/>
                  <a:pt x="14" y="12"/>
                  <a:pt x="14" y="12"/>
                </a:cubicBezTo>
                <a:cubicBezTo>
                  <a:pt x="15" y="11"/>
                  <a:pt x="16" y="11"/>
                  <a:pt x="16" y="10"/>
                </a:cubicBezTo>
                <a:cubicBezTo>
                  <a:pt x="16" y="10"/>
                  <a:pt x="18" y="10"/>
                  <a:pt x="19" y="9"/>
                </a:cubicBezTo>
                <a:cubicBezTo>
                  <a:pt x="19" y="9"/>
                  <a:pt x="22" y="7"/>
                  <a:pt x="22" y="7"/>
                </a:cubicBezTo>
                <a:cubicBezTo>
                  <a:pt x="22" y="6"/>
                  <a:pt x="24" y="5"/>
                  <a:pt x="25" y="5"/>
                </a:cubicBezTo>
                <a:cubicBezTo>
                  <a:pt x="25" y="4"/>
                  <a:pt x="28" y="2"/>
                  <a:pt x="29" y="2"/>
                </a:cubicBezTo>
                <a:cubicBezTo>
                  <a:pt x="29" y="2"/>
                  <a:pt x="30" y="0"/>
                  <a:pt x="30" y="0"/>
                </a:cubicBezTo>
                <a:cubicBezTo>
                  <a:pt x="30" y="0"/>
                  <a:pt x="29" y="0"/>
                  <a:pt x="28" y="0"/>
                </a:cubicBezTo>
                <a:cubicBezTo>
                  <a:pt x="27" y="0"/>
                  <a:pt x="25" y="0"/>
                  <a:pt x="24" y="0"/>
                </a:cubicBezTo>
                <a:cubicBezTo>
                  <a:pt x="24" y="1"/>
                  <a:pt x="22" y="1"/>
                  <a:pt x="22" y="1"/>
                </a:cubicBezTo>
                <a:cubicBezTo>
                  <a:pt x="21" y="2"/>
                  <a:pt x="20" y="2"/>
                  <a:pt x="19" y="2"/>
                </a:cubicBezTo>
                <a:cubicBezTo>
                  <a:pt x="18" y="2"/>
                  <a:pt x="18" y="2"/>
                  <a:pt x="17" y="2"/>
                </a:cubicBezTo>
                <a:cubicBezTo>
                  <a:pt x="16" y="1"/>
                  <a:pt x="14" y="1"/>
                  <a:pt x="12" y="1"/>
                </a:cubicBezTo>
                <a:cubicBezTo>
                  <a:pt x="11" y="1"/>
                  <a:pt x="10" y="2"/>
                  <a:pt x="8" y="2"/>
                </a:cubicBezTo>
                <a:cubicBezTo>
                  <a:pt x="6" y="3"/>
                  <a:pt x="5" y="4"/>
                  <a:pt x="3" y="5"/>
                </a:cubicBezTo>
                <a:cubicBezTo>
                  <a:pt x="3" y="5"/>
                  <a:pt x="2" y="6"/>
                  <a:pt x="1" y="7"/>
                </a:cubicBezTo>
                <a:cubicBezTo>
                  <a:pt x="1" y="8"/>
                  <a:pt x="0" y="9"/>
                  <a:pt x="0" y="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0" name="Indonesia"/>
          <p:cNvSpPr>
            <a:spLocks/>
          </p:cNvSpPr>
          <p:nvPr/>
        </p:nvSpPr>
        <p:spPr bwMode="auto">
          <a:xfrm>
            <a:off x="8771727" y="3884354"/>
            <a:ext cx="1246125" cy="542642"/>
          </a:xfrm>
          <a:custGeom>
            <a:avLst/>
            <a:gdLst>
              <a:gd name="connsiteX0" fmla="*/ 728663 w 1211263"/>
              <a:gd name="connsiteY0" fmla="*/ 522287 h 527461"/>
              <a:gd name="connsiteX1" fmla="*/ 731045 w 1211263"/>
              <a:gd name="connsiteY1" fmla="*/ 522287 h 527461"/>
              <a:gd name="connsiteX2" fmla="*/ 733426 w 1211263"/>
              <a:gd name="connsiteY2" fmla="*/ 526521 h 527461"/>
              <a:gd name="connsiteX3" fmla="*/ 728663 w 1211263"/>
              <a:gd name="connsiteY3" fmla="*/ 526521 h 527461"/>
              <a:gd name="connsiteX4" fmla="*/ 728663 w 1211263"/>
              <a:gd name="connsiteY4" fmla="*/ 522287 h 527461"/>
              <a:gd name="connsiteX5" fmla="*/ 697707 w 1211263"/>
              <a:gd name="connsiteY5" fmla="*/ 512762 h 527461"/>
              <a:gd name="connsiteX6" fmla="*/ 700088 w 1211263"/>
              <a:gd name="connsiteY6" fmla="*/ 515143 h 527461"/>
              <a:gd name="connsiteX7" fmla="*/ 697707 w 1211263"/>
              <a:gd name="connsiteY7" fmla="*/ 515143 h 527461"/>
              <a:gd name="connsiteX8" fmla="*/ 697707 w 1211263"/>
              <a:gd name="connsiteY8" fmla="*/ 512762 h 527461"/>
              <a:gd name="connsiteX9" fmla="*/ 703660 w 1211263"/>
              <a:gd name="connsiteY9" fmla="*/ 504825 h 527461"/>
              <a:gd name="connsiteX10" fmla="*/ 707629 w 1211263"/>
              <a:gd name="connsiteY10" fmla="*/ 504825 h 527461"/>
              <a:gd name="connsiteX11" fmla="*/ 709613 w 1211263"/>
              <a:gd name="connsiteY11" fmla="*/ 510540 h 527461"/>
              <a:gd name="connsiteX12" fmla="*/ 703660 w 1211263"/>
              <a:gd name="connsiteY12" fmla="*/ 510540 h 527461"/>
              <a:gd name="connsiteX13" fmla="*/ 703660 w 1211263"/>
              <a:gd name="connsiteY13" fmla="*/ 504825 h 527461"/>
              <a:gd name="connsiteX14" fmla="*/ 637223 w 1211263"/>
              <a:gd name="connsiteY14" fmla="*/ 474662 h 527461"/>
              <a:gd name="connsiteX15" fmla="*/ 647383 w 1211263"/>
              <a:gd name="connsiteY15" fmla="*/ 474662 h 527461"/>
              <a:gd name="connsiteX16" fmla="*/ 653479 w 1211263"/>
              <a:gd name="connsiteY16" fmla="*/ 474662 h 527461"/>
              <a:gd name="connsiteX17" fmla="*/ 659575 w 1211263"/>
              <a:gd name="connsiteY17" fmla="*/ 476703 h 527461"/>
              <a:gd name="connsiteX18" fmla="*/ 663639 w 1211263"/>
              <a:gd name="connsiteY18" fmla="*/ 480785 h 527461"/>
              <a:gd name="connsiteX19" fmla="*/ 669735 w 1211263"/>
              <a:gd name="connsiteY19" fmla="*/ 482827 h 527461"/>
              <a:gd name="connsiteX20" fmla="*/ 671767 w 1211263"/>
              <a:gd name="connsiteY20" fmla="*/ 484868 h 527461"/>
              <a:gd name="connsiteX21" fmla="*/ 675831 w 1211263"/>
              <a:gd name="connsiteY21" fmla="*/ 488950 h 527461"/>
              <a:gd name="connsiteX22" fmla="*/ 675831 w 1211263"/>
              <a:gd name="connsiteY22" fmla="*/ 495073 h 527461"/>
              <a:gd name="connsiteX23" fmla="*/ 673799 w 1211263"/>
              <a:gd name="connsiteY23" fmla="*/ 501196 h 527461"/>
              <a:gd name="connsiteX24" fmla="*/ 665671 w 1211263"/>
              <a:gd name="connsiteY24" fmla="*/ 501196 h 527461"/>
              <a:gd name="connsiteX25" fmla="*/ 657543 w 1211263"/>
              <a:gd name="connsiteY25" fmla="*/ 495073 h 527461"/>
              <a:gd name="connsiteX26" fmla="*/ 649415 w 1211263"/>
              <a:gd name="connsiteY26" fmla="*/ 490991 h 527461"/>
              <a:gd name="connsiteX27" fmla="*/ 645351 w 1211263"/>
              <a:gd name="connsiteY27" fmla="*/ 488950 h 527461"/>
              <a:gd name="connsiteX28" fmla="*/ 633159 w 1211263"/>
              <a:gd name="connsiteY28" fmla="*/ 486909 h 527461"/>
              <a:gd name="connsiteX29" fmla="*/ 627063 w 1211263"/>
              <a:gd name="connsiteY29" fmla="*/ 484868 h 527461"/>
              <a:gd name="connsiteX30" fmla="*/ 629095 w 1211263"/>
              <a:gd name="connsiteY30" fmla="*/ 478744 h 527461"/>
              <a:gd name="connsiteX31" fmla="*/ 631127 w 1211263"/>
              <a:gd name="connsiteY31" fmla="*/ 476703 h 527461"/>
              <a:gd name="connsiteX32" fmla="*/ 637223 w 1211263"/>
              <a:gd name="connsiteY32" fmla="*/ 474662 h 527461"/>
              <a:gd name="connsiteX33" fmla="*/ 787236 w 1211263"/>
              <a:gd name="connsiteY33" fmla="*/ 459169 h 527461"/>
              <a:gd name="connsiteX34" fmla="*/ 791287 w 1211263"/>
              <a:gd name="connsiteY34" fmla="*/ 461137 h 527461"/>
              <a:gd name="connsiteX35" fmla="*/ 793313 w 1211263"/>
              <a:gd name="connsiteY35" fmla="*/ 465074 h 527461"/>
              <a:gd name="connsiteX36" fmla="*/ 795338 w 1211263"/>
              <a:gd name="connsiteY36" fmla="*/ 469011 h 527461"/>
              <a:gd name="connsiteX37" fmla="*/ 793313 w 1211263"/>
              <a:gd name="connsiteY37" fmla="*/ 474917 h 527461"/>
              <a:gd name="connsiteX38" fmla="*/ 789262 w 1211263"/>
              <a:gd name="connsiteY38" fmla="*/ 478854 h 527461"/>
              <a:gd name="connsiteX39" fmla="*/ 777109 w 1211263"/>
              <a:gd name="connsiteY39" fmla="*/ 492633 h 527461"/>
              <a:gd name="connsiteX40" fmla="*/ 764957 w 1211263"/>
              <a:gd name="connsiteY40" fmla="*/ 500507 h 527461"/>
              <a:gd name="connsiteX41" fmla="*/ 750778 w 1211263"/>
              <a:gd name="connsiteY41" fmla="*/ 504444 h 527461"/>
              <a:gd name="connsiteX42" fmla="*/ 744702 w 1211263"/>
              <a:gd name="connsiteY42" fmla="*/ 504444 h 527461"/>
              <a:gd name="connsiteX43" fmla="*/ 736600 w 1211263"/>
              <a:gd name="connsiteY43" fmla="*/ 502475 h 527461"/>
              <a:gd name="connsiteX44" fmla="*/ 744702 w 1211263"/>
              <a:gd name="connsiteY44" fmla="*/ 498538 h 527461"/>
              <a:gd name="connsiteX45" fmla="*/ 750778 w 1211263"/>
              <a:gd name="connsiteY45" fmla="*/ 498538 h 527461"/>
              <a:gd name="connsiteX46" fmla="*/ 752804 w 1211263"/>
              <a:gd name="connsiteY46" fmla="*/ 494601 h 527461"/>
              <a:gd name="connsiteX47" fmla="*/ 748753 w 1211263"/>
              <a:gd name="connsiteY47" fmla="*/ 492633 h 527461"/>
              <a:gd name="connsiteX48" fmla="*/ 750778 w 1211263"/>
              <a:gd name="connsiteY48" fmla="*/ 488696 h 527461"/>
              <a:gd name="connsiteX49" fmla="*/ 750778 w 1211263"/>
              <a:gd name="connsiteY49" fmla="*/ 482790 h 527461"/>
              <a:gd name="connsiteX50" fmla="*/ 754829 w 1211263"/>
              <a:gd name="connsiteY50" fmla="*/ 476885 h 527461"/>
              <a:gd name="connsiteX51" fmla="*/ 758880 w 1211263"/>
              <a:gd name="connsiteY51" fmla="*/ 470980 h 527461"/>
              <a:gd name="connsiteX52" fmla="*/ 766982 w 1211263"/>
              <a:gd name="connsiteY52" fmla="*/ 469011 h 527461"/>
              <a:gd name="connsiteX53" fmla="*/ 779135 w 1211263"/>
              <a:gd name="connsiteY53" fmla="*/ 465074 h 527461"/>
              <a:gd name="connsiteX54" fmla="*/ 783186 w 1211263"/>
              <a:gd name="connsiteY54" fmla="*/ 463106 h 527461"/>
              <a:gd name="connsiteX55" fmla="*/ 787236 w 1211263"/>
              <a:gd name="connsiteY55" fmla="*/ 459169 h 527461"/>
              <a:gd name="connsiteX56" fmla="*/ 579968 w 1211263"/>
              <a:gd name="connsiteY56" fmla="*/ 441325 h 527461"/>
              <a:gd name="connsiteX57" fmla="*/ 586000 w 1211263"/>
              <a:gd name="connsiteY57" fmla="*/ 443230 h 527461"/>
              <a:gd name="connsiteX58" fmla="*/ 590022 w 1211263"/>
              <a:gd name="connsiteY58" fmla="*/ 443230 h 527461"/>
              <a:gd name="connsiteX59" fmla="*/ 594044 w 1211263"/>
              <a:gd name="connsiteY59" fmla="*/ 447040 h 527461"/>
              <a:gd name="connsiteX60" fmla="*/ 598065 w 1211263"/>
              <a:gd name="connsiteY60" fmla="*/ 448945 h 527461"/>
              <a:gd name="connsiteX61" fmla="*/ 600076 w 1211263"/>
              <a:gd name="connsiteY61" fmla="*/ 452755 h 527461"/>
              <a:gd name="connsiteX62" fmla="*/ 598065 w 1211263"/>
              <a:gd name="connsiteY62" fmla="*/ 456565 h 527461"/>
              <a:gd name="connsiteX63" fmla="*/ 594044 w 1211263"/>
              <a:gd name="connsiteY63" fmla="*/ 458470 h 527461"/>
              <a:gd name="connsiteX64" fmla="*/ 588011 w 1211263"/>
              <a:gd name="connsiteY64" fmla="*/ 460375 h 527461"/>
              <a:gd name="connsiteX65" fmla="*/ 581978 w 1211263"/>
              <a:gd name="connsiteY65" fmla="*/ 460375 h 527461"/>
              <a:gd name="connsiteX66" fmla="*/ 573935 w 1211263"/>
              <a:gd name="connsiteY66" fmla="*/ 460375 h 527461"/>
              <a:gd name="connsiteX67" fmla="*/ 569913 w 1211263"/>
              <a:gd name="connsiteY67" fmla="*/ 456565 h 527461"/>
              <a:gd name="connsiteX68" fmla="*/ 571924 w 1211263"/>
              <a:gd name="connsiteY68" fmla="*/ 452755 h 527461"/>
              <a:gd name="connsiteX69" fmla="*/ 573935 w 1211263"/>
              <a:gd name="connsiteY69" fmla="*/ 448945 h 527461"/>
              <a:gd name="connsiteX70" fmla="*/ 573935 w 1211263"/>
              <a:gd name="connsiteY70" fmla="*/ 447040 h 527461"/>
              <a:gd name="connsiteX71" fmla="*/ 579968 w 1211263"/>
              <a:gd name="connsiteY71" fmla="*/ 445135 h 527461"/>
              <a:gd name="connsiteX72" fmla="*/ 579968 w 1211263"/>
              <a:gd name="connsiteY72" fmla="*/ 441325 h 527461"/>
              <a:gd name="connsiteX73" fmla="*/ 881063 w 1211263"/>
              <a:gd name="connsiteY73" fmla="*/ 439737 h 527461"/>
              <a:gd name="connsiteX74" fmla="*/ 884238 w 1211263"/>
              <a:gd name="connsiteY74" fmla="*/ 439737 h 527461"/>
              <a:gd name="connsiteX75" fmla="*/ 884238 w 1211263"/>
              <a:gd name="connsiteY75" fmla="*/ 441325 h 527461"/>
              <a:gd name="connsiteX76" fmla="*/ 884238 w 1211263"/>
              <a:gd name="connsiteY76" fmla="*/ 442912 h 527461"/>
              <a:gd name="connsiteX77" fmla="*/ 881063 w 1211263"/>
              <a:gd name="connsiteY77" fmla="*/ 442912 h 527461"/>
              <a:gd name="connsiteX78" fmla="*/ 881063 w 1211263"/>
              <a:gd name="connsiteY78" fmla="*/ 439737 h 527461"/>
              <a:gd name="connsiteX79" fmla="*/ 886223 w 1211263"/>
              <a:gd name="connsiteY79" fmla="*/ 434975 h 527461"/>
              <a:gd name="connsiteX80" fmla="*/ 890192 w 1211263"/>
              <a:gd name="connsiteY80" fmla="*/ 434975 h 527461"/>
              <a:gd name="connsiteX81" fmla="*/ 892176 w 1211263"/>
              <a:gd name="connsiteY81" fmla="*/ 437092 h 527461"/>
              <a:gd name="connsiteX82" fmla="*/ 890192 w 1211263"/>
              <a:gd name="connsiteY82" fmla="*/ 439209 h 527461"/>
              <a:gd name="connsiteX83" fmla="*/ 888207 w 1211263"/>
              <a:gd name="connsiteY83" fmla="*/ 441325 h 527461"/>
              <a:gd name="connsiteX84" fmla="*/ 886223 w 1211263"/>
              <a:gd name="connsiteY84" fmla="*/ 439209 h 527461"/>
              <a:gd name="connsiteX85" fmla="*/ 886223 w 1211263"/>
              <a:gd name="connsiteY85" fmla="*/ 437092 h 527461"/>
              <a:gd name="connsiteX86" fmla="*/ 886223 w 1211263"/>
              <a:gd name="connsiteY86" fmla="*/ 434975 h 527461"/>
              <a:gd name="connsiteX87" fmla="*/ 562135 w 1211263"/>
              <a:gd name="connsiteY87" fmla="*/ 434975 h 527461"/>
              <a:gd name="connsiteX88" fmla="*/ 568326 w 1211263"/>
              <a:gd name="connsiteY88" fmla="*/ 439016 h 527461"/>
              <a:gd name="connsiteX89" fmla="*/ 568326 w 1211263"/>
              <a:gd name="connsiteY89" fmla="*/ 451139 h 527461"/>
              <a:gd name="connsiteX90" fmla="*/ 564199 w 1211263"/>
              <a:gd name="connsiteY90" fmla="*/ 457200 h 527461"/>
              <a:gd name="connsiteX91" fmla="*/ 558007 w 1211263"/>
              <a:gd name="connsiteY91" fmla="*/ 457200 h 527461"/>
              <a:gd name="connsiteX92" fmla="*/ 549752 w 1211263"/>
              <a:gd name="connsiteY92" fmla="*/ 455180 h 527461"/>
              <a:gd name="connsiteX93" fmla="*/ 547688 w 1211263"/>
              <a:gd name="connsiteY93" fmla="*/ 451139 h 527461"/>
              <a:gd name="connsiteX94" fmla="*/ 549752 w 1211263"/>
              <a:gd name="connsiteY94" fmla="*/ 447098 h 527461"/>
              <a:gd name="connsiteX95" fmla="*/ 555943 w 1211263"/>
              <a:gd name="connsiteY95" fmla="*/ 443057 h 527461"/>
              <a:gd name="connsiteX96" fmla="*/ 555943 w 1211263"/>
              <a:gd name="connsiteY96" fmla="*/ 439016 h 527461"/>
              <a:gd name="connsiteX97" fmla="*/ 562135 w 1211263"/>
              <a:gd name="connsiteY97" fmla="*/ 434975 h 527461"/>
              <a:gd name="connsiteX98" fmla="*/ 854869 w 1211263"/>
              <a:gd name="connsiteY98" fmla="*/ 433387 h 527461"/>
              <a:gd name="connsiteX99" fmla="*/ 860822 w 1211263"/>
              <a:gd name="connsiteY99" fmla="*/ 433387 h 527461"/>
              <a:gd name="connsiteX100" fmla="*/ 866776 w 1211263"/>
              <a:gd name="connsiteY100" fmla="*/ 433387 h 527461"/>
              <a:gd name="connsiteX101" fmla="*/ 872729 w 1211263"/>
              <a:gd name="connsiteY101" fmla="*/ 433387 h 527461"/>
              <a:gd name="connsiteX102" fmla="*/ 872729 w 1211263"/>
              <a:gd name="connsiteY102" fmla="*/ 439737 h 527461"/>
              <a:gd name="connsiteX103" fmla="*/ 866776 w 1211263"/>
              <a:gd name="connsiteY103" fmla="*/ 439737 h 527461"/>
              <a:gd name="connsiteX104" fmla="*/ 862807 w 1211263"/>
              <a:gd name="connsiteY104" fmla="*/ 439737 h 527461"/>
              <a:gd name="connsiteX105" fmla="*/ 858838 w 1211263"/>
              <a:gd name="connsiteY105" fmla="*/ 437621 h 527461"/>
              <a:gd name="connsiteX106" fmla="*/ 856853 w 1211263"/>
              <a:gd name="connsiteY106" fmla="*/ 439737 h 527461"/>
              <a:gd name="connsiteX107" fmla="*/ 852885 w 1211263"/>
              <a:gd name="connsiteY107" fmla="*/ 439737 h 527461"/>
              <a:gd name="connsiteX108" fmla="*/ 850900 w 1211263"/>
              <a:gd name="connsiteY108" fmla="*/ 437621 h 527461"/>
              <a:gd name="connsiteX109" fmla="*/ 854869 w 1211263"/>
              <a:gd name="connsiteY109" fmla="*/ 433387 h 527461"/>
              <a:gd name="connsiteX110" fmla="*/ 743683 w 1211263"/>
              <a:gd name="connsiteY110" fmla="*/ 433387 h 527461"/>
              <a:gd name="connsiteX111" fmla="*/ 749544 w 1211263"/>
              <a:gd name="connsiteY111" fmla="*/ 435239 h 527461"/>
              <a:gd name="connsiteX112" fmla="*/ 753452 w 1211263"/>
              <a:gd name="connsiteY112" fmla="*/ 437091 h 527461"/>
              <a:gd name="connsiteX113" fmla="*/ 757360 w 1211263"/>
              <a:gd name="connsiteY113" fmla="*/ 435239 h 527461"/>
              <a:gd name="connsiteX114" fmla="*/ 765175 w 1211263"/>
              <a:gd name="connsiteY114" fmla="*/ 435239 h 527461"/>
              <a:gd name="connsiteX115" fmla="*/ 772991 w 1211263"/>
              <a:gd name="connsiteY115" fmla="*/ 433387 h 527461"/>
              <a:gd name="connsiteX116" fmla="*/ 780806 w 1211263"/>
              <a:gd name="connsiteY116" fmla="*/ 433387 h 527461"/>
              <a:gd name="connsiteX117" fmla="*/ 786668 w 1211263"/>
              <a:gd name="connsiteY117" fmla="*/ 433387 h 527461"/>
              <a:gd name="connsiteX118" fmla="*/ 790575 w 1211263"/>
              <a:gd name="connsiteY118" fmla="*/ 437091 h 527461"/>
              <a:gd name="connsiteX119" fmla="*/ 782760 w 1211263"/>
              <a:gd name="connsiteY119" fmla="*/ 440795 h 527461"/>
              <a:gd name="connsiteX120" fmla="*/ 772991 w 1211263"/>
              <a:gd name="connsiteY120" fmla="*/ 440795 h 527461"/>
              <a:gd name="connsiteX121" fmla="*/ 771037 w 1211263"/>
              <a:gd name="connsiteY121" fmla="*/ 438943 h 527461"/>
              <a:gd name="connsiteX122" fmla="*/ 767129 w 1211263"/>
              <a:gd name="connsiteY122" fmla="*/ 440795 h 527461"/>
              <a:gd name="connsiteX123" fmla="*/ 765175 w 1211263"/>
              <a:gd name="connsiteY123" fmla="*/ 442647 h 527461"/>
              <a:gd name="connsiteX124" fmla="*/ 759314 w 1211263"/>
              <a:gd name="connsiteY124" fmla="*/ 440795 h 527461"/>
              <a:gd name="connsiteX125" fmla="*/ 755406 w 1211263"/>
              <a:gd name="connsiteY125" fmla="*/ 438943 h 527461"/>
              <a:gd name="connsiteX126" fmla="*/ 751498 w 1211263"/>
              <a:gd name="connsiteY126" fmla="*/ 440795 h 527461"/>
              <a:gd name="connsiteX127" fmla="*/ 747591 w 1211263"/>
              <a:gd name="connsiteY127" fmla="*/ 442647 h 527461"/>
              <a:gd name="connsiteX128" fmla="*/ 745637 w 1211263"/>
              <a:gd name="connsiteY128" fmla="*/ 444499 h 527461"/>
              <a:gd name="connsiteX129" fmla="*/ 743683 w 1211263"/>
              <a:gd name="connsiteY129" fmla="*/ 440795 h 527461"/>
              <a:gd name="connsiteX130" fmla="*/ 739775 w 1211263"/>
              <a:gd name="connsiteY130" fmla="*/ 438943 h 527461"/>
              <a:gd name="connsiteX131" fmla="*/ 743683 w 1211263"/>
              <a:gd name="connsiteY131" fmla="*/ 433387 h 527461"/>
              <a:gd name="connsiteX132" fmla="*/ 946378 w 1211263"/>
              <a:gd name="connsiteY132" fmla="*/ 431800 h 527461"/>
              <a:gd name="connsiteX133" fmla="*/ 950460 w 1211263"/>
              <a:gd name="connsiteY133" fmla="*/ 433705 h 527461"/>
              <a:gd name="connsiteX134" fmla="*/ 950460 w 1211263"/>
              <a:gd name="connsiteY134" fmla="*/ 437515 h 527461"/>
              <a:gd name="connsiteX135" fmla="*/ 946378 w 1211263"/>
              <a:gd name="connsiteY135" fmla="*/ 437515 h 527461"/>
              <a:gd name="connsiteX136" fmla="*/ 942296 w 1211263"/>
              <a:gd name="connsiteY136" fmla="*/ 439420 h 527461"/>
              <a:gd name="connsiteX137" fmla="*/ 940254 w 1211263"/>
              <a:gd name="connsiteY137" fmla="*/ 441325 h 527461"/>
              <a:gd name="connsiteX138" fmla="*/ 938213 w 1211263"/>
              <a:gd name="connsiteY138" fmla="*/ 439420 h 527461"/>
              <a:gd name="connsiteX139" fmla="*/ 942296 w 1211263"/>
              <a:gd name="connsiteY139" fmla="*/ 433705 h 527461"/>
              <a:gd name="connsiteX140" fmla="*/ 946378 w 1211263"/>
              <a:gd name="connsiteY140" fmla="*/ 431800 h 527461"/>
              <a:gd name="connsiteX141" fmla="*/ 598906 w 1211263"/>
              <a:gd name="connsiteY141" fmla="*/ 431800 h 527461"/>
              <a:gd name="connsiteX142" fmla="*/ 604921 w 1211263"/>
              <a:gd name="connsiteY142" fmla="*/ 433728 h 527461"/>
              <a:gd name="connsiteX143" fmla="*/ 606927 w 1211263"/>
              <a:gd name="connsiteY143" fmla="*/ 437583 h 527461"/>
              <a:gd name="connsiteX144" fmla="*/ 610937 w 1211263"/>
              <a:gd name="connsiteY144" fmla="*/ 441438 h 527461"/>
              <a:gd name="connsiteX145" fmla="*/ 614948 w 1211263"/>
              <a:gd name="connsiteY145" fmla="*/ 439511 h 527461"/>
              <a:gd name="connsiteX146" fmla="*/ 618958 w 1211263"/>
              <a:gd name="connsiteY146" fmla="*/ 439511 h 527461"/>
              <a:gd name="connsiteX147" fmla="*/ 620963 w 1211263"/>
              <a:gd name="connsiteY147" fmla="*/ 443366 h 527461"/>
              <a:gd name="connsiteX148" fmla="*/ 622969 w 1211263"/>
              <a:gd name="connsiteY148" fmla="*/ 445294 h 527461"/>
              <a:gd name="connsiteX149" fmla="*/ 626979 w 1211263"/>
              <a:gd name="connsiteY149" fmla="*/ 443366 h 527461"/>
              <a:gd name="connsiteX150" fmla="*/ 628984 w 1211263"/>
              <a:gd name="connsiteY150" fmla="*/ 437583 h 527461"/>
              <a:gd name="connsiteX151" fmla="*/ 632995 w 1211263"/>
              <a:gd name="connsiteY151" fmla="*/ 439511 h 527461"/>
              <a:gd name="connsiteX152" fmla="*/ 630990 w 1211263"/>
              <a:gd name="connsiteY152" fmla="*/ 445294 h 527461"/>
              <a:gd name="connsiteX153" fmla="*/ 632995 w 1211263"/>
              <a:gd name="connsiteY153" fmla="*/ 453004 h 527461"/>
              <a:gd name="connsiteX154" fmla="*/ 626979 w 1211263"/>
              <a:gd name="connsiteY154" fmla="*/ 453004 h 527461"/>
              <a:gd name="connsiteX155" fmla="*/ 622969 w 1211263"/>
              <a:gd name="connsiteY155" fmla="*/ 456860 h 527461"/>
              <a:gd name="connsiteX156" fmla="*/ 616953 w 1211263"/>
              <a:gd name="connsiteY156" fmla="*/ 458787 h 527461"/>
              <a:gd name="connsiteX157" fmla="*/ 614948 w 1211263"/>
              <a:gd name="connsiteY157" fmla="*/ 454932 h 527461"/>
              <a:gd name="connsiteX158" fmla="*/ 614948 w 1211263"/>
              <a:gd name="connsiteY158" fmla="*/ 449149 h 527461"/>
              <a:gd name="connsiteX159" fmla="*/ 608932 w 1211263"/>
              <a:gd name="connsiteY159" fmla="*/ 447221 h 527461"/>
              <a:gd name="connsiteX160" fmla="*/ 606927 w 1211263"/>
              <a:gd name="connsiteY160" fmla="*/ 445294 h 527461"/>
              <a:gd name="connsiteX161" fmla="*/ 602916 w 1211263"/>
              <a:gd name="connsiteY161" fmla="*/ 443366 h 527461"/>
              <a:gd name="connsiteX162" fmla="*/ 598906 w 1211263"/>
              <a:gd name="connsiteY162" fmla="*/ 441438 h 527461"/>
              <a:gd name="connsiteX163" fmla="*/ 598906 w 1211263"/>
              <a:gd name="connsiteY163" fmla="*/ 437583 h 527461"/>
              <a:gd name="connsiteX164" fmla="*/ 598906 w 1211263"/>
              <a:gd name="connsiteY164" fmla="*/ 431800 h 527461"/>
              <a:gd name="connsiteX165" fmla="*/ 730619 w 1211263"/>
              <a:gd name="connsiteY165" fmla="*/ 430636 h 527461"/>
              <a:gd name="connsiteX166" fmla="*/ 734607 w 1211263"/>
              <a:gd name="connsiteY166" fmla="*/ 430636 h 527461"/>
              <a:gd name="connsiteX167" fmla="*/ 734607 w 1211263"/>
              <a:gd name="connsiteY167" fmla="*/ 438679 h 527461"/>
              <a:gd name="connsiteX168" fmla="*/ 728626 w 1211263"/>
              <a:gd name="connsiteY168" fmla="*/ 446722 h 527461"/>
              <a:gd name="connsiteX169" fmla="*/ 722645 w 1211263"/>
              <a:gd name="connsiteY169" fmla="*/ 448733 h 527461"/>
              <a:gd name="connsiteX170" fmla="*/ 716664 w 1211263"/>
              <a:gd name="connsiteY170" fmla="*/ 450744 h 527461"/>
              <a:gd name="connsiteX171" fmla="*/ 708690 w 1211263"/>
              <a:gd name="connsiteY171" fmla="*/ 452755 h 527461"/>
              <a:gd name="connsiteX172" fmla="*/ 700715 w 1211263"/>
              <a:gd name="connsiteY172" fmla="*/ 454766 h 527461"/>
              <a:gd name="connsiteX173" fmla="*/ 694735 w 1211263"/>
              <a:gd name="connsiteY173" fmla="*/ 454766 h 527461"/>
              <a:gd name="connsiteX174" fmla="*/ 688754 w 1211263"/>
              <a:gd name="connsiteY174" fmla="*/ 456776 h 527461"/>
              <a:gd name="connsiteX175" fmla="*/ 680779 w 1211263"/>
              <a:gd name="connsiteY175" fmla="*/ 456776 h 527461"/>
              <a:gd name="connsiteX176" fmla="*/ 672805 w 1211263"/>
              <a:gd name="connsiteY176" fmla="*/ 454766 h 527461"/>
              <a:gd name="connsiteX177" fmla="*/ 662837 w 1211263"/>
              <a:gd name="connsiteY177" fmla="*/ 454766 h 527461"/>
              <a:gd name="connsiteX178" fmla="*/ 652869 w 1211263"/>
              <a:gd name="connsiteY178" fmla="*/ 452755 h 527461"/>
              <a:gd name="connsiteX179" fmla="*/ 652869 w 1211263"/>
              <a:gd name="connsiteY179" fmla="*/ 448733 h 527461"/>
              <a:gd name="connsiteX180" fmla="*/ 652869 w 1211263"/>
              <a:gd name="connsiteY180" fmla="*/ 444712 h 527461"/>
              <a:gd name="connsiteX181" fmla="*/ 652869 w 1211263"/>
              <a:gd name="connsiteY181" fmla="*/ 440690 h 527461"/>
              <a:gd name="connsiteX182" fmla="*/ 652869 w 1211263"/>
              <a:gd name="connsiteY182" fmla="*/ 438679 h 527461"/>
              <a:gd name="connsiteX183" fmla="*/ 660843 w 1211263"/>
              <a:gd name="connsiteY183" fmla="*/ 440690 h 527461"/>
              <a:gd name="connsiteX184" fmla="*/ 666824 w 1211263"/>
              <a:gd name="connsiteY184" fmla="*/ 436668 h 527461"/>
              <a:gd name="connsiteX185" fmla="*/ 674799 w 1211263"/>
              <a:gd name="connsiteY185" fmla="*/ 436668 h 527461"/>
              <a:gd name="connsiteX186" fmla="*/ 682773 w 1211263"/>
              <a:gd name="connsiteY186" fmla="*/ 438679 h 527461"/>
              <a:gd name="connsiteX187" fmla="*/ 686760 w 1211263"/>
              <a:gd name="connsiteY187" fmla="*/ 444712 h 527461"/>
              <a:gd name="connsiteX188" fmla="*/ 696728 w 1211263"/>
              <a:gd name="connsiteY188" fmla="*/ 446722 h 527461"/>
              <a:gd name="connsiteX189" fmla="*/ 700715 w 1211263"/>
              <a:gd name="connsiteY189" fmla="*/ 444712 h 527461"/>
              <a:gd name="connsiteX190" fmla="*/ 702709 w 1211263"/>
              <a:gd name="connsiteY190" fmla="*/ 442701 h 527461"/>
              <a:gd name="connsiteX191" fmla="*/ 712677 w 1211263"/>
              <a:gd name="connsiteY191" fmla="*/ 446722 h 527461"/>
              <a:gd name="connsiteX192" fmla="*/ 720651 w 1211263"/>
              <a:gd name="connsiteY192" fmla="*/ 444712 h 527461"/>
              <a:gd name="connsiteX193" fmla="*/ 724639 w 1211263"/>
              <a:gd name="connsiteY193" fmla="*/ 442701 h 527461"/>
              <a:gd name="connsiteX194" fmla="*/ 726632 w 1211263"/>
              <a:gd name="connsiteY194" fmla="*/ 440690 h 527461"/>
              <a:gd name="connsiteX195" fmla="*/ 730619 w 1211263"/>
              <a:gd name="connsiteY195" fmla="*/ 438679 h 527461"/>
              <a:gd name="connsiteX196" fmla="*/ 730619 w 1211263"/>
              <a:gd name="connsiteY196" fmla="*/ 430636 h 527461"/>
              <a:gd name="connsiteX197" fmla="*/ 911225 w 1211263"/>
              <a:gd name="connsiteY197" fmla="*/ 428625 h 527461"/>
              <a:gd name="connsiteX198" fmla="*/ 915459 w 1211263"/>
              <a:gd name="connsiteY198" fmla="*/ 428625 h 527461"/>
              <a:gd name="connsiteX199" fmla="*/ 917575 w 1211263"/>
              <a:gd name="connsiteY199" fmla="*/ 431006 h 527461"/>
              <a:gd name="connsiteX200" fmla="*/ 917575 w 1211263"/>
              <a:gd name="connsiteY200" fmla="*/ 433387 h 527461"/>
              <a:gd name="connsiteX201" fmla="*/ 911225 w 1211263"/>
              <a:gd name="connsiteY201" fmla="*/ 433387 h 527461"/>
              <a:gd name="connsiteX202" fmla="*/ 911225 w 1211263"/>
              <a:gd name="connsiteY202" fmla="*/ 428625 h 527461"/>
              <a:gd name="connsiteX203" fmla="*/ 915106 w 1211263"/>
              <a:gd name="connsiteY203" fmla="*/ 419100 h 527461"/>
              <a:gd name="connsiteX204" fmla="*/ 917046 w 1211263"/>
              <a:gd name="connsiteY204" fmla="*/ 419100 h 527461"/>
              <a:gd name="connsiteX205" fmla="*/ 920927 w 1211263"/>
              <a:gd name="connsiteY205" fmla="*/ 421005 h 527461"/>
              <a:gd name="connsiteX206" fmla="*/ 922867 w 1211263"/>
              <a:gd name="connsiteY206" fmla="*/ 422910 h 527461"/>
              <a:gd name="connsiteX207" fmla="*/ 920927 w 1211263"/>
              <a:gd name="connsiteY207" fmla="*/ 426720 h 527461"/>
              <a:gd name="connsiteX208" fmla="*/ 915106 w 1211263"/>
              <a:gd name="connsiteY208" fmla="*/ 424815 h 527461"/>
              <a:gd name="connsiteX209" fmla="*/ 911225 w 1211263"/>
              <a:gd name="connsiteY209" fmla="*/ 421005 h 527461"/>
              <a:gd name="connsiteX210" fmla="*/ 915106 w 1211263"/>
              <a:gd name="connsiteY210" fmla="*/ 419100 h 527461"/>
              <a:gd name="connsiteX211" fmla="*/ 831104 w 1211263"/>
              <a:gd name="connsiteY211" fmla="*/ 415925 h 527461"/>
              <a:gd name="connsiteX212" fmla="*/ 833065 w 1211263"/>
              <a:gd name="connsiteY212" fmla="*/ 417801 h 527461"/>
              <a:gd name="connsiteX213" fmla="*/ 835026 w 1211263"/>
              <a:gd name="connsiteY213" fmla="*/ 421554 h 527461"/>
              <a:gd name="connsiteX214" fmla="*/ 829143 w 1211263"/>
              <a:gd name="connsiteY214" fmla="*/ 423430 h 527461"/>
              <a:gd name="connsiteX215" fmla="*/ 827182 w 1211263"/>
              <a:gd name="connsiteY215" fmla="*/ 425306 h 527461"/>
              <a:gd name="connsiteX216" fmla="*/ 819338 w 1211263"/>
              <a:gd name="connsiteY216" fmla="*/ 425306 h 527461"/>
              <a:gd name="connsiteX217" fmla="*/ 817377 w 1211263"/>
              <a:gd name="connsiteY217" fmla="*/ 423430 h 527461"/>
              <a:gd name="connsiteX218" fmla="*/ 813455 w 1211263"/>
              <a:gd name="connsiteY218" fmla="*/ 423430 h 527461"/>
              <a:gd name="connsiteX219" fmla="*/ 809532 w 1211263"/>
              <a:gd name="connsiteY219" fmla="*/ 427182 h 527461"/>
              <a:gd name="connsiteX220" fmla="*/ 807571 w 1211263"/>
              <a:gd name="connsiteY220" fmla="*/ 434686 h 527461"/>
              <a:gd name="connsiteX221" fmla="*/ 805610 w 1211263"/>
              <a:gd name="connsiteY221" fmla="*/ 436562 h 527461"/>
              <a:gd name="connsiteX222" fmla="*/ 803649 w 1211263"/>
              <a:gd name="connsiteY222" fmla="*/ 434686 h 527461"/>
              <a:gd name="connsiteX223" fmla="*/ 805610 w 1211263"/>
              <a:gd name="connsiteY223" fmla="*/ 429058 h 527461"/>
              <a:gd name="connsiteX224" fmla="*/ 807571 w 1211263"/>
              <a:gd name="connsiteY224" fmla="*/ 425306 h 527461"/>
              <a:gd name="connsiteX225" fmla="*/ 809532 w 1211263"/>
              <a:gd name="connsiteY225" fmla="*/ 419677 h 527461"/>
              <a:gd name="connsiteX226" fmla="*/ 813455 w 1211263"/>
              <a:gd name="connsiteY226" fmla="*/ 417801 h 527461"/>
              <a:gd name="connsiteX227" fmla="*/ 817377 w 1211263"/>
              <a:gd name="connsiteY227" fmla="*/ 419677 h 527461"/>
              <a:gd name="connsiteX228" fmla="*/ 823260 w 1211263"/>
              <a:gd name="connsiteY228" fmla="*/ 417801 h 527461"/>
              <a:gd name="connsiteX229" fmla="*/ 827182 w 1211263"/>
              <a:gd name="connsiteY229" fmla="*/ 417801 h 527461"/>
              <a:gd name="connsiteX230" fmla="*/ 831104 w 1211263"/>
              <a:gd name="connsiteY230" fmla="*/ 415925 h 527461"/>
              <a:gd name="connsiteX231" fmla="*/ 589190 w 1211263"/>
              <a:gd name="connsiteY231" fmla="*/ 412750 h 527461"/>
              <a:gd name="connsiteX232" fmla="*/ 595313 w 1211263"/>
              <a:gd name="connsiteY232" fmla="*/ 414734 h 527461"/>
              <a:gd name="connsiteX233" fmla="*/ 587149 w 1211263"/>
              <a:gd name="connsiteY233" fmla="*/ 416719 h 527461"/>
              <a:gd name="connsiteX234" fmla="*/ 581025 w 1211263"/>
              <a:gd name="connsiteY234" fmla="*/ 414734 h 527461"/>
              <a:gd name="connsiteX235" fmla="*/ 589190 w 1211263"/>
              <a:gd name="connsiteY235" fmla="*/ 412750 h 527461"/>
              <a:gd name="connsiteX236" fmla="*/ 908580 w 1211263"/>
              <a:gd name="connsiteY236" fmla="*/ 411162 h 527461"/>
              <a:gd name="connsiteX237" fmla="*/ 912813 w 1211263"/>
              <a:gd name="connsiteY237" fmla="*/ 413279 h 527461"/>
              <a:gd name="connsiteX238" fmla="*/ 912813 w 1211263"/>
              <a:gd name="connsiteY238" fmla="*/ 415396 h 527461"/>
              <a:gd name="connsiteX239" fmla="*/ 912813 w 1211263"/>
              <a:gd name="connsiteY239" fmla="*/ 417512 h 527461"/>
              <a:gd name="connsiteX240" fmla="*/ 908580 w 1211263"/>
              <a:gd name="connsiteY240" fmla="*/ 415396 h 527461"/>
              <a:gd name="connsiteX241" fmla="*/ 906463 w 1211263"/>
              <a:gd name="connsiteY241" fmla="*/ 415396 h 527461"/>
              <a:gd name="connsiteX242" fmla="*/ 908580 w 1211263"/>
              <a:gd name="connsiteY242" fmla="*/ 411162 h 527461"/>
              <a:gd name="connsiteX243" fmla="*/ 713847 w 1211263"/>
              <a:gd name="connsiteY243" fmla="*/ 409971 h 527461"/>
              <a:gd name="connsiteX244" fmla="*/ 715963 w 1211263"/>
              <a:gd name="connsiteY244" fmla="*/ 411956 h 527461"/>
              <a:gd name="connsiteX245" fmla="*/ 715963 w 1211263"/>
              <a:gd name="connsiteY245" fmla="*/ 413940 h 527461"/>
              <a:gd name="connsiteX246" fmla="*/ 711730 w 1211263"/>
              <a:gd name="connsiteY246" fmla="*/ 415924 h 527461"/>
              <a:gd name="connsiteX247" fmla="*/ 709613 w 1211263"/>
              <a:gd name="connsiteY247" fmla="*/ 411956 h 527461"/>
              <a:gd name="connsiteX248" fmla="*/ 713847 w 1211263"/>
              <a:gd name="connsiteY248" fmla="*/ 409971 h 527461"/>
              <a:gd name="connsiteX249" fmla="*/ 702073 w 1211263"/>
              <a:gd name="connsiteY249" fmla="*/ 407987 h 527461"/>
              <a:gd name="connsiteX250" fmla="*/ 706042 w 1211263"/>
              <a:gd name="connsiteY250" fmla="*/ 409892 h 527461"/>
              <a:gd name="connsiteX251" fmla="*/ 708026 w 1211263"/>
              <a:gd name="connsiteY251" fmla="*/ 413702 h 527461"/>
              <a:gd name="connsiteX252" fmla="*/ 706042 w 1211263"/>
              <a:gd name="connsiteY252" fmla="*/ 415607 h 527461"/>
              <a:gd name="connsiteX253" fmla="*/ 704057 w 1211263"/>
              <a:gd name="connsiteY253" fmla="*/ 411797 h 527461"/>
              <a:gd name="connsiteX254" fmla="*/ 702073 w 1211263"/>
              <a:gd name="connsiteY254" fmla="*/ 407987 h 527461"/>
              <a:gd name="connsiteX255" fmla="*/ 679848 w 1211263"/>
              <a:gd name="connsiteY255" fmla="*/ 407035 h 527461"/>
              <a:gd name="connsiteX256" fmla="*/ 685801 w 1211263"/>
              <a:gd name="connsiteY256" fmla="*/ 407035 h 527461"/>
              <a:gd name="connsiteX257" fmla="*/ 689769 w 1211263"/>
              <a:gd name="connsiteY257" fmla="*/ 409257 h 527461"/>
              <a:gd name="connsiteX258" fmla="*/ 693738 w 1211263"/>
              <a:gd name="connsiteY258" fmla="*/ 413702 h 527461"/>
              <a:gd name="connsiteX259" fmla="*/ 693738 w 1211263"/>
              <a:gd name="connsiteY259" fmla="*/ 415924 h 527461"/>
              <a:gd name="connsiteX260" fmla="*/ 687785 w 1211263"/>
              <a:gd name="connsiteY260" fmla="*/ 413702 h 527461"/>
              <a:gd name="connsiteX261" fmla="*/ 681832 w 1211263"/>
              <a:gd name="connsiteY261" fmla="*/ 409257 h 527461"/>
              <a:gd name="connsiteX262" fmla="*/ 679848 w 1211263"/>
              <a:gd name="connsiteY262" fmla="*/ 407035 h 527461"/>
              <a:gd name="connsiteX263" fmla="*/ 962819 w 1211263"/>
              <a:gd name="connsiteY263" fmla="*/ 403225 h 527461"/>
              <a:gd name="connsiteX264" fmla="*/ 966788 w 1211263"/>
              <a:gd name="connsiteY264" fmla="*/ 405179 h 527461"/>
              <a:gd name="connsiteX265" fmla="*/ 964804 w 1211263"/>
              <a:gd name="connsiteY265" fmla="*/ 409087 h 527461"/>
              <a:gd name="connsiteX266" fmla="*/ 964804 w 1211263"/>
              <a:gd name="connsiteY266" fmla="*/ 414948 h 527461"/>
              <a:gd name="connsiteX267" fmla="*/ 962819 w 1211263"/>
              <a:gd name="connsiteY267" fmla="*/ 420810 h 527461"/>
              <a:gd name="connsiteX268" fmla="*/ 958851 w 1211263"/>
              <a:gd name="connsiteY268" fmla="*/ 426671 h 527461"/>
              <a:gd name="connsiteX269" fmla="*/ 954882 w 1211263"/>
              <a:gd name="connsiteY269" fmla="*/ 428625 h 527461"/>
              <a:gd name="connsiteX270" fmla="*/ 950913 w 1211263"/>
              <a:gd name="connsiteY270" fmla="*/ 426671 h 527461"/>
              <a:gd name="connsiteX271" fmla="*/ 950913 w 1211263"/>
              <a:gd name="connsiteY271" fmla="*/ 424718 h 527461"/>
              <a:gd name="connsiteX272" fmla="*/ 946944 w 1211263"/>
              <a:gd name="connsiteY272" fmla="*/ 422764 h 527461"/>
              <a:gd name="connsiteX273" fmla="*/ 950913 w 1211263"/>
              <a:gd name="connsiteY273" fmla="*/ 420810 h 527461"/>
              <a:gd name="connsiteX274" fmla="*/ 952897 w 1211263"/>
              <a:gd name="connsiteY274" fmla="*/ 418856 h 527461"/>
              <a:gd name="connsiteX275" fmla="*/ 952897 w 1211263"/>
              <a:gd name="connsiteY275" fmla="*/ 414948 h 527461"/>
              <a:gd name="connsiteX276" fmla="*/ 946944 w 1211263"/>
              <a:gd name="connsiteY276" fmla="*/ 416902 h 527461"/>
              <a:gd name="connsiteX277" fmla="*/ 942975 w 1211263"/>
              <a:gd name="connsiteY277" fmla="*/ 414948 h 527461"/>
              <a:gd name="connsiteX278" fmla="*/ 944960 w 1211263"/>
              <a:gd name="connsiteY278" fmla="*/ 412994 h 527461"/>
              <a:gd name="connsiteX279" fmla="*/ 952897 w 1211263"/>
              <a:gd name="connsiteY279" fmla="*/ 412994 h 527461"/>
              <a:gd name="connsiteX280" fmla="*/ 958851 w 1211263"/>
              <a:gd name="connsiteY280" fmla="*/ 409087 h 527461"/>
              <a:gd name="connsiteX281" fmla="*/ 962819 w 1211263"/>
              <a:gd name="connsiteY281" fmla="*/ 403225 h 527461"/>
              <a:gd name="connsiteX282" fmla="*/ 879475 w 1211263"/>
              <a:gd name="connsiteY282" fmla="*/ 403225 h 527461"/>
              <a:gd name="connsiteX283" fmla="*/ 879475 w 1211263"/>
              <a:gd name="connsiteY283" fmla="*/ 405606 h 527461"/>
              <a:gd name="connsiteX284" fmla="*/ 879475 w 1211263"/>
              <a:gd name="connsiteY284" fmla="*/ 407987 h 527461"/>
              <a:gd name="connsiteX285" fmla="*/ 876300 w 1211263"/>
              <a:gd name="connsiteY285" fmla="*/ 405606 h 527461"/>
              <a:gd name="connsiteX286" fmla="*/ 879475 w 1211263"/>
              <a:gd name="connsiteY286" fmla="*/ 403225 h 527461"/>
              <a:gd name="connsiteX287" fmla="*/ 615315 w 1211263"/>
              <a:gd name="connsiteY287" fmla="*/ 401955 h 527461"/>
              <a:gd name="connsiteX288" fmla="*/ 619125 w 1211263"/>
              <a:gd name="connsiteY288" fmla="*/ 403860 h 527461"/>
              <a:gd name="connsiteX289" fmla="*/ 615315 w 1211263"/>
              <a:gd name="connsiteY289" fmla="*/ 407670 h 527461"/>
              <a:gd name="connsiteX290" fmla="*/ 613410 w 1211263"/>
              <a:gd name="connsiteY290" fmla="*/ 407670 h 527461"/>
              <a:gd name="connsiteX291" fmla="*/ 609600 w 1211263"/>
              <a:gd name="connsiteY291" fmla="*/ 405765 h 527461"/>
              <a:gd name="connsiteX292" fmla="*/ 613410 w 1211263"/>
              <a:gd name="connsiteY292" fmla="*/ 403860 h 527461"/>
              <a:gd name="connsiteX293" fmla="*/ 615315 w 1211263"/>
              <a:gd name="connsiteY293" fmla="*/ 401955 h 527461"/>
              <a:gd name="connsiteX294" fmla="*/ 884767 w 1211263"/>
              <a:gd name="connsiteY294" fmla="*/ 400050 h 527461"/>
              <a:gd name="connsiteX295" fmla="*/ 889000 w 1211263"/>
              <a:gd name="connsiteY295" fmla="*/ 402034 h 527461"/>
              <a:gd name="connsiteX296" fmla="*/ 882650 w 1211263"/>
              <a:gd name="connsiteY296" fmla="*/ 404019 h 527461"/>
              <a:gd name="connsiteX297" fmla="*/ 884767 w 1211263"/>
              <a:gd name="connsiteY297" fmla="*/ 400050 h 527461"/>
              <a:gd name="connsiteX298" fmla="*/ 546101 w 1211263"/>
              <a:gd name="connsiteY298" fmla="*/ 400050 h 527461"/>
              <a:gd name="connsiteX299" fmla="*/ 549276 w 1211263"/>
              <a:gd name="connsiteY299" fmla="*/ 401638 h 527461"/>
              <a:gd name="connsiteX300" fmla="*/ 549276 w 1211263"/>
              <a:gd name="connsiteY300" fmla="*/ 404812 h 527461"/>
              <a:gd name="connsiteX301" fmla="*/ 546101 w 1211263"/>
              <a:gd name="connsiteY301" fmla="*/ 404812 h 527461"/>
              <a:gd name="connsiteX302" fmla="*/ 544513 w 1211263"/>
              <a:gd name="connsiteY302" fmla="*/ 403225 h 527461"/>
              <a:gd name="connsiteX303" fmla="*/ 546101 w 1211263"/>
              <a:gd name="connsiteY303" fmla="*/ 400050 h 527461"/>
              <a:gd name="connsiteX304" fmla="*/ 970492 w 1211263"/>
              <a:gd name="connsiteY304" fmla="*/ 397404 h 527461"/>
              <a:gd name="connsiteX305" fmla="*/ 972609 w 1211263"/>
              <a:gd name="connsiteY305" fmla="*/ 397404 h 527461"/>
              <a:gd name="connsiteX306" fmla="*/ 974725 w 1211263"/>
              <a:gd name="connsiteY306" fmla="*/ 399521 h 527461"/>
              <a:gd name="connsiteX307" fmla="*/ 972609 w 1211263"/>
              <a:gd name="connsiteY307" fmla="*/ 401637 h 527461"/>
              <a:gd name="connsiteX308" fmla="*/ 970492 w 1211263"/>
              <a:gd name="connsiteY308" fmla="*/ 401637 h 527461"/>
              <a:gd name="connsiteX309" fmla="*/ 970492 w 1211263"/>
              <a:gd name="connsiteY309" fmla="*/ 397404 h 527461"/>
              <a:gd name="connsiteX310" fmla="*/ 509985 w 1211263"/>
              <a:gd name="connsiteY310" fmla="*/ 397192 h 527461"/>
              <a:gd name="connsiteX311" fmla="*/ 515938 w 1211263"/>
              <a:gd name="connsiteY311" fmla="*/ 399097 h 527461"/>
              <a:gd name="connsiteX312" fmla="*/ 513954 w 1211263"/>
              <a:gd name="connsiteY312" fmla="*/ 402907 h 527461"/>
              <a:gd name="connsiteX313" fmla="*/ 508000 w 1211263"/>
              <a:gd name="connsiteY313" fmla="*/ 401002 h 527461"/>
              <a:gd name="connsiteX314" fmla="*/ 509985 w 1211263"/>
              <a:gd name="connsiteY314" fmla="*/ 397192 h 527461"/>
              <a:gd name="connsiteX315" fmla="*/ 1042036 w 1211263"/>
              <a:gd name="connsiteY315" fmla="*/ 395287 h 527461"/>
              <a:gd name="connsiteX316" fmla="*/ 1048704 w 1211263"/>
              <a:gd name="connsiteY316" fmla="*/ 395287 h 527461"/>
              <a:gd name="connsiteX317" fmla="*/ 1048704 w 1211263"/>
              <a:gd name="connsiteY317" fmla="*/ 400049 h 527461"/>
              <a:gd name="connsiteX318" fmla="*/ 1046481 w 1211263"/>
              <a:gd name="connsiteY318" fmla="*/ 400049 h 527461"/>
              <a:gd name="connsiteX319" fmla="*/ 1042036 w 1211263"/>
              <a:gd name="connsiteY319" fmla="*/ 400049 h 527461"/>
              <a:gd name="connsiteX320" fmla="*/ 1039813 w 1211263"/>
              <a:gd name="connsiteY320" fmla="*/ 397668 h 527461"/>
              <a:gd name="connsiteX321" fmla="*/ 1042036 w 1211263"/>
              <a:gd name="connsiteY321" fmla="*/ 395287 h 527461"/>
              <a:gd name="connsiteX322" fmla="*/ 962025 w 1211263"/>
              <a:gd name="connsiteY322" fmla="*/ 393700 h 527461"/>
              <a:gd name="connsiteX323" fmla="*/ 966788 w 1211263"/>
              <a:gd name="connsiteY323" fmla="*/ 395288 h 527461"/>
              <a:gd name="connsiteX324" fmla="*/ 966788 w 1211263"/>
              <a:gd name="connsiteY324" fmla="*/ 396875 h 527461"/>
              <a:gd name="connsiteX325" fmla="*/ 962025 w 1211263"/>
              <a:gd name="connsiteY325" fmla="*/ 396875 h 527461"/>
              <a:gd name="connsiteX326" fmla="*/ 962025 w 1211263"/>
              <a:gd name="connsiteY326" fmla="*/ 393700 h 527461"/>
              <a:gd name="connsiteX327" fmla="*/ 533930 w 1211263"/>
              <a:gd name="connsiteY327" fmla="*/ 393700 h 527461"/>
              <a:gd name="connsiteX328" fmla="*/ 540280 w 1211263"/>
              <a:gd name="connsiteY328" fmla="*/ 395817 h 527461"/>
              <a:gd name="connsiteX329" fmla="*/ 544513 w 1211263"/>
              <a:gd name="connsiteY329" fmla="*/ 397934 h 527461"/>
              <a:gd name="connsiteX330" fmla="*/ 540280 w 1211263"/>
              <a:gd name="connsiteY330" fmla="*/ 400050 h 527461"/>
              <a:gd name="connsiteX331" fmla="*/ 536047 w 1211263"/>
              <a:gd name="connsiteY331" fmla="*/ 400050 h 527461"/>
              <a:gd name="connsiteX332" fmla="*/ 533930 w 1211263"/>
              <a:gd name="connsiteY332" fmla="*/ 397934 h 527461"/>
              <a:gd name="connsiteX333" fmla="*/ 533930 w 1211263"/>
              <a:gd name="connsiteY333" fmla="*/ 393700 h 527461"/>
              <a:gd name="connsiteX334" fmla="*/ 470254 w 1211263"/>
              <a:gd name="connsiteY334" fmla="*/ 392708 h 527461"/>
              <a:gd name="connsiteX335" fmla="*/ 481895 w 1211263"/>
              <a:gd name="connsiteY335" fmla="*/ 392708 h 527461"/>
              <a:gd name="connsiteX336" fmla="*/ 497417 w 1211263"/>
              <a:gd name="connsiteY336" fmla="*/ 392708 h 527461"/>
              <a:gd name="connsiteX337" fmla="*/ 503238 w 1211263"/>
              <a:gd name="connsiteY337" fmla="*/ 399256 h 527461"/>
              <a:gd name="connsiteX338" fmla="*/ 495477 w 1211263"/>
              <a:gd name="connsiteY338" fmla="*/ 405804 h 527461"/>
              <a:gd name="connsiteX339" fmla="*/ 489656 w 1211263"/>
              <a:gd name="connsiteY339" fmla="*/ 407987 h 527461"/>
              <a:gd name="connsiteX340" fmla="*/ 476074 w 1211263"/>
              <a:gd name="connsiteY340" fmla="*/ 407987 h 527461"/>
              <a:gd name="connsiteX341" fmla="*/ 468313 w 1211263"/>
              <a:gd name="connsiteY341" fmla="*/ 401439 h 527461"/>
              <a:gd name="connsiteX342" fmla="*/ 470254 w 1211263"/>
              <a:gd name="connsiteY342" fmla="*/ 392708 h 527461"/>
              <a:gd name="connsiteX343" fmla="*/ 560388 w 1211263"/>
              <a:gd name="connsiteY343" fmla="*/ 392642 h 527461"/>
              <a:gd name="connsiteX344" fmla="*/ 563563 w 1211263"/>
              <a:gd name="connsiteY344" fmla="*/ 392642 h 527461"/>
              <a:gd name="connsiteX345" fmla="*/ 561976 w 1211263"/>
              <a:gd name="connsiteY345" fmla="*/ 394759 h 527461"/>
              <a:gd name="connsiteX346" fmla="*/ 560388 w 1211263"/>
              <a:gd name="connsiteY346" fmla="*/ 392642 h 527461"/>
              <a:gd name="connsiteX347" fmla="*/ 554633 w 1211263"/>
              <a:gd name="connsiteY347" fmla="*/ 392113 h 527461"/>
              <a:gd name="connsiteX348" fmla="*/ 555625 w 1211263"/>
              <a:gd name="connsiteY348" fmla="*/ 394759 h 527461"/>
              <a:gd name="connsiteX349" fmla="*/ 554038 w 1211263"/>
              <a:gd name="connsiteY349" fmla="*/ 396875 h 527461"/>
              <a:gd name="connsiteX350" fmla="*/ 552450 w 1211263"/>
              <a:gd name="connsiteY350" fmla="*/ 394759 h 527461"/>
              <a:gd name="connsiteX351" fmla="*/ 552450 w 1211263"/>
              <a:gd name="connsiteY351" fmla="*/ 392642 h 527461"/>
              <a:gd name="connsiteX352" fmla="*/ 554633 w 1211263"/>
              <a:gd name="connsiteY352" fmla="*/ 392113 h 527461"/>
              <a:gd name="connsiteX353" fmla="*/ 677070 w 1211263"/>
              <a:gd name="connsiteY353" fmla="*/ 385762 h 527461"/>
              <a:gd name="connsiteX354" fmla="*/ 679451 w 1211263"/>
              <a:gd name="connsiteY354" fmla="*/ 387350 h 527461"/>
              <a:gd name="connsiteX355" fmla="*/ 679451 w 1211263"/>
              <a:gd name="connsiteY355" fmla="*/ 390524 h 527461"/>
              <a:gd name="connsiteX356" fmla="*/ 674688 w 1211263"/>
              <a:gd name="connsiteY356" fmla="*/ 387350 h 527461"/>
              <a:gd name="connsiteX357" fmla="*/ 677070 w 1211263"/>
              <a:gd name="connsiteY357" fmla="*/ 385762 h 527461"/>
              <a:gd name="connsiteX358" fmla="*/ 966392 w 1211263"/>
              <a:gd name="connsiteY358" fmla="*/ 382587 h 527461"/>
              <a:gd name="connsiteX359" fmla="*/ 966392 w 1211263"/>
              <a:gd name="connsiteY359" fmla="*/ 387349 h 527461"/>
              <a:gd name="connsiteX360" fmla="*/ 962423 w 1211263"/>
              <a:gd name="connsiteY360" fmla="*/ 387349 h 527461"/>
              <a:gd name="connsiteX361" fmla="*/ 962423 w 1211263"/>
              <a:gd name="connsiteY361" fmla="*/ 384968 h 527461"/>
              <a:gd name="connsiteX362" fmla="*/ 966392 w 1211263"/>
              <a:gd name="connsiteY362" fmla="*/ 382587 h 527461"/>
              <a:gd name="connsiteX363" fmla="*/ 670984 w 1211263"/>
              <a:gd name="connsiteY363" fmla="*/ 382587 h 527461"/>
              <a:gd name="connsiteX364" fmla="*/ 673100 w 1211263"/>
              <a:gd name="connsiteY364" fmla="*/ 387032 h 527461"/>
              <a:gd name="connsiteX365" fmla="*/ 670984 w 1211263"/>
              <a:gd name="connsiteY365" fmla="*/ 391477 h 527461"/>
              <a:gd name="connsiteX366" fmla="*/ 666750 w 1211263"/>
              <a:gd name="connsiteY366" fmla="*/ 391477 h 527461"/>
              <a:gd name="connsiteX367" fmla="*/ 668867 w 1211263"/>
              <a:gd name="connsiteY367" fmla="*/ 387032 h 527461"/>
              <a:gd name="connsiteX368" fmla="*/ 670984 w 1211263"/>
              <a:gd name="connsiteY368" fmla="*/ 382587 h 527461"/>
              <a:gd name="connsiteX369" fmla="*/ 684848 w 1211263"/>
              <a:gd name="connsiteY369" fmla="*/ 379412 h 527461"/>
              <a:gd name="connsiteX370" fmla="*/ 689293 w 1211263"/>
              <a:gd name="connsiteY370" fmla="*/ 381396 h 527461"/>
              <a:gd name="connsiteX371" fmla="*/ 691516 w 1211263"/>
              <a:gd name="connsiteY371" fmla="*/ 383381 h 527461"/>
              <a:gd name="connsiteX372" fmla="*/ 693738 w 1211263"/>
              <a:gd name="connsiteY372" fmla="*/ 385365 h 527461"/>
              <a:gd name="connsiteX373" fmla="*/ 689293 w 1211263"/>
              <a:gd name="connsiteY373" fmla="*/ 387349 h 527461"/>
              <a:gd name="connsiteX374" fmla="*/ 687070 w 1211263"/>
              <a:gd name="connsiteY374" fmla="*/ 385365 h 527461"/>
              <a:gd name="connsiteX375" fmla="*/ 684848 w 1211263"/>
              <a:gd name="connsiteY375" fmla="*/ 383381 h 527461"/>
              <a:gd name="connsiteX376" fmla="*/ 684848 w 1211263"/>
              <a:gd name="connsiteY376" fmla="*/ 379412 h 527461"/>
              <a:gd name="connsiteX377" fmla="*/ 689505 w 1211263"/>
              <a:gd name="connsiteY377" fmla="*/ 374650 h 527461"/>
              <a:gd name="connsiteX378" fmla="*/ 691622 w 1211263"/>
              <a:gd name="connsiteY378" fmla="*/ 374650 h 527461"/>
              <a:gd name="connsiteX379" fmla="*/ 691622 w 1211263"/>
              <a:gd name="connsiteY379" fmla="*/ 377031 h 527461"/>
              <a:gd name="connsiteX380" fmla="*/ 687388 w 1211263"/>
              <a:gd name="connsiteY380" fmla="*/ 379412 h 527461"/>
              <a:gd name="connsiteX381" fmla="*/ 689505 w 1211263"/>
              <a:gd name="connsiteY381" fmla="*/ 374650 h 527461"/>
              <a:gd name="connsiteX382" fmla="*/ 990600 w 1211263"/>
              <a:gd name="connsiteY382" fmla="*/ 365654 h 527461"/>
              <a:gd name="connsiteX383" fmla="*/ 995363 w 1211263"/>
              <a:gd name="connsiteY383" fmla="*/ 367771 h 527461"/>
              <a:gd name="connsiteX384" fmla="*/ 990600 w 1211263"/>
              <a:gd name="connsiteY384" fmla="*/ 369887 h 527461"/>
              <a:gd name="connsiteX385" fmla="*/ 990600 w 1211263"/>
              <a:gd name="connsiteY385" fmla="*/ 365654 h 527461"/>
              <a:gd name="connsiteX386" fmla="*/ 319916 w 1211263"/>
              <a:gd name="connsiteY386" fmla="*/ 365539 h 527461"/>
              <a:gd name="connsiteX387" fmla="*/ 325921 w 1211263"/>
              <a:gd name="connsiteY387" fmla="*/ 367541 h 527461"/>
              <a:gd name="connsiteX388" fmla="*/ 333927 w 1211263"/>
              <a:gd name="connsiteY388" fmla="*/ 367541 h 527461"/>
              <a:gd name="connsiteX389" fmla="*/ 337931 w 1211263"/>
              <a:gd name="connsiteY389" fmla="*/ 371544 h 527461"/>
              <a:gd name="connsiteX390" fmla="*/ 343936 w 1211263"/>
              <a:gd name="connsiteY390" fmla="*/ 375547 h 527461"/>
              <a:gd name="connsiteX391" fmla="*/ 349940 w 1211263"/>
              <a:gd name="connsiteY391" fmla="*/ 373545 h 527461"/>
              <a:gd name="connsiteX392" fmla="*/ 355945 w 1211263"/>
              <a:gd name="connsiteY392" fmla="*/ 377549 h 527461"/>
              <a:gd name="connsiteX393" fmla="*/ 357947 w 1211263"/>
              <a:gd name="connsiteY393" fmla="*/ 385555 h 527461"/>
              <a:gd name="connsiteX394" fmla="*/ 357947 w 1211263"/>
              <a:gd name="connsiteY394" fmla="*/ 391560 h 527461"/>
              <a:gd name="connsiteX395" fmla="*/ 365954 w 1211263"/>
              <a:gd name="connsiteY395" fmla="*/ 393562 h 527461"/>
              <a:gd name="connsiteX396" fmla="*/ 371958 w 1211263"/>
              <a:gd name="connsiteY396" fmla="*/ 391560 h 527461"/>
              <a:gd name="connsiteX397" fmla="*/ 383968 w 1211263"/>
              <a:gd name="connsiteY397" fmla="*/ 395563 h 527461"/>
              <a:gd name="connsiteX398" fmla="*/ 389973 w 1211263"/>
              <a:gd name="connsiteY398" fmla="*/ 393562 h 527461"/>
              <a:gd name="connsiteX399" fmla="*/ 403984 w 1211263"/>
              <a:gd name="connsiteY399" fmla="*/ 395563 h 527461"/>
              <a:gd name="connsiteX400" fmla="*/ 411991 w 1211263"/>
              <a:gd name="connsiteY400" fmla="*/ 395563 h 527461"/>
              <a:gd name="connsiteX401" fmla="*/ 415994 w 1211263"/>
              <a:gd name="connsiteY401" fmla="*/ 389558 h 527461"/>
              <a:gd name="connsiteX402" fmla="*/ 421999 w 1211263"/>
              <a:gd name="connsiteY402" fmla="*/ 385555 h 527461"/>
              <a:gd name="connsiteX403" fmla="*/ 434009 w 1211263"/>
              <a:gd name="connsiteY403" fmla="*/ 387557 h 527461"/>
              <a:gd name="connsiteX404" fmla="*/ 446019 w 1211263"/>
              <a:gd name="connsiteY404" fmla="*/ 391560 h 527461"/>
              <a:gd name="connsiteX405" fmla="*/ 462032 w 1211263"/>
              <a:gd name="connsiteY405" fmla="*/ 399567 h 527461"/>
              <a:gd name="connsiteX406" fmla="*/ 472040 w 1211263"/>
              <a:gd name="connsiteY406" fmla="*/ 413578 h 527461"/>
              <a:gd name="connsiteX407" fmla="*/ 482048 w 1211263"/>
              <a:gd name="connsiteY407" fmla="*/ 419583 h 527461"/>
              <a:gd name="connsiteX408" fmla="*/ 494058 w 1211263"/>
              <a:gd name="connsiteY408" fmla="*/ 419583 h 527461"/>
              <a:gd name="connsiteX409" fmla="*/ 506068 w 1211263"/>
              <a:gd name="connsiteY409" fmla="*/ 421585 h 527461"/>
              <a:gd name="connsiteX410" fmla="*/ 510071 w 1211263"/>
              <a:gd name="connsiteY410" fmla="*/ 429591 h 527461"/>
              <a:gd name="connsiteX411" fmla="*/ 518077 w 1211263"/>
              <a:gd name="connsiteY411" fmla="*/ 435596 h 527461"/>
              <a:gd name="connsiteX412" fmla="*/ 528086 w 1211263"/>
              <a:gd name="connsiteY412" fmla="*/ 437598 h 527461"/>
              <a:gd name="connsiteX413" fmla="*/ 538094 w 1211263"/>
              <a:gd name="connsiteY413" fmla="*/ 437598 h 527461"/>
              <a:gd name="connsiteX414" fmla="*/ 544099 w 1211263"/>
              <a:gd name="connsiteY414" fmla="*/ 439599 h 527461"/>
              <a:gd name="connsiteX415" fmla="*/ 546100 w 1211263"/>
              <a:gd name="connsiteY415" fmla="*/ 447606 h 527461"/>
              <a:gd name="connsiteX416" fmla="*/ 536092 w 1211263"/>
              <a:gd name="connsiteY416" fmla="*/ 449607 h 527461"/>
              <a:gd name="connsiteX417" fmla="*/ 518077 w 1211263"/>
              <a:gd name="connsiteY417" fmla="*/ 443602 h 527461"/>
              <a:gd name="connsiteX418" fmla="*/ 510071 w 1211263"/>
              <a:gd name="connsiteY418" fmla="*/ 439599 h 527461"/>
              <a:gd name="connsiteX419" fmla="*/ 510071 w 1211263"/>
              <a:gd name="connsiteY419" fmla="*/ 445604 h 527461"/>
              <a:gd name="connsiteX420" fmla="*/ 516076 w 1211263"/>
              <a:gd name="connsiteY420" fmla="*/ 453611 h 527461"/>
              <a:gd name="connsiteX421" fmla="*/ 508069 w 1211263"/>
              <a:gd name="connsiteY421" fmla="*/ 455612 h 527461"/>
              <a:gd name="connsiteX422" fmla="*/ 498061 w 1211263"/>
              <a:gd name="connsiteY422" fmla="*/ 449607 h 527461"/>
              <a:gd name="connsiteX423" fmla="*/ 482048 w 1211263"/>
              <a:gd name="connsiteY423" fmla="*/ 441601 h 527461"/>
              <a:gd name="connsiteX424" fmla="*/ 470038 w 1211263"/>
              <a:gd name="connsiteY424" fmla="*/ 439599 h 527461"/>
              <a:gd name="connsiteX425" fmla="*/ 458029 w 1211263"/>
              <a:gd name="connsiteY425" fmla="*/ 443602 h 527461"/>
              <a:gd name="connsiteX426" fmla="*/ 444017 w 1211263"/>
              <a:gd name="connsiteY426" fmla="*/ 439599 h 527461"/>
              <a:gd name="connsiteX427" fmla="*/ 434009 w 1211263"/>
              <a:gd name="connsiteY427" fmla="*/ 441601 h 527461"/>
              <a:gd name="connsiteX428" fmla="*/ 424001 w 1211263"/>
              <a:gd name="connsiteY428" fmla="*/ 443602 h 527461"/>
              <a:gd name="connsiteX429" fmla="*/ 407988 w 1211263"/>
              <a:gd name="connsiteY429" fmla="*/ 433594 h 527461"/>
              <a:gd name="connsiteX430" fmla="*/ 391975 w 1211263"/>
              <a:gd name="connsiteY430" fmla="*/ 425588 h 527461"/>
              <a:gd name="connsiteX431" fmla="*/ 383968 w 1211263"/>
              <a:gd name="connsiteY431" fmla="*/ 425588 h 527461"/>
              <a:gd name="connsiteX432" fmla="*/ 375962 w 1211263"/>
              <a:gd name="connsiteY432" fmla="*/ 421585 h 527461"/>
              <a:gd name="connsiteX433" fmla="*/ 369957 w 1211263"/>
              <a:gd name="connsiteY433" fmla="*/ 425588 h 527461"/>
              <a:gd name="connsiteX434" fmla="*/ 359949 w 1211263"/>
              <a:gd name="connsiteY434" fmla="*/ 423586 h 527461"/>
              <a:gd name="connsiteX435" fmla="*/ 345937 w 1211263"/>
              <a:gd name="connsiteY435" fmla="*/ 425588 h 527461"/>
              <a:gd name="connsiteX436" fmla="*/ 329924 w 1211263"/>
              <a:gd name="connsiteY436" fmla="*/ 419583 h 527461"/>
              <a:gd name="connsiteX437" fmla="*/ 317914 w 1211263"/>
              <a:gd name="connsiteY437" fmla="*/ 415580 h 527461"/>
              <a:gd name="connsiteX438" fmla="*/ 303903 w 1211263"/>
              <a:gd name="connsiteY438" fmla="*/ 411576 h 527461"/>
              <a:gd name="connsiteX439" fmla="*/ 299900 w 1211263"/>
              <a:gd name="connsiteY439" fmla="*/ 405571 h 527461"/>
              <a:gd name="connsiteX440" fmla="*/ 299900 w 1211263"/>
              <a:gd name="connsiteY440" fmla="*/ 397565 h 527461"/>
              <a:gd name="connsiteX441" fmla="*/ 293895 w 1211263"/>
              <a:gd name="connsiteY441" fmla="*/ 393562 h 527461"/>
              <a:gd name="connsiteX442" fmla="*/ 287890 w 1211263"/>
              <a:gd name="connsiteY442" fmla="*/ 395563 h 527461"/>
              <a:gd name="connsiteX443" fmla="*/ 279883 w 1211263"/>
              <a:gd name="connsiteY443" fmla="*/ 395563 h 527461"/>
              <a:gd name="connsiteX444" fmla="*/ 281885 w 1211263"/>
              <a:gd name="connsiteY444" fmla="*/ 383554 h 527461"/>
              <a:gd name="connsiteX445" fmla="*/ 285888 w 1211263"/>
              <a:gd name="connsiteY445" fmla="*/ 375547 h 527461"/>
              <a:gd name="connsiteX446" fmla="*/ 289892 w 1211263"/>
              <a:gd name="connsiteY446" fmla="*/ 367541 h 527461"/>
              <a:gd name="connsiteX447" fmla="*/ 301901 w 1211263"/>
              <a:gd name="connsiteY447" fmla="*/ 367541 h 527461"/>
              <a:gd name="connsiteX448" fmla="*/ 311909 w 1211263"/>
              <a:gd name="connsiteY448" fmla="*/ 371544 h 527461"/>
              <a:gd name="connsiteX449" fmla="*/ 317914 w 1211263"/>
              <a:gd name="connsiteY449" fmla="*/ 371544 h 527461"/>
              <a:gd name="connsiteX450" fmla="*/ 319916 w 1211263"/>
              <a:gd name="connsiteY450" fmla="*/ 365539 h 527461"/>
              <a:gd name="connsiteX451" fmla="*/ 1042843 w 1211263"/>
              <a:gd name="connsiteY451" fmla="*/ 365125 h 527461"/>
              <a:gd name="connsiteX452" fmla="*/ 1046884 w 1211263"/>
              <a:gd name="connsiteY452" fmla="*/ 367166 h 527461"/>
              <a:gd name="connsiteX453" fmla="*/ 1048905 w 1211263"/>
              <a:gd name="connsiteY453" fmla="*/ 373290 h 527461"/>
              <a:gd name="connsiteX454" fmla="*/ 1050925 w 1211263"/>
              <a:gd name="connsiteY454" fmla="*/ 377372 h 527461"/>
              <a:gd name="connsiteX455" fmla="*/ 1048905 w 1211263"/>
              <a:gd name="connsiteY455" fmla="*/ 381454 h 527461"/>
              <a:gd name="connsiteX456" fmla="*/ 1048905 w 1211263"/>
              <a:gd name="connsiteY456" fmla="*/ 385536 h 527461"/>
              <a:gd name="connsiteX457" fmla="*/ 1046884 w 1211263"/>
              <a:gd name="connsiteY457" fmla="*/ 389618 h 527461"/>
              <a:gd name="connsiteX458" fmla="*/ 1044864 w 1211263"/>
              <a:gd name="connsiteY458" fmla="*/ 385536 h 527461"/>
              <a:gd name="connsiteX459" fmla="*/ 1042843 w 1211263"/>
              <a:gd name="connsiteY459" fmla="*/ 379413 h 527461"/>
              <a:gd name="connsiteX460" fmla="*/ 1036782 w 1211263"/>
              <a:gd name="connsiteY460" fmla="*/ 377372 h 527461"/>
              <a:gd name="connsiteX461" fmla="*/ 1034762 w 1211263"/>
              <a:gd name="connsiteY461" fmla="*/ 379413 h 527461"/>
              <a:gd name="connsiteX462" fmla="*/ 1036782 w 1211263"/>
              <a:gd name="connsiteY462" fmla="*/ 381454 h 527461"/>
              <a:gd name="connsiteX463" fmla="*/ 1040823 w 1211263"/>
              <a:gd name="connsiteY463" fmla="*/ 383495 h 527461"/>
              <a:gd name="connsiteX464" fmla="*/ 1038803 w 1211263"/>
              <a:gd name="connsiteY464" fmla="*/ 385536 h 527461"/>
              <a:gd name="connsiteX465" fmla="*/ 1036782 w 1211263"/>
              <a:gd name="connsiteY465" fmla="*/ 389618 h 527461"/>
              <a:gd name="connsiteX466" fmla="*/ 1034762 w 1211263"/>
              <a:gd name="connsiteY466" fmla="*/ 393700 h 527461"/>
              <a:gd name="connsiteX467" fmla="*/ 1030721 w 1211263"/>
              <a:gd name="connsiteY467" fmla="*/ 393700 h 527461"/>
              <a:gd name="connsiteX468" fmla="*/ 1028700 w 1211263"/>
              <a:gd name="connsiteY468" fmla="*/ 391659 h 527461"/>
              <a:gd name="connsiteX469" fmla="*/ 1030721 w 1211263"/>
              <a:gd name="connsiteY469" fmla="*/ 385536 h 527461"/>
              <a:gd name="connsiteX470" fmla="*/ 1032741 w 1211263"/>
              <a:gd name="connsiteY470" fmla="*/ 377372 h 527461"/>
              <a:gd name="connsiteX471" fmla="*/ 1030721 w 1211263"/>
              <a:gd name="connsiteY471" fmla="*/ 371248 h 527461"/>
              <a:gd name="connsiteX472" fmla="*/ 1030721 w 1211263"/>
              <a:gd name="connsiteY472" fmla="*/ 367166 h 527461"/>
              <a:gd name="connsiteX473" fmla="*/ 1032741 w 1211263"/>
              <a:gd name="connsiteY473" fmla="*/ 367166 h 527461"/>
              <a:gd name="connsiteX474" fmla="*/ 1036782 w 1211263"/>
              <a:gd name="connsiteY474" fmla="*/ 369207 h 527461"/>
              <a:gd name="connsiteX475" fmla="*/ 1036782 w 1211263"/>
              <a:gd name="connsiteY475" fmla="*/ 371248 h 527461"/>
              <a:gd name="connsiteX476" fmla="*/ 1040823 w 1211263"/>
              <a:gd name="connsiteY476" fmla="*/ 373290 h 527461"/>
              <a:gd name="connsiteX477" fmla="*/ 1038803 w 1211263"/>
              <a:gd name="connsiteY477" fmla="*/ 369207 h 527461"/>
              <a:gd name="connsiteX478" fmla="*/ 1042843 w 1211263"/>
              <a:gd name="connsiteY478" fmla="*/ 365125 h 527461"/>
              <a:gd name="connsiteX479" fmla="*/ 988484 w 1211263"/>
              <a:gd name="connsiteY479" fmla="*/ 358775 h 527461"/>
              <a:gd name="connsiteX480" fmla="*/ 990600 w 1211263"/>
              <a:gd name="connsiteY480" fmla="*/ 362744 h 527461"/>
              <a:gd name="connsiteX481" fmla="*/ 988484 w 1211263"/>
              <a:gd name="connsiteY481" fmla="*/ 366712 h 527461"/>
              <a:gd name="connsiteX482" fmla="*/ 986367 w 1211263"/>
              <a:gd name="connsiteY482" fmla="*/ 362744 h 527461"/>
              <a:gd name="connsiteX483" fmla="*/ 988484 w 1211263"/>
              <a:gd name="connsiteY483" fmla="*/ 358775 h 527461"/>
              <a:gd name="connsiteX484" fmla="*/ 675640 w 1211263"/>
              <a:gd name="connsiteY484" fmla="*/ 355600 h 527461"/>
              <a:gd name="connsiteX485" fmla="*/ 677545 w 1211263"/>
              <a:gd name="connsiteY485" fmla="*/ 357621 h 527461"/>
              <a:gd name="connsiteX486" fmla="*/ 675640 w 1211263"/>
              <a:gd name="connsiteY486" fmla="*/ 365703 h 527461"/>
              <a:gd name="connsiteX487" fmla="*/ 675640 w 1211263"/>
              <a:gd name="connsiteY487" fmla="*/ 371764 h 527461"/>
              <a:gd name="connsiteX488" fmla="*/ 673735 w 1211263"/>
              <a:gd name="connsiteY488" fmla="*/ 375805 h 527461"/>
              <a:gd name="connsiteX489" fmla="*/ 673735 w 1211263"/>
              <a:gd name="connsiteY489" fmla="*/ 377825 h 527461"/>
              <a:gd name="connsiteX490" fmla="*/ 669925 w 1211263"/>
              <a:gd name="connsiteY490" fmla="*/ 375805 h 527461"/>
              <a:gd name="connsiteX491" fmla="*/ 671830 w 1211263"/>
              <a:gd name="connsiteY491" fmla="*/ 371764 h 527461"/>
              <a:gd name="connsiteX492" fmla="*/ 673735 w 1211263"/>
              <a:gd name="connsiteY492" fmla="*/ 365703 h 527461"/>
              <a:gd name="connsiteX493" fmla="*/ 671830 w 1211263"/>
              <a:gd name="connsiteY493" fmla="*/ 361662 h 527461"/>
              <a:gd name="connsiteX494" fmla="*/ 671830 w 1211263"/>
              <a:gd name="connsiteY494" fmla="*/ 359641 h 527461"/>
              <a:gd name="connsiteX495" fmla="*/ 675640 w 1211263"/>
              <a:gd name="connsiteY495" fmla="*/ 355600 h 527461"/>
              <a:gd name="connsiteX496" fmla="*/ 783697 w 1211263"/>
              <a:gd name="connsiteY496" fmla="*/ 354012 h 527461"/>
              <a:gd name="connsiteX497" fmla="*/ 785813 w 1211263"/>
              <a:gd name="connsiteY497" fmla="*/ 355996 h 527461"/>
              <a:gd name="connsiteX498" fmla="*/ 783697 w 1211263"/>
              <a:gd name="connsiteY498" fmla="*/ 357981 h 527461"/>
              <a:gd name="connsiteX499" fmla="*/ 781580 w 1211263"/>
              <a:gd name="connsiteY499" fmla="*/ 359965 h 527461"/>
              <a:gd name="connsiteX500" fmla="*/ 781580 w 1211263"/>
              <a:gd name="connsiteY500" fmla="*/ 355996 h 527461"/>
              <a:gd name="connsiteX501" fmla="*/ 783697 w 1211263"/>
              <a:gd name="connsiteY501" fmla="*/ 354012 h 527461"/>
              <a:gd name="connsiteX502" fmla="*/ 758825 w 1211263"/>
              <a:gd name="connsiteY502" fmla="*/ 351155 h 527461"/>
              <a:gd name="connsiteX503" fmla="*/ 765175 w 1211263"/>
              <a:gd name="connsiteY503" fmla="*/ 351155 h 527461"/>
              <a:gd name="connsiteX504" fmla="*/ 765175 w 1211263"/>
              <a:gd name="connsiteY504" fmla="*/ 354965 h 527461"/>
              <a:gd name="connsiteX505" fmla="*/ 765175 w 1211263"/>
              <a:gd name="connsiteY505" fmla="*/ 356870 h 527461"/>
              <a:gd name="connsiteX506" fmla="*/ 763059 w 1211263"/>
              <a:gd name="connsiteY506" fmla="*/ 358775 h 527461"/>
              <a:gd name="connsiteX507" fmla="*/ 763059 w 1211263"/>
              <a:gd name="connsiteY507" fmla="*/ 356870 h 527461"/>
              <a:gd name="connsiteX508" fmla="*/ 760942 w 1211263"/>
              <a:gd name="connsiteY508" fmla="*/ 354965 h 527461"/>
              <a:gd name="connsiteX509" fmla="*/ 758825 w 1211263"/>
              <a:gd name="connsiteY509" fmla="*/ 351155 h 527461"/>
              <a:gd name="connsiteX510" fmla="*/ 1042459 w 1211263"/>
              <a:gd name="connsiteY510" fmla="*/ 350837 h 527461"/>
              <a:gd name="connsiteX511" fmla="*/ 1042459 w 1211263"/>
              <a:gd name="connsiteY511" fmla="*/ 355071 h 527461"/>
              <a:gd name="connsiteX512" fmla="*/ 1044311 w 1211263"/>
              <a:gd name="connsiteY512" fmla="*/ 357187 h 527461"/>
              <a:gd name="connsiteX513" fmla="*/ 1046163 w 1211263"/>
              <a:gd name="connsiteY513" fmla="*/ 361421 h 527461"/>
              <a:gd name="connsiteX514" fmla="*/ 1044311 w 1211263"/>
              <a:gd name="connsiteY514" fmla="*/ 363537 h 527461"/>
              <a:gd name="connsiteX515" fmla="*/ 1040607 w 1211263"/>
              <a:gd name="connsiteY515" fmla="*/ 363537 h 527461"/>
              <a:gd name="connsiteX516" fmla="*/ 1038755 w 1211263"/>
              <a:gd name="connsiteY516" fmla="*/ 363537 h 527461"/>
              <a:gd name="connsiteX517" fmla="*/ 1035050 w 1211263"/>
              <a:gd name="connsiteY517" fmla="*/ 361421 h 527461"/>
              <a:gd name="connsiteX518" fmla="*/ 1035050 w 1211263"/>
              <a:gd name="connsiteY518" fmla="*/ 357187 h 527461"/>
              <a:gd name="connsiteX519" fmla="*/ 1035050 w 1211263"/>
              <a:gd name="connsiteY519" fmla="*/ 352954 h 527461"/>
              <a:gd name="connsiteX520" fmla="*/ 1038755 w 1211263"/>
              <a:gd name="connsiteY520" fmla="*/ 352954 h 527461"/>
              <a:gd name="connsiteX521" fmla="*/ 1042459 w 1211263"/>
              <a:gd name="connsiteY521" fmla="*/ 350837 h 527461"/>
              <a:gd name="connsiteX522" fmla="*/ 981869 w 1211263"/>
              <a:gd name="connsiteY522" fmla="*/ 349250 h 527461"/>
              <a:gd name="connsiteX523" fmla="*/ 985838 w 1211263"/>
              <a:gd name="connsiteY523" fmla="*/ 349250 h 527461"/>
              <a:gd name="connsiteX524" fmla="*/ 985838 w 1211263"/>
              <a:gd name="connsiteY524" fmla="*/ 353484 h 527461"/>
              <a:gd name="connsiteX525" fmla="*/ 983854 w 1211263"/>
              <a:gd name="connsiteY525" fmla="*/ 359834 h 527461"/>
              <a:gd name="connsiteX526" fmla="*/ 981869 w 1211263"/>
              <a:gd name="connsiteY526" fmla="*/ 361950 h 527461"/>
              <a:gd name="connsiteX527" fmla="*/ 977901 w 1211263"/>
              <a:gd name="connsiteY527" fmla="*/ 359834 h 527461"/>
              <a:gd name="connsiteX528" fmla="*/ 973932 w 1211263"/>
              <a:gd name="connsiteY528" fmla="*/ 357717 h 527461"/>
              <a:gd name="connsiteX529" fmla="*/ 969963 w 1211263"/>
              <a:gd name="connsiteY529" fmla="*/ 357717 h 527461"/>
              <a:gd name="connsiteX530" fmla="*/ 971948 w 1211263"/>
              <a:gd name="connsiteY530" fmla="*/ 353484 h 527461"/>
              <a:gd name="connsiteX531" fmla="*/ 973932 w 1211263"/>
              <a:gd name="connsiteY531" fmla="*/ 351367 h 527461"/>
              <a:gd name="connsiteX532" fmla="*/ 977901 w 1211263"/>
              <a:gd name="connsiteY532" fmla="*/ 353484 h 527461"/>
              <a:gd name="connsiteX533" fmla="*/ 981869 w 1211263"/>
              <a:gd name="connsiteY533" fmla="*/ 349250 h 527461"/>
              <a:gd name="connsiteX534" fmla="*/ 1004183 w 1211263"/>
              <a:gd name="connsiteY534" fmla="*/ 346075 h 527461"/>
              <a:gd name="connsiteX535" fmla="*/ 1008063 w 1211263"/>
              <a:gd name="connsiteY535" fmla="*/ 346075 h 527461"/>
              <a:gd name="connsiteX536" fmla="*/ 1008063 w 1211263"/>
              <a:gd name="connsiteY536" fmla="*/ 351896 h 527461"/>
              <a:gd name="connsiteX537" fmla="*/ 1008063 w 1211263"/>
              <a:gd name="connsiteY537" fmla="*/ 355776 h 527461"/>
              <a:gd name="connsiteX538" fmla="*/ 1002242 w 1211263"/>
              <a:gd name="connsiteY538" fmla="*/ 357717 h 527461"/>
              <a:gd name="connsiteX539" fmla="*/ 1000302 w 1211263"/>
              <a:gd name="connsiteY539" fmla="*/ 361597 h 527461"/>
              <a:gd name="connsiteX540" fmla="*/ 998362 w 1211263"/>
              <a:gd name="connsiteY540" fmla="*/ 363537 h 527461"/>
              <a:gd name="connsiteX541" fmla="*/ 996421 w 1211263"/>
              <a:gd name="connsiteY541" fmla="*/ 361597 h 527461"/>
              <a:gd name="connsiteX542" fmla="*/ 992541 w 1211263"/>
              <a:gd name="connsiteY542" fmla="*/ 361597 h 527461"/>
              <a:gd name="connsiteX543" fmla="*/ 990600 w 1211263"/>
              <a:gd name="connsiteY543" fmla="*/ 357717 h 527461"/>
              <a:gd name="connsiteX544" fmla="*/ 992541 w 1211263"/>
              <a:gd name="connsiteY544" fmla="*/ 355776 h 527461"/>
              <a:gd name="connsiteX545" fmla="*/ 994481 w 1211263"/>
              <a:gd name="connsiteY545" fmla="*/ 353836 h 527461"/>
              <a:gd name="connsiteX546" fmla="*/ 998362 w 1211263"/>
              <a:gd name="connsiteY546" fmla="*/ 353836 h 527461"/>
              <a:gd name="connsiteX547" fmla="*/ 1002242 w 1211263"/>
              <a:gd name="connsiteY547" fmla="*/ 349956 h 527461"/>
              <a:gd name="connsiteX548" fmla="*/ 1004183 w 1211263"/>
              <a:gd name="connsiteY548" fmla="*/ 346075 h 527461"/>
              <a:gd name="connsiteX549" fmla="*/ 713582 w 1211263"/>
              <a:gd name="connsiteY549" fmla="*/ 343429 h 527461"/>
              <a:gd name="connsiteX550" fmla="*/ 715567 w 1211263"/>
              <a:gd name="connsiteY550" fmla="*/ 347662 h 527461"/>
              <a:gd name="connsiteX551" fmla="*/ 713582 w 1211263"/>
              <a:gd name="connsiteY551" fmla="*/ 349779 h 527461"/>
              <a:gd name="connsiteX552" fmla="*/ 709613 w 1211263"/>
              <a:gd name="connsiteY552" fmla="*/ 351896 h 527461"/>
              <a:gd name="connsiteX553" fmla="*/ 709613 w 1211263"/>
              <a:gd name="connsiteY553" fmla="*/ 345546 h 527461"/>
              <a:gd name="connsiteX554" fmla="*/ 713582 w 1211263"/>
              <a:gd name="connsiteY554" fmla="*/ 343429 h 527461"/>
              <a:gd name="connsiteX555" fmla="*/ 755254 w 1211263"/>
              <a:gd name="connsiteY555" fmla="*/ 341312 h 527461"/>
              <a:gd name="connsiteX556" fmla="*/ 757238 w 1211263"/>
              <a:gd name="connsiteY556" fmla="*/ 345281 h 527461"/>
              <a:gd name="connsiteX557" fmla="*/ 755254 w 1211263"/>
              <a:gd name="connsiteY557" fmla="*/ 349249 h 527461"/>
              <a:gd name="connsiteX558" fmla="*/ 753269 w 1211263"/>
              <a:gd name="connsiteY558" fmla="*/ 347265 h 527461"/>
              <a:gd name="connsiteX559" fmla="*/ 751285 w 1211263"/>
              <a:gd name="connsiteY559" fmla="*/ 343296 h 527461"/>
              <a:gd name="connsiteX560" fmla="*/ 755254 w 1211263"/>
              <a:gd name="connsiteY560" fmla="*/ 341312 h 527461"/>
              <a:gd name="connsiteX561" fmla="*/ 723372 w 1211263"/>
              <a:gd name="connsiteY561" fmla="*/ 323850 h 527461"/>
              <a:gd name="connsiteX562" fmla="*/ 731838 w 1211263"/>
              <a:gd name="connsiteY562" fmla="*/ 327872 h 527461"/>
              <a:gd name="connsiteX563" fmla="*/ 731838 w 1211263"/>
              <a:gd name="connsiteY563" fmla="*/ 337926 h 527461"/>
              <a:gd name="connsiteX564" fmla="*/ 727605 w 1211263"/>
              <a:gd name="connsiteY564" fmla="*/ 345970 h 527461"/>
              <a:gd name="connsiteX565" fmla="*/ 725488 w 1211263"/>
              <a:gd name="connsiteY565" fmla="*/ 349992 h 527461"/>
              <a:gd name="connsiteX566" fmla="*/ 721255 w 1211263"/>
              <a:gd name="connsiteY566" fmla="*/ 349992 h 527461"/>
              <a:gd name="connsiteX567" fmla="*/ 721255 w 1211263"/>
              <a:gd name="connsiteY567" fmla="*/ 335915 h 527461"/>
              <a:gd name="connsiteX568" fmla="*/ 721255 w 1211263"/>
              <a:gd name="connsiteY568" fmla="*/ 331894 h 527461"/>
              <a:gd name="connsiteX569" fmla="*/ 719138 w 1211263"/>
              <a:gd name="connsiteY569" fmla="*/ 327872 h 527461"/>
              <a:gd name="connsiteX570" fmla="*/ 723372 w 1211263"/>
              <a:gd name="connsiteY570" fmla="*/ 323850 h 527461"/>
              <a:gd name="connsiteX571" fmla="*/ 966788 w 1211263"/>
              <a:gd name="connsiteY571" fmla="*/ 315912 h 527461"/>
              <a:gd name="connsiteX572" fmla="*/ 968376 w 1211263"/>
              <a:gd name="connsiteY572" fmla="*/ 317764 h 527461"/>
              <a:gd name="connsiteX573" fmla="*/ 969963 w 1211263"/>
              <a:gd name="connsiteY573" fmla="*/ 321468 h 527461"/>
              <a:gd name="connsiteX574" fmla="*/ 969963 w 1211263"/>
              <a:gd name="connsiteY574" fmla="*/ 327024 h 527461"/>
              <a:gd name="connsiteX575" fmla="*/ 966788 w 1211263"/>
              <a:gd name="connsiteY575" fmla="*/ 323320 h 527461"/>
              <a:gd name="connsiteX576" fmla="*/ 965200 w 1211263"/>
              <a:gd name="connsiteY576" fmla="*/ 317764 h 527461"/>
              <a:gd name="connsiteX577" fmla="*/ 966788 w 1211263"/>
              <a:gd name="connsiteY577" fmla="*/ 315912 h 527461"/>
              <a:gd name="connsiteX578" fmla="*/ 929217 w 1211263"/>
              <a:gd name="connsiteY578" fmla="*/ 315118 h 527461"/>
              <a:gd name="connsiteX579" fmla="*/ 931334 w 1211263"/>
              <a:gd name="connsiteY579" fmla="*/ 315118 h 527461"/>
              <a:gd name="connsiteX580" fmla="*/ 933450 w 1211263"/>
              <a:gd name="connsiteY580" fmla="*/ 315118 h 527461"/>
              <a:gd name="connsiteX581" fmla="*/ 931334 w 1211263"/>
              <a:gd name="connsiteY581" fmla="*/ 317499 h 527461"/>
              <a:gd name="connsiteX582" fmla="*/ 929217 w 1211263"/>
              <a:gd name="connsiteY582" fmla="*/ 315118 h 527461"/>
              <a:gd name="connsiteX583" fmla="*/ 916782 w 1211263"/>
              <a:gd name="connsiteY583" fmla="*/ 313373 h 527461"/>
              <a:gd name="connsiteX584" fmla="*/ 918965 w 1211263"/>
              <a:gd name="connsiteY584" fmla="*/ 313373 h 527461"/>
              <a:gd name="connsiteX585" fmla="*/ 921147 w 1211263"/>
              <a:gd name="connsiteY585" fmla="*/ 315595 h 527461"/>
              <a:gd name="connsiteX586" fmla="*/ 925513 w 1211263"/>
              <a:gd name="connsiteY586" fmla="*/ 320040 h 527461"/>
              <a:gd name="connsiteX587" fmla="*/ 918965 w 1211263"/>
              <a:gd name="connsiteY587" fmla="*/ 317817 h 527461"/>
              <a:gd name="connsiteX588" fmla="*/ 912416 w 1211263"/>
              <a:gd name="connsiteY588" fmla="*/ 320040 h 527461"/>
              <a:gd name="connsiteX589" fmla="*/ 910233 w 1211263"/>
              <a:gd name="connsiteY589" fmla="*/ 315595 h 527461"/>
              <a:gd name="connsiteX590" fmla="*/ 914599 w 1211263"/>
              <a:gd name="connsiteY590" fmla="*/ 315595 h 527461"/>
              <a:gd name="connsiteX591" fmla="*/ 916782 w 1211263"/>
              <a:gd name="connsiteY591" fmla="*/ 313373 h 527461"/>
              <a:gd name="connsiteX592" fmla="*/ 954088 w 1211263"/>
              <a:gd name="connsiteY592" fmla="*/ 303610 h 527461"/>
              <a:gd name="connsiteX593" fmla="*/ 958057 w 1211263"/>
              <a:gd name="connsiteY593" fmla="*/ 303610 h 527461"/>
              <a:gd name="connsiteX594" fmla="*/ 962026 w 1211263"/>
              <a:gd name="connsiteY594" fmla="*/ 307579 h 527461"/>
              <a:gd name="connsiteX595" fmla="*/ 956073 w 1211263"/>
              <a:gd name="connsiteY595" fmla="*/ 307579 h 527461"/>
              <a:gd name="connsiteX596" fmla="*/ 954088 w 1211263"/>
              <a:gd name="connsiteY596" fmla="*/ 303610 h 527461"/>
              <a:gd name="connsiteX597" fmla="*/ 741046 w 1211263"/>
              <a:gd name="connsiteY597" fmla="*/ 303212 h 527461"/>
              <a:gd name="connsiteX598" fmla="*/ 745492 w 1211263"/>
              <a:gd name="connsiteY598" fmla="*/ 309166 h 527461"/>
              <a:gd name="connsiteX599" fmla="*/ 738824 w 1211263"/>
              <a:gd name="connsiteY599" fmla="*/ 307181 h 527461"/>
              <a:gd name="connsiteX600" fmla="*/ 741046 w 1211263"/>
              <a:gd name="connsiteY600" fmla="*/ 303212 h 527461"/>
              <a:gd name="connsiteX601" fmla="*/ 878569 w 1211263"/>
              <a:gd name="connsiteY601" fmla="*/ 289322 h 527461"/>
              <a:gd name="connsiteX602" fmla="*/ 882651 w 1211263"/>
              <a:gd name="connsiteY602" fmla="*/ 289322 h 527461"/>
              <a:gd name="connsiteX603" fmla="*/ 872446 w 1211263"/>
              <a:gd name="connsiteY603" fmla="*/ 295275 h 527461"/>
              <a:gd name="connsiteX604" fmla="*/ 878569 w 1211263"/>
              <a:gd name="connsiteY604" fmla="*/ 289322 h 527461"/>
              <a:gd name="connsiteX605" fmla="*/ 841376 w 1211263"/>
              <a:gd name="connsiteY605" fmla="*/ 276225 h 527461"/>
              <a:gd name="connsiteX606" fmla="*/ 849314 w 1211263"/>
              <a:gd name="connsiteY606" fmla="*/ 280194 h 527461"/>
              <a:gd name="connsiteX607" fmla="*/ 847329 w 1211263"/>
              <a:gd name="connsiteY607" fmla="*/ 284163 h 527461"/>
              <a:gd name="connsiteX608" fmla="*/ 853282 w 1211263"/>
              <a:gd name="connsiteY608" fmla="*/ 286147 h 527461"/>
              <a:gd name="connsiteX609" fmla="*/ 853282 w 1211263"/>
              <a:gd name="connsiteY609" fmla="*/ 292100 h 527461"/>
              <a:gd name="connsiteX610" fmla="*/ 847329 w 1211263"/>
              <a:gd name="connsiteY610" fmla="*/ 294084 h 527461"/>
              <a:gd name="connsiteX611" fmla="*/ 841376 w 1211263"/>
              <a:gd name="connsiteY611" fmla="*/ 298053 h 527461"/>
              <a:gd name="connsiteX612" fmla="*/ 831454 w 1211263"/>
              <a:gd name="connsiteY612" fmla="*/ 298053 h 527461"/>
              <a:gd name="connsiteX613" fmla="*/ 823516 w 1211263"/>
              <a:gd name="connsiteY613" fmla="*/ 296069 h 527461"/>
              <a:gd name="connsiteX614" fmla="*/ 819548 w 1211263"/>
              <a:gd name="connsiteY614" fmla="*/ 292100 h 527461"/>
              <a:gd name="connsiteX615" fmla="*/ 819548 w 1211263"/>
              <a:gd name="connsiteY615" fmla="*/ 284163 h 527461"/>
              <a:gd name="connsiteX616" fmla="*/ 823516 w 1211263"/>
              <a:gd name="connsiteY616" fmla="*/ 280194 h 527461"/>
              <a:gd name="connsiteX617" fmla="*/ 833438 w 1211263"/>
              <a:gd name="connsiteY617" fmla="*/ 278210 h 527461"/>
              <a:gd name="connsiteX618" fmla="*/ 841376 w 1211263"/>
              <a:gd name="connsiteY618" fmla="*/ 276225 h 527461"/>
              <a:gd name="connsiteX619" fmla="*/ 865586 w 1211263"/>
              <a:gd name="connsiteY619" fmla="*/ 270272 h 527461"/>
              <a:gd name="connsiteX620" fmla="*/ 871539 w 1211263"/>
              <a:gd name="connsiteY620" fmla="*/ 272256 h 527461"/>
              <a:gd name="connsiteX621" fmla="*/ 865586 w 1211263"/>
              <a:gd name="connsiteY621" fmla="*/ 272256 h 527461"/>
              <a:gd name="connsiteX622" fmla="*/ 865586 w 1211263"/>
              <a:gd name="connsiteY622" fmla="*/ 270272 h 527461"/>
              <a:gd name="connsiteX623" fmla="*/ 886342 w 1211263"/>
              <a:gd name="connsiteY623" fmla="*/ 265112 h 527461"/>
              <a:gd name="connsiteX624" fmla="*/ 894317 w 1211263"/>
              <a:gd name="connsiteY624" fmla="*/ 265112 h 527461"/>
              <a:gd name="connsiteX625" fmla="*/ 902291 w 1211263"/>
              <a:gd name="connsiteY625" fmla="*/ 265112 h 527461"/>
              <a:gd name="connsiteX626" fmla="*/ 912259 w 1211263"/>
              <a:gd name="connsiteY626" fmla="*/ 265112 h 527461"/>
              <a:gd name="connsiteX627" fmla="*/ 920233 w 1211263"/>
              <a:gd name="connsiteY627" fmla="*/ 269194 h 527461"/>
              <a:gd name="connsiteX628" fmla="*/ 924221 w 1211263"/>
              <a:gd name="connsiteY628" fmla="*/ 273277 h 527461"/>
              <a:gd name="connsiteX629" fmla="*/ 932195 w 1211263"/>
              <a:gd name="connsiteY629" fmla="*/ 273277 h 527461"/>
              <a:gd name="connsiteX630" fmla="*/ 940169 w 1211263"/>
              <a:gd name="connsiteY630" fmla="*/ 277359 h 527461"/>
              <a:gd name="connsiteX631" fmla="*/ 944157 w 1211263"/>
              <a:gd name="connsiteY631" fmla="*/ 289605 h 527461"/>
              <a:gd name="connsiteX632" fmla="*/ 940169 w 1211263"/>
              <a:gd name="connsiteY632" fmla="*/ 293687 h 527461"/>
              <a:gd name="connsiteX633" fmla="*/ 928208 w 1211263"/>
              <a:gd name="connsiteY633" fmla="*/ 287564 h 527461"/>
              <a:gd name="connsiteX634" fmla="*/ 920233 w 1211263"/>
              <a:gd name="connsiteY634" fmla="*/ 281441 h 527461"/>
              <a:gd name="connsiteX635" fmla="*/ 914253 w 1211263"/>
              <a:gd name="connsiteY635" fmla="*/ 281441 h 527461"/>
              <a:gd name="connsiteX636" fmla="*/ 910265 w 1211263"/>
              <a:gd name="connsiteY636" fmla="*/ 285523 h 527461"/>
              <a:gd name="connsiteX637" fmla="*/ 894317 w 1211263"/>
              <a:gd name="connsiteY637" fmla="*/ 283482 h 527461"/>
              <a:gd name="connsiteX638" fmla="*/ 886342 w 1211263"/>
              <a:gd name="connsiteY638" fmla="*/ 283482 h 527461"/>
              <a:gd name="connsiteX639" fmla="*/ 884349 w 1211263"/>
              <a:gd name="connsiteY639" fmla="*/ 285523 h 527461"/>
              <a:gd name="connsiteX640" fmla="*/ 878368 w 1211263"/>
              <a:gd name="connsiteY640" fmla="*/ 279400 h 527461"/>
              <a:gd name="connsiteX641" fmla="*/ 872387 w 1211263"/>
              <a:gd name="connsiteY641" fmla="*/ 279400 h 527461"/>
              <a:gd name="connsiteX642" fmla="*/ 870393 w 1211263"/>
              <a:gd name="connsiteY642" fmla="*/ 285523 h 527461"/>
              <a:gd name="connsiteX643" fmla="*/ 864412 w 1211263"/>
              <a:gd name="connsiteY643" fmla="*/ 283482 h 527461"/>
              <a:gd name="connsiteX644" fmla="*/ 860425 w 1211263"/>
              <a:gd name="connsiteY644" fmla="*/ 283482 h 527461"/>
              <a:gd name="connsiteX645" fmla="*/ 864412 w 1211263"/>
              <a:gd name="connsiteY645" fmla="*/ 277359 h 527461"/>
              <a:gd name="connsiteX646" fmla="*/ 872387 w 1211263"/>
              <a:gd name="connsiteY646" fmla="*/ 273277 h 527461"/>
              <a:gd name="connsiteX647" fmla="*/ 874380 w 1211263"/>
              <a:gd name="connsiteY647" fmla="*/ 271235 h 527461"/>
              <a:gd name="connsiteX648" fmla="*/ 880361 w 1211263"/>
              <a:gd name="connsiteY648" fmla="*/ 267153 h 527461"/>
              <a:gd name="connsiteX649" fmla="*/ 886342 w 1211263"/>
              <a:gd name="connsiteY649" fmla="*/ 265112 h 527461"/>
              <a:gd name="connsiteX650" fmla="*/ 340592 w 1211263"/>
              <a:gd name="connsiteY650" fmla="*/ 263524 h 527461"/>
              <a:gd name="connsiteX651" fmla="*/ 348097 w 1211263"/>
              <a:gd name="connsiteY651" fmla="*/ 263524 h 527461"/>
              <a:gd name="connsiteX652" fmla="*/ 351849 w 1211263"/>
              <a:gd name="connsiteY652" fmla="*/ 265588 h 527461"/>
              <a:gd name="connsiteX653" fmla="*/ 355601 w 1211263"/>
              <a:gd name="connsiteY653" fmla="*/ 267652 h 527461"/>
              <a:gd name="connsiteX654" fmla="*/ 353725 w 1211263"/>
              <a:gd name="connsiteY654" fmla="*/ 273843 h 527461"/>
              <a:gd name="connsiteX655" fmla="*/ 351849 w 1211263"/>
              <a:gd name="connsiteY655" fmla="*/ 280034 h 527461"/>
              <a:gd name="connsiteX656" fmla="*/ 348097 w 1211263"/>
              <a:gd name="connsiteY656" fmla="*/ 284161 h 527461"/>
              <a:gd name="connsiteX657" fmla="*/ 344344 w 1211263"/>
              <a:gd name="connsiteY657" fmla="*/ 282098 h 527461"/>
              <a:gd name="connsiteX658" fmla="*/ 340592 w 1211263"/>
              <a:gd name="connsiteY658" fmla="*/ 282098 h 527461"/>
              <a:gd name="connsiteX659" fmla="*/ 334963 w 1211263"/>
              <a:gd name="connsiteY659" fmla="*/ 275906 h 527461"/>
              <a:gd name="connsiteX660" fmla="*/ 334963 w 1211263"/>
              <a:gd name="connsiteY660" fmla="*/ 271779 h 527461"/>
              <a:gd name="connsiteX661" fmla="*/ 336839 w 1211263"/>
              <a:gd name="connsiteY661" fmla="*/ 267652 h 527461"/>
              <a:gd name="connsiteX662" fmla="*/ 340592 w 1211263"/>
              <a:gd name="connsiteY662" fmla="*/ 263524 h 527461"/>
              <a:gd name="connsiteX663" fmla="*/ 132398 w 1211263"/>
              <a:gd name="connsiteY663" fmla="*/ 260349 h 527461"/>
              <a:gd name="connsiteX664" fmla="*/ 134303 w 1211263"/>
              <a:gd name="connsiteY664" fmla="*/ 262254 h 527461"/>
              <a:gd name="connsiteX665" fmla="*/ 136208 w 1211263"/>
              <a:gd name="connsiteY665" fmla="*/ 266064 h 527461"/>
              <a:gd name="connsiteX666" fmla="*/ 132398 w 1211263"/>
              <a:gd name="connsiteY666" fmla="*/ 267969 h 527461"/>
              <a:gd name="connsiteX667" fmla="*/ 130493 w 1211263"/>
              <a:gd name="connsiteY667" fmla="*/ 264159 h 527461"/>
              <a:gd name="connsiteX668" fmla="*/ 128588 w 1211263"/>
              <a:gd name="connsiteY668" fmla="*/ 262254 h 527461"/>
              <a:gd name="connsiteX669" fmla="*/ 132398 w 1211263"/>
              <a:gd name="connsiteY669" fmla="*/ 260349 h 527461"/>
              <a:gd name="connsiteX670" fmla="*/ 122873 w 1211263"/>
              <a:gd name="connsiteY670" fmla="*/ 247649 h 527461"/>
              <a:gd name="connsiteX671" fmla="*/ 126683 w 1211263"/>
              <a:gd name="connsiteY671" fmla="*/ 251618 h 527461"/>
              <a:gd name="connsiteX672" fmla="*/ 126683 w 1211263"/>
              <a:gd name="connsiteY672" fmla="*/ 253602 h 527461"/>
              <a:gd name="connsiteX673" fmla="*/ 122873 w 1211263"/>
              <a:gd name="connsiteY673" fmla="*/ 253602 h 527461"/>
              <a:gd name="connsiteX674" fmla="*/ 119063 w 1211263"/>
              <a:gd name="connsiteY674" fmla="*/ 251618 h 527461"/>
              <a:gd name="connsiteX675" fmla="*/ 122873 w 1211263"/>
              <a:gd name="connsiteY675" fmla="*/ 247649 h 527461"/>
              <a:gd name="connsiteX676" fmla="*/ 746523 w 1211263"/>
              <a:gd name="connsiteY676" fmla="*/ 242887 h 527461"/>
              <a:gd name="connsiteX677" fmla="*/ 750492 w 1211263"/>
              <a:gd name="connsiteY677" fmla="*/ 245004 h 527461"/>
              <a:gd name="connsiteX678" fmla="*/ 748507 w 1211263"/>
              <a:gd name="connsiteY678" fmla="*/ 247121 h 527461"/>
              <a:gd name="connsiteX679" fmla="*/ 746523 w 1211263"/>
              <a:gd name="connsiteY679" fmla="*/ 242887 h 527461"/>
              <a:gd name="connsiteX680" fmla="*/ 942750 w 1211263"/>
              <a:gd name="connsiteY680" fmla="*/ 240030 h 527461"/>
              <a:gd name="connsiteX681" fmla="*/ 946832 w 1211263"/>
              <a:gd name="connsiteY681" fmla="*/ 240030 h 527461"/>
              <a:gd name="connsiteX682" fmla="*/ 946832 w 1211263"/>
              <a:gd name="connsiteY682" fmla="*/ 241935 h 527461"/>
              <a:gd name="connsiteX683" fmla="*/ 950914 w 1211263"/>
              <a:gd name="connsiteY683" fmla="*/ 243840 h 527461"/>
              <a:gd name="connsiteX684" fmla="*/ 948873 w 1211263"/>
              <a:gd name="connsiteY684" fmla="*/ 247650 h 527461"/>
              <a:gd name="connsiteX685" fmla="*/ 940709 w 1211263"/>
              <a:gd name="connsiteY685" fmla="*/ 243840 h 527461"/>
              <a:gd name="connsiteX686" fmla="*/ 942750 w 1211263"/>
              <a:gd name="connsiteY686" fmla="*/ 240030 h 527461"/>
              <a:gd name="connsiteX687" fmla="*/ 755651 w 1211263"/>
              <a:gd name="connsiteY687" fmla="*/ 240030 h 527461"/>
              <a:gd name="connsiteX688" fmla="*/ 763271 w 1211263"/>
              <a:gd name="connsiteY688" fmla="*/ 243840 h 527461"/>
              <a:gd name="connsiteX689" fmla="*/ 759461 w 1211263"/>
              <a:gd name="connsiteY689" fmla="*/ 243840 h 527461"/>
              <a:gd name="connsiteX690" fmla="*/ 755651 w 1211263"/>
              <a:gd name="connsiteY690" fmla="*/ 240030 h 527461"/>
              <a:gd name="connsiteX691" fmla="*/ 743745 w 1211263"/>
              <a:gd name="connsiteY691" fmla="*/ 238125 h 527461"/>
              <a:gd name="connsiteX692" fmla="*/ 747714 w 1211263"/>
              <a:gd name="connsiteY692" fmla="*/ 238125 h 527461"/>
              <a:gd name="connsiteX693" fmla="*/ 743745 w 1211263"/>
              <a:gd name="connsiteY693" fmla="*/ 239713 h 527461"/>
              <a:gd name="connsiteX694" fmla="*/ 743745 w 1211263"/>
              <a:gd name="connsiteY694" fmla="*/ 238125 h 527461"/>
              <a:gd name="connsiteX695" fmla="*/ 769145 w 1211263"/>
              <a:gd name="connsiteY695" fmla="*/ 234950 h 527461"/>
              <a:gd name="connsiteX696" fmla="*/ 767161 w 1211263"/>
              <a:gd name="connsiteY696" fmla="*/ 237067 h 527461"/>
              <a:gd name="connsiteX697" fmla="*/ 769145 w 1211263"/>
              <a:gd name="connsiteY697" fmla="*/ 234950 h 527461"/>
              <a:gd name="connsiteX698" fmla="*/ 926857 w 1211263"/>
              <a:gd name="connsiteY698" fmla="*/ 233362 h 527461"/>
              <a:gd name="connsiteX699" fmla="*/ 931009 w 1211263"/>
              <a:gd name="connsiteY699" fmla="*/ 235479 h 527461"/>
              <a:gd name="connsiteX700" fmla="*/ 937237 w 1211263"/>
              <a:gd name="connsiteY700" fmla="*/ 233362 h 527461"/>
              <a:gd name="connsiteX701" fmla="*/ 937237 w 1211263"/>
              <a:gd name="connsiteY701" fmla="*/ 241829 h 527461"/>
              <a:gd name="connsiteX702" fmla="*/ 931009 w 1211263"/>
              <a:gd name="connsiteY702" fmla="*/ 241829 h 527461"/>
              <a:gd name="connsiteX703" fmla="*/ 922705 w 1211263"/>
              <a:gd name="connsiteY703" fmla="*/ 239712 h 527461"/>
              <a:gd name="connsiteX704" fmla="*/ 918553 w 1211263"/>
              <a:gd name="connsiteY704" fmla="*/ 235479 h 527461"/>
              <a:gd name="connsiteX705" fmla="*/ 926857 w 1211263"/>
              <a:gd name="connsiteY705" fmla="*/ 233362 h 527461"/>
              <a:gd name="connsiteX706" fmla="*/ 1072622 w 1211263"/>
              <a:gd name="connsiteY706" fmla="*/ 230187 h 527461"/>
              <a:gd name="connsiteX707" fmla="*/ 1082324 w 1211263"/>
              <a:gd name="connsiteY707" fmla="*/ 234950 h 527461"/>
              <a:gd name="connsiteX708" fmla="*/ 1074563 w 1211263"/>
              <a:gd name="connsiteY708" fmla="*/ 234950 h 527461"/>
              <a:gd name="connsiteX709" fmla="*/ 1066801 w 1211263"/>
              <a:gd name="connsiteY709" fmla="*/ 233363 h 527461"/>
              <a:gd name="connsiteX710" fmla="*/ 1072622 w 1211263"/>
              <a:gd name="connsiteY710" fmla="*/ 230187 h 527461"/>
              <a:gd name="connsiteX711" fmla="*/ 294085 w 1211263"/>
              <a:gd name="connsiteY711" fmla="*/ 229027 h 527461"/>
              <a:gd name="connsiteX712" fmla="*/ 296070 w 1211263"/>
              <a:gd name="connsiteY712" fmla="*/ 237087 h 527461"/>
              <a:gd name="connsiteX713" fmla="*/ 300039 w 1211263"/>
              <a:gd name="connsiteY713" fmla="*/ 247161 h 527461"/>
              <a:gd name="connsiteX714" fmla="*/ 302023 w 1211263"/>
              <a:gd name="connsiteY714" fmla="*/ 253206 h 527461"/>
              <a:gd name="connsiteX715" fmla="*/ 307976 w 1211263"/>
              <a:gd name="connsiteY715" fmla="*/ 261265 h 527461"/>
              <a:gd name="connsiteX716" fmla="*/ 315914 w 1211263"/>
              <a:gd name="connsiteY716" fmla="*/ 261265 h 527461"/>
              <a:gd name="connsiteX717" fmla="*/ 315914 w 1211263"/>
              <a:gd name="connsiteY717" fmla="*/ 269325 h 527461"/>
              <a:gd name="connsiteX718" fmla="*/ 317898 w 1211263"/>
              <a:gd name="connsiteY718" fmla="*/ 271340 h 527461"/>
              <a:gd name="connsiteX719" fmla="*/ 319882 w 1211263"/>
              <a:gd name="connsiteY719" fmla="*/ 269325 h 527461"/>
              <a:gd name="connsiteX720" fmla="*/ 323851 w 1211263"/>
              <a:gd name="connsiteY720" fmla="*/ 271340 h 527461"/>
              <a:gd name="connsiteX721" fmla="*/ 319882 w 1211263"/>
              <a:gd name="connsiteY721" fmla="*/ 273355 h 527461"/>
              <a:gd name="connsiteX722" fmla="*/ 319882 w 1211263"/>
              <a:gd name="connsiteY722" fmla="*/ 277384 h 527461"/>
              <a:gd name="connsiteX723" fmla="*/ 315914 w 1211263"/>
              <a:gd name="connsiteY723" fmla="*/ 279399 h 527461"/>
              <a:gd name="connsiteX724" fmla="*/ 307976 w 1211263"/>
              <a:gd name="connsiteY724" fmla="*/ 277384 h 527461"/>
              <a:gd name="connsiteX725" fmla="*/ 302023 w 1211263"/>
              <a:gd name="connsiteY725" fmla="*/ 271340 h 527461"/>
              <a:gd name="connsiteX726" fmla="*/ 294085 w 1211263"/>
              <a:gd name="connsiteY726" fmla="*/ 267310 h 527461"/>
              <a:gd name="connsiteX727" fmla="*/ 292101 w 1211263"/>
              <a:gd name="connsiteY727" fmla="*/ 265295 h 527461"/>
              <a:gd name="connsiteX728" fmla="*/ 288132 w 1211263"/>
              <a:gd name="connsiteY728" fmla="*/ 259250 h 527461"/>
              <a:gd name="connsiteX729" fmla="*/ 286148 w 1211263"/>
              <a:gd name="connsiteY729" fmla="*/ 253206 h 527461"/>
              <a:gd name="connsiteX730" fmla="*/ 280195 w 1211263"/>
              <a:gd name="connsiteY730" fmla="*/ 249176 h 527461"/>
              <a:gd name="connsiteX731" fmla="*/ 270273 w 1211263"/>
              <a:gd name="connsiteY731" fmla="*/ 249176 h 527461"/>
              <a:gd name="connsiteX732" fmla="*/ 270273 w 1211263"/>
              <a:gd name="connsiteY732" fmla="*/ 245146 h 527461"/>
              <a:gd name="connsiteX733" fmla="*/ 274241 w 1211263"/>
              <a:gd name="connsiteY733" fmla="*/ 243131 h 527461"/>
              <a:gd name="connsiteX734" fmla="*/ 280195 w 1211263"/>
              <a:gd name="connsiteY734" fmla="*/ 233057 h 527461"/>
              <a:gd name="connsiteX735" fmla="*/ 282179 w 1211263"/>
              <a:gd name="connsiteY735" fmla="*/ 231042 h 527461"/>
              <a:gd name="connsiteX736" fmla="*/ 286148 w 1211263"/>
              <a:gd name="connsiteY736" fmla="*/ 231042 h 527461"/>
              <a:gd name="connsiteX737" fmla="*/ 290117 w 1211263"/>
              <a:gd name="connsiteY737" fmla="*/ 231042 h 527461"/>
              <a:gd name="connsiteX738" fmla="*/ 294085 w 1211263"/>
              <a:gd name="connsiteY738" fmla="*/ 229027 h 527461"/>
              <a:gd name="connsiteX739" fmla="*/ 781399 w 1211263"/>
              <a:gd name="connsiteY739" fmla="*/ 228501 h 527461"/>
              <a:gd name="connsiteX740" fmla="*/ 784623 w 1211263"/>
              <a:gd name="connsiteY740" fmla="*/ 228997 h 527461"/>
              <a:gd name="connsiteX741" fmla="*/ 792561 w 1211263"/>
              <a:gd name="connsiteY741" fmla="*/ 230981 h 527461"/>
              <a:gd name="connsiteX742" fmla="*/ 806452 w 1211263"/>
              <a:gd name="connsiteY742" fmla="*/ 232965 h 527461"/>
              <a:gd name="connsiteX743" fmla="*/ 826295 w 1211263"/>
              <a:gd name="connsiteY743" fmla="*/ 232965 h 527461"/>
              <a:gd name="connsiteX744" fmla="*/ 830264 w 1211263"/>
              <a:gd name="connsiteY744" fmla="*/ 234950 h 527461"/>
              <a:gd name="connsiteX745" fmla="*/ 826295 w 1211263"/>
              <a:gd name="connsiteY745" fmla="*/ 236934 h 527461"/>
              <a:gd name="connsiteX746" fmla="*/ 822327 w 1211263"/>
              <a:gd name="connsiteY746" fmla="*/ 238918 h 527461"/>
              <a:gd name="connsiteX747" fmla="*/ 816373 w 1211263"/>
              <a:gd name="connsiteY747" fmla="*/ 238918 h 527461"/>
              <a:gd name="connsiteX748" fmla="*/ 808436 w 1211263"/>
              <a:gd name="connsiteY748" fmla="*/ 238918 h 527461"/>
              <a:gd name="connsiteX749" fmla="*/ 802483 w 1211263"/>
              <a:gd name="connsiteY749" fmla="*/ 236934 h 527461"/>
              <a:gd name="connsiteX750" fmla="*/ 796530 w 1211263"/>
              <a:gd name="connsiteY750" fmla="*/ 238918 h 527461"/>
              <a:gd name="connsiteX751" fmla="*/ 792561 w 1211263"/>
              <a:gd name="connsiteY751" fmla="*/ 240903 h 527461"/>
              <a:gd name="connsiteX752" fmla="*/ 786608 w 1211263"/>
              <a:gd name="connsiteY752" fmla="*/ 242887 h 527461"/>
              <a:gd name="connsiteX753" fmla="*/ 776686 w 1211263"/>
              <a:gd name="connsiteY753" fmla="*/ 240903 h 527461"/>
              <a:gd name="connsiteX754" fmla="*/ 776686 w 1211263"/>
              <a:gd name="connsiteY754" fmla="*/ 230981 h 527461"/>
              <a:gd name="connsiteX755" fmla="*/ 781399 w 1211263"/>
              <a:gd name="connsiteY755" fmla="*/ 228501 h 527461"/>
              <a:gd name="connsiteX756" fmla="*/ 935039 w 1211263"/>
              <a:gd name="connsiteY756" fmla="*/ 225425 h 527461"/>
              <a:gd name="connsiteX757" fmla="*/ 936626 w 1211263"/>
              <a:gd name="connsiteY757" fmla="*/ 225425 h 527461"/>
              <a:gd name="connsiteX758" fmla="*/ 935039 w 1211263"/>
              <a:gd name="connsiteY758" fmla="*/ 227013 h 527461"/>
              <a:gd name="connsiteX759" fmla="*/ 935039 w 1211263"/>
              <a:gd name="connsiteY759" fmla="*/ 225425 h 527461"/>
              <a:gd name="connsiteX760" fmla="*/ 892970 w 1211263"/>
              <a:gd name="connsiteY760" fmla="*/ 225425 h 527461"/>
              <a:gd name="connsiteX761" fmla="*/ 895351 w 1211263"/>
              <a:gd name="connsiteY761" fmla="*/ 227807 h 527461"/>
              <a:gd name="connsiteX762" fmla="*/ 890588 w 1211263"/>
              <a:gd name="connsiteY762" fmla="*/ 227807 h 527461"/>
              <a:gd name="connsiteX763" fmla="*/ 892970 w 1211263"/>
              <a:gd name="connsiteY763" fmla="*/ 225425 h 527461"/>
              <a:gd name="connsiteX764" fmla="*/ 925513 w 1211263"/>
              <a:gd name="connsiteY764" fmla="*/ 223838 h 527461"/>
              <a:gd name="connsiteX765" fmla="*/ 928689 w 1211263"/>
              <a:gd name="connsiteY765" fmla="*/ 223838 h 527461"/>
              <a:gd name="connsiteX766" fmla="*/ 928689 w 1211263"/>
              <a:gd name="connsiteY766" fmla="*/ 225426 h 527461"/>
              <a:gd name="connsiteX767" fmla="*/ 925513 w 1211263"/>
              <a:gd name="connsiteY767" fmla="*/ 223838 h 527461"/>
              <a:gd name="connsiteX768" fmla="*/ 895351 w 1211263"/>
              <a:gd name="connsiteY768" fmla="*/ 221192 h 527461"/>
              <a:gd name="connsiteX769" fmla="*/ 896939 w 1211263"/>
              <a:gd name="connsiteY769" fmla="*/ 221192 h 527461"/>
              <a:gd name="connsiteX770" fmla="*/ 898526 w 1211263"/>
              <a:gd name="connsiteY770" fmla="*/ 223309 h 527461"/>
              <a:gd name="connsiteX771" fmla="*/ 895351 w 1211263"/>
              <a:gd name="connsiteY771" fmla="*/ 221192 h 527461"/>
              <a:gd name="connsiteX772" fmla="*/ 930673 w 1211263"/>
              <a:gd name="connsiteY772" fmla="*/ 219604 h 527461"/>
              <a:gd name="connsiteX773" fmla="*/ 936626 w 1211263"/>
              <a:gd name="connsiteY773" fmla="*/ 219604 h 527461"/>
              <a:gd name="connsiteX774" fmla="*/ 930673 w 1211263"/>
              <a:gd name="connsiteY774" fmla="*/ 223837 h 527461"/>
              <a:gd name="connsiteX775" fmla="*/ 930673 w 1211263"/>
              <a:gd name="connsiteY775" fmla="*/ 219604 h 527461"/>
              <a:gd name="connsiteX776" fmla="*/ 745116 w 1211263"/>
              <a:gd name="connsiteY776" fmla="*/ 217487 h 527461"/>
              <a:gd name="connsiteX777" fmla="*/ 755218 w 1211263"/>
              <a:gd name="connsiteY777" fmla="*/ 219604 h 527461"/>
              <a:gd name="connsiteX778" fmla="*/ 755218 w 1211263"/>
              <a:gd name="connsiteY778" fmla="*/ 230187 h 527461"/>
              <a:gd name="connsiteX779" fmla="*/ 751177 w 1211263"/>
              <a:gd name="connsiteY779" fmla="*/ 228071 h 527461"/>
              <a:gd name="connsiteX780" fmla="*/ 745116 w 1211263"/>
              <a:gd name="connsiteY780" fmla="*/ 230187 h 527461"/>
              <a:gd name="connsiteX781" fmla="*/ 739054 w 1211263"/>
              <a:gd name="connsiteY781" fmla="*/ 228071 h 527461"/>
              <a:gd name="connsiteX782" fmla="*/ 735013 w 1211263"/>
              <a:gd name="connsiteY782" fmla="*/ 219604 h 527461"/>
              <a:gd name="connsiteX783" fmla="*/ 745116 w 1211263"/>
              <a:gd name="connsiteY783" fmla="*/ 217487 h 527461"/>
              <a:gd name="connsiteX784" fmla="*/ 865302 w 1211263"/>
              <a:gd name="connsiteY784" fmla="*/ 216297 h 527461"/>
              <a:gd name="connsiteX785" fmla="*/ 869157 w 1211263"/>
              <a:gd name="connsiteY785" fmla="*/ 224234 h 527461"/>
              <a:gd name="connsiteX786" fmla="*/ 873013 w 1211263"/>
              <a:gd name="connsiteY786" fmla="*/ 228203 h 527461"/>
              <a:gd name="connsiteX787" fmla="*/ 878796 w 1211263"/>
              <a:gd name="connsiteY787" fmla="*/ 234156 h 527461"/>
              <a:gd name="connsiteX788" fmla="*/ 867230 w 1211263"/>
              <a:gd name="connsiteY788" fmla="*/ 236141 h 527461"/>
              <a:gd name="connsiteX789" fmla="*/ 861446 w 1211263"/>
              <a:gd name="connsiteY789" fmla="*/ 234156 h 527461"/>
              <a:gd name="connsiteX790" fmla="*/ 857591 w 1211263"/>
              <a:gd name="connsiteY790" fmla="*/ 228203 h 527461"/>
              <a:gd name="connsiteX791" fmla="*/ 861446 w 1211263"/>
              <a:gd name="connsiteY791" fmla="*/ 222250 h 527461"/>
              <a:gd name="connsiteX792" fmla="*/ 859519 w 1211263"/>
              <a:gd name="connsiteY792" fmla="*/ 218281 h 527461"/>
              <a:gd name="connsiteX793" fmla="*/ 865302 w 1211263"/>
              <a:gd name="connsiteY793" fmla="*/ 216297 h 527461"/>
              <a:gd name="connsiteX794" fmla="*/ 883445 w 1211263"/>
              <a:gd name="connsiteY794" fmla="*/ 215900 h 527461"/>
              <a:gd name="connsiteX795" fmla="*/ 887414 w 1211263"/>
              <a:gd name="connsiteY795" fmla="*/ 217488 h 527461"/>
              <a:gd name="connsiteX796" fmla="*/ 881461 w 1211263"/>
              <a:gd name="connsiteY796" fmla="*/ 217488 h 527461"/>
              <a:gd name="connsiteX797" fmla="*/ 883445 w 1211263"/>
              <a:gd name="connsiteY797" fmla="*/ 215900 h 527461"/>
              <a:gd name="connsiteX798" fmla="*/ 100807 w 1211263"/>
              <a:gd name="connsiteY798" fmla="*/ 214312 h 527461"/>
              <a:gd name="connsiteX799" fmla="*/ 104776 w 1211263"/>
              <a:gd name="connsiteY799" fmla="*/ 218220 h 527461"/>
              <a:gd name="connsiteX800" fmla="*/ 106760 w 1211263"/>
              <a:gd name="connsiteY800" fmla="*/ 224081 h 527461"/>
              <a:gd name="connsiteX801" fmla="*/ 108744 w 1211263"/>
              <a:gd name="connsiteY801" fmla="*/ 226035 h 527461"/>
              <a:gd name="connsiteX802" fmla="*/ 110729 w 1211263"/>
              <a:gd name="connsiteY802" fmla="*/ 231897 h 527461"/>
              <a:gd name="connsiteX803" fmla="*/ 108744 w 1211263"/>
              <a:gd name="connsiteY803" fmla="*/ 239712 h 527461"/>
              <a:gd name="connsiteX804" fmla="*/ 104776 w 1211263"/>
              <a:gd name="connsiteY804" fmla="*/ 237758 h 527461"/>
              <a:gd name="connsiteX805" fmla="*/ 104776 w 1211263"/>
              <a:gd name="connsiteY805" fmla="*/ 231897 h 527461"/>
              <a:gd name="connsiteX806" fmla="*/ 98823 w 1211263"/>
              <a:gd name="connsiteY806" fmla="*/ 227989 h 527461"/>
              <a:gd name="connsiteX807" fmla="*/ 96838 w 1211263"/>
              <a:gd name="connsiteY807" fmla="*/ 220174 h 527461"/>
              <a:gd name="connsiteX808" fmla="*/ 100807 w 1211263"/>
              <a:gd name="connsiteY808" fmla="*/ 214312 h 527461"/>
              <a:gd name="connsiteX809" fmla="*/ 1071961 w 1211263"/>
              <a:gd name="connsiteY809" fmla="*/ 201612 h 527461"/>
              <a:gd name="connsiteX810" fmla="*/ 1077914 w 1211263"/>
              <a:gd name="connsiteY810" fmla="*/ 203597 h 527461"/>
              <a:gd name="connsiteX811" fmla="*/ 1083867 w 1211263"/>
              <a:gd name="connsiteY811" fmla="*/ 205581 h 527461"/>
              <a:gd name="connsiteX812" fmla="*/ 1087836 w 1211263"/>
              <a:gd name="connsiteY812" fmla="*/ 205581 h 527461"/>
              <a:gd name="connsiteX813" fmla="*/ 1091805 w 1211263"/>
              <a:gd name="connsiteY813" fmla="*/ 213518 h 527461"/>
              <a:gd name="connsiteX814" fmla="*/ 1087836 w 1211263"/>
              <a:gd name="connsiteY814" fmla="*/ 215503 h 527461"/>
              <a:gd name="connsiteX815" fmla="*/ 1083867 w 1211263"/>
              <a:gd name="connsiteY815" fmla="*/ 217487 h 527461"/>
              <a:gd name="connsiteX816" fmla="*/ 1077914 w 1211263"/>
              <a:gd name="connsiteY816" fmla="*/ 209550 h 527461"/>
              <a:gd name="connsiteX817" fmla="*/ 1071961 w 1211263"/>
              <a:gd name="connsiteY817" fmla="*/ 205581 h 527461"/>
              <a:gd name="connsiteX818" fmla="*/ 1071961 w 1211263"/>
              <a:gd name="connsiteY818" fmla="*/ 201612 h 527461"/>
              <a:gd name="connsiteX819" fmla="*/ 864395 w 1211263"/>
              <a:gd name="connsiteY819" fmla="*/ 201612 h 527461"/>
              <a:gd name="connsiteX820" fmla="*/ 868364 w 1211263"/>
              <a:gd name="connsiteY820" fmla="*/ 203994 h 527461"/>
              <a:gd name="connsiteX821" fmla="*/ 862411 w 1211263"/>
              <a:gd name="connsiteY821" fmla="*/ 203994 h 527461"/>
              <a:gd name="connsiteX822" fmla="*/ 864395 w 1211263"/>
              <a:gd name="connsiteY822" fmla="*/ 201612 h 527461"/>
              <a:gd name="connsiteX823" fmla="*/ 935038 w 1211263"/>
              <a:gd name="connsiteY823" fmla="*/ 200819 h 527461"/>
              <a:gd name="connsiteX824" fmla="*/ 936943 w 1211263"/>
              <a:gd name="connsiteY824" fmla="*/ 202247 h 527461"/>
              <a:gd name="connsiteX825" fmla="*/ 938848 w 1211263"/>
              <a:gd name="connsiteY825" fmla="*/ 202247 h 527461"/>
              <a:gd name="connsiteX826" fmla="*/ 942658 w 1211263"/>
              <a:gd name="connsiteY826" fmla="*/ 202247 h 527461"/>
              <a:gd name="connsiteX827" fmla="*/ 946468 w 1211263"/>
              <a:gd name="connsiteY827" fmla="*/ 202247 h 527461"/>
              <a:gd name="connsiteX828" fmla="*/ 948373 w 1211263"/>
              <a:gd name="connsiteY828" fmla="*/ 202247 h 527461"/>
              <a:gd name="connsiteX829" fmla="*/ 952183 w 1211263"/>
              <a:gd name="connsiteY829" fmla="*/ 207962 h 527461"/>
              <a:gd name="connsiteX830" fmla="*/ 954088 w 1211263"/>
              <a:gd name="connsiteY830" fmla="*/ 213677 h 527461"/>
              <a:gd name="connsiteX831" fmla="*/ 952183 w 1211263"/>
              <a:gd name="connsiteY831" fmla="*/ 227012 h 527461"/>
              <a:gd name="connsiteX832" fmla="*/ 948373 w 1211263"/>
              <a:gd name="connsiteY832" fmla="*/ 223202 h 527461"/>
              <a:gd name="connsiteX833" fmla="*/ 946468 w 1211263"/>
              <a:gd name="connsiteY833" fmla="*/ 213677 h 527461"/>
              <a:gd name="connsiteX834" fmla="*/ 940753 w 1211263"/>
              <a:gd name="connsiteY834" fmla="*/ 209867 h 527461"/>
              <a:gd name="connsiteX835" fmla="*/ 940753 w 1211263"/>
              <a:gd name="connsiteY835" fmla="*/ 207962 h 527461"/>
              <a:gd name="connsiteX836" fmla="*/ 936943 w 1211263"/>
              <a:gd name="connsiteY836" fmla="*/ 207962 h 527461"/>
              <a:gd name="connsiteX837" fmla="*/ 933133 w 1211263"/>
              <a:gd name="connsiteY837" fmla="*/ 209867 h 527461"/>
              <a:gd name="connsiteX838" fmla="*/ 929323 w 1211263"/>
              <a:gd name="connsiteY838" fmla="*/ 207962 h 527461"/>
              <a:gd name="connsiteX839" fmla="*/ 927418 w 1211263"/>
              <a:gd name="connsiteY839" fmla="*/ 206057 h 527461"/>
              <a:gd name="connsiteX840" fmla="*/ 931228 w 1211263"/>
              <a:gd name="connsiteY840" fmla="*/ 204152 h 527461"/>
              <a:gd name="connsiteX841" fmla="*/ 933133 w 1211263"/>
              <a:gd name="connsiteY841" fmla="*/ 202247 h 527461"/>
              <a:gd name="connsiteX842" fmla="*/ 935038 w 1211263"/>
              <a:gd name="connsiteY842" fmla="*/ 200819 h 527461"/>
              <a:gd name="connsiteX843" fmla="*/ 916624 w 1211263"/>
              <a:gd name="connsiteY843" fmla="*/ 200025 h 527461"/>
              <a:gd name="connsiteX844" fmla="*/ 921069 w 1211263"/>
              <a:gd name="connsiteY844" fmla="*/ 200025 h 527461"/>
              <a:gd name="connsiteX845" fmla="*/ 925514 w 1211263"/>
              <a:gd name="connsiteY845" fmla="*/ 201930 h 527461"/>
              <a:gd name="connsiteX846" fmla="*/ 923292 w 1211263"/>
              <a:gd name="connsiteY846" fmla="*/ 207645 h 527461"/>
              <a:gd name="connsiteX847" fmla="*/ 916624 w 1211263"/>
              <a:gd name="connsiteY847" fmla="*/ 205740 h 527461"/>
              <a:gd name="connsiteX848" fmla="*/ 916624 w 1211263"/>
              <a:gd name="connsiteY848" fmla="*/ 201930 h 527461"/>
              <a:gd name="connsiteX849" fmla="*/ 1001912 w 1211263"/>
              <a:gd name="connsiteY849" fmla="*/ 191993 h 527461"/>
              <a:gd name="connsiteX850" fmla="*/ 1006873 w 1211263"/>
              <a:gd name="connsiteY850" fmla="*/ 194481 h 527461"/>
              <a:gd name="connsiteX851" fmla="*/ 1012826 w 1211263"/>
              <a:gd name="connsiteY851" fmla="*/ 198461 h 527461"/>
              <a:gd name="connsiteX852" fmla="*/ 1018779 w 1211263"/>
              <a:gd name="connsiteY852" fmla="*/ 202442 h 527461"/>
              <a:gd name="connsiteX853" fmla="*/ 1024732 w 1211263"/>
              <a:gd name="connsiteY853" fmla="*/ 200452 h 527461"/>
              <a:gd name="connsiteX854" fmla="*/ 1034654 w 1211263"/>
              <a:gd name="connsiteY854" fmla="*/ 202442 h 527461"/>
              <a:gd name="connsiteX855" fmla="*/ 1034654 w 1211263"/>
              <a:gd name="connsiteY855" fmla="*/ 208413 h 527461"/>
              <a:gd name="connsiteX856" fmla="*/ 1034654 w 1211263"/>
              <a:gd name="connsiteY856" fmla="*/ 212394 h 527461"/>
              <a:gd name="connsiteX857" fmla="*/ 1038623 w 1211263"/>
              <a:gd name="connsiteY857" fmla="*/ 222345 h 527461"/>
              <a:gd name="connsiteX858" fmla="*/ 1036638 w 1211263"/>
              <a:gd name="connsiteY858" fmla="*/ 228316 h 527461"/>
              <a:gd name="connsiteX859" fmla="*/ 1034654 w 1211263"/>
              <a:gd name="connsiteY859" fmla="*/ 234287 h 527461"/>
              <a:gd name="connsiteX860" fmla="*/ 1036638 w 1211263"/>
              <a:gd name="connsiteY860" fmla="*/ 246229 h 527461"/>
              <a:gd name="connsiteX861" fmla="*/ 1036638 w 1211263"/>
              <a:gd name="connsiteY861" fmla="*/ 250209 h 527461"/>
              <a:gd name="connsiteX862" fmla="*/ 1038623 w 1211263"/>
              <a:gd name="connsiteY862" fmla="*/ 256180 h 527461"/>
              <a:gd name="connsiteX863" fmla="*/ 1042591 w 1211263"/>
              <a:gd name="connsiteY863" fmla="*/ 266132 h 527461"/>
              <a:gd name="connsiteX864" fmla="*/ 1044576 w 1211263"/>
              <a:gd name="connsiteY864" fmla="*/ 260161 h 527461"/>
              <a:gd name="connsiteX865" fmla="*/ 1048544 w 1211263"/>
              <a:gd name="connsiteY865" fmla="*/ 256180 h 527461"/>
              <a:gd name="connsiteX866" fmla="*/ 1048544 w 1211263"/>
              <a:gd name="connsiteY866" fmla="*/ 264141 h 527461"/>
              <a:gd name="connsiteX867" fmla="*/ 1048544 w 1211263"/>
              <a:gd name="connsiteY867" fmla="*/ 270112 h 527461"/>
              <a:gd name="connsiteX868" fmla="*/ 1052513 w 1211263"/>
              <a:gd name="connsiteY868" fmla="*/ 276083 h 527461"/>
              <a:gd name="connsiteX869" fmla="*/ 1054498 w 1211263"/>
              <a:gd name="connsiteY869" fmla="*/ 280064 h 527461"/>
              <a:gd name="connsiteX870" fmla="*/ 1064419 w 1211263"/>
              <a:gd name="connsiteY870" fmla="*/ 284044 h 527461"/>
              <a:gd name="connsiteX871" fmla="*/ 1072357 w 1211263"/>
              <a:gd name="connsiteY871" fmla="*/ 278073 h 527461"/>
              <a:gd name="connsiteX872" fmla="*/ 1076326 w 1211263"/>
              <a:gd name="connsiteY872" fmla="*/ 274093 h 527461"/>
              <a:gd name="connsiteX873" fmla="*/ 1082279 w 1211263"/>
              <a:gd name="connsiteY873" fmla="*/ 264141 h 527461"/>
              <a:gd name="connsiteX874" fmla="*/ 1090216 w 1211263"/>
              <a:gd name="connsiteY874" fmla="*/ 260161 h 527461"/>
              <a:gd name="connsiteX875" fmla="*/ 1098154 w 1211263"/>
              <a:gd name="connsiteY875" fmla="*/ 248219 h 527461"/>
              <a:gd name="connsiteX876" fmla="*/ 1108076 w 1211263"/>
              <a:gd name="connsiteY876" fmla="*/ 246229 h 527461"/>
              <a:gd name="connsiteX877" fmla="*/ 1114029 w 1211263"/>
              <a:gd name="connsiteY877" fmla="*/ 240258 h 527461"/>
              <a:gd name="connsiteX878" fmla="*/ 1119982 w 1211263"/>
              <a:gd name="connsiteY878" fmla="*/ 230306 h 527461"/>
              <a:gd name="connsiteX879" fmla="*/ 1129904 w 1211263"/>
              <a:gd name="connsiteY879" fmla="*/ 228316 h 527461"/>
              <a:gd name="connsiteX880" fmla="*/ 1139826 w 1211263"/>
              <a:gd name="connsiteY880" fmla="*/ 232297 h 527461"/>
              <a:gd name="connsiteX881" fmla="*/ 1153716 w 1211263"/>
              <a:gd name="connsiteY881" fmla="*/ 236277 h 527461"/>
              <a:gd name="connsiteX882" fmla="*/ 1159669 w 1211263"/>
              <a:gd name="connsiteY882" fmla="*/ 238267 h 527461"/>
              <a:gd name="connsiteX883" fmla="*/ 1165623 w 1211263"/>
              <a:gd name="connsiteY883" fmla="*/ 244238 h 527461"/>
              <a:gd name="connsiteX884" fmla="*/ 1173560 w 1211263"/>
              <a:gd name="connsiteY884" fmla="*/ 248219 h 527461"/>
              <a:gd name="connsiteX885" fmla="*/ 1183482 w 1211263"/>
              <a:gd name="connsiteY885" fmla="*/ 252200 h 527461"/>
              <a:gd name="connsiteX886" fmla="*/ 1189435 w 1211263"/>
              <a:gd name="connsiteY886" fmla="*/ 252200 h 527461"/>
              <a:gd name="connsiteX887" fmla="*/ 1197373 w 1211263"/>
              <a:gd name="connsiteY887" fmla="*/ 258170 h 527461"/>
              <a:gd name="connsiteX888" fmla="*/ 1203326 w 1211263"/>
              <a:gd name="connsiteY888" fmla="*/ 262151 h 527461"/>
              <a:gd name="connsiteX889" fmla="*/ 1209279 w 1211263"/>
              <a:gd name="connsiteY889" fmla="*/ 260161 h 527461"/>
              <a:gd name="connsiteX890" fmla="*/ 1211263 w 1211263"/>
              <a:gd name="connsiteY890" fmla="*/ 274093 h 527461"/>
              <a:gd name="connsiteX891" fmla="*/ 1211263 w 1211263"/>
              <a:gd name="connsiteY891" fmla="*/ 295986 h 527461"/>
              <a:gd name="connsiteX892" fmla="*/ 1211263 w 1211263"/>
              <a:gd name="connsiteY892" fmla="*/ 349724 h 527461"/>
              <a:gd name="connsiteX893" fmla="*/ 1209279 w 1211263"/>
              <a:gd name="connsiteY893" fmla="*/ 405452 h 527461"/>
              <a:gd name="connsiteX894" fmla="*/ 1203326 w 1211263"/>
              <a:gd name="connsiteY894" fmla="*/ 455210 h 527461"/>
              <a:gd name="connsiteX895" fmla="*/ 1203326 w 1211263"/>
              <a:gd name="connsiteY895" fmla="*/ 457200 h 527461"/>
              <a:gd name="connsiteX896" fmla="*/ 1201341 w 1211263"/>
              <a:gd name="connsiteY896" fmla="*/ 455210 h 527461"/>
              <a:gd name="connsiteX897" fmla="*/ 1189435 w 1211263"/>
              <a:gd name="connsiteY897" fmla="*/ 447249 h 527461"/>
              <a:gd name="connsiteX898" fmla="*/ 1185466 w 1211263"/>
              <a:gd name="connsiteY898" fmla="*/ 441278 h 527461"/>
              <a:gd name="connsiteX899" fmla="*/ 1179513 w 1211263"/>
              <a:gd name="connsiteY899" fmla="*/ 435307 h 527461"/>
              <a:gd name="connsiteX900" fmla="*/ 1173560 w 1211263"/>
              <a:gd name="connsiteY900" fmla="*/ 433317 h 527461"/>
              <a:gd name="connsiteX901" fmla="*/ 1167607 w 1211263"/>
              <a:gd name="connsiteY901" fmla="*/ 433317 h 527461"/>
              <a:gd name="connsiteX902" fmla="*/ 1165623 w 1211263"/>
              <a:gd name="connsiteY902" fmla="*/ 433317 h 527461"/>
              <a:gd name="connsiteX903" fmla="*/ 1153716 w 1211263"/>
              <a:gd name="connsiteY903" fmla="*/ 433317 h 527461"/>
              <a:gd name="connsiteX904" fmla="*/ 1149748 w 1211263"/>
              <a:gd name="connsiteY904" fmla="*/ 429336 h 527461"/>
              <a:gd name="connsiteX905" fmla="*/ 1151732 w 1211263"/>
              <a:gd name="connsiteY905" fmla="*/ 435307 h 527461"/>
              <a:gd name="connsiteX906" fmla="*/ 1153716 w 1211263"/>
              <a:gd name="connsiteY906" fmla="*/ 443268 h 527461"/>
              <a:gd name="connsiteX907" fmla="*/ 1147763 w 1211263"/>
              <a:gd name="connsiteY907" fmla="*/ 443268 h 527461"/>
              <a:gd name="connsiteX908" fmla="*/ 1143794 w 1211263"/>
              <a:gd name="connsiteY908" fmla="*/ 441278 h 527461"/>
              <a:gd name="connsiteX909" fmla="*/ 1139826 w 1211263"/>
              <a:gd name="connsiteY909" fmla="*/ 441278 h 527461"/>
              <a:gd name="connsiteX910" fmla="*/ 1135857 w 1211263"/>
              <a:gd name="connsiteY910" fmla="*/ 443268 h 527461"/>
              <a:gd name="connsiteX911" fmla="*/ 1125935 w 1211263"/>
              <a:gd name="connsiteY911" fmla="*/ 443268 h 527461"/>
              <a:gd name="connsiteX912" fmla="*/ 1119982 w 1211263"/>
              <a:gd name="connsiteY912" fmla="*/ 443268 h 527461"/>
              <a:gd name="connsiteX913" fmla="*/ 1123951 w 1211263"/>
              <a:gd name="connsiteY913" fmla="*/ 435307 h 527461"/>
              <a:gd name="connsiteX914" fmla="*/ 1125935 w 1211263"/>
              <a:gd name="connsiteY914" fmla="*/ 427346 h 527461"/>
              <a:gd name="connsiteX915" fmla="*/ 1131888 w 1211263"/>
              <a:gd name="connsiteY915" fmla="*/ 417394 h 527461"/>
              <a:gd name="connsiteX916" fmla="*/ 1139826 w 1211263"/>
              <a:gd name="connsiteY916" fmla="*/ 409433 h 527461"/>
              <a:gd name="connsiteX917" fmla="*/ 1147763 w 1211263"/>
              <a:gd name="connsiteY917" fmla="*/ 411423 h 527461"/>
              <a:gd name="connsiteX918" fmla="*/ 1155701 w 1211263"/>
              <a:gd name="connsiteY918" fmla="*/ 413414 h 527461"/>
              <a:gd name="connsiteX919" fmla="*/ 1151732 w 1211263"/>
              <a:gd name="connsiteY919" fmla="*/ 407443 h 527461"/>
              <a:gd name="connsiteX920" fmla="*/ 1147763 w 1211263"/>
              <a:gd name="connsiteY920" fmla="*/ 395501 h 527461"/>
              <a:gd name="connsiteX921" fmla="*/ 1147763 w 1211263"/>
              <a:gd name="connsiteY921" fmla="*/ 385549 h 527461"/>
              <a:gd name="connsiteX922" fmla="*/ 1139826 w 1211263"/>
              <a:gd name="connsiteY922" fmla="*/ 375598 h 527461"/>
              <a:gd name="connsiteX923" fmla="*/ 1137841 w 1211263"/>
              <a:gd name="connsiteY923" fmla="*/ 363656 h 527461"/>
              <a:gd name="connsiteX924" fmla="*/ 1133873 w 1211263"/>
              <a:gd name="connsiteY924" fmla="*/ 351714 h 527461"/>
              <a:gd name="connsiteX925" fmla="*/ 1121966 w 1211263"/>
              <a:gd name="connsiteY925" fmla="*/ 341763 h 527461"/>
              <a:gd name="connsiteX926" fmla="*/ 1114029 w 1211263"/>
              <a:gd name="connsiteY926" fmla="*/ 337782 h 527461"/>
              <a:gd name="connsiteX927" fmla="*/ 1098154 w 1211263"/>
              <a:gd name="connsiteY927" fmla="*/ 331811 h 527461"/>
              <a:gd name="connsiteX928" fmla="*/ 1090216 w 1211263"/>
              <a:gd name="connsiteY928" fmla="*/ 325841 h 527461"/>
              <a:gd name="connsiteX929" fmla="*/ 1080294 w 1211263"/>
              <a:gd name="connsiteY929" fmla="*/ 321860 h 527461"/>
              <a:gd name="connsiteX930" fmla="*/ 1068388 w 1211263"/>
              <a:gd name="connsiteY930" fmla="*/ 317879 h 527461"/>
              <a:gd name="connsiteX931" fmla="*/ 1052513 w 1211263"/>
              <a:gd name="connsiteY931" fmla="*/ 311908 h 527461"/>
              <a:gd name="connsiteX932" fmla="*/ 1044576 w 1211263"/>
              <a:gd name="connsiteY932" fmla="*/ 305938 h 527461"/>
              <a:gd name="connsiteX933" fmla="*/ 1046560 w 1211263"/>
              <a:gd name="connsiteY933" fmla="*/ 301957 h 527461"/>
              <a:gd name="connsiteX934" fmla="*/ 1036638 w 1211263"/>
              <a:gd name="connsiteY934" fmla="*/ 301957 h 527461"/>
              <a:gd name="connsiteX935" fmla="*/ 1024732 w 1211263"/>
              <a:gd name="connsiteY935" fmla="*/ 295986 h 527461"/>
              <a:gd name="connsiteX936" fmla="*/ 1016794 w 1211263"/>
              <a:gd name="connsiteY936" fmla="*/ 288025 h 527461"/>
              <a:gd name="connsiteX937" fmla="*/ 1014810 w 1211263"/>
              <a:gd name="connsiteY937" fmla="*/ 295986 h 527461"/>
              <a:gd name="connsiteX938" fmla="*/ 1010841 w 1211263"/>
              <a:gd name="connsiteY938" fmla="*/ 303947 h 527461"/>
              <a:gd name="connsiteX939" fmla="*/ 998935 w 1211263"/>
              <a:gd name="connsiteY939" fmla="*/ 307928 h 527461"/>
              <a:gd name="connsiteX940" fmla="*/ 994966 w 1211263"/>
              <a:gd name="connsiteY940" fmla="*/ 297976 h 527461"/>
              <a:gd name="connsiteX941" fmla="*/ 996951 w 1211263"/>
              <a:gd name="connsiteY941" fmla="*/ 292005 h 527461"/>
              <a:gd name="connsiteX942" fmla="*/ 998935 w 1211263"/>
              <a:gd name="connsiteY942" fmla="*/ 288025 h 527461"/>
              <a:gd name="connsiteX943" fmla="*/ 996951 w 1211263"/>
              <a:gd name="connsiteY943" fmla="*/ 282054 h 527461"/>
              <a:gd name="connsiteX944" fmla="*/ 990998 w 1211263"/>
              <a:gd name="connsiteY944" fmla="*/ 276083 h 527461"/>
              <a:gd name="connsiteX945" fmla="*/ 985044 w 1211263"/>
              <a:gd name="connsiteY945" fmla="*/ 274093 h 527461"/>
              <a:gd name="connsiteX946" fmla="*/ 979091 w 1211263"/>
              <a:gd name="connsiteY946" fmla="*/ 272102 h 527461"/>
              <a:gd name="connsiteX947" fmla="*/ 987029 w 1211263"/>
              <a:gd name="connsiteY947" fmla="*/ 266132 h 527461"/>
              <a:gd name="connsiteX948" fmla="*/ 1000919 w 1211263"/>
              <a:gd name="connsiteY948" fmla="*/ 264141 h 527461"/>
              <a:gd name="connsiteX949" fmla="*/ 1010841 w 1211263"/>
              <a:gd name="connsiteY949" fmla="*/ 260161 h 527461"/>
              <a:gd name="connsiteX950" fmla="*/ 1014810 w 1211263"/>
              <a:gd name="connsiteY950" fmla="*/ 254190 h 527461"/>
              <a:gd name="connsiteX951" fmla="*/ 1012826 w 1211263"/>
              <a:gd name="connsiteY951" fmla="*/ 248219 h 527461"/>
              <a:gd name="connsiteX952" fmla="*/ 1002904 w 1211263"/>
              <a:gd name="connsiteY952" fmla="*/ 250209 h 527461"/>
              <a:gd name="connsiteX953" fmla="*/ 996951 w 1211263"/>
              <a:gd name="connsiteY953" fmla="*/ 250209 h 527461"/>
              <a:gd name="connsiteX954" fmla="*/ 987029 w 1211263"/>
              <a:gd name="connsiteY954" fmla="*/ 250209 h 527461"/>
              <a:gd name="connsiteX955" fmla="*/ 981076 w 1211263"/>
              <a:gd name="connsiteY955" fmla="*/ 248219 h 527461"/>
              <a:gd name="connsiteX956" fmla="*/ 979091 w 1211263"/>
              <a:gd name="connsiteY956" fmla="*/ 240258 h 527461"/>
              <a:gd name="connsiteX957" fmla="*/ 975123 w 1211263"/>
              <a:gd name="connsiteY957" fmla="*/ 236277 h 527461"/>
              <a:gd name="connsiteX958" fmla="*/ 971154 w 1211263"/>
              <a:gd name="connsiteY958" fmla="*/ 230306 h 527461"/>
              <a:gd name="connsiteX959" fmla="*/ 959248 w 1211263"/>
              <a:gd name="connsiteY959" fmla="*/ 224335 h 527461"/>
              <a:gd name="connsiteX960" fmla="*/ 957263 w 1211263"/>
              <a:gd name="connsiteY960" fmla="*/ 210403 h 527461"/>
              <a:gd name="connsiteX961" fmla="*/ 961232 w 1211263"/>
              <a:gd name="connsiteY961" fmla="*/ 202442 h 527461"/>
              <a:gd name="connsiteX962" fmla="*/ 975123 w 1211263"/>
              <a:gd name="connsiteY962" fmla="*/ 204432 h 527461"/>
              <a:gd name="connsiteX963" fmla="*/ 983060 w 1211263"/>
              <a:gd name="connsiteY963" fmla="*/ 198461 h 527461"/>
              <a:gd name="connsiteX964" fmla="*/ 990998 w 1211263"/>
              <a:gd name="connsiteY964" fmla="*/ 194481 h 527461"/>
              <a:gd name="connsiteX965" fmla="*/ 996951 w 1211263"/>
              <a:gd name="connsiteY965" fmla="*/ 192491 h 527461"/>
              <a:gd name="connsiteX966" fmla="*/ 1001912 w 1211263"/>
              <a:gd name="connsiteY966" fmla="*/ 191993 h 527461"/>
              <a:gd name="connsiteX967" fmla="*/ 929006 w 1211263"/>
              <a:gd name="connsiteY967" fmla="*/ 181428 h 527461"/>
              <a:gd name="connsiteX968" fmla="*/ 932816 w 1211263"/>
              <a:gd name="connsiteY968" fmla="*/ 181428 h 527461"/>
              <a:gd name="connsiteX969" fmla="*/ 936626 w 1211263"/>
              <a:gd name="connsiteY969" fmla="*/ 181428 h 527461"/>
              <a:gd name="connsiteX970" fmla="*/ 942341 w 1211263"/>
              <a:gd name="connsiteY970" fmla="*/ 183470 h 527461"/>
              <a:gd name="connsiteX971" fmla="*/ 946151 w 1211263"/>
              <a:gd name="connsiteY971" fmla="*/ 189593 h 527461"/>
              <a:gd name="connsiteX972" fmla="*/ 940436 w 1211263"/>
              <a:gd name="connsiteY972" fmla="*/ 191634 h 527461"/>
              <a:gd name="connsiteX973" fmla="*/ 938531 w 1211263"/>
              <a:gd name="connsiteY973" fmla="*/ 189593 h 527461"/>
              <a:gd name="connsiteX974" fmla="*/ 932816 w 1211263"/>
              <a:gd name="connsiteY974" fmla="*/ 189593 h 527461"/>
              <a:gd name="connsiteX975" fmla="*/ 930911 w 1211263"/>
              <a:gd name="connsiteY975" fmla="*/ 185511 h 527461"/>
              <a:gd name="connsiteX976" fmla="*/ 929006 w 1211263"/>
              <a:gd name="connsiteY976" fmla="*/ 181428 h 527461"/>
              <a:gd name="connsiteX977" fmla="*/ 906817 w 1211263"/>
              <a:gd name="connsiteY977" fmla="*/ 179705 h 527461"/>
              <a:gd name="connsiteX978" fmla="*/ 912638 w 1211263"/>
              <a:gd name="connsiteY978" fmla="*/ 179705 h 527461"/>
              <a:gd name="connsiteX979" fmla="*/ 922339 w 1211263"/>
              <a:gd name="connsiteY979" fmla="*/ 183515 h 527461"/>
              <a:gd name="connsiteX980" fmla="*/ 920399 w 1211263"/>
              <a:gd name="connsiteY980" fmla="*/ 185420 h 527461"/>
              <a:gd name="connsiteX981" fmla="*/ 910697 w 1211263"/>
              <a:gd name="connsiteY981" fmla="*/ 183515 h 527461"/>
              <a:gd name="connsiteX982" fmla="*/ 906817 w 1211263"/>
              <a:gd name="connsiteY982" fmla="*/ 179705 h 527461"/>
              <a:gd name="connsiteX983" fmla="*/ 960042 w 1211263"/>
              <a:gd name="connsiteY983" fmla="*/ 179387 h 527461"/>
              <a:gd name="connsiteX984" fmla="*/ 962026 w 1211263"/>
              <a:gd name="connsiteY984" fmla="*/ 185511 h 527461"/>
              <a:gd name="connsiteX985" fmla="*/ 958057 w 1211263"/>
              <a:gd name="connsiteY985" fmla="*/ 191634 h 527461"/>
              <a:gd name="connsiteX986" fmla="*/ 950120 w 1211263"/>
              <a:gd name="connsiteY986" fmla="*/ 191634 h 527461"/>
              <a:gd name="connsiteX987" fmla="*/ 946151 w 1211263"/>
              <a:gd name="connsiteY987" fmla="*/ 183470 h 527461"/>
              <a:gd name="connsiteX988" fmla="*/ 954089 w 1211263"/>
              <a:gd name="connsiteY988" fmla="*/ 181428 h 527461"/>
              <a:gd name="connsiteX989" fmla="*/ 956073 w 1211263"/>
              <a:gd name="connsiteY989" fmla="*/ 181428 h 527461"/>
              <a:gd name="connsiteX990" fmla="*/ 960042 w 1211263"/>
              <a:gd name="connsiteY990" fmla="*/ 179387 h 527461"/>
              <a:gd name="connsiteX991" fmla="*/ 323851 w 1211263"/>
              <a:gd name="connsiteY991" fmla="*/ 179387 h 527461"/>
              <a:gd name="connsiteX992" fmla="*/ 328614 w 1211263"/>
              <a:gd name="connsiteY992" fmla="*/ 179387 h 527461"/>
              <a:gd name="connsiteX993" fmla="*/ 328614 w 1211263"/>
              <a:gd name="connsiteY993" fmla="*/ 181768 h 527461"/>
              <a:gd name="connsiteX994" fmla="*/ 323851 w 1211263"/>
              <a:gd name="connsiteY994" fmla="*/ 181768 h 527461"/>
              <a:gd name="connsiteX995" fmla="*/ 323851 w 1211263"/>
              <a:gd name="connsiteY995" fmla="*/ 179387 h 527461"/>
              <a:gd name="connsiteX996" fmla="*/ 258235 w 1211263"/>
              <a:gd name="connsiteY996" fmla="*/ 177799 h 527461"/>
              <a:gd name="connsiteX997" fmla="*/ 261939 w 1211263"/>
              <a:gd name="connsiteY997" fmla="*/ 179840 h 527461"/>
              <a:gd name="connsiteX998" fmla="*/ 261939 w 1211263"/>
              <a:gd name="connsiteY998" fmla="*/ 185963 h 527461"/>
              <a:gd name="connsiteX999" fmla="*/ 258235 w 1211263"/>
              <a:gd name="connsiteY999" fmla="*/ 188004 h 527461"/>
              <a:gd name="connsiteX1000" fmla="*/ 256383 w 1211263"/>
              <a:gd name="connsiteY1000" fmla="*/ 190045 h 527461"/>
              <a:gd name="connsiteX1001" fmla="*/ 252678 w 1211263"/>
              <a:gd name="connsiteY1001" fmla="*/ 190045 h 527461"/>
              <a:gd name="connsiteX1002" fmla="*/ 252678 w 1211263"/>
              <a:gd name="connsiteY1002" fmla="*/ 185963 h 527461"/>
              <a:gd name="connsiteX1003" fmla="*/ 254531 w 1211263"/>
              <a:gd name="connsiteY1003" fmla="*/ 181881 h 527461"/>
              <a:gd name="connsiteX1004" fmla="*/ 256383 w 1211263"/>
              <a:gd name="connsiteY1004" fmla="*/ 179840 h 527461"/>
              <a:gd name="connsiteX1005" fmla="*/ 258235 w 1211263"/>
              <a:gd name="connsiteY1005" fmla="*/ 177799 h 527461"/>
              <a:gd name="connsiteX1006" fmla="*/ 860096 w 1211263"/>
              <a:gd name="connsiteY1006" fmla="*/ 176553 h 527461"/>
              <a:gd name="connsiteX1007" fmla="*/ 861309 w 1211263"/>
              <a:gd name="connsiteY1007" fmla="*/ 180408 h 527461"/>
              <a:gd name="connsiteX1008" fmla="*/ 863249 w 1211263"/>
              <a:gd name="connsiteY1008" fmla="*/ 188119 h 527461"/>
              <a:gd name="connsiteX1009" fmla="*/ 857428 w 1211263"/>
              <a:gd name="connsiteY1009" fmla="*/ 188119 h 527461"/>
              <a:gd name="connsiteX1010" fmla="*/ 861309 w 1211263"/>
              <a:gd name="connsiteY1010" fmla="*/ 191975 h 527461"/>
              <a:gd name="connsiteX1011" fmla="*/ 865189 w 1211263"/>
              <a:gd name="connsiteY1011" fmla="*/ 195830 h 527461"/>
              <a:gd name="connsiteX1012" fmla="*/ 859368 w 1211263"/>
              <a:gd name="connsiteY1012" fmla="*/ 197758 h 527461"/>
              <a:gd name="connsiteX1013" fmla="*/ 853547 w 1211263"/>
              <a:gd name="connsiteY1013" fmla="*/ 199686 h 527461"/>
              <a:gd name="connsiteX1014" fmla="*/ 851607 w 1211263"/>
              <a:gd name="connsiteY1014" fmla="*/ 193902 h 527461"/>
              <a:gd name="connsiteX1015" fmla="*/ 847726 w 1211263"/>
              <a:gd name="connsiteY1015" fmla="*/ 188119 h 527461"/>
              <a:gd name="connsiteX1016" fmla="*/ 851607 w 1211263"/>
              <a:gd name="connsiteY1016" fmla="*/ 184264 h 527461"/>
              <a:gd name="connsiteX1017" fmla="*/ 857428 w 1211263"/>
              <a:gd name="connsiteY1017" fmla="*/ 178481 h 527461"/>
              <a:gd name="connsiteX1018" fmla="*/ 860096 w 1211263"/>
              <a:gd name="connsiteY1018" fmla="*/ 176553 h 527461"/>
              <a:gd name="connsiteX1019" fmla="*/ 344489 w 1211263"/>
              <a:gd name="connsiteY1019" fmla="*/ 176212 h 527461"/>
              <a:gd name="connsiteX1020" fmla="*/ 346077 w 1211263"/>
              <a:gd name="connsiteY1020" fmla="*/ 176212 h 527461"/>
              <a:gd name="connsiteX1021" fmla="*/ 344489 w 1211263"/>
              <a:gd name="connsiteY1021" fmla="*/ 177800 h 527461"/>
              <a:gd name="connsiteX1022" fmla="*/ 344489 w 1211263"/>
              <a:gd name="connsiteY1022" fmla="*/ 176212 h 527461"/>
              <a:gd name="connsiteX1023" fmla="*/ 939405 w 1211263"/>
              <a:gd name="connsiteY1023" fmla="*/ 174625 h 527461"/>
              <a:gd name="connsiteX1024" fmla="*/ 941389 w 1211263"/>
              <a:gd name="connsiteY1024" fmla="*/ 180579 h 527461"/>
              <a:gd name="connsiteX1025" fmla="*/ 933451 w 1211263"/>
              <a:gd name="connsiteY1025" fmla="*/ 176610 h 527461"/>
              <a:gd name="connsiteX1026" fmla="*/ 939405 w 1211263"/>
              <a:gd name="connsiteY1026" fmla="*/ 174625 h 527461"/>
              <a:gd name="connsiteX1027" fmla="*/ 920751 w 1211263"/>
              <a:gd name="connsiteY1027" fmla="*/ 171979 h 527461"/>
              <a:gd name="connsiteX1028" fmla="*/ 923133 w 1211263"/>
              <a:gd name="connsiteY1028" fmla="*/ 171979 h 527461"/>
              <a:gd name="connsiteX1029" fmla="*/ 925514 w 1211263"/>
              <a:gd name="connsiteY1029" fmla="*/ 174096 h 527461"/>
              <a:gd name="connsiteX1030" fmla="*/ 920751 w 1211263"/>
              <a:gd name="connsiteY1030" fmla="*/ 171979 h 527461"/>
              <a:gd name="connsiteX1031" fmla="*/ 928689 w 1211263"/>
              <a:gd name="connsiteY1031" fmla="*/ 171450 h 527461"/>
              <a:gd name="connsiteX1032" fmla="*/ 930276 w 1211263"/>
              <a:gd name="connsiteY1032" fmla="*/ 173567 h 527461"/>
              <a:gd name="connsiteX1033" fmla="*/ 927101 w 1211263"/>
              <a:gd name="connsiteY1033" fmla="*/ 175684 h 527461"/>
              <a:gd name="connsiteX1034" fmla="*/ 928689 w 1211263"/>
              <a:gd name="connsiteY1034" fmla="*/ 171450 h 527461"/>
              <a:gd name="connsiteX1035" fmla="*/ 958851 w 1211263"/>
              <a:gd name="connsiteY1035" fmla="*/ 168275 h 527461"/>
              <a:gd name="connsiteX1036" fmla="*/ 958851 w 1211263"/>
              <a:gd name="connsiteY1036" fmla="*/ 174229 h 527461"/>
              <a:gd name="connsiteX1037" fmla="*/ 952898 w 1211263"/>
              <a:gd name="connsiteY1037" fmla="*/ 176213 h 527461"/>
              <a:gd name="connsiteX1038" fmla="*/ 952898 w 1211263"/>
              <a:gd name="connsiteY1038" fmla="*/ 172244 h 527461"/>
              <a:gd name="connsiteX1039" fmla="*/ 952898 w 1211263"/>
              <a:gd name="connsiteY1039" fmla="*/ 170260 h 527461"/>
              <a:gd name="connsiteX1040" fmla="*/ 958851 w 1211263"/>
              <a:gd name="connsiteY1040" fmla="*/ 168275 h 527461"/>
              <a:gd name="connsiteX1041" fmla="*/ 357982 w 1211263"/>
              <a:gd name="connsiteY1041" fmla="*/ 165629 h 527461"/>
              <a:gd name="connsiteX1042" fmla="*/ 355998 w 1211263"/>
              <a:gd name="connsiteY1042" fmla="*/ 169862 h 527461"/>
              <a:gd name="connsiteX1043" fmla="*/ 354013 w 1211263"/>
              <a:gd name="connsiteY1043" fmla="*/ 167746 h 527461"/>
              <a:gd name="connsiteX1044" fmla="*/ 357982 w 1211263"/>
              <a:gd name="connsiteY1044" fmla="*/ 165629 h 527461"/>
              <a:gd name="connsiteX1045" fmla="*/ 321073 w 1211263"/>
              <a:gd name="connsiteY1045" fmla="*/ 165099 h 527461"/>
              <a:gd name="connsiteX1046" fmla="*/ 325042 w 1211263"/>
              <a:gd name="connsiteY1046" fmla="*/ 165099 h 527461"/>
              <a:gd name="connsiteX1047" fmla="*/ 327026 w 1211263"/>
              <a:gd name="connsiteY1047" fmla="*/ 167480 h 527461"/>
              <a:gd name="connsiteX1048" fmla="*/ 323057 w 1211263"/>
              <a:gd name="connsiteY1048" fmla="*/ 169861 h 527461"/>
              <a:gd name="connsiteX1049" fmla="*/ 321073 w 1211263"/>
              <a:gd name="connsiteY1049" fmla="*/ 167480 h 527461"/>
              <a:gd name="connsiteX1050" fmla="*/ 321073 w 1211263"/>
              <a:gd name="connsiteY1050" fmla="*/ 165099 h 527461"/>
              <a:gd name="connsiteX1051" fmla="*/ 854870 w 1211263"/>
              <a:gd name="connsiteY1051" fmla="*/ 159203 h 527461"/>
              <a:gd name="connsiteX1052" fmla="*/ 857251 w 1211263"/>
              <a:gd name="connsiteY1052" fmla="*/ 169409 h 527461"/>
              <a:gd name="connsiteX1053" fmla="*/ 852488 w 1211263"/>
              <a:gd name="connsiteY1053" fmla="*/ 165327 h 527461"/>
              <a:gd name="connsiteX1054" fmla="*/ 854870 w 1211263"/>
              <a:gd name="connsiteY1054" fmla="*/ 159203 h 527461"/>
              <a:gd name="connsiteX1055" fmla="*/ 224897 w 1211263"/>
              <a:gd name="connsiteY1055" fmla="*/ 157558 h 527461"/>
              <a:gd name="connsiteX1056" fmla="*/ 227013 w 1211263"/>
              <a:gd name="connsiteY1056" fmla="*/ 159543 h 527461"/>
              <a:gd name="connsiteX1057" fmla="*/ 224897 w 1211263"/>
              <a:gd name="connsiteY1057" fmla="*/ 161527 h 527461"/>
              <a:gd name="connsiteX1058" fmla="*/ 222780 w 1211263"/>
              <a:gd name="connsiteY1058" fmla="*/ 161527 h 527461"/>
              <a:gd name="connsiteX1059" fmla="*/ 220663 w 1211263"/>
              <a:gd name="connsiteY1059" fmla="*/ 159543 h 527461"/>
              <a:gd name="connsiteX1060" fmla="*/ 224897 w 1211263"/>
              <a:gd name="connsiteY1060" fmla="*/ 157558 h 527461"/>
              <a:gd name="connsiteX1061" fmla="*/ 358776 w 1211263"/>
              <a:gd name="connsiteY1061" fmla="*/ 157162 h 527461"/>
              <a:gd name="connsiteX1062" fmla="*/ 361951 w 1211263"/>
              <a:gd name="connsiteY1062" fmla="*/ 159279 h 527461"/>
              <a:gd name="connsiteX1063" fmla="*/ 361951 w 1211263"/>
              <a:gd name="connsiteY1063" fmla="*/ 161396 h 527461"/>
              <a:gd name="connsiteX1064" fmla="*/ 358776 w 1211263"/>
              <a:gd name="connsiteY1064" fmla="*/ 161396 h 527461"/>
              <a:gd name="connsiteX1065" fmla="*/ 358776 w 1211263"/>
              <a:gd name="connsiteY1065" fmla="*/ 157162 h 527461"/>
              <a:gd name="connsiteX1066" fmla="*/ 220663 w 1211263"/>
              <a:gd name="connsiteY1066" fmla="*/ 149754 h 527461"/>
              <a:gd name="connsiteX1067" fmla="*/ 222251 w 1211263"/>
              <a:gd name="connsiteY1067" fmla="*/ 149754 h 527461"/>
              <a:gd name="connsiteX1068" fmla="*/ 223838 w 1211263"/>
              <a:gd name="connsiteY1068" fmla="*/ 151871 h 527461"/>
              <a:gd name="connsiteX1069" fmla="*/ 222251 w 1211263"/>
              <a:gd name="connsiteY1069" fmla="*/ 153987 h 527461"/>
              <a:gd name="connsiteX1070" fmla="*/ 220663 w 1211263"/>
              <a:gd name="connsiteY1070" fmla="*/ 149754 h 527461"/>
              <a:gd name="connsiteX1071" fmla="*/ 332318 w 1211263"/>
              <a:gd name="connsiteY1071" fmla="*/ 148090 h 527461"/>
              <a:gd name="connsiteX1072" fmla="*/ 334435 w 1211263"/>
              <a:gd name="connsiteY1072" fmla="*/ 150131 h 527461"/>
              <a:gd name="connsiteX1073" fmla="*/ 338668 w 1211263"/>
              <a:gd name="connsiteY1073" fmla="*/ 152172 h 527461"/>
              <a:gd name="connsiteX1074" fmla="*/ 340785 w 1211263"/>
              <a:gd name="connsiteY1074" fmla="*/ 156254 h 527461"/>
              <a:gd name="connsiteX1075" fmla="*/ 336551 w 1211263"/>
              <a:gd name="connsiteY1075" fmla="*/ 156254 h 527461"/>
              <a:gd name="connsiteX1076" fmla="*/ 334435 w 1211263"/>
              <a:gd name="connsiteY1076" fmla="*/ 154213 h 527461"/>
              <a:gd name="connsiteX1077" fmla="*/ 332318 w 1211263"/>
              <a:gd name="connsiteY1077" fmla="*/ 152172 h 527461"/>
              <a:gd name="connsiteX1078" fmla="*/ 330201 w 1211263"/>
              <a:gd name="connsiteY1078" fmla="*/ 150131 h 527461"/>
              <a:gd name="connsiteX1079" fmla="*/ 332318 w 1211263"/>
              <a:gd name="connsiteY1079" fmla="*/ 148090 h 527461"/>
              <a:gd name="connsiteX1080" fmla="*/ 243286 w 1211263"/>
              <a:gd name="connsiteY1080" fmla="*/ 147785 h 527461"/>
              <a:gd name="connsiteX1081" fmla="*/ 240666 w 1211263"/>
              <a:gd name="connsiteY1081" fmla="*/ 152002 h 527461"/>
              <a:gd name="connsiteX1082" fmla="*/ 238761 w 1211263"/>
              <a:gd name="connsiteY1082" fmla="*/ 153986 h 527461"/>
              <a:gd name="connsiteX1083" fmla="*/ 238761 w 1211263"/>
              <a:gd name="connsiteY1083" fmla="*/ 148033 h 527461"/>
              <a:gd name="connsiteX1084" fmla="*/ 243286 w 1211263"/>
              <a:gd name="connsiteY1084" fmla="*/ 147785 h 527461"/>
              <a:gd name="connsiteX1085" fmla="*/ 319088 w 1211263"/>
              <a:gd name="connsiteY1085" fmla="*/ 140229 h 527461"/>
              <a:gd name="connsiteX1086" fmla="*/ 322264 w 1211263"/>
              <a:gd name="connsiteY1086" fmla="*/ 140229 h 527461"/>
              <a:gd name="connsiteX1087" fmla="*/ 320676 w 1211263"/>
              <a:gd name="connsiteY1087" fmla="*/ 142346 h 527461"/>
              <a:gd name="connsiteX1088" fmla="*/ 319088 w 1211263"/>
              <a:gd name="connsiteY1088" fmla="*/ 140229 h 527461"/>
              <a:gd name="connsiteX1089" fmla="*/ 65088 w 1211263"/>
              <a:gd name="connsiteY1089" fmla="*/ 135413 h 527461"/>
              <a:gd name="connsiteX1090" fmla="*/ 71438 w 1211263"/>
              <a:gd name="connsiteY1090" fmla="*/ 139540 h 527461"/>
              <a:gd name="connsiteX1091" fmla="*/ 73555 w 1211263"/>
              <a:gd name="connsiteY1091" fmla="*/ 149859 h 527461"/>
              <a:gd name="connsiteX1092" fmla="*/ 75672 w 1211263"/>
              <a:gd name="connsiteY1092" fmla="*/ 151923 h 527461"/>
              <a:gd name="connsiteX1093" fmla="*/ 75672 w 1211263"/>
              <a:gd name="connsiteY1093" fmla="*/ 156050 h 527461"/>
              <a:gd name="connsiteX1094" fmla="*/ 73555 w 1211263"/>
              <a:gd name="connsiteY1094" fmla="*/ 160178 h 527461"/>
              <a:gd name="connsiteX1095" fmla="*/ 73555 w 1211263"/>
              <a:gd name="connsiteY1095" fmla="*/ 168433 h 527461"/>
              <a:gd name="connsiteX1096" fmla="*/ 67205 w 1211263"/>
              <a:gd name="connsiteY1096" fmla="*/ 164305 h 527461"/>
              <a:gd name="connsiteX1097" fmla="*/ 67205 w 1211263"/>
              <a:gd name="connsiteY1097" fmla="*/ 162242 h 527461"/>
              <a:gd name="connsiteX1098" fmla="*/ 65088 w 1211263"/>
              <a:gd name="connsiteY1098" fmla="*/ 156050 h 527461"/>
              <a:gd name="connsiteX1099" fmla="*/ 60855 w 1211263"/>
              <a:gd name="connsiteY1099" fmla="*/ 151923 h 527461"/>
              <a:gd name="connsiteX1100" fmla="*/ 58738 w 1211263"/>
              <a:gd name="connsiteY1100" fmla="*/ 145732 h 527461"/>
              <a:gd name="connsiteX1101" fmla="*/ 58738 w 1211263"/>
              <a:gd name="connsiteY1101" fmla="*/ 139540 h 527461"/>
              <a:gd name="connsiteX1102" fmla="*/ 65088 w 1211263"/>
              <a:gd name="connsiteY1102" fmla="*/ 135413 h 527461"/>
              <a:gd name="connsiteX1103" fmla="*/ 88901 w 1211263"/>
              <a:gd name="connsiteY1103" fmla="*/ 131762 h 527461"/>
              <a:gd name="connsiteX1104" fmla="*/ 93135 w 1211263"/>
              <a:gd name="connsiteY1104" fmla="*/ 131762 h 527461"/>
              <a:gd name="connsiteX1105" fmla="*/ 95251 w 1211263"/>
              <a:gd name="connsiteY1105" fmla="*/ 133879 h 527461"/>
              <a:gd name="connsiteX1106" fmla="*/ 91018 w 1211263"/>
              <a:gd name="connsiteY1106" fmla="*/ 135996 h 527461"/>
              <a:gd name="connsiteX1107" fmla="*/ 88901 w 1211263"/>
              <a:gd name="connsiteY1107" fmla="*/ 131762 h 527461"/>
              <a:gd name="connsiteX1108" fmla="*/ 789321 w 1211263"/>
              <a:gd name="connsiteY1108" fmla="*/ 127407 h 527461"/>
              <a:gd name="connsiteX1109" fmla="*/ 799289 w 1211263"/>
              <a:gd name="connsiteY1109" fmla="*/ 127407 h 527461"/>
              <a:gd name="connsiteX1110" fmla="*/ 801283 w 1211263"/>
              <a:gd name="connsiteY1110" fmla="*/ 133390 h 527461"/>
              <a:gd name="connsiteX1111" fmla="*/ 793308 w 1211263"/>
              <a:gd name="connsiteY1111" fmla="*/ 141369 h 527461"/>
              <a:gd name="connsiteX1112" fmla="*/ 785334 w 1211263"/>
              <a:gd name="connsiteY1112" fmla="*/ 151341 h 527461"/>
              <a:gd name="connsiteX1113" fmla="*/ 781347 w 1211263"/>
              <a:gd name="connsiteY1113" fmla="*/ 161314 h 527461"/>
              <a:gd name="connsiteX1114" fmla="*/ 775366 w 1211263"/>
              <a:gd name="connsiteY1114" fmla="*/ 169292 h 527461"/>
              <a:gd name="connsiteX1115" fmla="*/ 765398 w 1211263"/>
              <a:gd name="connsiteY1115" fmla="*/ 169292 h 527461"/>
              <a:gd name="connsiteX1116" fmla="*/ 751443 w 1211263"/>
              <a:gd name="connsiteY1116" fmla="*/ 171287 h 527461"/>
              <a:gd name="connsiteX1117" fmla="*/ 745462 w 1211263"/>
              <a:gd name="connsiteY1117" fmla="*/ 171287 h 527461"/>
              <a:gd name="connsiteX1118" fmla="*/ 739481 w 1211263"/>
              <a:gd name="connsiteY1118" fmla="*/ 167298 h 527461"/>
              <a:gd name="connsiteX1119" fmla="*/ 729513 w 1211263"/>
              <a:gd name="connsiteY1119" fmla="*/ 167298 h 527461"/>
              <a:gd name="connsiteX1120" fmla="*/ 723532 w 1211263"/>
              <a:gd name="connsiteY1120" fmla="*/ 167298 h 527461"/>
              <a:gd name="connsiteX1121" fmla="*/ 713564 w 1211263"/>
              <a:gd name="connsiteY1121" fmla="*/ 167298 h 527461"/>
              <a:gd name="connsiteX1122" fmla="*/ 705590 w 1211263"/>
              <a:gd name="connsiteY1122" fmla="*/ 167298 h 527461"/>
              <a:gd name="connsiteX1123" fmla="*/ 697615 w 1211263"/>
              <a:gd name="connsiteY1123" fmla="*/ 167298 h 527461"/>
              <a:gd name="connsiteX1124" fmla="*/ 687647 w 1211263"/>
              <a:gd name="connsiteY1124" fmla="*/ 169292 h 527461"/>
              <a:gd name="connsiteX1125" fmla="*/ 673692 w 1211263"/>
              <a:gd name="connsiteY1125" fmla="*/ 167298 h 527461"/>
              <a:gd name="connsiteX1126" fmla="*/ 667711 w 1211263"/>
              <a:gd name="connsiteY1126" fmla="*/ 179265 h 527461"/>
              <a:gd name="connsiteX1127" fmla="*/ 667711 w 1211263"/>
              <a:gd name="connsiteY1127" fmla="*/ 197216 h 527461"/>
              <a:gd name="connsiteX1128" fmla="*/ 671698 w 1211263"/>
              <a:gd name="connsiteY1128" fmla="*/ 207189 h 527461"/>
              <a:gd name="connsiteX1129" fmla="*/ 679673 w 1211263"/>
              <a:gd name="connsiteY1129" fmla="*/ 215167 h 527461"/>
              <a:gd name="connsiteX1130" fmla="*/ 687647 w 1211263"/>
              <a:gd name="connsiteY1130" fmla="*/ 223145 h 527461"/>
              <a:gd name="connsiteX1131" fmla="*/ 691634 w 1211263"/>
              <a:gd name="connsiteY1131" fmla="*/ 225140 h 527461"/>
              <a:gd name="connsiteX1132" fmla="*/ 695622 w 1211263"/>
              <a:gd name="connsiteY1132" fmla="*/ 221151 h 527461"/>
              <a:gd name="connsiteX1133" fmla="*/ 701602 w 1211263"/>
              <a:gd name="connsiteY1133" fmla="*/ 211178 h 527461"/>
              <a:gd name="connsiteX1134" fmla="*/ 709577 w 1211263"/>
              <a:gd name="connsiteY1134" fmla="*/ 207189 h 527461"/>
              <a:gd name="connsiteX1135" fmla="*/ 719545 w 1211263"/>
              <a:gd name="connsiteY1135" fmla="*/ 209183 h 527461"/>
              <a:gd name="connsiteX1136" fmla="*/ 729513 w 1211263"/>
              <a:gd name="connsiteY1136" fmla="*/ 203200 h 527461"/>
              <a:gd name="connsiteX1137" fmla="*/ 735494 w 1211263"/>
              <a:gd name="connsiteY1137" fmla="*/ 201205 h 527461"/>
              <a:gd name="connsiteX1138" fmla="*/ 747455 w 1211263"/>
              <a:gd name="connsiteY1138" fmla="*/ 199210 h 527461"/>
              <a:gd name="connsiteX1139" fmla="*/ 749449 w 1211263"/>
              <a:gd name="connsiteY1139" fmla="*/ 209183 h 527461"/>
              <a:gd name="connsiteX1140" fmla="*/ 745462 w 1211263"/>
              <a:gd name="connsiteY1140" fmla="*/ 211178 h 527461"/>
              <a:gd name="connsiteX1141" fmla="*/ 739481 w 1211263"/>
              <a:gd name="connsiteY1141" fmla="*/ 211178 h 527461"/>
              <a:gd name="connsiteX1142" fmla="*/ 733500 w 1211263"/>
              <a:gd name="connsiteY1142" fmla="*/ 217161 h 527461"/>
              <a:gd name="connsiteX1143" fmla="*/ 729513 w 1211263"/>
              <a:gd name="connsiteY1143" fmla="*/ 221151 h 527461"/>
              <a:gd name="connsiteX1144" fmla="*/ 725526 w 1211263"/>
              <a:gd name="connsiteY1144" fmla="*/ 227134 h 527461"/>
              <a:gd name="connsiteX1145" fmla="*/ 715558 w 1211263"/>
              <a:gd name="connsiteY1145" fmla="*/ 231123 h 527461"/>
              <a:gd name="connsiteX1146" fmla="*/ 705590 w 1211263"/>
              <a:gd name="connsiteY1146" fmla="*/ 237107 h 527461"/>
              <a:gd name="connsiteX1147" fmla="*/ 707583 w 1211263"/>
              <a:gd name="connsiteY1147" fmla="*/ 251069 h 527461"/>
              <a:gd name="connsiteX1148" fmla="*/ 715558 w 1211263"/>
              <a:gd name="connsiteY1148" fmla="*/ 261041 h 527461"/>
              <a:gd name="connsiteX1149" fmla="*/ 719545 w 1211263"/>
              <a:gd name="connsiteY1149" fmla="*/ 267025 h 527461"/>
              <a:gd name="connsiteX1150" fmla="*/ 721538 w 1211263"/>
              <a:gd name="connsiteY1150" fmla="*/ 271014 h 527461"/>
              <a:gd name="connsiteX1151" fmla="*/ 723532 w 1211263"/>
              <a:gd name="connsiteY1151" fmla="*/ 275003 h 527461"/>
              <a:gd name="connsiteX1152" fmla="*/ 725526 w 1211263"/>
              <a:gd name="connsiteY1152" fmla="*/ 280987 h 527461"/>
              <a:gd name="connsiteX1153" fmla="*/ 725526 w 1211263"/>
              <a:gd name="connsiteY1153" fmla="*/ 298938 h 527461"/>
              <a:gd name="connsiteX1154" fmla="*/ 731506 w 1211263"/>
              <a:gd name="connsiteY1154" fmla="*/ 306916 h 527461"/>
              <a:gd name="connsiteX1155" fmla="*/ 737487 w 1211263"/>
              <a:gd name="connsiteY1155" fmla="*/ 308911 h 527461"/>
              <a:gd name="connsiteX1156" fmla="*/ 739481 w 1211263"/>
              <a:gd name="connsiteY1156" fmla="*/ 316889 h 527461"/>
              <a:gd name="connsiteX1157" fmla="*/ 747455 w 1211263"/>
              <a:gd name="connsiteY1157" fmla="*/ 318883 h 527461"/>
              <a:gd name="connsiteX1158" fmla="*/ 743468 w 1211263"/>
              <a:gd name="connsiteY1158" fmla="*/ 326861 h 527461"/>
              <a:gd name="connsiteX1159" fmla="*/ 739481 w 1211263"/>
              <a:gd name="connsiteY1159" fmla="*/ 330851 h 527461"/>
              <a:gd name="connsiteX1160" fmla="*/ 741475 w 1211263"/>
              <a:gd name="connsiteY1160" fmla="*/ 340823 h 527461"/>
              <a:gd name="connsiteX1161" fmla="*/ 745462 w 1211263"/>
              <a:gd name="connsiteY1161" fmla="*/ 348802 h 527461"/>
              <a:gd name="connsiteX1162" fmla="*/ 735494 w 1211263"/>
              <a:gd name="connsiteY1162" fmla="*/ 352791 h 527461"/>
              <a:gd name="connsiteX1163" fmla="*/ 727519 w 1211263"/>
              <a:gd name="connsiteY1163" fmla="*/ 354785 h 527461"/>
              <a:gd name="connsiteX1164" fmla="*/ 731506 w 1211263"/>
              <a:gd name="connsiteY1164" fmla="*/ 340823 h 527461"/>
              <a:gd name="connsiteX1165" fmla="*/ 733500 w 1211263"/>
              <a:gd name="connsiteY1165" fmla="*/ 332845 h 527461"/>
              <a:gd name="connsiteX1166" fmla="*/ 735494 w 1211263"/>
              <a:gd name="connsiteY1166" fmla="*/ 318883 h 527461"/>
              <a:gd name="connsiteX1167" fmla="*/ 729513 w 1211263"/>
              <a:gd name="connsiteY1167" fmla="*/ 314894 h 527461"/>
              <a:gd name="connsiteX1168" fmla="*/ 721538 w 1211263"/>
              <a:gd name="connsiteY1168" fmla="*/ 316889 h 527461"/>
              <a:gd name="connsiteX1169" fmla="*/ 717551 w 1211263"/>
              <a:gd name="connsiteY1169" fmla="*/ 320878 h 527461"/>
              <a:gd name="connsiteX1170" fmla="*/ 711570 w 1211263"/>
              <a:gd name="connsiteY1170" fmla="*/ 330851 h 527461"/>
              <a:gd name="connsiteX1171" fmla="*/ 701602 w 1211263"/>
              <a:gd name="connsiteY1171" fmla="*/ 324867 h 527461"/>
              <a:gd name="connsiteX1172" fmla="*/ 703596 w 1211263"/>
              <a:gd name="connsiteY1172" fmla="*/ 308911 h 527461"/>
              <a:gd name="connsiteX1173" fmla="*/ 695622 w 1211263"/>
              <a:gd name="connsiteY1173" fmla="*/ 300932 h 527461"/>
              <a:gd name="connsiteX1174" fmla="*/ 685654 w 1211263"/>
              <a:gd name="connsiteY1174" fmla="*/ 284976 h 527461"/>
              <a:gd name="connsiteX1175" fmla="*/ 689641 w 1211263"/>
              <a:gd name="connsiteY1175" fmla="*/ 271014 h 527461"/>
              <a:gd name="connsiteX1176" fmla="*/ 683660 w 1211263"/>
              <a:gd name="connsiteY1176" fmla="*/ 267025 h 527461"/>
              <a:gd name="connsiteX1177" fmla="*/ 671698 w 1211263"/>
              <a:gd name="connsiteY1177" fmla="*/ 271014 h 527461"/>
              <a:gd name="connsiteX1178" fmla="*/ 671698 w 1211263"/>
              <a:gd name="connsiteY1178" fmla="*/ 282981 h 527461"/>
              <a:gd name="connsiteX1179" fmla="*/ 671698 w 1211263"/>
              <a:gd name="connsiteY1179" fmla="*/ 310905 h 527461"/>
              <a:gd name="connsiteX1180" fmla="*/ 665718 w 1211263"/>
              <a:gd name="connsiteY1180" fmla="*/ 332845 h 527461"/>
              <a:gd name="connsiteX1181" fmla="*/ 665718 w 1211263"/>
              <a:gd name="connsiteY1181" fmla="*/ 344812 h 527461"/>
              <a:gd name="connsiteX1182" fmla="*/ 667711 w 1211263"/>
              <a:gd name="connsiteY1182" fmla="*/ 348802 h 527461"/>
              <a:gd name="connsiteX1183" fmla="*/ 671698 w 1211263"/>
              <a:gd name="connsiteY1183" fmla="*/ 352791 h 527461"/>
              <a:gd name="connsiteX1184" fmla="*/ 669705 w 1211263"/>
              <a:gd name="connsiteY1184" fmla="*/ 354785 h 527461"/>
              <a:gd name="connsiteX1185" fmla="*/ 663724 w 1211263"/>
              <a:gd name="connsiteY1185" fmla="*/ 356780 h 527461"/>
              <a:gd name="connsiteX1186" fmla="*/ 657743 w 1211263"/>
              <a:gd name="connsiteY1186" fmla="*/ 358774 h 527461"/>
              <a:gd name="connsiteX1187" fmla="*/ 649769 w 1211263"/>
              <a:gd name="connsiteY1187" fmla="*/ 356780 h 527461"/>
              <a:gd name="connsiteX1188" fmla="*/ 641794 w 1211263"/>
              <a:gd name="connsiteY1188" fmla="*/ 352791 h 527461"/>
              <a:gd name="connsiteX1189" fmla="*/ 643788 w 1211263"/>
              <a:gd name="connsiteY1189" fmla="*/ 340823 h 527461"/>
              <a:gd name="connsiteX1190" fmla="*/ 647775 w 1211263"/>
              <a:gd name="connsiteY1190" fmla="*/ 322872 h 527461"/>
              <a:gd name="connsiteX1191" fmla="*/ 651762 w 1211263"/>
              <a:gd name="connsiteY1191" fmla="*/ 306916 h 527461"/>
              <a:gd name="connsiteX1192" fmla="*/ 647775 w 1211263"/>
              <a:gd name="connsiteY1192" fmla="*/ 298938 h 527461"/>
              <a:gd name="connsiteX1193" fmla="*/ 645781 w 1211263"/>
              <a:gd name="connsiteY1193" fmla="*/ 288965 h 527461"/>
              <a:gd name="connsiteX1194" fmla="*/ 639801 w 1211263"/>
              <a:gd name="connsiteY1194" fmla="*/ 288965 h 527461"/>
              <a:gd name="connsiteX1195" fmla="*/ 633820 w 1211263"/>
              <a:gd name="connsiteY1195" fmla="*/ 284976 h 527461"/>
              <a:gd name="connsiteX1196" fmla="*/ 635813 w 1211263"/>
              <a:gd name="connsiteY1196" fmla="*/ 275003 h 527461"/>
              <a:gd name="connsiteX1197" fmla="*/ 633820 w 1211263"/>
              <a:gd name="connsiteY1197" fmla="*/ 267025 h 527461"/>
              <a:gd name="connsiteX1198" fmla="*/ 635813 w 1211263"/>
              <a:gd name="connsiteY1198" fmla="*/ 259047 h 527461"/>
              <a:gd name="connsiteX1199" fmla="*/ 641794 w 1211263"/>
              <a:gd name="connsiteY1199" fmla="*/ 249074 h 527461"/>
              <a:gd name="connsiteX1200" fmla="*/ 643788 w 1211263"/>
              <a:gd name="connsiteY1200" fmla="*/ 235112 h 527461"/>
              <a:gd name="connsiteX1201" fmla="*/ 645781 w 1211263"/>
              <a:gd name="connsiteY1201" fmla="*/ 219156 h 527461"/>
              <a:gd name="connsiteX1202" fmla="*/ 647775 w 1211263"/>
              <a:gd name="connsiteY1202" fmla="*/ 211178 h 527461"/>
              <a:gd name="connsiteX1203" fmla="*/ 651762 w 1211263"/>
              <a:gd name="connsiteY1203" fmla="*/ 205194 h 527461"/>
              <a:gd name="connsiteX1204" fmla="*/ 655750 w 1211263"/>
              <a:gd name="connsiteY1204" fmla="*/ 205194 h 527461"/>
              <a:gd name="connsiteX1205" fmla="*/ 659737 w 1211263"/>
              <a:gd name="connsiteY1205" fmla="*/ 205194 h 527461"/>
              <a:gd name="connsiteX1206" fmla="*/ 657743 w 1211263"/>
              <a:gd name="connsiteY1206" fmla="*/ 197216 h 527461"/>
              <a:gd name="connsiteX1207" fmla="*/ 657743 w 1211263"/>
              <a:gd name="connsiteY1207" fmla="*/ 191232 h 527461"/>
              <a:gd name="connsiteX1208" fmla="*/ 659737 w 1211263"/>
              <a:gd name="connsiteY1208" fmla="*/ 183254 h 527461"/>
              <a:gd name="connsiteX1209" fmla="*/ 657743 w 1211263"/>
              <a:gd name="connsiteY1209" fmla="*/ 175276 h 527461"/>
              <a:gd name="connsiteX1210" fmla="*/ 655750 w 1211263"/>
              <a:gd name="connsiteY1210" fmla="*/ 167298 h 527461"/>
              <a:gd name="connsiteX1211" fmla="*/ 663724 w 1211263"/>
              <a:gd name="connsiteY1211" fmla="*/ 157325 h 527461"/>
              <a:gd name="connsiteX1212" fmla="*/ 663724 w 1211263"/>
              <a:gd name="connsiteY1212" fmla="*/ 153336 h 527461"/>
              <a:gd name="connsiteX1213" fmla="*/ 665718 w 1211263"/>
              <a:gd name="connsiteY1213" fmla="*/ 147352 h 527461"/>
              <a:gd name="connsiteX1214" fmla="*/ 669705 w 1211263"/>
              <a:gd name="connsiteY1214" fmla="*/ 151341 h 527461"/>
              <a:gd name="connsiteX1215" fmla="*/ 673692 w 1211263"/>
              <a:gd name="connsiteY1215" fmla="*/ 153336 h 527461"/>
              <a:gd name="connsiteX1216" fmla="*/ 679673 w 1211263"/>
              <a:gd name="connsiteY1216" fmla="*/ 145358 h 527461"/>
              <a:gd name="connsiteX1217" fmla="*/ 683660 w 1211263"/>
              <a:gd name="connsiteY1217" fmla="*/ 139374 h 527461"/>
              <a:gd name="connsiteX1218" fmla="*/ 691634 w 1211263"/>
              <a:gd name="connsiteY1218" fmla="*/ 137380 h 527461"/>
              <a:gd name="connsiteX1219" fmla="*/ 699609 w 1211263"/>
              <a:gd name="connsiteY1219" fmla="*/ 139374 h 527461"/>
              <a:gd name="connsiteX1220" fmla="*/ 703596 w 1211263"/>
              <a:gd name="connsiteY1220" fmla="*/ 145358 h 527461"/>
              <a:gd name="connsiteX1221" fmla="*/ 717551 w 1211263"/>
              <a:gd name="connsiteY1221" fmla="*/ 145358 h 527461"/>
              <a:gd name="connsiteX1222" fmla="*/ 725526 w 1211263"/>
              <a:gd name="connsiteY1222" fmla="*/ 149347 h 527461"/>
              <a:gd name="connsiteX1223" fmla="*/ 731506 w 1211263"/>
              <a:gd name="connsiteY1223" fmla="*/ 151341 h 527461"/>
              <a:gd name="connsiteX1224" fmla="*/ 741475 w 1211263"/>
              <a:gd name="connsiteY1224" fmla="*/ 151341 h 527461"/>
              <a:gd name="connsiteX1225" fmla="*/ 753436 w 1211263"/>
              <a:gd name="connsiteY1225" fmla="*/ 151341 h 527461"/>
              <a:gd name="connsiteX1226" fmla="*/ 771379 w 1211263"/>
              <a:gd name="connsiteY1226" fmla="*/ 151341 h 527461"/>
              <a:gd name="connsiteX1227" fmla="*/ 777359 w 1211263"/>
              <a:gd name="connsiteY1227" fmla="*/ 145358 h 527461"/>
              <a:gd name="connsiteX1228" fmla="*/ 781347 w 1211263"/>
              <a:gd name="connsiteY1228" fmla="*/ 139374 h 527461"/>
              <a:gd name="connsiteX1229" fmla="*/ 781347 w 1211263"/>
              <a:gd name="connsiteY1229" fmla="*/ 133390 h 527461"/>
              <a:gd name="connsiteX1230" fmla="*/ 787327 w 1211263"/>
              <a:gd name="connsiteY1230" fmla="*/ 131396 h 527461"/>
              <a:gd name="connsiteX1231" fmla="*/ 789321 w 1211263"/>
              <a:gd name="connsiteY1231" fmla="*/ 127407 h 527461"/>
              <a:gd name="connsiteX1232" fmla="*/ 869422 w 1211263"/>
              <a:gd name="connsiteY1232" fmla="*/ 109537 h 527461"/>
              <a:gd name="connsiteX1233" fmla="*/ 871387 w 1211263"/>
              <a:gd name="connsiteY1233" fmla="*/ 111538 h 527461"/>
              <a:gd name="connsiteX1234" fmla="*/ 867456 w 1211263"/>
              <a:gd name="connsiteY1234" fmla="*/ 117538 h 527461"/>
              <a:gd name="connsiteX1235" fmla="*/ 869422 w 1211263"/>
              <a:gd name="connsiteY1235" fmla="*/ 125539 h 527461"/>
              <a:gd name="connsiteX1236" fmla="*/ 873353 w 1211263"/>
              <a:gd name="connsiteY1236" fmla="*/ 135541 h 527461"/>
              <a:gd name="connsiteX1237" fmla="*/ 867456 w 1211263"/>
              <a:gd name="connsiteY1237" fmla="*/ 143542 h 527461"/>
              <a:gd name="connsiteX1238" fmla="*/ 863525 w 1211263"/>
              <a:gd name="connsiteY1238" fmla="*/ 147542 h 527461"/>
              <a:gd name="connsiteX1239" fmla="*/ 869422 w 1211263"/>
              <a:gd name="connsiteY1239" fmla="*/ 153543 h 527461"/>
              <a:gd name="connsiteX1240" fmla="*/ 869422 w 1211263"/>
              <a:gd name="connsiteY1240" fmla="*/ 147542 h 527461"/>
              <a:gd name="connsiteX1241" fmla="*/ 875318 w 1211263"/>
              <a:gd name="connsiteY1241" fmla="*/ 145542 h 527461"/>
              <a:gd name="connsiteX1242" fmla="*/ 877283 w 1211263"/>
              <a:gd name="connsiteY1242" fmla="*/ 143542 h 527461"/>
              <a:gd name="connsiteX1243" fmla="*/ 875318 w 1211263"/>
              <a:gd name="connsiteY1243" fmla="*/ 139541 h 527461"/>
              <a:gd name="connsiteX1244" fmla="*/ 879249 w 1211263"/>
              <a:gd name="connsiteY1244" fmla="*/ 135541 h 527461"/>
              <a:gd name="connsiteX1245" fmla="*/ 883180 w 1211263"/>
              <a:gd name="connsiteY1245" fmla="*/ 133540 h 527461"/>
              <a:gd name="connsiteX1246" fmla="*/ 887111 w 1211263"/>
              <a:gd name="connsiteY1246" fmla="*/ 131540 h 527461"/>
              <a:gd name="connsiteX1247" fmla="*/ 893007 w 1211263"/>
              <a:gd name="connsiteY1247" fmla="*/ 133540 h 527461"/>
              <a:gd name="connsiteX1248" fmla="*/ 893007 w 1211263"/>
              <a:gd name="connsiteY1248" fmla="*/ 135541 h 527461"/>
              <a:gd name="connsiteX1249" fmla="*/ 893007 w 1211263"/>
              <a:gd name="connsiteY1249" fmla="*/ 141541 h 527461"/>
              <a:gd name="connsiteX1250" fmla="*/ 893007 w 1211263"/>
              <a:gd name="connsiteY1250" fmla="*/ 147542 h 527461"/>
              <a:gd name="connsiteX1251" fmla="*/ 887111 w 1211263"/>
              <a:gd name="connsiteY1251" fmla="*/ 151543 h 527461"/>
              <a:gd name="connsiteX1252" fmla="*/ 879249 w 1211263"/>
              <a:gd name="connsiteY1252" fmla="*/ 151543 h 527461"/>
              <a:gd name="connsiteX1253" fmla="*/ 887111 w 1211263"/>
              <a:gd name="connsiteY1253" fmla="*/ 159544 h 527461"/>
              <a:gd name="connsiteX1254" fmla="*/ 891042 w 1211263"/>
              <a:gd name="connsiteY1254" fmla="*/ 163544 h 527461"/>
              <a:gd name="connsiteX1255" fmla="*/ 894973 w 1211263"/>
              <a:gd name="connsiteY1255" fmla="*/ 169545 h 527461"/>
              <a:gd name="connsiteX1256" fmla="*/ 883180 w 1211263"/>
              <a:gd name="connsiteY1256" fmla="*/ 167545 h 527461"/>
              <a:gd name="connsiteX1257" fmla="*/ 875318 w 1211263"/>
              <a:gd name="connsiteY1257" fmla="*/ 167545 h 527461"/>
              <a:gd name="connsiteX1258" fmla="*/ 873353 w 1211263"/>
              <a:gd name="connsiteY1258" fmla="*/ 173546 h 527461"/>
              <a:gd name="connsiteX1259" fmla="*/ 873353 w 1211263"/>
              <a:gd name="connsiteY1259" fmla="*/ 185547 h 527461"/>
              <a:gd name="connsiteX1260" fmla="*/ 879249 w 1211263"/>
              <a:gd name="connsiteY1260" fmla="*/ 193548 h 527461"/>
              <a:gd name="connsiteX1261" fmla="*/ 883180 w 1211263"/>
              <a:gd name="connsiteY1261" fmla="*/ 207550 h 527461"/>
              <a:gd name="connsiteX1262" fmla="*/ 875318 w 1211263"/>
              <a:gd name="connsiteY1262" fmla="*/ 201549 h 527461"/>
              <a:gd name="connsiteX1263" fmla="*/ 869422 w 1211263"/>
              <a:gd name="connsiteY1263" fmla="*/ 195548 h 527461"/>
              <a:gd name="connsiteX1264" fmla="*/ 865491 w 1211263"/>
              <a:gd name="connsiteY1264" fmla="*/ 189548 h 527461"/>
              <a:gd name="connsiteX1265" fmla="*/ 865491 w 1211263"/>
              <a:gd name="connsiteY1265" fmla="*/ 175546 h 527461"/>
              <a:gd name="connsiteX1266" fmla="*/ 861560 w 1211263"/>
              <a:gd name="connsiteY1266" fmla="*/ 161544 h 527461"/>
              <a:gd name="connsiteX1267" fmla="*/ 859594 w 1211263"/>
              <a:gd name="connsiteY1267" fmla="*/ 155543 h 527461"/>
              <a:gd name="connsiteX1268" fmla="*/ 857629 w 1211263"/>
              <a:gd name="connsiteY1268" fmla="*/ 151543 h 527461"/>
              <a:gd name="connsiteX1269" fmla="*/ 855663 w 1211263"/>
              <a:gd name="connsiteY1269" fmla="*/ 135541 h 527461"/>
              <a:gd name="connsiteX1270" fmla="*/ 855663 w 1211263"/>
              <a:gd name="connsiteY1270" fmla="*/ 127540 h 527461"/>
              <a:gd name="connsiteX1271" fmla="*/ 861560 w 1211263"/>
              <a:gd name="connsiteY1271" fmla="*/ 119539 h 527461"/>
              <a:gd name="connsiteX1272" fmla="*/ 869422 w 1211263"/>
              <a:gd name="connsiteY1272" fmla="*/ 109537 h 527461"/>
              <a:gd name="connsiteX1273" fmla="*/ 860426 w 1211263"/>
              <a:gd name="connsiteY1273" fmla="*/ 106363 h 527461"/>
              <a:gd name="connsiteX1274" fmla="*/ 862543 w 1211263"/>
              <a:gd name="connsiteY1274" fmla="*/ 106363 h 527461"/>
              <a:gd name="connsiteX1275" fmla="*/ 862543 w 1211263"/>
              <a:gd name="connsiteY1275" fmla="*/ 109538 h 527461"/>
              <a:gd name="connsiteX1276" fmla="*/ 860426 w 1211263"/>
              <a:gd name="connsiteY1276" fmla="*/ 106363 h 527461"/>
              <a:gd name="connsiteX1277" fmla="*/ 354013 w 1211263"/>
              <a:gd name="connsiteY1277" fmla="*/ 103716 h 527461"/>
              <a:gd name="connsiteX1278" fmla="*/ 357982 w 1211263"/>
              <a:gd name="connsiteY1278" fmla="*/ 103716 h 527461"/>
              <a:gd name="connsiteX1279" fmla="*/ 355998 w 1211263"/>
              <a:gd name="connsiteY1279" fmla="*/ 105833 h 527461"/>
              <a:gd name="connsiteX1280" fmla="*/ 354013 w 1211263"/>
              <a:gd name="connsiteY1280" fmla="*/ 103716 h 527461"/>
              <a:gd name="connsiteX1281" fmla="*/ 374255 w 1211263"/>
              <a:gd name="connsiteY1281" fmla="*/ 103583 h 527461"/>
              <a:gd name="connsiteX1282" fmla="*/ 370286 w 1211263"/>
              <a:gd name="connsiteY1282" fmla="*/ 107552 h 527461"/>
              <a:gd name="connsiteX1283" fmla="*/ 368301 w 1211263"/>
              <a:gd name="connsiteY1283" fmla="*/ 105568 h 527461"/>
              <a:gd name="connsiteX1284" fmla="*/ 374255 w 1211263"/>
              <a:gd name="connsiteY1284" fmla="*/ 103583 h 527461"/>
              <a:gd name="connsiteX1285" fmla="*/ 877492 w 1211263"/>
              <a:gd name="connsiteY1285" fmla="*/ 101600 h 527461"/>
              <a:gd name="connsiteX1286" fmla="*/ 875507 w 1211263"/>
              <a:gd name="connsiteY1286" fmla="*/ 107950 h 527461"/>
              <a:gd name="connsiteX1287" fmla="*/ 873523 w 1211263"/>
              <a:gd name="connsiteY1287" fmla="*/ 105834 h 527461"/>
              <a:gd name="connsiteX1288" fmla="*/ 877492 w 1211263"/>
              <a:gd name="connsiteY1288" fmla="*/ 101600 h 527461"/>
              <a:gd name="connsiteX1289" fmla="*/ 882425 w 1211263"/>
              <a:gd name="connsiteY1289" fmla="*/ 99378 h 527461"/>
              <a:gd name="connsiteX1290" fmla="*/ 890589 w 1211263"/>
              <a:gd name="connsiteY1290" fmla="*/ 111761 h 527461"/>
              <a:gd name="connsiteX1291" fmla="*/ 878342 w 1211263"/>
              <a:gd name="connsiteY1291" fmla="*/ 115888 h 527461"/>
              <a:gd name="connsiteX1292" fmla="*/ 878342 w 1211263"/>
              <a:gd name="connsiteY1292" fmla="*/ 105569 h 527461"/>
              <a:gd name="connsiteX1293" fmla="*/ 882425 w 1211263"/>
              <a:gd name="connsiteY1293" fmla="*/ 99378 h 527461"/>
              <a:gd name="connsiteX1294" fmla="*/ 800498 w 1211263"/>
              <a:gd name="connsiteY1294" fmla="*/ 96766 h 527461"/>
              <a:gd name="connsiteX1295" fmla="*/ 802482 w 1211263"/>
              <a:gd name="connsiteY1295" fmla="*/ 97271 h 527461"/>
              <a:gd name="connsiteX1296" fmla="*/ 806451 w 1211263"/>
              <a:gd name="connsiteY1296" fmla="*/ 107373 h 527461"/>
              <a:gd name="connsiteX1297" fmla="*/ 806451 w 1211263"/>
              <a:gd name="connsiteY1297" fmla="*/ 111414 h 527461"/>
              <a:gd name="connsiteX1298" fmla="*/ 802482 w 1211263"/>
              <a:gd name="connsiteY1298" fmla="*/ 115455 h 527461"/>
              <a:gd name="connsiteX1299" fmla="*/ 800498 w 1211263"/>
              <a:gd name="connsiteY1299" fmla="*/ 113434 h 527461"/>
              <a:gd name="connsiteX1300" fmla="*/ 802482 w 1211263"/>
              <a:gd name="connsiteY1300" fmla="*/ 107373 h 527461"/>
              <a:gd name="connsiteX1301" fmla="*/ 798513 w 1211263"/>
              <a:gd name="connsiteY1301" fmla="*/ 99291 h 527461"/>
              <a:gd name="connsiteX1302" fmla="*/ 800498 w 1211263"/>
              <a:gd name="connsiteY1302" fmla="*/ 96766 h 527461"/>
              <a:gd name="connsiteX1303" fmla="*/ 18654 w 1211263"/>
              <a:gd name="connsiteY1303" fmla="*/ 95779 h 527461"/>
              <a:gd name="connsiteX1304" fmla="*/ 24608 w 1211263"/>
              <a:gd name="connsiteY1304" fmla="*/ 95779 h 527461"/>
              <a:gd name="connsiteX1305" fmla="*/ 28577 w 1211263"/>
              <a:gd name="connsiteY1305" fmla="*/ 102129 h 527461"/>
              <a:gd name="connsiteX1306" fmla="*/ 32545 w 1211263"/>
              <a:gd name="connsiteY1306" fmla="*/ 104246 h 527461"/>
              <a:gd name="connsiteX1307" fmla="*/ 34530 w 1211263"/>
              <a:gd name="connsiteY1307" fmla="*/ 110596 h 527461"/>
              <a:gd name="connsiteX1308" fmla="*/ 28577 w 1211263"/>
              <a:gd name="connsiteY1308" fmla="*/ 110596 h 527461"/>
              <a:gd name="connsiteX1309" fmla="*/ 24608 w 1211263"/>
              <a:gd name="connsiteY1309" fmla="*/ 106362 h 527461"/>
              <a:gd name="connsiteX1310" fmla="*/ 22623 w 1211263"/>
              <a:gd name="connsiteY1310" fmla="*/ 106362 h 527461"/>
              <a:gd name="connsiteX1311" fmla="*/ 16670 w 1211263"/>
              <a:gd name="connsiteY1311" fmla="*/ 106362 h 527461"/>
              <a:gd name="connsiteX1312" fmla="*/ 12701 w 1211263"/>
              <a:gd name="connsiteY1312" fmla="*/ 100012 h 527461"/>
              <a:gd name="connsiteX1313" fmla="*/ 18654 w 1211263"/>
              <a:gd name="connsiteY1313" fmla="*/ 95779 h 527461"/>
              <a:gd name="connsiteX1314" fmla="*/ 948086 w 1211263"/>
              <a:gd name="connsiteY1314" fmla="*/ 93034 h 527461"/>
              <a:gd name="connsiteX1315" fmla="*/ 949326 w 1211263"/>
              <a:gd name="connsiteY1315" fmla="*/ 96044 h 527461"/>
              <a:gd name="connsiteX1316" fmla="*/ 947342 w 1211263"/>
              <a:gd name="connsiteY1316" fmla="*/ 99748 h 527461"/>
              <a:gd name="connsiteX1317" fmla="*/ 941388 w 1211263"/>
              <a:gd name="connsiteY1317" fmla="*/ 97896 h 527461"/>
              <a:gd name="connsiteX1318" fmla="*/ 945357 w 1211263"/>
              <a:gd name="connsiteY1318" fmla="*/ 94192 h 527461"/>
              <a:gd name="connsiteX1319" fmla="*/ 948086 w 1211263"/>
              <a:gd name="connsiteY1319" fmla="*/ 93034 h 527461"/>
              <a:gd name="connsiteX1320" fmla="*/ 365655 w 1211263"/>
              <a:gd name="connsiteY1320" fmla="*/ 89429 h 527461"/>
              <a:gd name="connsiteX1321" fmla="*/ 363538 w 1211263"/>
              <a:gd name="connsiteY1321" fmla="*/ 93662 h 527461"/>
              <a:gd name="connsiteX1322" fmla="*/ 363538 w 1211263"/>
              <a:gd name="connsiteY1322" fmla="*/ 91546 h 527461"/>
              <a:gd name="connsiteX1323" fmla="*/ 365655 w 1211263"/>
              <a:gd name="connsiteY1323" fmla="*/ 89429 h 527461"/>
              <a:gd name="connsiteX1324" fmla="*/ 308770 w 1211263"/>
              <a:gd name="connsiteY1324" fmla="*/ 87312 h 527461"/>
              <a:gd name="connsiteX1325" fmla="*/ 310755 w 1211263"/>
              <a:gd name="connsiteY1325" fmla="*/ 89429 h 527461"/>
              <a:gd name="connsiteX1326" fmla="*/ 306786 w 1211263"/>
              <a:gd name="connsiteY1326" fmla="*/ 93662 h 527461"/>
              <a:gd name="connsiteX1327" fmla="*/ 304801 w 1211263"/>
              <a:gd name="connsiteY1327" fmla="*/ 91546 h 527461"/>
              <a:gd name="connsiteX1328" fmla="*/ 306786 w 1211263"/>
              <a:gd name="connsiteY1328" fmla="*/ 89429 h 527461"/>
              <a:gd name="connsiteX1329" fmla="*/ 308770 w 1211263"/>
              <a:gd name="connsiteY1329" fmla="*/ 87312 h 527461"/>
              <a:gd name="connsiteX1330" fmla="*/ 304801 w 1211263"/>
              <a:gd name="connsiteY1330" fmla="*/ 84137 h 527461"/>
              <a:gd name="connsiteX1331" fmla="*/ 307976 w 1211263"/>
              <a:gd name="connsiteY1331" fmla="*/ 84137 h 527461"/>
              <a:gd name="connsiteX1332" fmla="*/ 304801 w 1211263"/>
              <a:gd name="connsiteY1332" fmla="*/ 87311 h 527461"/>
              <a:gd name="connsiteX1333" fmla="*/ 304801 w 1211263"/>
              <a:gd name="connsiteY1333" fmla="*/ 84137 h 527461"/>
              <a:gd name="connsiteX1334" fmla="*/ 932955 w 1211263"/>
              <a:gd name="connsiteY1334" fmla="*/ 81756 h 527461"/>
              <a:gd name="connsiteX1335" fmla="*/ 933451 w 1211263"/>
              <a:gd name="connsiteY1335" fmla="*/ 86254 h 527461"/>
              <a:gd name="connsiteX1336" fmla="*/ 927498 w 1211263"/>
              <a:gd name="connsiteY1336" fmla="*/ 88371 h 527461"/>
              <a:gd name="connsiteX1337" fmla="*/ 925513 w 1211263"/>
              <a:gd name="connsiteY1337" fmla="*/ 86254 h 527461"/>
              <a:gd name="connsiteX1338" fmla="*/ 929482 w 1211263"/>
              <a:gd name="connsiteY1338" fmla="*/ 82021 h 527461"/>
              <a:gd name="connsiteX1339" fmla="*/ 932955 w 1211263"/>
              <a:gd name="connsiteY1339" fmla="*/ 81756 h 527461"/>
              <a:gd name="connsiteX1340" fmla="*/ 804864 w 1211263"/>
              <a:gd name="connsiteY1340" fmla="*/ 77787 h 527461"/>
              <a:gd name="connsiteX1341" fmla="*/ 806451 w 1211263"/>
              <a:gd name="connsiteY1341" fmla="*/ 81756 h 527461"/>
              <a:gd name="connsiteX1342" fmla="*/ 803276 w 1211263"/>
              <a:gd name="connsiteY1342" fmla="*/ 85725 h 527461"/>
              <a:gd name="connsiteX1343" fmla="*/ 803276 w 1211263"/>
              <a:gd name="connsiteY1343" fmla="*/ 79772 h 527461"/>
              <a:gd name="connsiteX1344" fmla="*/ 804864 w 1211263"/>
              <a:gd name="connsiteY1344" fmla="*/ 77787 h 527461"/>
              <a:gd name="connsiteX1345" fmla="*/ 841376 w 1211263"/>
              <a:gd name="connsiteY1345" fmla="*/ 69850 h 527461"/>
              <a:gd name="connsiteX1346" fmla="*/ 842963 w 1211263"/>
              <a:gd name="connsiteY1346" fmla="*/ 72232 h 527461"/>
              <a:gd name="connsiteX1347" fmla="*/ 841376 w 1211263"/>
              <a:gd name="connsiteY1347" fmla="*/ 72232 h 527461"/>
              <a:gd name="connsiteX1348" fmla="*/ 841376 w 1211263"/>
              <a:gd name="connsiteY1348" fmla="*/ 69850 h 527461"/>
              <a:gd name="connsiteX1349" fmla="*/ 832380 w 1211263"/>
              <a:gd name="connsiteY1349" fmla="*/ 65617 h 527461"/>
              <a:gd name="connsiteX1350" fmla="*/ 836613 w 1211263"/>
              <a:gd name="connsiteY1350" fmla="*/ 67734 h 527461"/>
              <a:gd name="connsiteX1351" fmla="*/ 832380 w 1211263"/>
              <a:gd name="connsiteY1351" fmla="*/ 67734 h 527461"/>
              <a:gd name="connsiteX1352" fmla="*/ 832380 w 1211263"/>
              <a:gd name="connsiteY1352" fmla="*/ 65617 h 527461"/>
              <a:gd name="connsiteX1353" fmla="*/ 800895 w 1211263"/>
              <a:gd name="connsiteY1353" fmla="*/ 65541 h 527461"/>
              <a:gd name="connsiteX1354" fmla="*/ 806848 w 1211263"/>
              <a:gd name="connsiteY1354" fmla="*/ 67583 h 527461"/>
              <a:gd name="connsiteX1355" fmla="*/ 810817 w 1211263"/>
              <a:gd name="connsiteY1355" fmla="*/ 75747 h 527461"/>
              <a:gd name="connsiteX1356" fmla="*/ 802879 w 1211263"/>
              <a:gd name="connsiteY1356" fmla="*/ 73706 h 527461"/>
              <a:gd name="connsiteX1357" fmla="*/ 800895 w 1211263"/>
              <a:gd name="connsiteY1357" fmla="*/ 65541 h 527461"/>
              <a:gd name="connsiteX1358" fmla="*/ 808568 w 1211263"/>
              <a:gd name="connsiteY1358" fmla="*/ 52785 h 527461"/>
              <a:gd name="connsiteX1359" fmla="*/ 812801 w 1211263"/>
              <a:gd name="connsiteY1359" fmla="*/ 52785 h 527461"/>
              <a:gd name="connsiteX1360" fmla="*/ 808568 w 1211263"/>
              <a:gd name="connsiteY1360" fmla="*/ 54769 h 527461"/>
              <a:gd name="connsiteX1361" fmla="*/ 808568 w 1211263"/>
              <a:gd name="connsiteY1361" fmla="*/ 52785 h 527461"/>
              <a:gd name="connsiteX1362" fmla="*/ 558638 w 1211263"/>
              <a:gd name="connsiteY1362" fmla="*/ 47085 h 527461"/>
              <a:gd name="connsiteX1363" fmla="*/ 569600 w 1211263"/>
              <a:gd name="connsiteY1363" fmla="*/ 48824 h 527461"/>
              <a:gd name="connsiteX1364" fmla="*/ 581558 w 1211263"/>
              <a:gd name="connsiteY1364" fmla="*/ 54786 h 527461"/>
              <a:gd name="connsiteX1365" fmla="*/ 595510 w 1211263"/>
              <a:gd name="connsiteY1365" fmla="*/ 54786 h 527461"/>
              <a:gd name="connsiteX1366" fmla="*/ 595510 w 1211263"/>
              <a:gd name="connsiteY1366" fmla="*/ 56773 h 527461"/>
              <a:gd name="connsiteX1367" fmla="*/ 599496 w 1211263"/>
              <a:gd name="connsiteY1367" fmla="*/ 58761 h 527461"/>
              <a:gd name="connsiteX1368" fmla="*/ 605475 w 1211263"/>
              <a:gd name="connsiteY1368" fmla="*/ 62735 h 527461"/>
              <a:gd name="connsiteX1369" fmla="*/ 603482 w 1211263"/>
              <a:gd name="connsiteY1369" fmla="*/ 70685 h 527461"/>
              <a:gd name="connsiteX1370" fmla="*/ 603482 w 1211263"/>
              <a:gd name="connsiteY1370" fmla="*/ 76647 h 527461"/>
              <a:gd name="connsiteX1371" fmla="*/ 601489 w 1211263"/>
              <a:gd name="connsiteY1371" fmla="*/ 82608 h 527461"/>
              <a:gd name="connsiteX1372" fmla="*/ 603482 w 1211263"/>
              <a:gd name="connsiteY1372" fmla="*/ 90558 h 527461"/>
              <a:gd name="connsiteX1373" fmla="*/ 607468 w 1211263"/>
              <a:gd name="connsiteY1373" fmla="*/ 98507 h 527461"/>
              <a:gd name="connsiteX1374" fmla="*/ 607468 w 1211263"/>
              <a:gd name="connsiteY1374" fmla="*/ 108444 h 527461"/>
              <a:gd name="connsiteX1375" fmla="*/ 605475 w 1211263"/>
              <a:gd name="connsiteY1375" fmla="*/ 116393 h 527461"/>
              <a:gd name="connsiteX1376" fmla="*/ 605475 w 1211263"/>
              <a:gd name="connsiteY1376" fmla="*/ 124342 h 527461"/>
              <a:gd name="connsiteX1377" fmla="*/ 615440 w 1211263"/>
              <a:gd name="connsiteY1377" fmla="*/ 136266 h 527461"/>
              <a:gd name="connsiteX1378" fmla="*/ 633378 w 1211263"/>
              <a:gd name="connsiteY1378" fmla="*/ 142228 h 527461"/>
              <a:gd name="connsiteX1379" fmla="*/ 637364 w 1211263"/>
              <a:gd name="connsiteY1379" fmla="*/ 150177 h 527461"/>
              <a:gd name="connsiteX1380" fmla="*/ 633378 w 1211263"/>
              <a:gd name="connsiteY1380" fmla="*/ 156139 h 527461"/>
              <a:gd name="connsiteX1381" fmla="*/ 621420 w 1211263"/>
              <a:gd name="connsiteY1381" fmla="*/ 160114 h 527461"/>
              <a:gd name="connsiteX1382" fmla="*/ 611454 w 1211263"/>
              <a:gd name="connsiteY1382" fmla="*/ 154152 h 527461"/>
              <a:gd name="connsiteX1383" fmla="*/ 603482 w 1211263"/>
              <a:gd name="connsiteY1383" fmla="*/ 158126 h 527461"/>
              <a:gd name="connsiteX1384" fmla="*/ 599496 w 1211263"/>
              <a:gd name="connsiteY1384" fmla="*/ 177999 h 527461"/>
              <a:gd name="connsiteX1385" fmla="*/ 597503 w 1211263"/>
              <a:gd name="connsiteY1385" fmla="*/ 191911 h 527461"/>
              <a:gd name="connsiteX1386" fmla="*/ 593517 w 1211263"/>
              <a:gd name="connsiteY1386" fmla="*/ 207809 h 527461"/>
              <a:gd name="connsiteX1387" fmla="*/ 585544 w 1211263"/>
              <a:gd name="connsiteY1387" fmla="*/ 213771 h 527461"/>
              <a:gd name="connsiteX1388" fmla="*/ 577572 w 1211263"/>
              <a:gd name="connsiteY1388" fmla="*/ 223708 h 527461"/>
              <a:gd name="connsiteX1389" fmla="*/ 573586 w 1211263"/>
              <a:gd name="connsiteY1389" fmla="*/ 227682 h 527461"/>
              <a:gd name="connsiteX1390" fmla="*/ 569600 w 1211263"/>
              <a:gd name="connsiteY1390" fmla="*/ 235631 h 527461"/>
              <a:gd name="connsiteX1391" fmla="*/ 571593 w 1211263"/>
              <a:gd name="connsiteY1391" fmla="*/ 247555 h 527461"/>
              <a:gd name="connsiteX1392" fmla="*/ 571593 w 1211263"/>
              <a:gd name="connsiteY1392" fmla="*/ 261466 h 527461"/>
              <a:gd name="connsiteX1393" fmla="*/ 565614 w 1211263"/>
              <a:gd name="connsiteY1393" fmla="*/ 269416 h 527461"/>
              <a:gd name="connsiteX1394" fmla="*/ 563621 w 1211263"/>
              <a:gd name="connsiteY1394" fmla="*/ 273390 h 527461"/>
              <a:gd name="connsiteX1395" fmla="*/ 559635 w 1211263"/>
              <a:gd name="connsiteY1395" fmla="*/ 281340 h 527461"/>
              <a:gd name="connsiteX1396" fmla="*/ 557641 w 1211263"/>
              <a:gd name="connsiteY1396" fmla="*/ 285314 h 527461"/>
              <a:gd name="connsiteX1397" fmla="*/ 557641 w 1211263"/>
              <a:gd name="connsiteY1397" fmla="*/ 291276 h 527461"/>
              <a:gd name="connsiteX1398" fmla="*/ 549669 w 1211263"/>
              <a:gd name="connsiteY1398" fmla="*/ 299225 h 527461"/>
              <a:gd name="connsiteX1399" fmla="*/ 539704 w 1211263"/>
              <a:gd name="connsiteY1399" fmla="*/ 301213 h 527461"/>
              <a:gd name="connsiteX1400" fmla="*/ 527745 w 1211263"/>
              <a:gd name="connsiteY1400" fmla="*/ 309162 h 527461"/>
              <a:gd name="connsiteX1401" fmla="*/ 519773 w 1211263"/>
              <a:gd name="connsiteY1401" fmla="*/ 311149 h 527461"/>
              <a:gd name="connsiteX1402" fmla="*/ 519773 w 1211263"/>
              <a:gd name="connsiteY1402" fmla="*/ 307175 h 527461"/>
              <a:gd name="connsiteX1403" fmla="*/ 515787 w 1211263"/>
              <a:gd name="connsiteY1403" fmla="*/ 295251 h 527461"/>
              <a:gd name="connsiteX1404" fmla="*/ 511801 w 1211263"/>
              <a:gd name="connsiteY1404" fmla="*/ 287302 h 527461"/>
              <a:gd name="connsiteX1405" fmla="*/ 503829 w 1211263"/>
              <a:gd name="connsiteY1405" fmla="*/ 285314 h 527461"/>
              <a:gd name="connsiteX1406" fmla="*/ 493863 w 1211263"/>
              <a:gd name="connsiteY1406" fmla="*/ 285314 h 527461"/>
              <a:gd name="connsiteX1407" fmla="*/ 485891 w 1211263"/>
              <a:gd name="connsiteY1407" fmla="*/ 281340 h 527461"/>
              <a:gd name="connsiteX1408" fmla="*/ 481905 w 1211263"/>
              <a:gd name="connsiteY1408" fmla="*/ 281340 h 527461"/>
              <a:gd name="connsiteX1409" fmla="*/ 475926 w 1211263"/>
              <a:gd name="connsiteY1409" fmla="*/ 289289 h 527461"/>
              <a:gd name="connsiteX1410" fmla="*/ 461974 w 1211263"/>
              <a:gd name="connsiteY1410" fmla="*/ 289289 h 527461"/>
              <a:gd name="connsiteX1411" fmla="*/ 446030 w 1211263"/>
              <a:gd name="connsiteY1411" fmla="*/ 287302 h 527461"/>
              <a:gd name="connsiteX1412" fmla="*/ 444037 w 1211263"/>
              <a:gd name="connsiteY1412" fmla="*/ 281340 h 527461"/>
              <a:gd name="connsiteX1413" fmla="*/ 446030 w 1211263"/>
              <a:gd name="connsiteY1413" fmla="*/ 271403 h 527461"/>
              <a:gd name="connsiteX1414" fmla="*/ 436064 w 1211263"/>
              <a:gd name="connsiteY1414" fmla="*/ 275378 h 527461"/>
              <a:gd name="connsiteX1415" fmla="*/ 426099 w 1211263"/>
              <a:gd name="connsiteY1415" fmla="*/ 277365 h 527461"/>
              <a:gd name="connsiteX1416" fmla="*/ 414141 w 1211263"/>
              <a:gd name="connsiteY1416" fmla="*/ 275378 h 527461"/>
              <a:gd name="connsiteX1417" fmla="*/ 406168 w 1211263"/>
              <a:gd name="connsiteY1417" fmla="*/ 269416 h 527461"/>
              <a:gd name="connsiteX1418" fmla="*/ 402182 w 1211263"/>
              <a:gd name="connsiteY1418" fmla="*/ 251530 h 527461"/>
              <a:gd name="connsiteX1419" fmla="*/ 398196 w 1211263"/>
              <a:gd name="connsiteY1419" fmla="*/ 239606 h 527461"/>
              <a:gd name="connsiteX1420" fmla="*/ 398196 w 1211263"/>
              <a:gd name="connsiteY1420" fmla="*/ 231657 h 527461"/>
              <a:gd name="connsiteX1421" fmla="*/ 398196 w 1211263"/>
              <a:gd name="connsiteY1421" fmla="*/ 223708 h 527461"/>
              <a:gd name="connsiteX1422" fmla="*/ 394210 w 1211263"/>
              <a:gd name="connsiteY1422" fmla="*/ 219733 h 527461"/>
              <a:gd name="connsiteX1423" fmla="*/ 388231 w 1211263"/>
              <a:gd name="connsiteY1423" fmla="*/ 219733 h 527461"/>
              <a:gd name="connsiteX1424" fmla="*/ 382252 w 1211263"/>
              <a:gd name="connsiteY1424" fmla="*/ 213771 h 527461"/>
              <a:gd name="connsiteX1425" fmla="*/ 378266 w 1211263"/>
              <a:gd name="connsiteY1425" fmla="*/ 199860 h 527461"/>
              <a:gd name="connsiteX1426" fmla="*/ 378266 w 1211263"/>
              <a:gd name="connsiteY1426" fmla="*/ 181974 h 527461"/>
              <a:gd name="connsiteX1427" fmla="*/ 376273 w 1211263"/>
              <a:gd name="connsiteY1427" fmla="*/ 176012 h 527461"/>
              <a:gd name="connsiteX1428" fmla="*/ 370293 w 1211263"/>
              <a:gd name="connsiteY1428" fmla="*/ 150177 h 527461"/>
              <a:gd name="connsiteX1429" fmla="*/ 384245 w 1211263"/>
              <a:gd name="connsiteY1429" fmla="*/ 124342 h 527461"/>
              <a:gd name="connsiteX1430" fmla="*/ 390224 w 1211263"/>
              <a:gd name="connsiteY1430" fmla="*/ 124342 h 527461"/>
              <a:gd name="connsiteX1431" fmla="*/ 392217 w 1211263"/>
              <a:gd name="connsiteY1431" fmla="*/ 138253 h 527461"/>
              <a:gd name="connsiteX1432" fmla="*/ 408162 w 1211263"/>
              <a:gd name="connsiteY1432" fmla="*/ 154152 h 527461"/>
              <a:gd name="connsiteX1433" fmla="*/ 448023 w 1211263"/>
              <a:gd name="connsiteY1433" fmla="*/ 150177 h 527461"/>
              <a:gd name="connsiteX1434" fmla="*/ 461974 w 1211263"/>
              <a:gd name="connsiteY1434" fmla="*/ 138253 h 527461"/>
              <a:gd name="connsiteX1435" fmla="*/ 481905 w 1211263"/>
              <a:gd name="connsiteY1435" fmla="*/ 140240 h 527461"/>
              <a:gd name="connsiteX1436" fmla="*/ 521766 w 1211263"/>
              <a:gd name="connsiteY1436" fmla="*/ 130304 h 527461"/>
              <a:gd name="connsiteX1437" fmla="*/ 537711 w 1211263"/>
              <a:gd name="connsiteY1437" fmla="*/ 98507 h 527461"/>
              <a:gd name="connsiteX1438" fmla="*/ 547676 w 1211263"/>
              <a:gd name="connsiteY1438" fmla="*/ 68697 h 527461"/>
              <a:gd name="connsiteX1439" fmla="*/ 547676 w 1211263"/>
              <a:gd name="connsiteY1439" fmla="*/ 60748 h 527461"/>
              <a:gd name="connsiteX1440" fmla="*/ 553655 w 1211263"/>
              <a:gd name="connsiteY1440" fmla="*/ 52799 h 527461"/>
              <a:gd name="connsiteX1441" fmla="*/ 558638 w 1211263"/>
              <a:gd name="connsiteY1441" fmla="*/ 47085 h 527461"/>
              <a:gd name="connsiteX1442" fmla="*/ 831322 w 1211263"/>
              <a:gd name="connsiteY1442" fmla="*/ 40041 h 527461"/>
              <a:gd name="connsiteX1443" fmla="*/ 835555 w 1211263"/>
              <a:gd name="connsiteY1443" fmla="*/ 40041 h 527461"/>
              <a:gd name="connsiteX1444" fmla="*/ 839788 w 1211263"/>
              <a:gd name="connsiteY1444" fmla="*/ 51683 h 527461"/>
              <a:gd name="connsiteX1445" fmla="*/ 831322 w 1211263"/>
              <a:gd name="connsiteY1445" fmla="*/ 55563 h 527461"/>
              <a:gd name="connsiteX1446" fmla="*/ 833438 w 1211263"/>
              <a:gd name="connsiteY1446" fmla="*/ 45862 h 527461"/>
              <a:gd name="connsiteX1447" fmla="*/ 831322 w 1211263"/>
              <a:gd name="connsiteY1447" fmla="*/ 40041 h 527461"/>
              <a:gd name="connsiteX1448" fmla="*/ 846668 w 1211263"/>
              <a:gd name="connsiteY1448" fmla="*/ 34925 h 527461"/>
              <a:gd name="connsiteX1449" fmla="*/ 850901 w 1211263"/>
              <a:gd name="connsiteY1449" fmla="*/ 38894 h 527461"/>
              <a:gd name="connsiteX1450" fmla="*/ 848785 w 1211263"/>
              <a:gd name="connsiteY1450" fmla="*/ 42863 h 527461"/>
              <a:gd name="connsiteX1451" fmla="*/ 846668 w 1211263"/>
              <a:gd name="connsiteY1451" fmla="*/ 40879 h 527461"/>
              <a:gd name="connsiteX1452" fmla="*/ 844551 w 1211263"/>
              <a:gd name="connsiteY1452" fmla="*/ 38894 h 527461"/>
              <a:gd name="connsiteX1453" fmla="*/ 846668 w 1211263"/>
              <a:gd name="connsiteY1453" fmla="*/ 34925 h 527461"/>
              <a:gd name="connsiteX1454" fmla="*/ 800895 w 1211263"/>
              <a:gd name="connsiteY1454" fmla="*/ 14287 h 527461"/>
              <a:gd name="connsiteX1455" fmla="*/ 803276 w 1211263"/>
              <a:gd name="connsiteY1455" fmla="*/ 15875 h 527461"/>
              <a:gd name="connsiteX1456" fmla="*/ 798513 w 1211263"/>
              <a:gd name="connsiteY1456" fmla="*/ 15875 h 527461"/>
              <a:gd name="connsiteX1457" fmla="*/ 800895 w 1211263"/>
              <a:gd name="connsiteY1457" fmla="*/ 14287 h 527461"/>
              <a:gd name="connsiteX1458" fmla="*/ 3974 w 1211263"/>
              <a:gd name="connsiteY1458" fmla="*/ 0 h 527461"/>
              <a:gd name="connsiteX1459" fmla="*/ 7949 w 1211263"/>
              <a:gd name="connsiteY1459" fmla="*/ 5979 h 527461"/>
              <a:gd name="connsiteX1460" fmla="*/ 17884 w 1211263"/>
              <a:gd name="connsiteY1460" fmla="*/ 7972 h 527461"/>
              <a:gd name="connsiteX1461" fmla="*/ 21858 w 1211263"/>
              <a:gd name="connsiteY1461" fmla="*/ 11958 h 527461"/>
              <a:gd name="connsiteX1462" fmla="*/ 27819 w 1211263"/>
              <a:gd name="connsiteY1462" fmla="*/ 19930 h 527461"/>
              <a:gd name="connsiteX1463" fmla="*/ 35768 w 1211263"/>
              <a:gd name="connsiteY1463" fmla="*/ 21923 h 527461"/>
              <a:gd name="connsiteX1464" fmla="*/ 47690 w 1211263"/>
              <a:gd name="connsiteY1464" fmla="*/ 23916 h 527461"/>
              <a:gd name="connsiteX1465" fmla="*/ 55638 w 1211263"/>
              <a:gd name="connsiteY1465" fmla="*/ 23916 h 527461"/>
              <a:gd name="connsiteX1466" fmla="*/ 61600 w 1211263"/>
              <a:gd name="connsiteY1466" fmla="*/ 25909 h 527461"/>
              <a:gd name="connsiteX1467" fmla="*/ 69548 w 1211263"/>
              <a:gd name="connsiteY1467" fmla="*/ 27902 h 527461"/>
              <a:gd name="connsiteX1468" fmla="*/ 73522 w 1211263"/>
              <a:gd name="connsiteY1468" fmla="*/ 33881 h 527461"/>
              <a:gd name="connsiteX1469" fmla="*/ 75509 w 1211263"/>
              <a:gd name="connsiteY1469" fmla="*/ 39860 h 527461"/>
              <a:gd name="connsiteX1470" fmla="*/ 77496 w 1211263"/>
              <a:gd name="connsiteY1470" fmla="*/ 45839 h 527461"/>
              <a:gd name="connsiteX1471" fmla="*/ 85444 w 1211263"/>
              <a:gd name="connsiteY1471" fmla="*/ 47832 h 527461"/>
              <a:gd name="connsiteX1472" fmla="*/ 85444 w 1211263"/>
              <a:gd name="connsiteY1472" fmla="*/ 55804 h 527461"/>
              <a:gd name="connsiteX1473" fmla="*/ 91406 w 1211263"/>
              <a:gd name="connsiteY1473" fmla="*/ 59790 h 527461"/>
              <a:gd name="connsiteX1474" fmla="*/ 99354 w 1211263"/>
              <a:gd name="connsiteY1474" fmla="*/ 65769 h 527461"/>
              <a:gd name="connsiteX1475" fmla="*/ 107302 w 1211263"/>
              <a:gd name="connsiteY1475" fmla="*/ 73741 h 527461"/>
              <a:gd name="connsiteX1476" fmla="*/ 111276 w 1211263"/>
              <a:gd name="connsiteY1476" fmla="*/ 81713 h 527461"/>
              <a:gd name="connsiteX1477" fmla="*/ 119225 w 1211263"/>
              <a:gd name="connsiteY1477" fmla="*/ 83706 h 527461"/>
              <a:gd name="connsiteX1478" fmla="*/ 127173 w 1211263"/>
              <a:gd name="connsiteY1478" fmla="*/ 87692 h 527461"/>
              <a:gd name="connsiteX1479" fmla="*/ 131147 w 1211263"/>
              <a:gd name="connsiteY1479" fmla="*/ 93671 h 527461"/>
              <a:gd name="connsiteX1480" fmla="*/ 133134 w 1211263"/>
              <a:gd name="connsiteY1480" fmla="*/ 103636 h 527461"/>
              <a:gd name="connsiteX1481" fmla="*/ 141083 w 1211263"/>
              <a:gd name="connsiteY1481" fmla="*/ 103636 h 527461"/>
              <a:gd name="connsiteX1482" fmla="*/ 145057 w 1211263"/>
              <a:gd name="connsiteY1482" fmla="*/ 105629 h 527461"/>
              <a:gd name="connsiteX1483" fmla="*/ 147044 w 1211263"/>
              <a:gd name="connsiteY1483" fmla="*/ 113601 h 527461"/>
              <a:gd name="connsiteX1484" fmla="*/ 153005 w 1211263"/>
              <a:gd name="connsiteY1484" fmla="*/ 123566 h 527461"/>
              <a:gd name="connsiteX1485" fmla="*/ 156979 w 1211263"/>
              <a:gd name="connsiteY1485" fmla="*/ 121573 h 527461"/>
              <a:gd name="connsiteX1486" fmla="*/ 154992 w 1211263"/>
              <a:gd name="connsiteY1486" fmla="*/ 111608 h 527461"/>
              <a:gd name="connsiteX1487" fmla="*/ 156979 w 1211263"/>
              <a:gd name="connsiteY1487" fmla="*/ 109615 h 527461"/>
              <a:gd name="connsiteX1488" fmla="*/ 160953 w 1211263"/>
              <a:gd name="connsiteY1488" fmla="*/ 107622 h 527461"/>
              <a:gd name="connsiteX1489" fmla="*/ 166915 w 1211263"/>
              <a:gd name="connsiteY1489" fmla="*/ 115594 h 527461"/>
              <a:gd name="connsiteX1490" fmla="*/ 170889 w 1211263"/>
              <a:gd name="connsiteY1490" fmla="*/ 119580 h 527461"/>
              <a:gd name="connsiteX1491" fmla="*/ 176850 w 1211263"/>
              <a:gd name="connsiteY1491" fmla="*/ 117587 h 527461"/>
              <a:gd name="connsiteX1492" fmla="*/ 180824 w 1211263"/>
              <a:gd name="connsiteY1492" fmla="*/ 119580 h 527461"/>
              <a:gd name="connsiteX1493" fmla="*/ 178837 w 1211263"/>
              <a:gd name="connsiteY1493" fmla="*/ 127552 h 527461"/>
              <a:gd name="connsiteX1494" fmla="*/ 180824 w 1211263"/>
              <a:gd name="connsiteY1494" fmla="*/ 131538 h 527461"/>
              <a:gd name="connsiteX1495" fmla="*/ 184798 w 1211263"/>
              <a:gd name="connsiteY1495" fmla="*/ 133531 h 527461"/>
              <a:gd name="connsiteX1496" fmla="*/ 186785 w 1211263"/>
              <a:gd name="connsiteY1496" fmla="*/ 139510 h 527461"/>
              <a:gd name="connsiteX1497" fmla="*/ 190759 w 1211263"/>
              <a:gd name="connsiteY1497" fmla="*/ 147482 h 527461"/>
              <a:gd name="connsiteX1498" fmla="*/ 194734 w 1211263"/>
              <a:gd name="connsiteY1498" fmla="*/ 153461 h 527461"/>
              <a:gd name="connsiteX1499" fmla="*/ 198708 w 1211263"/>
              <a:gd name="connsiteY1499" fmla="*/ 157447 h 527461"/>
              <a:gd name="connsiteX1500" fmla="*/ 206656 w 1211263"/>
              <a:gd name="connsiteY1500" fmla="*/ 155454 h 527461"/>
              <a:gd name="connsiteX1501" fmla="*/ 200695 w 1211263"/>
              <a:gd name="connsiteY1501" fmla="*/ 151468 h 527461"/>
              <a:gd name="connsiteX1502" fmla="*/ 194734 w 1211263"/>
              <a:gd name="connsiteY1502" fmla="*/ 145489 h 527461"/>
              <a:gd name="connsiteX1503" fmla="*/ 192747 w 1211263"/>
              <a:gd name="connsiteY1503" fmla="*/ 141503 h 527461"/>
              <a:gd name="connsiteX1504" fmla="*/ 192747 w 1211263"/>
              <a:gd name="connsiteY1504" fmla="*/ 137517 h 527461"/>
              <a:gd name="connsiteX1505" fmla="*/ 188772 w 1211263"/>
              <a:gd name="connsiteY1505" fmla="*/ 133531 h 527461"/>
              <a:gd name="connsiteX1506" fmla="*/ 184798 w 1211263"/>
              <a:gd name="connsiteY1506" fmla="*/ 131538 h 527461"/>
              <a:gd name="connsiteX1507" fmla="*/ 184798 w 1211263"/>
              <a:gd name="connsiteY1507" fmla="*/ 127552 h 527461"/>
              <a:gd name="connsiteX1508" fmla="*/ 190759 w 1211263"/>
              <a:gd name="connsiteY1508" fmla="*/ 127552 h 527461"/>
              <a:gd name="connsiteX1509" fmla="*/ 194734 w 1211263"/>
              <a:gd name="connsiteY1509" fmla="*/ 129545 h 527461"/>
              <a:gd name="connsiteX1510" fmla="*/ 198708 w 1211263"/>
              <a:gd name="connsiteY1510" fmla="*/ 131538 h 527461"/>
              <a:gd name="connsiteX1511" fmla="*/ 202682 w 1211263"/>
              <a:gd name="connsiteY1511" fmla="*/ 133531 h 527461"/>
              <a:gd name="connsiteX1512" fmla="*/ 202682 w 1211263"/>
              <a:gd name="connsiteY1512" fmla="*/ 141503 h 527461"/>
              <a:gd name="connsiteX1513" fmla="*/ 204669 w 1211263"/>
              <a:gd name="connsiteY1513" fmla="*/ 145489 h 527461"/>
              <a:gd name="connsiteX1514" fmla="*/ 210630 w 1211263"/>
              <a:gd name="connsiteY1514" fmla="*/ 145489 h 527461"/>
              <a:gd name="connsiteX1515" fmla="*/ 214604 w 1211263"/>
              <a:gd name="connsiteY1515" fmla="*/ 145489 h 527461"/>
              <a:gd name="connsiteX1516" fmla="*/ 216591 w 1211263"/>
              <a:gd name="connsiteY1516" fmla="*/ 151468 h 527461"/>
              <a:gd name="connsiteX1517" fmla="*/ 216591 w 1211263"/>
              <a:gd name="connsiteY1517" fmla="*/ 159440 h 527461"/>
              <a:gd name="connsiteX1518" fmla="*/ 214604 w 1211263"/>
              <a:gd name="connsiteY1518" fmla="*/ 165419 h 527461"/>
              <a:gd name="connsiteX1519" fmla="*/ 210630 w 1211263"/>
              <a:gd name="connsiteY1519" fmla="*/ 169405 h 527461"/>
              <a:gd name="connsiteX1520" fmla="*/ 214604 w 1211263"/>
              <a:gd name="connsiteY1520" fmla="*/ 171398 h 527461"/>
              <a:gd name="connsiteX1521" fmla="*/ 222553 w 1211263"/>
              <a:gd name="connsiteY1521" fmla="*/ 173391 h 527461"/>
              <a:gd name="connsiteX1522" fmla="*/ 230501 w 1211263"/>
              <a:gd name="connsiteY1522" fmla="*/ 175384 h 527461"/>
              <a:gd name="connsiteX1523" fmla="*/ 232488 w 1211263"/>
              <a:gd name="connsiteY1523" fmla="*/ 181363 h 527461"/>
              <a:gd name="connsiteX1524" fmla="*/ 228514 w 1211263"/>
              <a:gd name="connsiteY1524" fmla="*/ 187342 h 527461"/>
              <a:gd name="connsiteX1525" fmla="*/ 230501 w 1211263"/>
              <a:gd name="connsiteY1525" fmla="*/ 193321 h 527461"/>
              <a:gd name="connsiteX1526" fmla="*/ 228514 w 1211263"/>
              <a:gd name="connsiteY1526" fmla="*/ 199300 h 527461"/>
              <a:gd name="connsiteX1527" fmla="*/ 226527 w 1211263"/>
              <a:gd name="connsiteY1527" fmla="*/ 203286 h 527461"/>
              <a:gd name="connsiteX1528" fmla="*/ 232488 w 1211263"/>
              <a:gd name="connsiteY1528" fmla="*/ 213251 h 527461"/>
              <a:gd name="connsiteX1529" fmla="*/ 242423 w 1211263"/>
              <a:gd name="connsiteY1529" fmla="*/ 213251 h 527461"/>
              <a:gd name="connsiteX1530" fmla="*/ 248385 w 1211263"/>
              <a:gd name="connsiteY1530" fmla="*/ 217237 h 527461"/>
              <a:gd name="connsiteX1531" fmla="*/ 252359 w 1211263"/>
              <a:gd name="connsiteY1531" fmla="*/ 219230 h 527461"/>
              <a:gd name="connsiteX1532" fmla="*/ 254346 w 1211263"/>
              <a:gd name="connsiteY1532" fmla="*/ 225209 h 527461"/>
              <a:gd name="connsiteX1533" fmla="*/ 254346 w 1211263"/>
              <a:gd name="connsiteY1533" fmla="*/ 231188 h 527461"/>
              <a:gd name="connsiteX1534" fmla="*/ 258320 w 1211263"/>
              <a:gd name="connsiteY1534" fmla="*/ 235174 h 527461"/>
              <a:gd name="connsiteX1535" fmla="*/ 260307 w 1211263"/>
              <a:gd name="connsiteY1535" fmla="*/ 241153 h 527461"/>
              <a:gd name="connsiteX1536" fmla="*/ 262294 w 1211263"/>
              <a:gd name="connsiteY1536" fmla="*/ 245139 h 527461"/>
              <a:gd name="connsiteX1537" fmla="*/ 262294 w 1211263"/>
              <a:gd name="connsiteY1537" fmla="*/ 251118 h 527461"/>
              <a:gd name="connsiteX1538" fmla="*/ 264281 w 1211263"/>
              <a:gd name="connsiteY1538" fmla="*/ 255104 h 527461"/>
              <a:gd name="connsiteX1539" fmla="*/ 270242 w 1211263"/>
              <a:gd name="connsiteY1539" fmla="*/ 255104 h 527461"/>
              <a:gd name="connsiteX1540" fmla="*/ 276204 w 1211263"/>
              <a:gd name="connsiteY1540" fmla="*/ 257097 h 527461"/>
              <a:gd name="connsiteX1541" fmla="*/ 280178 w 1211263"/>
              <a:gd name="connsiteY1541" fmla="*/ 261083 h 527461"/>
              <a:gd name="connsiteX1542" fmla="*/ 290113 w 1211263"/>
              <a:gd name="connsiteY1542" fmla="*/ 275034 h 527461"/>
              <a:gd name="connsiteX1543" fmla="*/ 292100 w 1211263"/>
              <a:gd name="connsiteY1543" fmla="*/ 284999 h 527461"/>
              <a:gd name="connsiteX1544" fmla="*/ 290113 w 1211263"/>
              <a:gd name="connsiteY1544" fmla="*/ 300943 h 527461"/>
              <a:gd name="connsiteX1545" fmla="*/ 288126 w 1211263"/>
              <a:gd name="connsiteY1545" fmla="*/ 308915 h 527461"/>
              <a:gd name="connsiteX1546" fmla="*/ 290113 w 1211263"/>
              <a:gd name="connsiteY1546" fmla="*/ 318880 h 527461"/>
              <a:gd name="connsiteX1547" fmla="*/ 290113 w 1211263"/>
              <a:gd name="connsiteY1547" fmla="*/ 330838 h 527461"/>
              <a:gd name="connsiteX1548" fmla="*/ 284152 w 1211263"/>
              <a:gd name="connsiteY1548" fmla="*/ 338810 h 527461"/>
              <a:gd name="connsiteX1549" fmla="*/ 282165 w 1211263"/>
              <a:gd name="connsiteY1549" fmla="*/ 344789 h 527461"/>
              <a:gd name="connsiteX1550" fmla="*/ 282165 w 1211263"/>
              <a:gd name="connsiteY1550" fmla="*/ 358740 h 527461"/>
              <a:gd name="connsiteX1551" fmla="*/ 280178 w 1211263"/>
              <a:gd name="connsiteY1551" fmla="*/ 360733 h 527461"/>
              <a:gd name="connsiteX1552" fmla="*/ 274217 w 1211263"/>
              <a:gd name="connsiteY1552" fmla="*/ 352761 h 527461"/>
              <a:gd name="connsiteX1553" fmla="*/ 272229 w 1211263"/>
              <a:gd name="connsiteY1553" fmla="*/ 352761 h 527461"/>
              <a:gd name="connsiteX1554" fmla="*/ 272229 w 1211263"/>
              <a:gd name="connsiteY1554" fmla="*/ 358740 h 527461"/>
              <a:gd name="connsiteX1555" fmla="*/ 266268 w 1211263"/>
              <a:gd name="connsiteY1555" fmla="*/ 358740 h 527461"/>
              <a:gd name="connsiteX1556" fmla="*/ 256333 w 1211263"/>
              <a:gd name="connsiteY1556" fmla="*/ 352761 h 527461"/>
              <a:gd name="connsiteX1557" fmla="*/ 256333 w 1211263"/>
              <a:gd name="connsiteY1557" fmla="*/ 358740 h 527461"/>
              <a:gd name="connsiteX1558" fmla="*/ 256333 w 1211263"/>
              <a:gd name="connsiteY1558" fmla="*/ 366712 h 527461"/>
              <a:gd name="connsiteX1559" fmla="*/ 250372 w 1211263"/>
              <a:gd name="connsiteY1559" fmla="*/ 364719 h 527461"/>
              <a:gd name="connsiteX1560" fmla="*/ 244410 w 1211263"/>
              <a:gd name="connsiteY1560" fmla="*/ 358740 h 527461"/>
              <a:gd name="connsiteX1561" fmla="*/ 240436 w 1211263"/>
              <a:gd name="connsiteY1561" fmla="*/ 352761 h 527461"/>
              <a:gd name="connsiteX1562" fmla="*/ 232488 w 1211263"/>
              <a:gd name="connsiteY1562" fmla="*/ 340803 h 527461"/>
              <a:gd name="connsiteX1563" fmla="*/ 220566 w 1211263"/>
              <a:gd name="connsiteY1563" fmla="*/ 330838 h 527461"/>
              <a:gd name="connsiteX1564" fmla="*/ 206656 w 1211263"/>
              <a:gd name="connsiteY1564" fmla="*/ 322866 h 527461"/>
              <a:gd name="connsiteX1565" fmla="*/ 198708 w 1211263"/>
              <a:gd name="connsiteY1565" fmla="*/ 314894 h 527461"/>
              <a:gd name="connsiteX1566" fmla="*/ 192747 w 1211263"/>
              <a:gd name="connsiteY1566" fmla="*/ 310908 h 527461"/>
              <a:gd name="connsiteX1567" fmla="*/ 188772 w 1211263"/>
              <a:gd name="connsiteY1567" fmla="*/ 304929 h 527461"/>
              <a:gd name="connsiteX1568" fmla="*/ 188772 w 1211263"/>
              <a:gd name="connsiteY1568" fmla="*/ 298950 h 527461"/>
              <a:gd name="connsiteX1569" fmla="*/ 186785 w 1211263"/>
              <a:gd name="connsiteY1569" fmla="*/ 294964 h 527461"/>
              <a:gd name="connsiteX1570" fmla="*/ 180824 w 1211263"/>
              <a:gd name="connsiteY1570" fmla="*/ 290978 h 527461"/>
              <a:gd name="connsiteX1571" fmla="*/ 176850 w 1211263"/>
              <a:gd name="connsiteY1571" fmla="*/ 284999 h 527461"/>
              <a:gd name="connsiteX1572" fmla="*/ 172876 w 1211263"/>
              <a:gd name="connsiteY1572" fmla="*/ 279020 h 527461"/>
              <a:gd name="connsiteX1573" fmla="*/ 168902 w 1211263"/>
              <a:gd name="connsiteY1573" fmla="*/ 273041 h 527461"/>
              <a:gd name="connsiteX1574" fmla="*/ 164927 w 1211263"/>
              <a:gd name="connsiteY1574" fmla="*/ 267062 h 527461"/>
              <a:gd name="connsiteX1575" fmla="*/ 158966 w 1211263"/>
              <a:gd name="connsiteY1575" fmla="*/ 263076 h 527461"/>
              <a:gd name="connsiteX1576" fmla="*/ 154992 w 1211263"/>
              <a:gd name="connsiteY1576" fmla="*/ 255104 h 527461"/>
              <a:gd name="connsiteX1577" fmla="*/ 153005 w 1211263"/>
              <a:gd name="connsiteY1577" fmla="*/ 249125 h 527461"/>
              <a:gd name="connsiteX1578" fmla="*/ 153005 w 1211263"/>
              <a:gd name="connsiteY1578" fmla="*/ 243146 h 527461"/>
              <a:gd name="connsiteX1579" fmla="*/ 151018 w 1211263"/>
              <a:gd name="connsiteY1579" fmla="*/ 239160 h 527461"/>
              <a:gd name="connsiteX1580" fmla="*/ 151018 w 1211263"/>
              <a:gd name="connsiteY1580" fmla="*/ 235174 h 527461"/>
              <a:gd name="connsiteX1581" fmla="*/ 149031 w 1211263"/>
              <a:gd name="connsiteY1581" fmla="*/ 227202 h 527461"/>
              <a:gd name="connsiteX1582" fmla="*/ 145057 w 1211263"/>
              <a:gd name="connsiteY1582" fmla="*/ 221223 h 527461"/>
              <a:gd name="connsiteX1583" fmla="*/ 141083 w 1211263"/>
              <a:gd name="connsiteY1583" fmla="*/ 213251 h 527461"/>
              <a:gd name="connsiteX1584" fmla="*/ 139095 w 1211263"/>
              <a:gd name="connsiteY1584" fmla="*/ 207272 h 527461"/>
              <a:gd name="connsiteX1585" fmla="*/ 137108 w 1211263"/>
              <a:gd name="connsiteY1585" fmla="*/ 201293 h 527461"/>
              <a:gd name="connsiteX1586" fmla="*/ 135121 w 1211263"/>
              <a:gd name="connsiteY1586" fmla="*/ 197307 h 527461"/>
              <a:gd name="connsiteX1587" fmla="*/ 129160 w 1211263"/>
              <a:gd name="connsiteY1587" fmla="*/ 195314 h 527461"/>
              <a:gd name="connsiteX1588" fmla="*/ 125186 w 1211263"/>
              <a:gd name="connsiteY1588" fmla="*/ 193321 h 527461"/>
              <a:gd name="connsiteX1589" fmla="*/ 127173 w 1211263"/>
              <a:gd name="connsiteY1589" fmla="*/ 187342 h 527461"/>
              <a:gd name="connsiteX1590" fmla="*/ 127173 w 1211263"/>
              <a:gd name="connsiteY1590" fmla="*/ 183356 h 527461"/>
              <a:gd name="connsiteX1591" fmla="*/ 123199 w 1211263"/>
              <a:gd name="connsiteY1591" fmla="*/ 181363 h 527461"/>
              <a:gd name="connsiteX1592" fmla="*/ 115251 w 1211263"/>
              <a:gd name="connsiteY1592" fmla="*/ 177377 h 527461"/>
              <a:gd name="connsiteX1593" fmla="*/ 109289 w 1211263"/>
              <a:gd name="connsiteY1593" fmla="*/ 173391 h 527461"/>
              <a:gd name="connsiteX1594" fmla="*/ 105315 w 1211263"/>
              <a:gd name="connsiteY1594" fmla="*/ 165419 h 527461"/>
              <a:gd name="connsiteX1595" fmla="*/ 103328 w 1211263"/>
              <a:gd name="connsiteY1595" fmla="*/ 157447 h 527461"/>
              <a:gd name="connsiteX1596" fmla="*/ 101341 w 1211263"/>
              <a:gd name="connsiteY1596" fmla="*/ 151468 h 527461"/>
              <a:gd name="connsiteX1597" fmla="*/ 101341 w 1211263"/>
              <a:gd name="connsiteY1597" fmla="*/ 141503 h 527461"/>
              <a:gd name="connsiteX1598" fmla="*/ 101341 w 1211263"/>
              <a:gd name="connsiteY1598" fmla="*/ 135524 h 527461"/>
              <a:gd name="connsiteX1599" fmla="*/ 97367 w 1211263"/>
              <a:gd name="connsiteY1599" fmla="*/ 131538 h 527461"/>
              <a:gd name="connsiteX1600" fmla="*/ 93393 w 1211263"/>
              <a:gd name="connsiteY1600" fmla="*/ 125559 h 527461"/>
              <a:gd name="connsiteX1601" fmla="*/ 87432 w 1211263"/>
              <a:gd name="connsiteY1601" fmla="*/ 117587 h 527461"/>
              <a:gd name="connsiteX1602" fmla="*/ 75509 w 1211263"/>
              <a:gd name="connsiteY1602" fmla="*/ 113601 h 527461"/>
              <a:gd name="connsiteX1603" fmla="*/ 69548 w 1211263"/>
              <a:gd name="connsiteY1603" fmla="*/ 107622 h 527461"/>
              <a:gd name="connsiteX1604" fmla="*/ 67561 w 1211263"/>
              <a:gd name="connsiteY1604" fmla="*/ 95664 h 527461"/>
              <a:gd name="connsiteX1605" fmla="*/ 59612 w 1211263"/>
              <a:gd name="connsiteY1605" fmla="*/ 83706 h 527461"/>
              <a:gd name="connsiteX1606" fmla="*/ 55638 w 1211263"/>
              <a:gd name="connsiteY1606" fmla="*/ 77727 h 527461"/>
              <a:gd name="connsiteX1607" fmla="*/ 49677 w 1211263"/>
              <a:gd name="connsiteY1607" fmla="*/ 71748 h 527461"/>
              <a:gd name="connsiteX1608" fmla="*/ 41729 w 1211263"/>
              <a:gd name="connsiteY1608" fmla="*/ 65769 h 527461"/>
              <a:gd name="connsiteX1609" fmla="*/ 33781 w 1211263"/>
              <a:gd name="connsiteY1609" fmla="*/ 59790 h 527461"/>
              <a:gd name="connsiteX1610" fmla="*/ 23845 w 1211263"/>
              <a:gd name="connsiteY1610" fmla="*/ 53811 h 527461"/>
              <a:gd name="connsiteX1611" fmla="*/ 13910 w 1211263"/>
              <a:gd name="connsiteY1611" fmla="*/ 45839 h 527461"/>
              <a:gd name="connsiteX1612" fmla="*/ 7949 w 1211263"/>
              <a:gd name="connsiteY1612" fmla="*/ 35874 h 527461"/>
              <a:gd name="connsiteX1613" fmla="*/ 3974 w 1211263"/>
              <a:gd name="connsiteY1613" fmla="*/ 25909 h 527461"/>
              <a:gd name="connsiteX1614" fmla="*/ 3974 w 1211263"/>
              <a:gd name="connsiteY1614" fmla="*/ 19930 h 527461"/>
              <a:gd name="connsiteX1615" fmla="*/ 1987 w 1211263"/>
              <a:gd name="connsiteY1615" fmla="*/ 11958 h 527461"/>
              <a:gd name="connsiteX1616" fmla="*/ 0 w 1211263"/>
              <a:gd name="connsiteY1616" fmla="*/ 5979 h 527461"/>
              <a:gd name="connsiteX1617" fmla="*/ 0 w 1211263"/>
              <a:gd name="connsiteY1617" fmla="*/ 1993 h 527461"/>
              <a:gd name="connsiteX1618" fmla="*/ 3974 w 1211263"/>
              <a:gd name="connsiteY1618" fmla="*/ 0 h 52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Lst>
            <a:rect l="l" t="t" r="r" b="b"/>
            <a:pathLst>
              <a:path w="1211263" h="527461">
                <a:moveTo>
                  <a:pt x="728663" y="522287"/>
                </a:moveTo>
                <a:cubicBezTo>
                  <a:pt x="728663" y="522287"/>
                  <a:pt x="731045" y="522287"/>
                  <a:pt x="731045" y="522287"/>
                </a:cubicBezTo>
                <a:cubicBezTo>
                  <a:pt x="733426" y="522287"/>
                  <a:pt x="733426" y="524404"/>
                  <a:pt x="733426" y="526521"/>
                </a:cubicBezTo>
                <a:cubicBezTo>
                  <a:pt x="733426" y="526521"/>
                  <a:pt x="731045" y="528637"/>
                  <a:pt x="728663" y="526521"/>
                </a:cubicBezTo>
                <a:cubicBezTo>
                  <a:pt x="728663" y="524404"/>
                  <a:pt x="728663" y="522287"/>
                  <a:pt x="728663" y="522287"/>
                </a:cubicBezTo>
                <a:close/>
                <a:moveTo>
                  <a:pt x="697707" y="512762"/>
                </a:moveTo>
                <a:cubicBezTo>
                  <a:pt x="700088" y="512762"/>
                  <a:pt x="700088" y="515143"/>
                  <a:pt x="700088" y="515143"/>
                </a:cubicBezTo>
                <a:cubicBezTo>
                  <a:pt x="700088" y="515143"/>
                  <a:pt x="697707" y="517524"/>
                  <a:pt x="697707" y="515143"/>
                </a:cubicBezTo>
                <a:cubicBezTo>
                  <a:pt x="695325" y="515143"/>
                  <a:pt x="695325" y="512762"/>
                  <a:pt x="697707" y="512762"/>
                </a:cubicBezTo>
                <a:close/>
                <a:moveTo>
                  <a:pt x="703660" y="504825"/>
                </a:moveTo>
                <a:cubicBezTo>
                  <a:pt x="703660" y="504825"/>
                  <a:pt x="705644" y="504825"/>
                  <a:pt x="707629" y="504825"/>
                </a:cubicBezTo>
                <a:cubicBezTo>
                  <a:pt x="709613" y="506730"/>
                  <a:pt x="709613" y="508635"/>
                  <a:pt x="709613" y="510540"/>
                </a:cubicBezTo>
                <a:cubicBezTo>
                  <a:pt x="707629" y="510540"/>
                  <a:pt x="703660" y="514350"/>
                  <a:pt x="703660" y="510540"/>
                </a:cubicBezTo>
                <a:cubicBezTo>
                  <a:pt x="701675" y="508635"/>
                  <a:pt x="701675" y="506730"/>
                  <a:pt x="703660" y="504825"/>
                </a:cubicBezTo>
                <a:close/>
                <a:moveTo>
                  <a:pt x="637223" y="474662"/>
                </a:moveTo>
                <a:cubicBezTo>
                  <a:pt x="639255" y="474662"/>
                  <a:pt x="645351" y="474662"/>
                  <a:pt x="647383" y="474662"/>
                </a:cubicBezTo>
                <a:cubicBezTo>
                  <a:pt x="649415" y="474662"/>
                  <a:pt x="653479" y="474662"/>
                  <a:pt x="653479" y="474662"/>
                </a:cubicBezTo>
                <a:cubicBezTo>
                  <a:pt x="655511" y="474662"/>
                  <a:pt x="659575" y="476703"/>
                  <a:pt x="659575" y="476703"/>
                </a:cubicBezTo>
                <a:cubicBezTo>
                  <a:pt x="661607" y="476703"/>
                  <a:pt x="663639" y="480785"/>
                  <a:pt x="663639" y="480785"/>
                </a:cubicBezTo>
                <a:cubicBezTo>
                  <a:pt x="665671" y="480785"/>
                  <a:pt x="667703" y="482827"/>
                  <a:pt x="669735" y="482827"/>
                </a:cubicBezTo>
                <a:cubicBezTo>
                  <a:pt x="671767" y="482827"/>
                  <a:pt x="671767" y="482827"/>
                  <a:pt x="671767" y="484868"/>
                </a:cubicBezTo>
                <a:cubicBezTo>
                  <a:pt x="673799" y="484868"/>
                  <a:pt x="675831" y="488950"/>
                  <a:pt x="675831" y="488950"/>
                </a:cubicBezTo>
                <a:cubicBezTo>
                  <a:pt x="675831" y="490991"/>
                  <a:pt x="677863" y="495073"/>
                  <a:pt x="675831" y="495073"/>
                </a:cubicBezTo>
                <a:cubicBezTo>
                  <a:pt x="675831" y="497114"/>
                  <a:pt x="675831" y="501196"/>
                  <a:pt x="673799" y="501196"/>
                </a:cubicBezTo>
                <a:cubicBezTo>
                  <a:pt x="671767" y="501196"/>
                  <a:pt x="667703" y="503237"/>
                  <a:pt x="665671" y="501196"/>
                </a:cubicBezTo>
                <a:cubicBezTo>
                  <a:pt x="663639" y="501196"/>
                  <a:pt x="657543" y="497114"/>
                  <a:pt x="657543" y="495073"/>
                </a:cubicBezTo>
                <a:cubicBezTo>
                  <a:pt x="655511" y="493032"/>
                  <a:pt x="651447" y="490991"/>
                  <a:pt x="649415" y="490991"/>
                </a:cubicBezTo>
                <a:cubicBezTo>
                  <a:pt x="649415" y="488950"/>
                  <a:pt x="647383" y="488950"/>
                  <a:pt x="645351" y="488950"/>
                </a:cubicBezTo>
                <a:cubicBezTo>
                  <a:pt x="643319" y="488950"/>
                  <a:pt x="635191" y="486909"/>
                  <a:pt x="633159" y="486909"/>
                </a:cubicBezTo>
                <a:cubicBezTo>
                  <a:pt x="631127" y="486909"/>
                  <a:pt x="627063" y="486909"/>
                  <a:pt x="627063" y="484868"/>
                </a:cubicBezTo>
                <a:cubicBezTo>
                  <a:pt x="627063" y="480785"/>
                  <a:pt x="627063" y="478744"/>
                  <a:pt x="629095" y="478744"/>
                </a:cubicBezTo>
                <a:cubicBezTo>
                  <a:pt x="629095" y="478744"/>
                  <a:pt x="631127" y="476703"/>
                  <a:pt x="631127" y="476703"/>
                </a:cubicBezTo>
                <a:cubicBezTo>
                  <a:pt x="631127" y="476703"/>
                  <a:pt x="637223" y="474662"/>
                  <a:pt x="637223" y="474662"/>
                </a:cubicBezTo>
                <a:close/>
                <a:moveTo>
                  <a:pt x="787236" y="459169"/>
                </a:moveTo>
                <a:cubicBezTo>
                  <a:pt x="789262" y="457200"/>
                  <a:pt x="791287" y="459169"/>
                  <a:pt x="791287" y="461137"/>
                </a:cubicBezTo>
                <a:cubicBezTo>
                  <a:pt x="791287" y="461137"/>
                  <a:pt x="793313" y="465074"/>
                  <a:pt x="793313" y="465074"/>
                </a:cubicBezTo>
                <a:cubicBezTo>
                  <a:pt x="793313" y="465074"/>
                  <a:pt x="795338" y="465074"/>
                  <a:pt x="795338" y="469011"/>
                </a:cubicBezTo>
                <a:cubicBezTo>
                  <a:pt x="795338" y="470980"/>
                  <a:pt x="795338" y="472948"/>
                  <a:pt x="793313" y="474917"/>
                </a:cubicBezTo>
                <a:cubicBezTo>
                  <a:pt x="793313" y="474917"/>
                  <a:pt x="789262" y="476885"/>
                  <a:pt x="789262" y="478854"/>
                </a:cubicBezTo>
                <a:cubicBezTo>
                  <a:pt x="787236" y="480822"/>
                  <a:pt x="779135" y="490664"/>
                  <a:pt x="777109" y="492633"/>
                </a:cubicBezTo>
                <a:cubicBezTo>
                  <a:pt x="775084" y="492633"/>
                  <a:pt x="766982" y="498538"/>
                  <a:pt x="764957" y="500507"/>
                </a:cubicBezTo>
                <a:cubicBezTo>
                  <a:pt x="762931" y="500507"/>
                  <a:pt x="752804" y="504444"/>
                  <a:pt x="750778" y="504444"/>
                </a:cubicBezTo>
                <a:cubicBezTo>
                  <a:pt x="750778" y="504444"/>
                  <a:pt x="746727" y="506412"/>
                  <a:pt x="744702" y="504444"/>
                </a:cubicBezTo>
                <a:cubicBezTo>
                  <a:pt x="742677" y="504444"/>
                  <a:pt x="736600" y="504444"/>
                  <a:pt x="736600" y="502475"/>
                </a:cubicBezTo>
                <a:cubicBezTo>
                  <a:pt x="738626" y="500507"/>
                  <a:pt x="740651" y="498538"/>
                  <a:pt x="744702" y="498538"/>
                </a:cubicBezTo>
                <a:cubicBezTo>
                  <a:pt x="746727" y="498538"/>
                  <a:pt x="748753" y="498538"/>
                  <a:pt x="750778" y="498538"/>
                </a:cubicBezTo>
                <a:cubicBezTo>
                  <a:pt x="752804" y="496570"/>
                  <a:pt x="752804" y="494601"/>
                  <a:pt x="752804" y="494601"/>
                </a:cubicBezTo>
                <a:cubicBezTo>
                  <a:pt x="752804" y="494601"/>
                  <a:pt x="748753" y="496570"/>
                  <a:pt x="748753" y="492633"/>
                </a:cubicBezTo>
                <a:cubicBezTo>
                  <a:pt x="748753" y="490664"/>
                  <a:pt x="750778" y="490664"/>
                  <a:pt x="750778" y="488696"/>
                </a:cubicBezTo>
                <a:cubicBezTo>
                  <a:pt x="752804" y="488696"/>
                  <a:pt x="750778" y="486727"/>
                  <a:pt x="750778" y="482790"/>
                </a:cubicBezTo>
                <a:cubicBezTo>
                  <a:pt x="752804" y="480822"/>
                  <a:pt x="752804" y="478854"/>
                  <a:pt x="754829" y="476885"/>
                </a:cubicBezTo>
                <a:cubicBezTo>
                  <a:pt x="754829" y="474917"/>
                  <a:pt x="754829" y="472948"/>
                  <a:pt x="758880" y="470980"/>
                </a:cubicBezTo>
                <a:cubicBezTo>
                  <a:pt x="760906" y="470980"/>
                  <a:pt x="762931" y="469011"/>
                  <a:pt x="766982" y="469011"/>
                </a:cubicBezTo>
                <a:cubicBezTo>
                  <a:pt x="771033" y="467043"/>
                  <a:pt x="777109" y="465074"/>
                  <a:pt x="779135" y="465074"/>
                </a:cubicBezTo>
                <a:cubicBezTo>
                  <a:pt x="783186" y="463106"/>
                  <a:pt x="783186" y="465074"/>
                  <a:pt x="783186" y="463106"/>
                </a:cubicBezTo>
                <a:cubicBezTo>
                  <a:pt x="785211" y="461137"/>
                  <a:pt x="785211" y="459169"/>
                  <a:pt x="787236" y="459169"/>
                </a:cubicBezTo>
                <a:close/>
                <a:moveTo>
                  <a:pt x="579968" y="441325"/>
                </a:moveTo>
                <a:cubicBezTo>
                  <a:pt x="581978" y="441325"/>
                  <a:pt x="583989" y="441325"/>
                  <a:pt x="586000" y="443230"/>
                </a:cubicBezTo>
                <a:cubicBezTo>
                  <a:pt x="588011" y="443230"/>
                  <a:pt x="588011" y="445135"/>
                  <a:pt x="590022" y="443230"/>
                </a:cubicBezTo>
                <a:cubicBezTo>
                  <a:pt x="592033" y="443230"/>
                  <a:pt x="592033" y="445135"/>
                  <a:pt x="594044" y="447040"/>
                </a:cubicBezTo>
                <a:cubicBezTo>
                  <a:pt x="594044" y="447040"/>
                  <a:pt x="596055" y="448945"/>
                  <a:pt x="598065" y="448945"/>
                </a:cubicBezTo>
                <a:cubicBezTo>
                  <a:pt x="598065" y="448945"/>
                  <a:pt x="600076" y="450850"/>
                  <a:pt x="600076" y="452755"/>
                </a:cubicBezTo>
                <a:cubicBezTo>
                  <a:pt x="600076" y="454660"/>
                  <a:pt x="600076" y="456565"/>
                  <a:pt x="598065" y="456565"/>
                </a:cubicBezTo>
                <a:cubicBezTo>
                  <a:pt x="596055" y="458470"/>
                  <a:pt x="596055" y="458470"/>
                  <a:pt x="594044" y="458470"/>
                </a:cubicBezTo>
                <a:cubicBezTo>
                  <a:pt x="594044" y="460375"/>
                  <a:pt x="590022" y="460375"/>
                  <a:pt x="588011" y="460375"/>
                </a:cubicBezTo>
                <a:cubicBezTo>
                  <a:pt x="588011" y="460375"/>
                  <a:pt x="581978" y="460375"/>
                  <a:pt x="581978" y="460375"/>
                </a:cubicBezTo>
                <a:cubicBezTo>
                  <a:pt x="579968" y="460375"/>
                  <a:pt x="573935" y="460375"/>
                  <a:pt x="573935" y="460375"/>
                </a:cubicBezTo>
                <a:cubicBezTo>
                  <a:pt x="571924" y="460375"/>
                  <a:pt x="569913" y="458470"/>
                  <a:pt x="569913" y="456565"/>
                </a:cubicBezTo>
                <a:cubicBezTo>
                  <a:pt x="569913" y="454660"/>
                  <a:pt x="571924" y="452755"/>
                  <a:pt x="571924" y="452755"/>
                </a:cubicBezTo>
                <a:cubicBezTo>
                  <a:pt x="571924" y="450850"/>
                  <a:pt x="573935" y="448945"/>
                  <a:pt x="573935" y="448945"/>
                </a:cubicBezTo>
                <a:cubicBezTo>
                  <a:pt x="573935" y="447040"/>
                  <a:pt x="571924" y="447040"/>
                  <a:pt x="573935" y="447040"/>
                </a:cubicBezTo>
                <a:cubicBezTo>
                  <a:pt x="575946" y="445135"/>
                  <a:pt x="577957" y="447040"/>
                  <a:pt x="579968" y="445135"/>
                </a:cubicBezTo>
                <a:cubicBezTo>
                  <a:pt x="579968" y="445135"/>
                  <a:pt x="579968" y="443230"/>
                  <a:pt x="579968" y="441325"/>
                </a:cubicBezTo>
                <a:close/>
                <a:moveTo>
                  <a:pt x="881063" y="439737"/>
                </a:moveTo>
                <a:cubicBezTo>
                  <a:pt x="882651" y="439737"/>
                  <a:pt x="884238" y="439737"/>
                  <a:pt x="884238" y="439737"/>
                </a:cubicBezTo>
                <a:cubicBezTo>
                  <a:pt x="884238" y="439737"/>
                  <a:pt x="884238" y="439737"/>
                  <a:pt x="884238" y="441325"/>
                </a:cubicBezTo>
                <a:cubicBezTo>
                  <a:pt x="884238" y="441325"/>
                  <a:pt x="884238" y="442912"/>
                  <a:pt x="884238" y="442912"/>
                </a:cubicBezTo>
                <a:cubicBezTo>
                  <a:pt x="882651" y="442912"/>
                  <a:pt x="881063" y="442912"/>
                  <a:pt x="881063" y="442912"/>
                </a:cubicBezTo>
                <a:cubicBezTo>
                  <a:pt x="879475" y="441325"/>
                  <a:pt x="881063" y="439737"/>
                  <a:pt x="881063" y="439737"/>
                </a:cubicBezTo>
                <a:close/>
                <a:moveTo>
                  <a:pt x="886223" y="434975"/>
                </a:moveTo>
                <a:cubicBezTo>
                  <a:pt x="888207" y="434975"/>
                  <a:pt x="888207" y="434975"/>
                  <a:pt x="890192" y="434975"/>
                </a:cubicBezTo>
                <a:cubicBezTo>
                  <a:pt x="890192" y="434975"/>
                  <a:pt x="892176" y="437092"/>
                  <a:pt x="892176" y="437092"/>
                </a:cubicBezTo>
                <a:cubicBezTo>
                  <a:pt x="892176" y="439209"/>
                  <a:pt x="892176" y="439209"/>
                  <a:pt x="890192" y="439209"/>
                </a:cubicBezTo>
                <a:cubicBezTo>
                  <a:pt x="890192" y="439209"/>
                  <a:pt x="888207" y="441325"/>
                  <a:pt x="888207" y="441325"/>
                </a:cubicBezTo>
                <a:cubicBezTo>
                  <a:pt x="888207" y="441325"/>
                  <a:pt x="886223" y="439209"/>
                  <a:pt x="886223" y="439209"/>
                </a:cubicBezTo>
                <a:cubicBezTo>
                  <a:pt x="886223" y="439209"/>
                  <a:pt x="884238" y="439209"/>
                  <a:pt x="886223" y="437092"/>
                </a:cubicBezTo>
                <a:cubicBezTo>
                  <a:pt x="886223" y="437092"/>
                  <a:pt x="886223" y="437092"/>
                  <a:pt x="886223" y="434975"/>
                </a:cubicBezTo>
                <a:close/>
                <a:moveTo>
                  <a:pt x="562135" y="434975"/>
                </a:moveTo>
                <a:cubicBezTo>
                  <a:pt x="564199" y="436996"/>
                  <a:pt x="566262" y="436996"/>
                  <a:pt x="568326" y="439016"/>
                </a:cubicBezTo>
                <a:cubicBezTo>
                  <a:pt x="568326" y="439016"/>
                  <a:pt x="568326" y="449118"/>
                  <a:pt x="568326" y="451139"/>
                </a:cubicBezTo>
                <a:cubicBezTo>
                  <a:pt x="568326" y="451139"/>
                  <a:pt x="566262" y="455180"/>
                  <a:pt x="564199" y="457200"/>
                </a:cubicBezTo>
                <a:cubicBezTo>
                  <a:pt x="562135" y="457200"/>
                  <a:pt x="558007" y="457200"/>
                  <a:pt x="558007" y="457200"/>
                </a:cubicBezTo>
                <a:cubicBezTo>
                  <a:pt x="553880" y="457200"/>
                  <a:pt x="549752" y="455180"/>
                  <a:pt x="549752" y="455180"/>
                </a:cubicBezTo>
                <a:cubicBezTo>
                  <a:pt x="549752" y="453159"/>
                  <a:pt x="547688" y="453159"/>
                  <a:pt x="547688" y="451139"/>
                </a:cubicBezTo>
                <a:cubicBezTo>
                  <a:pt x="547688" y="447098"/>
                  <a:pt x="549752" y="447098"/>
                  <a:pt x="549752" y="447098"/>
                </a:cubicBezTo>
                <a:cubicBezTo>
                  <a:pt x="549752" y="447098"/>
                  <a:pt x="555943" y="445078"/>
                  <a:pt x="555943" y="443057"/>
                </a:cubicBezTo>
                <a:cubicBezTo>
                  <a:pt x="555943" y="441037"/>
                  <a:pt x="553880" y="439016"/>
                  <a:pt x="555943" y="439016"/>
                </a:cubicBezTo>
                <a:cubicBezTo>
                  <a:pt x="558007" y="436996"/>
                  <a:pt x="558007" y="434975"/>
                  <a:pt x="562135" y="434975"/>
                </a:cubicBezTo>
                <a:close/>
                <a:moveTo>
                  <a:pt x="854869" y="433387"/>
                </a:moveTo>
                <a:cubicBezTo>
                  <a:pt x="856853" y="433387"/>
                  <a:pt x="860822" y="433387"/>
                  <a:pt x="860822" y="433387"/>
                </a:cubicBezTo>
                <a:cubicBezTo>
                  <a:pt x="862807" y="433387"/>
                  <a:pt x="864791" y="433387"/>
                  <a:pt x="866776" y="433387"/>
                </a:cubicBezTo>
                <a:cubicBezTo>
                  <a:pt x="868760" y="433387"/>
                  <a:pt x="870744" y="433387"/>
                  <a:pt x="872729" y="433387"/>
                </a:cubicBezTo>
                <a:cubicBezTo>
                  <a:pt x="874713" y="435504"/>
                  <a:pt x="874713" y="439737"/>
                  <a:pt x="872729" y="439737"/>
                </a:cubicBezTo>
                <a:cubicBezTo>
                  <a:pt x="872729" y="439737"/>
                  <a:pt x="868760" y="439737"/>
                  <a:pt x="866776" y="439737"/>
                </a:cubicBezTo>
                <a:cubicBezTo>
                  <a:pt x="864791" y="439737"/>
                  <a:pt x="864791" y="439737"/>
                  <a:pt x="862807" y="439737"/>
                </a:cubicBezTo>
                <a:cubicBezTo>
                  <a:pt x="860822" y="439737"/>
                  <a:pt x="860822" y="437621"/>
                  <a:pt x="858838" y="437621"/>
                </a:cubicBezTo>
                <a:cubicBezTo>
                  <a:pt x="858838" y="437621"/>
                  <a:pt x="856853" y="437621"/>
                  <a:pt x="856853" y="439737"/>
                </a:cubicBezTo>
                <a:cubicBezTo>
                  <a:pt x="856853" y="439737"/>
                  <a:pt x="852885" y="439737"/>
                  <a:pt x="852885" y="439737"/>
                </a:cubicBezTo>
                <a:cubicBezTo>
                  <a:pt x="852885" y="439737"/>
                  <a:pt x="850900" y="439737"/>
                  <a:pt x="850900" y="437621"/>
                </a:cubicBezTo>
                <a:cubicBezTo>
                  <a:pt x="852885" y="435504"/>
                  <a:pt x="852885" y="433387"/>
                  <a:pt x="854869" y="433387"/>
                </a:cubicBezTo>
                <a:close/>
                <a:moveTo>
                  <a:pt x="743683" y="433387"/>
                </a:moveTo>
                <a:cubicBezTo>
                  <a:pt x="743683" y="433387"/>
                  <a:pt x="747591" y="433387"/>
                  <a:pt x="749544" y="435239"/>
                </a:cubicBezTo>
                <a:cubicBezTo>
                  <a:pt x="751498" y="437091"/>
                  <a:pt x="751498" y="437091"/>
                  <a:pt x="753452" y="437091"/>
                </a:cubicBezTo>
                <a:cubicBezTo>
                  <a:pt x="755406" y="435239"/>
                  <a:pt x="755406" y="433387"/>
                  <a:pt x="757360" y="435239"/>
                </a:cubicBezTo>
                <a:cubicBezTo>
                  <a:pt x="759314" y="437091"/>
                  <a:pt x="763221" y="437091"/>
                  <a:pt x="765175" y="435239"/>
                </a:cubicBezTo>
                <a:cubicBezTo>
                  <a:pt x="769083" y="435239"/>
                  <a:pt x="771037" y="435239"/>
                  <a:pt x="772991" y="433387"/>
                </a:cubicBezTo>
                <a:cubicBezTo>
                  <a:pt x="772991" y="433387"/>
                  <a:pt x="778852" y="433387"/>
                  <a:pt x="780806" y="433387"/>
                </a:cubicBezTo>
                <a:cubicBezTo>
                  <a:pt x="780806" y="433387"/>
                  <a:pt x="784714" y="433387"/>
                  <a:pt x="786668" y="433387"/>
                </a:cubicBezTo>
                <a:cubicBezTo>
                  <a:pt x="788621" y="435239"/>
                  <a:pt x="790575" y="437091"/>
                  <a:pt x="790575" y="437091"/>
                </a:cubicBezTo>
                <a:cubicBezTo>
                  <a:pt x="788621" y="438943"/>
                  <a:pt x="784714" y="440795"/>
                  <a:pt x="782760" y="440795"/>
                </a:cubicBezTo>
                <a:cubicBezTo>
                  <a:pt x="782760" y="440795"/>
                  <a:pt x="774944" y="440795"/>
                  <a:pt x="772991" y="440795"/>
                </a:cubicBezTo>
                <a:cubicBezTo>
                  <a:pt x="772991" y="440795"/>
                  <a:pt x="771037" y="438943"/>
                  <a:pt x="771037" y="438943"/>
                </a:cubicBezTo>
                <a:cubicBezTo>
                  <a:pt x="769083" y="438943"/>
                  <a:pt x="769083" y="438943"/>
                  <a:pt x="767129" y="440795"/>
                </a:cubicBezTo>
                <a:cubicBezTo>
                  <a:pt x="767129" y="440795"/>
                  <a:pt x="767129" y="442647"/>
                  <a:pt x="765175" y="442647"/>
                </a:cubicBezTo>
                <a:cubicBezTo>
                  <a:pt x="763221" y="442647"/>
                  <a:pt x="761268" y="442647"/>
                  <a:pt x="759314" y="440795"/>
                </a:cubicBezTo>
                <a:cubicBezTo>
                  <a:pt x="757360" y="440795"/>
                  <a:pt x="757360" y="438943"/>
                  <a:pt x="755406" y="438943"/>
                </a:cubicBezTo>
                <a:cubicBezTo>
                  <a:pt x="753452" y="438943"/>
                  <a:pt x="751498" y="438943"/>
                  <a:pt x="751498" y="440795"/>
                </a:cubicBezTo>
                <a:cubicBezTo>
                  <a:pt x="749544" y="442647"/>
                  <a:pt x="749544" y="442647"/>
                  <a:pt x="747591" y="442647"/>
                </a:cubicBezTo>
                <a:cubicBezTo>
                  <a:pt x="747591" y="444499"/>
                  <a:pt x="745637" y="444499"/>
                  <a:pt x="745637" y="444499"/>
                </a:cubicBezTo>
                <a:cubicBezTo>
                  <a:pt x="745637" y="444499"/>
                  <a:pt x="745637" y="442647"/>
                  <a:pt x="743683" y="440795"/>
                </a:cubicBezTo>
                <a:cubicBezTo>
                  <a:pt x="743683" y="440795"/>
                  <a:pt x="739775" y="440795"/>
                  <a:pt x="739775" y="438943"/>
                </a:cubicBezTo>
                <a:cubicBezTo>
                  <a:pt x="739775" y="435239"/>
                  <a:pt x="741729" y="433387"/>
                  <a:pt x="743683" y="433387"/>
                </a:cubicBezTo>
                <a:close/>
                <a:moveTo>
                  <a:pt x="946378" y="431800"/>
                </a:moveTo>
                <a:cubicBezTo>
                  <a:pt x="948419" y="431800"/>
                  <a:pt x="950460" y="431800"/>
                  <a:pt x="950460" y="433705"/>
                </a:cubicBezTo>
                <a:cubicBezTo>
                  <a:pt x="950460" y="435610"/>
                  <a:pt x="952501" y="435610"/>
                  <a:pt x="950460" y="437515"/>
                </a:cubicBezTo>
                <a:cubicBezTo>
                  <a:pt x="948419" y="437515"/>
                  <a:pt x="946378" y="437515"/>
                  <a:pt x="946378" y="437515"/>
                </a:cubicBezTo>
                <a:cubicBezTo>
                  <a:pt x="944337" y="437515"/>
                  <a:pt x="942296" y="439420"/>
                  <a:pt x="942296" y="439420"/>
                </a:cubicBezTo>
                <a:cubicBezTo>
                  <a:pt x="942296" y="439420"/>
                  <a:pt x="940254" y="441325"/>
                  <a:pt x="940254" y="441325"/>
                </a:cubicBezTo>
                <a:cubicBezTo>
                  <a:pt x="938213" y="441325"/>
                  <a:pt x="938213" y="439420"/>
                  <a:pt x="938213" y="439420"/>
                </a:cubicBezTo>
                <a:cubicBezTo>
                  <a:pt x="938213" y="437515"/>
                  <a:pt x="940254" y="435610"/>
                  <a:pt x="942296" y="433705"/>
                </a:cubicBezTo>
                <a:cubicBezTo>
                  <a:pt x="942296" y="433705"/>
                  <a:pt x="944337" y="431800"/>
                  <a:pt x="946378" y="431800"/>
                </a:cubicBezTo>
                <a:close/>
                <a:moveTo>
                  <a:pt x="598906" y="431800"/>
                </a:moveTo>
                <a:cubicBezTo>
                  <a:pt x="600911" y="431800"/>
                  <a:pt x="604921" y="431800"/>
                  <a:pt x="604921" y="433728"/>
                </a:cubicBezTo>
                <a:cubicBezTo>
                  <a:pt x="606927" y="433728"/>
                  <a:pt x="606927" y="435656"/>
                  <a:pt x="606927" y="437583"/>
                </a:cubicBezTo>
                <a:cubicBezTo>
                  <a:pt x="606927" y="439511"/>
                  <a:pt x="608932" y="441438"/>
                  <a:pt x="610937" y="441438"/>
                </a:cubicBezTo>
                <a:cubicBezTo>
                  <a:pt x="610937" y="439511"/>
                  <a:pt x="612942" y="441438"/>
                  <a:pt x="614948" y="439511"/>
                </a:cubicBezTo>
                <a:cubicBezTo>
                  <a:pt x="614948" y="439511"/>
                  <a:pt x="618958" y="439511"/>
                  <a:pt x="618958" y="439511"/>
                </a:cubicBezTo>
                <a:cubicBezTo>
                  <a:pt x="618958" y="439511"/>
                  <a:pt x="620963" y="441438"/>
                  <a:pt x="620963" y="443366"/>
                </a:cubicBezTo>
                <a:cubicBezTo>
                  <a:pt x="620963" y="443366"/>
                  <a:pt x="620963" y="445294"/>
                  <a:pt x="622969" y="445294"/>
                </a:cubicBezTo>
                <a:cubicBezTo>
                  <a:pt x="624974" y="445294"/>
                  <a:pt x="624974" y="445294"/>
                  <a:pt x="626979" y="443366"/>
                </a:cubicBezTo>
                <a:cubicBezTo>
                  <a:pt x="626979" y="439511"/>
                  <a:pt x="626979" y="437583"/>
                  <a:pt x="628984" y="437583"/>
                </a:cubicBezTo>
                <a:cubicBezTo>
                  <a:pt x="630990" y="435656"/>
                  <a:pt x="632995" y="437583"/>
                  <a:pt x="632995" y="439511"/>
                </a:cubicBezTo>
                <a:cubicBezTo>
                  <a:pt x="632995" y="441438"/>
                  <a:pt x="628984" y="443366"/>
                  <a:pt x="630990" y="445294"/>
                </a:cubicBezTo>
                <a:cubicBezTo>
                  <a:pt x="630990" y="447221"/>
                  <a:pt x="635000" y="451077"/>
                  <a:pt x="632995" y="453004"/>
                </a:cubicBezTo>
                <a:cubicBezTo>
                  <a:pt x="632995" y="453004"/>
                  <a:pt x="628984" y="453004"/>
                  <a:pt x="626979" y="453004"/>
                </a:cubicBezTo>
                <a:cubicBezTo>
                  <a:pt x="626979" y="453004"/>
                  <a:pt x="624974" y="454932"/>
                  <a:pt x="622969" y="456860"/>
                </a:cubicBezTo>
                <a:cubicBezTo>
                  <a:pt x="620963" y="456860"/>
                  <a:pt x="618958" y="458787"/>
                  <a:pt x="616953" y="458787"/>
                </a:cubicBezTo>
                <a:cubicBezTo>
                  <a:pt x="614948" y="456860"/>
                  <a:pt x="612942" y="454932"/>
                  <a:pt x="614948" y="454932"/>
                </a:cubicBezTo>
                <a:cubicBezTo>
                  <a:pt x="614948" y="453004"/>
                  <a:pt x="614948" y="451077"/>
                  <a:pt x="614948" y="449149"/>
                </a:cubicBezTo>
                <a:cubicBezTo>
                  <a:pt x="612942" y="447221"/>
                  <a:pt x="608932" y="447221"/>
                  <a:pt x="608932" y="447221"/>
                </a:cubicBezTo>
                <a:cubicBezTo>
                  <a:pt x="608932" y="445294"/>
                  <a:pt x="606927" y="445294"/>
                  <a:pt x="606927" y="445294"/>
                </a:cubicBezTo>
                <a:cubicBezTo>
                  <a:pt x="604921" y="445294"/>
                  <a:pt x="602916" y="443366"/>
                  <a:pt x="602916" y="443366"/>
                </a:cubicBezTo>
                <a:cubicBezTo>
                  <a:pt x="602916" y="443366"/>
                  <a:pt x="600911" y="441438"/>
                  <a:pt x="598906" y="441438"/>
                </a:cubicBezTo>
                <a:cubicBezTo>
                  <a:pt x="598906" y="439511"/>
                  <a:pt x="598906" y="439511"/>
                  <a:pt x="598906" y="437583"/>
                </a:cubicBezTo>
                <a:cubicBezTo>
                  <a:pt x="598906" y="435656"/>
                  <a:pt x="596900" y="433728"/>
                  <a:pt x="598906" y="431800"/>
                </a:cubicBezTo>
                <a:close/>
                <a:moveTo>
                  <a:pt x="730619" y="430636"/>
                </a:moveTo>
                <a:cubicBezTo>
                  <a:pt x="730619" y="430636"/>
                  <a:pt x="734607" y="428625"/>
                  <a:pt x="734607" y="430636"/>
                </a:cubicBezTo>
                <a:cubicBezTo>
                  <a:pt x="736600" y="432647"/>
                  <a:pt x="734607" y="436668"/>
                  <a:pt x="734607" y="438679"/>
                </a:cubicBezTo>
                <a:cubicBezTo>
                  <a:pt x="732613" y="440690"/>
                  <a:pt x="728626" y="444712"/>
                  <a:pt x="728626" y="446722"/>
                </a:cubicBezTo>
                <a:cubicBezTo>
                  <a:pt x="726632" y="446722"/>
                  <a:pt x="724639" y="448733"/>
                  <a:pt x="722645" y="448733"/>
                </a:cubicBezTo>
                <a:cubicBezTo>
                  <a:pt x="722645" y="448733"/>
                  <a:pt x="716664" y="450744"/>
                  <a:pt x="716664" y="450744"/>
                </a:cubicBezTo>
                <a:cubicBezTo>
                  <a:pt x="714671" y="450744"/>
                  <a:pt x="710683" y="452755"/>
                  <a:pt x="708690" y="452755"/>
                </a:cubicBezTo>
                <a:cubicBezTo>
                  <a:pt x="708690" y="452755"/>
                  <a:pt x="702709" y="454766"/>
                  <a:pt x="700715" y="454766"/>
                </a:cubicBezTo>
                <a:cubicBezTo>
                  <a:pt x="698722" y="454766"/>
                  <a:pt x="696728" y="454766"/>
                  <a:pt x="694735" y="454766"/>
                </a:cubicBezTo>
                <a:cubicBezTo>
                  <a:pt x="692741" y="456776"/>
                  <a:pt x="688754" y="456776"/>
                  <a:pt x="688754" y="456776"/>
                </a:cubicBezTo>
                <a:cubicBezTo>
                  <a:pt x="686760" y="456776"/>
                  <a:pt x="682773" y="458787"/>
                  <a:pt x="680779" y="456776"/>
                </a:cubicBezTo>
                <a:cubicBezTo>
                  <a:pt x="678786" y="456776"/>
                  <a:pt x="674799" y="454766"/>
                  <a:pt x="672805" y="454766"/>
                </a:cubicBezTo>
                <a:cubicBezTo>
                  <a:pt x="670811" y="454766"/>
                  <a:pt x="666824" y="454766"/>
                  <a:pt x="662837" y="454766"/>
                </a:cubicBezTo>
                <a:cubicBezTo>
                  <a:pt x="660843" y="454766"/>
                  <a:pt x="652869" y="452755"/>
                  <a:pt x="652869" y="452755"/>
                </a:cubicBezTo>
                <a:cubicBezTo>
                  <a:pt x="650875" y="452755"/>
                  <a:pt x="650875" y="450744"/>
                  <a:pt x="652869" y="448733"/>
                </a:cubicBezTo>
                <a:cubicBezTo>
                  <a:pt x="652869" y="446722"/>
                  <a:pt x="652869" y="446722"/>
                  <a:pt x="652869" y="444712"/>
                </a:cubicBezTo>
                <a:cubicBezTo>
                  <a:pt x="652869" y="442701"/>
                  <a:pt x="652869" y="440690"/>
                  <a:pt x="652869" y="440690"/>
                </a:cubicBezTo>
                <a:cubicBezTo>
                  <a:pt x="652869" y="438679"/>
                  <a:pt x="652869" y="438679"/>
                  <a:pt x="652869" y="438679"/>
                </a:cubicBezTo>
                <a:cubicBezTo>
                  <a:pt x="654862" y="438679"/>
                  <a:pt x="658850" y="440690"/>
                  <a:pt x="660843" y="440690"/>
                </a:cubicBezTo>
                <a:cubicBezTo>
                  <a:pt x="660843" y="438679"/>
                  <a:pt x="664830" y="436668"/>
                  <a:pt x="666824" y="436668"/>
                </a:cubicBezTo>
                <a:cubicBezTo>
                  <a:pt x="666824" y="436668"/>
                  <a:pt x="672805" y="436668"/>
                  <a:pt x="674799" y="436668"/>
                </a:cubicBezTo>
                <a:cubicBezTo>
                  <a:pt x="674799" y="436668"/>
                  <a:pt x="680779" y="438679"/>
                  <a:pt x="682773" y="438679"/>
                </a:cubicBezTo>
                <a:cubicBezTo>
                  <a:pt x="682773" y="440690"/>
                  <a:pt x="684767" y="442701"/>
                  <a:pt x="686760" y="444712"/>
                </a:cubicBezTo>
                <a:cubicBezTo>
                  <a:pt x="688754" y="444712"/>
                  <a:pt x="694735" y="446722"/>
                  <a:pt x="696728" y="446722"/>
                </a:cubicBezTo>
                <a:cubicBezTo>
                  <a:pt x="698722" y="446722"/>
                  <a:pt x="698722" y="446722"/>
                  <a:pt x="700715" y="444712"/>
                </a:cubicBezTo>
                <a:cubicBezTo>
                  <a:pt x="700715" y="442701"/>
                  <a:pt x="700715" y="442701"/>
                  <a:pt x="702709" y="442701"/>
                </a:cubicBezTo>
                <a:cubicBezTo>
                  <a:pt x="704703" y="442701"/>
                  <a:pt x="708690" y="444712"/>
                  <a:pt x="712677" y="446722"/>
                </a:cubicBezTo>
                <a:cubicBezTo>
                  <a:pt x="714671" y="446722"/>
                  <a:pt x="718658" y="446722"/>
                  <a:pt x="720651" y="444712"/>
                </a:cubicBezTo>
                <a:cubicBezTo>
                  <a:pt x="720651" y="444712"/>
                  <a:pt x="722645" y="444712"/>
                  <a:pt x="724639" y="442701"/>
                </a:cubicBezTo>
                <a:cubicBezTo>
                  <a:pt x="724639" y="442701"/>
                  <a:pt x="724639" y="440690"/>
                  <a:pt x="726632" y="440690"/>
                </a:cubicBezTo>
                <a:cubicBezTo>
                  <a:pt x="728626" y="438679"/>
                  <a:pt x="730619" y="438679"/>
                  <a:pt x="730619" y="438679"/>
                </a:cubicBezTo>
                <a:cubicBezTo>
                  <a:pt x="730619" y="436668"/>
                  <a:pt x="730619" y="432647"/>
                  <a:pt x="730619" y="430636"/>
                </a:cubicBezTo>
                <a:close/>
                <a:moveTo>
                  <a:pt x="911225" y="428625"/>
                </a:moveTo>
                <a:cubicBezTo>
                  <a:pt x="913342" y="428625"/>
                  <a:pt x="913342" y="428625"/>
                  <a:pt x="915459" y="428625"/>
                </a:cubicBezTo>
                <a:cubicBezTo>
                  <a:pt x="917575" y="428625"/>
                  <a:pt x="917575" y="428625"/>
                  <a:pt x="917575" y="431006"/>
                </a:cubicBezTo>
                <a:cubicBezTo>
                  <a:pt x="917575" y="431006"/>
                  <a:pt x="917575" y="433387"/>
                  <a:pt x="917575" y="433387"/>
                </a:cubicBezTo>
                <a:cubicBezTo>
                  <a:pt x="917575" y="433387"/>
                  <a:pt x="913342" y="433387"/>
                  <a:pt x="911225" y="433387"/>
                </a:cubicBezTo>
                <a:cubicBezTo>
                  <a:pt x="911225" y="433387"/>
                  <a:pt x="911225" y="431006"/>
                  <a:pt x="911225" y="428625"/>
                </a:cubicBezTo>
                <a:close/>
                <a:moveTo>
                  <a:pt x="915106" y="419100"/>
                </a:moveTo>
                <a:cubicBezTo>
                  <a:pt x="915106" y="419100"/>
                  <a:pt x="915106" y="419100"/>
                  <a:pt x="917046" y="419100"/>
                </a:cubicBezTo>
                <a:cubicBezTo>
                  <a:pt x="918987" y="419100"/>
                  <a:pt x="918987" y="419100"/>
                  <a:pt x="920927" y="421005"/>
                </a:cubicBezTo>
                <a:cubicBezTo>
                  <a:pt x="920927" y="421005"/>
                  <a:pt x="922867" y="422910"/>
                  <a:pt x="922867" y="422910"/>
                </a:cubicBezTo>
                <a:cubicBezTo>
                  <a:pt x="928688" y="428625"/>
                  <a:pt x="924808" y="426720"/>
                  <a:pt x="920927" y="426720"/>
                </a:cubicBezTo>
                <a:cubicBezTo>
                  <a:pt x="918987" y="426720"/>
                  <a:pt x="917046" y="424815"/>
                  <a:pt x="915106" y="424815"/>
                </a:cubicBezTo>
                <a:cubicBezTo>
                  <a:pt x="915106" y="424815"/>
                  <a:pt x="911225" y="421005"/>
                  <a:pt x="911225" y="421005"/>
                </a:cubicBezTo>
                <a:cubicBezTo>
                  <a:pt x="913166" y="419100"/>
                  <a:pt x="913166" y="419100"/>
                  <a:pt x="915106" y="419100"/>
                </a:cubicBezTo>
                <a:close/>
                <a:moveTo>
                  <a:pt x="831104" y="415925"/>
                </a:moveTo>
                <a:cubicBezTo>
                  <a:pt x="831104" y="415925"/>
                  <a:pt x="833065" y="415925"/>
                  <a:pt x="833065" y="417801"/>
                </a:cubicBezTo>
                <a:cubicBezTo>
                  <a:pt x="835026" y="419677"/>
                  <a:pt x="835026" y="421554"/>
                  <a:pt x="835026" y="421554"/>
                </a:cubicBezTo>
                <a:cubicBezTo>
                  <a:pt x="833065" y="421554"/>
                  <a:pt x="831104" y="421554"/>
                  <a:pt x="829143" y="423430"/>
                </a:cubicBezTo>
                <a:cubicBezTo>
                  <a:pt x="829143" y="423430"/>
                  <a:pt x="827182" y="425306"/>
                  <a:pt x="827182" y="425306"/>
                </a:cubicBezTo>
                <a:cubicBezTo>
                  <a:pt x="825221" y="425306"/>
                  <a:pt x="821299" y="427182"/>
                  <a:pt x="819338" y="425306"/>
                </a:cubicBezTo>
                <a:cubicBezTo>
                  <a:pt x="819338" y="425306"/>
                  <a:pt x="819338" y="423430"/>
                  <a:pt x="817377" y="423430"/>
                </a:cubicBezTo>
                <a:cubicBezTo>
                  <a:pt x="815416" y="421554"/>
                  <a:pt x="813455" y="423430"/>
                  <a:pt x="813455" y="423430"/>
                </a:cubicBezTo>
                <a:cubicBezTo>
                  <a:pt x="813455" y="423430"/>
                  <a:pt x="811494" y="425306"/>
                  <a:pt x="809532" y="427182"/>
                </a:cubicBezTo>
                <a:cubicBezTo>
                  <a:pt x="809532" y="429058"/>
                  <a:pt x="807571" y="434686"/>
                  <a:pt x="807571" y="434686"/>
                </a:cubicBezTo>
                <a:cubicBezTo>
                  <a:pt x="807571" y="436562"/>
                  <a:pt x="805610" y="436562"/>
                  <a:pt x="805610" y="436562"/>
                </a:cubicBezTo>
                <a:cubicBezTo>
                  <a:pt x="803649" y="436562"/>
                  <a:pt x="801688" y="434686"/>
                  <a:pt x="803649" y="434686"/>
                </a:cubicBezTo>
                <a:cubicBezTo>
                  <a:pt x="803649" y="432810"/>
                  <a:pt x="805610" y="429058"/>
                  <a:pt x="805610" y="429058"/>
                </a:cubicBezTo>
                <a:cubicBezTo>
                  <a:pt x="805610" y="427182"/>
                  <a:pt x="807571" y="427182"/>
                  <a:pt x="807571" y="425306"/>
                </a:cubicBezTo>
                <a:cubicBezTo>
                  <a:pt x="807571" y="423430"/>
                  <a:pt x="807571" y="421554"/>
                  <a:pt x="809532" y="419677"/>
                </a:cubicBezTo>
                <a:cubicBezTo>
                  <a:pt x="811494" y="417801"/>
                  <a:pt x="811494" y="415925"/>
                  <a:pt x="813455" y="417801"/>
                </a:cubicBezTo>
                <a:cubicBezTo>
                  <a:pt x="815416" y="417801"/>
                  <a:pt x="815416" y="419677"/>
                  <a:pt x="817377" y="419677"/>
                </a:cubicBezTo>
                <a:cubicBezTo>
                  <a:pt x="819338" y="419677"/>
                  <a:pt x="821299" y="419677"/>
                  <a:pt x="823260" y="417801"/>
                </a:cubicBezTo>
                <a:cubicBezTo>
                  <a:pt x="825221" y="417801"/>
                  <a:pt x="827182" y="417801"/>
                  <a:pt x="827182" y="417801"/>
                </a:cubicBezTo>
                <a:cubicBezTo>
                  <a:pt x="829143" y="417801"/>
                  <a:pt x="831104" y="417801"/>
                  <a:pt x="831104" y="415925"/>
                </a:cubicBezTo>
                <a:close/>
                <a:moveTo>
                  <a:pt x="589190" y="412750"/>
                </a:moveTo>
                <a:cubicBezTo>
                  <a:pt x="591231" y="412750"/>
                  <a:pt x="595313" y="412750"/>
                  <a:pt x="595313" y="414734"/>
                </a:cubicBezTo>
                <a:cubicBezTo>
                  <a:pt x="595313" y="420687"/>
                  <a:pt x="589190" y="418703"/>
                  <a:pt x="587149" y="416719"/>
                </a:cubicBezTo>
                <a:cubicBezTo>
                  <a:pt x="587149" y="416719"/>
                  <a:pt x="581025" y="416719"/>
                  <a:pt x="581025" y="414734"/>
                </a:cubicBezTo>
                <a:cubicBezTo>
                  <a:pt x="583066" y="412750"/>
                  <a:pt x="589190" y="412750"/>
                  <a:pt x="589190" y="412750"/>
                </a:cubicBezTo>
                <a:close/>
                <a:moveTo>
                  <a:pt x="908580" y="411162"/>
                </a:moveTo>
                <a:cubicBezTo>
                  <a:pt x="910697" y="411162"/>
                  <a:pt x="910697" y="413279"/>
                  <a:pt x="912813" y="413279"/>
                </a:cubicBezTo>
                <a:cubicBezTo>
                  <a:pt x="912813" y="415396"/>
                  <a:pt x="912813" y="415396"/>
                  <a:pt x="912813" y="415396"/>
                </a:cubicBezTo>
                <a:lnTo>
                  <a:pt x="912813" y="417512"/>
                </a:lnTo>
                <a:cubicBezTo>
                  <a:pt x="912813" y="417512"/>
                  <a:pt x="910697" y="415396"/>
                  <a:pt x="908580" y="415396"/>
                </a:cubicBezTo>
                <a:cubicBezTo>
                  <a:pt x="908580" y="415396"/>
                  <a:pt x="906463" y="415396"/>
                  <a:pt x="906463" y="415396"/>
                </a:cubicBezTo>
                <a:cubicBezTo>
                  <a:pt x="906463" y="413279"/>
                  <a:pt x="908580" y="413279"/>
                  <a:pt x="908580" y="411162"/>
                </a:cubicBezTo>
                <a:close/>
                <a:moveTo>
                  <a:pt x="713847" y="409971"/>
                </a:moveTo>
                <a:cubicBezTo>
                  <a:pt x="715963" y="409971"/>
                  <a:pt x="715963" y="411956"/>
                  <a:pt x="715963" y="411956"/>
                </a:cubicBezTo>
                <a:cubicBezTo>
                  <a:pt x="715963" y="413940"/>
                  <a:pt x="715963" y="413940"/>
                  <a:pt x="715963" y="413940"/>
                </a:cubicBezTo>
                <a:cubicBezTo>
                  <a:pt x="715963" y="413940"/>
                  <a:pt x="711730" y="415924"/>
                  <a:pt x="711730" y="415924"/>
                </a:cubicBezTo>
                <a:cubicBezTo>
                  <a:pt x="709613" y="413940"/>
                  <a:pt x="709613" y="411956"/>
                  <a:pt x="709613" y="411956"/>
                </a:cubicBezTo>
                <a:cubicBezTo>
                  <a:pt x="711730" y="409971"/>
                  <a:pt x="711730" y="407987"/>
                  <a:pt x="713847" y="409971"/>
                </a:cubicBezTo>
                <a:close/>
                <a:moveTo>
                  <a:pt x="702073" y="407987"/>
                </a:moveTo>
                <a:cubicBezTo>
                  <a:pt x="702073" y="407987"/>
                  <a:pt x="706042" y="409892"/>
                  <a:pt x="706042" y="409892"/>
                </a:cubicBezTo>
                <a:cubicBezTo>
                  <a:pt x="708026" y="411797"/>
                  <a:pt x="708026" y="411797"/>
                  <a:pt x="708026" y="413702"/>
                </a:cubicBezTo>
                <a:cubicBezTo>
                  <a:pt x="708026" y="415607"/>
                  <a:pt x="708026" y="417512"/>
                  <a:pt x="706042" y="415607"/>
                </a:cubicBezTo>
                <a:cubicBezTo>
                  <a:pt x="704057" y="411797"/>
                  <a:pt x="704057" y="411797"/>
                  <a:pt x="704057" y="411797"/>
                </a:cubicBezTo>
                <a:cubicBezTo>
                  <a:pt x="704057" y="411797"/>
                  <a:pt x="700088" y="409892"/>
                  <a:pt x="702073" y="407987"/>
                </a:cubicBezTo>
                <a:close/>
                <a:moveTo>
                  <a:pt x="679848" y="407035"/>
                </a:moveTo>
                <a:cubicBezTo>
                  <a:pt x="681832" y="404812"/>
                  <a:pt x="685801" y="404812"/>
                  <a:pt x="685801" y="407035"/>
                </a:cubicBezTo>
                <a:cubicBezTo>
                  <a:pt x="687785" y="409257"/>
                  <a:pt x="689769" y="409257"/>
                  <a:pt x="689769" y="409257"/>
                </a:cubicBezTo>
                <a:cubicBezTo>
                  <a:pt x="689769" y="409257"/>
                  <a:pt x="693738" y="409257"/>
                  <a:pt x="693738" y="413702"/>
                </a:cubicBezTo>
                <a:cubicBezTo>
                  <a:pt x="693738" y="413702"/>
                  <a:pt x="693738" y="415924"/>
                  <a:pt x="693738" y="415924"/>
                </a:cubicBezTo>
                <a:cubicBezTo>
                  <a:pt x="693738" y="415924"/>
                  <a:pt x="689769" y="413702"/>
                  <a:pt x="687785" y="413702"/>
                </a:cubicBezTo>
                <a:cubicBezTo>
                  <a:pt x="687785" y="413702"/>
                  <a:pt x="683816" y="411479"/>
                  <a:pt x="681832" y="409257"/>
                </a:cubicBezTo>
                <a:cubicBezTo>
                  <a:pt x="679848" y="409257"/>
                  <a:pt x="677863" y="407035"/>
                  <a:pt x="679848" y="407035"/>
                </a:cubicBezTo>
                <a:close/>
                <a:moveTo>
                  <a:pt x="962819" y="403225"/>
                </a:moveTo>
                <a:cubicBezTo>
                  <a:pt x="962819" y="403225"/>
                  <a:pt x="966788" y="403225"/>
                  <a:pt x="966788" y="405179"/>
                </a:cubicBezTo>
                <a:cubicBezTo>
                  <a:pt x="966788" y="405179"/>
                  <a:pt x="964804" y="409087"/>
                  <a:pt x="964804" y="409087"/>
                </a:cubicBezTo>
                <a:cubicBezTo>
                  <a:pt x="964804" y="411041"/>
                  <a:pt x="964804" y="414948"/>
                  <a:pt x="964804" y="414948"/>
                </a:cubicBezTo>
                <a:cubicBezTo>
                  <a:pt x="962819" y="416902"/>
                  <a:pt x="962819" y="416902"/>
                  <a:pt x="962819" y="420810"/>
                </a:cubicBezTo>
                <a:cubicBezTo>
                  <a:pt x="960835" y="422764"/>
                  <a:pt x="958851" y="424718"/>
                  <a:pt x="958851" y="426671"/>
                </a:cubicBezTo>
                <a:cubicBezTo>
                  <a:pt x="956866" y="428625"/>
                  <a:pt x="954882" y="428625"/>
                  <a:pt x="954882" y="428625"/>
                </a:cubicBezTo>
                <a:cubicBezTo>
                  <a:pt x="952897" y="428625"/>
                  <a:pt x="950913" y="428625"/>
                  <a:pt x="950913" y="426671"/>
                </a:cubicBezTo>
                <a:cubicBezTo>
                  <a:pt x="950913" y="426671"/>
                  <a:pt x="950913" y="424718"/>
                  <a:pt x="950913" y="424718"/>
                </a:cubicBezTo>
                <a:cubicBezTo>
                  <a:pt x="948928" y="424718"/>
                  <a:pt x="946944" y="422764"/>
                  <a:pt x="946944" y="422764"/>
                </a:cubicBezTo>
                <a:cubicBezTo>
                  <a:pt x="946944" y="420810"/>
                  <a:pt x="948928" y="420810"/>
                  <a:pt x="950913" y="420810"/>
                </a:cubicBezTo>
                <a:cubicBezTo>
                  <a:pt x="950913" y="420810"/>
                  <a:pt x="952897" y="420810"/>
                  <a:pt x="952897" y="418856"/>
                </a:cubicBezTo>
                <a:cubicBezTo>
                  <a:pt x="954882" y="418856"/>
                  <a:pt x="954882" y="414948"/>
                  <a:pt x="952897" y="414948"/>
                </a:cubicBezTo>
                <a:cubicBezTo>
                  <a:pt x="950913" y="414948"/>
                  <a:pt x="948928" y="414948"/>
                  <a:pt x="946944" y="416902"/>
                </a:cubicBezTo>
                <a:cubicBezTo>
                  <a:pt x="946944" y="416902"/>
                  <a:pt x="942975" y="416902"/>
                  <a:pt x="942975" y="414948"/>
                </a:cubicBezTo>
                <a:cubicBezTo>
                  <a:pt x="942975" y="414948"/>
                  <a:pt x="942975" y="412994"/>
                  <a:pt x="944960" y="412994"/>
                </a:cubicBezTo>
                <a:cubicBezTo>
                  <a:pt x="946944" y="412994"/>
                  <a:pt x="950913" y="412994"/>
                  <a:pt x="952897" y="412994"/>
                </a:cubicBezTo>
                <a:cubicBezTo>
                  <a:pt x="956866" y="412994"/>
                  <a:pt x="958851" y="411041"/>
                  <a:pt x="958851" y="409087"/>
                </a:cubicBezTo>
                <a:cubicBezTo>
                  <a:pt x="958851" y="407133"/>
                  <a:pt x="960835" y="405179"/>
                  <a:pt x="962819" y="403225"/>
                </a:cubicBezTo>
                <a:close/>
                <a:moveTo>
                  <a:pt x="879475" y="403225"/>
                </a:moveTo>
                <a:cubicBezTo>
                  <a:pt x="879475" y="403225"/>
                  <a:pt x="879475" y="405606"/>
                  <a:pt x="879475" y="405606"/>
                </a:cubicBezTo>
                <a:cubicBezTo>
                  <a:pt x="879475" y="407987"/>
                  <a:pt x="879475" y="407987"/>
                  <a:pt x="879475" y="407987"/>
                </a:cubicBezTo>
                <a:cubicBezTo>
                  <a:pt x="879475" y="407987"/>
                  <a:pt x="876300" y="407987"/>
                  <a:pt x="876300" y="405606"/>
                </a:cubicBezTo>
                <a:cubicBezTo>
                  <a:pt x="876300" y="403225"/>
                  <a:pt x="876300" y="403225"/>
                  <a:pt x="879475" y="403225"/>
                </a:cubicBezTo>
                <a:close/>
                <a:moveTo>
                  <a:pt x="615315" y="401955"/>
                </a:moveTo>
                <a:cubicBezTo>
                  <a:pt x="617220" y="400050"/>
                  <a:pt x="619125" y="401955"/>
                  <a:pt x="619125" y="403860"/>
                </a:cubicBezTo>
                <a:cubicBezTo>
                  <a:pt x="619125" y="405765"/>
                  <a:pt x="615315" y="407670"/>
                  <a:pt x="615315" y="407670"/>
                </a:cubicBezTo>
                <a:cubicBezTo>
                  <a:pt x="615315" y="407670"/>
                  <a:pt x="613410" y="409575"/>
                  <a:pt x="613410" y="407670"/>
                </a:cubicBezTo>
                <a:cubicBezTo>
                  <a:pt x="611505" y="405765"/>
                  <a:pt x="609600" y="405765"/>
                  <a:pt x="609600" y="405765"/>
                </a:cubicBezTo>
                <a:cubicBezTo>
                  <a:pt x="611505" y="403860"/>
                  <a:pt x="613410" y="405765"/>
                  <a:pt x="613410" y="403860"/>
                </a:cubicBezTo>
                <a:cubicBezTo>
                  <a:pt x="615315" y="403860"/>
                  <a:pt x="615315" y="401955"/>
                  <a:pt x="615315" y="401955"/>
                </a:cubicBezTo>
                <a:close/>
                <a:moveTo>
                  <a:pt x="884767" y="400050"/>
                </a:moveTo>
                <a:cubicBezTo>
                  <a:pt x="886884" y="400050"/>
                  <a:pt x="889000" y="400050"/>
                  <a:pt x="889000" y="402034"/>
                </a:cubicBezTo>
                <a:cubicBezTo>
                  <a:pt x="889000" y="406003"/>
                  <a:pt x="886884" y="407987"/>
                  <a:pt x="882650" y="404019"/>
                </a:cubicBezTo>
                <a:cubicBezTo>
                  <a:pt x="882650" y="402034"/>
                  <a:pt x="882650" y="400050"/>
                  <a:pt x="884767" y="400050"/>
                </a:cubicBezTo>
                <a:close/>
                <a:moveTo>
                  <a:pt x="546101" y="400050"/>
                </a:moveTo>
                <a:cubicBezTo>
                  <a:pt x="547689" y="400050"/>
                  <a:pt x="549276" y="400050"/>
                  <a:pt x="549276" y="401638"/>
                </a:cubicBezTo>
                <a:cubicBezTo>
                  <a:pt x="549276" y="403225"/>
                  <a:pt x="549276" y="404812"/>
                  <a:pt x="549276" y="404812"/>
                </a:cubicBezTo>
                <a:cubicBezTo>
                  <a:pt x="547689" y="404812"/>
                  <a:pt x="546101" y="404812"/>
                  <a:pt x="546101" y="404812"/>
                </a:cubicBezTo>
                <a:cubicBezTo>
                  <a:pt x="546101" y="404812"/>
                  <a:pt x="544513" y="403225"/>
                  <a:pt x="544513" y="403225"/>
                </a:cubicBezTo>
                <a:cubicBezTo>
                  <a:pt x="544513" y="401638"/>
                  <a:pt x="546101" y="400050"/>
                  <a:pt x="546101" y="400050"/>
                </a:cubicBezTo>
                <a:close/>
                <a:moveTo>
                  <a:pt x="970492" y="397404"/>
                </a:moveTo>
                <a:cubicBezTo>
                  <a:pt x="970492" y="397404"/>
                  <a:pt x="970492" y="395287"/>
                  <a:pt x="972609" y="397404"/>
                </a:cubicBezTo>
                <a:cubicBezTo>
                  <a:pt x="974725" y="397404"/>
                  <a:pt x="974725" y="399521"/>
                  <a:pt x="974725" y="399521"/>
                </a:cubicBezTo>
                <a:cubicBezTo>
                  <a:pt x="974725" y="401637"/>
                  <a:pt x="972609" y="401637"/>
                  <a:pt x="972609" y="401637"/>
                </a:cubicBezTo>
                <a:cubicBezTo>
                  <a:pt x="970492" y="401637"/>
                  <a:pt x="970492" y="401637"/>
                  <a:pt x="970492" y="401637"/>
                </a:cubicBezTo>
                <a:cubicBezTo>
                  <a:pt x="970492" y="399521"/>
                  <a:pt x="968375" y="399521"/>
                  <a:pt x="970492" y="397404"/>
                </a:cubicBezTo>
                <a:close/>
                <a:moveTo>
                  <a:pt x="509985" y="397192"/>
                </a:moveTo>
                <a:cubicBezTo>
                  <a:pt x="511969" y="395287"/>
                  <a:pt x="515938" y="397192"/>
                  <a:pt x="515938" y="399097"/>
                </a:cubicBezTo>
                <a:cubicBezTo>
                  <a:pt x="515938" y="401002"/>
                  <a:pt x="513954" y="402907"/>
                  <a:pt x="513954" y="402907"/>
                </a:cubicBezTo>
                <a:cubicBezTo>
                  <a:pt x="511969" y="402907"/>
                  <a:pt x="508000" y="404812"/>
                  <a:pt x="508000" y="401002"/>
                </a:cubicBezTo>
                <a:cubicBezTo>
                  <a:pt x="508000" y="399097"/>
                  <a:pt x="508000" y="397192"/>
                  <a:pt x="509985" y="397192"/>
                </a:cubicBezTo>
                <a:close/>
                <a:moveTo>
                  <a:pt x="1042036" y="395287"/>
                </a:moveTo>
                <a:cubicBezTo>
                  <a:pt x="1044258" y="395287"/>
                  <a:pt x="1046481" y="395287"/>
                  <a:pt x="1048704" y="395287"/>
                </a:cubicBezTo>
                <a:cubicBezTo>
                  <a:pt x="1048704" y="397668"/>
                  <a:pt x="1050926" y="400049"/>
                  <a:pt x="1048704" y="400049"/>
                </a:cubicBezTo>
                <a:cubicBezTo>
                  <a:pt x="1048704" y="400049"/>
                  <a:pt x="1046481" y="400049"/>
                  <a:pt x="1046481" y="400049"/>
                </a:cubicBezTo>
                <a:cubicBezTo>
                  <a:pt x="1046481" y="400049"/>
                  <a:pt x="1042036" y="400049"/>
                  <a:pt x="1042036" y="400049"/>
                </a:cubicBezTo>
                <a:cubicBezTo>
                  <a:pt x="1042036" y="400049"/>
                  <a:pt x="1039813" y="400049"/>
                  <a:pt x="1039813" y="397668"/>
                </a:cubicBezTo>
                <a:cubicBezTo>
                  <a:pt x="1039813" y="395287"/>
                  <a:pt x="1039813" y="395287"/>
                  <a:pt x="1042036" y="395287"/>
                </a:cubicBezTo>
                <a:close/>
                <a:moveTo>
                  <a:pt x="962025" y="393700"/>
                </a:moveTo>
                <a:cubicBezTo>
                  <a:pt x="962025" y="393700"/>
                  <a:pt x="966788" y="393700"/>
                  <a:pt x="966788" y="395288"/>
                </a:cubicBezTo>
                <a:cubicBezTo>
                  <a:pt x="966788" y="395288"/>
                  <a:pt x="966788" y="396875"/>
                  <a:pt x="966788" y="396875"/>
                </a:cubicBezTo>
                <a:cubicBezTo>
                  <a:pt x="964407" y="396875"/>
                  <a:pt x="962025" y="396875"/>
                  <a:pt x="962025" y="396875"/>
                </a:cubicBezTo>
                <a:cubicBezTo>
                  <a:pt x="962025" y="395288"/>
                  <a:pt x="962025" y="395288"/>
                  <a:pt x="962025" y="393700"/>
                </a:cubicBezTo>
                <a:close/>
                <a:moveTo>
                  <a:pt x="533930" y="393700"/>
                </a:moveTo>
                <a:cubicBezTo>
                  <a:pt x="536047" y="393700"/>
                  <a:pt x="540280" y="393700"/>
                  <a:pt x="540280" y="395817"/>
                </a:cubicBezTo>
                <a:cubicBezTo>
                  <a:pt x="542397" y="395817"/>
                  <a:pt x="544513" y="395817"/>
                  <a:pt x="544513" y="397934"/>
                </a:cubicBezTo>
                <a:cubicBezTo>
                  <a:pt x="544513" y="397934"/>
                  <a:pt x="540280" y="400050"/>
                  <a:pt x="540280" y="400050"/>
                </a:cubicBezTo>
                <a:cubicBezTo>
                  <a:pt x="540280" y="400050"/>
                  <a:pt x="536047" y="400050"/>
                  <a:pt x="536047" y="400050"/>
                </a:cubicBezTo>
                <a:cubicBezTo>
                  <a:pt x="533930" y="400050"/>
                  <a:pt x="531813" y="400050"/>
                  <a:pt x="533930" y="397934"/>
                </a:cubicBezTo>
                <a:cubicBezTo>
                  <a:pt x="533930" y="395817"/>
                  <a:pt x="533930" y="393700"/>
                  <a:pt x="533930" y="393700"/>
                </a:cubicBezTo>
                <a:close/>
                <a:moveTo>
                  <a:pt x="470254" y="392708"/>
                </a:moveTo>
                <a:cubicBezTo>
                  <a:pt x="472194" y="390525"/>
                  <a:pt x="479955" y="392708"/>
                  <a:pt x="481895" y="392708"/>
                </a:cubicBezTo>
                <a:cubicBezTo>
                  <a:pt x="485776" y="394891"/>
                  <a:pt x="493537" y="392708"/>
                  <a:pt x="497417" y="392708"/>
                </a:cubicBezTo>
                <a:cubicBezTo>
                  <a:pt x="499358" y="394891"/>
                  <a:pt x="503238" y="397073"/>
                  <a:pt x="503238" y="399256"/>
                </a:cubicBezTo>
                <a:cubicBezTo>
                  <a:pt x="501298" y="403622"/>
                  <a:pt x="499358" y="405804"/>
                  <a:pt x="495477" y="405804"/>
                </a:cubicBezTo>
                <a:cubicBezTo>
                  <a:pt x="493537" y="405804"/>
                  <a:pt x="489656" y="407987"/>
                  <a:pt x="489656" y="407987"/>
                </a:cubicBezTo>
                <a:cubicBezTo>
                  <a:pt x="489656" y="407987"/>
                  <a:pt x="478015" y="407987"/>
                  <a:pt x="476074" y="407987"/>
                </a:cubicBezTo>
                <a:cubicBezTo>
                  <a:pt x="474134" y="407987"/>
                  <a:pt x="468313" y="405804"/>
                  <a:pt x="468313" y="401439"/>
                </a:cubicBezTo>
                <a:cubicBezTo>
                  <a:pt x="468313" y="399256"/>
                  <a:pt x="468313" y="394891"/>
                  <a:pt x="470254" y="392708"/>
                </a:cubicBezTo>
                <a:close/>
                <a:moveTo>
                  <a:pt x="560388" y="392642"/>
                </a:moveTo>
                <a:cubicBezTo>
                  <a:pt x="560388" y="392642"/>
                  <a:pt x="561976" y="390525"/>
                  <a:pt x="563563" y="392642"/>
                </a:cubicBezTo>
                <a:cubicBezTo>
                  <a:pt x="563563" y="392642"/>
                  <a:pt x="561976" y="394759"/>
                  <a:pt x="561976" y="394759"/>
                </a:cubicBezTo>
                <a:cubicBezTo>
                  <a:pt x="561976" y="396875"/>
                  <a:pt x="560388" y="394759"/>
                  <a:pt x="560388" y="392642"/>
                </a:cubicBezTo>
                <a:close/>
                <a:moveTo>
                  <a:pt x="554633" y="392113"/>
                </a:moveTo>
                <a:cubicBezTo>
                  <a:pt x="555228" y="392113"/>
                  <a:pt x="555625" y="392642"/>
                  <a:pt x="555625" y="394759"/>
                </a:cubicBezTo>
                <a:cubicBezTo>
                  <a:pt x="555625" y="394759"/>
                  <a:pt x="554038" y="396875"/>
                  <a:pt x="554038" y="396875"/>
                </a:cubicBezTo>
                <a:cubicBezTo>
                  <a:pt x="554038" y="396875"/>
                  <a:pt x="552450" y="396875"/>
                  <a:pt x="552450" y="394759"/>
                </a:cubicBezTo>
                <a:cubicBezTo>
                  <a:pt x="552450" y="394759"/>
                  <a:pt x="552450" y="394759"/>
                  <a:pt x="552450" y="392642"/>
                </a:cubicBezTo>
                <a:cubicBezTo>
                  <a:pt x="553244" y="392642"/>
                  <a:pt x="554038" y="392113"/>
                  <a:pt x="554633" y="392113"/>
                </a:cubicBezTo>
                <a:close/>
                <a:moveTo>
                  <a:pt x="677070" y="385762"/>
                </a:moveTo>
                <a:cubicBezTo>
                  <a:pt x="679451" y="385762"/>
                  <a:pt x="679451" y="387350"/>
                  <a:pt x="679451" y="387350"/>
                </a:cubicBezTo>
                <a:cubicBezTo>
                  <a:pt x="679451" y="388937"/>
                  <a:pt x="679451" y="390524"/>
                  <a:pt x="679451" y="390524"/>
                </a:cubicBezTo>
                <a:cubicBezTo>
                  <a:pt x="679451" y="390524"/>
                  <a:pt x="674688" y="388937"/>
                  <a:pt x="674688" y="387350"/>
                </a:cubicBezTo>
                <a:cubicBezTo>
                  <a:pt x="674688" y="387350"/>
                  <a:pt x="674688" y="385762"/>
                  <a:pt x="677070" y="385762"/>
                </a:cubicBezTo>
                <a:close/>
                <a:moveTo>
                  <a:pt x="966392" y="382587"/>
                </a:moveTo>
                <a:cubicBezTo>
                  <a:pt x="968376" y="384968"/>
                  <a:pt x="966392" y="387349"/>
                  <a:pt x="966392" y="387349"/>
                </a:cubicBezTo>
                <a:cubicBezTo>
                  <a:pt x="966392" y="387349"/>
                  <a:pt x="962423" y="387349"/>
                  <a:pt x="962423" y="387349"/>
                </a:cubicBezTo>
                <a:cubicBezTo>
                  <a:pt x="962423" y="387349"/>
                  <a:pt x="960438" y="384968"/>
                  <a:pt x="962423" y="384968"/>
                </a:cubicBezTo>
                <a:cubicBezTo>
                  <a:pt x="962423" y="382587"/>
                  <a:pt x="964407" y="382587"/>
                  <a:pt x="966392" y="382587"/>
                </a:cubicBezTo>
                <a:close/>
                <a:moveTo>
                  <a:pt x="670984" y="382587"/>
                </a:moveTo>
                <a:cubicBezTo>
                  <a:pt x="673100" y="382587"/>
                  <a:pt x="673100" y="384810"/>
                  <a:pt x="673100" y="387032"/>
                </a:cubicBezTo>
                <a:cubicBezTo>
                  <a:pt x="673100" y="389254"/>
                  <a:pt x="670984" y="391477"/>
                  <a:pt x="670984" y="391477"/>
                </a:cubicBezTo>
                <a:cubicBezTo>
                  <a:pt x="670984" y="391477"/>
                  <a:pt x="666750" y="393699"/>
                  <a:pt x="666750" y="391477"/>
                </a:cubicBezTo>
                <a:cubicBezTo>
                  <a:pt x="666750" y="389254"/>
                  <a:pt x="666750" y="387032"/>
                  <a:pt x="668867" y="387032"/>
                </a:cubicBezTo>
                <a:cubicBezTo>
                  <a:pt x="668867" y="384810"/>
                  <a:pt x="668867" y="382587"/>
                  <a:pt x="670984" y="382587"/>
                </a:cubicBezTo>
                <a:close/>
                <a:moveTo>
                  <a:pt x="684848" y="379412"/>
                </a:moveTo>
                <a:cubicBezTo>
                  <a:pt x="687070" y="379412"/>
                  <a:pt x="689293" y="381396"/>
                  <a:pt x="689293" y="381396"/>
                </a:cubicBezTo>
                <a:cubicBezTo>
                  <a:pt x="689293" y="381396"/>
                  <a:pt x="689293" y="381396"/>
                  <a:pt x="691516" y="383381"/>
                </a:cubicBezTo>
                <a:cubicBezTo>
                  <a:pt x="693738" y="383381"/>
                  <a:pt x="693738" y="383381"/>
                  <a:pt x="693738" y="385365"/>
                </a:cubicBezTo>
                <a:cubicBezTo>
                  <a:pt x="693738" y="387349"/>
                  <a:pt x="689293" y="387349"/>
                  <a:pt x="689293" y="387349"/>
                </a:cubicBezTo>
                <a:cubicBezTo>
                  <a:pt x="687070" y="385365"/>
                  <a:pt x="687070" y="385365"/>
                  <a:pt x="687070" y="385365"/>
                </a:cubicBezTo>
                <a:cubicBezTo>
                  <a:pt x="687070" y="385365"/>
                  <a:pt x="682625" y="383381"/>
                  <a:pt x="684848" y="383381"/>
                </a:cubicBezTo>
                <a:cubicBezTo>
                  <a:pt x="684848" y="381396"/>
                  <a:pt x="684848" y="379412"/>
                  <a:pt x="684848" y="379412"/>
                </a:cubicBezTo>
                <a:close/>
                <a:moveTo>
                  <a:pt x="689505" y="374650"/>
                </a:moveTo>
                <a:cubicBezTo>
                  <a:pt x="689505" y="374650"/>
                  <a:pt x="689505" y="374650"/>
                  <a:pt x="691622" y="374650"/>
                </a:cubicBezTo>
                <a:cubicBezTo>
                  <a:pt x="693738" y="377031"/>
                  <a:pt x="691622" y="377031"/>
                  <a:pt x="691622" y="377031"/>
                </a:cubicBezTo>
                <a:cubicBezTo>
                  <a:pt x="691622" y="377031"/>
                  <a:pt x="687388" y="379412"/>
                  <a:pt x="687388" y="379412"/>
                </a:cubicBezTo>
                <a:cubicBezTo>
                  <a:pt x="687388" y="377031"/>
                  <a:pt x="687388" y="377031"/>
                  <a:pt x="689505" y="374650"/>
                </a:cubicBezTo>
                <a:close/>
                <a:moveTo>
                  <a:pt x="990600" y="365654"/>
                </a:moveTo>
                <a:cubicBezTo>
                  <a:pt x="995363" y="363537"/>
                  <a:pt x="995363" y="367771"/>
                  <a:pt x="995363" y="367771"/>
                </a:cubicBezTo>
                <a:cubicBezTo>
                  <a:pt x="995363" y="367771"/>
                  <a:pt x="990600" y="369887"/>
                  <a:pt x="990600" y="369887"/>
                </a:cubicBezTo>
                <a:cubicBezTo>
                  <a:pt x="990600" y="367771"/>
                  <a:pt x="990600" y="365654"/>
                  <a:pt x="990600" y="365654"/>
                </a:cubicBezTo>
                <a:close/>
                <a:moveTo>
                  <a:pt x="319916" y="365539"/>
                </a:moveTo>
                <a:cubicBezTo>
                  <a:pt x="321918" y="363537"/>
                  <a:pt x="325921" y="367541"/>
                  <a:pt x="325921" y="367541"/>
                </a:cubicBezTo>
                <a:cubicBezTo>
                  <a:pt x="325921" y="367541"/>
                  <a:pt x="331926" y="367541"/>
                  <a:pt x="333927" y="367541"/>
                </a:cubicBezTo>
                <a:cubicBezTo>
                  <a:pt x="335929" y="367541"/>
                  <a:pt x="337931" y="369542"/>
                  <a:pt x="337931" y="371544"/>
                </a:cubicBezTo>
                <a:cubicBezTo>
                  <a:pt x="339932" y="375547"/>
                  <a:pt x="341934" y="377549"/>
                  <a:pt x="343936" y="375547"/>
                </a:cubicBezTo>
                <a:cubicBezTo>
                  <a:pt x="345937" y="375547"/>
                  <a:pt x="347939" y="375547"/>
                  <a:pt x="349940" y="373545"/>
                </a:cubicBezTo>
                <a:cubicBezTo>
                  <a:pt x="353944" y="373545"/>
                  <a:pt x="355945" y="373545"/>
                  <a:pt x="355945" y="377549"/>
                </a:cubicBezTo>
                <a:cubicBezTo>
                  <a:pt x="355945" y="379550"/>
                  <a:pt x="359949" y="383554"/>
                  <a:pt x="357947" y="385555"/>
                </a:cubicBezTo>
                <a:cubicBezTo>
                  <a:pt x="357947" y="387557"/>
                  <a:pt x="355945" y="391560"/>
                  <a:pt x="357947" y="391560"/>
                </a:cubicBezTo>
                <a:cubicBezTo>
                  <a:pt x="361950" y="393562"/>
                  <a:pt x="363952" y="395563"/>
                  <a:pt x="365954" y="393562"/>
                </a:cubicBezTo>
                <a:cubicBezTo>
                  <a:pt x="367955" y="391560"/>
                  <a:pt x="369957" y="391560"/>
                  <a:pt x="371958" y="391560"/>
                </a:cubicBezTo>
                <a:cubicBezTo>
                  <a:pt x="371958" y="391560"/>
                  <a:pt x="381967" y="395563"/>
                  <a:pt x="383968" y="395563"/>
                </a:cubicBezTo>
                <a:cubicBezTo>
                  <a:pt x="385970" y="393562"/>
                  <a:pt x="385970" y="393562"/>
                  <a:pt x="389973" y="393562"/>
                </a:cubicBezTo>
                <a:cubicBezTo>
                  <a:pt x="391975" y="395563"/>
                  <a:pt x="403984" y="395563"/>
                  <a:pt x="403984" y="395563"/>
                </a:cubicBezTo>
                <a:cubicBezTo>
                  <a:pt x="405986" y="395563"/>
                  <a:pt x="409989" y="395563"/>
                  <a:pt x="411991" y="395563"/>
                </a:cubicBezTo>
                <a:cubicBezTo>
                  <a:pt x="411991" y="393562"/>
                  <a:pt x="413993" y="391560"/>
                  <a:pt x="415994" y="389558"/>
                </a:cubicBezTo>
                <a:cubicBezTo>
                  <a:pt x="417996" y="387557"/>
                  <a:pt x="417996" y="385555"/>
                  <a:pt x="421999" y="385555"/>
                </a:cubicBezTo>
                <a:cubicBezTo>
                  <a:pt x="421999" y="383554"/>
                  <a:pt x="430006" y="385555"/>
                  <a:pt x="434009" y="387557"/>
                </a:cubicBezTo>
                <a:cubicBezTo>
                  <a:pt x="436011" y="389558"/>
                  <a:pt x="442015" y="391560"/>
                  <a:pt x="446019" y="391560"/>
                </a:cubicBezTo>
                <a:cubicBezTo>
                  <a:pt x="450022" y="395563"/>
                  <a:pt x="460030" y="399567"/>
                  <a:pt x="462032" y="399567"/>
                </a:cubicBezTo>
                <a:cubicBezTo>
                  <a:pt x="462032" y="401568"/>
                  <a:pt x="470038" y="413578"/>
                  <a:pt x="472040" y="413578"/>
                </a:cubicBezTo>
                <a:cubicBezTo>
                  <a:pt x="472040" y="415580"/>
                  <a:pt x="478045" y="419583"/>
                  <a:pt x="482048" y="419583"/>
                </a:cubicBezTo>
                <a:cubicBezTo>
                  <a:pt x="484050" y="421585"/>
                  <a:pt x="490055" y="421585"/>
                  <a:pt x="494058" y="419583"/>
                </a:cubicBezTo>
                <a:cubicBezTo>
                  <a:pt x="498061" y="419583"/>
                  <a:pt x="504066" y="419583"/>
                  <a:pt x="506068" y="421585"/>
                </a:cubicBezTo>
                <a:cubicBezTo>
                  <a:pt x="506068" y="423586"/>
                  <a:pt x="508069" y="425588"/>
                  <a:pt x="510071" y="429591"/>
                </a:cubicBezTo>
                <a:cubicBezTo>
                  <a:pt x="512073" y="431593"/>
                  <a:pt x="514074" y="433594"/>
                  <a:pt x="518077" y="435596"/>
                </a:cubicBezTo>
                <a:cubicBezTo>
                  <a:pt x="520079" y="435596"/>
                  <a:pt x="524082" y="437598"/>
                  <a:pt x="528086" y="437598"/>
                </a:cubicBezTo>
                <a:cubicBezTo>
                  <a:pt x="532089" y="437598"/>
                  <a:pt x="536092" y="437598"/>
                  <a:pt x="538094" y="437598"/>
                </a:cubicBezTo>
                <a:cubicBezTo>
                  <a:pt x="540095" y="437598"/>
                  <a:pt x="542097" y="437598"/>
                  <a:pt x="544099" y="439599"/>
                </a:cubicBezTo>
                <a:cubicBezTo>
                  <a:pt x="544099" y="441601"/>
                  <a:pt x="546100" y="447606"/>
                  <a:pt x="546100" y="447606"/>
                </a:cubicBezTo>
                <a:cubicBezTo>
                  <a:pt x="546100" y="449607"/>
                  <a:pt x="538094" y="451609"/>
                  <a:pt x="536092" y="449607"/>
                </a:cubicBezTo>
                <a:cubicBezTo>
                  <a:pt x="534090" y="449607"/>
                  <a:pt x="520079" y="443602"/>
                  <a:pt x="518077" y="443602"/>
                </a:cubicBezTo>
                <a:cubicBezTo>
                  <a:pt x="518077" y="441601"/>
                  <a:pt x="510071" y="437598"/>
                  <a:pt x="510071" y="439599"/>
                </a:cubicBezTo>
                <a:cubicBezTo>
                  <a:pt x="510071" y="441601"/>
                  <a:pt x="508069" y="443602"/>
                  <a:pt x="510071" y="445604"/>
                </a:cubicBezTo>
                <a:cubicBezTo>
                  <a:pt x="512073" y="447606"/>
                  <a:pt x="516076" y="451609"/>
                  <a:pt x="516076" y="453611"/>
                </a:cubicBezTo>
                <a:cubicBezTo>
                  <a:pt x="514074" y="455612"/>
                  <a:pt x="510071" y="455612"/>
                  <a:pt x="508069" y="455612"/>
                </a:cubicBezTo>
                <a:cubicBezTo>
                  <a:pt x="506068" y="455612"/>
                  <a:pt x="500063" y="449607"/>
                  <a:pt x="498061" y="449607"/>
                </a:cubicBezTo>
                <a:cubicBezTo>
                  <a:pt x="496059" y="447606"/>
                  <a:pt x="486051" y="443602"/>
                  <a:pt x="482048" y="441601"/>
                </a:cubicBezTo>
                <a:cubicBezTo>
                  <a:pt x="480046" y="441601"/>
                  <a:pt x="474042" y="439599"/>
                  <a:pt x="470038" y="439599"/>
                </a:cubicBezTo>
                <a:cubicBezTo>
                  <a:pt x="468037" y="441601"/>
                  <a:pt x="460030" y="443602"/>
                  <a:pt x="458029" y="443602"/>
                </a:cubicBezTo>
                <a:cubicBezTo>
                  <a:pt x="454025" y="443602"/>
                  <a:pt x="448020" y="439599"/>
                  <a:pt x="444017" y="439599"/>
                </a:cubicBezTo>
                <a:cubicBezTo>
                  <a:pt x="440014" y="439599"/>
                  <a:pt x="434009" y="441601"/>
                  <a:pt x="434009" y="441601"/>
                </a:cubicBezTo>
                <a:cubicBezTo>
                  <a:pt x="430006" y="443602"/>
                  <a:pt x="426002" y="443602"/>
                  <a:pt x="424001" y="443602"/>
                </a:cubicBezTo>
                <a:cubicBezTo>
                  <a:pt x="421999" y="441601"/>
                  <a:pt x="409989" y="433594"/>
                  <a:pt x="407988" y="433594"/>
                </a:cubicBezTo>
                <a:cubicBezTo>
                  <a:pt x="405986" y="433594"/>
                  <a:pt x="395978" y="425588"/>
                  <a:pt x="391975" y="425588"/>
                </a:cubicBezTo>
                <a:cubicBezTo>
                  <a:pt x="387971" y="425588"/>
                  <a:pt x="383968" y="425588"/>
                  <a:pt x="383968" y="425588"/>
                </a:cubicBezTo>
                <a:cubicBezTo>
                  <a:pt x="379965" y="425588"/>
                  <a:pt x="377963" y="423586"/>
                  <a:pt x="375962" y="421585"/>
                </a:cubicBezTo>
                <a:cubicBezTo>
                  <a:pt x="373960" y="421585"/>
                  <a:pt x="371958" y="423586"/>
                  <a:pt x="369957" y="425588"/>
                </a:cubicBezTo>
                <a:cubicBezTo>
                  <a:pt x="365954" y="425588"/>
                  <a:pt x="361950" y="425588"/>
                  <a:pt x="359949" y="423586"/>
                </a:cubicBezTo>
                <a:cubicBezTo>
                  <a:pt x="355945" y="423586"/>
                  <a:pt x="347939" y="427589"/>
                  <a:pt x="345937" y="425588"/>
                </a:cubicBezTo>
                <a:cubicBezTo>
                  <a:pt x="341934" y="425588"/>
                  <a:pt x="331926" y="421585"/>
                  <a:pt x="329924" y="419583"/>
                </a:cubicBezTo>
                <a:cubicBezTo>
                  <a:pt x="329924" y="419583"/>
                  <a:pt x="319916" y="415580"/>
                  <a:pt x="317914" y="415580"/>
                </a:cubicBezTo>
                <a:cubicBezTo>
                  <a:pt x="315913" y="413578"/>
                  <a:pt x="309908" y="413578"/>
                  <a:pt x="303903" y="411576"/>
                </a:cubicBezTo>
                <a:cubicBezTo>
                  <a:pt x="299900" y="409575"/>
                  <a:pt x="299900" y="407573"/>
                  <a:pt x="299900" y="405571"/>
                </a:cubicBezTo>
                <a:cubicBezTo>
                  <a:pt x="299900" y="403570"/>
                  <a:pt x="301901" y="399567"/>
                  <a:pt x="299900" y="397565"/>
                </a:cubicBezTo>
                <a:cubicBezTo>
                  <a:pt x="299900" y="395563"/>
                  <a:pt x="295896" y="391560"/>
                  <a:pt x="293895" y="393562"/>
                </a:cubicBezTo>
                <a:cubicBezTo>
                  <a:pt x="293895" y="393562"/>
                  <a:pt x="287890" y="395563"/>
                  <a:pt x="287890" y="395563"/>
                </a:cubicBezTo>
                <a:cubicBezTo>
                  <a:pt x="279883" y="395563"/>
                  <a:pt x="279883" y="395563"/>
                  <a:pt x="279883" y="395563"/>
                </a:cubicBezTo>
                <a:cubicBezTo>
                  <a:pt x="269875" y="395563"/>
                  <a:pt x="277882" y="389558"/>
                  <a:pt x="281885" y="383554"/>
                </a:cubicBezTo>
                <a:cubicBezTo>
                  <a:pt x="283887" y="379550"/>
                  <a:pt x="283887" y="379550"/>
                  <a:pt x="285888" y="375547"/>
                </a:cubicBezTo>
                <a:cubicBezTo>
                  <a:pt x="287890" y="373545"/>
                  <a:pt x="287890" y="367541"/>
                  <a:pt x="289892" y="367541"/>
                </a:cubicBezTo>
                <a:cubicBezTo>
                  <a:pt x="291893" y="365539"/>
                  <a:pt x="299900" y="365539"/>
                  <a:pt x="301901" y="367541"/>
                </a:cubicBezTo>
                <a:cubicBezTo>
                  <a:pt x="303903" y="367541"/>
                  <a:pt x="307906" y="367541"/>
                  <a:pt x="311909" y="371544"/>
                </a:cubicBezTo>
                <a:cubicBezTo>
                  <a:pt x="315913" y="373545"/>
                  <a:pt x="317914" y="373545"/>
                  <a:pt x="317914" y="371544"/>
                </a:cubicBezTo>
                <a:cubicBezTo>
                  <a:pt x="319916" y="371544"/>
                  <a:pt x="317914" y="367541"/>
                  <a:pt x="319916" y="365539"/>
                </a:cubicBezTo>
                <a:close/>
                <a:moveTo>
                  <a:pt x="1042843" y="365125"/>
                </a:moveTo>
                <a:cubicBezTo>
                  <a:pt x="1044864" y="365125"/>
                  <a:pt x="1046884" y="365125"/>
                  <a:pt x="1046884" y="367166"/>
                </a:cubicBezTo>
                <a:cubicBezTo>
                  <a:pt x="1046884" y="369207"/>
                  <a:pt x="1048905" y="371248"/>
                  <a:pt x="1048905" y="373290"/>
                </a:cubicBezTo>
                <a:cubicBezTo>
                  <a:pt x="1048905" y="375331"/>
                  <a:pt x="1050925" y="375331"/>
                  <a:pt x="1050925" y="377372"/>
                </a:cubicBezTo>
                <a:cubicBezTo>
                  <a:pt x="1048905" y="379413"/>
                  <a:pt x="1048905" y="379413"/>
                  <a:pt x="1048905" y="381454"/>
                </a:cubicBezTo>
                <a:cubicBezTo>
                  <a:pt x="1048905" y="383495"/>
                  <a:pt x="1048905" y="383495"/>
                  <a:pt x="1048905" y="385536"/>
                </a:cubicBezTo>
                <a:cubicBezTo>
                  <a:pt x="1048905" y="387577"/>
                  <a:pt x="1046884" y="389618"/>
                  <a:pt x="1046884" y="389618"/>
                </a:cubicBezTo>
                <a:cubicBezTo>
                  <a:pt x="1044864" y="389618"/>
                  <a:pt x="1044864" y="387577"/>
                  <a:pt x="1044864" y="385536"/>
                </a:cubicBezTo>
                <a:cubicBezTo>
                  <a:pt x="1044864" y="383495"/>
                  <a:pt x="1042843" y="381454"/>
                  <a:pt x="1042843" y="379413"/>
                </a:cubicBezTo>
                <a:cubicBezTo>
                  <a:pt x="1042843" y="379413"/>
                  <a:pt x="1036782" y="377372"/>
                  <a:pt x="1036782" y="377372"/>
                </a:cubicBezTo>
                <a:cubicBezTo>
                  <a:pt x="1034762" y="377372"/>
                  <a:pt x="1034762" y="377372"/>
                  <a:pt x="1034762" y="379413"/>
                </a:cubicBezTo>
                <a:cubicBezTo>
                  <a:pt x="1034762" y="379413"/>
                  <a:pt x="1034762" y="381454"/>
                  <a:pt x="1036782" y="381454"/>
                </a:cubicBezTo>
                <a:cubicBezTo>
                  <a:pt x="1038803" y="381454"/>
                  <a:pt x="1040823" y="381454"/>
                  <a:pt x="1040823" y="383495"/>
                </a:cubicBezTo>
                <a:cubicBezTo>
                  <a:pt x="1042843" y="383495"/>
                  <a:pt x="1040823" y="385536"/>
                  <a:pt x="1038803" y="385536"/>
                </a:cubicBezTo>
                <a:cubicBezTo>
                  <a:pt x="1038803" y="387577"/>
                  <a:pt x="1036782" y="387577"/>
                  <a:pt x="1036782" y="389618"/>
                </a:cubicBezTo>
                <a:cubicBezTo>
                  <a:pt x="1034762" y="389618"/>
                  <a:pt x="1034762" y="391659"/>
                  <a:pt x="1034762" y="393700"/>
                </a:cubicBezTo>
                <a:cubicBezTo>
                  <a:pt x="1034762" y="393700"/>
                  <a:pt x="1030721" y="393700"/>
                  <a:pt x="1030721" y="393700"/>
                </a:cubicBezTo>
                <a:cubicBezTo>
                  <a:pt x="1028700" y="393700"/>
                  <a:pt x="1028700" y="393700"/>
                  <a:pt x="1028700" y="391659"/>
                </a:cubicBezTo>
                <a:cubicBezTo>
                  <a:pt x="1030721" y="389618"/>
                  <a:pt x="1030721" y="387577"/>
                  <a:pt x="1030721" y="385536"/>
                </a:cubicBezTo>
                <a:cubicBezTo>
                  <a:pt x="1030721" y="383495"/>
                  <a:pt x="1032741" y="379413"/>
                  <a:pt x="1032741" y="377372"/>
                </a:cubicBezTo>
                <a:cubicBezTo>
                  <a:pt x="1032741" y="375331"/>
                  <a:pt x="1030721" y="373290"/>
                  <a:pt x="1030721" y="371248"/>
                </a:cubicBezTo>
                <a:cubicBezTo>
                  <a:pt x="1030721" y="371248"/>
                  <a:pt x="1030721" y="367166"/>
                  <a:pt x="1030721" y="367166"/>
                </a:cubicBezTo>
                <a:cubicBezTo>
                  <a:pt x="1030721" y="367166"/>
                  <a:pt x="1032741" y="367166"/>
                  <a:pt x="1032741" y="367166"/>
                </a:cubicBezTo>
                <a:cubicBezTo>
                  <a:pt x="1034762" y="369207"/>
                  <a:pt x="1034762" y="369207"/>
                  <a:pt x="1036782" y="369207"/>
                </a:cubicBezTo>
                <a:cubicBezTo>
                  <a:pt x="1036782" y="371248"/>
                  <a:pt x="1036782" y="371248"/>
                  <a:pt x="1036782" y="371248"/>
                </a:cubicBezTo>
                <a:cubicBezTo>
                  <a:pt x="1036782" y="373290"/>
                  <a:pt x="1038803" y="373290"/>
                  <a:pt x="1040823" y="373290"/>
                </a:cubicBezTo>
                <a:cubicBezTo>
                  <a:pt x="1040823" y="373290"/>
                  <a:pt x="1038803" y="371248"/>
                  <a:pt x="1038803" y="369207"/>
                </a:cubicBezTo>
                <a:cubicBezTo>
                  <a:pt x="1038803" y="367166"/>
                  <a:pt x="1040823" y="365125"/>
                  <a:pt x="1042843" y="365125"/>
                </a:cubicBezTo>
                <a:close/>
                <a:moveTo>
                  <a:pt x="988484" y="358775"/>
                </a:moveTo>
                <a:cubicBezTo>
                  <a:pt x="990600" y="360759"/>
                  <a:pt x="990600" y="362744"/>
                  <a:pt x="990600" y="362744"/>
                </a:cubicBezTo>
                <a:cubicBezTo>
                  <a:pt x="988484" y="364728"/>
                  <a:pt x="988484" y="366712"/>
                  <a:pt x="988484" y="366712"/>
                </a:cubicBezTo>
                <a:cubicBezTo>
                  <a:pt x="986367" y="364728"/>
                  <a:pt x="984250" y="364728"/>
                  <a:pt x="986367" y="362744"/>
                </a:cubicBezTo>
                <a:cubicBezTo>
                  <a:pt x="986367" y="360759"/>
                  <a:pt x="988484" y="358775"/>
                  <a:pt x="988484" y="358775"/>
                </a:cubicBezTo>
                <a:close/>
                <a:moveTo>
                  <a:pt x="675640" y="355600"/>
                </a:moveTo>
                <a:cubicBezTo>
                  <a:pt x="675640" y="355600"/>
                  <a:pt x="679450" y="355600"/>
                  <a:pt x="677545" y="357621"/>
                </a:cubicBezTo>
                <a:cubicBezTo>
                  <a:pt x="677545" y="361662"/>
                  <a:pt x="675640" y="363682"/>
                  <a:pt x="675640" y="365703"/>
                </a:cubicBezTo>
                <a:cubicBezTo>
                  <a:pt x="675640" y="367723"/>
                  <a:pt x="675640" y="371764"/>
                  <a:pt x="675640" y="371764"/>
                </a:cubicBezTo>
                <a:cubicBezTo>
                  <a:pt x="675640" y="373784"/>
                  <a:pt x="673735" y="375805"/>
                  <a:pt x="673735" y="375805"/>
                </a:cubicBezTo>
                <a:cubicBezTo>
                  <a:pt x="675640" y="377825"/>
                  <a:pt x="673735" y="377825"/>
                  <a:pt x="673735" y="377825"/>
                </a:cubicBezTo>
                <a:cubicBezTo>
                  <a:pt x="673735" y="377825"/>
                  <a:pt x="671830" y="377825"/>
                  <a:pt x="669925" y="375805"/>
                </a:cubicBezTo>
                <a:cubicBezTo>
                  <a:pt x="669925" y="373784"/>
                  <a:pt x="669925" y="373784"/>
                  <a:pt x="671830" y="371764"/>
                </a:cubicBezTo>
                <a:cubicBezTo>
                  <a:pt x="671830" y="369743"/>
                  <a:pt x="673735" y="367723"/>
                  <a:pt x="673735" y="365703"/>
                </a:cubicBezTo>
                <a:cubicBezTo>
                  <a:pt x="673735" y="365703"/>
                  <a:pt x="671830" y="361662"/>
                  <a:pt x="671830" y="361662"/>
                </a:cubicBezTo>
                <a:cubicBezTo>
                  <a:pt x="671830" y="361662"/>
                  <a:pt x="671830" y="361662"/>
                  <a:pt x="671830" y="359641"/>
                </a:cubicBezTo>
                <a:cubicBezTo>
                  <a:pt x="671830" y="357621"/>
                  <a:pt x="673735" y="355600"/>
                  <a:pt x="675640" y="355600"/>
                </a:cubicBezTo>
                <a:close/>
                <a:moveTo>
                  <a:pt x="783697" y="354012"/>
                </a:moveTo>
                <a:cubicBezTo>
                  <a:pt x="785813" y="354012"/>
                  <a:pt x="785813" y="355996"/>
                  <a:pt x="785813" y="355996"/>
                </a:cubicBezTo>
                <a:cubicBezTo>
                  <a:pt x="785813" y="357981"/>
                  <a:pt x="783697" y="357981"/>
                  <a:pt x="783697" y="357981"/>
                </a:cubicBezTo>
                <a:cubicBezTo>
                  <a:pt x="783697" y="357981"/>
                  <a:pt x="783697" y="361949"/>
                  <a:pt x="781580" y="359965"/>
                </a:cubicBezTo>
                <a:cubicBezTo>
                  <a:pt x="779463" y="359965"/>
                  <a:pt x="779463" y="357981"/>
                  <a:pt x="781580" y="355996"/>
                </a:cubicBezTo>
                <a:cubicBezTo>
                  <a:pt x="781580" y="355996"/>
                  <a:pt x="781580" y="355996"/>
                  <a:pt x="783697" y="354012"/>
                </a:cubicBezTo>
                <a:close/>
                <a:moveTo>
                  <a:pt x="758825" y="351155"/>
                </a:moveTo>
                <a:cubicBezTo>
                  <a:pt x="760942" y="351155"/>
                  <a:pt x="763059" y="349250"/>
                  <a:pt x="765175" y="351155"/>
                </a:cubicBezTo>
                <a:cubicBezTo>
                  <a:pt x="765175" y="353060"/>
                  <a:pt x="763059" y="353060"/>
                  <a:pt x="765175" y="354965"/>
                </a:cubicBezTo>
                <a:cubicBezTo>
                  <a:pt x="765175" y="354965"/>
                  <a:pt x="765175" y="354965"/>
                  <a:pt x="765175" y="356870"/>
                </a:cubicBezTo>
                <a:cubicBezTo>
                  <a:pt x="765175" y="358775"/>
                  <a:pt x="763059" y="358775"/>
                  <a:pt x="763059" y="358775"/>
                </a:cubicBezTo>
                <a:cubicBezTo>
                  <a:pt x="763059" y="356870"/>
                  <a:pt x="763059" y="356870"/>
                  <a:pt x="763059" y="356870"/>
                </a:cubicBezTo>
                <a:cubicBezTo>
                  <a:pt x="760942" y="354965"/>
                  <a:pt x="760942" y="354965"/>
                  <a:pt x="760942" y="354965"/>
                </a:cubicBezTo>
                <a:cubicBezTo>
                  <a:pt x="760942" y="354965"/>
                  <a:pt x="758825" y="353060"/>
                  <a:pt x="758825" y="351155"/>
                </a:cubicBezTo>
                <a:close/>
                <a:moveTo>
                  <a:pt x="1042459" y="350837"/>
                </a:moveTo>
                <a:cubicBezTo>
                  <a:pt x="1042459" y="350837"/>
                  <a:pt x="1042459" y="352954"/>
                  <a:pt x="1042459" y="355071"/>
                </a:cubicBezTo>
                <a:cubicBezTo>
                  <a:pt x="1042459" y="357187"/>
                  <a:pt x="1044311" y="357187"/>
                  <a:pt x="1044311" y="357187"/>
                </a:cubicBezTo>
                <a:cubicBezTo>
                  <a:pt x="1046163" y="359304"/>
                  <a:pt x="1046163" y="361421"/>
                  <a:pt x="1046163" y="361421"/>
                </a:cubicBezTo>
                <a:cubicBezTo>
                  <a:pt x="1046163" y="361421"/>
                  <a:pt x="1044311" y="363537"/>
                  <a:pt x="1044311" y="363537"/>
                </a:cubicBezTo>
                <a:cubicBezTo>
                  <a:pt x="1042459" y="363537"/>
                  <a:pt x="1040607" y="363537"/>
                  <a:pt x="1040607" y="363537"/>
                </a:cubicBezTo>
                <a:lnTo>
                  <a:pt x="1038755" y="363537"/>
                </a:lnTo>
                <a:cubicBezTo>
                  <a:pt x="1036902" y="363537"/>
                  <a:pt x="1035050" y="363537"/>
                  <a:pt x="1035050" y="361421"/>
                </a:cubicBezTo>
                <a:cubicBezTo>
                  <a:pt x="1035050" y="359304"/>
                  <a:pt x="1035050" y="357187"/>
                  <a:pt x="1035050" y="357187"/>
                </a:cubicBezTo>
                <a:cubicBezTo>
                  <a:pt x="1035050" y="355071"/>
                  <a:pt x="1035050" y="355071"/>
                  <a:pt x="1035050" y="352954"/>
                </a:cubicBezTo>
                <a:cubicBezTo>
                  <a:pt x="1036902" y="352954"/>
                  <a:pt x="1036902" y="352954"/>
                  <a:pt x="1038755" y="352954"/>
                </a:cubicBezTo>
                <a:cubicBezTo>
                  <a:pt x="1040607" y="352954"/>
                  <a:pt x="1042459" y="350837"/>
                  <a:pt x="1042459" y="350837"/>
                </a:cubicBezTo>
                <a:close/>
                <a:moveTo>
                  <a:pt x="981869" y="349250"/>
                </a:moveTo>
                <a:cubicBezTo>
                  <a:pt x="985838" y="349250"/>
                  <a:pt x="985838" y="349250"/>
                  <a:pt x="985838" y="349250"/>
                </a:cubicBezTo>
                <a:cubicBezTo>
                  <a:pt x="985838" y="349250"/>
                  <a:pt x="985838" y="353484"/>
                  <a:pt x="985838" y="353484"/>
                </a:cubicBezTo>
                <a:cubicBezTo>
                  <a:pt x="985838" y="355600"/>
                  <a:pt x="983854" y="357717"/>
                  <a:pt x="983854" y="359834"/>
                </a:cubicBezTo>
                <a:cubicBezTo>
                  <a:pt x="983854" y="361950"/>
                  <a:pt x="981869" y="361950"/>
                  <a:pt x="981869" y="361950"/>
                </a:cubicBezTo>
                <a:cubicBezTo>
                  <a:pt x="979885" y="361950"/>
                  <a:pt x="979885" y="361950"/>
                  <a:pt x="977901" y="359834"/>
                </a:cubicBezTo>
                <a:cubicBezTo>
                  <a:pt x="975916" y="357717"/>
                  <a:pt x="973932" y="357717"/>
                  <a:pt x="973932" y="357717"/>
                </a:cubicBezTo>
                <a:cubicBezTo>
                  <a:pt x="971948" y="357717"/>
                  <a:pt x="969963" y="357717"/>
                  <a:pt x="969963" y="357717"/>
                </a:cubicBezTo>
                <a:cubicBezTo>
                  <a:pt x="969963" y="353484"/>
                  <a:pt x="971948" y="353484"/>
                  <a:pt x="971948" y="353484"/>
                </a:cubicBezTo>
                <a:lnTo>
                  <a:pt x="973932" y="351367"/>
                </a:lnTo>
                <a:cubicBezTo>
                  <a:pt x="973932" y="351367"/>
                  <a:pt x="975916" y="351367"/>
                  <a:pt x="977901" y="353484"/>
                </a:cubicBezTo>
                <a:cubicBezTo>
                  <a:pt x="979885" y="355600"/>
                  <a:pt x="981869" y="349250"/>
                  <a:pt x="981869" y="349250"/>
                </a:cubicBezTo>
                <a:close/>
                <a:moveTo>
                  <a:pt x="1004183" y="346075"/>
                </a:moveTo>
                <a:cubicBezTo>
                  <a:pt x="1006123" y="346075"/>
                  <a:pt x="1008063" y="346075"/>
                  <a:pt x="1008063" y="346075"/>
                </a:cubicBezTo>
                <a:cubicBezTo>
                  <a:pt x="1008063" y="348015"/>
                  <a:pt x="1008063" y="349956"/>
                  <a:pt x="1008063" y="351896"/>
                </a:cubicBezTo>
                <a:cubicBezTo>
                  <a:pt x="1008063" y="353836"/>
                  <a:pt x="1008063" y="355776"/>
                  <a:pt x="1008063" y="355776"/>
                </a:cubicBezTo>
                <a:cubicBezTo>
                  <a:pt x="1008063" y="355776"/>
                  <a:pt x="1004183" y="357717"/>
                  <a:pt x="1002242" y="357717"/>
                </a:cubicBezTo>
                <a:cubicBezTo>
                  <a:pt x="1002242" y="357717"/>
                  <a:pt x="1000302" y="359657"/>
                  <a:pt x="1000302" y="361597"/>
                </a:cubicBezTo>
                <a:cubicBezTo>
                  <a:pt x="1000302" y="361597"/>
                  <a:pt x="998362" y="363537"/>
                  <a:pt x="998362" y="363537"/>
                </a:cubicBezTo>
                <a:cubicBezTo>
                  <a:pt x="996421" y="361597"/>
                  <a:pt x="996421" y="361597"/>
                  <a:pt x="996421" y="361597"/>
                </a:cubicBezTo>
                <a:cubicBezTo>
                  <a:pt x="996421" y="361597"/>
                  <a:pt x="992541" y="361597"/>
                  <a:pt x="992541" y="361597"/>
                </a:cubicBezTo>
                <a:cubicBezTo>
                  <a:pt x="992541" y="359657"/>
                  <a:pt x="990600" y="357717"/>
                  <a:pt x="990600" y="357717"/>
                </a:cubicBezTo>
                <a:cubicBezTo>
                  <a:pt x="990600" y="357717"/>
                  <a:pt x="992541" y="357717"/>
                  <a:pt x="992541" y="355776"/>
                </a:cubicBezTo>
                <a:cubicBezTo>
                  <a:pt x="992541" y="355776"/>
                  <a:pt x="992541" y="353836"/>
                  <a:pt x="994481" y="353836"/>
                </a:cubicBezTo>
                <a:cubicBezTo>
                  <a:pt x="996421" y="351896"/>
                  <a:pt x="996421" y="353836"/>
                  <a:pt x="998362" y="353836"/>
                </a:cubicBezTo>
                <a:cubicBezTo>
                  <a:pt x="1000302" y="353836"/>
                  <a:pt x="1002242" y="351896"/>
                  <a:pt x="1002242" y="349956"/>
                </a:cubicBezTo>
                <a:cubicBezTo>
                  <a:pt x="1004183" y="348015"/>
                  <a:pt x="1004183" y="346075"/>
                  <a:pt x="1004183" y="346075"/>
                </a:cubicBezTo>
                <a:close/>
                <a:moveTo>
                  <a:pt x="713582" y="343429"/>
                </a:moveTo>
                <a:cubicBezTo>
                  <a:pt x="715567" y="343429"/>
                  <a:pt x="717551" y="345546"/>
                  <a:pt x="715567" y="347662"/>
                </a:cubicBezTo>
                <a:cubicBezTo>
                  <a:pt x="715567" y="347662"/>
                  <a:pt x="713582" y="349779"/>
                  <a:pt x="713582" y="349779"/>
                </a:cubicBezTo>
                <a:cubicBezTo>
                  <a:pt x="713582" y="349779"/>
                  <a:pt x="711598" y="354012"/>
                  <a:pt x="709613" y="351896"/>
                </a:cubicBezTo>
                <a:cubicBezTo>
                  <a:pt x="709613" y="349779"/>
                  <a:pt x="709613" y="345546"/>
                  <a:pt x="709613" y="345546"/>
                </a:cubicBezTo>
                <a:cubicBezTo>
                  <a:pt x="711598" y="343429"/>
                  <a:pt x="713582" y="341312"/>
                  <a:pt x="713582" y="343429"/>
                </a:cubicBezTo>
                <a:close/>
                <a:moveTo>
                  <a:pt x="755254" y="341312"/>
                </a:moveTo>
                <a:cubicBezTo>
                  <a:pt x="757238" y="343296"/>
                  <a:pt x="757238" y="345281"/>
                  <a:pt x="757238" y="345281"/>
                </a:cubicBezTo>
                <a:cubicBezTo>
                  <a:pt x="757238" y="347265"/>
                  <a:pt x="755254" y="349249"/>
                  <a:pt x="755254" y="349249"/>
                </a:cubicBezTo>
                <a:cubicBezTo>
                  <a:pt x="755254" y="349249"/>
                  <a:pt x="753269" y="347265"/>
                  <a:pt x="753269" y="347265"/>
                </a:cubicBezTo>
                <a:cubicBezTo>
                  <a:pt x="751285" y="345281"/>
                  <a:pt x="749300" y="345281"/>
                  <a:pt x="751285" y="343296"/>
                </a:cubicBezTo>
                <a:cubicBezTo>
                  <a:pt x="751285" y="341312"/>
                  <a:pt x="755254" y="341312"/>
                  <a:pt x="755254" y="341312"/>
                </a:cubicBezTo>
                <a:close/>
                <a:moveTo>
                  <a:pt x="723372" y="323850"/>
                </a:moveTo>
                <a:cubicBezTo>
                  <a:pt x="723372" y="323850"/>
                  <a:pt x="731838" y="323850"/>
                  <a:pt x="731838" y="327872"/>
                </a:cubicBezTo>
                <a:cubicBezTo>
                  <a:pt x="731838" y="333905"/>
                  <a:pt x="731838" y="337926"/>
                  <a:pt x="731838" y="337926"/>
                </a:cubicBezTo>
                <a:cubicBezTo>
                  <a:pt x="731838" y="337926"/>
                  <a:pt x="729722" y="345970"/>
                  <a:pt x="727605" y="345970"/>
                </a:cubicBezTo>
                <a:cubicBezTo>
                  <a:pt x="725488" y="347981"/>
                  <a:pt x="725488" y="349992"/>
                  <a:pt x="725488" y="349992"/>
                </a:cubicBezTo>
                <a:cubicBezTo>
                  <a:pt x="725488" y="349992"/>
                  <a:pt x="721255" y="354013"/>
                  <a:pt x="721255" y="349992"/>
                </a:cubicBezTo>
                <a:cubicBezTo>
                  <a:pt x="721255" y="345970"/>
                  <a:pt x="721255" y="339937"/>
                  <a:pt x="721255" y="335915"/>
                </a:cubicBezTo>
                <a:cubicBezTo>
                  <a:pt x="723372" y="333905"/>
                  <a:pt x="723372" y="329883"/>
                  <a:pt x="721255" y="331894"/>
                </a:cubicBezTo>
                <a:cubicBezTo>
                  <a:pt x="721255" y="331894"/>
                  <a:pt x="719138" y="331894"/>
                  <a:pt x="719138" y="327872"/>
                </a:cubicBezTo>
                <a:cubicBezTo>
                  <a:pt x="719138" y="323850"/>
                  <a:pt x="723372" y="323850"/>
                  <a:pt x="723372" y="323850"/>
                </a:cubicBezTo>
                <a:close/>
                <a:moveTo>
                  <a:pt x="966788" y="315912"/>
                </a:moveTo>
                <a:cubicBezTo>
                  <a:pt x="966788" y="315912"/>
                  <a:pt x="968376" y="315912"/>
                  <a:pt x="968376" y="317764"/>
                </a:cubicBezTo>
                <a:cubicBezTo>
                  <a:pt x="969963" y="319616"/>
                  <a:pt x="969963" y="319616"/>
                  <a:pt x="969963" y="321468"/>
                </a:cubicBezTo>
                <a:cubicBezTo>
                  <a:pt x="969963" y="323320"/>
                  <a:pt x="969963" y="327024"/>
                  <a:pt x="969963" y="327024"/>
                </a:cubicBezTo>
                <a:cubicBezTo>
                  <a:pt x="968376" y="327024"/>
                  <a:pt x="966788" y="323320"/>
                  <a:pt x="966788" y="323320"/>
                </a:cubicBezTo>
                <a:cubicBezTo>
                  <a:pt x="966788" y="321468"/>
                  <a:pt x="965200" y="319616"/>
                  <a:pt x="965200" y="317764"/>
                </a:cubicBezTo>
                <a:cubicBezTo>
                  <a:pt x="965200" y="317764"/>
                  <a:pt x="965200" y="315912"/>
                  <a:pt x="966788" y="315912"/>
                </a:cubicBezTo>
                <a:close/>
                <a:moveTo>
                  <a:pt x="929217" y="315118"/>
                </a:moveTo>
                <a:cubicBezTo>
                  <a:pt x="929217" y="315118"/>
                  <a:pt x="929217" y="312737"/>
                  <a:pt x="931334" y="315118"/>
                </a:cubicBezTo>
                <a:cubicBezTo>
                  <a:pt x="933450" y="315118"/>
                  <a:pt x="933450" y="315118"/>
                  <a:pt x="933450" y="315118"/>
                </a:cubicBezTo>
                <a:cubicBezTo>
                  <a:pt x="933450" y="317499"/>
                  <a:pt x="931334" y="317499"/>
                  <a:pt x="931334" y="317499"/>
                </a:cubicBezTo>
                <a:cubicBezTo>
                  <a:pt x="931334" y="317499"/>
                  <a:pt x="927100" y="317499"/>
                  <a:pt x="929217" y="315118"/>
                </a:cubicBezTo>
                <a:close/>
                <a:moveTo>
                  <a:pt x="916782" y="313373"/>
                </a:moveTo>
                <a:cubicBezTo>
                  <a:pt x="916782" y="311150"/>
                  <a:pt x="916782" y="311150"/>
                  <a:pt x="918965" y="313373"/>
                </a:cubicBezTo>
                <a:cubicBezTo>
                  <a:pt x="921147" y="313373"/>
                  <a:pt x="921147" y="315595"/>
                  <a:pt x="921147" y="315595"/>
                </a:cubicBezTo>
                <a:cubicBezTo>
                  <a:pt x="923330" y="317817"/>
                  <a:pt x="925513" y="320040"/>
                  <a:pt x="925513" y="320040"/>
                </a:cubicBezTo>
                <a:cubicBezTo>
                  <a:pt x="925513" y="320040"/>
                  <a:pt x="921147" y="317817"/>
                  <a:pt x="918965" y="317817"/>
                </a:cubicBezTo>
                <a:cubicBezTo>
                  <a:pt x="916782" y="320040"/>
                  <a:pt x="914599" y="322262"/>
                  <a:pt x="912416" y="320040"/>
                </a:cubicBezTo>
                <a:cubicBezTo>
                  <a:pt x="910233" y="317817"/>
                  <a:pt x="908050" y="317817"/>
                  <a:pt x="910233" y="315595"/>
                </a:cubicBezTo>
                <a:cubicBezTo>
                  <a:pt x="912416" y="315595"/>
                  <a:pt x="912416" y="317817"/>
                  <a:pt x="914599" y="315595"/>
                </a:cubicBezTo>
                <a:cubicBezTo>
                  <a:pt x="914599" y="315595"/>
                  <a:pt x="916782" y="315595"/>
                  <a:pt x="916782" y="313373"/>
                </a:cubicBezTo>
                <a:close/>
                <a:moveTo>
                  <a:pt x="954088" y="303610"/>
                </a:moveTo>
                <a:cubicBezTo>
                  <a:pt x="954088" y="301625"/>
                  <a:pt x="958057" y="303610"/>
                  <a:pt x="958057" y="303610"/>
                </a:cubicBezTo>
                <a:cubicBezTo>
                  <a:pt x="962026" y="303610"/>
                  <a:pt x="962026" y="307579"/>
                  <a:pt x="962026" y="307579"/>
                </a:cubicBezTo>
                <a:cubicBezTo>
                  <a:pt x="960042" y="309563"/>
                  <a:pt x="956073" y="309563"/>
                  <a:pt x="956073" y="307579"/>
                </a:cubicBezTo>
                <a:cubicBezTo>
                  <a:pt x="956073" y="305594"/>
                  <a:pt x="954088" y="307579"/>
                  <a:pt x="954088" y="303610"/>
                </a:cubicBezTo>
                <a:close/>
                <a:moveTo>
                  <a:pt x="741046" y="303212"/>
                </a:moveTo>
                <a:cubicBezTo>
                  <a:pt x="743269" y="303212"/>
                  <a:pt x="745492" y="305197"/>
                  <a:pt x="745492" y="309166"/>
                </a:cubicBezTo>
                <a:cubicBezTo>
                  <a:pt x="747714" y="311150"/>
                  <a:pt x="741046" y="311150"/>
                  <a:pt x="738824" y="307181"/>
                </a:cubicBezTo>
                <a:cubicBezTo>
                  <a:pt x="736601" y="303212"/>
                  <a:pt x="741046" y="303212"/>
                  <a:pt x="741046" y="303212"/>
                </a:cubicBezTo>
                <a:close/>
                <a:moveTo>
                  <a:pt x="878569" y="289322"/>
                </a:moveTo>
                <a:cubicBezTo>
                  <a:pt x="878569" y="289322"/>
                  <a:pt x="882651" y="287337"/>
                  <a:pt x="882651" y="289322"/>
                </a:cubicBezTo>
                <a:cubicBezTo>
                  <a:pt x="882651" y="293291"/>
                  <a:pt x="872446" y="295275"/>
                  <a:pt x="872446" y="295275"/>
                </a:cubicBezTo>
                <a:cubicBezTo>
                  <a:pt x="872446" y="295275"/>
                  <a:pt x="868363" y="289322"/>
                  <a:pt x="878569" y="289322"/>
                </a:cubicBezTo>
                <a:close/>
                <a:moveTo>
                  <a:pt x="841376" y="276225"/>
                </a:moveTo>
                <a:cubicBezTo>
                  <a:pt x="845345" y="278210"/>
                  <a:pt x="849314" y="278210"/>
                  <a:pt x="849314" y="280194"/>
                </a:cubicBezTo>
                <a:cubicBezTo>
                  <a:pt x="847329" y="282178"/>
                  <a:pt x="845345" y="282178"/>
                  <a:pt x="847329" y="284163"/>
                </a:cubicBezTo>
                <a:cubicBezTo>
                  <a:pt x="849314" y="284163"/>
                  <a:pt x="851298" y="284163"/>
                  <a:pt x="853282" y="286147"/>
                </a:cubicBezTo>
                <a:cubicBezTo>
                  <a:pt x="855267" y="290116"/>
                  <a:pt x="857251" y="292100"/>
                  <a:pt x="853282" y="292100"/>
                </a:cubicBezTo>
                <a:cubicBezTo>
                  <a:pt x="851298" y="292100"/>
                  <a:pt x="847329" y="292100"/>
                  <a:pt x="847329" y="294084"/>
                </a:cubicBezTo>
                <a:cubicBezTo>
                  <a:pt x="845345" y="294084"/>
                  <a:pt x="841376" y="298053"/>
                  <a:pt x="841376" y="298053"/>
                </a:cubicBezTo>
                <a:cubicBezTo>
                  <a:pt x="839392" y="300037"/>
                  <a:pt x="833438" y="298053"/>
                  <a:pt x="831454" y="298053"/>
                </a:cubicBezTo>
                <a:cubicBezTo>
                  <a:pt x="829470" y="298053"/>
                  <a:pt x="823516" y="296069"/>
                  <a:pt x="823516" y="296069"/>
                </a:cubicBezTo>
                <a:cubicBezTo>
                  <a:pt x="823516" y="296069"/>
                  <a:pt x="819548" y="296069"/>
                  <a:pt x="819548" y="292100"/>
                </a:cubicBezTo>
                <a:cubicBezTo>
                  <a:pt x="817563" y="288131"/>
                  <a:pt x="817563" y="286147"/>
                  <a:pt x="819548" y="284163"/>
                </a:cubicBezTo>
                <a:cubicBezTo>
                  <a:pt x="819548" y="282178"/>
                  <a:pt x="821532" y="280194"/>
                  <a:pt x="823516" y="280194"/>
                </a:cubicBezTo>
                <a:cubicBezTo>
                  <a:pt x="825501" y="280194"/>
                  <a:pt x="831454" y="278210"/>
                  <a:pt x="833438" y="278210"/>
                </a:cubicBezTo>
                <a:cubicBezTo>
                  <a:pt x="835423" y="276225"/>
                  <a:pt x="839392" y="276225"/>
                  <a:pt x="841376" y="276225"/>
                </a:cubicBezTo>
                <a:close/>
                <a:moveTo>
                  <a:pt x="865586" y="270272"/>
                </a:moveTo>
                <a:cubicBezTo>
                  <a:pt x="867570" y="268287"/>
                  <a:pt x="871539" y="270272"/>
                  <a:pt x="871539" y="272256"/>
                </a:cubicBezTo>
                <a:cubicBezTo>
                  <a:pt x="871539" y="276225"/>
                  <a:pt x="865586" y="276225"/>
                  <a:pt x="865586" y="272256"/>
                </a:cubicBezTo>
                <a:cubicBezTo>
                  <a:pt x="863601" y="270272"/>
                  <a:pt x="865586" y="270272"/>
                  <a:pt x="865586" y="270272"/>
                </a:cubicBezTo>
                <a:close/>
                <a:moveTo>
                  <a:pt x="886342" y="265112"/>
                </a:moveTo>
                <a:cubicBezTo>
                  <a:pt x="890329" y="265112"/>
                  <a:pt x="890329" y="265112"/>
                  <a:pt x="894317" y="265112"/>
                </a:cubicBezTo>
                <a:cubicBezTo>
                  <a:pt x="898304" y="267153"/>
                  <a:pt x="900297" y="265112"/>
                  <a:pt x="902291" y="265112"/>
                </a:cubicBezTo>
                <a:cubicBezTo>
                  <a:pt x="906278" y="265112"/>
                  <a:pt x="910265" y="265112"/>
                  <a:pt x="912259" y="265112"/>
                </a:cubicBezTo>
                <a:cubicBezTo>
                  <a:pt x="914253" y="267153"/>
                  <a:pt x="918240" y="269194"/>
                  <a:pt x="920233" y="269194"/>
                </a:cubicBezTo>
                <a:cubicBezTo>
                  <a:pt x="920233" y="271235"/>
                  <a:pt x="920233" y="273277"/>
                  <a:pt x="924221" y="273277"/>
                </a:cubicBezTo>
                <a:cubicBezTo>
                  <a:pt x="928208" y="273277"/>
                  <a:pt x="930201" y="273277"/>
                  <a:pt x="932195" y="273277"/>
                </a:cubicBezTo>
                <a:cubicBezTo>
                  <a:pt x="934189" y="273277"/>
                  <a:pt x="938176" y="275318"/>
                  <a:pt x="940169" y="277359"/>
                </a:cubicBezTo>
                <a:cubicBezTo>
                  <a:pt x="940169" y="279400"/>
                  <a:pt x="944157" y="287564"/>
                  <a:pt x="944157" y="289605"/>
                </a:cubicBezTo>
                <a:cubicBezTo>
                  <a:pt x="946150" y="291646"/>
                  <a:pt x="942163" y="293687"/>
                  <a:pt x="940169" y="293687"/>
                </a:cubicBezTo>
                <a:cubicBezTo>
                  <a:pt x="938176" y="293687"/>
                  <a:pt x="930201" y="289605"/>
                  <a:pt x="928208" y="287564"/>
                </a:cubicBezTo>
                <a:cubicBezTo>
                  <a:pt x="926214" y="285523"/>
                  <a:pt x="920233" y="283482"/>
                  <a:pt x="920233" y="281441"/>
                </a:cubicBezTo>
                <a:cubicBezTo>
                  <a:pt x="918240" y="281441"/>
                  <a:pt x="916246" y="279400"/>
                  <a:pt x="914253" y="281441"/>
                </a:cubicBezTo>
                <a:cubicBezTo>
                  <a:pt x="912259" y="285523"/>
                  <a:pt x="912259" y="285523"/>
                  <a:pt x="910265" y="285523"/>
                </a:cubicBezTo>
                <a:cubicBezTo>
                  <a:pt x="908272" y="285523"/>
                  <a:pt x="894317" y="283482"/>
                  <a:pt x="894317" y="283482"/>
                </a:cubicBezTo>
                <a:cubicBezTo>
                  <a:pt x="894317" y="283482"/>
                  <a:pt x="888336" y="281441"/>
                  <a:pt x="886342" y="283482"/>
                </a:cubicBezTo>
                <a:cubicBezTo>
                  <a:pt x="886342" y="283482"/>
                  <a:pt x="886342" y="285523"/>
                  <a:pt x="884349" y="285523"/>
                </a:cubicBezTo>
                <a:cubicBezTo>
                  <a:pt x="882355" y="283482"/>
                  <a:pt x="880361" y="279400"/>
                  <a:pt x="878368" y="279400"/>
                </a:cubicBezTo>
                <a:cubicBezTo>
                  <a:pt x="876374" y="277359"/>
                  <a:pt x="872387" y="277359"/>
                  <a:pt x="872387" y="279400"/>
                </a:cubicBezTo>
                <a:cubicBezTo>
                  <a:pt x="872387" y="281441"/>
                  <a:pt x="874380" y="285523"/>
                  <a:pt x="870393" y="285523"/>
                </a:cubicBezTo>
                <a:cubicBezTo>
                  <a:pt x="868400" y="285523"/>
                  <a:pt x="864412" y="283482"/>
                  <a:pt x="864412" y="283482"/>
                </a:cubicBezTo>
                <a:cubicBezTo>
                  <a:pt x="862419" y="281441"/>
                  <a:pt x="860425" y="283482"/>
                  <a:pt x="860425" y="283482"/>
                </a:cubicBezTo>
                <a:cubicBezTo>
                  <a:pt x="860425" y="281441"/>
                  <a:pt x="864412" y="277359"/>
                  <a:pt x="864412" y="277359"/>
                </a:cubicBezTo>
                <a:cubicBezTo>
                  <a:pt x="866406" y="275318"/>
                  <a:pt x="870393" y="275318"/>
                  <a:pt x="872387" y="273277"/>
                </a:cubicBezTo>
                <a:cubicBezTo>
                  <a:pt x="874380" y="273277"/>
                  <a:pt x="872387" y="273277"/>
                  <a:pt x="874380" y="271235"/>
                </a:cubicBezTo>
                <a:cubicBezTo>
                  <a:pt x="876374" y="269194"/>
                  <a:pt x="876374" y="269194"/>
                  <a:pt x="880361" y="267153"/>
                </a:cubicBezTo>
                <a:cubicBezTo>
                  <a:pt x="882355" y="265112"/>
                  <a:pt x="884349" y="265112"/>
                  <a:pt x="886342" y="265112"/>
                </a:cubicBezTo>
                <a:close/>
                <a:moveTo>
                  <a:pt x="340592" y="263524"/>
                </a:moveTo>
                <a:cubicBezTo>
                  <a:pt x="342468" y="263524"/>
                  <a:pt x="346220" y="263524"/>
                  <a:pt x="348097" y="263524"/>
                </a:cubicBezTo>
                <a:cubicBezTo>
                  <a:pt x="349973" y="265588"/>
                  <a:pt x="349973" y="265588"/>
                  <a:pt x="351849" y="265588"/>
                </a:cubicBezTo>
                <a:cubicBezTo>
                  <a:pt x="353725" y="267652"/>
                  <a:pt x="353725" y="265588"/>
                  <a:pt x="355601" y="267652"/>
                </a:cubicBezTo>
                <a:cubicBezTo>
                  <a:pt x="355601" y="269715"/>
                  <a:pt x="353725" y="271779"/>
                  <a:pt x="353725" y="273843"/>
                </a:cubicBezTo>
                <a:cubicBezTo>
                  <a:pt x="353725" y="273843"/>
                  <a:pt x="353725" y="277970"/>
                  <a:pt x="351849" y="280034"/>
                </a:cubicBezTo>
                <a:cubicBezTo>
                  <a:pt x="351849" y="280034"/>
                  <a:pt x="348097" y="284161"/>
                  <a:pt x="348097" y="284161"/>
                </a:cubicBezTo>
                <a:cubicBezTo>
                  <a:pt x="348097" y="284161"/>
                  <a:pt x="346220" y="284161"/>
                  <a:pt x="344344" y="282098"/>
                </a:cubicBezTo>
                <a:cubicBezTo>
                  <a:pt x="344344" y="282098"/>
                  <a:pt x="340592" y="282098"/>
                  <a:pt x="340592" y="282098"/>
                </a:cubicBezTo>
                <a:cubicBezTo>
                  <a:pt x="334963" y="282098"/>
                  <a:pt x="334963" y="280034"/>
                  <a:pt x="334963" y="275906"/>
                </a:cubicBezTo>
                <a:cubicBezTo>
                  <a:pt x="334963" y="273843"/>
                  <a:pt x="334963" y="271779"/>
                  <a:pt x="334963" y="271779"/>
                </a:cubicBezTo>
                <a:cubicBezTo>
                  <a:pt x="336839" y="269715"/>
                  <a:pt x="336839" y="269715"/>
                  <a:pt x="336839" y="267652"/>
                </a:cubicBezTo>
                <a:cubicBezTo>
                  <a:pt x="338716" y="265588"/>
                  <a:pt x="338716" y="265588"/>
                  <a:pt x="340592" y="263524"/>
                </a:cubicBezTo>
                <a:close/>
                <a:moveTo>
                  <a:pt x="132398" y="260349"/>
                </a:moveTo>
                <a:cubicBezTo>
                  <a:pt x="134303" y="260349"/>
                  <a:pt x="134303" y="262254"/>
                  <a:pt x="134303" y="262254"/>
                </a:cubicBezTo>
                <a:cubicBezTo>
                  <a:pt x="136208" y="262254"/>
                  <a:pt x="136208" y="266064"/>
                  <a:pt x="136208" y="266064"/>
                </a:cubicBezTo>
                <a:cubicBezTo>
                  <a:pt x="138113" y="269874"/>
                  <a:pt x="134303" y="269874"/>
                  <a:pt x="132398" y="267969"/>
                </a:cubicBezTo>
                <a:cubicBezTo>
                  <a:pt x="132398" y="266064"/>
                  <a:pt x="130493" y="266064"/>
                  <a:pt x="130493" y="264159"/>
                </a:cubicBezTo>
                <a:cubicBezTo>
                  <a:pt x="130493" y="262254"/>
                  <a:pt x="128588" y="262254"/>
                  <a:pt x="128588" y="262254"/>
                </a:cubicBezTo>
                <a:cubicBezTo>
                  <a:pt x="130493" y="260349"/>
                  <a:pt x="130493" y="260349"/>
                  <a:pt x="132398" y="260349"/>
                </a:cubicBezTo>
                <a:close/>
                <a:moveTo>
                  <a:pt x="122873" y="247649"/>
                </a:moveTo>
                <a:cubicBezTo>
                  <a:pt x="122873" y="247649"/>
                  <a:pt x="126683" y="249633"/>
                  <a:pt x="126683" y="251618"/>
                </a:cubicBezTo>
                <a:cubicBezTo>
                  <a:pt x="128588" y="251618"/>
                  <a:pt x="126683" y="253602"/>
                  <a:pt x="126683" y="253602"/>
                </a:cubicBezTo>
                <a:cubicBezTo>
                  <a:pt x="126683" y="255586"/>
                  <a:pt x="124778" y="253602"/>
                  <a:pt x="122873" y="253602"/>
                </a:cubicBezTo>
                <a:cubicBezTo>
                  <a:pt x="122873" y="251618"/>
                  <a:pt x="119063" y="251618"/>
                  <a:pt x="119063" y="251618"/>
                </a:cubicBezTo>
                <a:cubicBezTo>
                  <a:pt x="119063" y="251618"/>
                  <a:pt x="120968" y="247649"/>
                  <a:pt x="122873" y="247649"/>
                </a:cubicBezTo>
                <a:close/>
                <a:moveTo>
                  <a:pt x="746523" y="242887"/>
                </a:moveTo>
                <a:cubicBezTo>
                  <a:pt x="748507" y="242887"/>
                  <a:pt x="750492" y="245004"/>
                  <a:pt x="750492" y="245004"/>
                </a:cubicBezTo>
                <a:cubicBezTo>
                  <a:pt x="752476" y="247121"/>
                  <a:pt x="750492" y="249237"/>
                  <a:pt x="748507" y="247121"/>
                </a:cubicBezTo>
                <a:cubicBezTo>
                  <a:pt x="746523" y="247121"/>
                  <a:pt x="744538" y="245004"/>
                  <a:pt x="746523" y="242887"/>
                </a:cubicBezTo>
                <a:close/>
                <a:moveTo>
                  <a:pt x="942750" y="240030"/>
                </a:moveTo>
                <a:cubicBezTo>
                  <a:pt x="944791" y="238125"/>
                  <a:pt x="946832" y="240030"/>
                  <a:pt x="946832" y="240030"/>
                </a:cubicBezTo>
                <a:lnTo>
                  <a:pt x="946832" y="241935"/>
                </a:lnTo>
                <a:cubicBezTo>
                  <a:pt x="946832" y="241935"/>
                  <a:pt x="948873" y="243840"/>
                  <a:pt x="950914" y="243840"/>
                </a:cubicBezTo>
                <a:cubicBezTo>
                  <a:pt x="950914" y="245745"/>
                  <a:pt x="948873" y="247650"/>
                  <a:pt x="948873" y="247650"/>
                </a:cubicBezTo>
                <a:cubicBezTo>
                  <a:pt x="948873" y="247650"/>
                  <a:pt x="944791" y="247650"/>
                  <a:pt x="940709" y="243840"/>
                </a:cubicBezTo>
                <a:cubicBezTo>
                  <a:pt x="936626" y="241935"/>
                  <a:pt x="938667" y="240030"/>
                  <a:pt x="942750" y="240030"/>
                </a:cubicBezTo>
                <a:close/>
                <a:moveTo>
                  <a:pt x="755651" y="240030"/>
                </a:moveTo>
                <a:cubicBezTo>
                  <a:pt x="755651" y="238125"/>
                  <a:pt x="763271" y="240030"/>
                  <a:pt x="763271" y="243840"/>
                </a:cubicBezTo>
                <a:cubicBezTo>
                  <a:pt x="765176" y="247650"/>
                  <a:pt x="761366" y="245745"/>
                  <a:pt x="759461" y="243840"/>
                </a:cubicBezTo>
                <a:cubicBezTo>
                  <a:pt x="759461" y="241935"/>
                  <a:pt x="755651" y="240030"/>
                  <a:pt x="755651" y="240030"/>
                </a:cubicBezTo>
                <a:close/>
                <a:moveTo>
                  <a:pt x="743745" y="238125"/>
                </a:moveTo>
                <a:cubicBezTo>
                  <a:pt x="745730" y="238125"/>
                  <a:pt x="747714" y="238125"/>
                  <a:pt x="747714" y="238125"/>
                </a:cubicBezTo>
                <a:cubicBezTo>
                  <a:pt x="747714" y="238125"/>
                  <a:pt x="745730" y="239713"/>
                  <a:pt x="743745" y="239713"/>
                </a:cubicBezTo>
                <a:cubicBezTo>
                  <a:pt x="739776" y="239713"/>
                  <a:pt x="739776" y="238125"/>
                  <a:pt x="743745" y="238125"/>
                </a:cubicBezTo>
                <a:close/>
                <a:moveTo>
                  <a:pt x="769145" y="234950"/>
                </a:moveTo>
                <a:cubicBezTo>
                  <a:pt x="773114" y="237067"/>
                  <a:pt x="769145" y="241300"/>
                  <a:pt x="767161" y="237067"/>
                </a:cubicBezTo>
                <a:cubicBezTo>
                  <a:pt x="765176" y="234950"/>
                  <a:pt x="769145" y="234950"/>
                  <a:pt x="769145" y="234950"/>
                </a:cubicBezTo>
                <a:close/>
                <a:moveTo>
                  <a:pt x="926857" y="233362"/>
                </a:moveTo>
                <a:cubicBezTo>
                  <a:pt x="926857" y="233362"/>
                  <a:pt x="928933" y="233362"/>
                  <a:pt x="931009" y="235479"/>
                </a:cubicBezTo>
                <a:cubicBezTo>
                  <a:pt x="933085" y="235479"/>
                  <a:pt x="935161" y="235479"/>
                  <a:pt x="937237" y="233362"/>
                </a:cubicBezTo>
                <a:cubicBezTo>
                  <a:pt x="939313" y="233362"/>
                  <a:pt x="941389" y="237596"/>
                  <a:pt x="937237" y="241829"/>
                </a:cubicBezTo>
                <a:cubicBezTo>
                  <a:pt x="935161" y="246062"/>
                  <a:pt x="931009" y="243946"/>
                  <a:pt x="931009" y="241829"/>
                </a:cubicBezTo>
                <a:cubicBezTo>
                  <a:pt x="928933" y="239712"/>
                  <a:pt x="924781" y="239712"/>
                  <a:pt x="922705" y="239712"/>
                </a:cubicBezTo>
                <a:cubicBezTo>
                  <a:pt x="918553" y="239712"/>
                  <a:pt x="914401" y="235479"/>
                  <a:pt x="918553" y="235479"/>
                </a:cubicBezTo>
                <a:cubicBezTo>
                  <a:pt x="920629" y="233362"/>
                  <a:pt x="926857" y="233362"/>
                  <a:pt x="926857" y="233362"/>
                </a:cubicBezTo>
                <a:close/>
                <a:moveTo>
                  <a:pt x="1072622" y="230187"/>
                </a:moveTo>
                <a:cubicBezTo>
                  <a:pt x="1084264" y="230187"/>
                  <a:pt x="1084264" y="233363"/>
                  <a:pt x="1082324" y="234950"/>
                </a:cubicBezTo>
                <a:cubicBezTo>
                  <a:pt x="1082324" y="234950"/>
                  <a:pt x="1076503" y="234950"/>
                  <a:pt x="1074563" y="234950"/>
                </a:cubicBezTo>
                <a:cubicBezTo>
                  <a:pt x="1072622" y="234950"/>
                  <a:pt x="1068742" y="234950"/>
                  <a:pt x="1066801" y="233363"/>
                </a:cubicBezTo>
                <a:cubicBezTo>
                  <a:pt x="1066801" y="231775"/>
                  <a:pt x="1072622" y="230187"/>
                  <a:pt x="1072622" y="230187"/>
                </a:cubicBezTo>
                <a:close/>
                <a:moveTo>
                  <a:pt x="294085" y="229027"/>
                </a:moveTo>
                <a:cubicBezTo>
                  <a:pt x="296070" y="231042"/>
                  <a:pt x="296070" y="235072"/>
                  <a:pt x="296070" y="237087"/>
                </a:cubicBezTo>
                <a:cubicBezTo>
                  <a:pt x="298054" y="239102"/>
                  <a:pt x="300039" y="243131"/>
                  <a:pt x="300039" y="247161"/>
                </a:cubicBezTo>
                <a:cubicBezTo>
                  <a:pt x="300039" y="249176"/>
                  <a:pt x="300039" y="251191"/>
                  <a:pt x="302023" y="253206"/>
                </a:cubicBezTo>
                <a:cubicBezTo>
                  <a:pt x="304007" y="255221"/>
                  <a:pt x="304007" y="259250"/>
                  <a:pt x="307976" y="261265"/>
                </a:cubicBezTo>
                <a:cubicBezTo>
                  <a:pt x="309960" y="261265"/>
                  <a:pt x="315914" y="261265"/>
                  <a:pt x="315914" y="261265"/>
                </a:cubicBezTo>
                <a:cubicBezTo>
                  <a:pt x="315914" y="261265"/>
                  <a:pt x="315914" y="267310"/>
                  <a:pt x="315914" y="269325"/>
                </a:cubicBezTo>
                <a:cubicBezTo>
                  <a:pt x="315914" y="269325"/>
                  <a:pt x="315914" y="271340"/>
                  <a:pt x="317898" y="271340"/>
                </a:cubicBezTo>
                <a:cubicBezTo>
                  <a:pt x="317898" y="269325"/>
                  <a:pt x="317898" y="269325"/>
                  <a:pt x="319882" y="269325"/>
                </a:cubicBezTo>
                <a:cubicBezTo>
                  <a:pt x="323851" y="269325"/>
                  <a:pt x="323851" y="269325"/>
                  <a:pt x="323851" y="271340"/>
                </a:cubicBezTo>
                <a:cubicBezTo>
                  <a:pt x="323851" y="271340"/>
                  <a:pt x="321867" y="273355"/>
                  <a:pt x="319882" y="273355"/>
                </a:cubicBezTo>
                <a:cubicBezTo>
                  <a:pt x="319882" y="273355"/>
                  <a:pt x="319882" y="275369"/>
                  <a:pt x="319882" y="277384"/>
                </a:cubicBezTo>
                <a:cubicBezTo>
                  <a:pt x="317898" y="277384"/>
                  <a:pt x="317898" y="279399"/>
                  <a:pt x="315914" y="279399"/>
                </a:cubicBezTo>
                <a:cubicBezTo>
                  <a:pt x="313929" y="279399"/>
                  <a:pt x="309960" y="277384"/>
                  <a:pt x="307976" y="277384"/>
                </a:cubicBezTo>
                <a:cubicBezTo>
                  <a:pt x="305992" y="275369"/>
                  <a:pt x="304007" y="273355"/>
                  <a:pt x="302023" y="271340"/>
                </a:cubicBezTo>
                <a:cubicBezTo>
                  <a:pt x="300039" y="271340"/>
                  <a:pt x="294085" y="269325"/>
                  <a:pt x="294085" y="267310"/>
                </a:cubicBezTo>
                <a:cubicBezTo>
                  <a:pt x="292101" y="267310"/>
                  <a:pt x="292101" y="265295"/>
                  <a:pt x="292101" y="265295"/>
                </a:cubicBezTo>
                <a:cubicBezTo>
                  <a:pt x="292101" y="265295"/>
                  <a:pt x="290117" y="261265"/>
                  <a:pt x="288132" y="259250"/>
                </a:cubicBezTo>
                <a:cubicBezTo>
                  <a:pt x="288132" y="257236"/>
                  <a:pt x="286148" y="253206"/>
                  <a:pt x="286148" y="253206"/>
                </a:cubicBezTo>
                <a:cubicBezTo>
                  <a:pt x="284163" y="251191"/>
                  <a:pt x="282179" y="249176"/>
                  <a:pt x="280195" y="249176"/>
                </a:cubicBezTo>
                <a:cubicBezTo>
                  <a:pt x="276226" y="249176"/>
                  <a:pt x="272257" y="249176"/>
                  <a:pt x="270273" y="249176"/>
                </a:cubicBezTo>
                <a:cubicBezTo>
                  <a:pt x="270273" y="247161"/>
                  <a:pt x="268288" y="247161"/>
                  <a:pt x="270273" y="245146"/>
                </a:cubicBezTo>
                <a:cubicBezTo>
                  <a:pt x="272257" y="243131"/>
                  <a:pt x="272257" y="245146"/>
                  <a:pt x="274241" y="243131"/>
                </a:cubicBezTo>
                <a:cubicBezTo>
                  <a:pt x="276226" y="239102"/>
                  <a:pt x="278210" y="235072"/>
                  <a:pt x="280195" y="233057"/>
                </a:cubicBezTo>
                <a:cubicBezTo>
                  <a:pt x="282179" y="231042"/>
                  <a:pt x="282179" y="231042"/>
                  <a:pt x="282179" y="231042"/>
                </a:cubicBezTo>
                <a:cubicBezTo>
                  <a:pt x="284163" y="231042"/>
                  <a:pt x="284163" y="231042"/>
                  <a:pt x="286148" y="231042"/>
                </a:cubicBezTo>
                <a:cubicBezTo>
                  <a:pt x="288132" y="231042"/>
                  <a:pt x="290117" y="233057"/>
                  <a:pt x="290117" y="231042"/>
                </a:cubicBezTo>
                <a:cubicBezTo>
                  <a:pt x="292101" y="229027"/>
                  <a:pt x="294085" y="227012"/>
                  <a:pt x="294085" y="229027"/>
                </a:cubicBezTo>
                <a:close/>
                <a:moveTo>
                  <a:pt x="781399" y="228501"/>
                </a:moveTo>
                <a:cubicBezTo>
                  <a:pt x="783135" y="228501"/>
                  <a:pt x="784623" y="228997"/>
                  <a:pt x="784623" y="228997"/>
                </a:cubicBezTo>
                <a:cubicBezTo>
                  <a:pt x="784623" y="228997"/>
                  <a:pt x="790576" y="230981"/>
                  <a:pt x="792561" y="230981"/>
                </a:cubicBezTo>
                <a:cubicBezTo>
                  <a:pt x="792561" y="230981"/>
                  <a:pt x="806452" y="232965"/>
                  <a:pt x="806452" y="232965"/>
                </a:cubicBezTo>
                <a:cubicBezTo>
                  <a:pt x="806452" y="232965"/>
                  <a:pt x="826295" y="232965"/>
                  <a:pt x="826295" y="232965"/>
                </a:cubicBezTo>
                <a:cubicBezTo>
                  <a:pt x="826295" y="232965"/>
                  <a:pt x="830264" y="232965"/>
                  <a:pt x="830264" y="234950"/>
                </a:cubicBezTo>
                <a:cubicBezTo>
                  <a:pt x="830264" y="236934"/>
                  <a:pt x="826295" y="236934"/>
                  <a:pt x="826295" y="236934"/>
                </a:cubicBezTo>
                <a:cubicBezTo>
                  <a:pt x="826295" y="236934"/>
                  <a:pt x="826295" y="236934"/>
                  <a:pt x="822327" y="238918"/>
                </a:cubicBezTo>
                <a:cubicBezTo>
                  <a:pt x="822327" y="238918"/>
                  <a:pt x="818358" y="238918"/>
                  <a:pt x="816373" y="238918"/>
                </a:cubicBezTo>
                <a:cubicBezTo>
                  <a:pt x="814389" y="236934"/>
                  <a:pt x="810420" y="238918"/>
                  <a:pt x="808436" y="238918"/>
                </a:cubicBezTo>
                <a:cubicBezTo>
                  <a:pt x="808436" y="240903"/>
                  <a:pt x="804467" y="238918"/>
                  <a:pt x="802483" y="236934"/>
                </a:cubicBezTo>
                <a:cubicBezTo>
                  <a:pt x="800498" y="236934"/>
                  <a:pt x="796530" y="238918"/>
                  <a:pt x="796530" y="238918"/>
                </a:cubicBezTo>
                <a:cubicBezTo>
                  <a:pt x="796530" y="238918"/>
                  <a:pt x="794545" y="240903"/>
                  <a:pt x="792561" y="240903"/>
                </a:cubicBezTo>
                <a:cubicBezTo>
                  <a:pt x="790576" y="238918"/>
                  <a:pt x="786608" y="242887"/>
                  <a:pt x="786608" y="242887"/>
                </a:cubicBezTo>
                <a:cubicBezTo>
                  <a:pt x="786608" y="242887"/>
                  <a:pt x="780654" y="242887"/>
                  <a:pt x="776686" y="240903"/>
                </a:cubicBezTo>
                <a:cubicBezTo>
                  <a:pt x="774701" y="238918"/>
                  <a:pt x="776686" y="234950"/>
                  <a:pt x="776686" y="230981"/>
                </a:cubicBezTo>
                <a:cubicBezTo>
                  <a:pt x="777678" y="228997"/>
                  <a:pt x="779662" y="228501"/>
                  <a:pt x="781399" y="228501"/>
                </a:cubicBezTo>
                <a:close/>
                <a:moveTo>
                  <a:pt x="935039" y="225425"/>
                </a:moveTo>
                <a:lnTo>
                  <a:pt x="936626" y="225425"/>
                </a:lnTo>
                <a:cubicBezTo>
                  <a:pt x="936626" y="225425"/>
                  <a:pt x="936626" y="227013"/>
                  <a:pt x="935039" y="227013"/>
                </a:cubicBezTo>
                <a:cubicBezTo>
                  <a:pt x="933451" y="225425"/>
                  <a:pt x="935039" y="225425"/>
                  <a:pt x="935039" y="225425"/>
                </a:cubicBezTo>
                <a:close/>
                <a:moveTo>
                  <a:pt x="892970" y="225425"/>
                </a:moveTo>
                <a:cubicBezTo>
                  <a:pt x="892970" y="225425"/>
                  <a:pt x="895351" y="225425"/>
                  <a:pt x="895351" y="227807"/>
                </a:cubicBezTo>
                <a:cubicBezTo>
                  <a:pt x="895351" y="230188"/>
                  <a:pt x="890588" y="230188"/>
                  <a:pt x="890588" y="227807"/>
                </a:cubicBezTo>
                <a:cubicBezTo>
                  <a:pt x="890588" y="225425"/>
                  <a:pt x="892970" y="225425"/>
                  <a:pt x="892970" y="225425"/>
                </a:cubicBezTo>
                <a:close/>
                <a:moveTo>
                  <a:pt x="925513" y="223838"/>
                </a:moveTo>
                <a:cubicBezTo>
                  <a:pt x="925513" y="222250"/>
                  <a:pt x="928689" y="223838"/>
                  <a:pt x="928689" y="223838"/>
                </a:cubicBezTo>
                <a:cubicBezTo>
                  <a:pt x="928689" y="223838"/>
                  <a:pt x="930276" y="223838"/>
                  <a:pt x="928689" y="225426"/>
                </a:cubicBezTo>
                <a:cubicBezTo>
                  <a:pt x="928689" y="227013"/>
                  <a:pt x="925513" y="225426"/>
                  <a:pt x="925513" y="223838"/>
                </a:cubicBezTo>
                <a:close/>
                <a:moveTo>
                  <a:pt x="895351" y="221192"/>
                </a:moveTo>
                <a:cubicBezTo>
                  <a:pt x="895351" y="219075"/>
                  <a:pt x="896939" y="221192"/>
                  <a:pt x="896939" y="221192"/>
                </a:cubicBezTo>
                <a:cubicBezTo>
                  <a:pt x="896939" y="221192"/>
                  <a:pt x="898526" y="221192"/>
                  <a:pt x="898526" y="223309"/>
                </a:cubicBezTo>
                <a:cubicBezTo>
                  <a:pt x="898526" y="225425"/>
                  <a:pt x="895351" y="223309"/>
                  <a:pt x="895351" y="221192"/>
                </a:cubicBezTo>
                <a:close/>
                <a:moveTo>
                  <a:pt x="930673" y="219604"/>
                </a:moveTo>
                <a:cubicBezTo>
                  <a:pt x="930673" y="219604"/>
                  <a:pt x="934642" y="217487"/>
                  <a:pt x="936626" y="219604"/>
                </a:cubicBezTo>
                <a:cubicBezTo>
                  <a:pt x="936626" y="221721"/>
                  <a:pt x="932657" y="223837"/>
                  <a:pt x="930673" y="223837"/>
                </a:cubicBezTo>
                <a:cubicBezTo>
                  <a:pt x="928688" y="223837"/>
                  <a:pt x="930673" y="219604"/>
                  <a:pt x="930673" y="219604"/>
                </a:cubicBezTo>
                <a:close/>
                <a:moveTo>
                  <a:pt x="745116" y="217487"/>
                </a:moveTo>
                <a:cubicBezTo>
                  <a:pt x="745116" y="217487"/>
                  <a:pt x="751177" y="217487"/>
                  <a:pt x="755218" y="219604"/>
                </a:cubicBezTo>
                <a:cubicBezTo>
                  <a:pt x="757238" y="221721"/>
                  <a:pt x="757238" y="230187"/>
                  <a:pt x="755218" y="230187"/>
                </a:cubicBezTo>
                <a:cubicBezTo>
                  <a:pt x="755218" y="230187"/>
                  <a:pt x="751177" y="228071"/>
                  <a:pt x="751177" y="228071"/>
                </a:cubicBezTo>
                <a:cubicBezTo>
                  <a:pt x="749156" y="228071"/>
                  <a:pt x="747136" y="228071"/>
                  <a:pt x="745116" y="230187"/>
                </a:cubicBezTo>
                <a:cubicBezTo>
                  <a:pt x="745116" y="230187"/>
                  <a:pt x="741075" y="230187"/>
                  <a:pt x="739054" y="228071"/>
                </a:cubicBezTo>
                <a:cubicBezTo>
                  <a:pt x="737034" y="225954"/>
                  <a:pt x="735013" y="223837"/>
                  <a:pt x="735013" y="219604"/>
                </a:cubicBezTo>
                <a:cubicBezTo>
                  <a:pt x="735013" y="217487"/>
                  <a:pt x="745116" y="217487"/>
                  <a:pt x="745116" y="217487"/>
                </a:cubicBezTo>
                <a:close/>
                <a:moveTo>
                  <a:pt x="865302" y="216297"/>
                </a:moveTo>
                <a:cubicBezTo>
                  <a:pt x="867230" y="218281"/>
                  <a:pt x="869157" y="220265"/>
                  <a:pt x="869157" y="224234"/>
                </a:cubicBezTo>
                <a:cubicBezTo>
                  <a:pt x="869157" y="228203"/>
                  <a:pt x="873013" y="228203"/>
                  <a:pt x="873013" y="228203"/>
                </a:cubicBezTo>
                <a:cubicBezTo>
                  <a:pt x="874940" y="228203"/>
                  <a:pt x="882651" y="232172"/>
                  <a:pt x="878796" y="234156"/>
                </a:cubicBezTo>
                <a:cubicBezTo>
                  <a:pt x="874940" y="236141"/>
                  <a:pt x="869157" y="238125"/>
                  <a:pt x="867230" y="236141"/>
                </a:cubicBezTo>
                <a:cubicBezTo>
                  <a:pt x="867230" y="234156"/>
                  <a:pt x="863374" y="234156"/>
                  <a:pt x="861446" y="234156"/>
                </a:cubicBezTo>
                <a:cubicBezTo>
                  <a:pt x="857591" y="234156"/>
                  <a:pt x="855663" y="232172"/>
                  <a:pt x="857591" y="228203"/>
                </a:cubicBezTo>
                <a:cubicBezTo>
                  <a:pt x="857591" y="224234"/>
                  <a:pt x="859519" y="224234"/>
                  <a:pt x="861446" y="222250"/>
                </a:cubicBezTo>
                <a:cubicBezTo>
                  <a:pt x="861446" y="220265"/>
                  <a:pt x="859519" y="218281"/>
                  <a:pt x="859519" y="218281"/>
                </a:cubicBezTo>
                <a:cubicBezTo>
                  <a:pt x="859519" y="216297"/>
                  <a:pt x="861446" y="214312"/>
                  <a:pt x="865302" y="216297"/>
                </a:cubicBezTo>
                <a:close/>
                <a:moveTo>
                  <a:pt x="883445" y="215900"/>
                </a:moveTo>
                <a:cubicBezTo>
                  <a:pt x="883445" y="215900"/>
                  <a:pt x="885430" y="215900"/>
                  <a:pt x="887414" y="217488"/>
                </a:cubicBezTo>
                <a:cubicBezTo>
                  <a:pt x="887414" y="217488"/>
                  <a:pt x="883445" y="219075"/>
                  <a:pt x="881461" y="217488"/>
                </a:cubicBezTo>
                <a:cubicBezTo>
                  <a:pt x="879476" y="217488"/>
                  <a:pt x="883445" y="215900"/>
                  <a:pt x="883445" y="215900"/>
                </a:cubicBezTo>
                <a:close/>
                <a:moveTo>
                  <a:pt x="100807" y="214312"/>
                </a:moveTo>
                <a:cubicBezTo>
                  <a:pt x="104776" y="214312"/>
                  <a:pt x="104776" y="216266"/>
                  <a:pt x="104776" y="218220"/>
                </a:cubicBezTo>
                <a:cubicBezTo>
                  <a:pt x="104776" y="220174"/>
                  <a:pt x="104776" y="224081"/>
                  <a:pt x="106760" y="224081"/>
                </a:cubicBezTo>
                <a:cubicBezTo>
                  <a:pt x="106760" y="224081"/>
                  <a:pt x="108744" y="226035"/>
                  <a:pt x="108744" y="226035"/>
                </a:cubicBezTo>
                <a:cubicBezTo>
                  <a:pt x="110729" y="227989"/>
                  <a:pt x="110729" y="229943"/>
                  <a:pt x="110729" y="231897"/>
                </a:cubicBezTo>
                <a:cubicBezTo>
                  <a:pt x="110729" y="233851"/>
                  <a:pt x="112713" y="237758"/>
                  <a:pt x="108744" y="239712"/>
                </a:cubicBezTo>
                <a:cubicBezTo>
                  <a:pt x="108744" y="239712"/>
                  <a:pt x="104776" y="239712"/>
                  <a:pt x="104776" y="237758"/>
                </a:cubicBezTo>
                <a:cubicBezTo>
                  <a:pt x="104776" y="235805"/>
                  <a:pt x="104776" y="231897"/>
                  <a:pt x="104776" y="231897"/>
                </a:cubicBezTo>
                <a:cubicBezTo>
                  <a:pt x="104776" y="231897"/>
                  <a:pt x="100807" y="227989"/>
                  <a:pt x="98823" y="227989"/>
                </a:cubicBezTo>
                <a:cubicBezTo>
                  <a:pt x="98823" y="226035"/>
                  <a:pt x="96838" y="222128"/>
                  <a:pt x="96838" y="220174"/>
                </a:cubicBezTo>
                <a:cubicBezTo>
                  <a:pt x="96838" y="218220"/>
                  <a:pt x="98823" y="214312"/>
                  <a:pt x="100807" y="214312"/>
                </a:cubicBezTo>
                <a:close/>
                <a:moveTo>
                  <a:pt x="1071961" y="201612"/>
                </a:moveTo>
                <a:cubicBezTo>
                  <a:pt x="1073945" y="201612"/>
                  <a:pt x="1077914" y="201612"/>
                  <a:pt x="1077914" y="203597"/>
                </a:cubicBezTo>
                <a:cubicBezTo>
                  <a:pt x="1079898" y="205581"/>
                  <a:pt x="1079898" y="205581"/>
                  <a:pt x="1083867" y="205581"/>
                </a:cubicBezTo>
                <a:cubicBezTo>
                  <a:pt x="1085852" y="205581"/>
                  <a:pt x="1087836" y="205581"/>
                  <a:pt x="1087836" y="205581"/>
                </a:cubicBezTo>
                <a:cubicBezTo>
                  <a:pt x="1087836" y="205581"/>
                  <a:pt x="1089820" y="209550"/>
                  <a:pt x="1091805" y="213518"/>
                </a:cubicBezTo>
                <a:cubicBezTo>
                  <a:pt x="1093789" y="215503"/>
                  <a:pt x="1089820" y="215503"/>
                  <a:pt x="1087836" y="215503"/>
                </a:cubicBezTo>
                <a:cubicBezTo>
                  <a:pt x="1085852" y="215503"/>
                  <a:pt x="1085852" y="215503"/>
                  <a:pt x="1083867" y="217487"/>
                </a:cubicBezTo>
                <a:cubicBezTo>
                  <a:pt x="1081883" y="217487"/>
                  <a:pt x="1077914" y="211534"/>
                  <a:pt x="1077914" y="209550"/>
                </a:cubicBezTo>
                <a:cubicBezTo>
                  <a:pt x="1075929" y="207565"/>
                  <a:pt x="1071961" y="205581"/>
                  <a:pt x="1071961" y="205581"/>
                </a:cubicBezTo>
                <a:cubicBezTo>
                  <a:pt x="1071961" y="205581"/>
                  <a:pt x="1069976" y="203597"/>
                  <a:pt x="1071961" y="201612"/>
                </a:cubicBezTo>
                <a:close/>
                <a:moveTo>
                  <a:pt x="864395" y="201612"/>
                </a:moveTo>
                <a:cubicBezTo>
                  <a:pt x="864395" y="201612"/>
                  <a:pt x="868364" y="201612"/>
                  <a:pt x="868364" y="203994"/>
                </a:cubicBezTo>
                <a:cubicBezTo>
                  <a:pt x="866380" y="203994"/>
                  <a:pt x="864395" y="206375"/>
                  <a:pt x="862411" y="203994"/>
                </a:cubicBezTo>
                <a:cubicBezTo>
                  <a:pt x="860426" y="201612"/>
                  <a:pt x="864395" y="201612"/>
                  <a:pt x="864395" y="201612"/>
                </a:cubicBezTo>
                <a:close/>
                <a:moveTo>
                  <a:pt x="935038" y="200819"/>
                </a:moveTo>
                <a:cubicBezTo>
                  <a:pt x="935991" y="201295"/>
                  <a:pt x="936943" y="202247"/>
                  <a:pt x="936943" y="202247"/>
                </a:cubicBezTo>
                <a:cubicBezTo>
                  <a:pt x="936943" y="204152"/>
                  <a:pt x="938848" y="202247"/>
                  <a:pt x="938848" y="202247"/>
                </a:cubicBezTo>
                <a:cubicBezTo>
                  <a:pt x="938848" y="202247"/>
                  <a:pt x="940753" y="202247"/>
                  <a:pt x="942658" y="202247"/>
                </a:cubicBezTo>
                <a:cubicBezTo>
                  <a:pt x="942658" y="204152"/>
                  <a:pt x="946468" y="202247"/>
                  <a:pt x="946468" y="202247"/>
                </a:cubicBezTo>
                <a:cubicBezTo>
                  <a:pt x="946468" y="202247"/>
                  <a:pt x="946468" y="202247"/>
                  <a:pt x="948373" y="202247"/>
                </a:cubicBezTo>
                <a:cubicBezTo>
                  <a:pt x="950278" y="204152"/>
                  <a:pt x="950278" y="206057"/>
                  <a:pt x="952183" y="207962"/>
                </a:cubicBezTo>
                <a:cubicBezTo>
                  <a:pt x="954088" y="207962"/>
                  <a:pt x="954088" y="213677"/>
                  <a:pt x="954088" y="213677"/>
                </a:cubicBezTo>
                <a:cubicBezTo>
                  <a:pt x="954088" y="213677"/>
                  <a:pt x="954088" y="227012"/>
                  <a:pt x="952183" y="227012"/>
                </a:cubicBezTo>
                <a:cubicBezTo>
                  <a:pt x="950278" y="227012"/>
                  <a:pt x="948373" y="223202"/>
                  <a:pt x="948373" y="223202"/>
                </a:cubicBezTo>
                <a:cubicBezTo>
                  <a:pt x="948373" y="223202"/>
                  <a:pt x="946468" y="215582"/>
                  <a:pt x="946468" y="213677"/>
                </a:cubicBezTo>
                <a:cubicBezTo>
                  <a:pt x="946468" y="211772"/>
                  <a:pt x="942658" y="209867"/>
                  <a:pt x="940753" y="209867"/>
                </a:cubicBezTo>
                <a:cubicBezTo>
                  <a:pt x="938848" y="209867"/>
                  <a:pt x="940753" y="209867"/>
                  <a:pt x="940753" y="207962"/>
                </a:cubicBezTo>
                <a:cubicBezTo>
                  <a:pt x="940753" y="207962"/>
                  <a:pt x="936943" y="207962"/>
                  <a:pt x="936943" y="207962"/>
                </a:cubicBezTo>
                <a:cubicBezTo>
                  <a:pt x="936943" y="207962"/>
                  <a:pt x="935038" y="207962"/>
                  <a:pt x="933133" y="209867"/>
                </a:cubicBezTo>
                <a:cubicBezTo>
                  <a:pt x="933133" y="211772"/>
                  <a:pt x="929323" y="207962"/>
                  <a:pt x="929323" y="207962"/>
                </a:cubicBezTo>
                <a:cubicBezTo>
                  <a:pt x="929323" y="207962"/>
                  <a:pt x="927418" y="206057"/>
                  <a:pt x="927418" y="206057"/>
                </a:cubicBezTo>
                <a:cubicBezTo>
                  <a:pt x="925513" y="204152"/>
                  <a:pt x="931228" y="204152"/>
                  <a:pt x="931228" y="204152"/>
                </a:cubicBezTo>
                <a:cubicBezTo>
                  <a:pt x="931228" y="204152"/>
                  <a:pt x="931228" y="204152"/>
                  <a:pt x="933133" y="202247"/>
                </a:cubicBezTo>
                <a:cubicBezTo>
                  <a:pt x="933133" y="200342"/>
                  <a:pt x="934086" y="200342"/>
                  <a:pt x="935038" y="200819"/>
                </a:cubicBezTo>
                <a:close/>
                <a:moveTo>
                  <a:pt x="916624" y="200025"/>
                </a:moveTo>
                <a:cubicBezTo>
                  <a:pt x="916624" y="200025"/>
                  <a:pt x="918846" y="200025"/>
                  <a:pt x="921069" y="200025"/>
                </a:cubicBezTo>
                <a:cubicBezTo>
                  <a:pt x="925514" y="200025"/>
                  <a:pt x="925514" y="200025"/>
                  <a:pt x="925514" y="201930"/>
                </a:cubicBezTo>
                <a:cubicBezTo>
                  <a:pt x="925514" y="203835"/>
                  <a:pt x="923292" y="205740"/>
                  <a:pt x="923292" y="207645"/>
                </a:cubicBezTo>
                <a:cubicBezTo>
                  <a:pt x="921069" y="207645"/>
                  <a:pt x="916624" y="209550"/>
                  <a:pt x="916624" y="205740"/>
                </a:cubicBezTo>
                <a:cubicBezTo>
                  <a:pt x="914401" y="203835"/>
                  <a:pt x="916624" y="201930"/>
                  <a:pt x="916624" y="201930"/>
                </a:cubicBezTo>
                <a:close/>
                <a:moveTo>
                  <a:pt x="1001912" y="191993"/>
                </a:moveTo>
                <a:cubicBezTo>
                  <a:pt x="1004392" y="191993"/>
                  <a:pt x="1006873" y="192491"/>
                  <a:pt x="1006873" y="194481"/>
                </a:cubicBezTo>
                <a:cubicBezTo>
                  <a:pt x="1008857" y="198461"/>
                  <a:pt x="1012826" y="198461"/>
                  <a:pt x="1012826" y="198461"/>
                </a:cubicBezTo>
                <a:cubicBezTo>
                  <a:pt x="1012826" y="198461"/>
                  <a:pt x="1014810" y="202442"/>
                  <a:pt x="1018779" y="202442"/>
                </a:cubicBezTo>
                <a:cubicBezTo>
                  <a:pt x="1020763" y="202442"/>
                  <a:pt x="1022748" y="202442"/>
                  <a:pt x="1024732" y="200452"/>
                </a:cubicBezTo>
                <a:cubicBezTo>
                  <a:pt x="1026716" y="198461"/>
                  <a:pt x="1034654" y="202442"/>
                  <a:pt x="1034654" y="202442"/>
                </a:cubicBezTo>
                <a:cubicBezTo>
                  <a:pt x="1034654" y="202442"/>
                  <a:pt x="1036638" y="206423"/>
                  <a:pt x="1034654" y="208413"/>
                </a:cubicBezTo>
                <a:cubicBezTo>
                  <a:pt x="1032669" y="210403"/>
                  <a:pt x="1030685" y="210403"/>
                  <a:pt x="1034654" y="212394"/>
                </a:cubicBezTo>
                <a:cubicBezTo>
                  <a:pt x="1036638" y="214384"/>
                  <a:pt x="1038623" y="220355"/>
                  <a:pt x="1038623" y="222345"/>
                </a:cubicBezTo>
                <a:cubicBezTo>
                  <a:pt x="1038623" y="226326"/>
                  <a:pt x="1036638" y="228316"/>
                  <a:pt x="1036638" y="228316"/>
                </a:cubicBezTo>
                <a:cubicBezTo>
                  <a:pt x="1036638" y="228316"/>
                  <a:pt x="1034654" y="230306"/>
                  <a:pt x="1034654" y="234287"/>
                </a:cubicBezTo>
                <a:cubicBezTo>
                  <a:pt x="1034654" y="238267"/>
                  <a:pt x="1036638" y="242248"/>
                  <a:pt x="1036638" y="246229"/>
                </a:cubicBezTo>
                <a:cubicBezTo>
                  <a:pt x="1036638" y="250209"/>
                  <a:pt x="1036638" y="250209"/>
                  <a:pt x="1036638" y="250209"/>
                </a:cubicBezTo>
                <a:cubicBezTo>
                  <a:pt x="1036638" y="250209"/>
                  <a:pt x="1038623" y="254190"/>
                  <a:pt x="1038623" y="256180"/>
                </a:cubicBezTo>
                <a:cubicBezTo>
                  <a:pt x="1038623" y="260161"/>
                  <a:pt x="1042591" y="266132"/>
                  <a:pt x="1042591" y="266132"/>
                </a:cubicBezTo>
                <a:cubicBezTo>
                  <a:pt x="1042591" y="266132"/>
                  <a:pt x="1044576" y="262151"/>
                  <a:pt x="1044576" y="260161"/>
                </a:cubicBezTo>
                <a:cubicBezTo>
                  <a:pt x="1046560" y="256180"/>
                  <a:pt x="1046560" y="252200"/>
                  <a:pt x="1048544" y="256180"/>
                </a:cubicBezTo>
                <a:cubicBezTo>
                  <a:pt x="1050529" y="260161"/>
                  <a:pt x="1048544" y="264141"/>
                  <a:pt x="1048544" y="264141"/>
                </a:cubicBezTo>
                <a:cubicBezTo>
                  <a:pt x="1048544" y="264141"/>
                  <a:pt x="1048544" y="268122"/>
                  <a:pt x="1048544" y="270112"/>
                </a:cubicBezTo>
                <a:cubicBezTo>
                  <a:pt x="1050529" y="272102"/>
                  <a:pt x="1052513" y="272102"/>
                  <a:pt x="1052513" y="276083"/>
                </a:cubicBezTo>
                <a:cubicBezTo>
                  <a:pt x="1052513" y="278073"/>
                  <a:pt x="1052513" y="278073"/>
                  <a:pt x="1054498" y="280064"/>
                </a:cubicBezTo>
                <a:cubicBezTo>
                  <a:pt x="1056482" y="282054"/>
                  <a:pt x="1060451" y="286035"/>
                  <a:pt x="1064419" y="284044"/>
                </a:cubicBezTo>
                <a:cubicBezTo>
                  <a:pt x="1068388" y="280064"/>
                  <a:pt x="1072357" y="278073"/>
                  <a:pt x="1072357" y="278073"/>
                </a:cubicBezTo>
                <a:cubicBezTo>
                  <a:pt x="1072357" y="278073"/>
                  <a:pt x="1076326" y="276083"/>
                  <a:pt x="1076326" y="274093"/>
                </a:cubicBezTo>
                <a:cubicBezTo>
                  <a:pt x="1078310" y="270112"/>
                  <a:pt x="1080294" y="266132"/>
                  <a:pt x="1082279" y="264141"/>
                </a:cubicBezTo>
                <a:cubicBezTo>
                  <a:pt x="1084263" y="264141"/>
                  <a:pt x="1090216" y="262151"/>
                  <a:pt x="1090216" y="260161"/>
                </a:cubicBezTo>
                <a:cubicBezTo>
                  <a:pt x="1090216" y="256180"/>
                  <a:pt x="1094185" y="250209"/>
                  <a:pt x="1098154" y="248219"/>
                </a:cubicBezTo>
                <a:cubicBezTo>
                  <a:pt x="1102123" y="248219"/>
                  <a:pt x="1106091" y="248219"/>
                  <a:pt x="1108076" y="246229"/>
                </a:cubicBezTo>
                <a:cubicBezTo>
                  <a:pt x="1110060" y="244238"/>
                  <a:pt x="1114029" y="240258"/>
                  <a:pt x="1114029" y="240258"/>
                </a:cubicBezTo>
                <a:cubicBezTo>
                  <a:pt x="1114029" y="240258"/>
                  <a:pt x="1116013" y="232297"/>
                  <a:pt x="1119982" y="230306"/>
                </a:cubicBezTo>
                <a:cubicBezTo>
                  <a:pt x="1123951" y="230306"/>
                  <a:pt x="1129904" y="228316"/>
                  <a:pt x="1129904" y="228316"/>
                </a:cubicBezTo>
                <a:cubicBezTo>
                  <a:pt x="1129904" y="228316"/>
                  <a:pt x="1137841" y="228316"/>
                  <a:pt x="1139826" y="232297"/>
                </a:cubicBezTo>
                <a:cubicBezTo>
                  <a:pt x="1143794" y="234287"/>
                  <a:pt x="1153716" y="234287"/>
                  <a:pt x="1153716" y="236277"/>
                </a:cubicBezTo>
                <a:cubicBezTo>
                  <a:pt x="1155701" y="238267"/>
                  <a:pt x="1157685" y="238267"/>
                  <a:pt x="1159669" y="238267"/>
                </a:cubicBezTo>
                <a:cubicBezTo>
                  <a:pt x="1161654" y="238267"/>
                  <a:pt x="1165623" y="242248"/>
                  <a:pt x="1165623" y="244238"/>
                </a:cubicBezTo>
                <a:cubicBezTo>
                  <a:pt x="1165623" y="246229"/>
                  <a:pt x="1167607" y="248219"/>
                  <a:pt x="1173560" y="248219"/>
                </a:cubicBezTo>
                <a:cubicBezTo>
                  <a:pt x="1177529" y="250209"/>
                  <a:pt x="1183482" y="252200"/>
                  <a:pt x="1183482" y="252200"/>
                </a:cubicBezTo>
                <a:cubicBezTo>
                  <a:pt x="1185466" y="252200"/>
                  <a:pt x="1187451" y="252200"/>
                  <a:pt x="1189435" y="252200"/>
                </a:cubicBezTo>
                <a:cubicBezTo>
                  <a:pt x="1191419" y="252200"/>
                  <a:pt x="1195388" y="254190"/>
                  <a:pt x="1197373" y="258170"/>
                </a:cubicBezTo>
                <a:cubicBezTo>
                  <a:pt x="1197373" y="260161"/>
                  <a:pt x="1199357" y="266132"/>
                  <a:pt x="1203326" y="262151"/>
                </a:cubicBezTo>
                <a:cubicBezTo>
                  <a:pt x="1205310" y="262151"/>
                  <a:pt x="1207294" y="260161"/>
                  <a:pt x="1209279" y="260161"/>
                </a:cubicBezTo>
                <a:cubicBezTo>
                  <a:pt x="1211263" y="274093"/>
                  <a:pt x="1211263" y="274093"/>
                  <a:pt x="1211263" y="274093"/>
                </a:cubicBezTo>
                <a:cubicBezTo>
                  <a:pt x="1211263" y="295986"/>
                  <a:pt x="1211263" y="295986"/>
                  <a:pt x="1211263" y="295986"/>
                </a:cubicBezTo>
                <a:cubicBezTo>
                  <a:pt x="1211263" y="349724"/>
                  <a:pt x="1211263" y="349724"/>
                  <a:pt x="1211263" y="349724"/>
                </a:cubicBezTo>
                <a:cubicBezTo>
                  <a:pt x="1209279" y="405452"/>
                  <a:pt x="1209279" y="405452"/>
                  <a:pt x="1209279" y="405452"/>
                </a:cubicBezTo>
                <a:cubicBezTo>
                  <a:pt x="1209279" y="405452"/>
                  <a:pt x="1205310" y="451229"/>
                  <a:pt x="1203326" y="455210"/>
                </a:cubicBezTo>
                <a:cubicBezTo>
                  <a:pt x="1203326" y="455210"/>
                  <a:pt x="1203326" y="457200"/>
                  <a:pt x="1203326" y="457200"/>
                </a:cubicBezTo>
                <a:cubicBezTo>
                  <a:pt x="1203326" y="457200"/>
                  <a:pt x="1201341" y="455210"/>
                  <a:pt x="1201341" y="455210"/>
                </a:cubicBezTo>
                <a:cubicBezTo>
                  <a:pt x="1189435" y="447249"/>
                  <a:pt x="1189435" y="447249"/>
                  <a:pt x="1189435" y="447249"/>
                </a:cubicBezTo>
                <a:cubicBezTo>
                  <a:pt x="1189435" y="447249"/>
                  <a:pt x="1187451" y="445258"/>
                  <a:pt x="1185466" y="441278"/>
                </a:cubicBezTo>
                <a:cubicBezTo>
                  <a:pt x="1183482" y="439288"/>
                  <a:pt x="1181498" y="435307"/>
                  <a:pt x="1179513" y="435307"/>
                </a:cubicBezTo>
                <a:cubicBezTo>
                  <a:pt x="1175544" y="435307"/>
                  <a:pt x="1173560" y="433317"/>
                  <a:pt x="1173560" y="433317"/>
                </a:cubicBezTo>
                <a:cubicBezTo>
                  <a:pt x="1167607" y="433317"/>
                  <a:pt x="1167607" y="433317"/>
                  <a:pt x="1167607" y="433317"/>
                </a:cubicBezTo>
                <a:cubicBezTo>
                  <a:pt x="1165623" y="433317"/>
                  <a:pt x="1165623" y="433317"/>
                  <a:pt x="1165623" y="433317"/>
                </a:cubicBezTo>
                <a:cubicBezTo>
                  <a:pt x="1165623" y="433317"/>
                  <a:pt x="1155701" y="435307"/>
                  <a:pt x="1153716" y="433317"/>
                </a:cubicBezTo>
                <a:cubicBezTo>
                  <a:pt x="1153716" y="429336"/>
                  <a:pt x="1151732" y="429336"/>
                  <a:pt x="1149748" y="429336"/>
                </a:cubicBezTo>
                <a:cubicBezTo>
                  <a:pt x="1149748" y="431326"/>
                  <a:pt x="1149748" y="431326"/>
                  <a:pt x="1151732" y="435307"/>
                </a:cubicBezTo>
                <a:cubicBezTo>
                  <a:pt x="1153716" y="437297"/>
                  <a:pt x="1155701" y="441278"/>
                  <a:pt x="1153716" y="443268"/>
                </a:cubicBezTo>
                <a:cubicBezTo>
                  <a:pt x="1151732" y="443268"/>
                  <a:pt x="1147763" y="443268"/>
                  <a:pt x="1147763" y="443268"/>
                </a:cubicBezTo>
                <a:cubicBezTo>
                  <a:pt x="1147763" y="443268"/>
                  <a:pt x="1145779" y="441278"/>
                  <a:pt x="1143794" y="441278"/>
                </a:cubicBezTo>
                <a:cubicBezTo>
                  <a:pt x="1141810" y="443268"/>
                  <a:pt x="1139826" y="441278"/>
                  <a:pt x="1139826" y="441278"/>
                </a:cubicBezTo>
                <a:cubicBezTo>
                  <a:pt x="1139826" y="441278"/>
                  <a:pt x="1137841" y="441278"/>
                  <a:pt x="1135857" y="443268"/>
                </a:cubicBezTo>
                <a:cubicBezTo>
                  <a:pt x="1133873" y="443268"/>
                  <a:pt x="1125935" y="445258"/>
                  <a:pt x="1125935" y="443268"/>
                </a:cubicBezTo>
                <a:cubicBezTo>
                  <a:pt x="1123951" y="441278"/>
                  <a:pt x="1119982" y="445258"/>
                  <a:pt x="1119982" y="443268"/>
                </a:cubicBezTo>
                <a:cubicBezTo>
                  <a:pt x="1121966" y="439288"/>
                  <a:pt x="1123951" y="435307"/>
                  <a:pt x="1123951" y="435307"/>
                </a:cubicBezTo>
                <a:cubicBezTo>
                  <a:pt x="1123951" y="435307"/>
                  <a:pt x="1125935" y="429336"/>
                  <a:pt x="1125935" y="427346"/>
                </a:cubicBezTo>
                <a:cubicBezTo>
                  <a:pt x="1125935" y="425355"/>
                  <a:pt x="1127919" y="419385"/>
                  <a:pt x="1131888" y="417394"/>
                </a:cubicBezTo>
                <a:cubicBezTo>
                  <a:pt x="1133873" y="417394"/>
                  <a:pt x="1137841" y="411423"/>
                  <a:pt x="1139826" y="409433"/>
                </a:cubicBezTo>
                <a:cubicBezTo>
                  <a:pt x="1143794" y="409433"/>
                  <a:pt x="1147763" y="411423"/>
                  <a:pt x="1147763" y="411423"/>
                </a:cubicBezTo>
                <a:cubicBezTo>
                  <a:pt x="1147763" y="411423"/>
                  <a:pt x="1155701" y="413414"/>
                  <a:pt x="1155701" y="413414"/>
                </a:cubicBezTo>
                <a:cubicBezTo>
                  <a:pt x="1155701" y="411423"/>
                  <a:pt x="1153716" y="409433"/>
                  <a:pt x="1151732" y="407443"/>
                </a:cubicBezTo>
                <a:cubicBezTo>
                  <a:pt x="1149748" y="403462"/>
                  <a:pt x="1143794" y="399482"/>
                  <a:pt x="1147763" y="395501"/>
                </a:cubicBezTo>
                <a:cubicBezTo>
                  <a:pt x="1149748" y="391520"/>
                  <a:pt x="1149748" y="387540"/>
                  <a:pt x="1147763" y="385549"/>
                </a:cubicBezTo>
                <a:cubicBezTo>
                  <a:pt x="1145779" y="381569"/>
                  <a:pt x="1139826" y="381569"/>
                  <a:pt x="1139826" y="375598"/>
                </a:cubicBezTo>
                <a:cubicBezTo>
                  <a:pt x="1139826" y="369627"/>
                  <a:pt x="1139826" y="367637"/>
                  <a:pt x="1137841" y="363656"/>
                </a:cubicBezTo>
                <a:cubicBezTo>
                  <a:pt x="1137841" y="361666"/>
                  <a:pt x="1135857" y="353705"/>
                  <a:pt x="1133873" y="351714"/>
                </a:cubicBezTo>
                <a:cubicBezTo>
                  <a:pt x="1129904" y="349724"/>
                  <a:pt x="1121966" y="345744"/>
                  <a:pt x="1121966" y="341763"/>
                </a:cubicBezTo>
                <a:cubicBezTo>
                  <a:pt x="1119982" y="339773"/>
                  <a:pt x="1116013" y="337782"/>
                  <a:pt x="1114029" y="337782"/>
                </a:cubicBezTo>
                <a:cubicBezTo>
                  <a:pt x="1110060" y="337782"/>
                  <a:pt x="1100138" y="333802"/>
                  <a:pt x="1098154" y="331811"/>
                </a:cubicBezTo>
                <a:cubicBezTo>
                  <a:pt x="1096169" y="329821"/>
                  <a:pt x="1090216" y="325841"/>
                  <a:pt x="1090216" y="325841"/>
                </a:cubicBezTo>
                <a:cubicBezTo>
                  <a:pt x="1090216" y="325841"/>
                  <a:pt x="1084263" y="321860"/>
                  <a:pt x="1080294" y="321860"/>
                </a:cubicBezTo>
                <a:cubicBezTo>
                  <a:pt x="1076326" y="319870"/>
                  <a:pt x="1074341" y="319870"/>
                  <a:pt x="1068388" y="317879"/>
                </a:cubicBezTo>
                <a:cubicBezTo>
                  <a:pt x="1062435" y="315889"/>
                  <a:pt x="1056482" y="313899"/>
                  <a:pt x="1052513" y="311908"/>
                </a:cubicBezTo>
                <a:cubicBezTo>
                  <a:pt x="1050529" y="311908"/>
                  <a:pt x="1040607" y="307928"/>
                  <a:pt x="1044576" y="305938"/>
                </a:cubicBezTo>
                <a:cubicBezTo>
                  <a:pt x="1048544" y="305938"/>
                  <a:pt x="1050529" y="299967"/>
                  <a:pt x="1046560" y="301957"/>
                </a:cubicBezTo>
                <a:cubicBezTo>
                  <a:pt x="1044576" y="301957"/>
                  <a:pt x="1042591" y="303947"/>
                  <a:pt x="1036638" y="301957"/>
                </a:cubicBezTo>
                <a:cubicBezTo>
                  <a:pt x="1032669" y="299967"/>
                  <a:pt x="1026716" y="297976"/>
                  <a:pt x="1024732" y="295986"/>
                </a:cubicBezTo>
                <a:cubicBezTo>
                  <a:pt x="1022748" y="292005"/>
                  <a:pt x="1018779" y="286035"/>
                  <a:pt x="1016794" y="288025"/>
                </a:cubicBezTo>
                <a:cubicBezTo>
                  <a:pt x="1014810" y="290015"/>
                  <a:pt x="1014810" y="292005"/>
                  <a:pt x="1014810" y="295986"/>
                </a:cubicBezTo>
                <a:cubicBezTo>
                  <a:pt x="1014810" y="299967"/>
                  <a:pt x="1012826" y="301957"/>
                  <a:pt x="1010841" y="303947"/>
                </a:cubicBezTo>
                <a:cubicBezTo>
                  <a:pt x="1006873" y="305938"/>
                  <a:pt x="1000919" y="309918"/>
                  <a:pt x="998935" y="307928"/>
                </a:cubicBezTo>
                <a:cubicBezTo>
                  <a:pt x="994966" y="303947"/>
                  <a:pt x="994966" y="299967"/>
                  <a:pt x="994966" y="297976"/>
                </a:cubicBezTo>
                <a:cubicBezTo>
                  <a:pt x="996951" y="295986"/>
                  <a:pt x="996951" y="292005"/>
                  <a:pt x="996951" y="292005"/>
                </a:cubicBezTo>
                <a:cubicBezTo>
                  <a:pt x="998935" y="292005"/>
                  <a:pt x="1000919" y="290015"/>
                  <a:pt x="998935" y="288025"/>
                </a:cubicBezTo>
                <a:cubicBezTo>
                  <a:pt x="996951" y="286035"/>
                  <a:pt x="994966" y="284044"/>
                  <a:pt x="996951" y="282054"/>
                </a:cubicBezTo>
                <a:cubicBezTo>
                  <a:pt x="996951" y="278073"/>
                  <a:pt x="994966" y="276083"/>
                  <a:pt x="990998" y="276083"/>
                </a:cubicBezTo>
                <a:cubicBezTo>
                  <a:pt x="989013" y="274093"/>
                  <a:pt x="985044" y="274093"/>
                  <a:pt x="985044" y="274093"/>
                </a:cubicBezTo>
                <a:cubicBezTo>
                  <a:pt x="985044" y="274093"/>
                  <a:pt x="975123" y="276083"/>
                  <a:pt x="979091" y="272102"/>
                </a:cubicBezTo>
                <a:cubicBezTo>
                  <a:pt x="981076" y="268122"/>
                  <a:pt x="983060" y="266132"/>
                  <a:pt x="987029" y="266132"/>
                </a:cubicBezTo>
                <a:cubicBezTo>
                  <a:pt x="989013" y="268122"/>
                  <a:pt x="996951" y="266132"/>
                  <a:pt x="1000919" y="264141"/>
                </a:cubicBezTo>
                <a:cubicBezTo>
                  <a:pt x="1004888" y="262151"/>
                  <a:pt x="1010841" y="260161"/>
                  <a:pt x="1010841" y="260161"/>
                </a:cubicBezTo>
                <a:cubicBezTo>
                  <a:pt x="1010841" y="260161"/>
                  <a:pt x="1014810" y="258170"/>
                  <a:pt x="1014810" y="254190"/>
                </a:cubicBezTo>
                <a:cubicBezTo>
                  <a:pt x="1016794" y="252200"/>
                  <a:pt x="1016794" y="246229"/>
                  <a:pt x="1012826" y="248219"/>
                </a:cubicBezTo>
                <a:cubicBezTo>
                  <a:pt x="1008857" y="248219"/>
                  <a:pt x="1004888" y="250209"/>
                  <a:pt x="1002904" y="250209"/>
                </a:cubicBezTo>
                <a:cubicBezTo>
                  <a:pt x="1000919" y="250209"/>
                  <a:pt x="996951" y="250209"/>
                  <a:pt x="996951" y="250209"/>
                </a:cubicBezTo>
                <a:cubicBezTo>
                  <a:pt x="996951" y="250209"/>
                  <a:pt x="990998" y="248219"/>
                  <a:pt x="987029" y="250209"/>
                </a:cubicBezTo>
                <a:cubicBezTo>
                  <a:pt x="985044" y="250209"/>
                  <a:pt x="981076" y="252200"/>
                  <a:pt x="981076" y="248219"/>
                </a:cubicBezTo>
                <a:cubicBezTo>
                  <a:pt x="981076" y="244238"/>
                  <a:pt x="981076" y="244238"/>
                  <a:pt x="979091" y="240258"/>
                </a:cubicBezTo>
                <a:cubicBezTo>
                  <a:pt x="977107" y="238267"/>
                  <a:pt x="975123" y="238267"/>
                  <a:pt x="975123" y="236277"/>
                </a:cubicBezTo>
                <a:cubicBezTo>
                  <a:pt x="975123" y="232297"/>
                  <a:pt x="975123" y="230306"/>
                  <a:pt x="971154" y="230306"/>
                </a:cubicBezTo>
                <a:cubicBezTo>
                  <a:pt x="965201" y="230306"/>
                  <a:pt x="961232" y="228316"/>
                  <a:pt x="959248" y="224335"/>
                </a:cubicBezTo>
                <a:cubicBezTo>
                  <a:pt x="957263" y="222345"/>
                  <a:pt x="957263" y="210403"/>
                  <a:pt x="957263" y="210403"/>
                </a:cubicBezTo>
                <a:cubicBezTo>
                  <a:pt x="957263" y="210403"/>
                  <a:pt x="957263" y="202442"/>
                  <a:pt x="961232" y="202442"/>
                </a:cubicBezTo>
                <a:cubicBezTo>
                  <a:pt x="965201" y="204432"/>
                  <a:pt x="973138" y="204432"/>
                  <a:pt x="975123" y="204432"/>
                </a:cubicBezTo>
                <a:cubicBezTo>
                  <a:pt x="977107" y="202442"/>
                  <a:pt x="981076" y="200452"/>
                  <a:pt x="983060" y="198461"/>
                </a:cubicBezTo>
                <a:cubicBezTo>
                  <a:pt x="987029" y="196471"/>
                  <a:pt x="989013" y="194481"/>
                  <a:pt x="990998" y="194481"/>
                </a:cubicBezTo>
                <a:cubicBezTo>
                  <a:pt x="990998" y="192491"/>
                  <a:pt x="996951" y="192491"/>
                  <a:pt x="996951" y="192491"/>
                </a:cubicBezTo>
                <a:cubicBezTo>
                  <a:pt x="996951" y="192491"/>
                  <a:pt x="999431" y="191993"/>
                  <a:pt x="1001912" y="191993"/>
                </a:cubicBezTo>
                <a:close/>
                <a:moveTo>
                  <a:pt x="929006" y="181428"/>
                </a:moveTo>
                <a:cubicBezTo>
                  <a:pt x="929006" y="179387"/>
                  <a:pt x="932816" y="181428"/>
                  <a:pt x="932816" y="181428"/>
                </a:cubicBezTo>
                <a:cubicBezTo>
                  <a:pt x="932816" y="181428"/>
                  <a:pt x="936626" y="181428"/>
                  <a:pt x="936626" y="181428"/>
                </a:cubicBezTo>
                <a:cubicBezTo>
                  <a:pt x="938531" y="181428"/>
                  <a:pt x="942341" y="183470"/>
                  <a:pt x="942341" y="183470"/>
                </a:cubicBezTo>
                <a:cubicBezTo>
                  <a:pt x="942341" y="183470"/>
                  <a:pt x="944246" y="187552"/>
                  <a:pt x="946151" y="189593"/>
                </a:cubicBezTo>
                <a:cubicBezTo>
                  <a:pt x="946151" y="191634"/>
                  <a:pt x="940436" y="193675"/>
                  <a:pt x="940436" y="191634"/>
                </a:cubicBezTo>
                <a:cubicBezTo>
                  <a:pt x="940436" y="189593"/>
                  <a:pt x="938531" y="189593"/>
                  <a:pt x="938531" y="189593"/>
                </a:cubicBezTo>
                <a:cubicBezTo>
                  <a:pt x="938531" y="189593"/>
                  <a:pt x="932816" y="191634"/>
                  <a:pt x="932816" y="189593"/>
                </a:cubicBezTo>
                <a:cubicBezTo>
                  <a:pt x="932816" y="187552"/>
                  <a:pt x="930911" y="185511"/>
                  <a:pt x="930911" y="185511"/>
                </a:cubicBezTo>
                <a:cubicBezTo>
                  <a:pt x="930911" y="185511"/>
                  <a:pt x="927101" y="183470"/>
                  <a:pt x="929006" y="181428"/>
                </a:cubicBezTo>
                <a:close/>
                <a:moveTo>
                  <a:pt x="906817" y="179705"/>
                </a:moveTo>
                <a:cubicBezTo>
                  <a:pt x="906817" y="177800"/>
                  <a:pt x="912638" y="179705"/>
                  <a:pt x="912638" y="179705"/>
                </a:cubicBezTo>
                <a:lnTo>
                  <a:pt x="922339" y="183515"/>
                </a:lnTo>
                <a:cubicBezTo>
                  <a:pt x="922339" y="183515"/>
                  <a:pt x="922339" y="183515"/>
                  <a:pt x="920399" y="185420"/>
                </a:cubicBezTo>
                <a:cubicBezTo>
                  <a:pt x="918459" y="187325"/>
                  <a:pt x="912638" y="185420"/>
                  <a:pt x="910697" y="183515"/>
                </a:cubicBezTo>
                <a:cubicBezTo>
                  <a:pt x="908757" y="183515"/>
                  <a:pt x="904876" y="183515"/>
                  <a:pt x="906817" y="179705"/>
                </a:cubicBezTo>
                <a:close/>
                <a:moveTo>
                  <a:pt x="960042" y="179387"/>
                </a:moveTo>
                <a:cubicBezTo>
                  <a:pt x="962026" y="179387"/>
                  <a:pt x="962026" y="183470"/>
                  <a:pt x="962026" y="185511"/>
                </a:cubicBezTo>
                <a:cubicBezTo>
                  <a:pt x="962026" y="187552"/>
                  <a:pt x="958057" y="189593"/>
                  <a:pt x="958057" y="191634"/>
                </a:cubicBezTo>
                <a:cubicBezTo>
                  <a:pt x="958057" y="191634"/>
                  <a:pt x="954089" y="193675"/>
                  <a:pt x="950120" y="191634"/>
                </a:cubicBezTo>
                <a:cubicBezTo>
                  <a:pt x="948136" y="191634"/>
                  <a:pt x="946151" y="185511"/>
                  <a:pt x="946151" y="183470"/>
                </a:cubicBezTo>
                <a:cubicBezTo>
                  <a:pt x="948136" y="179387"/>
                  <a:pt x="954089" y="181428"/>
                  <a:pt x="954089" y="181428"/>
                </a:cubicBezTo>
                <a:lnTo>
                  <a:pt x="956073" y="181428"/>
                </a:lnTo>
                <a:cubicBezTo>
                  <a:pt x="956073" y="181428"/>
                  <a:pt x="958057" y="181428"/>
                  <a:pt x="960042" y="179387"/>
                </a:cubicBezTo>
                <a:close/>
                <a:moveTo>
                  <a:pt x="323851" y="179387"/>
                </a:moveTo>
                <a:cubicBezTo>
                  <a:pt x="323851" y="179387"/>
                  <a:pt x="326233" y="179387"/>
                  <a:pt x="328614" y="179387"/>
                </a:cubicBezTo>
                <a:cubicBezTo>
                  <a:pt x="328614" y="179387"/>
                  <a:pt x="328614" y="179387"/>
                  <a:pt x="328614" y="181768"/>
                </a:cubicBezTo>
                <a:cubicBezTo>
                  <a:pt x="328614" y="184149"/>
                  <a:pt x="326233" y="184149"/>
                  <a:pt x="323851" y="181768"/>
                </a:cubicBezTo>
                <a:cubicBezTo>
                  <a:pt x="323851" y="181768"/>
                  <a:pt x="323851" y="181768"/>
                  <a:pt x="323851" y="179387"/>
                </a:cubicBezTo>
                <a:close/>
                <a:moveTo>
                  <a:pt x="258235" y="177799"/>
                </a:moveTo>
                <a:cubicBezTo>
                  <a:pt x="260087" y="177799"/>
                  <a:pt x="261939" y="177799"/>
                  <a:pt x="261939" y="179840"/>
                </a:cubicBezTo>
                <a:cubicBezTo>
                  <a:pt x="261939" y="179840"/>
                  <a:pt x="261939" y="183922"/>
                  <a:pt x="261939" y="185963"/>
                </a:cubicBezTo>
                <a:cubicBezTo>
                  <a:pt x="260087" y="185963"/>
                  <a:pt x="258235" y="188004"/>
                  <a:pt x="258235" y="188004"/>
                </a:cubicBezTo>
                <a:cubicBezTo>
                  <a:pt x="258235" y="188004"/>
                  <a:pt x="256383" y="190045"/>
                  <a:pt x="256383" y="190045"/>
                </a:cubicBezTo>
                <a:cubicBezTo>
                  <a:pt x="256383" y="190045"/>
                  <a:pt x="252678" y="192086"/>
                  <a:pt x="252678" y="190045"/>
                </a:cubicBezTo>
                <a:cubicBezTo>
                  <a:pt x="250826" y="190045"/>
                  <a:pt x="252678" y="188004"/>
                  <a:pt x="252678" y="185963"/>
                </a:cubicBezTo>
                <a:cubicBezTo>
                  <a:pt x="252678" y="185963"/>
                  <a:pt x="252678" y="183922"/>
                  <a:pt x="254531" y="181881"/>
                </a:cubicBezTo>
                <a:cubicBezTo>
                  <a:pt x="254531" y="181881"/>
                  <a:pt x="254531" y="181881"/>
                  <a:pt x="256383" y="179840"/>
                </a:cubicBezTo>
                <a:cubicBezTo>
                  <a:pt x="256383" y="179840"/>
                  <a:pt x="258235" y="179840"/>
                  <a:pt x="258235" y="177799"/>
                </a:cubicBezTo>
                <a:close/>
                <a:moveTo>
                  <a:pt x="860096" y="176553"/>
                </a:moveTo>
                <a:cubicBezTo>
                  <a:pt x="860824" y="177035"/>
                  <a:pt x="861309" y="178481"/>
                  <a:pt x="861309" y="180408"/>
                </a:cubicBezTo>
                <a:cubicBezTo>
                  <a:pt x="861309" y="182336"/>
                  <a:pt x="863249" y="186192"/>
                  <a:pt x="863249" y="188119"/>
                </a:cubicBezTo>
                <a:cubicBezTo>
                  <a:pt x="861309" y="190047"/>
                  <a:pt x="859368" y="188119"/>
                  <a:pt x="857428" y="188119"/>
                </a:cubicBezTo>
                <a:cubicBezTo>
                  <a:pt x="855488" y="190047"/>
                  <a:pt x="857428" y="191975"/>
                  <a:pt x="861309" y="191975"/>
                </a:cubicBezTo>
                <a:cubicBezTo>
                  <a:pt x="863249" y="191975"/>
                  <a:pt x="865189" y="193902"/>
                  <a:pt x="865189" y="195830"/>
                </a:cubicBezTo>
                <a:cubicBezTo>
                  <a:pt x="865189" y="197758"/>
                  <a:pt x="861309" y="197758"/>
                  <a:pt x="859368" y="197758"/>
                </a:cubicBezTo>
                <a:cubicBezTo>
                  <a:pt x="857428" y="197758"/>
                  <a:pt x="855488" y="199686"/>
                  <a:pt x="853547" y="199686"/>
                </a:cubicBezTo>
                <a:cubicBezTo>
                  <a:pt x="851607" y="201613"/>
                  <a:pt x="851607" y="195830"/>
                  <a:pt x="851607" y="193902"/>
                </a:cubicBezTo>
                <a:cubicBezTo>
                  <a:pt x="851607" y="191975"/>
                  <a:pt x="847726" y="191975"/>
                  <a:pt x="847726" y="188119"/>
                </a:cubicBezTo>
                <a:cubicBezTo>
                  <a:pt x="847726" y="184264"/>
                  <a:pt x="851607" y="184264"/>
                  <a:pt x="851607" y="184264"/>
                </a:cubicBezTo>
                <a:cubicBezTo>
                  <a:pt x="853547" y="184264"/>
                  <a:pt x="857428" y="180408"/>
                  <a:pt x="857428" y="178481"/>
                </a:cubicBezTo>
                <a:cubicBezTo>
                  <a:pt x="858398" y="176553"/>
                  <a:pt x="859368" y="176071"/>
                  <a:pt x="860096" y="176553"/>
                </a:cubicBezTo>
                <a:close/>
                <a:moveTo>
                  <a:pt x="344489" y="176212"/>
                </a:moveTo>
                <a:cubicBezTo>
                  <a:pt x="344489" y="176212"/>
                  <a:pt x="346077" y="176212"/>
                  <a:pt x="346077" y="176212"/>
                </a:cubicBezTo>
                <a:cubicBezTo>
                  <a:pt x="347664" y="177800"/>
                  <a:pt x="346077" y="179387"/>
                  <a:pt x="344489" y="177800"/>
                </a:cubicBezTo>
                <a:cubicBezTo>
                  <a:pt x="342901" y="177800"/>
                  <a:pt x="342901" y="177800"/>
                  <a:pt x="344489" y="176212"/>
                </a:cubicBezTo>
                <a:close/>
                <a:moveTo>
                  <a:pt x="939405" y="174625"/>
                </a:moveTo>
                <a:cubicBezTo>
                  <a:pt x="939405" y="174625"/>
                  <a:pt x="941389" y="176610"/>
                  <a:pt x="941389" y="180579"/>
                </a:cubicBezTo>
                <a:cubicBezTo>
                  <a:pt x="939405" y="182563"/>
                  <a:pt x="933451" y="178594"/>
                  <a:pt x="933451" y="176610"/>
                </a:cubicBezTo>
                <a:cubicBezTo>
                  <a:pt x="933451" y="174625"/>
                  <a:pt x="939405" y="174625"/>
                  <a:pt x="939405" y="174625"/>
                </a:cubicBezTo>
                <a:close/>
                <a:moveTo>
                  <a:pt x="920751" y="171979"/>
                </a:moveTo>
                <a:cubicBezTo>
                  <a:pt x="920751" y="169862"/>
                  <a:pt x="923133" y="171979"/>
                  <a:pt x="923133" y="171979"/>
                </a:cubicBezTo>
                <a:cubicBezTo>
                  <a:pt x="923133" y="171979"/>
                  <a:pt x="925514" y="171979"/>
                  <a:pt x="925514" y="174096"/>
                </a:cubicBezTo>
                <a:cubicBezTo>
                  <a:pt x="923133" y="176212"/>
                  <a:pt x="920751" y="176212"/>
                  <a:pt x="920751" y="171979"/>
                </a:cubicBezTo>
                <a:close/>
                <a:moveTo>
                  <a:pt x="928689" y="171450"/>
                </a:moveTo>
                <a:cubicBezTo>
                  <a:pt x="928689" y="171450"/>
                  <a:pt x="930276" y="171450"/>
                  <a:pt x="930276" y="173567"/>
                </a:cubicBezTo>
                <a:cubicBezTo>
                  <a:pt x="930276" y="175684"/>
                  <a:pt x="927101" y="177800"/>
                  <a:pt x="927101" y="175684"/>
                </a:cubicBezTo>
                <a:cubicBezTo>
                  <a:pt x="927101" y="171450"/>
                  <a:pt x="928689" y="171450"/>
                  <a:pt x="928689" y="171450"/>
                </a:cubicBezTo>
                <a:close/>
                <a:moveTo>
                  <a:pt x="958851" y="168275"/>
                </a:moveTo>
                <a:cubicBezTo>
                  <a:pt x="958851" y="168275"/>
                  <a:pt x="958851" y="172244"/>
                  <a:pt x="958851" y="174229"/>
                </a:cubicBezTo>
                <a:cubicBezTo>
                  <a:pt x="958851" y="176213"/>
                  <a:pt x="954882" y="176213"/>
                  <a:pt x="952898" y="176213"/>
                </a:cubicBezTo>
                <a:cubicBezTo>
                  <a:pt x="950913" y="174229"/>
                  <a:pt x="952898" y="172244"/>
                  <a:pt x="952898" y="172244"/>
                </a:cubicBezTo>
                <a:cubicBezTo>
                  <a:pt x="952898" y="172244"/>
                  <a:pt x="952898" y="170260"/>
                  <a:pt x="952898" y="170260"/>
                </a:cubicBezTo>
                <a:cubicBezTo>
                  <a:pt x="954882" y="168275"/>
                  <a:pt x="958851" y="168275"/>
                  <a:pt x="958851" y="168275"/>
                </a:cubicBezTo>
                <a:close/>
                <a:moveTo>
                  <a:pt x="357982" y="165629"/>
                </a:moveTo>
                <a:cubicBezTo>
                  <a:pt x="361951" y="169862"/>
                  <a:pt x="357982" y="169862"/>
                  <a:pt x="355998" y="169862"/>
                </a:cubicBezTo>
                <a:cubicBezTo>
                  <a:pt x="355998" y="169862"/>
                  <a:pt x="354013" y="167746"/>
                  <a:pt x="354013" y="167746"/>
                </a:cubicBezTo>
                <a:cubicBezTo>
                  <a:pt x="355998" y="165629"/>
                  <a:pt x="357982" y="163512"/>
                  <a:pt x="357982" y="165629"/>
                </a:cubicBezTo>
                <a:close/>
                <a:moveTo>
                  <a:pt x="321073" y="165099"/>
                </a:moveTo>
                <a:cubicBezTo>
                  <a:pt x="323057" y="165099"/>
                  <a:pt x="325042" y="165099"/>
                  <a:pt x="325042" y="165099"/>
                </a:cubicBezTo>
                <a:cubicBezTo>
                  <a:pt x="327026" y="165099"/>
                  <a:pt x="327026" y="165099"/>
                  <a:pt x="327026" y="167480"/>
                </a:cubicBezTo>
                <a:cubicBezTo>
                  <a:pt x="325042" y="167480"/>
                  <a:pt x="325042" y="169861"/>
                  <a:pt x="323057" y="169861"/>
                </a:cubicBezTo>
                <a:cubicBezTo>
                  <a:pt x="321073" y="169861"/>
                  <a:pt x="319088" y="169861"/>
                  <a:pt x="321073" y="167480"/>
                </a:cubicBezTo>
                <a:cubicBezTo>
                  <a:pt x="321073" y="167480"/>
                  <a:pt x="321073" y="165099"/>
                  <a:pt x="321073" y="165099"/>
                </a:cubicBezTo>
                <a:close/>
                <a:moveTo>
                  <a:pt x="854870" y="159203"/>
                </a:moveTo>
                <a:cubicBezTo>
                  <a:pt x="857251" y="157162"/>
                  <a:pt x="857251" y="167368"/>
                  <a:pt x="857251" y="169409"/>
                </a:cubicBezTo>
                <a:cubicBezTo>
                  <a:pt x="857251" y="171450"/>
                  <a:pt x="852488" y="171450"/>
                  <a:pt x="852488" y="165327"/>
                </a:cubicBezTo>
                <a:cubicBezTo>
                  <a:pt x="852488" y="159203"/>
                  <a:pt x="854870" y="159203"/>
                  <a:pt x="854870" y="159203"/>
                </a:cubicBezTo>
                <a:close/>
                <a:moveTo>
                  <a:pt x="224897" y="157558"/>
                </a:moveTo>
                <a:cubicBezTo>
                  <a:pt x="227013" y="159543"/>
                  <a:pt x="227013" y="159543"/>
                  <a:pt x="227013" y="159543"/>
                </a:cubicBezTo>
                <a:cubicBezTo>
                  <a:pt x="227013" y="159543"/>
                  <a:pt x="224897" y="161527"/>
                  <a:pt x="224897" y="161527"/>
                </a:cubicBezTo>
                <a:cubicBezTo>
                  <a:pt x="224897" y="161527"/>
                  <a:pt x="222780" y="163511"/>
                  <a:pt x="222780" y="161527"/>
                </a:cubicBezTo>
                <a:cubicBezTo>
                  <a:pt x="220663" y="161527"/>
                  <a:pt x="220663" y="159543"/>
                  <a:pt x="220663" y="159543"/>
                </a:cubicBezTo>
                <a:cubicBezTo>
                  <a:pt x="220663" y="157558"/>
                  <a:pt x="222780" y="155574"/>
                  <a:pt x="224897" y="157558"/>
                </a:cubicBezTo>
                <a:close/>
                <a:moveTo>
                  <a:pt x="358776" y="157162"/>
                </a:moveTo>
                <a:cubicBezTo>
                  <a:pt x="360364" y="157162"/>
                  <a:pt x="361951" y="157162"/>
                  <a:pt x="361951" y="159279"/>
                </a:cubicBezTo>
                <a:cubicBezTo>
                  <a:pt x="361951" y="159279"/>
                  <a:pt x="361951" y="161396"/>
                  <a:pt x="361951" y="161396"/>
                </a:cubicBezTo>
                <a:cubicBezTo>
                  <a:pt x="360364" y="163512"/>
                  <a:pt x="358776" y="163512"/>
                  <a:pt x="358776" y="161396"/>
                </a:cubicBezTo>
                <a:cubicBezTo>
                  <a:pt x="358776" y="161396"/>
                  <a:pt x="358776" y="159279"/>
                  <a:pt x="358776" y="157162"/>
                </a:cubicBezTo>
                <a:close/>
                <a:moveTo>
                  <a:pt x="220663" y="149754"/>
                </a:moveTo>
                <a:cubicBezTo>
                  <a:pt x="222251" y="149754"/>
                  <a:pt x="222251" y="147637"/>
                  <a:pt x="222251" y="149754"/>
                </a:cubicBezTo>
                <a:cubicBezTo>
                  <a:pt x="223838" y="149754"/>
                  <a:pt x="223838" y="151871"/>
                  <a:pt x="223838" y="151871"/>
                </a:cubicBezTo>
                <a:cubicBezTo>
                  <a:pt x="223838" y="151871"/>
                  <a:pt x="222251" y="153987"/>
                  <a:pt x="222251" y="153987"/>
                </a:cubicBezTo>
                <a:cubicBezTo>
                  <a:pt x="220663" y="151871"/>
                  <a:pt x="220663" y="151871"/>
                  <a:pt x="220663" y="149754"/>
                </a:cubicBezTo>
                <a:close/>
                <a:moveTo>
                  <a:pt x="332318" y="148090"/>
                </a:moveTo>
                <a:cubicBezTo>
                  <a:pt x="334435" y="148090"/>
                  <a:pt x="334435" y="150131"/>
                  <a:pt x="334435" y="150131"/>
                </a:cubicBezTo>
                <a:cubicBezTo>
                  <a:pt x="336551" y="152172"/>
                  <a:pt x="336551" y="152172"/>
                  <a:pt x="338668" y="152172"/>
                </a:cubicBezTo>
                <a:cubicBezTo>
                  <a:pt x="338668" y="154213"/>
                  <a:pt x="342901" y="154213"/>
                  <a:pt x="340785" y="156254"/>
                </a:cubicBezTo>
                <a:cubicBezTo>
                  <a:pt x="338668" y="156254"/>
                  <a:pt x="336551" y="156254"/>
                  <a:pt x="336551" y="156254"/>
                </a:cubicBezTo>
                <a:cubicBezTo>
                  <a:pt x="334435" y="160336"/>
                  <a:pt x="334435" y="156254"/>
                  <a:pt x="334435" y="154213"/>
                </a:cubicBezTo>
                <a:cubicBezTo>
                  <a:pt x="334435" y="154213"/>
                  <a:pt x="332318" y="154213"/>
                  <a:pt x="332318" y="152172"/>
                </a:cubicBezTo>
                <a:cubicBezTo>
                  <a:pt x="330201" y="152172"/>
                  <a:pt x="330201" y="152172"/>
                  <a:pt x="330201" y="150131"/>
                </a:cubicBezTo>
                <a:cubicBezTo>
                  <a:pt x="330201" y="148090"/>
                  <a:pt x="332318" y="146049"/>
                  <a:pt x="332318" y="148090"/>
                </a:cubicBezTo>
                <a:close/>
                <a:moveTo>
                  <a:pt x="243286" y="147785"/>
                </a:moveTo>
                <a:cubicBezTo>
                  <a:pt x="243524" y="148530"/>
                  <a:pt x="242571" y="150018"/>
                  <a:pt x="240666" y="152002"/>
                </a:cubicBezTo>
                <a:cubicBezTo>
                  <a:pt x="240666" y="152002"/>
                  <a:pt x="238761" y="153986"/>
                  <a:pt x="238761" y="153986"/>
                </a:cubicBezTo>
                <a:cubicBezTo>
                  <a:pt x="234951" y="152002"/>
                  <a:pt x="236856" y="150018"/>
                  <a:pt x="238761" y="148033"/>
                </a:cubicBezTo>
                <a:cubicBezTo>
                  <a:pt x="241619" y="147041"/>
                  <a:pt x="243048" y="147041"/>
                  <a:pt x="243286" y="147785"/>
                </a:cubicBezTo>
                <a:close/>
                <a:moveTo>
                  <a:pt x="319088" y="140229"/>
                </a:moveTo>
                <a:cubicBezTo>
                  <a:pt x="320676" y="140229"/>
                  <a:pt x="322264" y="138112"/>
                  <a:pt x="322264" y="140229"/>
                </a:cubicBezTo>
                <a:cubicBezTo>
                  <a:pt x="323851" y="142346"/>
                  <a:pt x="320676" y="144462"/>
                  <a:pt x="320676" y="142346"/>
                </a:cubicBezTo>
                <a:cubicBezTo>
                  <a:pt x="320676" y="142346"/>
                  <a:pt x="319088" y="142346"/>
                  <a:pt x="319088" y="140229"/>
                </a:cubicBezTo>
                <a:close/>
                <a:moveTo>
                  <a:pt x="65088" y="135413"/>
                </a:moveTo>
                <a:cubicBezTo>
                  <a:pt x="67205" y="135413"/>
                  <a:pt x="71438" y="137477"/>
                  <a:pt x="71438" y="139540"/>
                </a:cubicBezTo>
                <a:cubicBezTo>
                  <a:pt x="71438" y="141604"/>
                  <a:pt x="71438" y="147795"/>
                  <a:pt x="73555" y="149859"/>
                </a:cubicBezTo>
                <a:cubicBezTo>
                  <a:pt x="75672" y="151923"/>
                  <a:pt x="75672" y="149859"/>
                  <a:pt x="75672" y="151923"/>
                </a:cubicBezTo>
                <a:cubicBezTo>
                  <a:pt x="77788" y="151923"/>
                  <a:pt x="75672" y="153987"/>
                  <a:pt x="75672" y="156050"/>
                </a:cubicBezTo>
                <a:cubicBezTo>
                  <a:pt x="75672" y="156050"/>
                  <a:pt x="73555" y="158114"/>
                  <a:pt x="73555" y="160178"/>
                </a:cubicBezTo>
                <a:cubicBezTo>
                  <a:pt x="73555" y="164305"/>
                  <a:pt x="73555" y="166369"/>
                  <a:pt x="73555" y="168433"/>
                </a:cubicBezTo>
                <a:cubicBezTo>
                  <a:pt x="73555" y="174624"/>
                  <a:pt x="69322" y="166369"/>
                  <a:pt x="67205" y="164305"/>
                </a:cubicBezTo>
                <a:cubicBezTo>
                  <a:pt x="67205" y="164305"/>
                  <a:pt x="67205" y="162242"/>
                  <a:pt x="67205" y="162242"/>
                </a:cubicBezTo>
                <a:cubicBezTo>
                  <a:pt x="67205" y="160178"/>
                  <a:pt x="67205" y="158114"/>
                  <a:pt x="65088" y="156050"/>
                </a:cubicBezTo>
                <a:cubicBezTo>
                  <a:pt x="65088" y="156050"/>
                  <a:pt x="62972" y="153987"/>
                  <a:pt x="60855" y="151923"/>
                </a:cubicBezTo>
                <a:cubicBezTo>
                  <a:pt x="60855" y="149859"/>
                  <a:pt x="58738" y="147795"/>
                  <a:pt x="58738" y="145732"/>
                </a:cubicBezTo>
                <a:cubicBezTo>
                  <a:pt x="58738" y="145732"/>
                  <a:pt x="58738" y="141604"/>
                  <a:pt x="58738" y="139540"/>
                </a:cubicBezTo>
                <a:cubicBezTo>
                  <a:pt x="58738" y="137477"/>
                  <a:pt x="62972" y="133349"/>
                  <a:pt x="65088" y="135413"/>
                </a:cubicBezTo>
                <a:close/>
                <a:moveTo>
                  <a:pt x="88901" y="131762"/>
                </a:moveTo>
                <a:cubicBezTo>
                  <a:pt x="91018" y="131762"/>
                  <a:pt x="93135" y="131762"/>
                  <a:pt x="93135" y="131762"/>
                </a:cubicBezTo>
                <a:cubicBezTo>
                  <a:pt x="95251" y="133879"/>
                  <a:pt x="95251" y="133879"/>
                  <a:pt x="95251" y="133879"/>
                </a:cubicBezTo>
                <a:cubicBezTo>
                  <a:pt x="93135" y="135996"/>
                  <a:pt x="91018" y="138112"/>
                  <a:pt x="91018" y="135996"/>
                </a:cubicBezTo>
                <a:cubicBezTo>
                  <a:pt x="91018" y="133879"/>
                  <a:pt x="88901" y="133879"/>
                  <a:pt x="88901" y="131762"/>
                </a:cubicBezTo>
                <a:close/>
                <a:moveTo>
                  <a:pt x="789321" y="127407"/>
                </a:moveTo>
                <a:cubicBezTo>
                  <a:pt x="791315" y="125412"/>
                  <a:pt x="799289" y="127407"/>
                  <a:pt x="799289" y="127407"/>
                </a:cubicBezTo>
                <a:cubicBezTo>
                  <a:pt x="799289" y="127407"/>
                  <a:pt x="803276" y="131396"/>
                  <a:pt x="801283" y="133390"/>
                </a:cubicBezTo>
                <a:cubicBezTo>
                  <a:pt x="797295" y="137380"/>
                  <a:pt x="795302" y="139374"/>
                  <a:pt x="793308" y="141369"/>
                </a:cubicBezTo>
                <a:cubicBezTo>
                  <a:pt x="791315" y="143363"/>
                  <a:pt x="785334" y="151341"/>
                  <a:pt x="785334" y="151341"/>
                </a:cubicBezTo>
                <a:cubicBezTo>
                  <a:pt x="785334" y="151341"/>
                  <a:pt x="781347" y="157325"/>
                  <a:pt x="781347" y="161314"/>
                </a:cubicBezTo>
                <a:cubicBezTo>
                  <a:pt x="781347" y="165303"/>
                  <a:pt x="779353" y="169292"/>
                  <a:pt x="775366" y="169292"/>
                </a:cubicBezTo>
                <a:cubicBezTo>
                  <a:pt x="773372" y="169292"/>
                  <a:pt x="769385" y="167298"/>
                  <a:pt x="765398" y="169292"/>
                </a:cubicBezTo>
                <a:cubicBezTo>
                  <a:pt x="761411" y="171287"/>
                  <a:pt x="753436" y="173281"/>
                  <a:pt x="751443" y="171287"/>
                </a:cubicBezTo>
                <a:cubicBezTo>
                  <a:pt x="747455" y="171287"/>
                  <a:pt x="745462" y="173281"/>
                  <a:pt x="745462" y="171287"/>
                </a:cubicBezTo>
                <a:cubicBezTo>
                  <a:pt x="743468" y="167298"/>
                  <a:pt x="743468" y="167298"/>
                  <a:pt x="739481" y="167298"/>
                </a:cubicBezTo>
                <a:cubicBezTo>
                  <a:pt x="737487" y="167298"/>
                  <a:pt x="729513" y="167298"/>
                  <a:pt x="729513" y="167298"/>
                </a:cubicBezTo>
                <a:cubicBezTo>
                  <a:pt x="727519" y="167298"/>
                  <a:pt x="725526" y="165303"/>
                  <a:pt x="723532" y="167298"/>
                </a:cubicBezTo>
                <a:cubicBezTo>
                  <a:pt x="721538" y="169292"/>
                  <a:pt x="713564" y="167298"/>
                  <a:pt x="713564" y="167298"/>
                </a:cubicBezTo>
                <a:cubicBezTo>
                  <a:pt x="713564" y="167298"/>
                  <a:pt x="707583" y="165303"/>
                  <a:pt x="705590" y="167298"/>
                </a:cubicBezTo>
                <a:cubicBezTo>
                  <a:pt x="701602" y="167298"/>
                  <a:pt x="697615" y="167298"/>
                  <a:pt x="697615" y="167298"/>
                </a:cubicBezTo>
                <a:cubicBezTo>
                  <a:pt x="697615" y="167298"/>
                  <a:pt x="693628" y="171287"/>
                  <a:pt x="687647" y="169292"/>
                </a:cubicBezTo>
                <a:cubicBezTo>
                  <a:pt x="681666" y="167298"/>
                  <a:pt x="675686" y="165303"/>
                  <a:pt x="673692" y="167298"/>
                </a:cubicBezTo>
                <a:cubicBezTo>
                  <a:pt x="671698" y="171287"/>
                  <a:pt x="669705" y="169292"/>
                  <a:pt x="667711" y="179265"/>
                </a:cubicBezTo>
                <a:cubicBezTo>
                  <a:pt x="667711" y="187243"/>
                  <a:pt x="667711" y="197216"/>
                  <a:pt x="667711" y="197216"/>
                </a:cubicBezTo>
                <a:cubicBezTo>
                  <a:pt x="667711" y="197216"/>
                  <a:pt x="665718" y="201205"/>
                  <a:pt x="671698" y="207189"/>
                </a:cubicBezTo>
                <a:cubicBezTo>
                  <a:pt x="677679" y="211178"/>
                  <a:pt x="677679" y="211178"/>
                  <a:pt x="679673" y="215167"/>
                </a:cubicBezTo>
                <a:cubicBezTo>
                  <a:pt x="681666" y="219156"/>
                  <a:pt x="685654" y="221151"/>
                  <a:pt x="687647" y="223145"/>
                </a:cubicBezTo>
                <a:cubicBezTo>
                  <a:pt x="687647" y="223145"/>
                  <a:pt x="691634" y="225140"/>
                  <a:pt x="691634" y="225140"/>
                </a:cubicBezTo>
                <a:cubicBezTo>
                  <a:pt x="691634" y="225140"/>
                  <a:pt x="693628" y="223145"/>
                  <a:pt x="695622" y="221151"/>
                </a:cubicBezTo>
                <a:cubicBezTo>
                  <a:pt x="697615" y="217161"/>
                  <a:pt x="697615" y="215167"/>
                  <a:pt x="701602" y="211178"/>
                </a:cubicBezTo>
                <a:cubicBezTo>
                  <a:pt x="703596" y="207189"/>
                  <a:pt x="709577" y="207189"/>
                  <a:pt x="709577" y="207189"/>
                </a:cubicBezTo>
                <a:cubicBezTo>
                  <a:pt x="709577" y="207189"/>
                  <a:pt x="715558" y="211178"/>
                  <a:pt x="719545" y="209183"/>
                </a:cubicBezTo>
                <a:cubicBezTo>
                  <a:pt x="723532" y="205194"/>
                  <a:pt x="729513" y="203200"/>
                  <a:pt x="729513" y="203200"/>
                </a:cubicBezTo>
                <a:cubicBezTo>
                  <a:pt x="729513" y="203200"/>
                  <a:pt x="735494" y="201205"/>
                  <a:pt x="735494" y="201205"/>
                </a:cubicBezTo>
                <a:cubicBezTo>
                  <a:pt x="737487" y="199210"/>
                  <a:pt x="743468" y="195221"/>
                  <a:pt x="747455" y="199210"/>
                </a:cubicBezTo>
                <a:cubicBezTo>
                  <a:pt x="751443" y="201205"/>
                  <a:pt x="751443" y="207189"/>
                  <a:pt x="749449" y="209183"/>
                </a:cubicBezTo>
                <a:cubicBezTo>
                  <a:pt x="747455" y="213172"/>
                  <a:pt x="745462" y="211178"/>
                  <a:pt x="745462" y="211178"/>
                </a:cubicBezTo>
                <a:cubicBezTo>
                  <a:pt x="745462" y="209183"/>
                  <a:pt x="741475" y="209183"/>
                  <a:pt x="739481" y="211178"/>
                </a:cubicBezTo>
                <a:cubicBezTo>
                  <a:pt x="735494" y="213172"/>
                  <a:pt x="733500" y="217161"/>
                  <a:pt x="733500" y="217161"/>
                </a:cubicBezTo>
                <a:cubicBezTo>
                  <a:pt x="733500" y="217161"/>
                  <a:pt x="733500" y="219156"/>
                  <a:pt x="729513" y="221151"/>
                </a:cubicBezTo>
                <a:cubicBezTo>
                  <a:pt x="725526" y="223145"/>
                  <a:pt x="725526" y="227134"/>
                  <a:pt x="725526" y="227134"/>
                </a:cubicBezTo>
                <a:cubicBezTo>
                  <a:pt x="725526" y="227134"/>
                  <a:pt x="721538" y="233118"/>
                  <a:pt x="715558" y="231123"/>
                </a:cubicBezTo>
                <a:cubicBezTo>
                  <a:pt x="707583" y="231123"/>
                  <a:pt x="707583" y="233118"/>
                  <a:pt x="705590" y="237107"/>
                </a:cubicBezTo>
                <a:cubicBezTo>
                  <a:pt x="705590" y="241096"/>
                  <a:pt x="705590" y="247080"/>
                  <a:pt x="707583" y="251069"/>
                </a:cubicBezTo>
                <a:cubicBezTo>
                  <a:pt x="711570" y="255058"/>
                  <a:pt x="715558" y="259047"/>
                  <a:pt x="715558" y="261041"/>
                </a:cubicBezTo>
                <a:cubicBezTo>
                  <a:pt x="717551" y="265031"/>
                  <a:pt x="719545" y="267025"/>
                  <a:pt x="719545" y="267025"/>
                </a:cubicBezTo>
                <a:cubicBezTo>
                  <a:pt x="719545" y="267025"/>
                  <a:pt x="721538" y="269020"/>
                  <a:pt x="721538" y="271014"/>
                </a:cubicBezTo>
                <a:cubicBezTo>
                  <a:pt x="721538" y="273009"/>
                  <a:pt x="723532" y="275003"/>
                  <a:pt x="723532" y="275003"/>
                </a:cubicBezTo>
                <a:cubicBezTo>
                  <a:pt x="723532" y="275003"/>
                  <a:pt x="725526" y="278992"/>
                  <a:pt x="725526" y="280987"/>
                </a:cubicBezTo>
                <a:cubicBezTo>
                  <a:pt x="725526" y="284976"/>
                  <a:pt x="723532" y="294949"/>
                  <a:pt x="725526" y="298938"/>
                </a:cubicBezTo>
                <a:cubicBezTo>
                  <a:pt x="729513" y="304921"/>
                  <a:pt x="731506" y="306916"/>
                  <a:pt x="731506" y="306916"/>
                </a:cubicBezTo>
                <a:cubicBezTo>
                  <a:pt x="733500" y="304921"/>
                  <a:pt x="737487" y="304921"/>
                  <a:pt x="737487" y="308911"/>
                </a:cubicBezTo>
                <a:cubicBezTo>
                  <a:pt x="737487" y="310905"/>
                  <a:pt x="735494" y="316889"/>
                  <a:pt x="739481" y="316889"/>
                </a:cubicBezTo>
                <a:cubicBezTo>
                  <a:pt x="741475" y="316889"/>
                  <a:pt x="747455" y="316889"/>
                  <a:pt x="747455" y="318883"/>
                </a:cubicBezTo>
                <a:cubicBezTo>
                  <a:pt x="747455" y="322872"/>
                  <a:pt x="745462" y="324867"/>
                  <a:pt x="743468" y="326861"/>
                </a:cubicBezTo>
                <a:cubicBezTo>
                  <a:pt x="741475" y="326861"/>
                  <a:pt x="739481" y="326861"/>
                  <a:pt x="739481" y="330851"/>
                </a:cubicBezTo>
                <a:cubicBezTo>
                  <a:pt x="739481" y="334840"/>
                  <a:pt x="739481" y="338829"/>
                  <a:pt x="741475" y="340823"/>
                </a:cubicBezTo>
                <a:cubicBezTo>
                  <a:pt x="743468" y="342818"/>
                  <a:pt x="747455" y="346807"/>
                  <a:pt x="745462" y="348802"/>
                </a:cubicBezTo>
                <a:cubicBezTo>
                  <a:pt x="743468" y="348802"/>
                  <a:pt x="735494" y="348802"/>
                  <a:pt x="735494" y="352791"/>
                </a:cubicBezTo>
                <a:cubicBezTo>
                  <a:pt x="735494" y="356780"/>
                  <a:pt x="727519" y="358774"/>
                  <a:pt x="727519" y="354785"/>
                </a:cubicBezTo>
                <a:cubicBezTo>
                  <a:pt x="727519" y="350796"/>
                  <a:pt x="731506" y="344812"/>
                  <a:pt x="731506" y="340823"/>
                </a:cubicBezTo>
                <a:cubicBezTo>
                  <a:pt x="733500" y="336834"/>
                  <a:pt x="733500" y="332845"/>
                  <a:pt x="733500" y="332845"/>
                </a:cubicBezTo>
                <a:cubicBezTo>
                  <a:pt x="733500" y="332845"/>
                  <a:pt x="735494" y="322872"/>
                  <a:pt x="735494" y="318883"/>
                </a:cubicBezTo>
                <a:cubicBezTo>
                  <a:pt x="733500" y="314894"/>
                  <a:pt x="731506" y="314894"/>
                  <a:pt x="729513" y="314894"/>
                </a:cubicBezTo>
                <a:cubicBezTo>
                  <a:pt x="727519" y="316889"/>
                  <a:pt x="725526" y="318883"/>
                  <a:pt x="721538" y="316889"/>
                </a:cubicBezTo>
                <a:cubicBezTo>
                  <a:pt x="717551" y="314894"/>
                  <a:pt x="717551" y="320878"/>
                  <a:pt x="717551" y="320878"/>
                </a:cubicBezTo>
                <a:cubicBezTo>
                  <a:pt x="717551" y="320878"/>
                  <a:pt x="715558" y="330851"/>
                  <a:pt x="711570" y="330851"/>
                </a:cubicBezTo>
                <a:cubicBezTo>
                  <a:pt x="707583" y="328856"/>
                  <a:pt x="699609" y="330851"/>
                  <a:pt x="701602" y="324867"/>
                </a:cubicBezTo>
                <a:cubicBezTo>
                  <a:pt x="701602" y="318883"/>
                  <a:pt x="703596" y="310905"/>
                  <a:pt x="703596" y="308911"/>
                </a:cubicBezTo>
                <a:cubicBezTo>
                  <a:pt x="703596" y="306916"/>
                  <a:pt x="699609" y="302927"/>
                  <a:pt x="695622" y="300932"/>
                </a:cubicBezTo>
                <a:cubicBezTo>
                  <a:pt x="689641" y="296943"/>
                  <a:pt x="683660" y="292954"/>
                  <a:pt x="685654" y="284976"/>
                </a:cubicBezTo>
                <a:cubicBezTo>
                  <a:pt x="687647" y="278992"/>
                  <a:pt x="691634" y="273009"/>
                  <a:pt x="689641" y="271014"/>
                </a:cubicBezTo>
                <a:cubicBezTo>
                  <a:pt x="689641" y="267025"/>
                  <a:pt x="687647" y="267025"/>
                  <a:pt x="683660" y="267025"/>
                </a:cubicBezTo>
                <a:cubicBezTo>
                  <a:pt x="681666" y="267025"/>
                  <a:pt x="673692" y="267025"/>
                  <a:pt x="671698" y="271014"/>
                </a:cubicBezTo>
                <a:cubicBezTo>
                  <a:pt x="669705" y="275003"/>
                  <a:pt x="671698" y="278992"/>
                  <a:pt x="671698" y="282981"/>
                </a:cubicBezTo>
                <a:cubicBezTo>
                  <a:pt x="671698" y="286971"/>
                  <a:pt x="673692" y="300932"/>
                  <a:pt x="671698" y="310905"/>
                </a:cubicBezTo>
                <a:cubicBezTo>
                  <a:pt x="667711" y="320878"/>
                  <a:pt x="665718" y="326861"/>
                  <a:pt x="665718" y="332845"/>
                </a:cubicBezTo>
                <a:cubicBezTo>
                  <a:pt x="665718" y="336834"/>
                  <a:pt x="665718" y="344812"/>
                  <a:pt x="665718" y="344812"/>
                </a:cubicBezTo>
                <a:cubicBezTo>
                  <a:pt x="665718" y="344812"/>
                  <a:pt x="663724" y="348802"/>
                  <a:pt x="667711" y="348802"/>
                </a:cubicBezTo>
                <a:cubicBezTo>
                  <a:pt x="667711" y="348802"/>
                  <a:pt x="671698" y="350796"/>
                  <a:pt x="671698" y="352791"/>
                </a:cubicBezTo>
                <a:cubicBezTo>
                  <a:pt x="671698" y="354785"/>
                  <a:pt x="671698" y="352791"/>
                  <a:pt x="669705" y="354785"/>
                </a:cubicBezTo>
                <a:cubicBezTo>
                  <a:pt x="667711" y="356780"/>
                  <a:pt x="663724" y="356780"/>
                  <a:pt x="663724" y="356780"/>
                </a:cubicBezTo>
                <a:cubicBezTo>
                  <a:pt x="663724" y="356780"/>
                  <a:pt x="659737" y="356780"/>
                  <a:pt x="657743" y="358774"/>
                </a:cubicBezTo>
                <a:cubicBezTo>
                  <a:pt x="657743" y="358774"/>
                  <a:pt x="653756" y="358774"/>
                  <a:pt x="649769" y="356780"/>
                </a:cubicBezTo>
                <a:cubicBezTo>
                  <a:pt x="647775" y="354785"/>
                  <a:pt x="643788" y="354785"/>
                  <a:pt x="641794" y="352791"/>
                </a:cubicBezTo>
                <a:cubicBezTo>
                  <a:pt x="639801" y="350796"/>
                  <a:pt x="643788" y="340823"/>
                  <a:pt x="643788" y="340823"/>
                </a:cubicBezTo>
                <a:cubicBezTo>
                  <a:pt x="643788" y="340823"/>
                  <a:pt x="645781" y="326861"/>
                  <a:pt x="647775" y="322872"/>
                </a:cubicBezTo>
                <a:cubicBezTo>
                  <a:pt x="649769" y="318883"/>
                  <a:pt x="653756" y="308911"/>
                  <a:pt x="651762" y="306916"/>
                </a:cubicBezTo>
                <a:cubicBezTo>
                  <a:pt x="649769" y="304921"/>
                  <a:pt x="647775" y="302927"/>
                  <a:pt x="647775" y="298938"/>
                </a:cubicBezTo>
                <a:cubicBezTo>
                  <a:pt x="647775" y="296943"/>
                  <a:pt x="649769" y="288965"/>
                  <a:pt x="645781" y="288965"/>
                </a:cubicBezTo>
                <a:cubicBezTo>
                  <a:pt x="641794" y="284976"/>
                  <a:pt x="639801" y="288965"/>
                  <a:pt x="639801" y="288965"/>
                </a:cubicBezTo>
                <a:cubicBezTo>
                  <a:pt x="639801" y="288965"/>
                  <a:pt x="635813" y="290960"/>
                  <a:pt x="633820" y="284976"/>
                </a:cubicBezTo>
                <a:cubicBezTo>
                  <a:pt x="633820" y="278992"/>
                  <a:pt x="635813" y="275003"/>
                  <a:pt x="635813" y="275003"/>
                </a:cubicBezTo>
                <a:cubicBezTo>
                  <a:pt x="635813" y="275003"/>
                  <a:pt x="635813" y="269020"/>
                  <a:pt x="633820" y="267025"/>
                </a:cubicBezTo>
                <a:cubicBezTo>
                  <a:pt x="631826" y="265031"/>
                  <a:pt x="631826" y="261041"/>
                  <a:pt x="635813" y="259047"/>
                </a:cubicBezTo>
                <a:cubicBezTo>
                  <a:pt x="637807" y="257052"/>
                  <a:pt x="641794" y="253063"/>
                  <a:pt x="641794" y="249074"/>
                </a:cubicBezTo>
                <a:cubicBezTo>
                  <a:pt x="641794" y="245085"/>
                  <a:pt x="641794" y="239101"/>
                  <a:pt x="643788" y="235112"/>
                </a:cubicBezTo>
                <a:cubicBezTo>
                  <a:pt x="645781" y="233118"/>
                  <a:pt x="643788" y="225140"/>
                  <a:pt x="645781" y="219156"/>
                </a:cubicBezTo>
                <a:cubicBezTo>
                  <a:pt x="645781" y="213172"/>
                  <a:pt x="645781" y="213172"/>
                  <a:pt x="647775" y="211178"/>
                </a:cubicBezTo>
                <a:cubicBezTo>
                  <a:pt x="649769" y="207189"/>
                  <a:pt x="649769" y="203200"/>
                  <a:pt x="651762" y="205194"/>
                </a:cubicBezTo>
                <a:cubicBezTo>
                  <a:pt x="655750" y="205194"/>
                  <a:pt x="655750" y="205194"/>
                  <a:pt x="655750" y="205194"/>
                </a:cubicBezTo>
                <a:cubicBezTo>
                  <a:pt x="655750" y="205194"/>
                  <a:pt x="661730" y="209183"/>
                  <a:pt x="659737" y="205194"/>
                </a:cubicBezTo>
                <a:cubicBezTo>
                  <a:pt x="655750" y="199210"/>
                  <a:pt x="657743" y="197216"/>
                  <a:pt x="657743" y="197216"/>
                </a:cubicBezTo>
                <a:cubicBezTo>
                  <a:pt x="659737" y="195221"/>
                  <a:pt x="659737" y="193227"/>
                  <a:pt x="657743" y="191232"/>
                </a:cubicBezTo>
                <a:cubicBezTo>
                  <a:pt x="655750" y="189238"/>
                  <a:pt x="659737" y="183254"/>
                  <a:pt x="659737" y="183254"/>
                </a:cubicBezTo>
                <a:cubicBezTo>
                  <a:pt x="659737" y="183254"/>
                  <a:pt x="659737" y="179265"/>
                  <a:pt x="657743" y="175276"/>
                </a:cubicBezTo>
                <a:cubicBezTo>
                  <a:pt x="655750" y="173281"/>
                  <a:pt x="653756" y="171287"/>
                  <a:pt x="655750" y="167298"/>
                </a:cubicBezTo>
                <a:cubicBezTo>
                  <a:pt x="659737" y="161314"/>
                  <a:pt x="663724" y="157325"/>
                  <a:pt x="663724" y="157325"/>
                </a:cubicBezTo>
                <a:cubicBezTo>
                  <a:pt x="663724" y="157325"/>
                  <a:pt x="665718" y="155330"/>
                  <a:pt x="663724" y="153336"/>
                </a:cubicBezTo>
                <a:cubicBezTo>
                  <a:pt x="663724" y="151341"/>
                  <a:pt x="663724" y="149347"/>
                  <a:pt x="665718" y="147352"/>
                </a:cubicBezTo>
                <a:cubicBezTo>
                  <a:pt x="667711" y="145358"/>
                  <a:pt x="669705" y="147352"/>
                  <a:pt x="669705" y="151341"/>
                </a:cubicBezTo>
                <a:cubicBezTo>
                  <a:pt x="669705" y="155330"/>
                  <a:pt x="671698" y="155330"/>
                  <a:pt x="673692" y="153336"/>
                </a:cubicBezTo>
                <a:cubicBezTo>
                  <a:pt x="677679" y="151341"/>
                  <a:pt x="679673" y="147352"/>
                  <a:pt x="679673" y="145358"/>
                </a:cubicBezTo>
                <a:cubicBezTo>
                  <a:pt x="681666" y="143363"/>
                  <a:pt x="679673" y="139374"/>
                  <a:pt x="683660" y="139374"/>
                </a:cubicBezTo>
                <a:cubicBezTo>
                  <a:pt x="687647" y="139374"/>
                  <a:pt x="691634" y="139374"/>
                  <a:pt x="691634" y="137380"/>
                </a:cubicBezTo>
                <a:cubicBezTo>
                  <a:pt x="693628" y="135385"/>
                  <a:pt x="699609" y="135385"/>
                  <a:pt x="699609" y="139374"/>
                </a:cubicBezTo>
                <a:cubicBezTo>
                  <a:pt x="697615" y="143363"/>
                  <a:pt x="701602" y="145358"/>
                  <a:pt x="703596" y="145358"/>
                </a:cubicBezTo>
                <a:cubicBezTo>
                  <a:pt x="705590" y="145358"/>
                  <a:pt x="717551" y="145358"/>
                  <a:pt x="717551" y="145358"/>
                </a:cubicBezTo>
                <a:cubicBezTo>
                  <a:pt x="717551" y="145358"/>
                  <a:pt x="725526" y="145358"/>
                  <a:pt x="725526" y="149347"/>
                </a:cubicBezTo>
                <a:cubicBezTo>
                  <a:pt x="725526" y="151341"/>
                  <a:pt x="729513" y="153336"/>
                  <a:pt x="731506" y="151341"/>
                </a:cubicBezTo>
                <a:cubicBezTo>
                  <a:pt x="733500" y="149347"/>
                  <a:pt x="737487" y="149347"/>
                  <a:pt x="741475" y="151341"/>
                </a:cubicBezTo>
                <a:cubicBezTo>
                  <a:pt x="745462" y="151341"/>
                  <a:pt x="751443" y="151341"/>
                  <a:pt x="753436" y="151341"/>
                </a:cubicBezTo>
                <a:cubicBezTo>
                  <a:pt x="753436" y="151341"/>
                  <a:pt x="769385" y="151341"/>
                  <a:pt x="771379" y="151341"/>
                </a:cubicBezTo>
                <a:cubicBezTo>
                  <a:pt x="773372" y="149347"/>
                  <a:pt x="777359" y="149347"/>
                  <a:pt x="777359" y="145358"/>
                </a:cubicBezTo>
                <a:cubicBezTo>
                  <a:pt x="777359" y="143363"/>
                  <a:pt x="781347" y="139374"/>
                  <a:pt x="781347" y="139374"/>
                </a:cubicBezTo>
                <a:cubicBezTo>
                  <a:pt x="781347" y="139374"/>
                  <a:pt x="781347" y="135385"/>
                  <a:pt x="781347" y="133390"/>
                </a:cubicBezTo>
                <a:cubicBezTo>
                  <a:pt x="781347" y="131396"/>
                  <a:pt x="787327" y="131396"/>
                  <a:pt x="787327" y="131396"/>
                </a:cubicBezTo>
                <a:cubicBezTo>
                  <a:pt x="787327" y="131396"/>
                  <a:pt x="789321" y="129401"/>
                  <a:pt x="789321" y="127407"/>
                </a:cubicBezTo>
                <a:close/>
                <a:moveTo>
                  <a:pt x="869422" y="109537"/>
                </a:moveTo>
                <a:cubicBezTo>
                  <a:pt x="869422" y="109537"/>
                  <a:pt x="871387" y="109537"/>
                  <a:pt x="871387" y="111538"/>
                </a:cubicBezTo>
                <a:cubicBezTo>
                  <a:pt x="871387" y="111538"/>
                  <a:pt x="869422" y="113538"/>
                  <a:pt x="867456" y="117538"/>
                </a:cubicBezTo>
                <a:cubicBezTo>
                  <a:pt x="865491" y="121539"/>
                  <a:pt x="869422" y="125539"/>
                  <a:pt x="869422" y="125539"/>
                </a:cubicBezTo>
                <a:cubicBezTo>
                  <a:pt x="869422" y="125539"/>
                  <a:pt x="873353" y="133540"/>
                  <a:pt x="873353" y="135541"/>
                </a:cubicBezTo>
                <a:cubicBezTo>
                  <a:pt x="873353" y="137541"/>
                  <a:pt x="869422" y="143542"/>
                  <a:pt x="867456" y="143542"/>
                </a:cubicBezTo>
                <a:cubicBezTo>
                  <a:pt x="863525" y="143542"/>
                  <a:pt x="863525" y="147542"/>
                  <a:pt x="863525" y="147542"/>
                </a:cubicBezTo>
                <a:cubicBezTo>
                  <a:pt x="863525" y="149542"/>
                  <a:pt x="865491" y="153543"/>
                  <a:pt x="869422" y="153543"/>
                </a:cubicBezTo>
                <a:cubicBezTo>
                  <a:pt x="871387" y="153543"/>
                  <a:pt x="869422" y="151543"/>
                  <a:pt x="869422" y="147542"/>
                </a:cubicBezTo>
                <a:cubicBezTo>
                  <a:pt x="869422" y="145542"/>
                  <a:pt x="871387" y="145542"/>
                  <a:pt x="875318" y="145542"/>
                </a:cubicBezTo>
                <a:cubicBezTo>
                  <a:pt x="877283" y="145542"/>
                  <a:pt x="877283" y="143542"/>
                  <a:pt x="877283" y="143542"/>
                </a:cubicBezTo>
                <a:cubicBezTo>
                  <a:pt x="877283" y="141541"/>
                  <a:pt x="877283" y="141541"/>
                  <a:pt x="875318" y="139541"/>
                </a:cubicBezTo>
                <a:cubicBezTo>
                  <a:pt x="873353" y="137541"/>
                  <a:pt x="875318" y="137541"/>
                  <a:pt x="879249" y="135541"/>
                </a:cubicBezTo>
                <a:cubicBezTo>
                  <a:pt x="881214" y="133540"/>
                  <a:pt x="883180" y="133540"/>
                  <a:pt x="883180" y="133540"/>
                </a:cubicBezTo>
                <a:cubicBezTo>
                  <a:pt x="883180" y="133540"/>
                  <a:pt x="883180" y="133540"/>
                  <a:pt x="887111" y="131540"/>
                </a:cubicBezTo>
                <a:cubicBezTo>
                  <a:pt x="887111" y="131540"/>
                  <a:pt x="889076" y="131540"/>
                  <a:pt x="893007" y="133540"/>
                </a:cubicBezTo>
                <a:cubicBezTo>
                  <a:pt x="896938" y="133540"/>
                  <a:pt x="896938" y="135541"/>
                  <a:pt x="893007" y="135541"/>
                </a:cubicBezTo>
                <a:cubicBezTo>
                  <a:pt x="889076" y="137541"/>
                  <a:pt x="893007" y="141541"/>
                  <a:pt x="893007" y="141541"/>
                </a:cubicBezTo>
                <a:cubicBezTo>
                  <a:pt x="893007" y="141541"/>
                  <a:pt x="894973" y="143542"/>
                  <a:pt x="893007" y="147542"/>
                </a:cubicBezTo>
                <a:cubicBezTo>
                  <a:pt x="893007" y="151543"/>
                  <a:pt x="887111" y="151543"/>
                  <a:pt x="887111" y="151543"/>
                </a:cubicBezTo>
                <a:cubicBezTo>
                  <a:pt x="887111" y="151543"/>
                  <a:pt x="879249" y="149542"/>
                  <a:pt x="879249" y="151543"/>
                </a:cubicBezTo>
                <a:cubicBezTo>
                  <a:pt x="879249" y="155543"/>
                  <a:pt x="883180" y="159544"/>
                  <a:pt x="887111" y="159544"/>
                </a:cubicBezTo>
                <a:cubicBezTo>
                  <a:pt x="889076" y="159544"/>
                  <a:pt x="889076" y="163544"/>
                  <a:pt x="891042" y="163544"/>
                </a:cubicBezTo>
                <a:cubicBezTo>
                  <a:pt x="891042" y="165545"/>
                  <a:pt x="894973" y="167545"/>
                  <a:pt x="894973" y="169545"/>
                </a:cubicBezTo>
                <a:cubicBezTo>
                  <a:pt x="894973" y="171545"/>
                  <a:pt x="885145" y="169545"/>
                  <a:pt x="883180" y="167545"/>
                </a:cubicBezTo>
                <a:cubicBezTo>
                  <a:pt x="881214" y="167545"/>
                  <a:pt x="879249" y="167545"/>
                  <a:pt x="875318" y="167545"/>
                </a:cubicBezTo>
                <a:cubicBezTo>
                  <a:pt x="869422" y="169545"/>
                  <a:pt x="873353" y="171545"/>
                  <a:pt x="873353" y="173546"/>
                </a:cubicBezTo>
                <a:cubicBezTo>
                  <a:pt x="873353" y="175546"/>
                  <a:pt x="871387" y="179546"/>
                  <a:pt x="873353" y="185547"/>
                </a:cubicBezTo>
                <a:cubicBezTo>
                  <a:pt x="873353" y="191548"/>
                  <a:pt x="877283" y="191548"/>
                  <a:pt x="879249" y="193548"/>
                </a:cubicBezTo>
                <a:cubicBezTo>
                  <a:pt x="881214" y="197549"/>
                  <a:pt x="883180" y="203549"/>
                  <a:pt x="883180" y="207550"/>
                </a:cubicBezTo>
                <a:cubicBezTo>
                  <a:pt x="883180" y="209550"/>
                  <a:pt x="877283" y="205550"/>
                  <a:pt x="875318" y="201549"/>
                </a:cubicBezTo>
                <a:cubicBezTo>
                  <a:pt x="875318" y="199549"/>
                  <a:pt x="871387" y="195548"/>
                  <a:pt x="869422" y="195548"/>
                </a:cubicBezTo>
                <a:cubicBezTo>
                  <a:pt x="867456" y="195548"/>
                  <a:pt x="865491" y="189548"/>
                  <a:pt x="865491" y="189548"/>
                </a:cubicBezTo>
                <a:cubicBezTo>
                  <a:pt x="865491" y="189548"/>
                  <a:pt x="865491" y="177546"/>
                  <a:pt x="865491" y="175546"/>
                </a:cubicBezTo>
                <a:cubicBezTo>
                  <a:pt x="865491" y="173546"/>
                  <a:pt x="861560" y="161544"/>
                  <a:pt x="861560" y="161544"/>
                </a:cubicBezTo>
                <a:cubicBezTo>
                  <a:pt x="861560" y="161544"/>
                  <a:pt x="859594" y="155543"/>
                  <a:pt x="859594" y="155543"/>
                </a:cubicBezTo>
                <a:cubicBezTo>
                  <a:pt x="859594" y="153543"/>
                  <a:pt x="859594" y="153543"/>
                  <a:pt x="857629" y="151543"/>
                </a:cubicBezTo>
                <a:cubicBezTo>
                  <a:pt x="857629" y="149542"/>
                  <a:pt x="855663" y="135541"/>
                  <a:pt x="855663" y="135541"/>
                </a:cubicBezTo>
                <a:cubicBezTo>
                  <a:pt x="855663" y="135541"/>
                  <a:pt x="855663" y="135541"/>
                  <a:pt x="855663" y="127540"/>
                </a:cubicBezTo>
                <a:cubicBezTo>
                  <a:pt x="855663" y="127540"/>
                  <a:pt x="859594" y="121539"/>
                  <a:pt x="861560" y="119539"/>
                </a:cubicBezTo>
                <a:cubicBezTo>
                  <a:pt x="861560" y="115538"/>
                  <a:pt x="869422" y="109537"/>
                  <a:pt x="869422" y="109537"/>
                </a:cubicBezTo>
                <a:close/>
                <a:moveTo>
                  <a:pt x="860426" y="106363"/>
                </a:moveTo>
                <a:cubicBezTo>
                  <a:pt x="860426" y="104775"/>
                  <a:pt x="862543" y="106363"/>
                  <a:pt x="862543" y="106363"/>
                </a:cubicBezTo>
                <a:cubicBezTo>
                  <a:pt x="866776" y="107951"/>
                  <a:pt x="862543" y="109538"/>
                  <a:pt x="862543" y="109538"/>
                </a:cubicBezTo>
                <a:cubicBezTo>
                  <a:pt x="862543" y="109538"/>
                  <a:pt x="860426" y="109538"/>
                  <a:pt x="860426" y="106363"/>
                </a:cubicBezTo>
                <a:close/>
                <a:moveTo>
                  <a:pt x="354013" y="103716"/>
                </a:moveTo>
                <a:cubicBezTo>
                  <a:pt x="355998" y="101599"/>
                  <a:pt x="357982" y="101599"/>
                  <a:pt x="357982" y="103716"/>
                </a:cubicBezTo>
                <a:cubicBezTo>
                  <a:pt x="361951" y="107949"/>
                  <a:pt x="357982" y="107949"/>
                  <a:pt x="355998" y="105833"/>
                </a:cubicBezTo>
                <a:cubicBezTo>
                  <a:pt x="355998" y="105833"/>
                  <a:pt x="354013" y="105833"/>
                  <a:pt x="354013" y="103716"/>
                </a:cubicBezTo>
                <a:close/>
                <a:moveTo>
                  <a:pt x="374255" y="103583"/>
                </a:moveTo>
                <a:cubicBezTo>
                  <a:pt x="376239" y="109536"/>
                  <a:pt x="372270" y="109536"/>
                  <a:pt x="370286" y="107552"/>
                </a:cubicBezTo>
                <a:cubicBezTo>
                  <a:pt x="370286" y="107552"/>
                  <a:pt x="368301" y="107552"/>
                  <a:pt x="368301" y="105568"/>
                </a:cubicBezTo>
                <a:cubicBezTo>
                  <a:pt x="370286" y="103583"/>
                  <a:pt x="372270" y="101599"/>
                  <a:pt x="374255" y="103583"/>
                </a:cubicBezTo>
                <a:close/>
                <a:moveTo>
                  <a:pt x="877492" y="101600"/>
                </a:moveTo>
                <a:cubicBezTo>
                  <a:pt x="879476" y="105834"/>
                  <a:pt x="877492" y="107950"/>
                  <a:pt x="875507" y="107950"/>
                </a:cubicBezTo>
                <a:cubicBezTo>
                  <a:pt x="873523" y="107950"/>
                  <a:pt x="871538" y="107950"/>
                  <a:pt x="873523" y="105834"/>
                </a:cubicBezTo>
                <a:cubicBezTo>
                  <a:pt x="873523" y="101600"/>
                  <a:pt x="877492" y="101600"/>
                  <a:pt x="877492" y="101600"/>
                </a:cubicBezTo>
                <a:close/>
                <a:moveTo>
                  <a:pt x="882425" y="99378"/>
                </a:moveTo>
                <a:cubicBezTo>
                  <a:pt x="890589" y="95250"/>
                  <a:pt x="890589" y="107633"/>
                  <a:pt x="890589" y="111761"/>
                </a:cubicBezTo>
                <a:cubicBezTo>
                  <a:pt x="890589" y="113824"/>
                  <a:pt x="882425" y="115888"/>
                  <a:pt x="878342" y="115888"/>
                </a:cubicBezTo>
                <a:cubicBezTo>
                  <a:pt x="876301" y="115888"/>
                  <a:pt x="878342" y="109697"/>
                  <a:pt x="878342" y="105569"/>
                </a:cubicBezTo>
                <a:cubicBezTo>
                  <a:pt x="880384" y="101442"/>
                  <a:pt x="882425" y="99378"/>
                  <a:pt x="882425" y="99378"/>
                </a:cubicBezTo>
                <a:close/>
                <a:moveTo>
                  <a:pt x="800498" y="96766"/>
                </a:moveTo>
                <a:cubicBezTo>
                  <a:pt x="801490" y="96766"/>
                  <a:pt x="802482" y="97271"/>
                  <a:pt x="802482" y="97271"/>
                </a:cubicBezTo>
                <a:cubicBezTo>
                  <a:pt x="806451" y="97271"/>
                  <a:pt x="804467" y="105353"/>
                  <a:pt x="806451" y="107373"/>
                </a:cubicBezTo>
                <a:cubicBezTo>
                  <a:pt x="806451" y="109393"/>
                  <a:pt x="806451" y="111414"/>
                  <a:pt x="806451" y="111414"/>
                </a:cubicBezTo>
                <a:cubicBezTo>
                  <a:pt x="806451" y="111414"/>
                  <a:pt x="806451" y="113434"/>
                  <a:pt x="802482" y="115455"/>
                </a:cubicBezTo>
                <a:cubicBezTo>
                  <a:pt x="800498" y="117475"/>
                  <a:pt x="798513" y="113434"/>
                  <a:pt x="800498" y="113434"/>
                </a:cubicBezTo>
                <a:cubicBezTo>
                  <a:pt x="802482" y="113434"/>
                  <a:pt x="802482" y="109393"/>
                  <a:pt x="802482" y="107373"/>
                </a:cubicBezTo>
                <a:cubicBezTo>
                  <a:pt x="800498" y="107373"/>
                  <a:pt x="798513" y="105353"/>
                  <a:pt x="798513" y="99291"/>
                </a:cubicBezTo>
                <a:cubicBezTo>
                  <a:pt x="798513" y="97271"/>
                  <a:pt x="799505" y="96766"/>
                  <a:pt x="800498" y="96766"/>
                </a:cubicBezTo>
                <a:close/>
                <a:moveTo>
                  <a:pt x="18654" y="95779"/>
                </a:moveTo>
                <a:cubicBezTo>
                  <a:pt x="20639" y="93662"/>
                  <a:pt x="22623" y="93662"/>
                  <a:pt x="24608" y="95779"/>
                </a:cubicBezTo>
                <a:cubicBezTo>
                  <a:pt x="26592" y="100012"/>
                  <a:pt x="26592" y="100012"/>
                  <a:pt x="28577" y="102129"/>
                </a:cubicBezTo>
                <a:cubicBezTo>
                  <a:pt x="28577" y="102129"/>
                  <a:pt x="32545" y="104246"/>
                  <a:pt x="32545" y="104246"/>
                </a:cubicBezTo>
                <a:cubicBezTo>
                  <a:pt x="34530" y="108479"/>
                  <a:pt x="36514" y="110596"/>
                  <a:pt x="34530" y="110596"/>
                </a:cubicBezTo>
                <a:cubicBezTo>
                  <a:pt x="32545" y="112712"/>
                  <a:pt x="30561" y="110596"/>
                  <a:pt x="28577" y="110596"/>
                </a:cubicBezTo>
                <a:cubicBezTo>
                  <a:pt x="28577" y="108479"/>
                  <a:pt x="24608" y="106362"/>
                  <a:pt x="24608" y="106362"/>
                </a:cubicBezTo>
                <a:cubicBezTo>
                  <a:pt x="24608" y="106362"/>
                  <a:pt x="22623" y="106362"/>
                  <a:pt x="22623" y="106362"/>
                </a:cubicBezTo>
                <a:cubicBezTo>
                  <a:pt x="20639" y="106362"/>
                  <a:pt x="18654" y="106362"/>
                  <a:pt x="16670" y="106362"/>
                </a:cubicBezTo>
                <a:cubicBezTo>
                  <a:pt x="14686" y="104246"/>
                  <a:pt x="12701" y="102129"/>
                  <a:pt x="12701" y="100012"/>
                </a:cubicBezTo>
                <a:cubicBezTo>
                  <a:pt x="14686" y="100012"/>
                  <a:pt x="16670" y="95779"/>
                  <a:pt x="18654" y="95779"/>
                </a:cubicBezTo>
                <a:close/>
                <a:moveTo>
                  <a:pt x="948086" y="93034"/>
                </a:moveTo>
                <a:cubicBezTo>
                  <a:pt x="948830" y="93729"/>
                  <a:pt x="949326" y="95118"/>
                  <a:pt x="949326" y="96044"/>
                </a:cubicBezTo>
                <a:cubicBezTo>
                  <a:pt x="949326" y="97896"/>
                  <a:pt x="949326" y="99748"/>
                  <a:pt x="947342" y="99748"/>
                </a:cubicBezTo>
                <a:cubicBezTo>
                  <a:pt x="943373" y="101600"/>
                  <a:pt x="941388" y="99748"/>
                  <a:pt x="941388" y="97896"/>
                </a:cubicBezTo>
                <a:cubicBezTo>
                  <a:pt x="941388" y="94192"/>
                  <a:pt x="945357" y="94192"/>
                  <a:pt x="945357" y="94192"/>
                </a:cubicBezTo>
                <a:cubicBezTo>
                  <a:pt x="946350" y="92340"/>
                  <a:pt x="947342" y="92340"/>
                  <a:pt x="948086" y="93034"/>
                </a:cubicBezTo>
                <a:close/>
                <a:moveTo>
                  <a:pt x="365655" y="89429"/>
                </a:moveTo>
                <a:cubicBezTo>
                  <a:pt x="369888" y="93662"/>
                  <a:pt x="365655" y="93662"/>
                  <a:pt x="363538" y="93662"/>
                </a:cubicBezTo>
                <a:cubicBezTo>
                  <a:pt x="363538" y="93662"/>
                  <a:pt x="363538" y="91546"/>
                  <a:pt x="363538" y="91546"/>
                </a:cubicBezTo>
                <a:cubicBezTo>
                  <a:pt x="363538" y="89429"/>
                  <a:pt x="365655" y="87312"/>
                  <a:pt x="365655" y="89429"/>
                </a:cubicBezTo>
                <a:close/>
                <a:moveTo>
                  <a:pt x="308770" y="87312"/>
                </a:moveTo>
                <a:cubicBezTo>
                  <a:pt x="310755" y="87312"/>
                  <a:pt x="312739" y="87312"/>
                  <a:pt x="310755" y="89429"/>
                </a:cubicBezTo>
                <a:cubicBezTo>
                  <a:pt x="310755" y="93662"/>
                  <a:pt x="310755" y="91546"/>
                  <a:pt x="306786" y="93662"/>
                </a:cubicBezTo>
                <a:cubicBezTo>
                  <a:pt x="306786" y="93662"/>
                  <a:pt x="304801" y="93662"/>
                  <a:pt x="304801" y="91546"/>
                </a:cubicBezTo>
                <a:cubicBezTo>
                  <a:pt x="304801" y="91546"/>
                  <a:pt x="304801" y="89429"/>
                  <a:pt x="306786" y="89429"/>
                </a:cubicBezTo>
                <a:cubicBezTo>
                  <a:pt x="308770" y="87312"/>
                  <a:pt x="308770" y="87312"/>
                  <a:pt x="308770" y="87312"/>
                </a:cubicBezTo>
                <a:close/>
                <a:moveTo>
                  <a:pt x="304801" y="84137"/>
                </a:moveTo>
                <a:cubicBezTo>
                  <a:pt x="304801" y="84137"/>
                  <a:pt x="306389" y="82549"/>
                  <a:pt x="307976" y="84137"/>
                </a:cubicBezTo>
                <a:cubicBezTo>
                  <a:pt x="307976" y="87311"/>
                  <a:pt x="306389" y="87311"/>
                  <a:pt x="304801" y="87311"/>
                </a:cubicBezTo>
                <a:cubicBezTo>
                  <a:pt x="304801" y="87311"/>
                  <a:pt x="304801" y="85724"/>
                  <a:pt x="304801" y="84137"/>
                </a:cubicBezTo>
                <a:close/>
                <a:moveTo>
                  <a:pt x="932955" y="81756"/>
                </a:moveTo>
                <a:cubicBezTo>
                  <a:pt x="933451" y="83079"/>
                  <a:pt x="933451" y="85196"/>
                  <a:pt x="933451" y="86254"/>
                </a:cubicBezTo>
                <a:cubicBezTo>
                  <a:pt x="933451" y="88371"/>
                  <a:pt x="929482" y="90487"/>
                  <a:pt x="927498" y="88371"/>
                </a:cubicBezTo>
                <a:cubicBezTo>
                  <a:pt x="925513" y="88371"/>
                  <a:pt x="925513" y="88371"/>
                  <a:pt x="925513" y="86254"/>
                </a:cubicBezTo>
                <a:cubicBezTo>
                  <a:pt x="925513" y="84137"/>
                  <a:pt x="929482" y="82021"/>
                  <a:pt x="929482" y="82021"/>
                </a:cubicBezTo>
                <a:cubicBezTo>
                  <a:pt x="931467" y="79904"/>
                  <a:pt x="932459" y="80433"/>
                  <a:pt x="932955" y="81756"/>
                </a:cubicBezTo>
                <a:close/>
                <a:moveTo>
                  <a:pt x="804864" y="77787"/>
                </a:moveTo>
                <a:cubicBezTo>
                  <a:pt x="806451" y="77787"/>
                  <a:pt x="806451" y="79772"/>
                  <a:pt x="806451" y="81756"/>
                </a:cubicBezTo>
                <a:cubicBezTo>
                  <a:pt x="806451" y="83741"/>
                  <a:pt x="804864" y="85725"/>
                  <a:pt x="803276" y="85725"/>
                </a:cubicBezTo>
                <a:cubicBezTo>
                  <a:pt x="803276" y="85725"/>
                  <a:pt x="803276" y="81756"/>
                  <a:pt x="803276" y="79772"/>
                </a:cubicBezTo>
                <a:cubicBezTo>
                  <a:pt x="803276" y="77787"/>
                  <a:pt x="804864" y="77787"/>
                  <a:pt x="804864" y="77787"/>
                </a:cubicBezTo>
                <a:close/>
                <a:moveTo>
                  <a:pt x="841376" y="69850"/>
                </a:moveTo>
                <a:cubicBezTo>
                  <a:pt x="841376" y="69850"/>
                  <a:pt x="842963" y="69850"/>
                  <a:pt x="842963" y="72232"/>
                </a:cubicBezTo>
                <a:cubicBezTo>
                  <a:pt x="842963" y="74613"/>
                  <a:pt x="841376" y="74613"/>
                  <a:pt x="841376" y="72232"/>
                </a:cubicBezTo>
                <a:cubicBezTo>
                  <a:pt x="839788" y="69850"/>
                  <a:pt x="841376" y="69850"/>
                  <a:pt x="841376" y="69850"/>
                </a:cubicBezTo>
                <a:close/>
                <a:moveTo>
                  <a:pt x="832380" y="65617"/>
                </a:moveTo>
                <a:cubicBezTo>
                  <a:pt x="832380" y="63500"/>
                  <a:pt x="834497" y="65617"/>
                  <a:pt x="836613" y="67734"/>
                </a:cubicBezTo>
                <a:cubicBezTo>
                  <a:pt x="836613" y="69850"/>
                  <a:pt x="834497" y="67734"/>
                  <a:pt x="832380" y="67734"/>
                </a:cubicBezTo>
                <a:cubicBezTo>
                  <a:pt x="830263" y="67734"/>
                  <a:pt x="832380" y="65617"/>
                  <a:pt x="832380" y="65617"/>
                </a:cubicBezTo>
                <a:close/>
                <a:moveTo>
                  <a:pt x="800895" y="65541"/>
                </a:moveTo>
                <a:cubicBezTo>
                  <a:pt x="806848" y="63500"/>
                  <a:pt x="806848" y="67583"/>
                  <a:pt x="806848" y="67583"/>
                </a:cubicBezTo>
                <a:cubicBezTo>
                  <a:pt x="812801" y="71665"/>
                  <a:pt x="812801" y="73706"/>
                  <a:pt x="810817" y="75747"/>
                </a:cubicBezTo>
                <a:cubicBezTo>
                  <a:pt x="808832" y="77788"/>
                  <a:pt x="802879" y="73706"/>
                  <a:pt x="802879" y="73706"/>
                </a:cubicBezTo>
                <a:cubicBezTo>
                  <a:pt x="802879" y="73706"/>
                  <a:pt x="796926" y="65541"/>
                  <a:pt x="800895" y="65541"/>
                </a:cubicBezTo>
                <a:close/>
                <a:moveTo>
                  <a:pt x="808568" y="52785"/>
                </a:moveTo>
                <a:cubicBezTo>
                  <a:pt x="808568" y="52785"/>
                  <a:pt x="812801" y="50800"/>
                  <a:pt x="812801" y="52785"/>
                </a:cubicBezTo>
                <a:cubicBezTo>
                  <a:pt x="810685" y="54769"/>
                  <a:pt x="808568" y="58738"/>
                  <a:pt x="808568" y="54769"/>
                </a:cubicBezTo>
                <a:cubicBezTo>
                  <a:pt x="806451" y="52785"/>
                  <a:pt x="808568" y="52785"/>
                  <a:pt x="808568" y="52785"/>
                </a:cubicBezTo>
                <a:close/>
                <a:moveTo>
                  <a:pt x="558638" y="47085"/>
                </a:moveTo>
                <a:cubicBezTo>
                  <a:pt x="561129" y="45843"/>
                  <a:pt x="564617" y="45843"/>
                  <a:pt x="569600" y="48824"/>
                </a:cubicBezTo>
                <a:cubicBezTo>
                  <a:pt x="581558" y="52799"/>
                  <a:pt x="579565" y="54786"/>
                  <a:pt x="581558" y="54786"/>
                </a:cubicBezTo>
                <a:cubicBezTo>
                  <a:pt x="585544" y="54786"/>
                  <a:pt x="593517" y="54786"/>
                  <a:pt x="595510" y="54786"/>
                </a:cubicBezTo>
                <a:cubicBezTo>
                  <a:pt x="595510" y="54786"/>
                  <a:pt x="595510" y="54786"/>
                  <a:pt x="595510" y="56773"/>
                </a:cubicBezTo>
                <a:cubicBezTo>
                  <a:pt x="595510" y="62735"/>
                  <a:pt x="599496" y="58761"/>
                  <a:pt x="599496" y="58761"/>
                </a:cubicBezTo>
                <a:cubicBezTo>
                  <a:pt x="599496" y="58761"/>
                  <a:pt x="603482" y="58761"/>
                  <a:pt x="605475" y="62735"/>
                </a:cubicBezTo>
                <a:cubicBezTo>
                  <a:pt x="607468" y="66710"/>
                  <a:pt x="607468" y="68697"/>
                  <a:pt x="603482" y="70685"/>
                </a:cubicBezTo>
                <a:cubicBezTo>
                  <a:pt x="599496" y="70685"/>
                  <a:pt x="601489" y="74659"/>
                  <a:pt x="603482" y="76647"/>
                </a:cubicBezTo>
                <a:cubicBezTo>
                  <a:pt x="605475" y="78634"/>
                  <a:pt x="601489" y="82608"/>
                  <a:pt x="601489" y="82608"/>
                </a:cubicBezTo>
                <a:cubicBezTo>
                  <a:pt x="601489" y="82608"/>
                  <a:pt x="599496" y="88570"/>
                  <a:pt x="603482" y="90558"/>
                </a:cubicBezTo>
                <a:cubicBezTo>
                  <a:pt x="607468" y="92545"/>
                  <a:pt x="607468" y="98507"/>
                  <a:pt x="607468" y="98507"/>
                </a:cubicBezTo>
                <a:cubicBezTo>
                  <a:pt x="607468" y="98507"/>
                  <a:pt x="603482" y="104469"/>
                  <a:pt x="607468" y="108444"/>
                </a:cubicBezTo>
                <a:cubicBezTo>
                  <a:pt x="611454" y="112418"/>
                  <a:pt x="607468" y="114405"/>
                  <a:pt x="605475" y="116393"/>
                </a:cubicBezTo>
                <a:cubicBezTo>
                  <a:pt x="603482" y="116393"/>
                  <a:pt x="599496" y="116393"/>
                  <a:pt x="605475" y="124342"/>
                </a:cubicBezTo>
                <a:cubicBezTo>
                  <a:pt x="611454" y="130304"/>
                  <a:pt x="615440" y="136266"/>
                  <a:pt x="615440" y="136266"/>
                </a:cubicBezTo>
                <a:cubicBezTo>
                  <a:pt x="615440" y="136266"/>
                  <a:pt x="631385" y="138253"/>
                  <a:pt x="633378" y="142228"/>
                </a:cubicBezTo>
                <a:cubicBezTo>
                  <a:pt x="633378" y="148190"/>
                  <a:pt x="633378" y="148190"/>
                  <a:pt x="637364" y="150177"/>
                </a:cubicBezTo>
                <a:cubicBezTo>
                  <a:pt x="641350" y="154152"/>
                  <a:pt x="637364" y="156139"/>
                  <a:pt x="633378" y="156139"/>
                </a:cubicBezTo>
                <a:cubicBezTo>
                  <a:pt x="629392" y="156139"/>
                  <a:pt x="627399" y="160114"/>
                  <a:pt x="621420" y="160114"/>
                </a:cubicBezTo>
                <a:cubicBezTo>
                  <a:pt x="613447" y="158126"/>
                  <a:pt x="611454" y="154152"/>
                  <a:pt x="611454" y="154152"/>
                </a:cubicBezTo>
                <a:cubicBezTo>
                  <a:pt x="611454" y="154152"/>
                  <a:pt x="607468" y="160114"/>
                  <a:pt x="603482" y="158126"/>
                </a:cubicBezTo>
                <a:cubicBezTo>
                  <a:pt x="599496" y="158126"/>
                  <a:pt x="603482" y="172037"/>
                  <a:pt x="599496" y="177999"/>
                </a:cubicBezTo>
                <a:cubicBezTo>
                  <a:pt x="597503" y="183961"/>
                  <a:pt x="599496" y="187936"/>
                  <a:pt x="597503" y="191911"/>
                </a:cubicBezTo>
                <a:cubicBezTo>
                  <a:pt x="597503" y="195885"/>
                  <a:pt x="597503" y="205822"/>
                  <a:pt x="593517" y="207809"/>
                </a:cubicBezTo>
                <a:cubicBezTo>
                  <a:pt x="589531" y="207809"/>
                  <a:pt x="585544" y="213771"/>
                  <a:pt x="585544" y="213771"/>
                </a:cubicBezTo>
                <a:cubicBezTo>
                  <a:pt x="585544" y="213771"/>
                  <a:pt x="581558" y="223708"/>
                  <a:pt x="577572" y="223708"/>
                </a:cubicBezTo>
                <a:cubicBezTo>
                  <a:pt x="575579" y="225695"/>
                  <a:pt x="573586" y="227682"/>
                  <a:pt x="573586" y="227682"/>
                </a:cubicBezTo>
                <a:cubicBezTo>
                  <a:pt x="573586" y="227682"/>
                  <a:pt x="573586" y="227682"/>
                  <a:pt x="569600" y="235631"/>
                </a:cubicBezTo>
                <a:cubicBezTo>
                  <a:pt x="569600" y="235631"/>
                  <a:pt x="567607" y="241593"/>
                  <a:pt x="571593" y="247555"/>
                </a:cubicBezTo>
                <a:cubicBezTo>
                  <a:pt x="575579" y="251530"/>
                  <a:pt x="575579" y="257492"/>
                  <a:pt x="571593" y="261466"/>
                </a:cubicBezTo>
                <a:cubicBezTo>
                  <a:pt x="567607" y="261466"/>
                  <a:pt x="565614" y="263454"/>
                  <a:pt x="565614" y="269416"/>
                </a:cubicBezTo>
                <a:cubicBezTo>
                  <a:pt x="567607" y="273390"/>
                  <a:pt x="567607" y="273390"/>
                  <a:pt x="563621" y="273390"/>
                </a:cubicBezTo>
                <a:cubicBezTo>
                  <a:pt x="561628" y="275378"/>
                  <a:pt x="559635" y="281340"/>
                  <a:pt x="559635" y="281340"/>
                </a:cubicBezTo>
                <a:cubicBezTo>
                  <a:pt x="559635" y="281340"/>
                  <a:pt x="559635" y="285314"/>
                  <a:pt x="557641" y="285314"/>
                </a:cubicBezTo>
                <a:cubicBezTo>
                  <a:pt x="555648" y="285314"/>
                  <a:pt x="557641" y="291276"/>
                  <a:pt x="557641" y="291276"/>
                </a:cubicBezTo>
                <a:cubicBezTo>
                  <a:pt x="557641" y="291276"/>
                  <a:pt x="555648" y="297238"/>
                  <a:pt x="549669" y="299225"/>
                </a:cubicBezTo>
                <a:cubicBezTo>
                  <a:pt x="545683" y="301213"/>
                  <a:pt x="539704" y="301213"/>
                  <a:pt x="539704" y="301213"/>
                </a:cubicBezTo>
                <a:cubicBezTo>
                  <a:pt x="539704" y="301213"/>
                  <a:pt x="539704" y="301213"/>
                  <a:pt x="527745" y="309162"/>
                </a:cubicBezTo>
                <a:cubicBezTo>
                  <a:pt x="527745" y="309162"/>
                  <a:pt x="521766" y="311149"/>
                  <a:pt x="519773" y="311149"/>
                </a:cubicBezTo>
                <a:cubicBezTo>
                  <a:pt x="517780" y="309162"/>
                  <a:pt x="519773" y="307175"/>
                  <a:pt x="519773" y="307175"/>
                </a:cubicBezTo>
                <a:cubicBezTo>
                  <a:pt x="519773" y="307175"/>
                  <a:pt x="515787" y="297238"/>
                  <a:pt x="515787" y="295251"/>
                </a:cubicBezTo>
                <a:cubicBezTo>
                  <a:pt x="515787" y="291276"/>
                  <a:pt x="515787" y="287302"/>
                  <a:pt x="511801" y="287302"/>
                </a:cubicBezTo>
                <a:cubicBezTo>
                  <a:pt x="509808" y="289289"/>
                  <a:pt x="503829" y="285314"/>
                  <a:pt x="503829" y="285314"/>
                </a:cubicBezTo>
                <a:cubicBezTo>
                  <a:pt x="503829" y="285314"/>
                  <a:pt x="493863" y="291276"/>
                  <a:pt x="493863" y="285314"/>
                </a:cubicBezTo>
                <a:cubicBezTo>
                  <a:pt x="491870" y="279352"/>
                  <a:pt x="485891" y="281340"/>
                  <a:pt x="485891" y="281340"/>
                </a:cubicBezTo>
                <a:cubicBezTo>
                  <a:pt x="485891" y="281340"/>
                  <a:pt x="487884" y="285314"/>
                  <a:pt x="481905" y="281340"/>
                </a:cubicBezTo>
                <a:cubicBezTo>
                  <a:pt x="477919" y="275378"/>
                  <a:pt x="485891" y="287302"/>
                  <a:pt x="475926" y="289289"/>
                </a:cubicBezTo>
                <a:cubicBezTo>
                  <a:pt x="465960" y="289289"/>
                  <a:pt x="463967" y="289289"/>
                  <a:pt x="461974" y="289289"/>
                </a:cubicBezTo>
                <a:cubicBezTo>
                  <a:pt x="457988" y="287302"/>
                  <a:pt x="452009" y="289289"/>
                  <a:pt x="446030" y="287302"/>
                </a:cubicBezTo>
                <a:cubicBezTo>
                  <a:pt x="440051" y="285314"/>
                  <a:pt x="444037" y="283327"/>
                  <a:pt x="444037" y="281340"/>
                </a:cubicBezTo>
                <a:cubicBezTo>
                  <a:pt x="446030" y="277365"/>
                  <a:pt x="448023" y="273390"/>
                  <a:pt x="446030" y="271403"/>
                </a:cubicBezTo>
                <a:cubicBezTo>
                  <a:pt x="444037" y="269416"/>
                  <a:pt x="440051" y="277365"/>
                  <a:pt x="436064" y="275378"/>
                </a:cubicBezTo>
                <a:cubicBezTo>
                  <a:pt x="430085" y="273390"/>
                  <a:pt x="430085" y="279352"/>
                  <a:pt x="426099" y="277365"/>
                </a:cubicBezTo>
                <a:cubicBezTo>
                  <a:pt x="422113" y="277365"/>
                  <a:pt x="418127" y="273390"/>
                  <a:pt x="414141" y="275378"/>
                </a:cubicBezTo>
                <a:cubicBezTo>
                  <a:pt x="410155" y="275378"/>
                  <a:pt x="408162" y="273390"/>
                  <a:pt x="406168" y="269416"/>
                </a:cubicBezTo>
                <a:cubicBezTo>
                  <a:pt x="402182" y="267428"/>
                  <a:pt x="402182" y="255505"/>
                  <a:pt x="402182" y="251530"/>
                </a:cubicBezTo>
                <a:cubicBezTo>
                  <a:pt x="402182" y="247555"/>
                  <a:pt x="398196" y="239606"/>
                  <a:pt x="398196" y="239606"/>
                </a:cubicBezTo>
                <a:cubicBezTo>
                  <a:pt x="398196" y="239606"/>
                  <a:pt x="396203" y="233644"/>
                  <a:pt x="398196" y="231657"/>
                </a:cubicBezTo>
                <a:cubicBezTo>
                  <a:pt x="402182" y="229669"/>
                  <a:pt x="402182" y="223708"/>
                  <a:pt x="398196" y="223708"/>
                </a:cubicBezTo>
                <a:cubicBezTo>
                  <a:pt x="394210" y="223708"/>
                  <a:pt x="394210" y="219733"/>
                  <a:pt x="394210" y="219733"/>
                </a:cubicBezTo>
                <a:cubicBezTo>
                  <a:pt x="394210" y="219733"/>
                  <a:pt x="394210" y="219733"/>
                  <a:pt x="388231" y="219733"/>
                </a:cubicBezTo>
                <a:cubicBezTo>
                  <a:pt x="388231" y="219733"/>
                  <a:pt x="384245" y="223708"/>
                  <a:pt x="382252" y="213771"/>
                </a:cubicBezTo>
                <a:cubicBezTo>
                  <a:pt x="380259" y="201847"/>
                  <a:pt x="380259" y="199860"/>
                  <a:pt x="378266" y="199860"/>
                </a:cubicBezTo>
                <a:cubicBezTo>
                  <a:pt x="374279" y="199860"/>
                  <a:pt x="378266" y="181974"/>
                  <a:pt x="378266" y="181974"/>
                </a:cubicBezTo>
                <a:cubicBezTo>
                  <a:pt x="378266" y="181974"/>
                  <a:pt x="380259" y="176012"/>
                  <a:pt x="376273" y="176012"/>
                </a:cubicBezTo>
                <a:cubicBezTo>
                  <a:pt x="370293" y="176012"/>
                  <a:pt x="368300" y="160114"/>
                  <a:pt x="370293" y="150177"/>
                </a:cubicBezTo>
                <a:cubicBezTo>
                  <a:pt x="372286" y="142228"/>
                  <a:pt x="376273" y="124342"/>
                  <a:pt x="384245" y="124342"/>
                </a:cubicBezTo>
                <a:cubicBezTo>
                  <a:pt x="388231" y="122355"/>
                  <a:pt x="390224" y="122355"/>
                  <a:pt x="390224" y="124342"/>
                </a:cubicBezTo>
                <a:cubicBezTo>
                  <a:pt x="390224" y="124342"/>
                  <a:pt x="390224" y="124342"/>
                  <a:pt x="392217" y="138253"/>
                </a:cubicBezTo>
                <a:cubicBezTo>
                  <a:pt x="392217" y="138253"/>
                  <a:pt x="392217" y="138253"/>
                  <a:pt x="408162" y="154152"/>
                </a:cubicBezTo>
                <a:cubicBezTo>
                  <a:pt x="408162" y="154152"/>
                  <a:pt x="444037" y="154152"/>
                  <a:pt x="448023" y="150177"/>
                </a:cubicBezTo>
                <a:cubicBezTo>
                  <a:pt x="450016" y="146202"/>
                  <a:pt x="452009" y="140240"/>
                  <a:pt x="461974" y="138253"/>
                </a:cubicBezTo>
                <a:cubicBezTo>
                  <a:pt x="471940" y="136266"/>
                  <a:pt x="477919" y="138253"/>
                  <a:pt x="481905" y="140240"/>
                </a:cubicBezTo>
                <a:cubicBezTo>
                  <a:pt x="487884" y="142228"/>
                  <a:pt x="515787" y="136266"/>
                  <a:pt x="521766" y="130304"/>
                </a:cubicBezTo>
                <a:cubicBezTo>
                  <a:pt x="527745" y="122355"/>
                  <a:pt x="527745" y="108444"/>
                  <a:pt x="537711" y="98507"/>
                </a:cubicBezTo>
                <a:cubicBezTo>
                  <a:pt x="545683" y="90558"/>
                  <a:pt x="547676" y="72672"/>
                  <a:pt x="547676" y="68697"/>
                </a:cubicBezTo>
                <a:cubicBezTo>
                  <a:pt x="545683" y="64723"/>
                  <a:pt x="547676" y="60748"/>
                  <a:pt x="547676" y="60748"/>
                </a:cubicBezTo>
                <a:cubicBezTo>
                  <a:pt x="547676" y="60748"/>
                  <a:pt x="553655" y="56773"/>
                  <a:pt x="553655" y="52799"/>
                </a:cubicBezTo>
                <a:cubicBezTo>
                  <a:pt x="554652" y="50812"/>
                  <a:pt x="556147" y="48327"/>
                  <a:pt x="558638" y="47085"/>
                </a:cubicBezTo>
                <a:close/>
                <a:moveTo>
                  <a:pt x="831322" y="40041"/>
                </a:moveTo>
                <a:cubicBezTo>
                  <a:pt x="831322" y="38100"/>
                  <a:pt x="835555" y="40041"/>
                  <a:pt x="835555" y="40041"/>
                </a:cubicBezTo>
                <a:cubicBezTo>
                  <a:pt x="835555" y="40041"/>
                  <a:pt x="839788" y="47802"/>
                  <a:pt x="839788" y="51683"/>
                </a:cubicBezTo>
                <a:cubicBezTo>
                  <a:pt x="839788" y="53623"/>
                  <a:pt x="837672" y="55563"/>
                  <a:pt x="831322" y="55563"/>
                </a:cubicBezTo>
                <a:cubicBezTo>
                  <a:pt x="827088" y="53623"/>
                  <a:pt x="833438" y="47802"/>
                  <a:pt x="833438" y="45862"/>
                </a:cubicBezTo>
                <a:cubicBezTo>
                  <a:pt x="831322" y="45862"/>
                  <a:pt x="831322" y="43921"/>
                  <a:pt x="831322" y="40041"/>
                </a:cubicBezTo>
                <a:close/>
                <a:moveTo>
                  <a:pt x="846668" y="34925"/>
                </a:moveTo>
                <a:cubicBezTo>
                  <a:pt x="848785" y="34925"/>
                  <a:pt x="850901" y="38894"/>
                  <a:pt x="850901" y="38894"/>
                </a:cubicBezTo>
                <a:cubicBezTo>
                  <a:pt x="850901" y="38894"/>
                  <a:pt x="850901" y="42863"/>
                  <a:pt x="848785" y="42863"/>
                </a:cubicBezTo>
                <a:cubicBezTo>
                  <a:pt x="846668" y="40879"/>
                  <a:pt x="846668" y="40879"/>
                  <a:pt x="846668" y="40879"/>
                </a:cubicBezTo>
                <a:lnTo>
                  <a:pt x="844551" y="38894"/>
                </a:lnTo>
                <a:cubicBezTo>
                  <a:pt x="844551" y="38894"/>
                  <a:pt x="844551" y="34925"/>
                  <a:pt x="846668" y="34925"/>
                </a:cubicBezTo>
                <a:close/>
                <a:moveTo>
                  <a:pt x="800895" y="14287"/>
                </a:moveTo>
                <a:cubicBezTo>
                  <a:pt x="800895" y="14287"/>
                  <a:pt x="803276" y="14287"/>
                  <a:pt x="803276" y="15875"/>
                </a:cubicBezTo>
                <a:cubicBezTo>
                  <a:pt x="803276" y="17462"/>
                  <a:pt x="800895" y="17462"/>
                  <a:pt x="798513" y="15875"/>
                </a:cubicBezTo>
                <a:cubicBezTo>
                  <a:pt x="798513" y="14287"/>
                  <a:pt x="800895" y="14287"/>
                  <a:pt x="800895" y="14287"/>
                </a:cubicBezTo>
                <a:close/>
                <a:moveTo>
                  <a:pt x="3974" y="0"/>
                </a:moveTo>
                <a:cubicBezTo>
                  <a:pt x="3974" y="0"/>
                  <a:pt x="5961" y="3986"/>
                  <a:pt x="7949" y="5979"/>
                </a:cubicBezTo>
                <a:cubicBezTo>
                  <a:pt x="11923" y="7972"/>
                  <a:pt x="17884" y="7972"/>
                  <a:pt x="17884" y="7972"/>
                </a:cubicBezTo>
                <a:cubicBezTo>
                  <a:pt x="17884" y="7972"/>
                  <a:pt x="17884" y="7972"/>
                  <a:pt x="21858" y="11958"/>
                </a:cubicBezTo>
                <a:cubicBezTo>
                  <a:pt x="23845" y="15944"/>
                  <a:pt x="21858" y="19930"/>
                  <a:pt x="27819" y="19930"/>
                </a:cubicBezTo>
                <a:cubicBezTo>
                  <a:pt x="31793" y="21923"/>
                  <a:pt x="33781" y="21923"/>
                  <a:pt x="35768" y="21923"/>
                </a:cubicBezTo>
                <a:cubicBezTo>
                  <a:pt x="37755" y="21923"/>
                  <a:pt x="45703" y="23916"/>
                  <a:pt x="47690" y="23916"/>
                </a:cubicBezTo>
                <a:cubicBezTo>
                  <a:pt x="47690" y="23916"/>
                  <a:pt x="51664" y="23916"/>
                  <a:pt x="55638" y="23916"/>
                </a:cubicBezTo>
                <a:cubicBezTo>
                  <a:pt x="57625" y="23916"/>
                  <a:pt x="59612" y="25909"/>
                  <a:pt x="61600" y="25909"/>
                </a:cubicBezTo>
                <a:cubicBezTo>
                  <a:pt x="63587" y="25909"/>
                  <a:pt x="67561" y="25909"/>
                  <a:pt x="69548" y="27902"/>
                </a:cubicBezTo>
                <a:cubicBezTo>
                  <a:pt x="69548" y="27902"/>
                  <a:pt x="73522" y="33881"/>
                  <a:pt x="73522" y="33881"/>
                </a:cubicBezTo>
                <a:cubicBezTo>
                  <a:pt x="73522" y="33881"/>
                  <a:pt x="75509" y="35874"/>
                  <a:pt x="75509" y="39860"/>
                </a:cubicBezTo>
                <a:cubicBezTo>
                  <a:pt x="75509" y="41853"/>
                  <a:pt x="75509" y="43846"/>
                  <a:pt x="77496" y="45839"/>
                </a:cubicBezTo>
                <a:cubicBezTo>
                  <a:pt x="79483" y="45839"/>
                  <a:pt x="83457" y="43846"/>
                  <a:pt x="85444" y="47832"/>
                </a:cubicBezTo>
                <a:cubicBezTo>
                  <a:pt x="87432" y="49825"/>
                  <a:pt x="85444" y="53811"/>
                  <a:pt x="85444" y="55804"/>
                </a:cubicBezTo>
                <a:cubicBezTo>
                  <a:pt x="83457" y="57797"/>
                  <a:pt x="91406" y="59790"/>
                  <a:pt x="91406" y="59790"/>
                </a:cubicBezTo>
                <a:cubicBezTo>
                  <a:pt x="91406" y="59790"/>
                  <a:pt x="99354" y="65769"/>
                  <a:pt x="99354" y="65769"/>
                </a:cubicBezTo>
                <a:cubicBezTo>
                  <a:pt x="101341" y="67762"/>
                  <a:pt x="105315" y="73741"/>
                  <a:pt x="107302" y="73741"/>
                </a:cubicBezTo>
                <a:cubicBezTo>
                  <a:pt x="107302" y="75734"/>
                  <a:pt x="107302" y="79720"/>
                  <a:pt x="111276" y="81713"/>
                </a:cubicBezTo>
                <a:cubicBezTo>
                  <a:pt x="113264" y="83706"/>
                  <a:pt x="119225" y="83706"/>
                  <a:pt x="119225" y="83706"/>
                </a:cubicBezTo>
                <a:cubicBezTo>
                  <a:pt x="119225" y="83706"/>
                  <a:pt x="125186" y="87692"/>
                  <a:pt x="127173" y="87692"/>
                </a:cubicBezTo>
                <a:cubicBezTo>
                  <a:pt x="127173" y="89685"/>
                  <a:pt x="129160" y="91678"/>
                  <a:pt x="131147" y="93671"/>
                </a:cubicBezTo>
                <a:cubicBezTo>
                  <a:pt x="131147" y="97657"/>
                  <a:pt x="133134" y="101643"/>
                  <a:pt x="133134" y="103636"/>
                </a:cubicBezTo>
                <a:cubicBezTo>
                  <a:pt x="135121" y="103636"/>
                  <a:pt x="139095" y="103636"/>
                  <a:pt x="141083" y="103636"/>
                </a:cubicBezTo>
                <a:cubicBezTo>
                  <a:pt x="141083" y="103636"/>
                  <a:pt x="143070" y="103636"/>
                  <a:pt x="145057" y="105629"/>
                </a:cubicBezTo>
                <a:cubicBezTo>
                  <a:pt x="145057" y="107622"/>
                  <a:pt x="145057" y="111608"/>
                  <a:pt x="147044" y="113601"/>
                </a:cubicBezTo>
                <a:cubicBezTo>
                  <a:pt x="147044" y="117587"/>
                  <a:pt x="151018" y="123566"/>
                  <a:pt x="153005" y="123566"/>
                </a:cubicBezTo>
                <a:cubicBezTo>
                  <a:pt x="156979" y="125559"/>
                  <a:pt x="156979" y="125559"/>
                  <a:pt x="156979" y="121573"/>
                </a:cubicBezTo>
                <a:cubicBezTo>
                  <a:pt x="154992" y="119580"/>
                  <a:pt x="154992" y="115594"/>
                  <a:pt x="154992" y="111608"/>
                </a:cubicBezTo>
                <a:cubicBezTo>
                  <a:pt x="154992" y="111608"/>
                  <a:pt x="154992" y="109615"/>
                  <a:pt x="156979" y="109615"/>
                </a:cubicBezTo>
                <a:cubicBezTo>
                  <a:pt x="156979" y="107622"/>
                  <a:pt x="160953" y="107622"/>
                  <a:pt x="160953" y="107622"/>
                </a:cubicBezTo>
                <a:cubicBezTo>
                  <a:pt x="162940" y="109615"/>
                  <a:pt x="164927" y="113601"/>
                  <a:pt x="166915" y="115594"/>
                </a:cubicBezTo>
                <a:cubicBezTo>
                  <a:pt x="168902" y="117587"/>
                  <a:pt x="170889" y="119580"/>
                  <a:pt x="170889" y="119580"/>
                </a:cubicBezTo>
                <a:cubicBezTo>
                  <a:pt x="170889" y="119580"/>
                  <a:pt x="174863" y="117587"/>
                  <a:pt x="176850" y="117587"/>
                </a:cubicBezTo>
                <a:cubicBezTo>
                  <a:pt x="178837" y="117587"/>
                  <a:pt x="180824" y="117587"/>
                  <a:pt x="180824" y="119580"/>
                </a:cubicBezTo>
                <a:cubicBezTo>
                  <a:pt x="178837" y="121573"/>
                  <a:pt x="178837" y="125559"/>
                  <a:pt x="178837" y="127552"/>
                </a:cubicBezTo>
                <a:cubicBezTo>
                  <a:pt x="178837" y="129545"/>
                  <a:pt x="178837" y="129545"/>
                  <a:pt x="180824" y="131538"/>
                </a:cubicBezTo>
                <a:cubicBezTo>
                  <a:pt x="180824" y="131538"/>
                  <a:pt x="182811" y="133531"/>
                  <a:pt x="184798" y="133531"/>
                </a:cubicBezTo>
                <a:cubicBezTo>
                  <a:pt x="184798" y="135524"/>
                  <a:pt x="186785" y="137517"/>
                  <a:pt x="186785" y="139510"/>
                </a:cubicBezTo>
                <a:cubicBezTo>
                  <a:pt x="188772" y="141503"/>
                  <a:pt x="188772" y="145489"/>
                  <a:pt x="190759" y="147482"/>
                </a:cubicBezTo>
                <a:cubicBezTo>
                  <a:pt x="190759" y="149475"/>
                  <a:pt x="192747" y="151468"/>
                  <a:pt x="194734" y="153461"/>
                </a:cubicBezTo>
                <a:cubicBezTo>
                  <a:pt x="194734" y="155454"/>
                  <a:pt x="196721" y="155454"/>
                  <a:pt x="198708" y="157447"/>
                </a:cubicBezTo>
                <a:cubicBezTo>
                  <a:pt x="202682" y="157447"/>
                  <a:pt x="206656" y="157447"/>
                  <a:pt x="206656" y="155454"/>
                </a:cubicBezTo>
                <a:cubicBezTo>
                  <a:pt x="204669" y="155454"/>
                  <a:pt x="200695" y="153461"/>
                  <a:pt x="200695" y="151468"/>
                </a:cubicBezTo>
                <a:cubicBezTo>
                  <a:pt x="198708" y="151468"/>
                  <a:pt x="194734" y="147482"/>
                  <a:pt x="194734" y="145489"/>
                </a:cubicBezTo>
                <a:cubicBezTo>
                  <a:pt x="194734" y="145489"/>
                  <a:pt x="192747" y="143496"/>
                  <a:pt x="192747" y="141503"/>
                </a:cubicBezTo>
                <a:cubicBezTo>
                  <a:pt x="192747" y="139510"/>
                  <a:pt x="192747" y="137517"/>
                  <a:pt x="192747" y="137517"/>
                </a:cubicBezTo>
                <a:cubicBezTo>
                  <a:pt x="190759" y="135524"/>
                  <a:pt x="190759" y="133531"/>
                  <a:pt x="188772" y="133531"/>
                </a:cubicBezTo>
                <a:cubicBezTo>
                  <a:pt x="188772" y="131538"/>
                  <a:pt x="186785" y="131538"/>
                  <a:pt x="184798" y="131538"/>
                </a:cubicBezTo>
                <a:cubicBezTo>
                  <a:pt x="184798" y="129545"/>
                  <a:pt x="182811" y="127552"/>
                  <a:pt x="184798" y="127552"/>
                </a:cubicBezTo>
                <a:cubicBezTo>
                  <a:pt x="184798" y="127552"/>
                  <a:pt x="188772" y="127552"/>
                  <a:pt x="190759" y="127552"/>
                </a:cubicBezTo>
                <a:cubicBezTo>
                  <a:pt x="192747" y="127552"/>
                  <a:pt x="194734" y="129545"/>
                  <a:pt x="194734" y="129545"/>
                </a:cubicBezTo>
                <a:cubicBezTo>
                  <a:pt x="196721" y="131538"/>
                  <a:pt x="198708" y="129545"/>
                  <a:pt x="198708" y="131538"/>
                </a:cubicBezTo>
                <a:cubicBezTo>
                  <a:pt x="200695" y="131538"/>
                  <a:pt x="202682" y="131538"/>
                  <a:pt x="202682" y="133531"/>
                </a:cubicBezTo>
                <a:cubicBezTo>
                  <a:pt x="202682" y="137517"/>
                  <a:pt x="202682" y="141503"/>
                  <a:pt x="202682" y="141503"/>
                </a:cubicBezTo>
                <a:cubicBezTo>
                  <a:pt x="204669" y="143496"/>
                  <a:pt x="204669" y="145489"/>
                  <a:pt x="204669" y="145489"/>
                </a:cubicBezTo>
                <a:cubicBezTo>
                  <a:pt x="206656" y="145489"/>
                  <a:pt x="210630" y="145489"/>
                  <a:pt x="210630" y="145489"/>
                </a:cubicBezTo>
                <a:cubicBezTo>
                  <a:pt x="210630" y="145489"/>
                  <a:pt x="214604" y="145489"/>
                  <a:pt x="214604" y="145489"/>
                </a:cubicBezTo>
                <a:cubicBezTo>
                  <a:pt x="216591" y="147482"/>
                  <a:pt x="216591" y="149475"/>
                  <a:pt x="216591" y="151468"/>
                </a:cubicBezTo>
                <a:cubicBezTo>
                  <a:pt x="216591" y="153461"/>
                  <a:pt x="216591" y="159440"/>
                  <a:pt x="216591" y="159440"/>
                </a:cubicBezTo>
                <a:cubicBezTo>
                  <a:pt x="216591" y="161433"/>
                  <a:pt x="214604" y="165419"/>
                  <a:pt x="214604" y="165419"/>
                </a:cubicBezTo>
                <a:cubicBezTo>
                  <a:pt x="212617" y="167412"/>
                  <a:pt x="210630" y="167412"/>
                  <a:pt x="210630" y="169405"/>
                </a:cubicBezTo>
                <a:cubicBezTo>
                  <a:pt x="210630" y="171398"/>
                  <a:pt x="212617" y="171398"/>
                  <a:pt x="214604" y="171398"/>
                </a:cubicBezTo>
                <a:cubicBezTo>
                  <a:pt x="216591" y="173391"/>
                  <a:pt x="220566" y="173391"/>
                  <a:pt x="222553" y="173391"/>
                </a:cubicBezTo>
                <a:cubicBezTo>
                  <a:pt x="226527" y="173391"/>
                  <a:pt x="228514" y="173391"/>
                  <a:pt x="230501" y="175384"/>
                </a:cubicBezTo>
                <a:cubicBezTo>
                  <a:pt x="232488" y="177377"/>
                  <a:pt x="232488" y="181363"/>
                  <a:pt x="232488" y="181363"/>
                </a:cubicBezTo>
                <a:cubicBezTo>
                  <a:pt x="230501" y="183356"/>
                  <a:pt x="228514" y="187342"/>
                  <a:pt x="228514" y="187342"/>
                </a:cubicBezTo>
                <a:cubicBezTo>
                  <a:pt x="228514" y="189335"/>
                  <a:pt x="230501" y="193321"/>
                  <a:pt x="230501" y="193321"/>
                </a:cubicBezTo>
                <a:cubicBezTo>
                  <a:pt x="230501" y="195314"/>
                  <a:pt x="230501" y="197307"/>
                  <a:pt x="228514" y="199300"/>
                </a:cubicBezTo>
                <a:cubicBezTo>
                  <a:pt x="228514" y="199300"/>
                  <a:pt x="226527" y="201293"/>
                  <a:pt x="226527" y="203286"/>
                </a:cubicBezTo>
                <a:cubicBezTo>
                  <a:pt x="226527" y="205279"/>
                  <a:pt x="230501" y="211258"/>
                  <a:pt x="232488" y="213251"/>
                </a:cubicBezTo>
                <a:cubicBezTo>
                  <a:pt x="232488" y="213251"/>
                  <a:pt x="240436" y="213251"/>
                  <a:pt x="242423" y="213251"/>
                </a:cubicBezTo>
                <a:cubicBezTo>
                  <a:pt x="244410" y="213251"/>
                  <a:pt x="248385" y="215244"/>
                  <a:pt x="248385" y="217237"/>
                </a:cubicBezTo>
                <a:cubicBezTo>
                  <a:pt x="250372" y="217237"/>
                  <a:pt x="252359" y="219230"/>
                  <a:pt x="252359" y="219230"/>
                </a:cubicBezTo>
                <a:cubicBezTo>
                  <a:pt x="252359" y="221223"/>
                  <a:pt x="254346" y="223216"/>
                  <a:pt x="254346" y="225209"/>
                </a:cubicBezTo>
                <a:cubicBezTo>
                  <a:pt x="252359" y="227202"/>
                  <a:pt x="254346" y="229195"/>
                  <a:pt x="254346" y="231188"/>
                </a:cubicBezTo>
                <a:cubicBezTo>
                  <a:pt x="256333" y="231188"/>
                  <a:pt x="258320" y="233181"/>
                  <a:pt x="258320" y="235174"/>
                </a:cubicBezTo>
                <a:cubicBezTo>
                  <a:pt x="260307" y="235174"/>
                  <a:pt x="260307" y="239160"/>
                  <a:pt x="260307" y="241153"/>
                </a:cubicBezTo>
                <a:cubicBezTo>
                  <a:pt x="262294" y="243146"/>
                  <a:pt x="262294" y="243146"/>
                  <a:pt x="262294" y="245139"/>
                </a:cubicBezTo>
                <a:cubicBezTo>
                  <a:pt x="262294" y="247132"/>
                  <a:pt x="262294" y="249125"/>
                  <a:pt x="262294" y="251118"/>
                </a:cubicBezTo>
                <a:cubicBezTo>
                  <a:pt x="262294" y="253111"/>
                  <a:pt x="262294" y="255104"/>
                  <a:pt x="264281" y="255104"/>
                </a:cubicBezTo>
                <a:cubicBezTo>
                  <a:pt x="266268" y="257097"/>
                  <a:pt x="268255" y="257097"/>
                  <a:pt x="270242" y="255104"/>
                </a:cubicBezTo>
                <a:cubicBezTo>
                  <a:pt x="270242" y="255104"/>
                  <a:pt x="274217" y="255104"/>
                  <a:pt x="276204" y="257097"/>
                </a:cubicBezTo>
                <a:cubicBezTo>
                  <a:pt x="278191" y="257097"/>
                  <a:pt x="280178" y="261083"/>
                  <a:pt x="280178" y="261083"/>
                </a:cubicBezTo>
                <a:cubicBezTo>
                  <a:pt x="282165" y="261083"/>
                  <a:pt x="288126" y="273041"/>
                  <a:pt x="290113" y="275034"/>
                </a:cubicBezTo>
                <a:cubicBezTo>
                  <a:pt x="292100" y="277027"/>
                  <a:pt x="292100" y="281013"/>
                  <a:pt x="292100" y="284999"/>
                </a:cubicBezTo>
                <a:cubicBezTo>
                  <a:pt x="292100" y="284999"/>
                  <a:pt x="290113" y="300943"/>
                  <a:pt x="290113" y="300943"/>
                </a:cubicBezTo>
                <a:cubicBezTo>
                  <a:pt x="290113" y="300943"/>
                  <a:pt x="288126" y="306922"/>
                  <a:pt x="288126" y="308915"/>
                </a:cubicBezTo>
                <a:cubicBezTo>
                  <a:pt x="288126" y="310908"/>
                  <a:pt x="288126" y="316887"/>
                  <a:pt x="290113" y="318880"/>
                </a:cubicBezTo>
                <a:cubicBezTo>
                  <a:pt x="290113" y="320873"/>
                  <a:pt x="290113" y="328845"/>
                  <a:pt x="290113" y="330838"/>
                </a:cubicBezTo>
                <a:cubicBezTo>
                  <a:pt x="288126" y="332831"/>
                  <a:pt x="286139" y="336817"/>
                  <a:pt x="284152" y="338810"/>
                </a:cubicBezTo>
                <a:cubicBezTo>
                  <a:pt x="284152" y="340803"/>
                  <a:pt x="282165" y="342796"/>
                  <a:pt x="282165" y="344789"/>
                </a:cubicBezTo>
                <a:cubicBezTo>
                  <a:pt x="282165" y="346782"/>
                  <a:pt x="282165" y="356747"/>
                  <a:pt x="282165" y="358740"/>
                </a:cubicBezTo>
                <a:cubicBezTo>
                  <a:pt x="282165" y="360733"/>
                  <a:pt x="280178" y="362726"/>
                  <a:pt x="280178" y="360733"/>
                </a:cubicBezTo>
                <a:cubicBezTo>
                  <a:pt x="278191" y="360733"/>
                  <a:pt x="276204" y="352761"/>
                  <a:pt x="274217" y="352761"/>
                </a:cubicBezTo>
                <a:cubicBezTo>
                  <a:pt x="274217" y="352761"/>
                  <a:pt x="272229" y="352761"/>
                  <a:pt x="272229" y="352761"/>
                </a:cubicBezTo>
                <a:cubicBezTo>
                  <a:pt x="272229" y="352761"/>
                  <a:pt x="274217" y="358740"/>
                  <a:pt x="272229" y="358740"/>
                </a:cubicBezTo>
                <a:cubicBezTo>
                  <a:pt x="272229" y="360733"/>
                  <a:pt x="268255" y="360733"/>
                  <a:pt x="266268" y="358740"/>
                </a:cubicBezTo>
                <a:cubicBezTo>
                  <a:pt x="266268" y="358740"/>
                  <a:pt x="258320" y="352761"/>
                  <a:pt x="256333" y="352761"/>
                </a:cubicBezTo>
                <a:cubicBezTo>
                  <a:pt x="256333" y="352761"/>
                  <a:pt x="256333" y="356747"/>
                  <a:pt x="256333" y="358740"/>
                </a:cubicBezTo>
                <a:cubicBezTo>
                  <a:pt x="256333" y="360733"/>
                  <a:pt x="258320" y="366712"/>
                  <a:pt x="256333" y="366712"/>
                </a:cubicBezTo>
                <a:cubicBezTo>
                  <a:pt x="254346" y="366712"/>
                  <a:pt x="252359" y="364719"/>
                  <a:pt x="250372" y="364719"/>
                </a:cubicBezTo>
                <a:cubicBezTo>
                  <a:pt x="248385" y="362726"/>
                  <a:pt x="244410" y="360733"/>
                  <a:pt x="244410" y="358740"/>
                </a:cubicBezTo>
                <a:cubicBezTo>
                  <a:pt x="242423" y="356747"/>
                  <a:pt x="240436" y="354754"/>
                  <a:pt x="240436" y="352761"/>
                </a:cubicBezTo>
                <a:cubicBezTo>
                  <a:pt x="238449" y="350768"/>
                  <a:pt x="234475" y="340803"/>
                  <a:pt x="232488" y="340803"/>
                </a:cubicBezTo>
                <a:cubicBezTo>
                  <a:pt x="230501" y="338810"/>
                  <a:pt x="222553" y="332831"/>
                  <a:pt x="220566" y="330838"/>
                </a:cubicBezTo>
                <a:cubicBezTo>
                  <a:pt x="220566" y="330838"/>
                  <a:pt x="206656" y="322866"/>
                  <a:pt x="206656" y="322866"/>
                </a:cubicBezTo>
                <a:cubicBezTo>
                  <a:pt x="206656" y="322866"/>
                  <a:pt x="200695" y="314894"/>
                  <a:pt x="198708" y="314894"/>
                </a:cubicBezTo>
                <a:cubicBezTo>
                  <a:pt x="198708" y="312901"/>
                  <a:pt x="194734" y="310908"/>
                  <a:pt x="192747" y="310908"/>
                </a:cubicBezTo>
                <a:cubicBezTo>
                  <a:pt x="190759" y="308915"/>
                  <a:pt x="190759" y="306922"/>
                  <a:pt x="188772" y="304929"/>
                </a:cubicBezTo>
                <a:cubicBezTo>
                  <a:pt x="188772" y="304929"/>
                  <a:pt x="188772" y="300943"/>
                  <a:pt x="188772" y="298950"/>
                </a:cubicBezTo>
                <a:cubicBezTo>
                  <a:pt x="188772" y="296957"/>
                  <a:pt x="186785" y="296957"/>
                  <a:pt x="186785" y="294964"/>
                </a:cubicBezTo>
                <a:cubicBezTo>
                  <a:pt x="184798" y="294964"/>
                  <a:pt x="180824" y="290978"/>
                  <a:pt x="180824" y="290978"/>
                </a:cubicBezTo>
                <a:cubicBezTo>
                  <a:pt x="180824" y="288985"/>
                  <a:pt x="176850" y="286992"/>
                  <a:pt x="176850" y="284999"/>
                </a:cubicBezTo>
                <a:cubicBezTo>
                  <a:pt x="176850" y="284999"/>
                  <a:pt x="172876" y="281013"/>
                  <a:pt x="172876" y="279020"/>
                </a:cubicBezTo>
                <a:cubicBezTo>
                  <a:pt x="172876" y="277027"/>
                  <a:pt x="170889" y="273041"/>
                  <a:pt x="168902" y="273041"/>
                </a:cubicBezTo>
                <a:cubicBezTo>
                  <a:pt x="168902" y="271048"/>
                  <a:pt x="166915" y="269055"/>
                  <a:pt x="164927" y="267062"/>
                </a:cubicBezTo>
                <a:cubicBezTo>
                  <a:pt x="162940" y="265069"/>
                  <a:pt x="160953" y="265069"/>
                  <a:pt x="158966" y="263076"/>
                </a:cubicBezTo>
                <a:cubicBezTo>
                  <a:pt x="156979" y="261083"/>
                  <a:pt x="154992" y="257097"/>
                  <a:pt x="154992" y="255104"/>
                </a:cubicBezTo>
                <a:cubicBezTo>
                  <a:pt x="154992" y="255104"/>
                  <a:pt x="153005" y="251118"/>
                  <a:pt x="153005" y="249125"/>
                </a:cubicBezTo>
                <a:cubicBezTo>
                  <a:pt x="153005" y="247132"/>
                  <a:pt x="154992" y="245139"/>
                  <a:pt x="153005" y="243146"/>
                </a:cubicBezTo>
                <a:cubicBezTo>
                  <a:pt x="153005" y="243146"/>
                  <a:pt x="153005" y="241153"/>
                  <a:pt x="151018" y="239160"/>
                </a:cubicBezTo>
                <a:cubicBezTo>
                  <a:pt x="151018" y="237167"/>
                  <a:pt x="151018" y="237167"/>
                  <a:pt x="151018" y="235174"/>
                </a:cubicBezTo>
                <a:cubicBezTo>
                  <a:pt x="151018" y="235174"/>
                  <a:pt x="151018" y="229195"/>
                  <a:pt x="149031" y="227202"/>
                </a:cubicBezTo>
                <a:cubicBezTo>
                  <a:pt x="149031" y="225209"/>
                  <a:pt x="145057" y="221223"/>
                  <a:pt x="145057" y="221223"/>
                </a:cubicBezTo>
                <a:cubicBezTo>
                  <a:pt x="145057" y="221223"/>
                  <a:pt x="141083" y="213251"/>
                  <a:pt x="141083" y="213251"/>
                </a:cubicBezTo>
                <a:cubicBezTo>
                  <a:pt x="141083" y="211258"/>
                  <a:pt x="139095" y="209265"/>
                  <a:pt x="139095" y="207272"/>
                </a:cubicBezTo>
                <a:cubicBezTo>
                  <a:pt x="139095" y="205279"/>
                  <a:pt x="137108" y="203286"/>
                  <a:pt x="137108" y="201293"/>
                </a:cubicBezTo>
                <a:cubicBezTo>
                  <a:pt x="135121" y="201293"/>
                  <a:pt x="135121" y="197307"/>
                  <a:pt x="135121" y="197307"/>
                </a:cubicBezTo>
                <a:cubicBezTo>
                  <a:pt x="133134" y="195314"/>
                  <a:pt x="129160" y="195314"/>
                  <a:pt x="129160" y="195314"/>
                </a:cubicBezTo>
                <a:cubicBezTo>
                  <a:pt x="129160" y="195314"/>
                  <a:pt x="125186" y="195314"/>
                  <a:pt x="125186" y="193321"/>
                </a:cubicBezTo>
                <a:cubicBezTo>
                  <a:pt x="125186" y="191328"/>
                  <a:pt x="125186" y="189335"/>
                  <a:pt x="127173" y="187342"/>
                </a:cubicBezTo>
                <a:cubicBezTo>
                  <a:pt x="127173" y="187342"/>
                  <a:pt x="127173" y="185349"/>
                  <a:pt x="127173" y="183356"/>
                </a:cubicBezTo>
                <a:cubicBezTo>
                  <a:pt x="125186" y="181363"/>
                  <a:pt x="123199" y="181363"/>
                  <a:pt x="123199" y="181363"/>
                </a:cubicBezTo>
                <a:cubicBezTo>
                  <a:pt x="121212" y="179370"/>
                  <a:pt x="117238" y="177377"/>
                  <a:pt x="115251" y="177377"/>
                </a:cubicBezTo>
                <a:cubicBezTo>
                  <a:pt x="113264" y="177377"/>
                  <a:pt x="109289" y="173391"/>
                  <a:pt x="109289" y="173391"/>
                </a:cubicBezTo>
                <a:cubicBezTo>
                  <a:pt x="109289" y="171398"/>
                  <a:pt x="107302" y="167412"/>
                  <a:pt x="105315" y="165419"/>
                </a:cubicBezTo>
                <a:cubicBezTo>
                  <a:pt x="105315" y="163426"/>
                  <a:pt x="103328" y="159440"/>
                  <a:pt x="103328" y="157447"/>
                </a:cubicBezTo>
                <a:cubicBezTo>
                  <a:pt x="103328" y="155454"/>
                  <a:pt x="101341" y="153461"/>
                  <a:pt x="101341" y="151468"/>
                </a:cubicBezTo>
                <a:cubicBezTo>
                  <a:pt x="101341" y="149475"/>
                  <a:pt x="101341" y="143496"/>
                  <a:pt x="101341" y="141503"/>
                </a:cubicBezTo>
                <a:cubicBezTo>
                  <a:pt x="101341" y="141503"/>
                  <a:pt x="101341" y="137517"/>
                  <a:pt x="101341" y="135524"/>
                </a:cubicBezTo>
                <a:cubicBezTo>
                  <a:pt x="101341" y="133531"/>
                  <a:pt x="99354" y="133531"/>
                  <a:pt x="97367" y="131538"/>
                </a:cubicBezTo>
                <a:cubicBezTo>
                  <a:pt x="97367" y="129545"/>
                  <a:pt x="93393" y="125559"/>
                  <a:pt x="93393" y="125559"/>
                </a:cubicBezTo>
                <a:cubicBezTo>
                  <a:pt x="91406" y="123566"/>
                  <a:pt x="89419" y="119580"/>
                  <a:pt x="87432" y="117587"/>
                </a:cubicBezTo>
                <a:cubicBezTo>
                  <a:pt x="85444" y="117587"/>
                  <a:pt x="75509" y="113601"/>
                  <a:pt x="75509" y="113601"/>
                </a:cubicBezTo>
                <a:cubicBezTo>
                  <a:pt x="75509" y="113601"/>
                  <a:pt x="69548" y="111608"/>
                  <a:pt x="69548" y="107622"/>
                </a:cubicBezTo>
                <a:cubicBezTo>
                  <a:pt x="69548" y="105629"/>
                  <a:pt x="69548" y="95664"/>
                  <a:pt x="67561" y="95664"/>
                </a:cubicBezTo>
                <a:cubicBezTo>
                  <a:pt x="65574" y="91678"/>
                  <a:pt x="61600" y="87692"/>
                  <a:pt x="59612" y="83706"/>
                </a:cubicBezTo>
                <a:cubicBezTo>
                  <a:pt x="57625" y="81713"/>
                  <a:pt x="55638" y="79720"/>
                  <a:pt x="55638" y="77727"/>
                </a:cubicBezTo>
                <a:cubicBezTo>
                  <a:pt x="53651" y="73741"/>
                  <a:pt x="51664" y="73741"/>
                  <a:pt x="49677" y="71748"/>
                </a:cubicBezTo>
                <a:cubicBezTo>
                  <a:pt x="47690" y="69755"/>
                  <a:pt x="41729" y="65769"/>
                  <a:pt x="41729" y="65769"/>
                </a:cubicBezTo>
                <a:cubicBezTo>
                  <a:pt x="41729" y="65769"/>
                  <a:pt x="33781" y="61783"/>
                  <a:pt x="33781" y="59790"/>
                </a:cubicBezTo>
                <a:cubicBezTo>
                  <a:pt x="29806" y="57797"/>
                  <a:pt x="25832" y="55804"/>
                  <a:pt x="23845" y="53811"/>
                </a:cubicBezTo>
                <a:cubicBezTo>
                  <a:pt x="21858" y="51818"/>
                  <a:pt x="15897" y="45839"/>
                  <a:pt x="13910" y="45839"/>
                </a:cubicBezTo>
                <a:cubicBezTo>
                  <a:pt x="13910" y="43846"/>
                  <a:pt x="7949" y="35874"/>
                  <a:pt x="7949" y="35874"/>
                </a:cubicBezTo>
                <a:cubicBezTo>
                  <a:pt x="7949" y="33881"/>
                  <a:pt x="3974" y="27902"/>
                  <a:pt x="3974" y="25909"/>
                </a:cubicBezTo>
                <a:cubicBezTo>
                  <a:pt x="3974" y="25909"/>
                  <a:pt x="3974" y="21923"/>
                  <a:pt x="3974" y="19930"/>
                </a:cubicBezTo>
                <a:cubicBezTo>
                  <a:pt x="3974" y="19930"/>
                  <a:pt x="1987" y="15944"/>
                  <a:pt x="1987" y="11958"/>
                </a:cubicBezTo>
                <a:cubicBezTo>
                  <a:pt x="1987" y="9965"/>
                  <a:pt x="1987" y="7972"/>
                  <a:pt x="0" y="5979"/>
                </a:cubicBezTo>
                <a:cubicBezTo>
                  <a:pt x="0" y="3986"/>
                  <a:pt x="0" y="1993"/>
                  <a:pt x="0" y="1993"/>
                </a:cubicBezTo>
                <a:cubicBezTo>
                  <a:pt x="1987" y="0"/>
                  <a:pt x="3974" y="0"/>
                  <a:pt x="3974" y="0"/>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1" name="Solomon Islands"/>
          <p:cNvSpPr>
            <a:spLocks/>
          </p:cNvSpPr>
          <p:nvPr/>
        </p:nvSpPr>
        <p:spPr bwMode="auto">
          <a:xfrm>
            <a:off x="10409818" y="4277857"/>
            <a:ext cx="347870" cy="182453"/>
          </a:xfrm>
          <a:custGeom>
            <a:avLst/>
            <a:gdLst>
              <a:gd name="connsiteX0" fmla="*/ 333375 w 338138"/>
              <a:gd name="connsiteY0" fmla="*/ 174719 h 177349"/>
              <a:gd name="connsiteX1" fmla="*/ 338138 w 338138"/>
              <a:gd name="connsiteY1" fmla="*/ 174719 h 177349"/>
              <a:gd name="connsiteX2" fmla="*/ 338138 w 338138"/>
              <a:gd name="connsiteY2" fmla="*/ 176307 h 177349"/>
              <a:gd name="connsiteX3" fmla="*/ 333375 w 338138"/>
              <a:gd name="connsiteY3" fmla="*/ 174719 h 177349"/>
              <a:gd name="connsiteX4" fmla="*/ 282575 w 338138"/>
              <a:gd name="connsiteY4" fmla="*/ 157785 h 177349"/>
              <a:gd name="connsiteX5" fmla="*/ 286544 w 338138"/>
              <a:gd name="connsiteY5" fmla="*/ 157785 h 177349"/>
              <a:gd name="connsiteX6" fmla="*/ 286544 w 338138"/>
              <a:gd name="connsiteY6" fmla="*/ 162018 h 177349"/>
              <a:gd name="connsiteX7" fmla="*/ 282575 w 338138"/>
              <a:gd name="connsiteY7" fmla="*/ 157785 h 177349"/>
              <a:gd name="connsiteX8" fmla="*/ 110491 w 338138"/>
              <a:gd name="connsiteY8" fmla="*/ 155668 h 177349"/>
              <a:gd name="connsiteX9" fmla="*/ 116682 w 338138"/>
              <a:gd name="connsiteY9" fmla="*/ 155668 h 177349"/>
              <a:gd name="connsiteX10" fmla="*/ 127001 w 338138"/>
              <a:gd name="connsiteY10" fmla="*/ 160431 h 177349"/>
              <a:gd name="connsiteX11" fmla="*/ 120810 w 338138"/>
              <a:gd name="connsiteY11" fmla="*/ 165193 h 177349"/>
              <a:gd name="connsiteX12" fmla="*/ 116682 w 338138"/>
              <a:gd name="connsiteY12" fmla="*/ 162812 h 177349"/>
              <a:gd name="connsiteX13" fmla="*/ 110491 w 338138"/>
              <a:gd name="connsiteY13" fmla="*/ 162812 h 177349"/>
              <a:gd name="connsiteX14" fmla="*/ 106363 w 338138"/>
              <a:gd name="connsiteY14" fmla="*/ 160431 h 177349"/>
              <a:gd name="connsiteX15" fmla="*/ 110491 w 338138"/>
              <a:gd name="connsiteY15" fmla="*/ 155668 h 177349"/>
              <a:gd name="connsiteX16" fmla="*/ 280353 w 338138"/>
              <a:gd name="connsiteY16" fmla="*/ 142968 h 177349"/>
              <a:gd name="connsiteX17" fmla="*/ 282258 w 338138"/>
              <a:gd name="connsiteY17" fmla="*/ 144556 h 177349"/>
              <a:gd name="connsiteX18" fmla="*/ 276543 w 338138"/>
              <a:gd name="connsiteY18" fmla="*/ 144556 h 177349"/>
              <a:gd name="connsiteX19" fmla="*/ 280353 w 338138"/>
              <a:gd name="connsiteY19" fmla="*/ 142968 h 177349"/>
              <a:gd name="connsiteX20" fmla="*/ 268317 w 338138"/>
              <a:gd name="connsiteY20" fmla="*/ 125770 h 177349"/>
              <a:gd name="connsiteX21" fmla="*/ 274185 w 338138"/>
              <a:gd name="connsiteY21" fmla="*/ 126035 h 177349"/>
              <a:gd name="connsiteX22" fmla="*/ 272144 w 338138"/>
              <a:gd name="connsiteY22" fmla="*/ 136618 h 177349"/>
              <a:gd name="connsiteX23" fmla="*/ 263979 w 338138"/>
              <a:gd name="connsiteY23" fmla="*/ 130268 h 177349"/>
              <a:gd name="connsiteX24" fmla="*/ 268317 w 338138"/>
              <a:gd name="connsiteY24" fmla="*/ 125770 h 177349"/>
              <a:gd name="connsiteX25" fmla="*/ 268288 w 338138"/>
              <a:gd name="connsiteY25" fmla="*/ 119156 h 177349"/>
              <a:gd name="connsiteX26" fmla="*/ 269875 w 338138"/>
              <a:gd name="connsiteY26" fmla="*/ 120744 h 177349"/>
              <a:gd name="connsiteX27" fmla="*/ 266700 w 338138"/>
              <a:gd name="connsiteY27" fmla="*/ 120744 h 177349"/>
              <a:gd name="connsiteX28" fmla="*/ 268288 w 338138"/>
              <a:gd name="connsiteY28" fmla="*/ 119156 h 177349"/>
              <a:gd name="connsiteX29" fmla="*/ 150496 w 338138"/>
              <a:gd name="connsiteY29" fmla="*/ 114393 h 177349"/>
              <a:gd name="connsiteX30" fmla="*/ 156528 w 338138"/>
              <a:gd name="connsiteY30" fmla="*/ 118521 h 177349"/>
              <a:gd name="connsiteX31" fmla="*/ 168593 w 338138"/>
              <a:gd name="connsiteY31" fmla="*/ 120585 h 177349"/>
              <a:gd name="connsiteX32" fmla="*/ 174626 w 338138"/>
              <a:gd name="connsiteY32" fmla="*/ 128840 h 177349"/>
              <a:gd name="connsiteX33" fmla="*/ 172615 w 338138"/>
              <a:gd name="connsiteY33" fmla="*/ 132967 h 177349"/>
              <a:gd name="connsiteX34" fmla="*/ 160550 w 338138"/>
              <a:gd name="connsiteY34" fmla="*/ 128840 h 177349"/>
              <a:gd name="connsiteX35" fmla="*/ 152506 w 338138"/>
              <a:gd name="connsiteY35" fmla="*/ 120585 h 177349"/>
              <a:gd name="connsiteX36" fmla="*/ 148485 w 338138"/>
              <a:gd name="connsiteY36" fmla="*/ 118521 h 177349"/>
              <a:gd name="connsiteX37" fmla="*/ 144463 w 338138"/>
              <a:gd name="connsiteY37" fmla="*/ 116457 h 177349"/>
              <a:gd name="connsiteX38" fmla="*/ 150496 w 338138"/>
              <a:gd name="connsiteY38" fmla="*/ 114393 h 177349"/>
              <a:gd name="connsiteX39" fmla="*/ 279400 w 338138"/>
              <a:gd name="connsiteY39" fmla="*/ 112806 h 177349"/>
              <a:gd name="connsiteX40" fmla="*/ 279400 w 338138"/>
              <a:gd name="connsiteY40" fmla="*/ 117040 h 177349"/>
              <a:gd name="connsiteX41" fmla="*/ 276225 w 338138"/>
              <a:gd name="connsiteY41" fmla="*/ 114923 h 177349"/>
              <a:gd name="connsiteX42" fmla="*/ 279400 w 338138"/>
              <a:gd name="connsiteY42" fmla="*/ 112806 h 177349"/>
              <a:gd name="connsiteX43" fmla="*/ 277812 w 338138"/>
              <a:gd name="connsiteY43" fmla="*/ 84231 h 177349"/>
              <a:gd name="connsiteX44" fmla="*/ 279400 w 338138"/>
              <a:gd name="connsiteY44" fmla="*/ 86348 h 177349"/>
              <a:gd name="connsiteX45" fmla="*/ 277812 w 338138"/>
              <a:gd name="connsiteY45" fmla="*/ 86348 h 177349"/>
              <a:gd name="connsiteX46" fmla="*/ 277812 w 338138"/>
              <a:gd name="connsiteY46" fmla="*/ 84231 h 177349"/>
              <a:gd name="connsiteX47" fmla="*/ 118851 w 338138"/>
              <a:gd name="connsiteY47" fmla="*/ 84231 h 177349"/>
              <a:gd name="connsiteX48" fmla="*/ 126895 w 338138"/>
              <a:gd name="connsiteY48" fmla="*/ 94550 h 177349"/>
              <a:gd name="connsiteX49" fmla="*/ 134938 w 338138"/>
              <a:gd name="connsiteY49" fmla="*/ 100742 h 177349"/>
              <a:gd name="connsiteX50" fmla="*/ 130916 w 338138"/>
              <a:gd name="connsiteY50" fmla="*/ 104869 h 177349"/>
              <a:gd name="connsiteX51" fmla="*/ 124884 w 338138"/>
              <a:gd name="connsiteY51" fmla="*/ 102805 h 177349"/>
              <a:gd name="connsiteX52" fmla="*/ 116840 w 338138"/>
              <a:gd name="connsiteY52" fmla="*/ 100742 h 177349"/>
              <a:gd name="connsiteX53" fmla="*/ 110808 w 338138"/>
              <a:gd name="connsiteY53" fmla="*/ 100742 h 177349"/>
              <a:gd name="connsiteX54" fmla="*/ 106786 w 338138"/>
              <a:gd name="connsiteY54" fmla="*/ 96614 h 177349"/>
              <a:gd name="connsiteX55" fmla="*/ 118851 w 338138"/>
              <a:gd name="connsiteY55" fmla="*/ 84231 h 177349"/>
              <a:gd name="connsiteX56" fmla="*/ 118111 w 338138"/>
              <a:gd name="connsiteY56" fmla="*/ 73118 h 177349"/>
              <a:gd name="connsiteX57" fmla="*/ 122556 w 338138"/>
              <a:gd name="connsiteY57" fmla="*/ 75023 h 177349"/>
              <a:gd name="connsiteX58" fmla="*/ 122556 w 338138"/>
              <a:gd name="connsiteY58" fmla="*/ 76928 h 177349"/>
              <a:gd name="connsiteX59" fmla="*/ 127001 w 338138"/>
              <a:gd name="connsiteY59" fmla="*/ 80738 h 177349"/>
              <a:gd name="connsiteX60" fmla="*/ 120333 w 338138"/>
              <a:gd name="connsiteY60" fmla="*/ 82643 h 177349"/>
              <a:gd name="connsiteX61" fmla="*/ 118111 w 338138"/>
              <a:gd name="connsiteY61" fmla="*/ 76928 h 177349"/>
              <a:gd name="connsiteX62" fmla="*/ 118111 w 338138"/>
              <a:gd name="connsiteY62" fmla="*/ 73118 h 177349"/>
              <a:gd name="connsiteX63" fmla="*/ 132883 w 338138"/>
              <a:gd name="connsiteY63" fmla="*/ 52862 h 177349"/>
              <a:gd name="connsiteX64" fmla="*/ 138766 w 338138"/>
              <a:gd name="connsiteY64" fmla="*/ 56799 h 177349"/>
              <a:gd name="connsiteX65" fmla="*/ 142688 w 338138"/>
              <a:gd name="connsiteY65" fmla="*/ 60736 h 177349"/>
              <a:gd name="connsiteX66" fmla="*/ 140727 w 338138"/>
              <a:gd name="connsiteY66" fmla="*/ 64673 h 177349"/>
              <a:gd name="connsiteX67" fmla="*/ 142688 w 338138"/>
              <a:gd name="connsiteY67" fmla="*/ 68610 h 177349"/>
              <a:gd name="connsiteX68" fmla="*/ 148572 w 338138"/>
              <a:gd name="connsiteY68" fmla="*/ 70578 h 177349"/>
              <a:gd name="connsiteX69" fmla="*/ 148572 w 338138"/>
              <a:gd name="connsiteY69" fmla="*/ 74515 h 177349"/>
              <a:gd name="connsiteX70" fmla="*/ 148572 w 338138"/>
              <a:gd name="connsiteY70" fmla="*/ 80421 h 177349"/>
              <a:gd name="connsiteX71" fmla="*/ 148572 w 338138"/>
              <a:gd name="connsiteY71" fmla="*/ 84358 h 177349"/>
              <a:gd name="connsiteX72" fmla="*/ 152494 w 338138"/>
              <a:gd name="connsiteY72" fmla="*/ 86327 h 177349"/>
              <a:gd name="connsiteX73" fmla="*/ 154455 w 338138"/>
              <a:gd name="connsiteY73" fmla="*/ 86327 h 177349"/>
              <a:gd name="connsiteX74" fmla="*/ 156416 w 338138"/>
              <a:gd name="connsiteY74" fmla="*/ 88295 h 177349"/>
              <a:gd name="connsiteX75" fmla="*/ 160338 w 338138"/>
              <a:gd name="connsiteY75" fmla="*/ 94201 h 177349"/>
              <a:gd name="connsiteX76" fmla="*/ 158377 w 338138"/>
              <a:gd name="connsiteY76" fmla="*/ 98138 h 177349"/>
              <a:gd name="connsiteX77" fmla="*/ 152494 w 338138"/>
              <a:gd name="connsiteY77" fmla="*/ 98138 h 177349"/>
              <a:gd name="connsiteX78" fmla="*/ 146611 w 338138"/>
              <a:gd name="connsiteY78" fmla="*/ 90264 h 177349"/>
              <a:gd name="connsiteX79" fmla="*/ 140727 w 338138"/>
              <a:gd name="connsiteY79" fmla="*/ 84358 h 177349"/>
              <a:gd name="connsiteX80" fmla="*/ 134844 w 338138"/>
              <a:gd name="connsiteY80" fmla="*/ 82390 h 177349"/>
              <a:gd name="connsiteX81" fmla="*/ 132883 w 338138"/>
              <a:gd name="connsiteY81" fmla="*/ 72547 h 177349"/>
              <a:gd name="connsiteX82" fmla="*/ 132883 w 338138"/>
              <a:gd name="connsiteY82" fmla="*/ 58767 h 177349"/>
              <a:gd name="connsiteX83" fmla="*/ 132883 w 338138"/>
              <a:gd name="connsiteY83" fmla="*/ 52862 h 177349"/>
              <a:gd name="connsiteX84" fmla="*/ 46691 w 338138"/>
              <a:gd name="connsiteY84" fmla="*/ 42956 h 177349"/>
              <a:gd name="connsiteX85" fmla="*/ 50613 w 338138"/>
              <a:gd name="connsiteY85" fmla="*/ 44884 h 177349"/>
              <a:gd name="connsiteX86" fmla="*/ 52575 w 338138"/>
              <a:gd name="connsiteY86" fmla="*/ 48739 h 177349"/>
              <a:gd name="connsiteX87" fmla="*/ 58458 w 338138"/>
              <a:gd name="connsiteY87" fmla="*/ 56450 h 177349"/>
              <a:gd name="connsiteX88" fmla="*/ 66302 w 338138"/>
              <a:gd name="connsiteY88" fmla="*/ 56450 h 177349"/>
              <a:gd name="connsiteX89" fmla="*/ 68263 w 338138"/>
              <a:gd name="connsiteY89" fmla="*/ 64161 h 177349"/>
              <a:gd name="connsiteX90" fmla="*/ 64341 w 338138"/>
              <a:gd name="connsiteY90" fmla="*/ 64161 h 177349"/>
              <a:gd name="connsiteX91" fmla="*/ 60419 w 338138"/>
              <a:gd name="connsiteY91" fmla="*/ 62233 h 177349"/>
              <a:gd name="connsiteX92" fmla="*/ 54536 w 338138"/>
              <a:gd name="connsiteY92" fmla="*/ 58378 h 177349"/>
              <a:gd name="connsiteX93" fmla="*/ 46691 w 338138"/>
              <a:gd name="connsiteY93" fmla="*/ 56450 h 177349"/>
              <a:gd name="connsiteX94" fmla="*/ 46691 w 338138"/>
              <a:gd name="connsiteY94" fmla="*/ 60306 h 177349"/>
              <a:gd name="connsiteX95" fmla="*/ 54536 w 338138"/>
              <a:gd name="connsiteY95" fmla="*/ 66089 h 177349"/>
              <a:gd name="connsiteX96" fmla="*/ 52575 w 338138"/>
              <a:gd name="connsiteY96" fmla="*/ 68017 h 177349"/>
              <a:gd name="connsiteX97" fmla="*/ 40808 w 338138"/>
              <a:gd name="connsiteY97" fmla="*/ 66089 h 177349"/>
              <a:gd name="connsiteX98" fmla="*/ 40808 w 338138"/>
              <a:gd name="connsiteY98" fmla="*/ 56450 h 177349"/>
              <a:gd name="connsiteX99" fmla="*/ 36886 w 338138"/>
              <a:gd name="connsiteY99" fmla="*/ 50667 h 177349"/>
              <a:gd name="connsiteX100" fmla="*/ 38847 w 338138"/>
              <a:gd name="connsiteY100" fmla="*/ 50667 h 177349"/>
              <a:gd name="connsiteX101" fmla="*/ 42769 w 338138"/>
              <a:gd name="connsiteY101" fmla="*/ 48739 h 177349"/>
              <a:gd name="connsiteX102" fmla="*/ 46691 w 338138"/>
              <a:gd name="connsiteY102" fmla="*/ 42956 h 177349"/>
              <a:gd name="connsiteX103" fmla="*/ 53975 w 338138"/>
              <a:gd name="connsiteY103" fmla="*/ 40199 h 177349"/>
              <a:gd name="connsiteX104" fmla="*/ 58016 w 338138"/>
              <a:gd name="connsiteY104" fmla="*/ 40199 h 177349"/>
              <a:gd name="connsiteX105" fmla="*/ 66098 w 338138"/>
              <a:gd name="connsiteY105" fmla="*/ 44209 h 177349"/>
              <a:gd name="connsiteX106" fmla="*/ 76200 w 338138"/>
              <a:gd name="connsiteY106" fmla="*/ 52230 h 177349"/>
              <a:gd name="connsiteX107" fmla="*/ 82261 w 338138"/>
              <a:gd name="connsiteY107" fmla="*/ 60251 h 177349"/>
              <a:gd name="connsiteX108" fmla="*/ 92364 w 338138"/>
              <a:gd name="connsiteY108" fmla="*/ 64262 h 177349"/>
              <a:gd name="connsiteX109" fmla="*/ 98425 w 338138"/>
              <a:gd name="connsiteY109" fmla="*/ 72283 h 177349"/>
              <a:gd name="connsiteX110" fmla="*/ 90343 w 338138"/>
              <a:gd name="connsiteY110" fmla="*/ 74288 h 177349"/>
              <a:gd name="connsiteX111" fmla="*/ 84282 w 338138"/>
              <a:gd name="connsiteY111" fmla="*/ 72283 h 177349"/>
              <a:gd name="connsiteX112" fmla="*/ 80241 w 338138"/>
              <a:gd name="connsiteY112" fmla="*/ 66267 h 177349"/>
              <a:gd name="connsiteX113" fmla="*/ 74180 w 338138"/>
              <a:gd name="connsiteY113" fmla="*/ 54235 h 177349"/>
              <a:gd name="connsiteX114" fmla="*/ 60036 w 338138"/>
              <a:gd name="connsiteY114" fmla="*/ 44209 h 177349"/>
              <a:gd name="connsiteX115" fmla="*/ 53975 w 338138"/>
              <a:gd name="connsiteY115" fmla="*/ 40199 h 177349"/>
              <a:gd name="connsiteX116" fmla="*/ 26988 w 338138"/>
              <a:gd name="connsiteY116" fmla="*/ 30256 h 177349"/>
              <a:gd name="connsiteX117" fmla="*/ 30163 w 338138"/>
              <a:gd name="connsiteY117" fmla="*/ 34701 h 177349"/>
              <a:gd name="connsiteX118" fmla="*/ 25400 w 338138"/>
              <a:gd name="connsiteY118" fmla="*/ 36924 h 177349"/>
              <a:gd name="connsiteX119" fmla="*/ 26988 w 338138"/>
              <a:gd name="connsiteY119" fmla="*/ 30256 h 177349"/>
              <a:gd name="connsiteX120" fmla="*/ 67090 w 338138"/>
              <a:gd name="connsiteY120" fmla="*/ 27081 h 177349"/>
              <a:gd name="connsiteX121" fmla="*/ 73095 w 338138"/>
              <a:gd name="connsiteY121" fmla="*/ 29087 h 177349"/>
              <a:gd name="connsiteX122" fmla="*/ 77098 w 338138"/>
              <a:gd name="connsiteY122" fmla="*/ 31092 h 177349"/>
              <a:gd name="connsiteX123" fmla="*/ 83103 w 338138"/>
              <a:gd name="connsiteY123" fmla="*/ 31092 h 177349"/>
              <a:gd name="connsiteX124" fmla="*/ 87106 w 338138"/>
              <a:gd name="connsiteY124" fmla="*/ 41118 h 177349"/>
              <a:gd name="connsiteX125" fmla="*/ 97114 w 338138"/>
              <a:gd name="connsiteY125" fmla="*/ 43123 h 177349"/>
              <a:gd name="connsiteX126" fmla="*/ 109124 w 338138"/>
              <a:gd name="connsiteY126" fmla="*/ 51144 h 177349"/>
              <a:gd name="connsiteX127" fmla="*/ 107123 w 338138"/>
              <a:gd name="connsiteY127" fmla="*/ 63176 h 177349"/>
              <a:gd name="connsiteX128" fmla="*/ 103119 w 338138"/>
              <a:gd name="connsiteY128" fmla="*/ 61171 h 177349"/>
              <a:gd name="connsiteX129" fmla="*/ 99116 w 338138"/>
              <a:gd name="connsiteY129" fmla="*/ 53150 h 177349"/>
              <a:gd name="connsiteX130" fmla="*/ 91109 w 338138"/>
              <a:gd name="connsiteY130" fmla="*/ 47134 h 177349"/>
              <a:gd name="connsiteX131" fmla="*/ 83103 w 338138"/>
              <a:gd name="connsiteY131" fmla="*/ 41118 h 177349"/>
              <a:gd name="connsiteX132" fmla="*/ 77098 w 338138"/>
              <a:gd name="connsiteY132" fmla="*/ 37108 h 177349"/>
              <a:gd name="connsiteX133" fmla="*/ 71093 w 338138"/>
              <a:gd name="connsiteY133" fmla="*/ 35102 h 177349"/>
              <a:gd name="connsiteX134" fmla="*/ 67090 w 338138"/>
              <a:gd name="connsiteY134" fmla="*/ 29087 h 177349"/>
              <a:gd name="connsiteX135" fmla="*/ 67090 w 338138"/>
              <a:gd name="connsiteY135" fmla="*/ 27081 h 177349"/>
              <a:gd name="connsiteX136" fmla="*/ 58103 w 338138"/>
              <a:gd name="connsiteY136" fmla="*/ 25493 h 177349"/>
              <a:gd name="connsiteX137" fmla="*/ 58103 w 338138"/>
              <a:gd name="connsiteY137" fmla="*/ 28669 h 177349"/>
              <a:gd name="connsiteX138" fmla="*/ 52388 w 338138"/>
              <a:gd name="connsiteY138" fmla="*/ 28669 h 177349"/>
              <a:gd name="connsiteX139" fmla="*/ 58103 w 338138"/>
              <a:gd name="connsiteY139" fmla="*/ 25493 h 177349"/>
              <a:gd name="connsiteX140" fmla="*/ 6846 w 338138"/>
              <a:gd name="connsiteY140" fmla="*/ 9817 h 177349"/>
              <a:gd name="connsiteX141" fmla="*/ 7144 w 338138"/>
              <a:gd name="connsiteY141" fmla="*/ 12794 h 177349"/>
              <a:gd name="connsiteX142" fmla="*/ 0 w 338138"/>
              <a:gd name="connsiteY142" fmla="*/ 12794 h 177349"/>
              <a:gd name="connsiteX143" fmla="*/ 4762 w 338138"/>
              <a:gd name="connsiteY143" fmla="*/ 10412 h 177349"/>
              <a:gd name="connsiteX144" fmla="*/ 6846 w 338138"/>
              <a:gd name="connsiteY144" fmla="*/ 9817 h 177349"/>
              <a:gd name="connsiteX145" fmla="*/ 27354 w 338138"/>
              <a:gd name="connsiteY145" fmla="*/ 582 h 177349"/>
              <a:gd name="connsiteX146" fmla="*/ 31262 w 338138"/>
              <a:gd name="connsiteY146" fmla="*/ 2658 h 177349"/>
              <a:gd name="connsiteX147" fmla="*/ 37123 w 338138"/>
              <a:gd name="connsiteY147" fmla="*/ 4734 h 177349"/>
              <a:gd name="connsiteX148" fmla="*/ 44938 w 338138"/>
              <a:gd name="connsiteY148" fmla="*/ 6810 h 177349"/>
              <a:gd name="connsiteX149" fmla="*/ 44938 w 338138"/>
              <a:gd name="connsiteY149" fmla="*/ 13038 h 177349"/>
              <a:gd name="connsiteX150" fmla="*/ 50800 w 338138"/>
              <a:gd name="connsiteY150" fmla="*/ 19266 h 177349"/>
              <a:gd name="connsiteX151" fmla="*/ 42985 w 338138"/>
              <a:gd name="connsiteY151" fmla="*/ 25494 h 177349"/>
              <a:gd name="connsiteX152" fmla="*/ 35169 w 338138"/>
              <a:gd name="connsiteY152" fmla="*/ 15114 h 177349"/>
              <a:gd name="connsiteX153" fmla="*/ 29308 w 338138"/>
              <a:gd name="connsiteY153" fmla="*/ 8886 h 177349"/>
              <a:gd name="connsiteX154" fmla="*/ 25400 w 338138"/>
              <a:gd name="connsiteY154" fmla="*/ 2658 h 177349"/>
              <a:gd name="connsiteX155" fmla="*/ 27354 w 338138"/>
              <a:gd name="connsiteY155" fmla="*/ 582 h 17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38138" h="177349">
                <a:moveTo>
                  <a:pt x="333375" y="174719"/>
                </a:moveTo>
                <a:cubicBezTo>
                  <a:pt x="333375" y="173131"/>
                  <a:pt x="338138" y="174719"/>
                  <a:pt x="338138" y="174719"/>
                </a:cubicBezTo>
                <a:cubicBezTo>
                  <a:pt x="338138" y="174719"/>
                  <a:pt x="338138" y="174719"/>
                  <a:pt x="338138" y="176307"/>
                </a:cubicBezTo>
                <a:cubicBezTo>
                  <a:pt x="338138" y="177894"/>
                  <a:pt x="333375" y="177894"/>
                  <a:pt x="333375" y="174719"/>
                </a:cubicBezTo>
                <a:close/>
                <a:moveTo>
                  <a:pt x="282575" y="157785"/>
                </a:moveTo>
                <a:cubicBezTo>
                  <a:pt x="282575" y="155668"/>
                  <a:pt x="286544" y="157785"/>
                  <a:pt x="286544" y="157785"/>
                </a:cubicBezTo>
                <a:cubicBezTo>
                  <a:pt x="286544" y="157785"/>
                  <a:pt x="290513" y="159902"/>
                  <a:pt x="286544" y="162018"/>
                </a:cubicBezTo>
                <a:cubicBezTo>
                  <a:pt x="282575" y="162018"/>
                  <a:pt x="282575" y="159902"/>
                  <a:pt x="282575" y="157785"/>
                </a:cubicBezTo>
                <a:close/>
                <a:moveTo>
                  <a:pt x="110491" y="155668"/>
                </a:moveTo>
                <a:cubicBezTo>
                  <a:pt x="112554" y="155668"/>
                  <a:pt x="116682" y="155668"/>
                  <a:pt x="116682" y="155668"/>
                </a:cubicBezTo>
                <a:cubicBezTo>
                  <a:pt x="116682" y="155668"/>
                  <a:pt x="124937" y="158049"/>
                  <a:pt x="127001" y="160431"/>
                </a:cubicBezTo>
                <a:cubicBezTo>
                  <a:pt x="127001" y="165193"/>
                  <a:pt x="122873" y="165193"/>
                  <a:pt x="120810" y="165193"/>
                </a:cubicBezTo>
                <a:cubicBezTo>
                  <a:pt x="118746" y="162812"/>
                  <a:pt x="118746" y="162812"/>
                  <a:pt x="116682" y="162812"/>
                </a:cubicBezTo>
                <a:cubicBezTo>
                  <a:pt x="114618" y="162812"/>
                  <a:pt x="110491" y="162812"/>
                  <a:pt x="110491" y="162812"/>
                </a:cubicBezTo>
                <a:cubicBezTo>
                  <a:pt x="110491" y="162812"/>
                  <a:pt x="106363" y="160431"/>
                  <a:pt x="106363" y="160431"/>
                </a:cubicBezTo>
                <a:cubicBezTo>
                  <a:pt x="106363" y="160431"/>
                  <a:pt x="106363" y="155668"/>
                  <a:pt x="110491" y="155668"/>
                </a:cubicBezTo>
                <a:close/>
                <a:moveTo>
                  <a:pt x="280353" y="142968"/>
                </a:moveTo>
                <a:cubicBezTo>
                  <a:pt x="280353" y="142968"/>
                  <a:pt x="284163" y="142968"/>
                  <a:pt x="282258" y="144556"/>
                </a:cubicBezTo>
                <a:cubicBezTo>
                  <a:pt x="280353" y="147731"/>
                  <a:pt x="278448" y="146144"/>
                  <a:pt x="276543" y="144556"/>
                </a:cubicBezTo>
                <a:cubicBezTo>
                  <a:pt x="274638" y="142968"/>
                  <a:pt x="280353" y="142968"/>
                  <a:pt x="280353" y="142968"/>
                </a:cubicBezTo>
                <a:close/>
                <a:moveTo>
                  <a:pt x="268317" y="125770"/>
                </a:moveTo>
                <a:cubicBezTo>
                  <a:pt x="270103" y="125506"/>
                  <a:pt x="272144" y="126035"/>
                  <a:pt x="274185" y="126035"/>
                </a:cubicBezTo>
                <a:cubicBezTo>
                  <a:pt x="274185" y="128152"/>
                  <a:pt x="276226" y="132385"/>
                  <a:pt x="272144" y="136618"/>
                </a:cubicBezTo>
                <a:cubicBezTo>
                  <a:pt x="272144" y="136618"/>
                  <a:pt x="261938" y="136618"/>
                  <a:pt x="263979" y="130268"/>
                </a:cubicBezTo>
                <a:cubicBezTo>
                  <a:pt x="264999" y="127093"/>
                  <a:pt x="266530" y="126035"/>
                  <a:pt x="268317" y="125770"/>
                </a:cubicBezTo>
                <a:close/>
                <a:moveTo>
                  <a:pt x="268288" y="119156"/>
                </a:moveTo>
                <a:cubicBezTo>
                  <a:pt x="268288" y="119156"/>
                  <a:pt x="269875" y="119156"/>
                  <a:pt x="269875" y="120744"/>
                </a:cubicBezTo>
                <a:cubicBezTo>
                  <a:pt x="268288" y="122331"/>
                  <a:pt x="266700" y="122331"/>
                  <a:pt x="266700" y="120744"/>
                </a:cubicBezTo>
                <a:cubicBezTo>
                  <a:pt x="266700" y="119156"/>
                  <a:pt x="268288" y="119156"/>
                  <a:pt x="268288" y="119156"/>
                </a:cubicBezTo>
                <a:close/>
                <a:moveTo>
                  <a:pt x="150496" y="114393"/>
                </a:moveTo>
                <a:cubicBezTo>
                  <a:pt x="152506" y="114393"/>
                  <a:pt x="156528" y="116457"/>
                  <a:pt x="156528" y="118521"/>
                </a:cubicBezTo>
                <a:cubicBezTo>
                  <a:pt x="160550" y="120585"/>
                  <a:pt x="164572" y="120585"/>
                  <a:pt x="168593" y="120585"/>
                </a:cubicBezTo>
                <a:cubicBezTo>
                  <a:pt x="172615" y="122648"/>
                  <a:pt x="172615" y="124712"/>
                  <a:pt x="174626" y="128840"/>
                </a:cubicBezTo>
                <a:cubicBezTo>
                  <a:pt x="174626" y="130904"/>
                  <a:pt x="174626" y="132967"/>
                  <a:pt x="172615" y="132967"/>
                </a:cubicBezTo>
                <a:cubicBezTo>
                  <a:pt x="170604" y="135031"/>
                  <a:pt x="162561" y="130904"/>
                  <a:pt x="160550" y="128840"/>
                </a:cubicBezTo>
                <a:cubicBezTo>
                  <a:pt x="158539" y="126776"/>
                  <a:pt x="154517" y="124712"/>
                  <a:pt x="152506" y="120585"/>
                </a:cubicBezTo>
                <a:cubicBezTo>
                  <a:pt x="152506" y="118521"/>
                  <a:pt x="152506" y="118521"/>
                  <a:pt x="148485" y="118521"/>
                </a:cubicBezTo>
                <a:cubicBezTo>
                  <a:pt x="144463" y="118521"/>
                  <a:pt x="144463" y="118521"/>
                  <a:pt x="144463" y="116457"/>
                </a:cubicBezTo>
                <a:cubicBezTo>
                  <a:pt x="144463" y="114393"/>
                  <a:pt x="150496" y="114393"/>
                  <a:pt x="150496" y="114393"/>
                </a:cubicBezTo>
                <a:close/>
                <a:moveTo>
                  <a:pt x="279400" y="112806"/>
                </a:moveTo>
                <a:cubicBezTo>
                  <a:pt x="279400" y="112806"/>
                  <a:pt x="279400" y="114923"/>
                  <a:pt x="279400" y="117040"/>
                </a:cubicBezTo>
                <a:cubicBezTo>
                  <a:pt x="279400" y="117040"/>
                  <a:pt x="276225" y="119156"/>
                  <a:pt x="276225" y="114923"/>
                </a:cubicBezTo>
                <a:cubicBezTo>
                  <a:pt x="276225" y="112806"/>
                  <a:pt x="279400" y="112806"/>
                  <a:pt x="279400" y="112806"/>
                </a:cubicBezTo>
                <a:close/>
                <a:moveTo>
                  <a:pt x="277812" y="84231"/>
                </a:moveTo>
                <a:cubicBezTo>
                  <a:pt x="277812" y="84231"/>
                  <a:pt x="279400" y="86348"/>
                  <a:pt x="279400" y="86348"/>
                </a:cubicBezTo>
                <a:cubicBezTo>
                  <a:pt x="279400" y="86348"/>
                  <a:pt x="277812" y="90581"/>
                  <a:pt x="277812" y="86348"/>
                </a:cubicBezTo>
                <a:cubicBezTo>
                  <a:pt x="276225" y="84231"/>
                  <a:pt x="277812" y="84231"/>
                  <a:pt x="277812" y="84231"/>
                </a:cubicBezTo>
                <a:close/>
                <a:moveTo>
                  <a:pt x="118851" y="84231"/>
                </a:moveTo>
                <a:cubicBezTo>
                  <a:pt x="122873" y="86295"/>
                  <a:pt x="124884" y="88359"/>
                  <a:pt x="126895" y="94550"/>
                </a:cubicBezTo>
                <a:cubicBezTo>
                  <a:pt x="128905" y="96614"/>
                  <a:pt x="132927" y="96614"/>
                  <a:pt x="134938" y="100742"/>
                </a:cubicBezTo>
                <a:cubicBezTo>
                  <a:pt x="134938" y="104869"/>
                  <a:pt x="130916" y="104869"/>
                  <a:pt x="130916" y="104869"/>
                </a:cubicBezTo>
                <a:cubicBezTo>
                  <a:pt x="130916" y="104869"/>
                  <a:pt x="128905" y="104869"/>
                  <a:pt x="124884" y="102805"/>
                </a:cubicBezTo>
                <a:cubicBezTo>
                  <a:pt x="120862" y="102805"/>
                  <a:pt x="116840" y="100742"/>
                  <a:pt x="116840" y="100742"/>
                </a:cubicBezTo>
                <a:cubicBezTo>
                  <a:pt x="116840" y="100742"/>
                  <a:pt x="112818" y="98678"/>
                  <a:pt x="110808" y="100742"/>
                </a:cubicBezTo>
                <a:cubicBezTo>
                  <a:pt x="106786" y="100742"/>
                  <a:pt x="106786" y="96614"/>
                  <a:pt x="106786" y="96614"/>
                </a:cubicBezTo>
                <a:cubicBezTo>
                  <a:pt x="104775" y="86295"/>
                  <a:pt x="114829" y="84231"/>
                  <a:pt x="118851" y="84231"/>
                </a:cubicBezTo>
                <a:close/>
                <a:moveTo>
                  <a:pt x="118111" y="73118"/>
                </a:moveTo>
                <a:cubicBezTo>
                  <a:pt x="122556" y="73118"/>
                  <a:pt x="122556" y="75023"/>
                  <a:pt x="122556" y="75023"/>
                </a:cubicBezTo>
                <a:cubicBezTo>
                  <a:pt x="122556" y="75023"/>
                  <a:pt x="122556" y="76928"/>
                  <a:pt x="122556" y="76928"/>
                </a:cubicBezTo>
                <a:cubicBezTo>
                  <a:pt x="124778" y="76928"/>
                  <a:pt x="127001" y="78833"/>
                  <a:pt x="127001" y="80738"/>
                </a:cubicBezTo>
                <a:cubicBezTo>
                  <a:pt x="124778" y="82643"/>
                  <a:pt x="122556" y="82643"/>
                  <a:pt x="120333" y="82643"/>
                </a:cubicBezTo>
                <a:cubicBezTo>
                  <a:pt x="118111" y="82643"/>
                  <a:pt x="118111" y="76928"/>
                  <a:pt x="118111" y="76928"/>
                </a:cubicBezTo>
                <a:cubicBezTo>
                  <a:pt x="118111" y="76928"/>
                  <a:pt x="115888" y="75023"/>
                  <a:pt x="118111" y="73118"/>
                </a:cubicBezTo>
                <a:close/>
                <a:moveTo>
                  <a:pt x="132883" y="52862"/>
                </a:moveTo>
                <a:cubicBezTo>
                  <a:pt x="138766" y="50893"/>
                  <a:pt x="138766" y="56799"/>
                  <a:pt x="138766" y="56799"/>
                </a:cubicBezTo>
                <a:cubicBezTo>
                  <a:pt x="138766" y="56799"/>
                  <a:pt x="140727" y="60736"/>
                  <a:pt x="142688" y="60736"/>
                </a:cubicBezTo>
                <a:cubicBezTo>
                  <a:pt x="142688" y="60736"/>
                  <a:pt x="140727" y="64673"/>
                  <a:pt x="140727" y="64673"/>
                </a:cubicBezTo>
                <a:cubicBezTo>
                  <a:pt x="140727" y="64673"/>
                  <a:pt x="138766" y="68610"/>
                  <a:pt x="142688" y="68610"/>
                </a:cubicBezTo>
                <a:cubicBezTo>
                  <a:pt x="144650" y="68610"/>
                  <a:pt x="148572" y="68610"/>
                  <a:pt x="148572" y="70578"/>
                </a:cubicBezTo>
                <a:cubicBezTo>
                  <a:pt x="148572" y="72547"/>
                  <a:pt x="148572" y="74515"/>
                  <a:pt x="148572" y="74515"/>
                </a:cubicBezTo>
                <a:cubicBezTo>
                  <a:pt x="148572" y="74515"/>
                  <a:pt x="148572" y="78453"/>
                  <a:pt x="148572" y="80421"/>
                </a:cubicBezTo>
                <a:cubicBezTo>
                  <a:pt x="148572" y="82390"/>
                  <a:pt x="148572" y="82390"/>
                  <a:pt x="148572" y="84358"/>
                </a:cubicBezTo>
                <a:cubicBezTo>
                  <a:pt x="150533" y="84358"/>
                  <a:pt x="152494" y="86327"/>
                  <a:pt x="152494" y="86327"/>
                </a:cubicBezTo>
                <a:cubicBezTo>
                  <a:pt x="152494" y="86327"/>
                  <a:pt x="152494" y="84358"/>
                  <a:pt x="154455" y="86327"/>
                </a:cubicBezTo>
                <a:cubicBezTo>
                  <a:pt x="154455" y="88295"/>
                  <a:pt x="156416" y="88295"/>
                  <a:pt x="156416" y="88295"/>
                </a:cubicBezTo>
                <a:cubicBezTo>
                  <a:pt x="156416" y="88295"/>
                  <a:pt x="160338" y="90264"/>
                  <a:pt x="160338" y="94201"/>
                </a:cubicBezTo>
                <a:cubicBezTo>
                  <a:pt x="160338" y="98138"/>
                  <a:pt x="160338" y="98138"/>
                  <a:pt x="158377" y="98138"/>
                </a:cubicBezTo>
                <a:cubicBezTo>
                  <a:pt x="156416" y="98138"/>
                  <a:pt x="154455" y="100106"/>
                  <a:pt x="152494" y="98138"/>
                </a:cubicBezTo>
                <a:cubicBezTo>
                  <a:pt x="150533" y="96169"/>
                  <a:pt x="148572" y="92232"/>
                  <a:pt x="146611" y="90264"/>
                </a:cubicBezTo>
                <a:cubicBezTo>
                  <a:pt x="144650" y="88295"/>
                  <a:pt x="140727" y="86327"/>
                  <a:pt x="140727" y="84358"/>
                </a:cubicBezTo>
                <a:cubicBezTo>
                  <a:pt x="138766" y="82390"/>
                  <a:pt x="136805" y="84358"/>
                  <a:pt x="134844" y="82390"/>
                </a:cubicBezTo>
                <a:cubicBezTo>
                  <a:pt x="134844" y="80421"/>
                  <a:pt x="132883" y="76484"/>
                  <a:pt x="132883" y="72547"/>
                </a:cubicBezTo>
                <a:cubicBezTo>
                  <a:pt x="134844" y="68610"/>
                  <a:pt x="132883" y="58767"/>
                  <a:pt x="132883" y="58767"/>
                </a:cubicBezTo>
                <a:cubicBezTo>
                  <a:pt x="132883" y="58767"/>
                  <a:pt x="127000" y="54830"/>
                  <a:pt x="132883" y="52862"/>
                </a:cubicBezTo>
                <a:close/>
                <a:moveTo>
                  <a:pt x="46691" y="42956"/>
                </a:moveTo>
                <a:cubicBezTo>
                  <a:pt x="46691" y="42956"/>
                  <a:pt x="52575" y="42956"/>
                  <a:pt x="50613" y="44884"/>
                </a:cubicBezTo>
                <a:cubicBezTo>
                  <a:pt x="50613" y="46812"/>
                  <a:pt x="50613" y="46812"/>
                  <a:pt x="52575" y="48739"/>
                </a:cubicBezTo>
                <a:cubicBezTo>
                  <a:pt x="54536" y="48739"/>
                  <a:pt x="58458" y="50667"/>
                  <a:pt x="58458" y="56450"/>
                </a:cubicBezTo>
                <a:cubicBezTo>
                  <a:pt x="60419" y="60306"/>
                  <a:pt x="64341" y="56450"/>
                  <a:pt x="66302" y="56450"/>
                </a:cubicBezTo>
                <a:cubicBezTo>
                  <a:pt x="68263" y="56450"/>
                  <a:pt x="68263" y="60306"/>
                  <a:pt x="68263" y="64161"/>
                </a:cubicBezTo>
                <a:cubicBezTo>
                  <a:pt x="68263" y="66089"/>
                  <a:pt x="66302" y="66089"/>
                  <a:pt x="64341" y="64161"/>
                </a:cubicBezTo>
                <a:cubicBezTo>
                  <a:pt x="62380" y="62233"/>
                  <a:pt x="60419" y="62233"/>
                  <a:pt x="60419" y="62233"/>
                </a:cubicBezTo>
                <a:cubicBezTo>
                  <a:pt x="60419" y="62233"/>
                  <a:pt x="56497" y="62233"/>
                  <a:pt x="54536" y="58378"/>
                </a:cubicBezTo>
                <a:cubicBezTo>
                  <a:pt x="52575" y="54523"/>
                  <a:pt x="50613" y="54523"/>
                  <a:pt x="46691" y="56450"/>
                </a:cubicBezTo>
                <a:cubicBezTo>
                  <a:pt x="42769" y="56450"/>
                  <a:pt x="44730" y="60306"/>
                  <a:pt x="46691" y="60306"/>
                </a:cubicBezTo>
                <a:cubicBezTo>
                  <a:pt x="46691" y="60306"/>
                  <a:pt x="52575" y="64161"/>
                  <a:pt x="54536" y="66089"/>
                </a:cubicBezTo>
                <a:cubicBezTo>
                  <a:pt x="54536" y="68017"/>
                  <a:pt x="54536" y="69944"/>
                  <a:pt x="52575" y="68017"/>
                </a:cubicBezTo>
                <a:cubicBezTo>
                  <a:pt x="50613" y="66089"/>
                  <a:pt x="46691" y="68017"/>
                  <a:pt x="40808" y="66089"/>
                </a:cubicBezTo>
                <a:cubicBezTo>
                  <a:pt x="36886" y="62233"/>
                  <a:pt x="40808" y="60306"/>
                  <a:pt x="40808" y="56450"/>
                </a:cubicBezTo>
                <a:cubicBezTo>
                  <a:pt x="40808" y="52595"/>
                  <a:pt x="40808" y="54523"/>
                  <a:pt x="36886" y="50667"/>
                </a:cubicBezTo>
                <a:cubicBezTo>
                  <a:pt x="34925" y="48739"/>
                  <a:pt x="38847" y="50667"/>
                  <a:pt x="38847" y="50667"/>
                </a:cubicBezTo>
                <a:cubicBezTo>
                  <a:pt x="38847" y="50667"/>
                  <a:pt x="40808" y="48739"/>
                  <a:pt x="42769" y="48739"/>
                </a:cubicBezTo>
                <a:cubicBezTo>
                  <a:pt x="42769" y="46812"/>
                  <a:pt x="44730" y="44884"/>
                  <a:pt x="46691" y="42956"/>
                </a:cubicBezTo>
                <a:close/>
                <a:moveTo>
                  <a:pt x="53975" y="40199"/>
                </a:moveTo>
                <a:cubicBezTo>
                  <a:pt x="53975" y="38193"/>
                  <a:pt x="58016" y="40199"/>
                  <a:pt x="58016" y="40199"/>
                </a:cubicBezTo>
                <a:cubicBezTo>
                  <a:pt x="58016" y="40199"/>
                  <a:pt x="64077" y="42204"/>
                  <a:pt x="66098" y="44209"/>
                </a:cubicBezTo>
                <a:cubicBezTo>
                  <a:pt x="72159" y="46214"/>
                  <a:pt x="76200" y="50225"/>
                  <a:pt x="76200" y="52230"/>
                </a:cubicBezTo>
                <a:cubicBezTo>
                  <a:pt x="78220" y="54235"/>
                  <a:pt x="78220" y="58246"/>
                  <a:pt x="82261" y="60251"/>
                </a:cubicBezTo>
                <a:cubicBezTo>
                  <a:pt x="86302" y="64262"/>
                  <a:pt x="90343" y="64262"/>
                  <a:pt x="92364" y="64262"/>
                </a:cubicBezTo>
                <a:cubicBezTo>
                  <a:pt x="94384" y="66267"/>
                  <a:pt x="98425" y="70277"/>
                  <a:pt x="98425" y="72283"/>
                </a:cubicBezTo>
                <a:cubicBezTo>
                  <a:pt x="98425" y="76293"/>
                  <a:pt x="92364" y="74288"/>
                  <a:pt x="90343" y="74288"/>
                </a:cubicBezTo>
                <a:cubicBezTo>
                  <a:pt x="90343" y="72283"/>
                  <a:pt x="88323" y="70277"/>
                  <a:pt x="84282" y="72283"/>
                </a:cubicBezTo>
                <a:cubicBezTo>
                  <a:pt x="82261" y="72283"/>
                  <a:pt x="80241" y="66267"/>
                  <a:pt x="80241" y="66267"/>
                </a:cubicBezTo>
                <a:cubicBezTo>
                  <a:pt x="80241" y="66267"/>
                  <a:pt x="76200" y="58246"/>
                  <a:pt x="74180" y="54235"/>
                </a:cubicBezTo>
                <a:cubicBezTo>
                  <a:pt x="72159" y="50225"/>
                  <a:pt x="62057" y="46214"/>
                  <a:pt x="60036" y="44209"/>
                </a:cubicBezTo>
                <a:cubicBezTo>
                  <a:pt x="58016" y="44209"/>
                  <a:pt x="55995" y="44209"/>
                  <a:pt x="53975" y="40199"/>
                </a:cubicBezTo>
                <a:close/>
                <a:moveTo>
                  <a:pt x="26988" y="30256"/>
                </a:moveTo>
                <a:cubicBezTo>
                  <a:pt x="26988" y="30256"/>
                  <a:pt x="30163" y="32479"/>
                  <a:pt x="30163" y="34701"/>
                </a:cubicBezTo>
                <a:cubicBezTo>
                  <a:pt x="30163" y="39147"/>
                  <a:pt x="25400" y="41369"/>
                  <a:pt x="25400" y="36924"/>
                </a:cubicBezTo>
                <a:cubicBezTo>
                  <a:pt x="25400" y="32479"/>
                  <a:pt x="26988" y="30256"/>
                  <a:pt x="26988" y="30256"/>
                </a:cubicBezTo>
                <a:close/>
                <a:moveTo>
                  <a:pt x="67090" y="27081"/>
                </a:moveTo>
                <a:cubicBezTo>
                  <a:pt x="73095" y="27081"/>
                  <a:pt x="73095" y="29087"/>
                  <a:pt x="73095" y="29087"/>
                </a:cubicBezTo>
                <a:cubicBezTo>
                  <a:pt x="73095" y="29087"/>
                  <a:pt x="73095" y="31092"/>
                  <a:pt x="77098" y="31092"/>
                </a:cubicBezTo>
                <a:cubicBezTo>
                  <a:pt x="77098" y="29087"/>
                  <a:pt x="83103" y="27081"/>
                  <a:pt x="83103" y="31092"/>
                </a:cubicBezTo>
                <a:cubicBezTo>
                  <a:pt x="85105" y="35102"/>
                  <a:pt x="83103" y="39113"/>
                  <a:pt x="87106" y="41118"/>
                </a:cubicBezTo>
                <a:cubicBezTo>
                  <a:pt x="91109" y="43123"/>
                  <a:pt x="95113" y="43123"/>
                  <a:pt x="97114" y="43123"/>
                </a:cubicBezTo>
                <a:cubicBezTo>
                  <a:pt x="101118" y="43123"/>
                  <a:pt x="107123" y="43123"/>
                  <a:pt x="109124" y="51144"/>
                </a:cubicBezTo>
                <a:cubicBezTo>
                  <a:pt x="111126" y="57160"/>
                  <a:pt x="111126" y="61171"/>
                  <a:pt x="107123" y="63176"/>
                </a:cubicBezTo>
                <a:cubicBezTo>
                  <a:pt x="105121" y="65181"/>
                  <a:pt x="103119" y="63176"/>
                  <a:pt x="103119" y="61171"/>
                </a:cubicBezTo>
                <a:cubicBezTo>
                  <a:pt x="105121" y="59165"/>
                  <a:pt x="101118" y="57160"/>
                  <a:pt x="99116" y="53150"/>
                </a:cubicBezTo>
                <a:cubicBezTo>
                  <a:pt x="97114" y="51144"/>
                  <a:pt x="93111" y="49139"/>
                  <a:pt x="91109" y="47134"/>
                </a:cubicBezTo>
                <a:cubicBezTo>
                  <a:pt x="87106" y="45129"/>
                  <a:pt x="85105" y="45129"/>
                  <a:pt x="83103" y="41118"/>
                </a:cubicBezTo>
                <a:cubicBezTo>
                  <a:pt x="81101" y="39113"/>
                  <a:pt x="79100" y="37108"/>
                  <a:pt x="77098" y="37108"/>
                </a:cubicBezTo>
                <a:cubicBezTo>
                  <a:pt x="73095" y="37108"/>
                  <a:pt x="71093" y="37108"/>
                  <a:pt x="71093" y="35102"/>
                </a:cubicBezTo>
                <a:cubicBezTo>
                  <a:pt x="71093" y="33097"/>
                  <a:pt x="67090" y="29087"/>
                  <a:pt x="67090" y="29087"/>
                </a:cubicBezTo>
                <a:cubicBezTo>
                  <a:pt x="67090" y="29087"/>
                  <a:pt x="65088" y="27081"/>
                  <a:pt x="67090" y="27081"/>
                </a:cubicBezTo>
                <a:close/>
                <a:moveTo>
                  <a:pt x="58103" y="25493"/>
                </a:moveTo>
                <a:cubicBezTo>
                  <a:pt x="61913" y="25493"/>
                  <a:pt x="60008" y="30256"/>
                  <a:pt x="58103" y="28669"/>
                </a:cubicBezTo>
                <a:cubicBezTo>
                  <a:pt x="56198" y="28669"/>
                  <a:pt x="52388" y="28669"/>
                  <a:pt x="52388" y="28669"/>
                </a:cubicBezTo>
                <a:cubicBezTo>
                  <a:pt x="52388" y="28669"/>
                  <a:pt x="54293" y="25493"/>
                  <a:pt x="58103" y="25493"/>
                </a:cubicBezTo>
                <a:close/>
                <a:moveTo>
                  <a:pt x="6846" y="9817"/>
                </a:moveTo>
                <a:cubicBezTo>
                  <a:pt x="7739" y="9817"/>
                  <a:pt x="8335" y="10413"/>
                  <a:pt x="7144" y="12794"/>
                </a:cubicBezTo>
                <a:cubicBezTo>
                  <a:pt x="7144" y="17556"/>
                  <a:pt x="2381" y="17556"/>
                  <a:pt x="0" y="12794"/>
                </a:cubicBezTo>
                <a:cubicBezTo>
                  <a:pt x="0" y="10412"/>
                  <a:pt x="4762" y="10412"/>
                  <a:pt x="4762" y="10412"/>
                </a:cubicBezTo>
                <a:cubicBezTo>
                  <a:pt x="4762" y="10412"/>
                  <a:pt x="5953" y="9817"/>
                  <a:pt x="6846" y="9817"/>
                </a:cubicBezTo>
                <a:close/>
                <a:moveTo>
                  <a:pt x="27354" y="582"/>
                </a:moveTo>
                <a:cubicBezTo>
                  <a:pt x="31262" y="-1494"/>
                  <a:pt x="31262" y="2658"/>
                  <a:pt x="31262" y="2658"/>
                </a:cubicBezTo>
                <a:cubicBezTo>
                  <a:pt x="31262" y="2658"/>
                  <a:pt x="31262" y="2658"/>
                  <a:pt x="37123" y="4734"/>
                </a:cubicBezTo>
                <a:cubicBezTo>
                  <a:pt x="37123" y="4734"/>
                  <a:pt x="42985" y="6810"/>
                  <a:pt x="44938" y="6810"/>
                </a:cubicBezTo>
                <a:cubicBezTo>
                  <a:pt x="46892" y="6810"/>
                  <a:pt x="44938" y="8886"/>
                  <a:pt x="44938" y="13038"/>
                </a:cubicBezTo>
                <a:cubicBezTo>
                  <a:pt x="44938" y="15114"/>
                  <a:pt x="50800" y="19266"/>
                  <a:pt x="50800" y="19266"/>
                </a:cubicBezTo>
                <a:cubicBezTo>
                  <a:pt x="50800" y="21342"/>
                  <a:pt x="46892" y="23418"/>
                  <a:pt x="42985" y="25494"/>
                </a:cubicBezTo>
                <a:cubicBezTo>
                  <a:pt x="39077" y="25494"/>
                  <a:pt x="37123" y="17190"/>
                  <a:pt x="35169" y="15114"/>
                </a:cubicBezTo>
                <a:cubicBezTo>
                  <a:pt x="33215" y="13038"/>
                  <a:pt x="29308" y="8886"/>
                  <a:pt x="29308" y="8886"/>
                </a:cubicBezTo>
                <a:cubicBezTo>
                  <a:pt x="29308" y="8886"/>
                  <a:pt x="25400" y="4734"/>
                  <a:pt x="25400" y="2658"/>
                </a:cubicBezTo>
                <a:cubicBezTo>
                  <a:pt x="25400" y="582"/>
                  <a:pt x="27354" y="582"/>
                  <a:pt x="27354" y="582"/>
                </a:cubicBezTo>
                <a:close/>
              </a:path>
            </a:pathLst>
          </a:custGeom>
          <a:solidFill>
            <a:schemeClr val="accent1">
              <a:lumMod val="20000"/>
              <a:lumOff val="8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2" name="Papua New Guinea"/>
          <p:cNvSpPr>
            <a:spLocks/>
          </p:cNvSpPr>
          <p:nvPr/>
        </p:nvSpPr>
        <p:spPr bwMode="auto">
          <a:xfrm>
            <a:off x="10009685" y="4106468"/>
            <a:ext cx="413197" cy="331538"/>
          </a:xfrm>
          <a:custGeom>
            <a:avLst/>
            <a:gdLst>
              <a:gd name="connsiteX0" fmla="*/ 330200 w 401638"/>
              <a:gd name="connsiteY0" fmla="*/ 317500 h 322263"/>
              <a:gd name="connsiteX1" fmla="*/ 336550 w 401638"/>
              <a:gd name="connsiteY1" fmla="*/ 320676 h 322263"/>
              <a:gd name="connsiteX2" fmla="*/ 330200 w 401638"/>
              <a:gd name="connsiteY2" fmla="*/ 322263 h 322263"/>
              <a:gd name="connsiteX3" fmla="*/ 323850 w 401638"/>
              <a:gd name="connsiteY3" fmla="*/ 319088 h 322263"/>
              <a:gd name="connsiteX4" fmla="*/ 330200 w 401638"/>
              <a:gd name="connsiteY4" fmla="*/ 317500 h 322263"/>
              <a:gd name="connsiteX5" fmla="*/ 343694 w 401638"/>
              <a:gd name="connsiteY5" fmla="*/ 314325 h 322263"/>
              <a:gd name="connsiteX6" fmla="*/ 347663 w 401638"/>
              <a:gd name="connsiteY6" fmla="*/ 316707 h 322263"/>
              <a:gd name="connsiteX7" fmla="*/ 341709 w 401638"/>
              <a:gd name="connsiteY7" fmla="*/ 319088 h 322263"/>
              <a:gd name="connsiteX8" fmla="*/ 343694 w 401638"/>
              <a:gd name="connsiteY8" fmla="*/ 314325 h 322263"/>
              <a:gd name="connsiteX9" fmla="*/ 306070 w 401638"/>
              <a:gd name="connsiteY9" fmla="*/ 290512 h 322263"/>
              <a:gd name="connsiteX10" fmla="*/ 311785 w 401638"/>
              <a:gd name="connsiteY10" fmla="*/ 294481 h 322263"/>
              <a:gd name="connsiteX11" fmla="*/ 309880 w 401638"/>
              <a:gd name="connsiteY11" fmla="*/ 296466 h 322263"/>
              <a:gd name="connsiteX12" fmla="*/ 302260 w 401638"/>
              <a:gd name="connsiteY12" fmla="*/ 296466 h 322263"/>
              <a:gd name="connsiteX13" fmla="*/ 298450 w 401638"/>
              <a:gd name="connsiteY13" fmla="*/ 292497 h 322263"/>
              <a:gd name="connsiteX14" fmla="*/ 306070 w 401638"/>
              <a:gd name="connsiteY14" fmla="*/ 290512 h 322263"/>
              <a:gd name="connsiteX15" fmla="*/ 257969 w 401638"/>
              <a:gd name="connsiteY15" fmla="*/ 288925 h 322263"/>
              <a:gd name="connsiteX16" fmla="*/ 266224 w 401638"/>
              <a:gd name="connsiteY16" fmla="*/ 293159 h 322263"/>
              <a:gd name="connsiteX17" fmla="*/ 255905 w 401638"/>
              <a:gd name="connsiteY17" fmla="*/ 293159 h 322263"/>
              <a:gd name="connsiteX18" fmla="*/ 247650 w 401638"/>
              <a:gd name="connsiteY18" fmla="*/ 291042 h 322263"/>
              <a:gd name="connsiteX19" fmla="*/ 257969 w 401638"/>
              <a:gd name="connsiteY19" fmla="*/ 288925 h 322263"/>
              <a:gd name="connsiteX20" fmla="*/ 288131 w 401638"/>
              <a:gd name="connsiteY20" fmla="*/ 287337 h 322263"/>
              <a:gd name="connsiteX21" fmla="*/ 288131 w 401638"/>
              <a:gd name="connsiteY21" fmla="*/ 289189 h 322263"/>
              <a:gd name="connsiteX22" fmla="*/ 290115 w 401638"/>
              <a:gd name="connsiteY22" fmla="*/ 292894 h 322263"/>
              <a:gd name="connsiteX23" fmla="*/ 290115 w 401638"/>
              <a:gd name="connsiteY23" fmla="*/ 296598 h 322263"/>
              <a:gd name="connsiteX24" fmla="*/ 286147 w 401638"/>
              <a:gd name="connsiteY24" fmla="*/ 294746 h 322263"/>
              <a:gd name="connsiteX25" fmla="*/ 284162 w 401638"/>
              <a:gd name="connsiteY25" fmla="*/ 289189 h 322263"/>
              <a:gd name="connsiteX26" fmla="*/ 288131 w 401638"/>
              <a:gd name="connsiteY26" fmla="*/ 287337 h 322263"/>
              <a:gd name="connsiteX27" fmla="*/ 267758 w 401638"/>
              <a:gd name="connsiteY27" fmla="*/ 280987 h 322263"/>
              <a:gd name="connsiteX28" fmla="*/ 269875 w 401638"/>
              <a:gd name="connsiteY28" fmla="*/ 286941 h 322263"/>
              <a:gd name="connsiteX29" fmla="*/ 265642 w 401638"/>
              <a:gd name="connsiteY29" fmla="*/ 284956 h 322263"/>
              <a:gd name="connsiteX30" fmla="*/ 267758 w 401638"/>
              <a:gd name="connsiteY30" fmla="*/ 280987 h 322263"/>
              <a:gd name="connsiteX31" fmla="*/ 259821 w 401638"/>
              <a:gd name="connsiteY31" fmla="*/ 267097 h 322263"/>
              <a:gd name="connsiteX32" fmla="*/ 261937 w 401638"/>
              <a:gd name="connsiteY32" fmla="*/ 269081 h 322263"/>
              <a:gd name="connsiteX33" fmla="*/ 264054 w 401638"/>
              <a:gd name="connsiteY33" fmla="*/ 269081 h 322263"/>
              <a:gd name="connsiteX34" fmla="*/ 270404 w 401638"/>
              <a:gd name="connsiteY34" fmla="*/ 273050 h 322263"/>
              <a:gd name="connsiteX35" fmla="*/ 270404 w 401638"/>
              <a:gd name="connsiteY35" fmla="*/ 279003 h 322263"/>
              <a:gd name="connsiteX36" fmla="*/ 266170 w 401638"/>
              <a:gd name="connsiteY36" fmla="*/ 277018 h 322263"/>
              <a:gd name="connsiteX37" fmla="*/ 257704 w 401638"/>
              <a:gd name="connsiteY37" fmla="*/ 273050 h 322263"/>
              <a:gd name="connsiteX38" fmla="*/ 259821 w 401638"/>
              <a:gd name="connsiteY38" fmla="*/ 267097 h 322263"/>
              <a:gd name="connsiteX39" fmla="*/ 258234 w 401638"/>
              <a:gd name="connsiteY39" fmla="*/ 259160 h 322263"/>
              <a:gd name="connsiteX40" fmla="*/ 261938 w 401638"/>
              <a:gd name="connsiteY40" fmla="*/ 263129 h 322263"/>
              <a:gd name="connsiteX41" fmla="*/ 254530 w 401638"/>
              <a:gd name="connsiteY41" fmla="*/ 265113 h 322263"/>
              <a:gd name="connsiteX42" fmla="*/ 252677 w 401638"/>
              <a:gd name="connsiteY42" fmla="*/ 261144 h 322263"/>
              <a:gd name="connsiteX43" fmla="*/ 258234 w 401638"/>
              <a:gd name="connsiteY43" fmla="*/ 259160 h 322263"/>
              <a:gd name="connsiteX44" fmla="*/ 248285 w 401638"/>
              <a:gd name="connsiteY44" fmla="*/ 250825 h 322263"/>
              <a:gd name="connsiteX45" fmla="*/ 252095 w 401638"/>
              <a:gd name="connsiteY45" fmla="*/ 256779 h 322263"/>
              <a:gd name="connsiteX46" fmla="*/ 244475 w 401638"/>
              <a:gd name="connsiteY46" fmla="*/ 254794 h 322263"/>
              <a:gd name="connsiteX47" fmla="*/ 248285 w 401638"/>
              <a:gd name="connsiteY47" fmla="*/ 250825 h 322263"/>
              <a:gd name="connsiteX48" fmla="*/ 264715 w 401638"/>
              <a:gd name="connsiteY48" fmla="*/ 246062 h 322263"/>
              <a:gd name="connsiteX49" fmla="*/ 266700 w 401638"/>
              <a:gd name="connsiteY49" fmla="*/ 249237 h 322263"/>
              <a:gd name="connsiteX50" fmla="*/ 262731 w 401638"/>
              <a:gd name="connsiteY50" fmla="*/ 255587 h 322263"/>
              <a:gd name="connsiteX51" fmla="*/ 260747 w 401638"/>
              <a:gd name="connsiteY51" fmla="*/ 251354 h 322263"/>
              <a:gd name="connsiteX52" fmla="*/ 262731 w 401638"/>
              <a:gd name="connsiteY52" fmla="*/ 249237 h 322263"/>
              <a:gd name="connsiteX53" fmla="*/ 264715 w 401638"/>
              <a:gd name="connsiteY53" fmla="*/ 246062 h 322263"/>
              <a:gd name="connsiteX54" fmla="*/ 305329 w 401638"/>
              <a:gd name="connsiteY54" fmla="*/ 241300 h 322263"/>
              <a:gd name="connsiteX55" fmla="*/ 311679 w 401638"/>
              <a:gd name="connsiteY55" fmla="*/ 243285 h 322263"/>
              <a:gd name="connsiteX56" fmla="*/ 315912 w 401638"/>
              <a:gd name="connsiteY56" fmla="*/ 247254 h 322263"/>
              <a:gd name="connsiteX57" fmla="*/ 309562 w 401638"/>
              <a:gd name="connsiteY57" fmla="*/ 247254 h 322263"/>
              <a:gd name="connsiteX58" fmla="*/ 303212 w 401638"/>
              <a:gd name="connsiteY58" fmla="*/ 243285 h 322263"/>
              <a:gd name="connsiteX59" fmla="*/ 305329 w 401638"/>
              <a:gd name="connsiteY59" fmla="*/ 241300 h 322263"/>
              <a:gd name="connsiteX60" fmla="*/ 269875 w 401638"/>
              <a:gd name="connsiteY60" fmla="*/ 234950 h 322263"/>
              <a:gd name="connsiteX61" fmla="*/ 271462 w 401638"/>
              <a:gd name="connsiteY61" fmla="*/ 237332 h 322263"/>
              <a:gd name="connsiteX62" fmla="*/ 269875 w 401638"/>
              <a:gd name="connsiteY62" fmla="*/ 239713 h 322263"/>
              <a:gd name="connsiteX63" fmla="*/ 269875 w 401638"/>
              <a:gd name="connsiteY63" fmla="*/ 234950 h 322263"/>
              <a:gd name="connsiteX64" fmla="*/ 265211 w 401638"/>
              <a:gd name="connsiteY64" fmla="*/ 233512 h 322263"/>
              <a:gd name="connsiteX65" fmla="*/ 264715 w 401638"/>
              <a:gd name="connsiteY65" fmla="*/ 235744 h 322263"/>
              <a:gd name="connsiteX66" fmla="*/ 260747 w 401638"/>
              <a:gd name="connsiteY66" fmla="*/ 239713 h 322263"/>
              <a:gd name="connsiteX67" fmla="*/ 262731 w 401638"/>
              <a:gd name="connsiteY67" fmla="*/ 235744 h 322263"/>
              <a:gd name="connsiteX68" fmla="*/ 265211 w 401638"/>
              <a:gd name="connsiteY68" fmla="*/ 233512 h 322263"/>
              <a:gd name="connsiteX69" fmla="*/ 268685 w 401638"/>
              <a:gd name="connsiteY69" fmla="*/ 220662 h 322263"/>
              <a:gd name="connsiteX70" fmla="*/ 272653 w 401638"/>
              <a:gd name="connsiteY70" fmla="*/ 224896 h 322263"/>
              <a:gd name="connsiteX71" fmla="*/ 272653 w 401638"/>
              <a:gd name="connsiteY71" fmla="*/ 231246 h 322263"/>
              <a:gd name="connsiteX72" fmla="*/ 270669 w 401638"/>
              <a:gd name="connsiteY72" fmla="*/ 233362 h 322263"/>
              <a:gd name="connsiteX73" fmla="*/ 266700 w 401638"/>
              <a:gd name="connsiteY73" fmla="*/ 227012 h 322263"/>
              <a:gd name="connsiteX74" fmla="*/ 268685 w 401638"/>
              <a:gd name="connsiteY74" fmla="*/ 220662 h 322263"/>
              <a:gd name="connsiteX75" fmla="*/ 188793 w 401638"/>
              <a:gd name="connsiteY75" fmla="*/ 129807 h 322263"/>
              <a:gd name="connsiteX76" fmla="*/ 190182 w 401638"/>
              <a:gd name="connsiteY76" fmla="*/ 131083 h 322263"/>
              <a:gd name="connsiteX77" fmla="*/ 194628 w 401638"/>
              <a:gd name="connsiteY77" fmla="*/ 133124 h 322263"/>
              <a:gd name="connsiteX78" fmla="*/ 196850 w 401638"/>
              <a:gd name="connsiteY78" fmla="*/ 139247 h 322263"/>
              <a:gd name="connsiteX79" fmla="*/ 192405 w 401638"/>
              <a:gd name="connsiteY79" fmla="*/ 139247 h 322263"/>
              <a:gd name="connsiteX80" fmla="*/ 185737 w 401638"/>
              <a:gd name="connsiteY80" fmla="*/ 133124 h 322263"/>
              <a:gd name="connsiteX81" fmla="*/ 188793 w 401638"/>
              <a:gd name="connsiteY81" fmla="*/ 129807 h 322263"/>
              <a:gd name="connsiteX82" fmla="*/ 170180 w 401638"/>
              <a:gd name="connsiteY82" fmla="*/ 125412 h 322263"/>
              <a:gd name="connsiteX83" fmla="*/ 170180 w 401638"/>
              <a:gd name="connsiteY83" fmla="*/ 131366 h 322263"/>
              <a:gd name="connsiteX84" fmla="*/ 165735 w 401638"/>
              <a:gd name="connsiteY84" fmla="*/ 127397 h 322263"/>
              <a:gd name="connsiteX85" fmla="*/ 170180 w 401638"/>
              <a:gd name="connsiteY85" fmla="*/ 125412 h 322263"/>
              <a:gd name="connsiteX86" fmla="*/ 372222 w 401638"/>
              <a:gd name="connsiteY86" fmla="*/ 114300 h 322263"/>
              <a:gd name="connsiteX87" fmla="*/ 372222 w 401638"/>
              <a:gd name="connsiteY87" fmla="*/ 118242 h 322263"/>
              <a:gd name="connsiteX88" fmla="*/ 372222 w 401638"/>
              <a:gd name="connsiteY88" fmla="*/ 124154 h 322263"/>
              <a:gd name="connsiteX89" fmla="*/ 380066 w 401638"/>
              <a:gd name="connsiteY89" fmla="*/ 132036 h 322263"/>
              <a:gd name="connsiteX90" fmla="*/ 387911 w 401638"/>
              <a:gd name="connsiteY90" fmla="*/ 151743 h 322263"/>
              <a:gd name="connsiteX91" fmla="*/ 397716 w 401638"/>
              <a:gd name="connsiteY91" fmla="*/ 151743 h 322263"/>
              <a:gd name="connsiteX92" fmla="*/ 401638 w 401638"/>
              <a:gd name="connsiteY92" fmla="*/ 159626 h 322263"/>
              <a:gd name="connsiteX93" fmla="*/ 399677 w 401638"/>
              <a:gd name="connsiteY93" fmla="*/ 167509 h 322263"/>
              <a:gd name="connsiteX94" fmla="*/ 385950 w 401638"/>
              <a:gd name="connsiteY94" fmla="*/ 169480 h 322263"/>
              <a:gd name="connsiteX95" fmla="*/ 380066 w 401638"/>
              <a:gd name="connsiteY95" fmla="*/ 161597 h 322263"/>
              <a:gd name="connsiteX96" fmla="*/ 372222 w 401638"/>
              <a:gd name="connsiteY96" fmla="*/ 147802 h 322263"/>
              <a:gd name="connsiteX97" fmla="*/ 372222 w 401638"/>
              <a:gd name="connsiteY97" fmla="*/ 141890 h 322263"/>
              <a:gd name="connsiteX98" fmla="*/ 372222 w 401638"/>
              <a:gd name="connsiteY98" fmla="*/ 130066 h 322263"/>
              <a:gd name="connsiteX99" fmla="*/ 368300 w 401638"/>
              <a:gd name="connsiteY99" fmla="*/ 122183 h 322263"/>
              <a:gd name="connsiteX100" fmla="*/ 372222 w 401638"/>
              <a:gd name="connsiteY100" fmla="*/ 114300 h 322263"/>
              <a:gd name="connsiteX101" fmla="*/ 138510 w 401638"/>
              <a:gd name="connsiteY101" fmla="*/ 103089 h 322263"/>
              <a:gd name="connsiteX102" fmla="*/ 140494 w 401638"/>
              <a:gd name="connsiteY102" fmla="*/ 103585 h 322263"/>
              <a:gd name="connsiteX103" fmla="*/ 142479 w 401638"/>
              <a:gd name="connsiteY103" fmla="*/ 107554 h 322263"/>
              <a:gd name="connsiteX104" fmla="*/ 136525 w 401638"/>
              <a:gd name="connsiteY104" fmla="*/ 105569 h 322263"/>
              <a:gd name="connsiteX105" fmla="*/ 138510 w 401638"/>
              <a:gd name="connsiteY105" fmla="*/ 103089 h 322263"/>
              <a:gd name="connsiteX106" fmla="*/ 359833 w 401638"/>
              <a:gd name="connsiteY106" fmla="*/ 95250 h 322263"/>
              <a:gd name="connsiteX107" fmla="*/ 361950 w 401638"/>
              <a:gd name="connsiteY107" fmla="*/ 99484 h 322263"/>
              <a:gd name="connsiteX108" fmla="*/ 357717 w 401638"/>
              <a:gd name="connsiteY108" fmla="*/ 99484 h 322263"/>
              <a:gd name="connsiteX109" fmla="*/ 359833 w 401638"/>
              <a:gd name="connsiteY109" fmla="*/ 95250 h 322263"/>
              <a:gd name="connsiteX110" fmla="*/ 295981 w 401638"/>
              <a:gd name="connsiteY110" fmla="*/ 94048 h 322263"/>
              <a:gd name="connsiteX111" fmla="*/ 299979 w 401638"/>
              <a:gd name="connsiteY111" fmla="*/ 94048 h 322263"/>
              <a:gd name="connsiteX112" fmla="*/ 305976 w 401638"/>
              <a:gd name="connsiteY112" fmla="*/ 97992 h 322263"/>
              <a:gd name="connsiteX113" fmla="*/ 305976 w 401638"/>
              <a:gd name="connsiteY113" fmla="*/ 109827 h 322263"/>
              <a:gd name="connsiteX114" fmla="*/ 299979 w 401638"/>
              <a:gd name="connsiteY114" fmla="*/ 115744 h 322263"/>
              <a:gd name="connsiteX115" fmla="*/ 295981 w 401638"/>
              <a:gd name="connsiteY115" fmla="*/ 117716 h 322263"/>
              <a:gd name="connsiteX116" fmla="*/ 297980 w 401638"/>
              <a:gd name="connsiteY116" fmla="*/ 123633 h 322263"/>
              <a:gd name="connsiteX117" fmla="*/ 297980 w 401638"/>
              <a:gd name="connsiteY117" fmla="*/ 133495 h 322263"/>
              <a:gd name="connsiteX118" fmla="*/ 287984 w 401638"/>
              <a:gd name="connsiteY118" fmla="*/ 133495 h 322263"/>
              <a:gd name="connsiteX119" fmla="*/ 283986 w 401638"/>
              <a:gd name="connsiteY119" fmla="*/ 137440 h 322263"/>
              <a:gd name="connsiteX120" fmla="*/ 273991 w 401638"/>
              <a:gd name="connsiteY120" fmla="*/ 145329 h 322263"/>
              <a:gd name="connsiteX121" fmla="*/ 263995 w 401638"/>
              <a:gd name="connsiteY121" fmla="*/ 153219 h 322263"/>
              <a:gd name="connsiteX122" fmla="*/ 254000 w 401638"/>
              <a:gd name="connsiteY122" fmla="*/ 155191 h 322263"/>
              <a:gd name="connsiteX123" fmla="*/ 246004 w 401638"/>
              <a:gd name="connsiteY123" fmla="*/ 155191 h 322263"/>
              <a:gd name="connsiteX124" fmla="*/ 234010 w 401638"/>
              <a:gd name="connsiteY124" fmla="*/ 153219 h 322263"/>
              <a:gd name="connsiteX125" fmla="*/ 224014 w 401638"/>
              <a:gd name="connsiteY125" fmla="*/ 153219 h 322263"/>
              <a:gd name="connsiteX126" fmla="*/ 220016 w 401638"/>
              <a:gd name="connsiteY126" fmla="*/ 147301 h 322263"/>
              <a:gd name="connsiteX127" fmla="*/ 204023 w 401638"/>
              <a:gd name="connsiteY127" fmla="*/ 141384 h 322263"/>
              <a:gd name="connsiteX128" fmla="*/ 202024 w 401638"/>
              <a:gd name="connsiteY128" fmla="*/ 133495 h 322263"/>
              <a:gd name="connsiteX129" fmla="*/ 206022 w 401638"/>
              <a:gd name="connsiteY129" fmla="*/ 131523 h 322263"/>
              <a:gd name="connsiteX130" fmla="*/ 210021 w 401638"/>
              <a:gd name="connsiteY130" fmla="*/ 129550 h 322263"/>
              <a:gd name="connsiteX131" fmla="*/ 214019 w 401638"/>
              <a:gd name="connsiteY131" fmla="*/ 131523 h 322263"/>
              <a:gd name="connsiteX132" fmla="*/ 222015 w 401638"/>
              <a:gd name="connsiteY132" fmla="*/ 131523 h 322263"/>
              <a:gd name="connsiteX133" fmla="*/ 228012 w 401638"/>
              <a:gd name="connsiteY133" fmla="*/ 133495 h 322263"/>
              <a:gd name="connsiteX134" fmla="*/ 232010 w 401638"/>
              <a:gd name="connsiteY134" fmla="*/ 133495 h 322263"/>
              <a:gd name="connsiteX135" fmla="*/ 240007 w 401638"/>
              <a:gd name="connsiteY135" fmla="*/ 131523 h 322263"/>
              <a:gd name="connsiteX136" fmla="*/ 246004 w 401638"/>
              <a:gd name="connsiteY136" fmla="*/ 129550 h 322263"/>
              <a:gd name="connsiteX137" fmla="*/ 250002 w 401638"/>
              <a:gd name="connsiteY137" fmla="*/ 133495 h 322263"/>
              <a:gd name="connsiteX138" fmla="*/ 254000 w 401638"/>
              <a:gd name="connsiteY138" fmla="*/ 133495 h 322263"/>
              <a:gd name="connsiteX139" fmla="*/ 259997 w 401638"/>
              <a:gd name="connsiteY139" fmla="*/ 133495 h 322263"/>
              <a:gd name="connsiteX140" fmla="*/ 263995 w 401638"/>
              <a:gd name="connsiteY140" fmla="*/ 133495 h 322263"/>
              <a:gd name="connsiteX141" fmla="*/ 269993 w 401638"/>
              <a:gd name="connsiteY141" fmla="*/ 129550 h 322263"/>
              <a:gd name="connsiteX142" fmla="*/ 273991 w 401638"/>
              <a:gd name="connsiteY142" fmla="*/ 123633 h 322263"/>
              <a:gd name="connsiteX143" fmla="*/ 275990 w 401638"/>
              <a:gd name="connsiteY143" fmla="*/ 119688 h 322263"/>
              <a:gd name="connsiteX144" fmla="*/ 279988 w 401638"/>
              <a:gd name="connsiteY144" fmla="*/ 113771 h 322263"/>
              <a:gd name="connsiteX145" fmla="*/ 285985 w 401638"/>
              <a:gd name="connsiteY145" fmla="*/ 111799 h 322263"/>
              <a:gd name="connsiteX146" fmla="*/ 287984 w 401638"/>
              <a:gd name="connsiteY146" fmla="*/ 103909 h 322263"/>
              <a:gd name="connsiteX147" fmla="*/ 293981 w 401638"/>
              <a:gd name="connsiteY147" fmla="*/ 96020 h 322263"/>
              <a:gd name="connsiteX148" fmla="*/ 295981 w 401638"/>
              <a:gd name="connsiteY148" fmla="*/ 94048 h 322263"/>
              <a:gd name="connsiteX149" fmla="*/ 114945 w 401638"/>
              <a:gd name="connsiteY149" fmla="*/ 87048 h 322263"/>
              <a:gd name="connsiteX150" fmla="*/ 116681 w 401638"/>
              <a:gd name="connsiteY150" fmla="*/ 87842 h 322263"/>
              <a:gd name="connsiteX151" fmla="*/ 118418 w 401638"/>
              <a:gd name="connsiteY151" fmla="*/ 87048 h 322263"/>
              <a:gd name="connsiteX152" fmla="*/ 118666 w 401638"/>
              <a:gd name="connsiteY152" fmla="*/ 87842 h 322263"/>
              <a:gd name="connsiteX153" fmla="*/ 114697 w 401638"/>
              <a:gd name="connsiteY153" fmla="*/ 87842 h 322263"/>
              <a:gd name="connsiteX154" fmla="*/ 114945 w 401638"/>
              <a:gd name="connsiteY154" fmla="*/ 87048 h 322263"/>
              <a:gd name="connsiteX155" fmla="*/ 342106 w 401638"/>
              <a:gd name="connsiteY155" fmla="*/ 80962 h 322263"/>
              <a:gd name="connsiteX156" fmla="*/ 346075 w 401638"/>
              <a:gd name="connsiteY156" fmla="*/ 85196 h 322263"/>
              <a:gd name="connsiteX157" fmla="*/ 338137 w 401638"/>
              <a:gd name="connsiteY157" fmla="*/ 85196 h 322263"/>
              <a:gd name="connsiteX158" fmla="*/ 342106 w 401638"/>
              <a:gd name="connsiteY158" fmla="*/ 80962 h 322263"/>
              <a:gd name="connsiteX159" fmla="*/ 101997 w 401638"/>
              <a:gd name="connsiteY159" fmla="*/ 71438 h 322263"/>
              <a:gd name="connsiteX160" fmla="*/ 103981 w 401638"/>
              <a:gd name="connsiteY160" fmla="*/ 71967 h 322263"/>
              <a:gd name="connsiteX161" fmla="*/ 105966 w 401638"/>
              <a:gd name="connsiteY161" fmla="*/ 74084 h 322263"/>
              <a:gd name="connsiteX162" fmla="*/ 100012 w 401638"/>
              <a:gd name="connsiteY162" fmla="*/ 74084 h 322263"/>
              <a:gd name="connsiteX163" fmla="*/ 101997 w 401638"/>
              <a:gd name="connsiteY163" fmla="*/ 71438 h 322263"/>
              <a:gd name="connsiteX164" fmla="*/ 92869 w 401638"/>
              <a:gd name="connsiteY164" fmla="*/ 65617 h 322263"/>
              <a:gd name="connsiteX165" fmla="*/ 95250 w 401638"/>
              <a:gd name="connsiteY165" fmla="*/ 65617 h 322263"/>
              <a:gd name="connsiteX166" fmla="*/ 92869 w 401638"/>
              <a:gd name="connsiteY166" fmla="*/ 67734 h 322263"/>
              <a:gd name="connsiteX167" fmla="*/ 92869 w 401638"/>
              <a:gd name="connsiteY167" fmla="*/ 65617 h 322263"/>
              <a:gd name="connsiteX168" fmla="*/ 102394 w 401638"/>
              <a:gd name="connsiteY168" fmla="*/ 65087 h 322263"/>
              <a:gd name="connsiteX169" fmla="*/ 106363 w 401638"/>
              <a:gd name="connsiteY169" fmla="*/ 67469 h 322263"/>
              <a:gd name="connsiteX170" fmla="*/ 100410 w 401638"/>
              <a:gd name="connsiteY170" fmla="*/ 67469 h 322263"/>
              <a:gd name="connsiteX171" fmla="*/ 102394 w 401638"/>
              <a:gd name="connsiteY171" fmla="*/ 65087 h 322263"/>
              <a:gd name="connsiteX172" fmla="*/ 78185 w 401638"/>
              <a:gd name="connsiteY172" fmla="*/ 61912 h 322263"/>
              <a:gd name="connsiteX173" fmla="*/ 82154 w 401638"/>
              <a:gd name="connsiteY173" fmla="*/ 64029 h 322263"/>
              <a:gd name="connsiteX174" fmla="*/ 82154 w 401638"/>
              <a:gd name="connsiteY174" fmla="*/ 66146 h 322263"/>
              <a:gd name="connsiteX175" fmla="*/ 78185 w 401638"/>
              <a:gd name="connsiteY175" fmla="*/ 66146 h 322263"/>
              <a:gd name="connsiteX176" fmla="*/ 78185 w 401638"/>
              <a:gd name="connsiteY176" fmla="*/ 61912 h 322263"/>
              <a:gd name="connsiteX177" fmla="*/ 315913 w 401638"/>
              <a:gd name="connsiteY177" fmla="*/ 57150 h 322263"/>
              <a:gd name="connsiteX178" fmla="*/ 317500 w 401638"/>
              <a:gd name="connsiteY178" fmla="*/ 59532 h 322263"/>
              <a:gd name="connsiteX179" fmla="*/ 314325 w 401638"/>
              <a:gd name="connsiteY179" fmla="*/ 59532 h 322263"/>
              <a:gd name="connsiteX180" fmla="*/ 315913 w 401638"/>
              <a:gd name="connsiteY180" fmla="*/ 57150 h 322263"/>
              <a:gd name="connsiteX181" fmla="*/ 297920 w 401638"/>
              <a:gd name="connsiteY181" fmla="*/ 46037 h 322263"/>
              <a:gd name="connsiteX182" fmla="*/ 300037 w 401638"/>
              <a:gd name="connsiteY182" fmla="*/ 53975 h 322263"/>
              <a:gd name="connsiteX183" fmla="*/ 295804 w 401638"/>
              <a:gd name="connsiteY183" fmla="*/ 50006 h 322263"/>
              <a:gd name="connsiteX184" fmla="*/ 297920 w 401638"/>
              <a:gd name="connsiteY184" fmla="*/ 46037 h 322263"/>
              <a:gd name="connsiteX185" fmla="*/ 6002 w 401638"/>
              <a:gd name="connsiteY185" fmla="*/ 44450 h 322263"/>
              <a:gd name="connsiteX186" fmla="*/ 8002 w 401638"/>
              <a:gd name="connsiteY186" fmla="*/ 44450 h 322263"/>
              <a:gd name="connsiteX187" fmla="*/ 16004 w 401638"/>
              <a:gd name="connsiteY187" fmla="*/ 46438 h 322263"/>
              <a:gd name="connsiteX188" fmla="*/ 28007 w 401638"/>
              <a:gd name="connsiteY188" fmla="*/ 50413 h 322263"/>
              <a:gd name="connsiteX189" fmla="*/ 36009 w 401638"/>
              <a:gd name="connsiteY189" fmla="*/ 54388 h 322263"/>
              <a:gd name="connsiteX190" fmla="*/ 48013 w 401638"/>
              <a:gd name="connsiteY190" fmla="*/ 62339 h 322263"/>
              <a:gd name="connsiteX191" fmla="*/ 64017 w 401638"/>
              <a:gd name="connsiteY191" fmla="*/ 64326 h 322263"/>
              <a:gd name="connsiteX192" fmla="*/ 70018 w 401638"/>
              <a:gd name="connsiteY192" fmla="*/ 64326 h 322263"/>
              <a:gd name="connsiteX193" fmla="*/ 74019 w 401638"/>
              <a:gd name="connsiteY193" fmla="*/ 72277 h 322263"/>
              <a:gd name="connsiteX194" fmla="*/ 80021 w 401638"/>
              <a:gd name="connsiteY194" fmla="*/ 74264 h 322263"/>
              <a:gd name="connsiteX195" fmla="*/ 86022 w 401638"/>
              <a:gd name="connsiteY195" fmla="*/ 78239 h 322263"/>
              <a:gd name="connsiteX196" fmla="*/ 94024 w 401638"/>
              <a:gd name="connsiteY196" fmla="*/ 80227 h 322263"/>
              <a:gd name="connsiteX197" fmla="*/ 100026 w 401638"/>
              <a:gd name="connsiteY197" fmla="*/ 82215 h 322263"/>
              <a:gd name="connsiteX198" fmla="*/ 108028 w 401638"/>
              <a:gd name="connsiteY198" fmla="*/ 86190 h 322263"/>
              <a:gd name="connsiteX199" fmla="*/ 116030 w 401638"/>
              <a:gd name="connsiteY199" fmla="*/ 98115 h 322263"/>
              <a:gd name="connsiteX200" fmla="*/ 126033 w 401638"/>
              <a:gd name="connsiteY200" fmla="*/ 102091 h 322263"/>
              <a:gd name="connsiteX201" fmla="*/ 136035 w 401638"/>
              <a:gd name="connsiteY201" fmla="*/ 119979 h 322263"/>
              <a:gd name="connsiteX202" fmla="*/ 138036 w 401638"/>
              <a:gd name="connsiteY202" fmla="*/ 127930 h 322263"/>
              <a:gd name="connsiteX203" fmla="*/ 140036 w 401638"/>
              <a:gd name="connsiteY203" fmla="*/ 129917 h 322263"/>
              <a:gd name="connsiteX204" fmla="*/ 142037 w 401638"/>
              <a:gd name="connsiteY204" fmla="*/ 131905 h 322263"/>
              <a:gd name="connsiteX205" fmla="*/ 156040 w 401638"/>
              <a:gd name="connsiteY205" fmla="*/ 137868 h 322263"/>
              <a:gd name="connsiteX206" fmla="*/ 164042 w 401638"/>
              <a:gd name="connsiteY206" fmla="*/ 143830 h 322263"/>
              <a:gd name="connsiteX207" fmla="*/ 176045 w 401638"/>
              <a:gd name="connsiteY207" fmla="*/ 145818 h 322263"/>
              <a:gd name="connsiteX208" fmla="*/ 180046 w 401638"/>
              <a:gd name="connsiteY208" fmla="*/ 149793 h 322263"/>
              <a:gd name="connsiteX209" fmla="*/ 182047 w 401638"/>
              <a:gd name="connsiteY209" fmla="*/ 151781 h 322263"/>
              <a:gd name="connsiteX210" fmla="*/ 188048 w 401638"/>
              <a:gd name="connsiteY210" fmla="*/ 159731 h 322263"/>
              <a:gd name="connsiteX211" fmla="*/ 188048 w 401638"/>
              <a:gd name="connsiteY211" fmla="*/ 167682 h 322263"/>
              <a:gd name="connsiteX212" fmla="*/ 178046 w 401638"/>
              <a:gd name="connsiteY212" fmla="*/ 167682 h 322263"/>
              <a:gd name="connsiteX213" fmla="*/ 172044 w 401638"/>
              <a:gd name="connsiteY213" fmla="*/ 171657 h 322263"/>
              <a:gd name="connsiteX214" fmla="*/ 168043 w 401638"/>
              <a:gd name="connsiteY214" fmla="*/ 175632 h 322263"/>
              <a:gd name="connsiteX215" fmla="*/ 172044 w 401638"/>
              <a:gd name="connsiteY215" fmla="*/ 185570 h 322263"/>
              <a:gd name="connsiteX216" fmla="*/ 176045 w 401638"/>
              <a:gd name="connsiteY216" fmla="*/ 199483 h 322263"/>
              <a:gd name="connsiteX217" fmla="*/ 184047 w 401638"/>
              <a:gd name="connsiteY217" fmla="*/ 205446 h 322263"/>
              <a:gd name="connsiteX218" fmla="*/ 190049 w 401638"/>
              <a:gd name="connsiteY218" fmla="*/ 209421 h 322263"/>
              <a:gd name="connsiteX219" fmla="*/ 196050 w 401638"/>
              <a:gd name="connsiteY219" fmla="*/ 211409 h 322263"/>
              <a:gd name="connsiteX220" fmla="*/ 194050 w 401638"/>
              <a:gd name="connsiteY220" fmla="*/ 217372 h 322263"/>
              <a:gd name="connsiteX221" fmla="*/ 194050 w 401638"/>
              <a:gd name="connsiteY221" fmla="*/ 225322 h 322263"/>
              <a:gd name="connsiteX222" fmla="*/ 200051 w 401638"/>
              <a:gd name="connsiteY222" fmla="*/ 237248 h 322263"/>
              <a:gd name="connsiteX223" fmla="*/ 208054 w 401638"/>
              <a:gd name="connsiteY223" fmla="*/ 245198 h 322263"/>
              <a:gd name="connsiteX224" fmla="*/ 216056 w 401638"/>
              <a:gd name="connsiteY224" fmla="*/ 245198 h 322263"/>
              <a:gd name="connsiteX225" fmla="*/ 226058 w 401638"/>
              <a:gd name="connsiteY225" fmla="*/ 243210 h 322263"/>
              <a:gd name="connsiteX226" fmla="*/ 224058 w 401638"/>
              <a:gd name="connsiteY226" fmla="*/ 251161 h 322263"/>
              <a:gd name="connsiteX227" fmla="*/ 224058 w 401638"/>
              <a:gd name="connsiteY227" fmla="*/ 259111 h 322263"/>
              <a:gd name="connsiteX228" fmla="*/ 228059 w 401638"/>
              <a:gd name="connsiteY228" fmla="*/ 265074 h 322263"/>
              <a:gd name="connsiteX229" fmla="*/ 236061 w 401638"/>
              <a:gd name="connsiteY229" fmla="*/ 265074 h 322263"/>
              <a:gd name="connsiteX230" fmla="*/ 240062 w 401638"/>
              <a:gd name="connsiteY230" fmla="*/ 269049 h 322263"/>
              <a:gd name="connsiteX231" fmla="*/ 236061 w 401638"/>
              <a:gd name="connsiteY231" fmla="*/ 273024 h 322263"/>
              <a:gd name="connsiteX232" fmla="*/ 242062 w 401638"/>
              <a:gd name="connsiteY232" fmla="*/ 278987 h 322263"/>
              <a:gd name="connsiteX233" fmla="*/ 242062 w 401638"/>
              <a:gd name="connsiteY233" fmla="*/ 282962 h 322263"/>
              <a:gd name="connsiteX234" fmla="*/ 234060 w 401638"/>
              <a:gd name="connsiteY234" fmla="*/ 288925 h 322263"/>
              <a:gd name="connsiteX235" fmla="*/ 224058 w 401638"/>
              <a:gd name="connsiteY235" fmla="*/ 286938 h 322263"/>
              <a:gd name="connsiteX236" fmla="*/ 216056 w 401638"/>
              <a:gd name="connsiteY236" fmla="*/ 284950 h 322263"/>
              <a:gd name="connsiteX237" fmla="*/ 206053 w 401638"/>
              <a:gd name="connsiteY237" fmla="*/ 282962 h 322263"/>
              <a:gd name="connsiteX238" fmla="*/ 200051 w 401638"/>
              <a:gd name="connsiteY238" fmla="*/ 280975 h 322263"/>
              <a:gd name="connsiteX239" fmla="*/ 190049 w 401638"/>
              <a:gd name="connsiteY239" fmla="*/ 280975 h 322263"/>
              <a:gd name="connsiteX240" fmla="*/ 182047 w 401638"/>
              <a:gd name="connsiteY240" fmla="*/ 278987 h 322263"/>
              <a:gd name="connsiteX241" fmla="*/ 176045 w 401638"/>
              <a:gd name="connsiteY241" fmla="*/ 277000 h 322263"/>
              <a:gd name="connsiteX242" fmla="*/ 174045 w 401638"/>
              <a:gd name="connsiteY242" fmla="*/ 265074 h 322263"/>
              <a:gd name="connsiteX243" fmla="*/ 162042 w 401638"/>
              <a:gd name="connsiteY243" fmla="*/ 257124 h 322263"/>
              <a:gd name="connsiteX244" fmla="*/ 152039 w 401638"/>
              <a:gd name="connsiteY244" fmla="*/ 249173 h 322263"/>
              <a:gd name="connsiteX245" fmla="*/ 150039 w 401638"/>
              <a:gd name="connsiteY245" fmla="*/ 243210 h 322263"/>
              <a:gd name="connsiteX246" fmla="*/ 146038 w 401638"/>
              <a:gd name="connsiteY246" fmla="*/ 231285 h 322263"/>
              <a:gd name="connsiteX247" fmla="*/ 142037 w 401638"/>
              <a:gd name="connsiteY247" fmla="*/ 219359 h 322263"/>
              <a:gd name="connsiteX248" fmla="*/ 138036 w 401638"/>
              <a:gd name="connsiteY248" fmla="*/ 217372 h 322263"/>
              <a:gd name="connsiteX249" fmla="*/ 132034 w 401638"/>
              <a:gd name="connsiteY249" fmla="*/ 213396 h 322263"/>
              <a:gd name="connsiteX250" fmla="*/ 124032 w 401638"/>
              <a:gd name="connsiteY250" fmla="*/ 207434 h 322263"/>
              <a:gd name="connsiteX251" fmla="*/ 116030 w 401638"/>
              <a:gd name="connsiteY251" fmla="*/ 205446 h 322263"/>
              <a:gd name="connsiteX252" fmla="*/ 106027 w 401638"/>
              <a:gd name="connsiteY252" fmla="*/ 201471 h 322263"/>
              <a:gd name="connsiteX253" fmla="*/ 86022 w 401638"/>
              <a:gd name="connsiteY253" fmla="*/ 203458 h 322263"/>
              <a:gd name="connsiteX254" fmla="*/ 82021 w 401638"/>
              <a:gd name="connsiteY254" fmla="*/ 209421 h 322263"/>
              <a:gd name="connsiteX255" fmla="*/ 76020 w 401638"/>
              <a:gd name="connsiteY255" fmla="*/ 213396 h 322263"/>
              <a:gd name="connsiteX256" fmla="*/ 74019 w 401638"/>
              <a:gd name="connsiteY256" fmla="*/ 217372 h 322263"/>
              <a:gd name="connsiteX257" fmla="*/ 76020 w 401638"/>
              <a:gd name="connsiteY257" fmla="*/ 221347 h 322263"/>
              <a:gd name="connsiteX258" fmla="*/ 80021 w 401638"/>
              <a:gd name="connsiteY258" fmla="*/ 225322 h 322263"/>
              <a:gd name="connsiteX259" fmla="*/ 76020 w 401638"/>
              <a:gd name="connsiteY259" fmla="*/ 225322 h 322263"/>
              <a:gd name="connsiteX260" fmla="*/ 68018 w 401638"/>
              <a:gd name="connsiteY260" fmla="*/ 223334 h 322263"/>
              <a:gd name="connsiteX261" fmla="*/ 62016 w 401638"/>
              <a:gd name="connsiteY261" fmla="*/ 223334 h 322263"/>
              <a:gd name="connsiteX262" fmla="*/ 56015 w 401638"/>
              <a:gd name="connsiteY262" fmla="*/ 227310 h 322263"/>
              <a:gd name="connsiteX263" fmla="*/ 66017 w 401638"/>
              <a:gd name="connsiteY263" fmla="*/ 235260 h 322263"/>
              <a:gd name="connsiteX264" fmla="*/ 72019 w 401638"/>
              <a:gd name="connsiteY264" fmla="*/ 241223 h 322263"/>
              <a:gd name="connsiteX265" fmla="*/ 68018 w 401638"/>
              <a:gd name="connsiteY265" fmla="*/ 245198 h 322263"/>
              <a:gd name="connsiteX266" fmla="*/ 60016 w 401638"/>
              <a:gd name="connsiteY266" fmla="*/ 247186 h 322263"/>
              <a:gd name="connsiteX267" fmla="*/ 54014 w 401638"/>
              <a:gd name="connsiteY267" fmla="*/ 249173 h 322263"/>
              <a:gd name="connsiteX268" fmla="*/ 46012 w 401638"/>
              <a:gd name="connsiteY268" fmla="*/ 251161 h 322263"/>
              <a:gd name="connsiteX269" fmla="*/ 36009 w 401638"/>
              <a:gd name="connsiteY269" fmla="*/ 251161 h 322263"/>
              <a:gd name="connsiteX270" fmla="*/ 28007 w 401638"/>
              <a:gd name="connsiteY270" fmla="*/ 251161 h 322263"/>
              <a:gd name="connsiteX271" fmla="*/ 20005 w 401638"/>
              <a:gd name="connsiteY271" fmla="*/ 251161 h 322263"/>
              <a:gd name="connsiteX272" fmla="*/ 10003 w 401638"/>
              <a:gd name="connsiteY272" fmla="*/ 247186 h 322263"/>
              <a:gd name="connsiteX273" fmla="*/ 2001 w 401638"/>
              <a:gd name="connsiteY273" fmla="*/ 243210 h 322263"/>
              <a:gd name="connsiteX274" fmla="*/ 0 w 401638"/>
              <a:gd name="connsiteY274" fmla="*/ 241223 h 322263"/>
              <a:gd name="connsiteX275" fmla="*/ 0 w 401638"/>
              <a:gd name="connsiteY275" fmla="*/ 239235 h 322263"/>
              <a:gd name="connsiteX276" fmla="*/ 6002 w 401638"/>
              <a:gd name="connsiteY276" fmla="*/ 189545 h 322263"/>
              <a:gd name="connsiteX277" fmla="*/ 8002 w 401638"/>
              <a:gd name="connsiteY277" fmla="*/ 133892 h 322263"/>
              <a:gd name="connsiteX278" fmla="*/ 8002 w 401638"/>
              <a:gd name="connsiteY278" fmla="*/ 80227 h 322263"/>
              <a:gd name="connsiteX279" fmla="*/ 8002 w 401638"/>
              <a:gd name="connsiteY279" fmla="*/ 58363 h 322263"/>
              <a:gd name="connsiteX280" fmla="*/ 6002 w 401638"/>
              <a:gd name="connsiteY280" fmla="*/ 44450 h 322263"/>
              <a:gd name="connsiteX281" fmla="*/ 268287 w 401638"/>
              <a:gd name="connsiteY281" fmla="*/ 39687 h 322263"/>
              <a:gd name="connsiteX282" fmla="*/ 274319 w 401638"/>
              <a:gd name="connsiteY282" fmla="*/ 41671 h 322263"/>
              <a:gd name="connsiteX283" fmla="*/ 280352 w 401638"/>
              <a:gd name="connsiteY283" fmla="*/ 45640 h 322263"/>
              <a:gd name="connsiteX284" fmla="*/ 290406 w 401638"/>
              <a:gd name="connsiteY284" fmla="*/ 51594 h 322263"/>
              <a:gd name="connsiteX285" fmla="*/ 298449 w 401638"/>
              <a:gd name="connsiteY285" fmla="*/ 61516 h 322263"/>
              <a:gd name="connsiteX286" fmla="*/ 308504 w 401638"/>
              <a:gd name="connsiteY286" fmla="*/ 71437 h 322263"/>
              <a:gd name="connsiteX287" fmla="*/ 314536 w 401638"/>
              <a:gd name="connsiteY287" fmla="*/ 79375 h 322263"/>
              <a:gd name="connsiteX288" fmla="*/ 322579 w 401638"/>
              <a:gd name="connsiteY288" fmla="*/ 87313 h 322263"/>
              <a:gd name="connsiteX289" fmla="*/ 328612 w 401638"/>
              <a:gd name="connsiteY289" fmla="*/ 99219 h 322263"/>
              <a:gd name="connsiteX290" fmla="*/ 326601 w 401638"/>
              <a:gd name="connsiteY290" fmla="*/ 107156 h 322263"/>
              <a:gd name="connsiteX291" fmla="*/ 320569 w 401638"/>
              <a:gd name="connsiteY291" fmla="*/ 109141 h 322263"/>
              <a:gd name="connsiteX292" fmla="*/ 318558 w 401638"/>
              <a:gd name="connsiteY292" fmla="*/ 99219 h 322263"/>
              <a:gd name="connsiteX293" fmla="*/ 314536 w 401638"/>
              <a:gd name="connsiteY293" fmla="*/ 89297 h 322263"/>
              <a:gd name="connsiteX294" fmla="*/ 310515 w 401638"/>
              <a:gd name="connsiteY294" fmla="*/ 83344 h 322263"/>
              <a:gd name="connsiteX295" fmla="*/ 300460 w 401638"/>
              <a:gd name="connsiteY295" fmla="*/ 73422 h 322263"/>
              <a:gd name="connsiteX296" fmla="*/ 284374 w 401638"/>
              <a:gd name="connsiteY296" fmla="*/ 57547 h 322263"/>
              <a:gd name="connsiteX297" fmla="*/ 280352 w 401638"/>
              <a:gd name="connsiteY297" fmla="*/ 49609 h 322263"/>
              <a:gd name="connsiteX298" fmla="*/ 274319 w 401638"/>
              <a:gd name="connsiteY298" fmla="*/ 47625 h 322263"/>
              <a:gd name="connsiteX299" fmla="*/ 270298 w 401638"/>
              <a:gd name="connsiteY299" fmla="*/ 45640 h 322263"/>
              <a:gd name="connsiteX300" fmla="*/ 268287 w 401638"/>
              <a:gd name="connsiteY300" fmla="*/ 41671 h 322263"/>
              <a:gd name="connsiteX301" fmla="*/ 246062 w 401638"/>
              <a:gd name="connsiteY301" fmla="*/ 35559 h 322263"/>
              <a:gd name="connsiteX302" fmla="*/ 254529 w 401638"/>
              <a:gd name="connsiteY302" fmla="*/ 35559 h 322263"/>
              <a:gd name="connsiteX303" fmla="*/ 258762 w 401638"/>
              <a:gd name="connsiteY303" fmla="*/ 40005 h 322263"/>
              <a:gd name="connsiteX304" fmla="*/ 254529 w 401638"/>
              <a:gd name="connsiteY304" fmla="*/ 42227 h 322263"/>
              <a:gd name="connsiteX305" fmla="*/ 246062 w 401638"/>
              <a:gd name="connsiteY305" fmla="*/ 35559 h 322263"/>
              <a:gd name="connsiteX306" fmla="*/ 180181 w 401638"/>
              <a:gd name="connsiteY306" fmla="*/ 33337 h 322263"/>
              <a:gd name="connsiteX307" fmla="*/ 180181 w 401638"/>
              <a:gd name="connsiteY307" fmla="*/ 37570 h 322263"/>
              <a:gd name="connsiteX308" fmla="*/ 176212 w 401638"/>
              <a:gd name="connsiteY308" fmla="*/ 35453 h 322263"/>
              <a:gd name="connsiteX309" fmla="*/ 180181 w 401638"/>
              <a:gd name="connsiteY309" fmla="*/ 33337 h 322263"/>
              <a:gd name="connsiteX310" fmla="*/ 186532 w 401638"/>
              <a:gd name="connsiteY310" fmla="*/ 31749 h 322263"/>
              <a:gd name="connsiteX311" fmla="*/ 188384 w 401638"/>
              <a:gd name="connsiteY311" fmla="*/ 32278 h 322263"/>
              <a:gd name="connsiteX312" fmla="*/ 190500 w 401638"/>
              <a:gd name="connsiteY312" fmla="*/ 34395 h 322263"/>
              <a:gd name="connsiteX313" fmla="*/ 186267 w 401638"/>
              <a:gd name="connsiteY313" fmla="*/ 34395 h 322263"/>
              <a:gd name="connsiteX314" fmla="*/ 186532 w 401638"/>
              <a:gd name="connsiteY314" fmla="*/ 31749 h 322263"/>
              <a:gd name="connsiteX315" fmla="*/ 161925 w 401638"/>
              <a:gd name="connsiteY315" fmla="*/ 19446 h 322263"/>
              <a:gd name="connsiteX316" fmla="*/ 171847 w 401638"/>
              <a:gd name="connsiteY316" fmla="*/ 19446 h 322263"/>
              <a:gd name="connsiteX317" fmla="*/ 181768 w 401638"/>
              <a:gd name="connsiteY317" fmla="*/ 19446 h 322263"/>
              <a:gd name="connsiteX318" fmla="*/ 181768 w 401638"/>
              <a:gd name="connsiteY318" fmla="*/ 25399 h 322263"/>
              <a:gd name="connsiteX319" fmla="*/ 175815 w 401638"/>
              <a:gd name="connsiteY319" fmla="*/ 29368 h 322263"/>
              <a:gd name="connsiteX320" fmla="*/ 169862 w 401638"/>
              <a:gd name="connsiteY320" fmla="*/ 29368 h 322263"/>
              <a:gd name="connsiteX321" fmla="*/ 159940 w 401638"/>
              <a:gd name="connsiteY321" fmla="*/ 27384 h 322263"/>
              <a:gd name="connsiteX322" fmla="*/ 155972 w 401638"/>
              <a:gd name="connsiteY322" fmla="*/ 23415 h 322263"/>
              <a:gd name="connsiteX323" fmla="*/ 161925 w 401638"/>
              <a:gd name="connsiteY323" fmla="*/ 19446 h 322263"/>
              <a:gd name="connsiteX324" fmla="*/ 50800 w 401638"/>
              <a:gd name="connsiteY324" fmla="*/ 11112 h 322263"/>
              <a:gd name="connsiteX325" fmla="*/ 52387 w 401638"/>
              <a:gd name="connsiteY325" fmla="*/ 13228 h 322263"/>
              <a:gd name="connsiteX326" fmla="*/ 49212 w 401638"/>
              <a:gd name="connsiteY326" fmla="*/ 15345 h 322263"/>
              <a:gd name="connsiteX327" fmla="*/ 50800 w 401638"/>
              <a:gd name="connsiteY327" fmla="*/ 11112 h 322263"/>
              <a:gd name="connsiteX328" fmla="*/ 110445 w 401638"/>
              <a:gd name="connsiteY328" fmla="*/ 3175 h 322263"/>
              <a:gd name="connsiteX329" fmla="*/ 114527 w 401638"/>
              <a:gd name="connsiteY329" fmla="*/ 3175 h 322263"/>
              <a:gd name="connsiteX330" fmla="*/ 118609 w 401638"/>
              <a:gd name="connsiteY330" fmla="*/ 5291 h 322263"/>
              <a:gd name="connsiteX331" fmla="*/ 118609 w 401638"/>
              <a:gd name="connsiteY331" fmla="*/ 9525 h 322263"/>
              <a:gd name="connsiteX332" fmla="*/ 114527 w 401638"/>
              <a:gd name="connsiteY332" fmla="*/ 7408 h 322263"/>
              <a:gd name="connsiteX333" fmla="*/ 108403 w 401638"/>
              <a:gd name="connsiteY333" fmla="*/ 7408 h 322263"/>
              <a:gd name="connsiteX334" fmla="*/ 110445 w 401638"/>
              <a:gd name="connsiteY334" fmla="*/ 3175 h 322263"/>
              <a:gd name="connsiteX335" fmla="*/ 239713 w 401638"/>
              <a:gd name="connsiteY335" fmla="*/ 3174 h 322263"/>
              <a:gd name="connsiteX336" fmla="*/ 241300 w 401638"/>
              <a:gd name="connsiteY336" fmla="*/ 3703 h 322263"/>
              <a:gd name="connsiteX337" fmla="*/ 238125 w 401638"/>
              <a:gd name="connsiteY337" fmla="*/ 5820 h 322263"/>
              <a:gd name="connsiteX338" fmla="*/ 239713 w 401638"/>
              <a:gd name="connsiteY338" fmla="*/ 3174 h 322263"/>
              <a:gd name="connsiteX339" fmla="*/ 96838 w 401638"/>
              <a:gd name="connsiteY339" fmla="*/ 0 h 322263"/>
              <a:gd name="connsiteX340" fmla="*/ 96838 w 401638"/>
              <a:gd name="connsiteY340" fmla="*/ 1587 h 322263"/>
              <a:gd name="connsiteX341" fmla="*/ 94457 w 401638"/>
              <a:gd name="connsiteY341" fmla="*/ 1587 h 322263"/>
              <a:gd name="connsiteX342" fmla="*/ 96838 w 401638"/>
              <a:gd name="connsiteY342" fmla="*/ 0 h 32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401638" h="322263">
                <a:moveTo>
                  <a:pt x="330200" y="317500"/>
                </a:moveTo>
                <a:cubicBezTo>
                  <a:pt x="330200" y="317500"/>
                  <a:pt x="336550" y="319088"/>
                  <a:pt x="336550" y="320676"/>
                </a:cubicBezTo>
                <a:cubicBezTo>
                  <a:pt x="336550" y="322263"/>
                  <a:pt x="334433" y="322263"/>
                  <a:pt x="330200" y="322263"/>
                </a:cubicBezTo>
                <a:cubicBezTo>
                  <a:pt x="325967" y="322263"/>
                  <a:pt x="323850" y="320676"/>
                  <a:pt x="323850" y="319088"/>
                </a:cubicBezTo>
                <a:cubicBezTo>
                  <a:pt x="323850" y="317500"/>
                  <a:pt x="330200" y="317500"/>
                  <a:pt x="330200" y="317500"/>
                </a:cubicBezTo>
                <a:close/>
                <a:moveTo>
                  <a:pt x="343694" y="314325"/>
                </a:moveTo>
                <a:cubicBezTo>
                  <a:pt x="345679" y="314325"/>
                  <a:pt x="347663" y="314325"/>
                  <a:pt x="347663" y="316707"/>
                </a:cubicBezTo>
                <a:cubicBezTo>
                  <a:pt x="347663" y="319088"/>
                  <a:pt x="345679" y="319088"/>
                  <a:pt x="341709" y="319088"/>
                </a:cubicBezTo>
                <a:cubicBezTo>
                  <a:pt x="339725" y="316707"/>
                  <a:pt x="343694" y="314325"/>
                  <a:pt x="343694" y="314325"/>
                </a:cubicBezTo>
                <a:close/>
                <a:moveTo>
                  <a:pt x="306070" y="290512"/>
                </a:moveTo>
                <a:cubicBezTo>
                  <a:pt x="317500" y="290512"/>
                  <a:pt x="313690" y="292497"/>
                  <a:pt x="311785" y="294481"/>
                </a:cubicBezTo>
                <a:cubicBezTo>
                  <a:pt x="311785" y="296466"/>
                  <a:pt x="309880" y="296466"/>
                  <a:pt x="309880" y="296466"/>
                </a:cubicBezTo>
                <a:cubicBezTo>
                  <a:pt x="309880" y="296466"/>
                  <a:pt x="304165" y="296466"/>
                  <a:pt x="302260" y="296466"/>
                </a:cubicBezTo>
                <a:cubicBezTo>
                  <a:pt x="300355" y="298450"/>
                  <a:pt x="298450" y="294481"/>
                  <a:pt x="298450" y="292497"/>
                </a:cubicBezTo>
                <a:cubicBezTo>
                  <a:pt x="300355" y="290512"/>
                  <a:pt x="306070" y="290512"/>
                  <a:pt x="306070" y="290512"/>
                </a:cubicBezTo>
                <a:close/>
                <a:moveTo>
                  <a:pt x="257969" y="288925"/>
                </a:moveTo>
                <a:cubicBezTo>
                  <a:pt x="264160" y="291042"/>
                  <a:pt x="268288" y="291042"/>
                  <a:pt x="266224" y="293159"/>
                </a:cubicBezTo>
                <a:cubicBezTo>
                  <a:pt x="266224" y="295275"/>
                  <a:pt x="260033" y="295275"/>
                  <a:pt x="255905" y="293159"/>
                </a:cubicBezTo>
                <a:cubicBezTo>
                  <a:pt x="251778" y="293159"/>
                  <a:pt x="247650" y="291042"/>
                  <a:pt x="247650" y="291042"/>
                </a:cubicBezTo>
                <a:cubicBezTo>
                  <a:pt x="247650" y="291042"/>
                  <a:pt x="251778" y="288925"/>
                  <a:pt x="257969" y="288925"/>
                </a:cubicBezTo>
                <a:close/>
                <a:moveTo>
                  <a:pt x="288131" y="287337"/>
                </a:moveTo>
                <a:cubicBezTo>
                  <a:pt x="290115" y="287337"/>
                  <a:pt x="288131" y="289189"/>
                  <a:pt x="288131" y="289189"/>
                </a:cubicBezTo>
                <a:cubicBezTo>
                  <a:pt x="288131" y="289189"/>
                  <a:pt x="288131" y="291042"/>
                  <a:pt x="290115" y="292894"/>
                </a:cubicBezTo>
                <a:cubicBezTo>
                  <a:pt x="292100" y="292894"/>
                  <a:pt x="292100" y="294746"/>
                  <a:pt x="290115" y="296598"/>
                </a:cubicBezTo>
                <a:cubicBezTo>
                  <a:pt x="290115" y="298450"/>
                  <a:pt x="286147" y="296598"/>
                  <a:pt x="286147" y="294746"/>
                </a:cubicBezTo>
                <a:cubicBezTo>
                  <a:pt x="286147" y="292894"/>
                  <a:pt x="284162" y="292894"/>
                  <a:pt x="284162" y="289189"/>
                </a:cubicBezTo>
                <a:cubicBezTo>
                  <a:pt x="284162" y="289189"/>
                  <a:pt x="284162" y="287337"/>
                  <a:pt x="288131" y="287337"/>
                </a:cubicBezTo>
                <a:close/>
                <a:moveTo>
                  <a:pt x="267758" y="280987"/>
                </a:moveTo>
                <a:cubicBezTo>
                  <a:pt x="267758" y="280987"/>
                  <a:pt x="269875" y="284956"/>
                  <a:pt x="269875" y="286941"/>
                </a:cubicBezTo>
                <a:cubicBezTo>
                  <a:pt x="269875" y="288925"/>
                  <a:pt x="267758" y="288925"/>
                  <a:pt x="265642" y="284956"/>
                </a:cubicBezTo>
                <a:cubicBezTo>
                  <a:pt x="263525" y="280987"/>
                  <a:pt x="267758" y="280987"/>
                  <a:pt x="267758" y="280987"/>
                </a:cubicBezTo>
                <a:close/>
                <a:moveTo>
                  <a:pt x="259821" y="267097"/>
                </a:moveTo>
                <a:cubicBezTo>
                  <a:pt x="261937" y="265112"/>
                  <a:pt x="261937" y="269081"/>
                  <a:pt x="261937" y="269081"/>
                </a:cubicBezTo>
                <a:cubicBezTo>
                  <a:pt x="261937" y="269081"/>
                  <a:pt x="261937" y="269081"/>
                  <a:pt x="264054" y="269081"/>
                </a:cubicBezTo>
                <a:cubicBezTo>
                  <a:pt x="264054" y="271065"/>
                  <a:pt x="266170" y="273050"/>
                  <a:pt x="270404" y="273050"/>
                </a:cubicBezTo>
                <a:cubicBezTo>
                  <a:pt x="272520" y="273050"/>
                  <a:pt x="274637" y="277018"/>
                  <a:pt x="270404" y="279003"/>
                </a:cubicBezTo>
                <a:cubicBezTo>
                  <a:pt x="270404" y="280987"/>
                  <a:pt x="268287" y="277018"/>
                  <a:pt x="266170" y="277018"/>
                </a:cubicBezTo>
                <a:cubicBezTo>
                  <a:pt x="266170" y="275034"/>
                  <a:pt x="261937" y="277018"/>
                  <a:pt x="257704" y="273050"/>
                </a:cubicBezTo>
                <a:cubicBezTo>
                  <a:pt x="255587" y="271065"/>
                  <a:pt x="257704" y="267097"/>
                  <a:pt x="259821" y="267097"/>
                </a:cubicBezTo>
                <a:close/>
                <a:moveTo>
                  <a:pt x="258234" y="259160"/>
                </a:moveTo>
                <a:cubicBezTo>
                  <a:pt x="260086" y="261144"/>
                  <a:pt x="261938" y="261144"/>
                  <a:pt x="261938" y="263129"/>
                </a:cubicBezTo>
                <a:cubicBezTo>
                  <a:pt x="260086" y="265113"/>
                  <a:pt x="254530" y="265113"/>
                  <a:pt x="254530" y="265113"/>
                </a:cubicBezTo>
                <a:cubicBezTo>
                  <a:pt x="254530" y="265113"/>
                  <a:pt x="250825" y="265113"/>
                  <a:pt x="252677" y="261144"/>
                </a:cubicBezTo>
                <a:cubicBezTo>
                  <a:pt x="252677" y="257175"/>
                  <a:pt x="254530" y="257175"/>
                  <a:pt x="258234" y="259160"/>
                </a:cubicBezTo>
                <a:close/>
                <a:moveTo>
                  <a:pt x="248285" y="250825"/>
                </a:moveTo>
                <a:cubicBezTo>
                  <a:pt x="254000" y="250825"/>
                  <a:pt x="254000" y="254794"/>
                  <a:pt x="252095" y="256779"/>
                </a:cubicBezTo>
                <a:cubicBezTo>
                  <a:pt x="248285" y="258763"/>
                  <a:pt x="244475" y="258763"/>
                  <a:pt x="244475" y="254794"/>
                </a:cubicBezTo>
                <a:cubicBezTo>
                  <a:pt x="244475" y="250825"/>
                  <a:pt x="248285" y="250825"/>
                  <a:pt x="248285" y="250825"/>
                </a:cubicBezTo>
                <a:close/>
                <a:moveTo>
                  <a:pt x="264715" y="246062"/>
                </a:moveTo>
                <a:cubicBezTo>
                  <a:pt x="265708" y="246591"/>
                  <a:pt x="266700" y="248179"/>
                  <a:pt x="266700" y="249237"/>
                </a:cubicBezTo>
                <a:cubicBezTo>
                  <a:pt x="266700" y="249237"/>
                  <a:pt x="266700" y="255587"/>
                  <a:pt x="262731" y="255587"/>
                </a:cubicBezTo>
                <a:cubicBezTo>
                  <a:pt x="258762" y="255587"/>
                  <a:pt x="260747" y="251354"/>
                  <a:pt x="260747" y="251354"/>
                </a:cubicBezTo>
                <a:cubicBezTo>
                  <a:pt x="262731" y="251354"/>
                  <a:pt x="262731" y="249237"/>
                  <a:pt x="262731" y="249237"/>
                </a:cubicBezTo>
                <a:cubicBezTo>
                  <a:pt x="262731" y="246062"/>
                  <a:pt x="263723" y="245533"/>
                  <a:pt x="264715" y="246062"/>
                </a:cubicBezTo>
                <a:close/>
                <a:moveTo>
                  <a:pt x="305329" y="241300"/>
                </a:moveTo>
                <a:cubicBezTo>
                  <a:pt x="307445" y="241300"/>
                  <a:pt x="309562" y="245269"/>
                  <a:pt x="311679" y="243285"/>
                </a:cubicBezTo>
                <a:cubicBezTo>
                  <a:pt x="313795" y="243285"/>
                  <a:pt x="315912" y="245269"/>
                  <a:pt x="315912" y="247254"/>
                </a:cubicBezTo>
                <a:cubicBezTo>
                  <a:pt x="315912" y="247254"/>
                  <a:pt x="313795" y="249238"/>
                  <a:pt x="309562" y="247254"/>
                </a:cubicBezTo>
                <a:cubicBezTo>
                  <a:pt x="307445" y="247254"/>
                  <a:pt x="303212" y="245269"/>
                  <a:pt x="303212" y="243285"/>
                </a:cubicBezTo>
                <a:cubicBezTo>
                  <a:pt x="303212" y="241300"/>
                  <a:pt x="305329" y="241300"/>
                  <a:pt x="305329" y="241300"/>
                </a:cubicBezTo>
                <a:close/>
                <a:moveTo>
                  <a:pt x="269875" y="234950"/>
                </a:moveTo>
                <a:cubicBezTo>
                  <a:pt x="269875" y="234950"/>
                  <a:pt x="271462" y="234950"/>
                  <a:pt x="271462" y="237332"/>
                </a:cubicBezTo>
                <a:cubicBezTo>
                  <a:pt x="271462" y="239713"/>
                  <a:pt x="271462" y="239713"/>
                  <a:pt x="269875" y="239713"/>
                </a:cubicBezTo>
                <a:cubicBezTo>
                  <a:pt x="268287" y="237332"/>
                  <a:pt x="269875" y="234950"/>
                  <a:pt x="269875" y="234950"/>
                </a:cubicBezTo>
                <a:close/>
                <a:moveTo>
                  <a:pt x="265211" y="233512"/>
                </a:moveTo>
                <a:cubicBezTo>
                  <a:pt x="265708" y="233760"/>
                  <a:pt x="265708" y="234752"/>
                  <a:pt x="264715" y="235744"/>
                </a:cubicBezTo>
                <a:cubicBezTo>
                  <a:pt x="264715" y="237729"/>
                  <a:pt x="262731" y="239713"/>
                  <a:pt x="260747" y="239713"/>
                </a:cubicBezTo>
                <a:cubicBezTo>
                  <a:pt x="258762" y="237729"/>
                  <a:pt x="262731" y="235744"/>
                  <a:pt x="262731" y="235744"/>
                </a:cubicBezTo>
                <a:cubicBezTo>
                  <a:pt x="263723" y="233760"/>
                  <a:pt x="264715" y="233264"/>
                  <a:pt x="265211" y="233512"/>
                </a:cubicBezTo>
                <a:close/>
                <a:moveTo>
                  <a:pt x="268685" y="220662"/>
                </a:moveTo>
                <a:cubicBezTo>
                  <a:pt x="270669" y="220662"/>
                  <a:pt x="272653" y="224896"/>
                  <a:pt x="272653" y="224896"/>
                </a:cubicBezTo>
                <a:cubicBezTo>
                  <a:pt x="272653" y="224896"/>
                  <a:pt x="272653" y="229129"/>
                  <a:pt x="272653" y="231246"/>
                </a:cubicBezTo>
                <a:cubicBezTo>
                  <a:pt x="274638" y="233362"/>
                  <a:pt x="270669" y="233362"/>
                  <a:pt x="270669" y="233362"/>
                </a:cubicBezTo>
                <a:cubicBezTo>
                  <a:pt x="268685" y="233362"/>
                  <a:pt x="266700" y="231246"/>
                  <a:pt x="266700" y="227012"/>
                </a:cubicBezTo>
                <a:cubicBezTo>
                  <a:pt x="266700" y="222779"/>
                  <a:pt x="268685" y="220662"/>
                  <a:pt x="268685" y="220662"/>
                </a:cubicBezTo>
                <a:close/>
                <a:moveTo>
                  <a:pt x="188793" y="129807"/>
                </a:moveTo>
                <a:cubicBezTo>
                  <a:pt x="189627" y="130062"/>
                  <a:pt x="190182" y="131083"/>
                  <a:pt x="190182" y="131083"/>
                </a:cubicBezTo>
                <a:lnTo>
                  <a:pt x="194628" y="133124"/>
                </a:lnTo>
                <a:cubicBezTo>
                  <a:pt x="194628" y="133124"/>
                  <a:pt x="196850" y="137206"/>
                  <a:pt x="196850" y="139247"/>
                </a:cubicBezTo>
                <a:cubicBezTo>
                  <a:pt x="196850" y="141288"/>
                  <a:pt x="192405" y="139247"/>
                  <a:pt x="192405" y="139247"/>
                </a:cubicBezTo>
                <a:cubicBezTo>
                  <a:pt x="192405" y="139247"/>
                  <a:pt x="185737" y="137206"/>
                  <a:pt x="185737" y="133124"/>
                </a:cubicBezTo>
                <a:cubicBezTo>
                  <a:pt x="186848" y="130062"/>
                  <a:pt x="187960" y="129552"/>
                  <a:pt x="188793" y="129807"/>
                </a:cubicBezTo>
                <a:close/>
                <a:moveTo>
                  <a:pt x="170180" y="125412"/>
                </a:moveTo>
                <a:cubicBezTo>
                  <a:pt x="174625" y="129381"/>
                  <a:pt x="174625" y="131366"/>
                  <a:pt x="170180" y="131366"/>
                </a:cubicBezTo>
                <a:cubicBezTo>
                  <a:pt x="165735" y="133350"/>
                  <a:pt x="165735" y="129381"/>
                  <a:pt x="165735" y="127397"/>
                </a:cubicBezTo>
                <a:cubicBezTo>
                  <a:pt x="163512" y="125412"/>
                  <a:pt x="170180" y="125412"/>
                  <a:pt x="170180" y="125412"/>
                </a:cubicBezTo>
                <a:close/>
                <a:moveTo>
                  <a:pt x="372222" y="114300"/>
                </a:moveTo>
                <a:cubicBezTo>
                  <a:pt x="372222" y="114300"/>
                  <a:pt x="372222" y="118242"/>
                  <a:pt x="372222" y="118242"/>
                </a:cubicBezTo>
                <a:cubicBezTo>
                  <a:pt x="372222" y="118242"/>
                  <a:pt x="372222" y="122183"/>
                  <a:pt x="372222" y="124154"/>
                </a:cubicBezTo>
                <a:cubicBezTo>
                  <a:pt x="372222" y="128095"/>
                  <a:pt x="376144" y="130066"/>
                  <a:pt x="380066" y="132036"/>
                </a:cubicBezTo>
                <a:cubicBezTo>
                  <a:pt x="383988" y="135978"/>
                  <a:pt x="385950" y="145831"/>
                  <a:pt x="387911" y="151743"/>
                </a:cubicBezTo>
                <a:cubicBezTo>
                  <a:pt x="389872" y="155685"/>
                  <a:pt x="393794" y="153714"/>
                  <a:pt x="397716" y="151743"/>
                </a:cubicBezTo>
                <a:cubicBezTo>
                  <a:pt x="401638" y="151743"/>
                  <a:pt x="401638" y="159626"/>
                  <a:pt x="401638" y="159626"/>
                </a:cubicBezTo>
                <a:cubicBezTo>
                  <a:pt x="401638" y="159626"/>
                  <a:pt x="401638" y="163567"/>
                  <a:pt x="399677" y="167509"/>
                </a:cubicBezTo>
                <a:cubicBezTo>
                  <a:pt x="397716" y="171450"/>
                  <a:pt x="389872" y="169480"/>
                  <a:pt x="385950" y="169480"/>
                </a:cubicBezTo>
                <a:cubicBezTo>
                  <a:pt x="383988" y="169480"/>
                  <a:pt x="380066" y="165538"/>
                  <a:pt x="380066" y="161597"/>
                </a:cubicBezTo>
                <a:cubicBezTo>
                  <a:pt x="382027" y="159626"/>
                  <a:pt x="376144" y="149773"/>
                  <a:pt x="372222" y="147802"/>
                </a:cubicBezTo>
                <a:cubicBezTo>
                  <a:pt x="370261" y="145831"/>
                  <a:pt x="372222" y="141890"/>
                  <a:pt x="372222" y="141890"/>
                </a:cubicBezTo>
                <a:cubicBezTo>
                  <a:pt x="372222" y="141890"/>
                  <a:pt x="374183" y="134007"/>
                  <a:pt x="372222" y="130066"/>
                </a:cubicBezTo>
                <a:cubicBezTo>
                  <a:pt x="368300" y="128095"/>
                  <a:pt x="370261" y="124154"/>
                  <a:pt x="368300" y="122183"/>
                </a:cubicBezTo>
                <a:cubicBezTo>
                  <a:pt x="368300" y="118242"/>
                  <a:pt x="370261" y="114300"/>
                  <a:pt x="372222" y="114300"/>
                </a:cubicBezTo>
                <a:close/>
                <a:moveTo>
                  <a:pt x="138510" y="103089"/>
                </a:moveTo>
                <a:cubicBezTo>
                  <a:pt x="139502" y="103089"/>
                  <a:pt x="140494" y="103585"/>
                  <a:pt x="140494" y="103585"/>
                </a:cubicBezTo>
                <a:cubicBezTo>
                  <a:pt x="140494" y="103585"/>
                  <a:pt x="144463" y="105569"/>
                  <a:pt x="142479" y="107554"/>
                </a:cubicBezTo>
                <a:cubicBezTo>
                  <a:pt x="140494" y="109538"/>
                  <a:pt x="138510" y="107554"/>
                  <a:pt x="136525" y="105569"/>
                </a:cubicBezTo>
                <a:cubicBezTo>
                  <a:pt x="136525" y="103585"/>
                  <a:pt x="137517" y="103089"/>
                  <a:pt x="138510" y="103089"/>
                </a:cubicBezTo>
                <a:close/>
                <a:moveTo>
                  <a:pt x="359833" y="95250"/>
                </a:moveTo>
                <a:cubicBezTo>
                  <a:pt x="359833" y="95250"/>
                  <a:pt x="361950" y="97367"/>
                  <a:pt x="361950" y="99484"/>
                </a:cubicBezTo>
                <a:cubicBezTo>
                  <a:pt x="361950" y="99484"/>
                  <a:pt x="357717" y="101600"/>
                  <a:pt x="357717" y="99484"/>
                </a:cubicBezTo>
                <a:cubicBezTo>
                  <a:pt x="355600" y="95250"/>
                  <a:pt x="359833" y="95250"/>
                  <a:pt x="359833" y="95250"/>
                </a:cubicBezTo>
                <a:close/>
                <a:moveTo>
                  <a:pt x="295981" y="94048"/>
                </a:moveTo>
                <a:cubicBezTo>
                  <a:pt x="297980" y="92075"/>
                  <a:pt x="299979" y="94048"/>
                  <a:pt x="299979" y="94048"/>
                </a:cubicBezTo>
                <a:cubicBezTo>
                  <a:pt x="299979" y="94048"/>
                  <a:pt x="303977" y="97992"/>
                  <a:pt x="305976" y="97992"/>
                </a:cubicBezTo>
                <a:cubicBezTo>
                  <a:pt x="307975" y="97992"/>
                  <a:pt x="307975" y="107854"/>
                  <a:pt x="305976" y="109827"/>
                </a:cubicBezTo>
                <a:cubicBezTo>
                  <a:pt x="305976" y="111799"/>
                  <a:pt x="305976" y="115744"/>
                  <a:pt x="299979" y="115744"/>
                </a:cubicBezTo>
                <a:cubicBezTo>
                  <a:pt x="295981" y="115744"/>
                  <a:pt x="295981" y="115744"/>
                  <a:pt x="295981" y="117716"/>
                </a:cubicBezTo>
                <a:cubicBezTo>
                  <a:pt x="293981" y="121661"/>
                  <a:pt x="295981" y="121661"/>
                  <a:pt x="297980" y="123633"/>
                </a:cubicBezTo>
                <a:cubicBezTo>
                  <a:pt x="299979" y="125605"/>
                  <a:pt x="297980" y="131523"/>
                  <a:pt x="297980" y="133495"/>
                </a:cubicBezTo>
                <a:cubicBezTo>
                  <a:pt x="295981" y="135467"/>
                  <a:pt x="291982" y="133495"/>
                  <a:pt x="287984" y="133495"/>
                </a:cubicBezTo>
                <a:cubicBezTo>
                  <a:pt x="285985" y="133495"/>
                  <a:pt x="283986" y="133495"/>
                  <a:pt x="283986" y="137440"/>
                </a:cubicBezTo>
                <a:cubicBezTo>
                  <a:pt x="283986" y="141384"/>
                  <a:pt x="273991" y="145329"/>
                  <a:pt x="273991" y="145329"/>
                </a:cubicBezTo>
                <a:cubicBezTo>
                  <a:pt x="273991" y="145329"/>
                  <a:pt x="273991" y="145329"/>
                  <a:pt x="263995" y="153219"/>
                </a:cubicBezTo>
                <a:cubicBezTo>
                  <a:pt x="263995" y="153219"/>
                  <a:pt x="257998" y="157163"/>
                  <a:pt x="254000" y="155191"/>
                </a:cubicBezTo>
                <a:cubicBezTo>
                  <a:pt x="252001" y="153219"/>
                  <a:pt x="246004" y="155191"/>
                  <a:pt x="246004" y="155191"/>
                </a:cubicBezTo>
                <a:cubicBezTo>
                  <a:pt x="246004" y="155191"/>
                  <a:pt x="238008" y="155191"/>
                  <a:pt x="234010" y="153219"/>
                </a:cubicBezTo>
                <a:cubicBezTo>
                  <a:pt x="230011" y="149274"/>
                  <a:pt x="226013" y="151246"/>
                  <a:pt x="224014" y="153219"/>
                </a:cubicBezTo>
                <a:cubicBezTo>
                  <a:pt x="222015" y="155191"/>
                  <a:pt x="220016" y="149274"/>
                  <a:pt x="220016" y="147301"/>
                </a:cubicBezTo>
                <a:cubicBezTo>
                  <a:pt x="218017" y="145329"/>
                  <a:pt x="206022" y="143357"/>
                  <a:pt x="204023" y="141384"/>
                </a:cubicBezTo>
                <a:cubicBezTo>
                  <a:pt x="200025" y="139412"/>
                  <a:pt x="202024" y="135467"/>
                  <a:pt x="202024" y="133495"/>
                </a:cubicBezTo>
                <a:cubicBezTo>
                  <a:pt x="200025" y="129550"/>
                  <a:pt x="206022" y="131523"/>
                  <a:pt x="206022" y="131523"/>
                </a:cubicBezTo>
                <a:cubicBezTo>
                  <a:pt x="206022" y="131523"/>
                  <a:pt x="206022" y="131523"/>
                  <a:pt x="210021" y="129550"/>
                </a:cubicBezTo>
                <a:cubicBezTo>
                  <a:pt x="212020" y="129550"/>
                  <a:pt x="214019" y="129550"/>
                  <a:pt x="214019" y="131523"/>
                </a:cubicBezTo>
                <a:cubicBezTo>
                  <a:pt x="216018" y="131523"/>
                  <a:pt x="220016" y="133495"/>
                  <a:pt x="222015" y="131523"/>
                </a:cubicBezTo>
                <a:cubicBezTo>
                  <a:pt x="224014" y="131523"/>
                  <a:pt x="226013" y="133495"/>
                  <a:pt x="228012" y="133495"/>
                </a:cubicBezTo>
                <a:cubicBezTo>
                  <a:pt x="228012" y="135467"/>
                  <a:pt x="230011" y="135467"/>
                  <a:pt x="232010" y="133495"/>
                </a:cubicBezTo>
                <a:cubicBezTo>
                  <a:pt x="234010" y="133495"/>
                  <a:pt x="236009" y="133495"/>
                  <a:pt x="240007" y="131523"/>
                </a:cubicBezTo>
                <a:cubicBezTo>
                  <a:pt x="242006" y="131523"/>
                  <a:pt x="242006" y="129550"/>
                  <a:pt x="246004" y="129550"/>
                </a:cubicBezTo>
                <a:cubicBezTo>
                  <a:pt x="250002" y="127578"/>
                  <a:pt x="248003" y="131523"/>
                  <a:pt x="250002" y="133495"/>
                </a:cubicBezTo>
                <a:cubicBezTo>
                  <a:pt x="250002" y="135467"/>
                  <a:pt x="254000" y="133495"/>
                  <a:pt x="254000" y="133495"/>
                </a:cubicBezTo>
                <a:cubicBezTo>
                  <a:pt x="255999" y="131523"/>
                  <a:pt x="257998" y="133495"/>
                  <a:pt x="259997" y="133495"/>
                </a:cubicBezTo>
                <a:cubicBezTo>
                  <a:pt x="261996" y="135467"/>
                  <a:pt x="263995" y="133495"/>
                  <a:pt x="263995" y="133495"/>
                </a:cubicBezTo>
                <a:cubicBezTo>
                  <a:pt x="263995" y="133495"/>
                  <a:pt x="265994" y="129550"/>
                  <a:pt x="269993" y="129550"/>
                </a:cubicBezTo>
                <a:cubicBezTo>
                  <a:pt x="273991" y="127578"/>
                  <a:pt x="273991" y="125605"/>
                  <a:pt x="273991" y="123633"/>
                </a:cubicBezTo>
                <a:cubicBezTo>
                  <a:pt x="273991" y="121661"/>
                  <a:pt x="275990" y="119688"/>
                  <a:pt x="275990" y="119688"/>
                </a:cubicBezTo>
                <a:cubicBezTo>
                  <a:pt x="275990" y="119688"/>
                  <a:pt x="277989" y="117716"/>
                  <a:pt x="279988" y="113771"/>
                </a:cubicBezTo>
                <a:cubicBezTo>
                  <a:pt x="281987" y="111799"/>
                  <a:pt x="283986" y="111799"/>
                  <a:pt x="285985" y="111799"/>
                </a:cubicBezTo>
                <a:cubicBezTo>
                  <a:pt x="287984" y="111799"/>
                  <a:pt x="287984" y="109827"/>
                  <a:pt x="287984" y="103909"/>
                </a:cubicBezTo>
                <a:cubicBezTo>
                  <a:pt x="287984" y="99965"/>
                  <a:pt x="293981" y="96020"/>
                  <a:pt x="293981" y="96020"/>
                </a:cubicBezTo>
                <a:cubicBezTo>
                  <a:pt x="293981" y="96020"/>
                  <a:pt x="295981" y="96020"/>
                  <a:pt x="295981" y="94048"/>
                </a:cubicBezTo>
                <a:close/>
                <a:moveTo>
                  <a:pt x="114945" y="87048"/>
                </a:moveTo>
                <a:cubicBezTo>
                  <a:pt x="115689" y="87313"/>
                  <a:pt x="116681" y="87842"/>
                  <a:pt x="116681" y="87842"/>
                </a:cubicBezTo>
                <a:cubicBezTo>
                  <a:pt x="116681" y="87842"/>
                  <a:pt x="117674" y="87313"/>
                  <a:pt x="118418" y="87048"/>
                </a:cubicBezTo>
                <a:cubicBezTo>
                  <a:pt x="119162" y="86784"/>
                  <a:pt x="119658" y="86784"/>
                  <a:pt x="118666" y="87842"/>
                </a:cubicBezTo>
                <a:cubicBezTo>
                  <a:pt x="118666" y="92075"/>
                  <a:pt x="114697" y="89959"/>
                  <a:pt x="114697" y="87842"/>
                </a:cubicBezTo>
                <a:cubicBezTo>
                  <a:pt x="113705" y="86784"/>
                  <a:pt x="114201" y="86784"/>
                  <a:pt x="114945" y="87048"/>
                </a:cubicBezTo>
                <a:close/>
                <a:moveTo>
                  <a:pt x="342106" y="80962"/>
                </a:moveTo>
                <a:cubicBezTo>
                  <a:pt x="342106" y="80962"/>
                  <a:pt x="346075" y="83079"/>
                  <a:pt x="346075" y="85196"/>
                </a:cubicBezTo>
                <a:cubicBezTo>
                  <a:pt x="346075" y="87312"/>
                  <a:pt x="340121" y="87312"/>
                  <a:pt x="338137" y="85196"/>
                </a:cubicBezTo>
                <a:cubicBezTo>
                  <a:pt x="338137" y="83079"/>
                  <a:pt x="342106" y="80962"/>
                  <a:pt x="342106" y="80962"/>
                </a:cubicBezTo>
                <a:close/>
                <a:moveTo>
                  <a:pt x="101997" y="71438"/>
                </a:moveTo>
                <a:cubicBezTo>
                  <a:pt x="102989" y="71438"/>
                  <a:pt x="103981" y="71967"/>
                  <a:pt x="103981" y="71967"/>
                </a:cubicBezTo>
                <a:cubicBezTo>
                  <a:pt x="103981" y="71967"/>
                  <a:pt x="107950" y="71967"/>
                  <a:pt x="105966" y="74084"/>
                </a:cubicBezTo>
                <a:cubicBezTo>
                  <a:pt x="105966" y="76200"/>
                  <a:pt x="101997" y="76200"/>
                  <a:pt x="100012" y="74084"/>
                </a:cubicBezTo>
                <a:cubicBezTo>
                  <a:pt x="100012" y="71967"/>
                  <a:pt x="101005" y="71438"/>
                  <a:pt x="101997" y="71438"/>
                </a:cubicBezTo>
                <a:close/>
                <a:moveTo>
                  <a:pt x="92869" y="65617"/>
                </a:moveTo>
                <a:cubicBezTo>
                  <a:pt x="92869" y="65617"/>
                  <a:pt x="95250" y="63500"/>
                  <a:pt x="95250" y="65617"/>
                </a:cubicBezTo>
                <a:cubicBezTo>
                  <a:pt x="95250" y="67734"/>
                  <a:pt x="95250" y="69850"/>
                  <a:pt x="92869" y="67734"/>
                </a:cubicBezTo>
                <a:cubicBezTo>
                  <a:pt x="90487" y="67734"/>
                  <a:pt x="92869" y="65617"/>
                  <a:pt x="92869" y="65617"/>
                </a:cubicBezTo>
                <a:close/>
                <a:moveTo>
                  <a:pt x="102394" y="65087"/>
                </a:moveTo>
                <a:cubicBezTo>
                  <a:pt x="102394" y="65087"/>
                  <a:pt x="106363" y="65087"/>
                  <a:pt x="106363" y="67469"/>
                </a:cubicBezTo>
                <a:cubicBezTo>
                  <a:pt x="104379" y="67469"/>
                  <a:pt x="104379" y="69850"/>
                  <a:pt x="100410" y="67469"/>
                </a:cubicBezTo>
                <a:cubicBezTo>
                  <a:pt x="98425" y="65087"/>
                  <a:pt x="102394" y="65087"/>
                  <a:pt x="102394" y="65087"/>
                </a:cubicBezTo>
                <a:close/>
                <a:moveTo>
                  <a:pt x="78185" y="61912"/>
                </a:moveTo>
                <a:cubicBezTo>
                  <a:pt x="80169" y="61912"/>
                  <a:pt x="82154" y="61912"/>
                  <a:pt x="82154" y="64029"/>
                </a:cubicBezTo>
                <a:cubicBezTo>
                  <a:pt x="82154" y="66146"/>
                  <a:pt x="84138" y="66146"/>
                  <a:pt x="82154" y="66146"/>
                </a:cubicBezTo>
                <a:cubicBezTo>
                  <a:pt x="82154" y="68262"/>
                  <a:pt x="80169" y="68262"/>
                  <a:pt x="78185" y="66146"/>
                </a:cubicBezTo>
                <a:cubicBezTo>
                  <a:pt x="76200" y="61912"/>
                  <a:pt x="78185" y="61912"/>
                  <a:pt x="78185" y="61912"/>
                </a:cubicBezTo>
                <a:close/>
                <a:moveTo>
                  <a:pt x="315913" y="57150"/>
                </a:moveTo>
                <a:cubicBezTo>
                  <a:pt x="315913" y="57150"/>
                  <a:pt x="317500" y="59532"/>
                  <a:pt x="317500" y="59532"/>
                </a:cubicBezTo>
                <a:cubicBezTo>
                  <a:pt x="317500" y="61913"/>
                  <a:pt x="315913" y="61913"/>
                  <a:pt x="314325" y="59532"/>
                </a:cubicBezTo>
                <a:cubicBezTo>
                  <a:pt x="314325" y="57150"/>
                  <a:pt x="315913" y="57150"/>
                  <a:pt x="315913" y="57150"/>
                </a:cubicBezTo>
                <a:close/>
                <a:moveTo>
                  <a:pt x="297920" y="46037"/>
                </a:moveTo>
                <a:cubicBezTo>
                  <a:pt x="300037" y="48022"/>
                  <a:pt x="300037" y="50006"/>
                  <a:pt x="300037" y="53975"/>
                </a:cubicBezTo>
                <a:cubicBezTo>
                  <a:pt x="300037" y="53975"/>
                  <a:pt x="297920" y="51991"/>
                  <a:pt x="295804" y="50006"/>
                </a:cubicBezTo>
                <a:cubicBezTo>
                  <a:pt x="293687" y="48022"/>
                  <a:pt x="297920" y="46037"/>
                  <a:pt x="297920" y="46037"/>
                </a:cubicBezTo>
                <a:close/>
                <a:moveTo>
                  <a:pt x="6002" y="44450"/>
                </a:moveTo>
                <a:cubicBezTo>
                  <a:pt x="8002" y="44450"/>
                  <a:pt x="8002" y="44450"/>
                  <a:pt x="8002" y="44450"/>
                </a:cubicBezTo>
                <a:cubicBezTo>
                  <a:pt x="10003" y="44450"/>
                  <a:pt x="14004" y="44450"/>
                  <a:pt x="16004" y="46438"/>
                </a:cubicBezTo>
                <a:cubicBezTo>
                  <a:pt x="20005" y="50413"/>
                  <a:pt x="24006" y="52401"/>
                  <a:pt x="28007" y="50413"/>
                </a:cubicBezTo>
                <a:cubicBezTo>
                  <a:pt x="32008" y="50413"/>
                  <a:pt x="36009" y="54388"/>
                  <a:pt x="36009" y="54388"/>
                </a:cubicBezTo>
                <a:cubicBezTo>
                  <a:pt x="36009" y="54388"/>
                  <a:pt x="42011" y="60351"/>
                  <a:pt x="48013" y="62339"/>
                </a:cubicBezTo>
                <a:cubicBezTo>
                  <a:pt x="54014" y="64326"/>
                  <a:pt x="62016" y="66314"/>
                  <a:pt x="64017" y="64326"/>
                </a:cubicBezTo>
                <a:cubicBezTo>
                  <a:pt x="68018" y="64326"/>
                  <a:pt x="72019" y="60351"/>
                  <a:pt x="70018" y="64326"/>
                </a:cubicBezTo>
                <a:cubicBezTo>
                  <a:pt x="70018" y="70289"/>
                  <a:pt x="72019" y="70289"/>
                  <a:pt x="74019" y="72277"/>
                </a:cubicBezTo>
                <a:cubicBezTo>
                  <a:pt x="76020" y="74264"/>
                  <a:pt x="78020" y="72277"/>
                  <a:pt x="80021" y="74264"/>
                </a:cubicBezTo>
                <a:cubicBezTo>
                  <a:pt x="82021" y="78239"/>
                  <a:pt x="86022" y="78239"/>
                  <a:pt x="86022" y="78239"/>
                </a:cubicBezTo>
                <a:cubicBezTo>
                  <a:pt x="86022" y="78239"/>
                  <a:pt x="92024" y="78239"/>
                  <a:pt x="94024" y="80227"/>
                </a:cubicBezTo>
                <a:cubicBezTo>
                  <a:pt x="96025" y="82215"/>
                  <a:pt x="100026" y="82215"/>
                  <a:pt x="100026" y="82215"/>
                </a:cubicBezTo>
                <a:cubicBezTo>
                  <a:pt x="100026" y="82215"/>
                  <a:pt x="106027" y="82215"/>
                  <a:pt x="108028" y="86190"/>
                </a:cubicBezTo>
                <a:cubicBezTo>
                  <a:pt x="108028" y="90165"/>
                  <a:pt x="114029" y="98115"/>
                  <a:pt x="116030" y="98115"/>
                </a:cubicBezTo>
                <a:cubicBezTo>
                  <a:pt x="118030" y="98115"/>
                  <a:pt x="124032" y="96128"/>
                  <a:pt x="126033" y="102091"/>
                </a:cubicBezTo>
                <a:cubicBezTo>
                  <a:pt x="130034" y="108054"/>
                  <a:pt x="136035" y="114016"/>
                  <a:pt x="136035" y="119979"/>
                </a:cubicBezTo>
                <a:cubicBezTo>
                  <a:pt x="136035" y="125942"/>
                  <a:pt x="136035" y="125942"/>
                  <a:pt x="138036" y="127930"/>
                </a:cubicBezTo>
                <a:cubicBezTo>
                  <a:pt x="138036" y="127930"/>
                  <a:pt x="140036" y="129917"/>
                  <a:pt x="140036" y="129917"/>
                </a:cubicBezTo>
                <a:cubicBezTo>
                  <a:pt x="140036" y="129917"/>
                  <a:pt x="140036" y="131905"/>
                  <a:pt x="142037" y="131905"/>
                </a:cubicBezTo>
                <a:cubicBezTo>
                  <a:pt x="146038" y="131905"/>
                  <a:pt x="156040" y="137868"/>
                  <a:pt x="156040" y="137868"/>
                </a:cubicBezTo>
                <a:cubicBezTo>
                  <a:pt x="156040" y="141843"/>
                  <a:pt x="162042" y="145818"/>
                  <a:pt x="164042" y="143830"/>
                </a:cubicBezTo>
                <a:cubicBezTo>
                  <a:pt x="168043" y="143830"/>
                  <a:pt x="174045" y="145818"/>
                  <a:pt x="176045" y="145818"/>
                </a:cubicBezTo>
                <a:cubicBezTo>
                  <a:pt x="178046" y="145818"/>
                  <a:pt x="180046" y="147806"/>
                  <a:pt x="180046" y="149793"/>
                </a:cubicBezTo>
                <a:cubicBezTo>
                  <a:pt x="180046" y="149793"/>
                  <a:pt x="182047" y="151781"/>
                  <a:pt x="182047" y="151781"/>
                </a:cubicBezTo>
                <a:cubicBezTo>
                  <a:pt x="184047" y="153768"/>
                  <a:pt x="186048" y="155756"/>
                  <a:pt x="188048" y="159731"/>
                </a:cubicBezTo>
                <a:cubicBezTo>
                  <a:pt x="188048" y="159731"/>
                  <a:pt x="190049" y="165694"/>
                  <a:pt x="188048" y="167682"/>
                </a:cubicBezTo>
                <a:cubicBezTo>
                  <a:pt x="186048" y="169669"/>
                  <a:pt x="182047" y="165694"/>
                  <a:pt x="178046" y="167682"/>
                </a:cubicBezTo>
                <a:cubicBezTo>
                  <a:pt x="174045" y="169669"/>
                  <a:pt x="172044" y="171657"/>
                  <a:pt x="172044" y="171657"/>
                </a:cubicBezTo>
                <a:cubicBezTo>
                  <a:pt x="172044" y="171657"/>
                  <a:pt x="172044" y="171657"/>
                  <a:pt x="168043" y="175632"/>
                </a:cubicBezTo>
                <a:cubicBezTo>
                  <a:pt x="168043" y="175632"/>
                  <a:pt x="172044" y="181595"/>
                  <a:pt x="172044" y="185570"/>
                </a:cubicBezTo>
                <a:cubicBezTo>
                  <a:pt x="172044" y="189545"/>
                  <a:pt x="174045" y="195508"/>
                  <a:pt x="176045" y="199483"/>
                </a:cubicBezTo>
                <a:cubicBezTo>
                  <a:pt x="178046" y="201471"/>
                  <a:pt x="182047" y="203458"/>
                  <a:pt x="184047" y="205446"/>
                </a:cubicBezTo>
                <a:cubicBezTo>
                  <a:pt x="184047" y="207434"/>
                  <a:pt x="190049" y="209421"/>
                  <a:pt x="190049" y="209421"/>
                </a:cubicBezTo>
                <a:cubicBezTo>
                  <a:pt x="190049" y="209421"/>
                  <a:pt x="190049" y="209421"/>
                  <a:pt x="196050" y="211409"/>
                </a:cubicBezTo>
                <a:cubicBezTo>
                  <a:pt x="196050" y="211409"/>
                  <a:pt x="196050" y="215384"/>
                  <a:pt x="194050" y="217372"/>
                </a:cubicBezTo>
                <a:cubicBezTo>
                  <a:pt x="194050" y="219359"/>
                  <a:pt x="192049" y="221347"/>
                  <a:pt x="194050" y="225322"/>
                </a:cubicBezTo>
                <a:cubicBezTo>
                  <a:pt x="196050" y="229297"/>
                  <a:pt x="198051" y="233272"/>
                  <a:pt x="200051" y="237248"/>
                </a:cubicBezTo>
                <a:cubicBezTo>
                  <a:pt x="200051" y="239235"/>
                  <a:pt x="204052" y="245198"/>
                  <a:pt x="208054" y="245198"/>
                </a:cubicBezTo>
                <a:cubicBezTo>
                  <a:pt x="210054" y="245198"/>
                  <a:pt x="216056" y="245198"/>
                  <a:pt x="216056" y="245198"/>
                </a:cubicBezTo>
                <a:cubicBezTo>
                  <a:pt x="216056" y="245198"/>
                  <a:pt x="224058" y="241223"/>
                  <a:pt x="226058" y="243210"/>
                </a:cubicBezTo>
                <a:cubicBezTo>
                  <a:pt x="228059" y="245198"/>
                  <a:pt x="224058" y="251161"/>
                  <a:pt x="224058" y="251161"/>
                </a:cubicBezTo>
                <a:cubicBezTo>
                  <a:pt x="224058" y="251161"/>
                  <a:pt x="224058" y="259111"/>
                  <a:pt x="224058" y="259111"/>
                </a:cubicBezTo>
                <a:cubicBezTo>
                  <a:pt x="222057" y="259111"/>
                  <a:pt x="226058" y="263086"/>
                  <a:pt x="228059" y="265074"/>
                </a:cubicBezTo>
                <a:cubicBezTo>
                  <a:pt x="230059" y="265074"/>
                  <a:pt x="232060" y="267062"/>
                  <a:pt x="236061" y="265074"/>
                </a:cubicBezTo>
                <a:cubicBezTo>
                  <a:pt x="238061" y="263086"/>
                  <a:pt x="244063" y="265074"/>
                  <a:pt x="240062" y="269049"/>
                </a:cubicBezTo>
                <a:cubicBezTo>
                  <a:pt x="238061" y="271037"/>
                  <a:pt x="236061" y="271037"/>
                  <a:pt x="236061" y="273024"/>
                </a:cubicBezTo>
                <a:cubicBezTo>
                  <a:pt x="238061" y="277000"/>
                  <a:pt x="242062" y="278987"/>
                  <a:pt x="242062" y="278987"/>
                </a:cubicBezTo>
                <a:cubicBezTo>
                  <a:pt x="242062" y="278987"/>
                  <a:pt x="246063" y="278987"/>
                  <a:pt x="242062" y="282962"/>
                </a:cubicBezTo>
                <a:cubicBezTo>
                  <a:pt x="240062" y="286938"/>
                  <a:pt x="238061" y="288925"/>
                  <a:pt x="234060" y="288925"/>
                </a:cubicBezTo>
                <a:cubicBezTo>
                  <a:pt x="230059" y="286938"/>
                  <a:pt x="224058" y="286938"/>
                  <a:pt x="224058" y="286938"/>
                </a:cubicBezTo>
                <a:cubicBezTo>
                  <a:pt x="222057" y="284950"/>
                  <a:pt x="218056" y="284950"/>
                  <a:pt x="216056" y="284950"/>
                </a:cubicBezTo>
                <a:cubicBezTo>
                  <a:pt x="214055" y="284950"/>
                  <a:pt x="208054" y="284950"/>
                  <a:pt x="206053" y="282962"/>
                </a:cubicBezTo>
                <a:cubicBezTo>
                  <a:pt x="204052" y="282962"/>
                  <a:pt x="200051" y="280975"/>
                  <a:pt x="200051" y="280975"/>
                </a:cubicBezTo>
                <a:cubicBezTo>
                  <a:pt x="200051" y="280975"/>
                  <a:pt x="192049" y="282962"/>
                  <a:pt x="190049" y="280975"/>
                </a:cubicBezTo>
                <a:cubicBezTo>
                  <a:pt x="188048" y="280975"/>
                  <a:pt x="186048" y="278987"/>
                  <a:pt x="182047" y="278987"/>
                </a:cubicBezTo>
                <a:cubicBezTo>
                  <a:pt x="180046" y="280975"/>
                  <a:pt x="176045" y="278987"/>
                  <a:pt x="176045" y="277000"/>
                </a:cubicBezTo>
                <a:cubicBezTo>
                  <a:pt x="176045" y="273024"/>
                  <a:pt x="176045" y="269049"/>
                  <a:pt x="174045" y="265074"/>
                </a:cubicBezTo>
                <a:cubicBezTo>
                  <a:pt x="170044" y="263086"/>
                  <a:pt x="166043" y="257124"/>
                  <a:pt x="162042" y="257124"/>
                </a:cubicBezTo>
                <a:cubicBezTo>
                  <a:pt x="160041" y="257124"/>
                  <a:pt x="152039" y="249173"/>
                  <a:pt x="152039" y="249173"/>
                </a:cubicBezTo>
                <a:cubicBezTo>
                  <a:pt x="152039" y="249173"/>
                  <a:pt x="150039" y="247186"/>
                  <a:pt x="150039" y="243210"/>
                </a:cubicBezTo>
                <a:cubicBezTo>
                  <a:pt x="150039" y="239235"/>
                  <a:pt x="146038" y="237248"/>
                  <a:pt x="146038" y="231285"/>
                </a:cubicBezTo>
                <a:cubicBezTo>
                  <a:pt x="148038" y="225322"/>
                  <a:pt x="146038" y="221347"/>
                  <a:pt x="142037" y="219359"/>
                </a:cubicBezTo>
                <a:cubicBezTo>
                  <a:pt x="140036" y="217372"/>
                  <a:pt x="138036" y="217372"/>
                  <a:pt x="138036" y="217372"/>
                </a:cubicBezTo>
                <a:cubicBezTo>
                  <a:pt x="138036" y="217372"/>
                  <a:pt x="134035" y="217372"/>
                  <a:pt x="132034" y="213396"/>
                </a:cubicBezTo>
                <a:cubicBezTo>
                  <a:pt x="130034" y="209421"/>
                  <a:pt x="130034" y="207434"/>
                  <a:pt x="124032" y="207434"/>
                </a:cubicBezTo>
                <a:cubicBezTo>
                  <a:pt x="118030" y="207434"/>
                  <a:pt x="116030" y="205446"/>
                  <a:pt x="116030" y="205446"/>
                </a:cubicBezTo>
                <a:cubicBezTo>
                  <a:pt x="116030" y="205446"/>
                  <a:pt x="110028" y="201471"/>
                  <a:pt x="106027" y="201471"/>
                </a:cubicBezTo>
                <a:cubicBezTo>
                  <a:pt x="102026" y="201471"/>
                  <a:pt x="90023" y="199483"/>
                  <a:pt x="86022" y="203458"/>
                </a:cubicBezTo>
                <a:cubicBezTo>
                  <a:pt x="84022" y="205446"/>
                  <a:pt x="82021" y="209421"/>
                  <a:pt x="82021" y="209421"/>
                </a:cubicBezTo>
                <a:cubicBezTo>
                  <a:pt x="82021" y="209421"/>
                  <a:pt x="80021" y="215384"/>
                  <a:pt x="76020" y="213396"/>
                </a:cubicBezTo>
                <a:cubicBezTo>
                  <a:pt x="74019" y="213396"/>
                  <a:pt x="74019" y="217372"/>
                  <a:pt x="74019" y="217372"/>
                </a:cubicBezTo>
                <a:cubicBezTo>
                  <a:pt x="74019" y="217372"/>
                  <a:pt x="74019" y="221347"/>
                  <a:pt x="76020" y="221347"/>
                </a:cubicBezTo>
                <a:cubicBezTo>
                  <a:pt x="80021" y="223334"/>
                  <a:pt x="80021" y="223334"/>
                  <a:pt x="80021" y="225322"/>
                </a:cubicBezTo>
                <a:cubicBezTo>
                  <a:pt x="80021" y="227310"/>
                  <a:pt x="78020" y="227310"/>
                  <a:pt x="76020" y="225322"/>
                </a:cubicBezTo>
                <a:cubicBezTo>
                  <a:pt x="74019" y="223334"/>
                  <a:pt x="72019" y="223334"/>
                  <a:pt x="68018" y="223334"/>
                </a:cubicBezTo>
                <a:cubicBezTo>
                  <a:pt x="66017" y="223334"/>
                  <a:pt x="64017" y="225322"/>
                  <a:pt x="62016" y="223334"/>
                </a:cubicBezTo>
                <a:cubicBezTo>
                  <a:pt x="60016" y="223334"/>
                  <a:pt x="56015" y="225322"/>
                  <a:pt x="56015" y="227310"/>
                </a:cubicBezTo>
                <a:cubicBezTo>
                  <a:pt x="56015" y="227310"/>
                  <a:pt x="64017" y="231285"/>
                  <a:pt x="66017" y="235260"/>
                </a:cubicBezTo>
                <a:cubicBezTo>
                  <a:pt x="70018" y="237248"/>
                  <a:pt x="70018" y="237248"/>
                  <a:pt x="72019" y="241223"/>
                </a:cubicBezTo>
                <a:cubicBezTo>
                  <a:pt x="74019" y="243210"/>
                  <a:pt x="72019" y="243210"/>
                  <a:pt x="68018" y="245198"/>
                </a:cubicBezTo>
                <a:cubicBezTo>
                  <a:pt x="66017" y="247186"/>
                  <a:pt x="60016" y="247186"/>
                  <a:pt x="60016" y="247186"/>
                </a:cubicBezTo>
                <a:cubicBezTo>
                  <a:pt x="60016" y="247186"/>
                  <a:pt x="54014" y="247186"/>
                  <a:pt x="54014" y="249173"/>
                </a:cubicBezTo>
                <a:cubicBezTo>
                  <a:pt x="52014" y="249173"/>
                  <a:pt x="48013" y="251161"/>
                  <a:pt x="46012" y="251161"/>
                </a:cubicBezTo>
                <a:cubicBezTo>
                  <a:pt x="42011" y="251161"/>
                  <a:pt x="36009" y="251161"/>
                  <a:pt x="36009" y="251161"/>
                </a:cubicBezTo>
                <a:cubicBezTo>
                  <a:pt x="36009" y="251161"/>
                  <a:pt x="30008" y="249173"/>
                  <a:pt x="28007" y="251161"/>
                </a:cubicBezTo>
                <a:cubicBezTo>
                  <a:pt x="26007" y="251161"/>
                  <a:pt x="20005" y="253148"/>
                  <a:pt x="20005" y="251161"/>
                </a:cubicBezTo>
                <a:cubicBezTo>
                  <a:pt x="16004" y="249173"/>
                  <a:pt x="12003" y="247186"/>
                  <a:pt x="10003" y="247186"/>
                </a:cubicBezTo>
                <a:cubicBezTo>
                  <a:pt x="8002" y="247186"/>
                  <a:pt x="4001" y="245198"/>
                  <a:pt x="2001" y="243210"/>
                </a:cubicBezTo>
                <a:cubicBezTo>
                  <a:pt x="2001" y="243210"/>
                  <a:pt x="0" y="243210"/>
                  <a:pt x="0" y="241223"/>
                </a:cubicBezTo>
                <a:cubicBezTo>
                  <a:pt x="0" y="241223"/>
                  <a:pt x="0" y="239235"/>
                  <a:pt x="0" y="239235"/>
                </a:cubicBezTo>
                <a:cubicBezTo>
                  <a:pt x="2001" y="235260"/>
                  <a:pt x="6002" y="189545"/>
                  <a:pt x="6002" y="189545"/>
                </a:cubicBezTo>
                <a:cubicBezTo>
                  <a:pt x="6002" y="189545"/>
                  <a:pt x="6002" y="189545"/>
                  <a:pt x="8002" y="133892"/>
                </a:cubicBezTo>
                <a:cubicBezTo>
                  <a:pt x="8002" y="133892"/>
                  <a:pt x="8002" y="133892"/>
                  <a:pt x="8002" y="80227"/>
                </a:cubicBezTo>
                <a:cubicBezTo>
                  <a:pt x="8002" y="80227"/>
                  <a:pt x="8002" y="80227"/>
                  <a:pt x="8002" y="58363"/>
                </a:cubicBezTo>
                <a:cubicBezTo>
                  <a:pt x="8002" y="58363"/>
                  <a:pt x="8002" y="58363"/>
                  <a:pt x="6002" y="44450"/>
                </a:cubicBezTo>
                <a:close/>
                <a:moveTo>
                  <a:pt x="268287" y="39687"/>
                </a:moveTo>
                <a:cubicBezTo>
                  <a:pt x="268287" y="39687"/>
                  <a:pt x="272309" y="39687"/>
                  <a:pt x="274319" y="41671"/>
                </a:cubicBezTo>
                <a:cubicBezTo>
                  <a:pt x="276330" y="45640"/>
                  <a:pt x="280352" y="45640"/>
                  <a:pt x="280352" y="45640"/>
                </a:cubicBezTo>
                <a:cubicBezTo>
                  <a:pt x="280352" y="45640"/>
                  <a:pt x="288395" y="49609"/>
                  <a:pt x="290406" y="51594"/>
                </a:cubicBezTo>
                <a:cubicBezTo>
                  <a:pt x="292417" y="53578"/>
                  <a:pt x="292417" y="57547"/>
                  <a:pt x="298449" y="61516"/>
                </a:cubicBezTo>
                <a:cubicBezTo>
                  <a:pt x="304482" y="65484"/>
                  <a:pt x="308504" y="69453"/>
                  <a:pt x="308504" y="71437"/>
                </a:cubicBezTo>
                <a:cubicBezTo>
                  <a:pt x="310515" y="73422"/>
                  <a:pt x="312525" y="79375"/>
                  <a:pt x="314536" y="79375"/>
                </a:cubicBezTo>
                <a:cubicBezTo>
                  <a:pt x="316547" y="81359"/>
                  <a:pt x="318558" y="79375"/>
                  <a:pt x="322579" y="87313"/>
                </a:cubicBezTo>
                <a:cubicBezTo>
                  <a:pt x="326601" y="93266"/>
                  <a:pt x="328612" y="99219"/>
                  <a:pt x="328612" y="99219"/>
                </a:cubicBezTo>
                <a:cubicBezTo>
                  <a:pt x="328612" y="101203"/>
                  <a:pt x="326601" y="107156"/>
                  <a:pt x="326601" y="107156"/>
                </a:cubicBezTo>
                <a:cubicBezTo>
                  <a:pt x="326601" y="107156"/>
                  <a:pt x="324590" y="111125"/>
                  <a:pt x="320569" y="109141"/>
                </a:cubicBezTo>
                <a:cubicBezTo>
                  <a:pt x="316547" y="107156"/>
                  <a:pt x="316547" y="101203"/>
                  <a:pt x="318558" y="99219"/>
                </a:cubicBezTo>
                <a:cubicBezTo>
                  <a:pt x="318558" y="95250"/>
                  <a:pt x="316547" y="91281"/>
                  <a:pt x="314536" y="89297"/>
                </a:cubicBezTo>
                <a:cubicBezTo>
                  <a:pt x="314536" y="87313"/>
                  <a:pt x="310515" y="83344"/>
                  <a:pt x="310515" y="83344"/>
                </a:cubicBezTo>
                <a:cubicBezTo>
                  <a:pt x="300460" y="73422"/>
                  <a:pt x="300460" y="73422"/>
                  <a:pt x="300460" y="73422"/>
                </a:cubicBezTo>
                <a:cubicBezTo>
                  <a:pt x="300460" y="73422"/>
                  <a:pt x="284374" y="57547"/>
                  <a:pt x="284374" y="57547"/>
                </a:cubicBezTo>
                <a:cubicBezTo>
                  <a:pt x="284374" y="53578"/>
                  <a:pt x="282363" y="53578"/>
                  <a:pt x="280352" y="49609"/>
                </a:cubicBezTo>
                <a:cubicBezTo>
                  <a:pt x="278341" y="47625"/>
                  <a:pt x="276330" y="47625"/>
                  <a:pt x="274319" y="47625"/>
                </a:cubicBezTo>
                <a:cubicBezTo>
                  <a:pt x="274319" y="47625"/>
                  <a:pt x="272309" y="45640"/>
                  <a:pt x="270298" y="45640"/>
                </a:cubicBezTo>
                <a:cubicBezTo>
                  <a:pt x="270298" y="43656"/>
                  <a:pt x="268287" y="41671"/>
                  <a:pt x="268287" y="41671"/>
                </a:cubicBezTo>
                <a:close/>
                <a:moveTo>
                  <a:pt x="246062" y="35559"/>
                </a:moveTo>
                <a:cubicBezTo>
                  <a:pt x="246062" y="35559"/>
                  <a:pt x="248179" y="33337"/>
                  <a:pt x="254529" y="35559"/>
                </a:cubicBezTo>
                <a:cubicBezTo>
                  <a:pt x="258762" y="37782"/>
                  <a:pt x="258762" y="37782"/>
                  <a:pt x="258762" y="40005"/>
                </a:cubicBezTo>
                <a:cubicBezTo>
                  <a:pt x="258762" y="42227"/>
                  <a:pt x="258762" y="44450"/>
                  <a:pt x="254529" y="42227"/>
                </a:cubicBezTo>
                <a:cubicBezTo>
                  <a:pt x="252412" y="42227"/>
                  <a:pt x="246062" y="35559"/>
                  <a:pt x="246062" y="35559"/>
                </a:cubicBezTo>
                <a:close/>
                <a:moveTo>
                  <a:pt x="180181" y="33337"/>
                </a:moveTo>
                <a:cubicBezTo>
                  <a:pt x="184150" y="35453"/>
                  <a:pt x="180181" y="37570"/>
                  <a:pt x="180181" y="37570"/>
                </a:cubicBezTo>
                <a:cubicBezTo>
                  <a:pt x="180181" y="37570"/>
                  <a:pt x="178197" y="39687"/>
                  <a:pt x="176212" y="35453"/>
                </a:cubicBezTo>
                <a:cubicBezTo>
                  <a:pt x="176212" y="33337"/>
                  <a:pt x="180181" y="33337"/>
                  <a:pt x="180181" y="33337"/>
                </a:cubicBezTo>
                <a:close/>
                <a:moveTo>
                  <a:pt x="186532" y="31749"/>
                </a:moveTo>
                <a:cubicBezTo>
                  <a:pt x="187325" y="31749"/>
                  <a:pt x="188384" y="32278"/>
                  <a:pt x="188384" y="32278"/>
                </a:cubicBezTo>
                <a:lnTo>
                  <a:pt x="190500" y="34395"/>
                </a:lnTo>
                <a:cubicBezTo>
                  <a:pt x="190500" y="34395"/>
                  <a:pt x="186267" y="36512"/>
                  <a:pt x="186267" y="34395"/>
                </a:cubicBezTo>
                <a:cubicBezTo>
                  <a:pt x="185209" y="32279"/>
                  <a:pt x="185738" y="31749"/>
                  <a:pt x="186532" y="31749"/>
                </a:cubicBezTo>
                <a:close/>
                <a:moveTo>
                  <a:pt x="161925" y="19446"/>
                </a:moveTo>
                <a:cubicBezTo>
                  <a:pt x="165893" y="21431"/>
                  <a:pt x="169862" y="21431"/>
                  <a:pt x="171847" y="19446"/>
                </a:cubicBezTo>
                <a:cubicBezTo>
                  <a:pt x="173831" y="17462"/>
                  <a:pt x="177800" y="17462"/>
                  <a:pt x="181768" y="19446"/>
                </a:cubicBezTo>
                <a:cubicBezTo>
                  <a:pt x="185737" y="21431"/>
                  <a:pt x="185737" y="23415"/>
                  <a:pt x="181768" y="25399"/>
                </a:cubicBezTo>
                <a:cubicBezTo>
                  <a:pt x="175815" y="27384"/>
                  <a:pt x="175815" y="29368"/>
                  <a:pt x="175815" y="29368"/>
                </a:cubicBezTo>
                <a:cubicBezTo>
                  <a:pt x="175815" y="29368"/>
                  <a:pt x="171847" y="33337"/>
                  <a:pt x="169862" y="29368"/>
                </a:cubicBezTo>
                <a:cubicBezTo>
                  <a:pt x="165893" y="25399"/>
                  <a:pt x="159940" y="27384"/>
                  <a:pt x="159940" y="27384"/>
                </a:cubicBezTo>
                <a:cubicBezTo>
                  <a:pt x="159940" y="27384"/>
                  <a:pt x="153987" y="29368"/>
                  <a:pt x="155972" y="23415"/>
                </a:cubicBezTo>
                <a:cubicBezTo>
                  <a:pt x="155972" y="19446"/>
                  <a:pt x="157956" y="17462"/>
                  <a:pt x="161925" y="19446"/>
                </a:cubicBezTo>
                <a:close/>
                <a:moveTo>
                  <a:pt x="50800" y="11112"/>
                </a:moveTo>
                <a:cubicBezTo>
                  <a:pt x="50800" y="11112"/>
                  <a:pt x="52387" y="13228"/>
                  <a:pt x="52387" y="13228"/>
                </a:cubicBezTo>
                <a:cubicBezTo>
                  <a:pt x="52387" y="15345"/>
                  <a:pt x="50800" y="17462"/>
                  <a:pt x="49212" y="15345"/>
                </a:cubicBezTo>
                <a:cubicBezTo>
                  <a:pt x="49212" y="11112"/>
                  <a:pt x="50800" y="11112"/>
                  <a:pt x="50800" y="11112"/>
                </a:cubicBezTo>
                <a:close/>
                <a:moveTo>
                  <a:pt x="110445" y="3175"/>
                </a:moveTo>
                <a:cubicBezTo>
                  <a:pt x="110445" y="3175"/>
                  <a:pt x="116568" y="3175"/>
                  <a:pt x="114527" y="3175"/>
                </a:cubicBezTo>
                <a:cubicBezTo>
                  <a:pt x="116568" y="3175"/>
                  <a:pt x="118609" y="5291"/>
                  <a:pt x="118609" y="5291"/>
                </a:cubicBezTo>
                <a:cubicBezTo>
                  <a:pt x="118609" y="5291"/>
                  <a:pt x="120650" y="9525"/>
                  <a:pt x="118609" y="9525"/>
                </a:cubicBezTo>
                <a:cubicBezTo>
                  <a:pt x="116568" y="9525"/>
                  <a:pt x="114527" y="9525"/>
                  <a:pt x="114527" y="7408"/>
                </a:cubicBezTo>
                <a:cubicBezTo>
                  <a:pt x="114527" y="5291"/>
                  <a:pt x="110445" y="7408"/>
                  <a:pt x="108403" y="7408"/>
                </a:cubicBezTo>
                <a:cubicBezTo>
                  <a:pt x="106362" y="7408"/>
                  <a:pt x="110445" y="3175"/>
                  <a:pt x="110445" y="3175"/>
                </a:cubicBezTo>
                <a:close/>
                <a:moveTo>
                  <a:pt x="239713" y="3174"/>
                </a:moveTo>
                <a:cubicBezTo>
                  <a:pt x="240507" y="3174"/>
                  <a:pt x="241300" y="3703"/>
                  <a:pt x="241300" y="3703"/>
                </a:cubicBezTo>
                <a:cubicBezTo>
                  <a:pt x="241300" y="5820"/>
                  <a:pt x="238125" y="7937"/>
                  <a:pt x="238125" y="5820"/>
                </a:cubicBezTo>
                <a:cubicBezTo>
                  <a:pt x="238125" y="3704"/>
                  <a:pt x="238919" y="3174"/>
                  <a:pt x="239713" y="3174"/>
                </a:cubicBezTo>
                <a:close/>
                <a:moveTo>
                  <a:pt x="96838" y="0"/>
                </a:moveTo>
                <a:cubicBezTo>
                  <a:pt x="96838" y="0"/>
                  <a:pt x="96838" y="0"/>
                  <a:pt x="96838" y="1587"/>
                </a:cubicBezTo>
                <a:cubicBezTo>
                  <a:pt x="96838" y="3175"/>
                  <a:pt x="92075" y="3175"/>
                  <a:pt x="94457" y="1587"/>
                </a:cubicBezTo>
                <a:cubicBezTo>
                  <a:pt x="94457" y="0"/>
                  <a:pt x="96838" y="0"/>
                  <a:pt x="96838"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3" name="Micronesia"/>
          <p:cNvSpPr>
            <a:spLocks/>
          </p:cNvSpPr>
          <p:nvPr/>
        </p:nvSpPr>
        <p:spPr bwMode="auto">
          <a:xfrm>
            <a:off x="9823503" y="3636108"/>
            <a:ext cx="765966" cy="320580"/>
          </a:xfrm>
          <a:custGeom>
            <a:avLst/>
            <a:gdLst>
              <a:gd name="connsiteX0" fmla="*/ 540657 w 744537"/>
              <a:gd name="connsiteY0" fmla="*/ 303477 h 311611"/>
              <a:gd name="connsiteX1" fmla="*/ 546781 w 744537"/>
              <a:gd name="connsiteY1" fmla="*/ 305329 h 311611"/>
              <a:gd name="connsiteX2" fmla="*/ 548822 w 744537"/>
              <a:gd name="connsiteY2" fmla="*/ 307181 h 311611"/>
              <a:gd name="connsiteX3" fmla="*/ 546781 w 744537"/>
              <a:gd name="connsiteY3" fmla="*/ 310885 h 311611"/>
              <a:gd name="connsiteX4" fmla="*/ 538616 w 744537"/>
              <a:gd name="connsiteY4" fmla="*/ 307181 h 311611"/>
              <a:gd name="connsiteX5" fmla="*/ 540657 w 744537"/>
              <a:gd name="connsiteY5" fmla="*/ 303477 h 311611"/>
              <a:gd name="connsiteX6" fmla="*/ 526653 w 744537"/>
              <a:gd name="connsiteY6" fmla="*/ 247878 h 311611"/>
              <a:gd name="connsiteX7" fmla="*/ 526653 w 744537"/>
              <a:gd name="connsiteY7" fmla="*/ 251506 h 311611"/>
              <a:gd name="connsiteX8" fmla="*/ 526653 w 744537"/>
              <a:gd name="connsiteY8" fmla="*/ 253320 h 311611"/>
              <a:gd name="connsiteX9" fmla="*/ 520700 w 744537"/>
              <a:gd name="connsiteY9" fmla="*/ 258763 h 311611"/>
              <a:gd name="connsiteX10" fmla="*/ 514746 w 744537"/>
              <a:gd name="connsiteY10" fmla="*/ 251506 h 311611"/>
              <a:gd name="connsiteX11" fmla="*/ 518715 w 744537"/>
              <a:gd name="connsiteY11" fmla="*/ 249692 h 311611"/>
              <a:gd name="connsiteX12" fmla="*/ 522684 w 744537"/>
              <a:gd name="connsiteY12" fmla="*/ 249692 h 311611"/>
              <a:gd name="connsiteX13" fmla="*/ 526653 w 744537"/>
              <a:gd name="connsiteY13" fmla="*/ 247878 h 311611"/>
              <a:gd name="connsiteX14" fmla="*/ 737870 w 744537"/>
              <a:gd name="connsiteY14" fmla="*/ 241142 h 311611"/>
              <a:gd name="connsiteX15" fmla="*/ 738822 w 744537"/>
              <a:gd name="connsiteY15" fmla="*/ 241618 h 311611"/>
              <a:gd name="connsiteX16" fmla="*/ 744537 w 744537"/>
              <a:gd name="connsiteY16" fmla="*/ 247333 h 311611"/>
              <a:gd name="connsiteX17" fmla="*/ 738822 w 744537"/>
              <a:gd name="connsiteY17" fmla="*/ 249238 h 311611"/>
              <a:gd name="connsiteX18" fmla="*/ 736917 w 744537"/>
              <a:gd name="connsiteY18" fmla="*/ 243523 h 311611"/>
              <a:gd name="connsiteX19" fmla="*/ 737870 w 744537"/>
              <a:gd name="connsiteY19" fmla="*/ 241142 h 311611"/>
              <a:gd name="connsiteX20" fmla="*/ 688748 w 744537"/>
              <a:gd name="connsiteY20" fmla="*/ 235857 h 311611"/>
              <a:gd name="connsiteX21" fmla="*/ 694872 w 744537"/>
              <a:gd name="connsiteY21" fmla="*/ 239939 h 311611"/>
              <a:gd name="connsiteX22" fmla="*/ 692831 w 744537"/>
              <a:gd name="connsiteY22" fmla="*/ 246062 h 311611"/>
              <a:gd name="connsiteX23" fmla="*/ 684666 w 744537"/>
              <a:gd name="connsiteY23" fmla="*/ 239939 h 311611"/>
              <a:gd name="connsiteX24" fmla="*/ 688748 w 744537"/>
              <a:gd name="connsiteY24" fmla="*/ 235857 h 311611"/>
              <a:gd name="connsiteX25" fmla="*/ 514350 w 744537"/>
              <a:gd name="connsiteY25" fmla="*/ 234950 h 311611"/>
              <a:gd name="connsiteX26" fmla="*/ 514350 w 744537"/>
              <a:gd name="connsiteY26" fmla="*/ 238919 h 311611"/>
              <a:gd name="connsiteX27" fmla="*/ 511175 w 744537"/>
              <a:gd name="connsiteY27" fmla="*/ 238919 h 311611"/>
              <a:gd name="connsiteX28" fmla="*/ 514350 w 744537"/>
              <a:gd name="connsiteY28" fmla="*/ 234950 h 311611"/>
              <a:gd name="connsiteX29" fmla="*/ 616479 w 744537"/>
              <a:gd name="connsiteY29" fmla="*/ 230188 h 311611"/>
              <a:gd name="connsiteX30" fmla="*/ 622829 w 744537"/>
              <a:gd name="connsiteY30" fmla="*/ 231776 h 311611"/>
              <a:gd name="connsiteX31" fmla="*/ 616479 w 744537"/>
              <a:gd name="connsiteY31" fmla="*/ 233363 h 311611"/>
              <a:gd name="connsiteX32" fmla="*/ 614362 w 744537"/>
              <a:gd name="connsiteY32" fmla="*/ 233363 h 311611"/>
              <a:gd name="connsiteX33" fmla="*/ 616479 w 744537"/>
              <a:gd name="connsiteY33" fmla="*/ 230188 h 311611"/>
              <a:gd name="connsiteX34" fmla="*/ 189706 w 744537"/>
              <a:gd name="connsiteY34" fmla="*/ 223871 h 311611"/>
              <a:gd name="connsiteX35" fmla="*/ 193675 w 744537"/>
              <a:gd name="connsiteY35" fmla="*/ 224102 h 311611"/>
              <a:gd name="connsiteX36" fmla="*/ 191690 w 744537"/>
              <a:gd name="connsiteY36" fmla="*/ 231510 h 311611"/>
              <a:gd name="connsiteX37" fmla="*/ 185737 w 744537"/>
              <a:gd name="connsiteY37" fmla="*/ 227806 h 311611"/>
              <a:gd name="connsiteX38" fmla="*/ 189706 w 744537"/>
              <a:gd name="connsiteY38" fmla="*/ 223871 h 311611"/>
              <a:gd name="connsiteX39" fmla="*/ 3969 w 744537"/>
              <a:gd name="connsiteY39" fmla="*/ 215901 h 311611"/>
              <a:gd name="connsiteX40" fmla="*/ 5953 w 744537"/>
              <a:gd name="connsiteY40" fmla="*/ 223310 h 311611"/>
              <a:gd name="connsiteX41" fmla="*/ 1984 w 744537"/>
              <a:gd name="connsiteY41" fmla="*/ 225162 h 311611"/>
              <a:gd name="connsiteX42" fmla="*/ 0 w 744537"/>
              <a:gd name="connsiteY42" fmla="*/ 217753 h 311611"/>
              <a:gd name="connsiteX43" fmla="*/ 3969 w 744537"/>
              <a:gd name="connsiteY43" fmla="*/ 215901 h 311611"/>
              <a:gd name="connsiteX44" fmla="*/ 667703 w 744537"/>
              <a:gd name="connsiteY44" fmla="*/ 212726 h 311611"/>
              <a:gd name="connsiteX45" fmla="*/ 668655 w 744537"/>
              <a:gd name="connsiteY45" fmla="*/ 213255 h 311611"/>
              <a:gd name="connsiteX46" fmla="*/ 672465 w 744537"/>
              <a:gd name="connsiteY46" fmla="*/ 213255 h 311611"/>
              <a:gd name="connsiteX47" fmla="*/ 676275 w 744537"/>
              <a:gd name="connsiteY47" fmla="*/ 219605 h 311611"/>
              <a:gd name="connsiteX48" fmla="*/ 672465 w 744537"/>
              <a:gd name="connsiteY48" fmla="*/ 223838 h 311611"/>
              <a:gd name="connsiteX49" fmla="*/ 666750 w 744537"/>
              <a:gd name="connsiteY49" fmla="*/ 215372 h 311611"/>
              <a:gd name="connsiteX50" fmla="*/ 667703 w 744537"/>
              <a:gd name="connsiteY50" fmla="*/ 212726 h 311611"/>
              <a:gd name="connsiteX51" fmla="*/ 412750 w 744537"/>
              <a:gd name="connsiteY51" fmla="*/ 211138 h 311611"/>
              <a:gd name="connsiteX52" fmla="*/ 412750 w 744537"/>
              <a:gd name="connsiteY52" fmla="*/ 215372 h 311611"/>
              <a:gd name="connsiteX53" fmla="*/ 409575 w 744537"/>
              <a:gd name="connsiteY53" fmla="*/ 213255 h 311611"/>
              <a:gd name="connsiteX54" fmla="*/ 412750 w 744537"/>
              <a:gd name="connsiteY54" fmla="*/ 211138 h 311611"/>
              <a:gd name="connsiteX55" fmla="*/ 221615 w 744537"/>
              <a:gd name="connsiteY55" fmla="*/ 209550 h 311611"/>
              <a:gd name="connsiteX56" fmla="*/ 225425 w 744537"/>
              <a:gd name="connsiteY56" fmla="*/ 211534 h 311611"/>
              <a:gd name="connsiteX57" fmla="*/ 217805 w 744537"/>
              <a:gd name="connsiteY57" fmla="*/ 215503 h 311611"/>
              <a:gd name="connsiteX58" fmla="*/ 221615 w 744537"/>
              <a:gd name="connsiteY58" fmla="*/ 209550 h 311611"/>
              <a:gd name="connsiteX59" fmla="*/ 407193 w 744537"/>
              <a:gd name="connsiteY59" fmla="*/ 207963 h 311611"/>
              <a:gd name="connsiteX60" fmla="*/ 409575 w 744537"/>
              <a:gd name="connsiteY60" fmla="*/ 209551 h 311611"/>
              <a:gd name="connsiteX61" fmla="*/ 404812 w 744537"/>
              <a:gd name="connsiteY61" fmla="*/ 209551 h 311611"/>
              <a:gd name="connsiteX62" fmla="*/ 407193 w 744537"/>
              <a:gd name="connsiteY62" fmla="*/ 207963 h 311611"/>
              <a:gd name="connsiteX63" fmla="*/ 496358 w 744537"/>
              <a:gd name="connsiteY63" fmla="*/ 203200 h 311611"/>
              <a:gd name="connsiteX64" fmla="*/ 498475 w 744537"/>
              <a:gd name="connsiteY64" fmla="*/ 205581 h 311611"/>
              <a:gd name="connsiteX65" fmla="*/ 496358 w 744537"/>
              <a:gd name="connsiteY65" fmla="*/ 207962 h 311611"/>
              <a:gd name="connsiteX66" fmla="*/ 492125 w 744537"/>
              <a:gd name="connsiteY66" fmla="*/ 205581 h 311611"/>
              <a:gd name="connsiteX67" fmla="*/ 496358 w 744537"/>
              <a:gd name="connsiteY67" fmla="*/ 203200 h 311611"/>
              <a:gd name="connsiteX68" fmla="*/ 294957 w 744537"/>
              <a:gd name="connsiteY68" fmla="*/ 203101 h 311611"/>
              <a:gd name="connsiteX69" fmla="*/ 296862 w 744537"/>
              <a:gd name="connsiteY69" fmla="*/ 205582 h 311611"/>
              <a:gd name="connsiteX70" fmla="*/ 289242 w 744537"/>
              <a:gd name="connsiteY70" fmla="*/ 207566 h 311611"/>
              <a:gd name="connsiteX71" fmla="*/ 293052 w 744537"/>
              <a:gd name="connsiteY71" fmla="*/ 203597 h 311611"/>
              <a:gd name="connsiteX72" fmla="*/ 294957 w 744537"/>
              <a:gd name="connsiteY72" fmla="*/ 203101 h 311611"/>
              <a:gd name="connsiteX73" fmla="*/ 210096 w 744537"/>
              <a:gd name="connsiteY73" fmla="*/ 203101 h 311611"/>
              <a:gd name="connsiteX74" fmla="*/ 212328 w 744537"/>
              <a:gd name="connsiteY74" fmla="*/ 203597 h 311611"/>
              <a:gd name="connsiteX75" fmla="*/ 212328 w 744537"/>
              <a:gd name="connsiteY75" fmla="*/ 207566 h 311611"/>
              <a:gd name="connsiteX76" fmla="*/ 206375 w 744537"/>
              <a:gd name="connsiteY76" fmla="*/ 205582 h 311611"/>
              <a:gd name="connsiteX77" fmla="*/ 210096 w 744537"/>
              <a:gd name="connsiteY77" fmla="*/ 203101 h 311611"/>
              <a:gd name="connsiteX78" fmla="*/ 625928 w 744537"/>
              <a:gd name="connsiteY78" fmla="*/ 202066 h 311611"/>
              <a:gd name="connsiteX79" fmla="*/ 632051 w 744537"/>
              <a:gd name="connsiteY79" fmla="*/ 204107 h 311611"/>
              <a:gd name="connsiteX80" fmla="*/ 636133 w 744537"/>
              <a:gd name="connsiteY80" fmla="*/ 204107 h 311611"/>
              <a:gd name="connsiteX81" fmla="*/ 646339 w 744537"/>
              <a:gd name="connsiteY81" fmla="*/ 204107 h 311611"/>
              <a:gd name="connsiteX82" fmla="*/ 650421 w 744537"/>
              <a:gd name="connsiteY82" fmla="*/ 206148 h 311611"/>
              <a:gd name="connsiteX83" fmla="*/ 650421 w 744537"/>
              <a:gd name="connsiteY83" fmla="*/ 210230 h 311611"/>
              <a:gd name="connsiteX84" fmla="*/ 634092 w 744537"/>
              <a:gd name="connsiteY84" fmla="*/ 214312 h 311611"/>
              <a:gd name="connsiteX85" fmla="*/ 623887 w 744537"/>
              <a:gd name="connsiteY85" fmla="*/ 210230 h 311611"/>
              <a:gd name="connsiteX86" fmla="*/ 625928 w 744537"/>
              <a:gd name="connsiteY86" fmla="*/ 202066 h 311611"/>
              <a:gd name="connsiteX87" fmla="*/ 8572 w 744537"/>
              <a:gd name="connsiteY87" fmla="*/ 200026 h 311611"/>
              <a:gd name="connsiteX88" fmla="*/ 12382 w 744537"/>
              <a:gd name="connsiteY88" fmla="*/ 203995 h 311611"/>
              <a:gd name="connsiteX89" fmla="*/ 6667 w 744537"/>
              <a:gd name="connsiteY89" fmla="*/ 205980 h 311611"/>
              <a:gd name="connsiteX90" fmla="*/ 6667 w 744537"/>
              <a:gd name="connsiteY90" fmla="*/ 203995 h 311611"/>
              <a:gd name="connsiteX91" fmla="*/ 8572 w 744537"/>
              <a:gd name="connsiteY91" fmla="*/ 200026 h 311611"/>
              <a:gd name="connsiteX92" fmla="*/ 267494 w 744537"/>
              <a:gd name="connsiteY92" fmla="*/ 198438 h 311611"/>
              <a:gd name="connsiteX93" fmla="*/ 271463 w 744537"/>
              <a:gd name="connsiteY93" fmla="*/ 202407 h 311611"/>
              <a:gd name="connsiteX94" fmla="*/ 265509 w 744537"/>
              <a:gd name="connsiteY94" fmla="*/ 202407 h 311611"/>
              <a:gd name="connsiteX95" fmla="*/ 267494 w 744537"/>
              <a:gd name="connsiteY95" fmla="*/ 198438 h 311611"/>
              <a:gd name="connsiteX96" fmla="*/ 408781 w 744537"/>
              <a:gd name="connsiteY96" fmla="*/ 185738 h 311611"/>
              <a:gd name="connsiteX97" fmla="*/ 410765 w 744537"/>
              <a:gd name="connsiteY97" fmla="*/ 187325 h 311611"/>
              <a:gd name="connsiteX98" fmla="*/ 406796 w 744537"/>
              <a:gd name="connsiteY98" fmla="*/ 187325 h 311611"/>
              <a:gd name="connsiteX99" fmla="*/ 408781 w 744537"/>
              <a:gd name="connsiteY99" fmla="*/ 185738 h 311611"/>
              <a:gd name="connsiteX100" fmla="*/ 468489 w 744537"/>
              <a:gd name="connsiteY100" fmla="*/ 184150 h 311611"/>
              <a:gd name="connsiteX101" fmla="*/ 472369 w 744537"/>
              <a:gd name="connsiteY101" fmla="*/ 189971 h 311611"/>
              <a:gd name="connsiteX102" fmla="*/ 476250 w 744537"/>
              <a:gd name="connsiteY102" fmla="*/ 195791 h 311611"/>
              <a:gd name="connsiteX103" fmla="*/ 472369 w 744537"/>
              <a:gd name="connsiteY103" fmla="*/ 199672 h 311611"/>
              <a:gd name="connsiteX104" fmla="*/ 468489 w 744537"/>
              <a:gd name="connsiteY104" fmla="*/ 197731 h 311611"/>
              <a:gd name="connsiteX105" fmla="*/ 464608 w 744537"/>
              <a:gd name="connsiteY105" fmla="*/ 193851 h 311611"/>
              <a:gd name="connsiteX106" fmla="*/ 460727 w 744537"/>
              <a:gd name="connsiteY106" fmla="*/ 191911 h 311611"/>
              <a:gd name="connsiteX107" fmla="*/ 464608 w 744537"/>
              <a:gd name="connsiteY107" fmla="*/ 188030 h 311611"/>
              <a:gd name="connsiteX108" fmla="*/ 466548 w 744537"/>
              <a:gd name="connsiteY108" fmla="*/ 186090 h 311611"/>
              <a:gd name="connsiteX109" fmla="*/ 468489 w 744537"/>
              <a:gd name="connsiteY109" fmla="*/ 184150 h 311611"/>
              <a:gd name="connsiteX110" fmla="*/ 14238 w 744537"/>
              <a:gd name="connsiteY110" fmla="*/ 181769 h 311611"/>
              <a:gd name="connsiteX111" fmla="*/ 15478 w 744537"/>
              <a:gd name="connsiteY111" fmla="*/ 185738 h 311611"/>
              <a:gd name="connsiteX112" fmla="*/ 17463 w 744537"/>
              <a:gd name="connsiteY112" fmla="*/ 194204 h 311611"/>
              <a:gd name="connsiteX113" fmla="*/ 11509 w 744537"/>
              <a:gd name="connsiteY113" fmla="*/ 194204 h 311611"/>
              <a:gd name="connsiteX114" fmla="*/ 11509 w 744537"/>
              <a:gd name="connsiteY114" fmla="*/ 185738 h 311611"/>
              <a:gd name="connsiteX115" fmla="*/ 14238 w 744537"/>
              <a:gd name="connsiteY115" fmla="*/ 181769 h 311611"/>
              <a:gd name="connsiteX116" fmla="*/ 560917 w 744537"/>
              <a:gd name="connsiteY116" fmla="*/ 180975 h 311611"/>
              <a:gd name="connsiteX117" fmla="*/ 565150 w 744537"/>
              <a:gd name="connsiteY117" fmla="*/ 187642 h 311611"/>
              <a:gd name="connsiteX118" fmla="*/ 556683 w 744537"/>
              <a:gd name="connsiteY118" fmla="*/ 189864 h 311611"/>
              <a:gd name="connsiteX119" fmla="*/ 552450 w 744537"/>
              <a:gd name="connsiteY119" fmla="*/ 187642 h 311611"/>
              <a:gd name="connsiteX120" fmla="*/ 560917 w 744537"/>
              <a:gd name="connsiteY120" fmla="*/ 180975 h 311611"/>
              <a:gd name="connsiteX121" fmla="*/ 255270 w 744537"/>
              <a:gd name="connsiteY121" fmla="*/ 180975 h 311611"/>
              <a:gd name="connsiteX122" fmla="*/ 255270 w 744537"/>
              <a:gd name="connsiteY122" fmla="*/ 185420 h 311611"/>
              <a:gd name="connsiteX123" fmla="*/ 247650 w 744537"/>
              <a:gd name="connsiteY123" fmla="*/ 185420 h 311611"/>
              <a:gd name="connsiteX124" fmla="*/ 255270 w 744537"/>
              <a:gd name="connsiteY124" fmla="*/ 180975 h 311611"/>
              <a:gd name="connsiteX125" fmla="*/ 410633 w 744537"/>
              <a:gd name="connsiteY125" fmla="*/ 177800 h 311611"/>
              <a:gd name="connsiteX126" fmla="*/ 412750 w 744537"/>
              <a:gd name="connsiteY126" fmla="*/ 179917 h 311611"/>
              <a:gd name="connsiteX127" fmla="*/ 406400 w 744537"/>
              <a:gd name="connsiteY127" fmla="*/ 182033 h 311611"/>
              <a:gd name="connsiteX128" fmla="*/ 410633 w 744537"/>
              <a:gd name="connsiteY128" fmla="*/ 177800 h 311611"/>
              <a:gd name="connsiteX129" fmla="*/ 5027 w 744537"/>
              <a:gd name="connsiteY129" fmla="*/ 172880 h 311611"/>
              <a:gd name="connsiteX130" fmla="*/ 8466 w 744537"/>
              <a:gd name="connsiteY130" fmla="*/ 173356 h 311611"/>
              <a:gd name="connsiteX131" fmla="*/ 8466 w 744537"/>
              <a:gd name="connsiteY131" fmla="*/ 180976 h 311611"/>
              <a:gd name="connsiteX132" fmla="*/ 0 w 744537"/>
              <a:gd name="connsiteY132" fmla="*/ 175261 h 311611"/>
              <a:gd name="connsiteX133" fmla="*/ 5027 w 744537"/>
              <a:gd name="connsiteY133" fmla="*/ 172880 h 311611"/>
              <a:gd name="connsiteX134" fmla="*/ 16470 w 744537"/>
              <a:gd name="connsiteY134" fmla="*/ 169764 h 311611"/>
              <a:gd name="connsiteX135" fmla="*/ 17462 w 744537"/>
              <a:gd name="connsiteY135" fmla="*/ 170260 h 311611"/>
              <a:gd name="connsiteX136" fmla="*/ 17462 w 744537"/>
              <a:gd name="connsiteY136" fmla="*/ 172245 h 311611"/>
              <a:gd name="connsiteX137" fmla="*/ 14287 w 744537"/>
              <a:gd name="connsiteY137" fmla="*/ 172245 h 311611"/>
              <a:gd name="connsiteX138" fmla="*/ 16470 w 744537"/>
              <a:gd name="connsiteY138" fmla="*/ 169764 h 311611"/>
              <a:gd name="connsiteX139" fmla="*/ 530905 w 744537"/>
              <a:gd name="connsiteY139" fmla="*/ 165100 h 311611"/>
              <a:gd name="connsiteX140" fmla="*/ 534533 w 744537"/>
              <a:gd name="connsiteY140" fmla="*/ 167217 h 311611"/>
              <a:gd name="connsiteX141" fmla="*/ 536348 w 744537"/>
              <a:gd name="connsiteY141" fmla="*/ 169333 h 311611"/>
              <a:gd name="connsiteX142" fmla="*/ 532719 w 744537"/>
              <a:gd name="connsiteY142" fmla="*/ 173567 h 311611"/>
              <a:gd name="connsiteX143" fmla="*/ 525462 w 744537"/>
              <a:gd name="connsiteY143" fmla="*/ 171450 h 311611"/>
              <a:gd name="connsiteX144" fmla="*/ 530905 w 744537"/>
              <a:gd name="connsiteY144" fmla="*/ 165100 h 311611"/>
              <a:gd name="connsiteX145" fmla="*/ 72231 w 744537"/>
              <a:gd name="connsiteY145" fmla="*/ 165100 h 311611"/>
              <a:gd name="connsiteX146" fmla="*/ 74215 w 744537"/>
              <a:gd name="connsiteY146" fmla="*/ 169333 h 311611"/>
              <a:gd name="connsiteX147" fmla="*/ 68262 w 744537"/>
              <a:gd name="connsiteY147" fmla="*/ 169333 h 311611"/>
              <a:gd name="connsiteX148" fmla="*/ 72231 w 744537"/>
              <a:gd name="connsiteY148" fmla="*/ 165100 h 311611"/>
              <a:gd name="connsiteX149" fmla="*/ 10318 w 744537"/>
              <a:gd name="connsiteY149" fmla="*/ 162719 h 311611"/>
              <a:gd name="connsiteX150" fmla="*/ 12700 w 744537"/>
              <a:gd name="connsiteY150" fmla="*/ 164148 h 311611"/>
              <a:gd name="connsiteX151" fmla="*/ 12700 w 744537"/>
              <a:gd name="connsiteY151" fmla="*/ 167958 h 311611"/>
              <a:gd name="connsiteX152" fmla="*/ 6350 w 744537"/>
              <a:gd name="connsiteY152" fmla="*/ 164148 h 311611"/>
              <a:gd name="connsiteX153" fmla="*/ 10318 w 744537"/>
              <a:gd name="connsiteY153" fmla="*/ 162719 h 311611"/>
              <a:gd name="connsiteX154" fmla="*/ 140335 w 744537"/>
              <a:gd name="connsiteY154" fmla="*/ 160338 h 311611"/>
              <a:gd name="connsiteX155" fmla="*/ 142240 w 744537"/>
              <a:gd name="connsiteY155" fmla="*/ 160338 h 311611"/>
              <a:gd name="connsiteX156" fmla="*/ 144145 w 744537"/>
              <a:gd name="connsiteY156" fmla="*/ 166291 h 311611"/>
              <a:gd name="connsiteX157" fmla="*/ 138430 w 744537"/>
              <a:gd name="connsiteY157" fmla="*/ 164306 h 311611"/>
              <a:gd name="connsiteX158" fmla="*/ 140335 w 744537"/>
              <a:gd name="connsiteY158" fmla="*/ 160338 h 311611"/>
              <a:gd name="connsiteX159" fmla="*/ 16404 w 744537"/>
              <a:gd name="connsiteY159" fmla="*/ 158651 h 311611"/>
              <a:gd name="connsiteX160" fmla="*/ 18520 w 744537"/>
              <a:gd name="connsiteY160" fmla="*/ 159147 h 311611"/>
              <a:gd name="connsiteX161" fmla="*/ 20637 w 744537"/>
              <a:gd name="connsiteY161" fmla="*/ 165101 h 311611"/>
              <a:gd name="connsiteX162" fmla="*/ 14287 w 744537"/>
              <a:gd name="connsiteY162" fmla="*/ 161132 h 311611"/>
              <a:gd name="connsiteX163" fmla="*/ 16404 w 744537"/>
              <a:gd name="connsiteY163" fmla="*/ 158651 h 311611"/>
              <a:gd name="connsiteX164" fmla="*/ 228996 w 744537"/>
              <a:gd name="connsiteY164" fmla="*/ 155476 h 311611"/>
              <a:gd name="connsiteX165" fmla="*/ 230981 w 744537"/>
              <a:gd name="connsiteY165" fmla="*/ 155972 h 311611"/>
              <a:gd name="connsiteX166" fmla="*/ 230981 w 744537"/>
              <a:gd name="connsiteY166" fmla="*/ 161925 h 311611"/>
              <a:gd name="connsiteX167" fmla="*/ 227012 w 744537"/>
              <a:gd name="connsiteY167" fmla="*/ 157956 h 311611"/>
              <a:gd name="connsiteX168" fmla="*/ 228996 w 744537"/>
              <a:gd name="connsiteY168" fmla="*/ 155476 h 311611"/>
              <a:gd name="connsiteX169" fmla="*/ 457596 w 744537"/>
              <a:gd name="connsiteY169" fmla="*/ 147638 h 311611"/>
              <a:gd name="connsiteX170" fmla="*/ 463550 w 744537"/>
              <a:gd name="connsiteY170" fmla="*/ 149622 h 311611"/>
              <a:gd name="connsiteX171" fmla="*/ 459581 w 744537"/>
              <a:gd name="connsiteY171" fmla="*/ 151606 h 311611"/>
              <a:gd name="connsiteX172" fmla="*/ 457596 w 744537"/>
              <a:gd name="connsiteY172" fmla="*/ 147638 h 311611"/>
              <a:gd name="connsiteX173" fmla="*/ 467916 w 744537"/>
              <a:gd name="connsiteY173" fmla="*/ 147538 h 311611"/>
              <a:gd name="connsiteX174" fmla="*/ 469106 w 744537"/>
              <a:gd name="connsiteY174" fmla="*/ 148034 h 311611"/>
              <a:gd name="connsiteX175" fmla="*/ 471488 w 744537"/>
              <a:gd name="connsiteY175" fmla="*/ 152003 h 311611"/>
              <a:gd name="connsiteX176" fmla="*/ 469106 w 744537"/>
              <a:gd name="connsiteY176" fmla="*/ 153987 h 311611"/>
              <a:gd name="connsiteX177" fmla="*/ 466725 w 744537"/>
              <a:gd name="connsiteY177" fmla="*/ 150018 h 311611"/>
              <a:gd name="connsiteX178" fmla="*/ 467916 w 744537"/>
              <a:gd name="connsiteY178" fmla="*/ 147538 h 311611"/>
              <a:gd name="connsiteX179" fmla="*/ 484717 w 744537"/>
              <a:gd name="connsiteY179" fmla="*/ 143782 h 311611"/>
              <a:gd name="connsiteX180" fmla="*/ 486833 w 744537"/>
              <a:gd name="connsiteY180" fmla="*/ 149905 h 311611"/>
              <a:gd name="connsiteX181" fmla="*/ 484717 w 744537"/>
              <a:gd name="connsiteY181" fmla="*/ 151946 h 311611"/>
              <a:gd name="connsiteX182" fmla="*/ 482600 w 744537"/>
              <a:gd name="connsiteY182" fmla="*/ 145823 h 311611"/>
              <a:gd name="connsiteX183" fmla="*/ 484717 w 744537"/>
              <a:gd name="connsiteY183" fmla="*/ 143782 h 311611"/>
              <a:gd name="connsiteX184" fmla="*/ 421005 w 744537"/>
              <a:gd name="connsiteY184" fmla="*/ 143510 h 311611"/>
              <a:gd name="connsiteX185" fmla="*/ 428625 w 744537"/>
              <a:gd name="connsiteY185" fmla="*/ 143510 h 311611"/>
              <a:gd name="connsiteX186" fmla="*/ 424815 w 744537"/>
              <a:gd name="connsiteY186" fmla="*/ 150177 h 311611"/>
              <a:gd name="connsiteX187" fmla="*/ 421005 w 744537"/>
              <a:gd name="connsiteY187" fmla="*/ 150177 h 311611"/>
              <a:gd name="connsiteX188" fmla="*/ 413385 w 744537"/>
              <a:gd name="connsiteY188" fmla="*/ 145733 h 311611"/>
              <a:gd name="connsiteX189" fmla="*/ 421005 w 744537"/>
              <a:gd name="connsiteY189" fmla="*/ 143510 h 311611"/>
              <a:gd name="connsiteX190" fmla="*/ 250031 w 744537"/>
              <a:gd name="connsiteY190" fmla="*/ 130175 h 311611"/>
              <a:gd name="connsiteX191" fmla="*/ 250031 w 744537"/>
              <a:gd name="connsiteY191" fmla="*/ 131762 h 311611"/>
              <a:gd name="connsiteX192" fmla="*/ 246062 w 744537"/>
              <a:gd name="connsiteY192" fmla="*/ 131762 h 311611"/>
              <a:gd name="connsiteX193" fmla="*/ 250031 w 744537"/>
              <a:gd name="connsiteY193" fmla="*/ 130175 h 311611"/>
              <a:gd name="connsiteX194" fmla="*/ 100211 w 744537"/>
              <a:gd name="connsiteY194" fmla="*/ 128059 h 311611"/>
              <a:gd name="connsiteX195" fmla="*/ 103188 w 744537"/>
              <a:gd name="connsiteY195" fmla="*/ 129646 h 311611"/>
              <a:gd name="connsiteX196" fmla="*/ 99219 w 744537"/>
              <a:gd name="connsiteY196" fmla="*/ 135996 h 311611"/>
              <a:gd name="connsiteX197" fmla="*/ 95250 w 744537"/>
              <a:gd name="connsiteY197" fmla="*/ 133880 h 311611"/>
              <a:gd name="connsiteX198" fmla="*/ 97234 w 744537"/>
              <a:gd name="connsiteY198" fmla="*/ 129646 h 311611"/>
              <a:gd name="connsiteX199" fmla="*/ 100211 w 744537"/>
              <a:gd name="connsiteY199" fmla="*/ 128059 h 311611"/>
              <a:gd name="connsiteX200" fmla="*/ 146446 w 744537"/>
              <a:gd name="connsiteY200" fmla="*/ 111390 h 311611"/>
              <a:gd name="connsiteX201" fmla="*/ 148431 w 744537"/>
              <a:gd name="connsiteY201" fmla="*/ 111655 h 311611"/>
              <a:gd name="connsiteX202" fmla="*/ 150415 w 744537"/>
              <a:gd name="connsiteY202" fmla="*/ 118005 h 311611"/>
              <a:gd name="connsiteX203" fmla="*/ 144462 w 744537"/>
              <a:gd name="connsiteY203" fmla="*/ 115888 h 311611"/>
              <a:gd name="connsiteX204" fmla="*/ 146446 w 744537"/>
              <a:gd name="connsiteY204" fmla="*/ 111390 h 311611"/>
              <a:gd name="connsiteX205" fmla="*/ 135582 w 744537"/>
              <a:gd name="connsiteY205" fmla="*/ 97195 h 311611"/>
              <a:gd name="connsiteX206" fmla="*/ 137319 w 744537"/>
              <a:gd name="connsiteY206" fmla="*/ 97472 h 311611"/>
              <a:gd name="connsiteX207" fmla="*/ 141288 w 744537"/>
              <a:gd name="connsiteY207" fmla="*/ 99695 h 311611"/>
              <a:gd name="connsiteX208" fmla="*/ 135334 w 744537"/>
              <a:gd name="connsiteY208" fmla="*/ 101917 h 311611"/>
              <a:gd name="connsiteX209" fmla="*/ 135582 w 744537"/>
              <a:gd name="connsiteY209" fmla="*/ 97195 h 311611"/>
              <a:gd name="connsiteX210" fmla="*/ 270933 w 744537"/>
              <a:gd name="connsiteY210" fmla="*/ 0 h 311611"/>
              <a:gd name="connsiteX211" fmla="*/ 273050 w 744537"/>
              <a:gd name="connsiteY211" fmla="*/ 4233 h 311611"/>
              <a:gd name="connsiteX212" fmla="*/ 268816 w 744537"/>
              <a:gd name="connsiteY212" fmla="*/ 2117 h 311611"/>
              <a:gd name="connsiteX213" fmla="*/ 270933 w 744537"/>
              <a:gd name="connsiteY213" fmla="*/ 0 h 31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744537" h="311611">
                <a:moveTo>
                  <a:pt x="540657" y="303477"/>
                </a:moveTo>
                <a:cubicBezTo>
                  <a:pt x="546781" y="301625"/>
                  <a:pt x="546781" y="305329"/>
                  <a:pt x="546781" y="305329"/>
                </a:cubicBezTo>
                <a:cubicBezTo>
                  <a:pt x="546781" y="305329"/>
                  <a:pt x="548822" y="305329"/>
                  <a:pt x="548822" y="307181"/>
                </a:cubicBezTo>
                <a:cubicBezTo>
                  <a:pt x="550863" y="309033"/>
                  <a:pt x="548822" y="310885"/>
                  <a:pt x="546781" y="310885"/>
                </a:cubicBezTo>
                <a:cubicBezTo>
                  <a:pt x="542698" y="312737"/>
                  <a:pt x="540657" y="310885"/>
                  <a:pt x="538616" y="307181"/>
                </a:cubicBezTo>
                <a:cubicBezTo>
                  <a:pt x="536575" y="305329"/>
                  <a:pt x="540657" y="303477"/>
                  <a:pt x="540657" y="303477"/>
                </a:cubicBezTo>
                <a:close/>
                <a:moveTo>
                  <a:pt x="526653" y="247878"/>
                </a:moveTo>
                <a:cubicBezTo>
                  <a:pt x="528637" y="247878"/>
                  <a:pt x="526653" y="249692"/>
                  <a:pt x="526653" y="251506"/>
                </a:cubicBezTo>
                <a:cubicBezTo>
                  <a:pt x="524668" y="251506"/>
                  <a:pt x="524668" y="251506"/>
                  <a:pt x="526653" y="253320"/>
                </a:cubicBezTo>
                <a:cubicBezTo>
                  <a:pt x="526653" y="256949"/>
                  <a:pt x="526653" y="258763"/>
                  <a:pt x="520700" y="258763"/>
                </a:cubicBezTo>
                <a:cubicBezTo>
                  <a:pt x="514746" y="258763"/>
                  <a:pt x="514746" y="256949"/>
                  <a:pt x="514746" y="251506"/>
                </a:cubicBezTo>
                <a:cubicBezTo>
                  <a:pt x="512762" y="246063"/>
                  <a:pt x="518715" y="249692"/>
                  <a:pt x="518715" y="249692"/>
                </a:cubicBezTo>
                <a:cubicBezTo>
                  <a:pt x="520700" y="251506"/>
                  <a:pt x="522684" y="249692"/>
                  <a:pt x="522684" y="249692"/>
                </a:cubicBezTo>
                <a:cubicBezTo>
                  <a:pt x="522684" y="249692"/>
                  <a:pt x="522684" y="249692"/>
                  <a:pt x="526653" y="247878"/>
                </a:cubicBezTo>
                <a:close/>
                <a:moveTo>
                  <a:pt x="737870" y="241142"/>
                </a:moveTo>
                <a:cubicBezTo>
                  <a:pt x="738346" y="241142"/>
                  <a:pt x="738822" y="241618"/>
                  <a:pt x="738822" y="241618"/>
                </a:cubicBezTo>
                <a:cubicBezTo>
                  <a:pt x="738822" y="241618"/>
                  <a:pt x="742632" y="245428"/>
                  <a:pt x="744537" y="247333"/>
                </a:cubicBezTo>
                <a:cubicBezTo>
                  <a:pt x="744537" y="249238"/>
                  <a:pt x="740727" y="249238"/>
                  <a:pt x="738822" y="249238"/>
                </a:cubicBezTo>
                <a:cubicBezTo>
                  <a:pt x="735012" y="249238"/>
                  <a:pt x="735012" y="249238"/>
                  <a:pt x="736917" y="243523"/>
                </a:cubicBezTo>
                <a:cubicBezTo>
                  <a:pt x="736917" y="241618"/>
                  <a:pt x="737393" y="241142"/>
                  <a:pt x="737870" y="241142"/>
                </a:cubicBezTo>
                <a:close/>
                <a:moveTo>
                  <a:pt x="688748" y="235857"/>
                </a:moveTo>
                <a:cubicBezTo>
                  <a:pt x="696913" y="231775"/>
                  <a:pt x="694872" y="239939"/>
                  <a:pt x="694872" y="239939"/>
                </a:cubicBezTo>
                <a:cubicBezTo>
                  <a:pt x="694872" y="239939"/>
                  <a:pt x="694872" y="244021"/>
                  <a:pt x="692831" y="246062"/>
                </a:cubicBezTo>
                <a:cubicBezTo>
                  <a:pt x="688748" y="246062"/>
                  <a:pt x="684666" y="244021"/>
                  <a:pt x="684666" y="239939"/>
                </a:cubicBezTo>
                <a:cubicBezTo>
                  <a:pt x="682625" y="235857"/>
                  <a:pt x="688748" y="235857"/>
                  <a:pt x="688748" y="235857"/>
                </a:cubicBezTo>
                <a:close/>
                <a:moveTo>
                  <a:pt x="514350" y="234950"/>
                </a:moveTo>
                <a:cubicBezTo>
                  <a:pt x="514350" y="236934"/>
                  <a:pt x="514350" y="238919"/>
                  <a:pt x="514350" y="238919"/>
                </a:cubicBezTo>
                <a:cubicBezTo>
                  <a:pt x="514350" y="238919"/>
                  <a:pt x="514350" y="242887"/>
                  <a:pt x="511175" y="238919"/>
                </a:cubicBezTo>
                <a:cubicBezTo>
                  <a:pt x="511175" y="238919"/>
                  <a:pt x="512762" y="234950"/>
                  <a:pt x="514350" y="234950"/>
                </a:cubicBezTo>
                <a:close/>
                <a:moveTo>
                  <a:pt x="616479" y="230188"/>
                </a:moveTo>
                <a:cubicBezTo>
                  <a:pt x="627062" y="230188"/>
                  <a:pt x="622829" y="231776"/>
                  <a:pt x="622829" y="231776"/>
                </a:cubicBezTo>
                <a:cubicBezTo>
                  <a:pt x="622829" y="231776"/>
                  <a:pt x="620712" y="231776"/>
                  <a:pt x="616479" y="233363"/>
                </a:cubicBezTo>
                <a:cubicBezTo>
                  <a:pt x="614362" y="234950"/>
                  <a:pt x="614362" y="234950"/>
                  <a:pt x="614362" y="233363"/>
                </a:cubicBezTo>
                <a:cubicBezTo>
                  <a:pt x="614362" y="231776"/>
                  <a:pt x="616479" y="230188"/>
                  <a:pt x="616479" y="230188"/>
                </a:cubicBezTo>
                <a:close/>
                <a:moveTo>
                  <a:pt x="189706" y="223871"/>
                </a:moveTo>
                <a:cubicBezTo>
                  <a:pt x="191690" y="223639"/>
                  <a:pt x="193675" y="224102"/>
                  <a:pt x="193675" y="224102"/>
                </a:cubicBezTo>
                <a:cubicBezTo>
                  <a:pt x="193675" y="224102"/>
                  <a:pt x="193675" y="229658"/>
                  <a:pt x="191690" y="231510"/>
                </a:cubicBezTo>
                <a:cubicBezTo>
                  <a:pt x="191690" y="233362"/>
                  <a:pt x="185737" y="233362"/>
                  <a:pt x="185737" y="227806"/>
                </a:cubicBezTo>
                <a:cubicBezTo>
                  <a:pt x="185737" y="225028"/>
                  <a:pt x="187721" y="224102"/>
                  <a:pt x="189706" y="223871"/>
                </a:cubicBezTo>
                <a:close/>
                <a:moveTo>
                  <a:pt x="3969" y="215901"/>
                </a:moveTo>
                <a:cubicBezTo>
                  <a:pt x="7938" y="215901"/>
                  <a:pt x="3969" y="219606"/>
                  <a:pt x="5953" y="223310"/>
                </a:cubicBezTo>
                <a:cubicBezTo>
                  <a:pt x="7938" y="227014"/>
                  <a:pt x="3969" y="227014"/>
                  <a:pt x="1984" y="225162"/>
                </a:cubicBezTo>
                <a:cubicBezTo>
                  <a:pt x="0" y="223310"/>
                  <a:pt x="0" y="221458"/>
                  <a:pt x="0" y="217753"/>
                </a:cubicBezTo>
                <a:cubicBezTo>
                  <a:pt x="0" y="215901"/>
                  <a:pt x="3969" y="215901"/>
                  <a:pt x="3969" y="215901"/>
                </a:cubicBezTo>
                <a:close/>
                <a:moveTo>
                  <a:pt x="667703" y="212726"/>
                </a:moveTo>
                <a:cubicBezTo>
                  <a:pt x="668179" y="212726"/>
                  <a:pt x="668655" y="213255"/>
                  <a:pt x="668655" y="213255"/>
                </a:cubicBezTo>
                <a:cubicBezTo>
                  <a:pt x="668655" y="213255"/>
                  <a:pt x="670560" y="213255"/>
                  <a:pt x="672465" y="213255"/>
                </a:cubicBezTo>
                <a:cubicBezTo>
                  <a:pt x="674370" y="213255"/>
                  <a:pt x="676275" y="217488"/>
                  <a:pt x="676275" y="219605"/>
                </a:cubicBezTo>
                <a:cubicBezTo>
                  <a:pt x="676275" y="223838"/>
                  <a:pt x="676275" y="223838"/>
                  <a:pt x="672465" y="223838"/>
                </a:cubicBezTo>
                <a:cubicBezTo>
                  <a:pt x="668655" y="223838"/>
                  <a:pt x="666750" y="219605"/>
                  <a:pt x="666750" y="215372"/>
                </a:cubicBezTo>
                <a:cubicBezTo>
                  <a:pt x="666750" y="213255"/>
                  <a:pt x="667226" y="212726"/>
                  <a:pt x="667703" y="212726"/>
                </a:cubicBezTo>
                <a:close/>
                <a:moveTo>
                  <a:pt x="412750" y="211138"/>
                </a:moveTo>
                <a:cubicBezTo>
                  <a:pt x="412750" y="211138"/>
                  <a:pt x="412750" y="211138"/>
                  <a:pt x="412750" y="215372"/>
                </a:cubicBezTo>
                <a:cubicBezTo>
                  <a:pt x="412750" y="217488"/>
                  <a:pt x="411162" y="215372"/>
                  <a:pt x="409575" y="213255"/>
                </a:cubicBezTo>
                <a:cubicBezTo>
                  <a:pt x="409575" y="211138"/>
                  <a:pt x="412750" y="211138"/>
                  <a:pt x="412750" y="211138"/>
                </a:cubicBezTo>
                <a:close/>
                <a:moveTo>
                  <a:pt x="221615" y="209550"/>
                </a:moveTo>
                <a:cubicBezTo>
                  <a:pt x="221615" y="209550"/>
                  <a:pt x="225425" y="209550"/>
                  <a:pt x="225425" y="211534"/>
                </a:cubicBezTo>
                <a:cubicBezTo>
                  <a:pt x="223520" y="215503"/>
                  <a:pt x="219710" y="217487"/>
                  <a:pt x="217805" y="215503"/>
                </a:cubicBezTo>
                <a:cubicBezTo>
                  <a:pt x="215900" y="209550"/>
                  <a:pt x="221615" y="209550"/>
                  <a:pt x="221615" y="209550"/>
                </a:cubicBezTo>
                <a:close/>
                <a:moveTo>
                  <a:pt x="407193" y="207963"/>
                </a:moveTo>
                <a:cubicBezTo>
                  <a:pt x="407193" y="207963"/>
                  <a:pt x="409575" y="207963"/>
                  <a:pt x="409575" y="209551"/>
                </a:cubicBezTo>
                <a:cubicBezTo>
                  <a:pt x="409575" y="211138"/>
                  <a:pt x="404812" y="211138"/>
                  <a:pt x="404812" y="209551"/>
                </a:cubicBezTo>
                <a:cubicBezTo>
                  <a:pt x="404812" y="207963"/>
                  <a:pt x="407193" y="207963"/>
                  <a:pt x="407193" y="207963"/>
                </a:cubicBezTo>
                <a:close/>
                <a:moveTo>
                  <a:pt x="496358" y="203200"/>
                </a:moveTo>
                <a:cubicBezTo>
                  <a:pt x="496358" y="203200"/>
                  <a:pt x="498475" y="205581"/>
                  <a:pt x="498475" y="205581"/>
                </a:cubicBezTo>
                <a:cubicBezTo>
                  <a:pt x="498475" y="207962"/>
                  <a:pt x="496358" y="207962"/>
                  <a:pt x="496358" y="207962"/>
                </a:cubicBezTo>
                <a:cubicBezTo>
                  <a:pt x="494242" y="205581"/>
                  <a:pt x="494242" y="207962"/>
                  <a:pt x="492125" y="205581"/>
                </a:cubicBezTo>
                <a:cubicBezTo>
                  <a:pt x="492125" y="203200"/>
                  <a:pt x="496358" y="203200"/>
                  <a:pt x="496358" y="203200"/>
                </a:cubicBezTo>
                <a:close/>
                <a:moveTo>
                  <a:pt x="294957" y="203101"/>
                </a:moveTo>
                <a:cubicBezTo>
                  <a:pt x="295909" y="203101"/>
                  <a:pt x="296862" y="203598"/>
                  <a:pt x="296862" y="205582"/>
                </a:cubicBezTo>
                <a:cubicBezTo>
                  <a:pt x="296862" y="209550"/>
                  <a:pt x="291147" y="209550"/>
                  <a:pt x="289242" y="207566"/>
                </a:cubicBezTo>
                <a:cubicBezTo>
                  <a:pt x="287337" y="205582"/>
                  <a:pt x="293052" y="203597"/>
                  <a:pt x="293052" y="203597"/>
                </a:cubicBezTo>
                <a:cubicBezTo>
                  <a:pt x="293052" y="203597"/>
                  <a:pt x="294004" y="203101"/>
                  <a:pt x="294957" y="203101"/>
                </a:cubicBezTo>
                <a:close/>
                <a:moveTo>
                  <a:pt x="210096" y="203101"/>
                </a:moveTo>
                <a:cubicBezTo>
                  <a:pt x="211336" y="203101"/>
                  <a:pt x="212328" y="203597"/>
                  <a:pt x="212328" y="203597"/>
                </a:cubicBezTo>
                <a:cubicBezTo>
                  <a:pt x="214313" y="203597"/>
                  <a:pt x="214313" y="207566"/>
                  <a:pt x="212328" y="207566"/>
                </a:cubicBezTo>
                <a:cubicBezTo>
                  <a:pt x="210344" y="209550"/>
                  <a:pt x="206375" y="209550"/>
                  <a:pt x="206375" y="205582"/>
                </a:cubicBezTo>
                <a:cubicBezTo>
                  <a:pt x="207367" y="203598"/>
                  <a:pt x="208855" y="203101"/>
                  <a:pt x="210096" y="203101"/>
                </a:cubicBezTo>
                <a:close/>
                <a:moveTo>
                  <a:pt x="625928" y="202066"/>
                </a:moveTo>
                <a:cubicBezTo>
                  <a:pt x="627969" y="200025"/>
                  <a:pt x="632051" y="204107"/>
                  <a:pt x="632051" y="204107"/>
                </a:cubicBezTo>
                <a:cubicBezTo>
                  <a:pt x="632051" y="204107"/>
                  <a:pt x="632051" y="204107"/>
                  <a:pt x="636133" y="204107"/>
                </a:cubicBezTo>
                <a:cubicBezTo>
                  <a:pt x="636133" y="204107"/>
                  <a:pt x="644298" y="204107"/>
                  <a:pt x="646339" y="204107"/>
                </a:cubicBezTo>
                <a:cubicBezTo>
                  <a:pt x="648380" y="204107"/>
                  <a:pt x="650421" y="206148"/>
                  <a:pt x="650421" y="206148"/>
                </a:cubicBezTo>
                <a:cubicBezTo>
                  <a:pt x="652462" y="208189"/>
                  <a:pt x="650421" y="208189"/>
                  <a:pt x="650421" y="210230"/>
                </a:cubicBezTo>
                <a:cubicBezTo>
                  <a:pt x="648380" y="214312"/>
                  <a:pt x="636133" y="214312"/>
                  <a:pt x="634092" y="214312"/>
                </a:cubicBezTo>
                <a:cubicBezTo>
                  <a:pt x="632051" y="214312"/>
                  <a:pt x="625928" y="214312"/>
                  <a:pt x="623887" y="210230"/>
                </a:cubicBezTo>
                <a:cubicBezTo>
                  <a:pt x="623887" y="206148"/>
                  <a:pt x="623887" y="206148"/>
                  <a:pt x="625928" y="202066"/>
                </a:cubicBezTo>
                <a:close/>
                <a:moveTo>
                  <a:pt x="8572" y="200026"/>
                </a:moveTo>
                <a:cubicBezTo>
                  <a:pt x="8572" y="200026"/>
                  <a:pt x="14287" y="200026"/>
                  <a:pt x="12382" y="203995"/>
                </a:cubicBezTo>
                <a:cubicBezTo>
                  <a:pt x="12382" y="207964"/>
                  <a:pt x="8572" y="207964"/>
                  <a:pt x="6667" y="205980"/>
                </a:cubicBezTo>
                <a:cubicBezTo>
                  <a:pt x="4762" y="203995"/>
                  <a:pt x="6667" y="203995"/>
                  <a:pt x="6667" y="203995"/>
                </a:cubicBezTo>
                <a:cubicBezTo>
                  <a:pt x="6667" y="203995"/>
                  <a:pt x="6667" y="203995"/>
                  <a:pt x="8572" y="200026"/>
                </a:cubicBezTo>
                <a:close/>
                <a:moveTo>
                  <a:pt x="267494" y="198438"/>
                </a:moveTo>
                <a:cubicBezTo>
                  <a:pt x="267494" y="198438"/>
                  <a:pt x="271463" y="198438"/>
                  <a:pt x="271463" y="202407"/>
                </a:cubicBezTo>
                <a:cubicBezTo>
                  <a:pt x="271463" y="204391"/>
                  <a:pt x="267494" y="206375"/>
                  <a:pt x="265509" y="202407"/>
                </a:cubicBezTo>
                <a:cubicBezTo>
                  <a:pt x="263525" y="198438"/>
                  <a:pt x="267494" y="198438"/>
                  <a:pt x="267494" y="198438"/>
                </a:cubicBezTo>
                <a:close/>
                <a:moveTo>
                  <a:pt x="408781" y="185738"/>
                </a:moveTo>
                <a:cubicBezTo>
                  <a:pt x="408781" y="185738"/>
                  <a:pt x="412750" y="185738"/>
                  <a:pt x="410765" y="187325"/>
                </a:cubicBezTo>
                <a:cubicBezTo>
                  <a:pt x="410765" y="188913"/>
                  <a:pt x="406796" y="188913"/>
                  <a:pt x="406796" y="187325"/>
                </a:cubicBezTo>
                <a:cubicBezTo>
                  <a:pt x="404812" y="185738"/>
                  <a:pt x="408781" y="185738"/>
                  <a:pt x="408781" y="185738"/>
                </a:cubicBezTo>
                <a:close/>
                <a:moveTo>
                  <a:pt x="468489" y="184150"/>
                </a:moveTo>
                <a:cubicBezTo>
                  <a:pt x="468489" y="184150"/>
                  <a:pt x="472369" y="188030"/>
                  <a:pt x="472369" y="189971"/>
                </a:cubicBezTo>
                <a:cubicBezTo>
                  <a:pt x="474310" y="189971"/>
                  <a:pt x="476250" y="193851"/>
                  <a:pt x="476250" y="195791"/>
                </a:cubicBezTo>
                <a:cubicBezTo>
                  <a:pt x="476250" y="195791"/>
                  <a:pt x="474310" y="197731"/>
                  <a:pt x="472369" y="199672"/>
                </a:cubicBezTo>
                <a:cubicBezTo>
                  <a:pt x="470429" y="201612"/>
                  <a:pt x="468489" y="199672"/>
                  <a:pt x="468489" y="197731"/>
                </a:cubicBezTo>
                <a:cubicBezTo>
                  <a:pt x="468489" y="195791"/>
                  <a:pt x="464608" y="193851"/>
                  <a:pt x="464608" y="193851"/>
                </a:cubicBezTo>
                <a:cubicBezTo>
                  <a:pt x="464608" y="193851"/>
                  <a:pt x="460727" y="193851"/>
                  <a:pt x="460727" y="191911"/>
                </a:cubicBezTo>
                <a:cubicBezTo>
                  <a:pt x="458787" y="189971"/>
                  <a:pt x="464608" y="188030"/>
                  <a:pt x="464608" y="188030"/>
                </a:cubicBezTo>
                <a:cubicBezTo>
                  <a:pt x="464608" y="188030"/>
                  <a:pt x="466548" y="188030"/>
                  <a:pt x="466548" y="186090"/>
                </a:cubicBezTo>
                <a:cubicBezTo>
                  <a:pt x="466548" y="184150"/>
                  <a:pt x="468489" y="184150"/>
                  <a:pt x="468489" y="184150"/>
                </a:cubicBezTo>
                <a:close/>
                <a:moveTo>
                  <a:pt x="14238" y="181769"/>
                </a:moveTo>
                <a:cubicBezTo>
                  <a:pt x="14982" y="182034"/>
                  <a:pt x="15478" y="183621"/>
                  <a:pt x="15478" y="185738"/>
                </a:cubicBezTo>
                <a:cubicBezTo>
                  <a:pt x="15478" y="189971"/>
                  <a:pt x="17463" y="189971"/>
                  <a:pt x="17463" y="194204"/>
                </a:cubicBezTo>
                <a:cubicBezTo>
                  <a:pt x="17463" y="196321"/>
                  <a:pt x="15478" y="198438"/>
                  <a:pt x="11509" y="194204"/>
                </a:cubicBezTo>
                <a:cubicBezTo>
                  <a:pt x="9525" y="189971"/>
                  <a:pt x="11509" y="185738"/>
                  <a:pt x="11509" y="185738"/>
                </a:cubicBezTo>
                <a:cubicBezTo>
                  <a:pt x="12502" y="182563"/>
                  <a:pt x="13494" y="181505"/>
                  <a:pt x="14238" y="181769"/>
                </a:cubicBezTo>
                <a:close/>
                <a:moveTo>
                  <a:pt x="560917" y="180975"/>
                </a:moveTo>
                <a:cubicBezTo>
                  <a:pt x="565150" y="180975"/>
                  <a:pt x="565150" y="185420"/>
                  <a:pt x="565150" y="187642"/>
                </a:cubicBezTo>
                <a:cubicBezTo>
                  <a:pt x="563033" y="189864"/>
                  <a:pt x="560917" y="192087"/>
                  <a:pt x="556683" y="189864"/>
                </a:cubicBezTo>
                <a:cubicBezTo>
                  <a:pt x="554567" y="189864"/>
                  <a:pt x="552450" y="187642"/>
                  <a:pt x="552450" y="187642"/>
                </a:cubicBezTo>
                <a:cubicBezTo>
                  <a:pt x="552450" y="187642"/>
                  <a:pt x="554567" y="183197"/>
                  <a:pt x="560917" y="180975"/>
                </a:cubicBezTo>
                <a:close/>
                <a:moveTo>
                  <a:pt x="255270" y="180975"/>
                </a:moveTo>
                <a:cubicBezTo>
                  <a:pt x="255270" y="180975"/>
                  <a:pt x="257175" y="180975"/>
                  <a:pt x="255270" y="185420"/>
                </a:cubicBezTo>
                <a:cubicBezTo>
                  <a:pt x="255270" y="189864"/>
                  <a:pt x="247650" y="192087"/>
                  <a:pt x="247650" y="185420"/>
                </a:cubicBezTo>
                <a:cubicBezTo>
                  <a:pt x="247650" y="180975"/>
                  <a:pt x="255270" y="180975"/>
                  <a:pt x="255270" y="180975"/>
                </a:cubicBezTo>
                <a:close/>
                <a:moveTo>
                  <a:pt x="410633" y="177800"/>
                </a:moveTo>
                <a:cubicBezTo>
                  <a:pt x="410633" y="177800"/>
                  <a:pt x="412750" y="177800"/>
                  <a:pt x="412750" y="179917"/>
                </a:cubicBezTo>
                <a:cubicBezTo>
                  <a:pt x="412750" y="182033"/>
                  <a:pt x="408516" y="184150"/>
                  <a:pt x="406400" y="182033"/>
                </a:cubicBezTo>
                <a:cubicBezTo>
                  <a:pt x="406400" y="179917"/>
                  <a:pt x="410633" y="177800"/>
                  <a:pt x="410633" y="177800"/>
                </a:cubicBezTo>
                <a:close/>
                <a:moveTo>
                  <a:pt x="5027" y="172880"/>
                </a:moveTo>
                <a:cubicBezTo>
                  <a:pt x="6879" y="172880"/>
                  <a:pt x="8466" y="173356"/>
                  <a:pt x="8466" y="173356"/>
                </a:cubicBezTo>
                <a:cubicBezTo>
                  <a:pt x="12700" y="173356"/>
                  <a:pt x="10583" y="179071"/>
                  <a:pt x="8466" y="180976"/>
                </a:cubicBezTo>
                <a:cubicBezTo>
                  <a:pt x="4233" y="180976"/>
                  <a:pt x="0" y="179071"/>
                  <a:pt x="0" y="175261"/>
                </a:cubicBezTo>
                <a:cubicBezTo>
                  <a:pt x="1058" y="173356"/>
                  <a:pt x="3175" y="172880"/>
                  <a:pt x="5027" y="172880"/>
                </a:cubicBezTo>
                <a:close/>
                <a:moveTo>
                  <a:pt x="16470" y="169764"/>
                </a:moveTo>
                <a:cubicBezTo>
                  <a:pt x="17065" y="169764"/>
                  <a:pt x="17462" y="170260"/>
                  <a:pt x="17462" y="170260"/>
                </a:cubicBezTo>
                <a:cubicBezTo>
                  <a:pt x="17462" y="170260"/>
                  <a:pt x="17462" y="170260"/>
                  <a:pt x="17462" y="172245"/>
                </a:cubicBezTo>
                <a:cubicBezTo>
                  <a:pt x="17462" y="176214"/>
                  <a:pt x="14287" y="174229"/>
                  <a:pt x="14287" y="172245"/>
                </a:cubicBezTo>
                <a:cubicBezTo>
                  <a:pt x="15081" y="170260"/>
                  <a:pt x="15874" y="169764"/>
                  <a:pt x="16470" y="169764"/>
                </a:cubicBezTo>
                <a:close/>
                <a:moveTo>
                  <a:pt x="530905" y="165100"/>
                </a:moveTo>
                <a:lnTo>
                  <a:pt x="534533" y="167217"/>
                </a:lnTo>
                <a:cubicBezTo>
                  <a:pt x="534533" y="167217"/>
                  <a:pt x="538162" y="167217"/>
                  <a:pt x="536348" y="169333"/>
                </a:cubicBezTo>
                <a:cubicBezTo>
                  <a:pt x="536348" y="171450"/>
                  <a:pt x="532719" y="173567"/>
                  <a:pt x="532719" y="173567"/>
                </a:cubicBezTo>
                <a:cubicBezTo>
                  <a:pt x="532719" y="173567"/>
                  <a:pt x="527276" y="177800"/>
                  <a:pt x="525462" y="171450"/>
                </a:cubicBezTo>
                <a:cubicBezTo>
                  <a:pt x="525462" y="165100"/>
                  <a:pt x="530905" y="165100"/>
                  <a:pt x="530905" y="165100"/>
                </a:cubicBezTo>
                <a:close/>
                <a:moveTo>
                  <a:pt x="72231" y="165100"/>
                </a:moveTo>
                <a:cubicBezTo>
                  <a:pt x="72231" y="165100"/>
                  <a:pt x="74215" y="165100"/>
                  <a:pt x="74215" y="169333"/>
                </a:cubicBezTo>
                <a:cubicBezTo>
                  <a:pt x="76200" y="171450"/>
                  <a:pt x="68262" y="171450"/>
                  <a:pt x="68262" y="169333"/>
                </a:cubicBezTo>
                <a:cubicBezTo>
                  <a:pt x="68262" y="167217"/>
                  <a:pt x="72231" y="165100"/>
                  <a:pt x="72231" y="165100"/>
                </a:cubicBezTo>
                <a:close/>
                <a:moveTo>
                  <a:pt x="10318" y="162719"/>
                </a:moveTo>
                <a:cubicBezTo>
                  <a:pt x="11641" y="163195"/>
                  <a:pt x="12700" y="164148"/>
                  <a:pt x="12700" y="164148"/>
                </a:cubicBezTo>
                <a:cubicBezTo>
                  <a:pt x="12700" y="164148"/>
                  <a:pt x="12700" y="166053"/>
                  <a:pt x="12700" y="167958"/>
                </a:cubicBezTo>
                <a:cubicBezTo>
                  <a:pt x="10583" y="169863"/>
                  <a:pt x="6350" y="169863"/>
                  <a:pt x="6350" y="164148"/>
                </a:cubicBezTo>
                <a:cubicBezTo>
                  <a:pt x="7408" y="162243"/>
                  <a:pt x="8996" y="162243"/>
                  <a:pt x="10318" y="162719"/>
                </a:cubicBezTo>
                <a:close/>
                <a:moveTo>
                  <a:pt x="140335" y="160338"/>
                </a:moveTo>
                <a:cubicBezTo>
                  <a:pt x="140335" y="160338"/>
                  <a:pt x="140335" y="160338"/>
                  <a:pt x="142240" y="160338"/>
                </a:cubicBezTo>
                <a:cubicBezTo>
                  <a:pt x="146050" y="162322"/>
                  <a:pt x="144145" y="164306"/>
                  <a:pt x="144145" y="166291"/>
                </a:cubicBezTo>
                <a:cubicBezTo>
                  <a:pt x="144145" y="168275"/>
                  <a:pt x="140335" y="166291"/>
                  <a:pt x="138430" y="164306"/>
                </a:cubicBezTo>
                <a:cubicBezTo>
                  <a:pt x="136525" y="164306"/>
                  <a:pt x="140335" y="160338"/>
                  <a:pt x="140335" y="160338"/>
                </a:cubicBezTo>
                <a:close/>
                <a:moveTo>
                  <a:pt x="16404" y="158651"/>
                </a:moveTo>
                <a:cubicBezTo>
                  <a:pt x="17462" y="158651"/>
                  <a:pt x="18520" y="159147"/>
                  <a:pt x="18520" y="159147"/>
                </a:cubicBezTo>
                <a:cubicBezTo>
                  <a:pt x="18520" y="159147"/>
                  <a:pt x="20637" y="163116"/>
                  <a:pt x="20637" y="165101"/>
                </a:cubicBezTo>
                <a:cubicBezTo>
                  <a:pt x="20637" y="165101"/>
                  <a:pt x="14287" y="163116"/>
                  <a:pt x="14287" y="161132"/>
                </a:cubicBezTo>
                <a:cubicBezTo>
                  <a:pt x="14287" y="159147"/>
                  <a:pt x="15345" y="158651"/>
                  <a:pt x="16404" y="158651"/>
                </a:cubicBezTo>
                <a:close/>
                <a:moveTo>
                  <a:pt x="228996" y="155476"/>
                </a:moveTo>
                <a:cubicBezTo>
                  <a:pt x="229989" y="155476"/>
                  <a:pt x="230981" y="155972"/>
                  <a:pt x="230981" y="155972"/>
                </a:cubicBezTo>
                <a:cubicBezTo>
                  <a:pt x="234950" y="155972"/>
                  <a:pt x="234950" y="161925"/>
                  <a:pt x="230981" y="161925"/>
                </a:cubicBezTo>
                <a:cubicBezTo>
                  <a:pt x="227012" y="161925"/>
                  <a:pt x="227012" y="161925"/>
                  <a:pt x="227012" y="157956"/>
                </a:cubicBezTo>
                <a:cubicBezTo>
                  <a:pt x="227012" y="155972"/>
                  <a:pt x="228004" y="155476"/>
                  <a:pt x="228996" y="155476"/>
                </a:cubicBezTo>
                <a:close/>
                <a:moveTo>
                  <a:pt x="457596" y="147638"/>
                </a:moveTo>
                <a:lnTo>
                  <a:pt x="463550" y="149622"/>
                </a:lnTo>
                <a:cubicBezTo>
                  <a:pt x="463550" y="149622"/>
                  <a:pt x="461566" y="155575"/>
                  <a:pt x="459581" y="151606"/>
                </a:cubicBezTo>
                <a:cubicBezTo>
                  <a:pt x="455612" y="149622"/>
                  <a:pt x="457596" y="147638"/>
                  <a:pt x="457596" y="147638"/>
                </a:cubicBezTo>
                <a:close/>
                <a:moveTo>
                  <a:pt x="467916" y="147538"/>
                </a:moveTo>
                <a:cubicBezTo>
                  <a:pt x="468511" y="147538"/>
                  <a:pt x="469106" y="148034"/>
                  <a:pt x="469106" y="148034"/>
                </a:cubicBezTo>
                <a:cubicBezTo>
                  <a:pt x="469106" y="146050"/>
                  <a:pt x="471488" y="150018"/>
                  <a:pt x="471488" y="152003"/>
                </a:cubicBezTo>
                <a:cubicBezTo>
                  <a:pt x="471488" y="152003"/>
                  <a:pt x="471488" y="153987"/>
                  <a:pt x="469106" y="153987"/>
                </a:cubicBezTo>
                <a:cubicBezTo>
                  <a:pt x="466725" y="153987"/>
                  <a:pt x="466725" y="153987"/>
                  <a:pt x="466725" y="150018"/>
                </a:cubicBezTo>
                <a:cubicBezTo>
                  <a:pt x="466725" y="148034"/>
                  <a:pt x="467320" y="147538"/>
                  <a:pt x="467916" y="147538"/>
                </a:cubicBezTo>
                <a:close/>
                <a:moveTo>
                  <a:pt x="484717" y="143782"/>
                </a:moveTo>
                <a:cubicBezTo>
                  <a:pt x="488950" y="139700"/>
                  <a:pt x="486833" y="147864"/>
                  <a:pt x="486833" y="149905"/>
                </a:cubicBezTo>
                <a:cubicBezTo>
                  <a:pt x="486833" y="151946"/>
                  <a:pt x="484717" y="153987"/>
                  <a:pt x="484717" y="151946"/>
                </a:cubicBezTo>
                <a:cubicBezTo>
                  <a:pt x="482600" y="151946"/>
                  <a:pt x="482600" y="147864"/>
                  <a:pt x="482600" y="145823"/>
                </a:cubicBezTo>
                <a:cubicBezTo>
                  <a:pt x="484717" y="143782"/>
                  <a:pt x="484717" y="143782"/>
                  <a:pt x="484717" y="143782"/>
                </a:cubicBezTo>
                <a:close/>
                <a:moveTo>
                  <a:pt x="421005" y="143510"/>
                </a:moveTo>
                <a:cubicBezTo>
                  <a:pt x="421005" y="143510"/>
                  <a:pt x="428625" y="141288"/>
                  <a:pt x="428625" y="143510"/>
                </a:cubicBezTo>
                <a:cubicBezTo>
                  <a:pt x="428625" y="147955"/>
                  <a:pt x="426720" y="147955"/>
                  <a:pt x="424815" y="150177"/>
                </a:cubicBezTo>
                <a:cubicBezTo>
                  <a:pt x="424815" y="152400"/>
                  <a:pt x="421005" y="150177"/>
                  <a:pt x="421005" y="150177"/>
                </a:cubicBezTo>
                <a:cubicBezTo>
                  <a:pt x="421005" y="150177"/>
                  <a:pt x="417195" y="147955"/>
                  <a:pt x="413385" y="145733"/>
                </a:cubicBezTo>
                <a:cubicBezTo>
                  <a:pt x="409575" y="143510"/>
                  <a:pt x="421005" y="143510"/>
                  <a:pt x="421005" y="143510"/>
                </a:cubicBezTo>
                <a:close/>
                <a:moveTo>
                  <a:pt x="250031" y="130175"/>
                </a:moveTo>
                <a:cubicBezTo>
                  <a:pt x="254000" y="130175"/>
                  <a:pt x="250031" y="131762"/>
                  <a:pt x="250031" y="131762"/>
                </a:cubicBezTo>
                <a:cubicBezTo>
                  <a:pt x="250031" y="131762"/>
                  <a:pt x="246062" y="133350"/>
                  <a:pt x="246062" y="131762"/>
                </a:cubicBezTo>
                <a:cubicBezTo>
                  <a:pt x="246062" y="130175"/>
                  <a:pt x="250031" y="130175"/>
                  <a:pt x="250031" y="130175"/>
                </a:cubicBezTo>
                <a:close/>
                <a:moveTo>
                  <a:pt x="100211" y="128059"/>
                </a:moveTo>
                <a:cubicBezTo>
                  <a:pt x="101699" y="127529"/>
                  <a:pt x="103188" y="127529"/>
                  <a:pt x="103188" y="129646"/>
                </a:cubicBezTo>
                <a:cubicBezTo>
                  <a:pt x="103188" y="131763"/>
                  <a:pt x="99219" y="135996"/>
                  <a:pt x="99219" y="135996"/>
                </a:cubicBezTo>
                <a:cubicBezTo>
                  <a:pt x="99219" y="135996"/>
                  <a:pt x="95250" y="138113"/>
                  <a:pt x="95250" y="133880"/>
                </a:cubicBezTo>
                <a:cubicBezTo>
                  <a:pt x="95250" y="129646"/>
                  <a:pt x="97234" y="129646"/>
                  <a:pt x="97234" y="129646"/>
                </a:cubicBezTo>
                <a:cubicBezTo>
                  <a:pt x="97234" y="129646"/>
                  <a:pt x="98723" y="128588"/>
                  <a:pt x="100211" y="128059"/>
                </a:cubicBezTo>
                <a:close/>
                <a:moveTo>
                  <a:pt x="146446" y="111390"/>
                </a:moveTo>
                <a:cubicBezTo>
                  <a:pt x="147439" y="111125"/>
                  <a:pt x="148431" y="111655"/>
                  <a:pt x="148431" y="111655"/>
                </a:cubicBezTo>
                <a:cubicBezTo>
                  <a:pt x="152400" y="113771"/>
                  <a:pt x="152400" y="113771"/>
                  <a:pt x="150415" y="118005"/>
                </a:cubicBezTo>
                <a:cubicBezTo>
                  <a:pt x="146446" y="122238"/>
                  <a:pt x="144462" y="120121"/>
                  <a:pt x="144462" y="115888"/>
                </a:cubicBezTo>
                <a:cubicBezTo>
                  <a:pt x="144462" y="112713"/>
                  <a:pt x="145454" y="111655"/>
                  <a:pt x="146446" y="111390"/>
                </a:cubicBezTo>
                <a:close/>
                <a:moveTo>
                  <a:pt x="135582" y="97195"/>
                </a:moveTo>
                <a:cubicBezTo>
                  <a:pt x="136327" y="96917"/>
                  <a:pt x="137319" y="97472"/>
                  <a:pt x="137319" y="97472"/>
                </a:cubicBezTo>
                <a:cubicBezTo>
                  <a:pt x="137319" y="97472"/>
                  <a:pt x="141288" y="97472"/>
                  <a:pt x="141288" y="99695"/>
                </a:cubicBezTo>
                <a:cubicBezTo>
                  <a:pt x="141288" y="104139"/>
                  <a:pt x="135334" y="106362"/>
                  <a:pt x="135334" y="101917"/>
                </a:cubicBezTo>
                <a:cubicBezTo>
                  <a:pt x="134342" y="98584"/>
                  <a:pt x="134838" y="97472"/>
                  <a:pt x="135582" y="97195"/>
                </a:cubicBezTo>
                <a:close/>
                <a:moveTo>
                  <a:pt x="270933" y="0"/>
                </a:moveTo>
                <a:cubicBezTo>
                  <a:pt x="270933" y="0"/>
                  <a:pt x="273050" y="0"/>
                  <a:pt x="273050" y="4233"/>
                </a:cubicBezTo>
                <a:cubicBezTo>
                  <a:pt x="273050" y="6350"/>
                  <a:pt x="268816" y="6350"/>
                  <a:pt x="268816" y="2117"/>
                </a:cubicBezTo>
                <a:cubicBezTo>
                  <a:pt x="266700" y="0"/>
                  <a:pt x="270933" y="0"/>
                  <a:pt x="27093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4" name="Kirbati"/>
          <p:cNvSpPr>
            <a:spLocks/>
          </p:cNvSpPr>
          <p:nvPr/>
        </p:nvSpPr>
        <p:spPr bwMode="auto">
          <a:xfrm>
            <a:off x="10504600" y="3678571"/>
            <a:ext cx="549053" cy="469950"/>
          </a:xfrm>
          <a:custGeom>
            <a:avLst/>
            <a:gdLst>
              <a:gd name="connsiteX0" fmla="*/ 466671 w 533693"/>
              <a:gd name="connsiteY0" fmla="*/ 454025 h 456803"/>
              <a:gd name="connsiteX1" fmla="*/ 471434 w 533693"/>
              <a:gd name="connsiteY1" fmla="*/ 455613 h 456803"/>
              <a:gd name="connsiteX2" fmla="*/ 466671 w 533693"/>
              <a:gd name="connsiteY2" fmla="*/ 455613 h 456803"/>
              <a:gd name="connsiteX3" fmla="*/ 466671 w 533693"/>
              <a:gd name="connsiteY3" fmla="*/ 454025 h 456803"/>
              <a:gd name="connsiteX4" fmla="*/ 435556 w 533693"/>
              <a:gd name="connsiteY4" fmla="*/ 429155 h 456803"/>
              <a:gd name="connsiteX5" fmla="*/ 439366 w 533693"/>
              <a:gd name="connsiteY5" fmla="*/ 431272 h 456803"/>
              <a:gd name="connsiteX6" fmla="*/ 433651 w 533693"/>
              <a:gd name="connsiteY6" fmla="*/ 431272 h 456803"/>
              <a:gd name="connsiteX7" fmla="*/ 435556 w 533693"/>
              <a:gd name="connsiteY7" fmla="*/ 429155 h 456803"/>
              <a:gd name="connsiteX8" fmla="*/ 445241 w 533693"/>
              <a:gd name="connsiteY8" fmla="*/ 415925 h 456803"/>
              <a:gd name="connsiteX9" fmla="*/ 445241 w 533693"/>
              <a:gd name="connsiteY9" fmla="*/ 417513 h 456803"/>
              <a:gd name="connsiteX10" fmla="*/ 442859 w 533693"/>
              <a:gd name="connsiteY10" fmla="*/ 417513 h 456803"/>
              <a:gd name="connsiteX11" fmla="*/ 445241 w 533693"/>
              <a:gd name="connsiteY11" fmla="*/ 415925 h 456803"/>
              <a:gd name="connsiteX12" fmla="*/ 461115 w 533693"/>
              <a:gd name="connsiteY12" fmla="*/ 414338 h 456803"/>
              <a:gd name="connsiteX13" fmla="*/ 465084 w 533693"/>
              <a:gd name="connsiteY13" fmla="*/ 415926 h 456803"/>
              <a:gd name="connsiteX14" fmla="*/ 461115 w 533693"/>
              <a:gd name="connsiteY14" fmla="*/ 417513 h 456803"/>
              <a:gd name="connsiteX15" fmla="*/ 461115 w 533693"/>
              <a:gd name="connsiteY15" fmla="*/ 414338 h 456803"/>
              <a:gd name="connsiteX16" fmla="*/ 411505 w 533693"/>
              <a:gd name="connsiteY16" fmla="*/ 412651 h 456803"/>
              <a:gd name="connsiteX17" fmla="*/ 413490 w 533693"/>
              <a:gd name="connsiteY17" fmla="*/ 413147 h 456803"/>
              <a:gd name="connsiteX18" fmla="*/ 413490 w 533693"/>
              <a:gd name="connsiteY18" fmla="*/ 419100 h 456803"/>
              <a:gd name="connsiteX19" fmla="*/ 409521 w 533693"/>
              <a:gd name="connsiteY19" fmla="*/ 415132 h 456803"/>
              <a:gd name="connsiteX20" fmla="*/ 411505 w 533693"/>
              <a:gd name="connsiteY20" fmla="*/ 412651 h 456803"/>
              <a:gd name="connsiteX21" fmla="*/ 280537 w 533693"/>
              <a:gd name="connsiteY21" fmla="*/ 403226 h 456803"/>
              <a:gd name="connsiteX22" fmla="*/ 281727 w 533693"/>
              <a:gd name="connsiteY22" fmla="*/ 403755 h 456803"/>
              <a:gd name="connsiteX23" fmla="*/ 284109 w 533693"/>
              <a:gd name="connsiteY23" fmla="*/ 405872 h 456803"/>
              <a:gd name="connsiteX24" fmla="*/ 279346 w 533693"/>
              <a:gd name="connsiteY24" fmla="*/ 405872 h 456803"/>
              <a:gd name="connsiteX25" fmla="*/ 280537 w 533693"/>
              <a:gd name="connsiteY25" fmla="*/ 403226 h 456803"/>
              <a:gd name="connsiteX26" fmla="*/ 398806 w 533693"/>
              <a:gd name="connsiteY26" fmla="*/ 396955 h 456803"/>
              <a:gd name="connsiteX27" fmla="*/ 400790 w 533693"/>
              <a:gd name="connsiteY27" fmla="*/ 397511 h 456803"/>
              <a:gd name="connsiteX28" fmla="*/ 402775 w 533693"/>
              <a:gd name="connsiteY28" fmla="*/ 404178 h 456803"/>
              <a:gd name="connsiteX29" fmla="*/ 396821 w 533693"/>
              <a:gd name="connsiteY29" fmla="*/ 399733 h 456803"/>
              <a:gd name="connsiteX30" fmla="*/ 398806 w 533693"/>
              <a:gd name="connsiteY30" fmla="*/ 396955 h 456803"/>
              <a:gd name="connsiteX31" fmla="*/ 205131 w 533693"/>
              <a:gd name="connsiteY31" fmla="*/ 390525 h 456803"/>
              <a:gd name="connsiteX32" fmla="*/ 211084 w 533693"/>
              <a:gd name="connsiteY32" fmla="*/ 392113 h 456803"/>
              <a:gd name="connsiteX33" fmla="*/ 203146 w 533693"/>
              <a:gd name="connsiteY33" fmla="*/ 393700 h 456803"/>
              <a:gd name="connsiteX34" fmla="*/ 205131 w 533693"/>
              <a:gd name="connsiteY34" fmla="*/ 390525 h 456803"/>
              <a:gd name="connsiteX35" fmla="*/ 530701 w 533693"/>
              <a:gd name="connsiteY35" fmla="*/ 377825 h 456803"/>
              <a:gd name="connsiteX36" fmla="*/ 532817 w 533693"/>
              <a:gd name="connsiteY36" fmla="*/ 382059 h 456803"/>
              <a:gd name="connsiteX37" fmla="*/ 528584 w 533693"/>
              <a:gd name="connsiteY37" fmla="*/ 379942 h 456803"/>
              <a:gd name="connsiteX38" fmla="*/ 530701 w 533693"/>
              <a:gd name="connsiteY38" fmla="*/ 377825 h 456803"/>
              <a:gd name="connsiteX39" fmla="*/ 385709 w 533693"/>
              <a:gd name="connsiteY39" fmla="*/ 371475 h 456803"/>
              <a:gd name="connsiteX40" fmla="*/ 385709 w 533693"/>
              <a:gd name="connsiteY40" fmla="*/ 373856 h 456803"/>
              <a:gd name="connsiteX41" fmla="*/ 380946 w 533693"/>
              <a:gd name="connsiteY41" fmla="*/ 373856 h 456803"/>
              <a:gd name="connsiteX42" fmla="*/ 385709 w 533693"/>
              <a:gd name="connsiteY42" fmla="*/ 371475 h 456803"/>
              <a:gd name="connsiteX43" fmla="*/ 390968 w 533693"/>
              <a:gd name="connsiteY43" fmla="*/ 366713 h 456803"/>
              <a:gd name="connsiteX44" fmla="*/ 391265 w 533693"/>
              <a:gd name="connsiteY44" fmla="*/ 369359 h 456803"/>
              <a:gd name="connsiteX45" fmla="*/ 388884 w 533693"/>
              <a:gd name="connsiteY45" fmla="*/ 367242 h 456803"/>
              <a:gd name="connsiteX46" fmla="*/ 390968 w 533693"/>
              <a:gd name="connsiteY46" fmla="*/ 366713 h 456803"/>
              <a:gd name="connsiteX47" fmla="*/ 355017 w 533693"/>
              <a:gd name="connsiteY47" fmla="*/ 357717 h 456803"/>
              <a:gd name="connsiteX48" fmla="*/ 364719 w 533693"/>
              <a:gd name="connsiteY48" fmla="*/ 361950 h 456803"/>
              <a:gd name="connsiteX49" fmla="*/ 358898 w 533693"/>
              <a:gd name="connsiteY49" fmla="*/ 368300 h 456803"/>
              <a:gd name="connsiteX50" fmla="*/ 349196 w 533693"/>
              <a:gd name="connsiteY50" fmla="*/ 361950 h 456803"/>
              <a:gd name="connsiteX51" fmla="*/ 355017 w 533693"/>
              <a:gd name="connsiteY51" fmla="*/ 357717 h 456803"/>
              <a:gd name="connsiteX52" fmla="*/ 377136 w 533693"/>
              <a:gd name="connsiteY52" fmla="*/ 343430 h 456803"/>
              <a:gd name="connsiteX53" fmla="*/ 379041 w 533693"/>
              <a:gd name="connsiteY53" fmla="*/ 349780 h 456803"/>
              <a:gd name="connsiteX54" fmla="*/ 373326 w 533693"/>
              <a:gd name="connsiteY54" fmla="*/ 347663 h 456803"/>
              <a:gd name="connsiteX55" fmla="*/ 377136 w 533693"/>
              <a:gd name="connsiteY55" fmla="*/ 343430 h 456803"/>
              <a:gd name="connsiteX56" fmla="*/ 375391 w 533693"/>
              <a:gd name="connsiteY56" fmla="*/ 330200 h 456803"/>
              <a:gd name="connsiteX57" fmla="*/ 377772 w 533693"/>
              <a:gd name="connsiteY57" fmla="*/ 332317 h 456803"/>
              <a:gd name="connsiteX58" fmla="*/ 373009 w 533693"/>
              <a:gd name="connsiteY58" fmla="*/ 334434 h 456803"/>
              <a:gd name="connsiteX59" fmla="*/ 375391 w 533693"/>
              <a:gd name="connsiteY59" fmla="*/ 330200 h 456803"/>
              <a:gd name="connsiteX60" fmla="*/ 378169 w 533693"/>
              <a:gd name="connsiteY60" fmla="*/ 314326 h 456803"/>
              <a:gd name="connsiteX61" fmla="*/ 384122 w 533693"/>
              <a:gd name="connsiteY61" fmla="*/ 314326 h 456803"/>
              <a:gd name="connsiteX62" fmla="*/ 380153 w 533693"/>
              <a:gd name="connsiteY62" fmla="*/ 317500 h 456803"/>
              <a:gd name="connsiteX63" fmla="*/ 378169 w 533693"/>
              <a:gd name="connsiteY63" fmla="*/ 314326 h 456803"/>
              <a:gd name="connsiteX64" fmla="*/ 367717 w 533693"/>
              <a:gd name="connsiteY64" fmla="*/ 314325 h 456803"/>
              <a:gd name="connsiteX65" fmla="*/ 376184 w 533693"/>
              <a:gd name="connsiteY65" fmla="*/ 319881 h 456803"/>
              <a:gd name="connsiteX66" fmla="*/ 374067 w 533693"/>
              <a:gd name="connsiteY66" fmla="*/ 323585 h 456803"/>
              <a:gd name="connsiteX67" fmla="*/ 367717 w 533693"/>
              <a:gd name="connsiteY67" fmla="*/ 319881 h 456803"/>
              <a:gd name="connsiteX68" fmla="*/ 367717 w 533693"/>
              <a:gd name="connsiteY68" fmla="*/ 314325 h 456803"/>
              <a:gd name="connsiteX69" fmla="*/ 364753 w 533693"/>
              <a:gd name="connsiteY69" fmla="*/ 276259 h 456803"/>
              <a:gd name="connsiteX70" fmla="*/ 367611 w 533693"/>
              <a:gd name="connsiteY70" fmla="*/ 276490 h 456803"/>
              <a:gd name="connsiteX71" fmla="*/ 371421 w 533693"/>
              <a:gd name="connsiteY71" fmla="*/ 278342 h 456803"/>
              <a:gd name="connsiteX72" fmla="*/ 367611 w 533693"/>
              <a:gd name="connsiteY72" fmla="*/ 283898 h 456803"/>
              <a:gd name="connsiteX73" fmla="*/ 361896 w 533693"/>
              <a:gd name="connsiteY73" fmla="*/ 280194 h 456803"/>
              <a:gd name="connsiteX74" fmla="*/ 364753 w 533693"/>
              <a:gd name="connsiteY74" fmla="*/ 276259 h 456803"/>
              <a:gd name="connsiteX75" fmla="*/ 257349 w 533693"/>
              <a:gd name="connsiteY75" fmla="*/ 225955 h 456803"/>
              <a:gd name="connsiteX76" fmla="*/ 261431 w 533693"/>
              <a:gd name="connsiteY76" fmla="*/ 234422 h 456803"/>
              <a:gd name="connsiteX77" fmla="*/ 253266 w 533693"/>
              <a:gd name="connsiteY77" fmla="*/ 230188 h 456803"/>
              <a:gd name="connsiteX78" fmla="*/ 257349 w 533693"/>
              <a:gd name="connsiteY78" fmla="*/ 225955 h 456803"/>
              <a:gd name="connsiteX79" fmla="*/ 241891 w 533693"/>
              <a:gd name="connsiteY79" fmla="*/ 203002 h 456803"/>
              <a:gd name="connsiteX80" fmla="*/ 243628 w 533693"/>
              <a:gd name="connsiteY80" fmla="*/ 203836 h 456803"/>
              <a:gd name="connsiteX81" fmla="*/ 247597 w 533693"/>
              <a:gd name="connsiteY81" fmla="*/ 208280 h 456803"/>
              <a:gd name="connsiteX82" fmla="*/ 245613 w 533693"/>
              <a:gd name="connsiteY82" fmla="*/ 210503 h 456803"/>
              <a:gd name="connsiteX83" fmla="*/ 241643 w 533693"/>
              <a:gd name="connsiteY83" fmla="*/ 203836 h 456803"/>
              <a:gd name="connsiteX84" fmla="*/ 241891 w 533693"/>
              <a:gd name="connsiteY84" fmla="*/ 203002 h 456803"/>
              <a:gd name="connsiteX85" fmla="*/ 341259 w 533693"/>
              <a:gd name="connsiteY85" fmla="*/ 182563 h 456803"/>
              <a:gd name="connsiteX86" fmla="*/ 343243 w 533693"/>
              <a:gd name="connsiteY86" fmla="*/ 186645 h 456803"/>
              <a:gd name="connsiteX87" fmla="*/ 347212 w 533693"/>
              <a:gd name="connsiteY87" fmla="*/ 188686 h 456803"/>
              <a:gd name="connsiteX88" fmla="*/ 347212 w 533693"/>
              <a:gd name="connsiteY88" fmla="*/ 194809 h 456803"/>
              <a:gd name="connsiteX89" fmla="*/ 339274 w 533693"/>
              <a:gd name="connsiteY89" fmla="*/ 192768 h 456803"/>
              <a:gd name="connsiteX90" fmla="*/ 333321 w 533693"/>
              <a:gd name="connsiteY90" fmla="*/ 190727 h 456803"/>
              <a:gd name="connsiteX91" fmla="*/ 337290 w 533693"/>
              <a:gd name="connsiteY91" fmla="*/ 186645 h 456803"/>
              <a:gd name="connsiteX92" fmla="*/ 341259 w 533693"/>
              <a:gd name="connsiteY92" fmla="*/ 182563 h 456803"/>
              <a:gd name="connsiteX93" fmla="*/ 274055 w 533693"/>
              <a:gd name="connsiteY93" fmla="*/ 178198 h 456803"/>
              <a:gd name="connsiteX94" fmla="*/ 281816 w 533693"/>
              <a:gd name="connsiteY94" fmla="*/ 182166 h 456803"/>
              <a:gd name="connsiteX95" fmla="*/ 285697 w 533693"/>
              <a:gd name="connsiteY95" fmla="*/ 186135 h 456803"/>
              <a:gd name="connsiteX96" fmla="*/ 283757 w 533693"/>
              <a:gd name="connsiteY96" fmla="*/ 192088 h 456803"/>
              <a:gd name="connsiteX97" fmla="*/ 281816 w 533693"/>
              <a:gd name="connsiteY97" fmla="*/ 198041 h 456803"/>
              <a:gd name="connsiteX98" fmla="*/ 275995 w 533693"/>
              <a:gd name="connsiteY98" fmla="*/ 198041 h 456803"/>
              <a:gd name="connsiteX99" fmla="*/ 272115 w 533693"/>
              <a:gd name="connsiteY99" fmla="*/ 194072 h 456803"/>
              <a:gd name="connsiteX100" fmla="*/ 272115 w 533693"/>
              <a:gd name="connsiteY100" fmla="*/ 190104 h 456803"/>
              <a:gd name="connsiteX101" fmla="*/ 272115 w 533693"/>
              <a:gd name="connsiteY101" fmla="*/ 186135 h 456803"/>
              <a:gd name="connsiteX102" fmla="*/ 274055 w 533693"/>
              <a:gd name="connsiteY102" fmla="*/ 178198 h 456803"/>
              <a:gd name="connsiteX103" fmla="*/ 329693 w 533693"/>
              <a:gd name="connsiteY103" fmla="*/ 149821 h 456803"/>
              <a:gd name="connsiteX104" fmla="*/ 333548 w 533693"/>
              <a:gd name="connsiteY104" fmla="*/ 149821 h 456803"/>
              <a:gd name="connsiteX105" fmla="*/ 339331 w 533693"/>
              <a:gd name="connsiteY105" fmla="*/ 152004 h 456803"/>
              <a:gd name="connsiteX106" fmla="*/ 339331 w 533693"/>
              <a:gd name="connsiteY106" fmla="*/ 158552 h 456803"/>
              <a:gd name="connsiteX107" fmla="*/ 341259 w 533693"/>
              <a:gd name="connsiteY107" fmla="*/ 162917 h 456803"/>
              <a:gd name="connsiteX108" fmla="*/ 335476 w 533693"/>
              <a:gd name="connsiteY108" fmla="*/ 165100 h 456803"/>
              <a:gd name="connsiteX109" fmla="*/ 325837 w 533693"/>
              <a:gd name="connsiteY109" fmla="*/ 162917 h 456803"/>
              <a:gd name="connsiteX110" fmla="*/ 316199 w 533693"/>
              <a:gd name="connsiteY110" fmla="*/ 154186 h 456803"/>
              <a:gd name="connsiteX111" fmla="*/ 321982 w 533693"/>
              <a:gd name="connsiteY111" fmla="*/ 152004 h 456803"/>
              <a:gd name="connsiteX112" fmla="*/ 329693 w 533693"/>
              <a:gd name="connsiteY112" fmla="*/ 149821 h 456803"/>
              <a:gd name="connsiteX113" fmla="*/ 251678 w 533693"/>
              <a:gd name="connsiteY113" fmla="*/ 139700 h 456803"/>
              <a:gd name="connsiteX114" fmla="*/ 257802 w 533693"/>
              <a:gd name="connsiteY114" fmla="*/ 139700 h 456803"/>
              <a:gd name="connsiteX115" fmla="*/ 259843 w 533693"/>
              <a:gd name="connsiteY115" fmla="*/ 148167 h 456803"/>
              <a:gd name="connsiteX116" fmla="*/ 251678 w 533693"/>
              <a:gd name="connsiteY116" fmla="*/ 152400 h 456803"/>
              <a:gd name="connsiteX117" fmla="*/ 249637 w 533693"/>
              <a:gd name="connsiteY117" fmla="*/ 143933 h 456803"/>
              <a:gd name="connsiteX118" fmla="*/ 251678 w 533693"/>
              <a:gd name="connsiteY118" fmla="*/ 139700 h 456803"/>
              <a:gd name="connsiteX119" fmla="*/ 234216 w 533693"/>
              <a:gd name="connsiteY119" fmla="*/ 121047 h 456803"/>
              <a:gd name="connsiteX120" fmla="*/ 242381 w 533693"/>
              <a:gd name="connsiteY120" fmla="*/ 125016 h 456803"/>
              <a:gd name="connsiteX121" fmla="*/ 242381 w 533693"/>
              <a:gd name="connsiteY121" fmla="*/ 136922 h 456803"/>
              <a:gd name="connsiteX122" fmla="*/ 238299 w 533693"/>
              <a:gd name="connsiteY122" fmla="*/ 138906 h 456803"/>
              <a:gd name="connsiteX123" fmla="*/ 236257 w 533693"/>
              <a:gd name="connsiteY123" fmla="*/ 130969 h 456803"/>
              <a:gd name="connsiteX124" fmla="*/ 230134 w 533693"/>
              <a:gd name="connsiteY124" fmla="*/ 125016 h 456803"/>
              <a:gd name="connsiteX125" fmla="*/ 234216 w 533693"/>
              <a:gd name="connsiteY125" fmla="*/ 121047 h 456803"/>
              <a:gd name="connsiteX126" fmla="*/ 22569 w 533693"/>
              <a:gd name="connsiteY126" fmla="*/ 112713 h 456803"/>
              <a:gd name="connsiteX127" fmla="*/ 28522 w 533693"/>
              <a:gd name="connsiteY127" fmla="*/ 116523 h 456803"/>
              <a:gd name="connsiteX128" fmla="*/ 26537 w 533693"/>
              <a:gd name="connsiteY128" fmla="*/ 122238 h 456803"/>
              <a:gd name="connsiteX129" fmla="*/ 24553 w 533693"/>
              <a:gd name="connsiteY129" fmla="*/ 118428 h 456803"/>
              <a:gd name="connsiteX130" fmla="*/ 22569 w 533693"/>
              <a:gd name="connsiteY130" fmla="*/ 116523 h 456803"/>
              <a:gd name="connsiteX131" fmla="*/ 22569 w 533693"/>
              <a:gd name="connsiteY131" fmla="*/ 112713 h 456803"/>
              <a:gd name="connsiteX132" fmla="*/ 305804 w 533693"/>
              <a:gd name="connsiteY132" fmla="*/ 96838 h 456803"/>
              <a:gd name="connsiteX133" fmla="*/ 307921 w 533693"/>
              <a:gd name="connsiteY133" fmla="*/ 107043 h 456803"/>
              <a:gd name="connsiteX134" fmla="*/ 303688 w 533693"/>
              <a:gd name="connsiteY134" fmla="*/ 105002 h 456803"/>
              <a:gd name="connsiteX135" fmla="*/ 301571 w 533693"/>
              <a:gd name="connsiteY135" fmla="*/ 100920 h 456803"/>
              <a:gd name="connsiteX136" fmla="*/ 305804 w 533693"/>
              <a:gd name="connsiteY136" fmla="*/ 96838 h 456803"/>
              <a:gd name="connsiteX137" fmla="*/ 102770 w 533693"/>
              <a:gd name="connsiteY137" fmla="*/ 95201 h 456803"/>
              <a:gd name="connsiteX138" fmla="*/ 103927 w 533693"/>
              <a:gd name="connsiteY138" fmla="*/ 98425 h 456803"/>
              <a:gd name="connsiteX139" fmla="*/ 107632 w 533693"/>
              <a:gd name="connsiteY139" fmla="*/ 102394 h 456803"/>
              <a:gd name="connsiteX140" fmla="*/ 102075 w 533693"/>
              <a:gd name="connsiteY140" fmla="*/ 106363 h 456803"/>
              <a:gd name="connsiteX141" fmla="*/ 100223 w 533693"/>
              <a:gd name="connsiteY141" fmla="*/ 96441 h 456803"/>
              <a:gd name="connsiteX142" fmla="*/ 102770 w 533693"/>
              <a:gd name="connsiteY142" fmla="*/ 95201 h 456803"/>
              <a:gd name="connsiteX143" fmla="*/ 167428 w 533693"/>
              <a:gd name="connsiteY143" fmla="*/ 84138 h 456803"/>
              <a:gd name="connsiteX144" fmla="*/ 177350 w 533693"/>
              <a:gd name="connsiteY144" fmla="*/ 96520 h 456803"/>
              <a:gd name="connsiteX145" fmla="*/ 175365 w 533693"/>
              <a:gd name="connsiteY145" fmla="*/ 102711 h 456803"/>
              <a:gd name="connsiteX146" fmla="*/ 169412 w 533693"/>
              <a:gd name="connsiteY146" fmla="*/ 100647 h 456803"/>
              <a:gd name="connsiteX147" fmla="*/ 165443 w 533693"/>
              <a:gd name="connsiteY147" fmla="*/ 98584 h 456803"/>
              <a:gd name="connsiteX148" fmla="*/ 173381 w 533693"/>
              <a:gd name="connsiteY148" fmla="*/ 96520 h 456803"/>
              <a:gd name="connsiteX149" fmla="*/ 169412 w 533693"/>
              <a:gd name="connsiteY149" fmla="*/ 88265 h 456803"/>
              <a:gd name="connsiteX150" fmla="*/ 167428 w 533693"/>
              <a:gd name="connsiteY150" fmla="*/ 88265 h 456803"/>
              <a:gd name="connsiteX151" fmla="*/ 167428 w 533693"/>
              <a:gd name="connsiteY151" fmla="*/ 84138 h 456803"/>
              <a:gd name="connsiteX152" fmla="*/ 211480 w 533693"/>
              <a:gd name="connsiteY152" fmla="*/ 79852 h 456803"/>
              <a:gd name="connsiteX153" fmla="*/ 215449 w 533693"/>
              <a:gd name="connsiteY153" fmla="*/ 81915 h 456803"/>
              <a:gd name="connsiteX154" fmla="*/ 221402 w 533693"/>
              <a:gd name="connsiteY154" fmla="*/ 83979 h 456803"/>
              <a:gd name="connsiteX155" fmla="*/ 225371 w 533693"/>
              <a:gd name="connsiteY155" fmla="*/ 90170 h 456803"/>
              <a:gd name="connsiteX156" fmla="*/ 223387 w 533693"/>
              <a:gd name="connsiteY156" fmla="*/ 96361 h 456803"/>
              <a:gd name="connsiteX157" fmla="*/ 213465 w 533693"/>
              <a:gd name="connsiteY157" fmla="*/ 92234 h 456803"/>
              <a:gd name="connsiteX158" fmla="*/ 211480 w 533693"/>
              <a:gd name="connsiteY158" fmla="*/ 79852 h 456803"/>
              <a:gd name="connsiteX159" fmla="*/ 4028 w 533693"/>
              <a:gd name="connsiteY159" fmla="*/ 76654 h 456803"/>
              <a:gd name="connsiteX160" fmla="*/ 12193 w 533693"/>
              <a:gd name="connsiteY160" fmla="*/ 80736 h 456803"/>
              <a:gd name="connsiteX161" fmla="*/ 12193 w 533693"/>
              <a:gd name="connsiteY161" fmla="*/ 86859 h 456803"/>
              <a:gd name="connsiteX162" fmla="*/ 1987 w 533693"/>
              <a:gd name="connsiteY162" fmla="*/ 80736 h 456803"/>
              <a:gd name="connsiteX163" fmla="*/ 4028 w 533693"/>
              <a:gd name="connsiteY163" fmla="*/ 76654 h 456803"/>
              <a:gd name="connsiteX164" fmla="*/ 287813 w 533693"/>
              <a:gd name="connsiteY164" fmla="*/ 76200 h 456803"/>
              <a:gd name="connsiteX165" fmla="*/ 293634 w 533693"/>
              <a:gd name="connsiteY165" fmla="*/ 78220 h 456803"/>
              <a:gd name="connsiteX166" fmla="*/ 287813 w 533693"/>
              <a:gd name="connsiteY166" fmla="*/ 86302 h 456803"/>
              <a:gd name="connsiteX167" fmla="*/ 283932 w 533693"/>
              <a:gd name="connsiteY167" fmla="*/ 90343 h 456803"/>
              <a:gd name="connsiteX168" fmla="*/ 280052 w 533693"/>
              <a:gd name="connsiteY168" fmla="*/ 96404 h 456803"/>
              <a:gd name="connsiteX169" fmla="*/ 280052 w 533693"/>
              <a:gd name="connsiteY169" fmla="*/ 94384 h 456803"/>
              <a:gd name="connsiteX170" fmla="*/ 278111 w 533693"/>
              <a:gd name="connsiteY170" fmla="*/ 86302 h 456803"/>
              <a:gd name="connsiteX171" fmla="*/ 276171 w 533693"/>
              <a:gd name="connsiteY171" fmla="*/ 82261 h 456803"/>
              <a:gd name="connsiteX172" fmla="*/ 278111 w 533693"/>
              <a:gd name="connsiteY172" fmla="*/ 80241 h 456803"/>
              <a:gd name="connsiteX173" fmla="*/ 287813 w 533693"/>
              <a:gd name="connsiteY173" fmla="*/ 76200 h 456803"/>
              <a:gd name="connsiteX174" fmla="*/ 255832 w 533693"/>
              <a:gd name="connsiteY174" fmla="*/ 59418 h 456803"/>
              <a:gd name="connsiteX175" fmla="*/ 257915 w 533693"/>
              <a:gd name="connsiteY175" fmla="*/ 60778 h 456803"/>
              <a:gd name="connsiteX176" fmla="*/ 261620 w 533693"/>
              <a:gd name="connsiteY176" fmla="*/ 64407 h 456803"/>
              <a:gd name="connsiteX177" fmla="*/ 257915 w 533693"/>
              <a:gd name="connsiteY177" fmla="*/ 68036 h 456803"/>
              <a:gd name="connsiteX178" fmla="*/ 252359 w 533693"/>
              <a:gd name="connsiteY178" fmla="*/ 60778 h 456803"/>
              <a:gd name="connsiteX179" fmla="*/ 255832 w 533693"/>
              <a:gd name="connsiteY179" fmla="*/ 59418 h 456803"/>
              <a:gd name="connsiteX180" fmla="*/ 171714 w 533693"/>
              <a:gd name="connsiteY180" fmla="*/ 56753 h 456803"/>
              <a:gd name="connsiteX181" fmla="*/ 173619 w 533693"/>
              <a:gd name="connsiteY181" fmla="*/ 58420 h 456803"/>
              <a:gd name="connsiteX182" fmla="*/ 175524 w 533693"/>
              <a:gd name="connsiteY182" fmla="*/ 62864 h 456803"/>
              <a:gd name="connsiteX183" fmla="*/ 169809 w 533693"/>
              <a:gd name="connsiteY183" fmla="*/ 58420 h 456803"/>
              <a:gd name="connsiteX184" fmla="*/ 171714 w 533693"/>
              <a:gd name="connsiteY184" fmla="*/ 56753 h 456803"/>
              <a:gd name="connsiteX185" fmla="*/ 280140 w 533693"/>
              <a:gd name="connsiteY185" fmla="*/ 50800 h 456803"/>
              <a:gd name="connsiteX186" fmla="*/ 284109 w 533693"/>
              <a:gd name="connsiteY186" fmla="*/ 54610 h 456803"/>
              <a:gd name="connsiteX187" fmla="*/ 282125 w 533693"/>
              <a:gd name="connsiteY187" fmla="*/ 56515 h 456803"/>
              <a:gd name="connsiteX188" fmla="*/ 280140 w 533693"/>
              <a:gd name="connsiteY188" fmla="*/ 58420 h 456803"/>
              <a:gd name="connsiteX189" fmla="*/ 276171 w 533693"/>
              <a:gd name="connsiteY189" fmla="*/ 54610 h 456803"/>
              <a:gd name="connsiteX190" fmla="*/ 280140 w 533693"/>
              <a:gd name="connsiteY190" fmla="*/ 50800 h 456803"/>
              <a:gd name="connsiteX191" fmla="*/ 131445 w 533693"/>
              <a:gd name="connsiteY191" fmla="*/ 46526 h 456803"/>
              <a:gd name="connsiteX192" fmla="*/ 133826 w 533693"/>
              <a:gd name="connsiteY192" fmla="*/ 48724 h 456803"/>
              <a:gd name="connsiteX193" fmla="*/ 135942 w 533693"/>
              <a:gd name="connsiteY193" fmla="*/ 64355 h 456803"/>
              <a:gd name="connsiteX194" fmla="*/ 127476 w 533693"/>
              <a:gd name="connsiteY194" fmla="*/ 64355 h 456803"/>
              <a:gd name="connsiteX195" fmla="*/ 127476 w 533693"/>
              <a:gd name="connsiteY195" fmla="*/ 48724 h 456803"/>
              <a:gd name="connsiteX196" fmla="*/ 131445 w 533693"/>
              <a:gd name="connsiteY196" fmla="*/ 46526 h 456803"/>
              <a:gd name="connsiteX197" fmla="*/ 6120 w 533693"/>
              <a:gd name="connsiteY197" fmla="*/ 38497 h 456803"/>
              <a:gd name="connsiteX198" fmla="*/ 13882 w 533693"/>
              <a:gd name="connsiteY198" fmla="*/ 38497 h 456803"/>
              <a:gd name="connsiteX199" fmla="*/ 13882 w 533693"/>
              <a:gd name="connsiteY199" fmla="*/ 44450 h 456803"/>
              <a:gd name="connsiteX200" fmla="*/ 2240 w 533693"/>
              <a:gd name="connsiteY200" fmla="*/ 42466 h 456803"/>
              <a:gd name="connsiteX201" fmla="*/ 2240 w 533693"/>
              <a:gd name="connsiteY201" fmla="*/ 40481 h 456803"/>
              <a:gd name="connsiteX202" fmla="*/ 6120 w 533693"/>
              <a:gd name="connsiteY202" fmla="*/ 38497 h 456803"/>
              <a:gd name="connsiteX203" fmla="*/ 268234 w 533693"/>
              <a:gd name="connsiteY203" fmla="*/ 25400 h 456803"/>
              <a:gd name="connsiteX204" fmla="*/ 274187 w 533693"/>
              <a:gd name="connsiteY204" fmla="*/ 25400 h 456803"/>
              <a:gd name="connsiteX205" fmla="*/ 272203 w 533693"/>
              <a:gd name="connsiteY205" fmla="*/ 26987 h 456803"/>
              <a:gd name="connsiteX206" fmla="*/ 268234 w 533693"/>
              <a:gd name="connsiteY206" fmla="*/ 25400 h 456803"/>
              <a:gd name="connsiteX207" fmla="*/ 77961 w 533693"/>
              <a:gd name="connsiteY207" fmla="*/ 20638 h 456803"/>
              <a:gd name="connsiteX208" fmla="*/ 80002 w 533693"/>
              <a:gd name="connsiteY208" fmla="*/ 24871 h 456803"/>
              <a:gd name="connsiteX209" fmla="*/ 77961 w 533693"/>
              <a:gd name="connsiteY209" fmla="*/ 31221 h 456803"/>
              <a:gd name="connsiteX210" fmla="*/ 71837 w 533693"/>
              <a:gd name="connsiteY210" fmla="*/ 24871 h 456803"/>
              <a:gd name="connsiteX211" fmla="*/ 77961 w 533693"/>
              <a:gd name="connsiteY211" fmla="*/ 20638 h 456803"/>
              <a:gd name="connsiteX212" fmla="*/ 195526 w 533693"/>
              <a:gd name="connsiteY212" fmla="*/ 19050 h 456803"/>
              <a:gd name="connsiteX213" fmla="*/ 199336 w 533693"/>
              <a:gd name="connsiteY213" fmla="*/ 19050 h 456803"/>
              <a:gd name="connsiteX214" fmla="*/ 203146 w 533693"/>
              <a:gd name="connsiteY214" fmla="*/ 24765 h 456803"/>
              <a:gd name="connsiteX215" fmla="*/ 197431 w 533693"/>
              <a:gd name="connsiteY215" fmla="*/ 26670 h 456803"/>
              <a:gd name="connsiteX216" fmla="*/ 189811 w 533693"/>
              <a:gd name="connsiteY216" fmla="*/ 26670 h 456803"/>
              <a:gd name="connsiteX217" fmla="*/ 184096 w 533693"/>
              <a:gd name="connsiteY217" fmla="*/ 20955 h 456803"/>
              <a:gd name="connsiteX218" fmla="*/ 195526 w 533693"/>
              <a:gd name="connsiteY218" fmla="*/ 19050 h 456803"/>
              <a:gd name="connsiteX219" fmla="*/ 155442 w 533693"/>
              <a:gd name="connsiteY219" fmla="*/ 12780 h 456803"/>
              <a:gd name="connsiteX220" fmla="*/ 159966 w 533693"/>
              <a:gd name="connsiteY220" fmla="*/ 16828 h 456803"/>
              <a:gd name="connsiteX221" fmla="*/ 152346 w 533693"/>
              <a:gd name="connsiteY221" fmla="*/ 13018 h 456803"/>
              <a:gd name="connsiteX222" fmla="*/ 155442 w 533693"/>
              <a:gd name="connsiteY222" fmla="*/ 12780 h 456803"/>
              <a:gd name="connsiteX223" fmla="*/ 121503 w 533693"/>
              <a:gd name="connsiteY223" fmla="*/ 0 h 456803"/>
              <a:gd name="connsiteX224" fmla="*/ 127627 w 533693"/>
              <a:gd name="connsiteY224" fmla="*/ 4365 h 456803"/>
              <a:gd name="connsiteX225" fmla="*/ 129668 w 533693"/>
              <a:gd name="connsiteY225" fmla="*/ 8731 h 456803"/>
              <a:gd name="connsiteX226" fmla="*/ 127627 w 533693"/>
              <a:gd name="connsiteY226" fmla="*/ 15279 h 456803"/>
              <a:gd name="connsiteX227" fmla="*/ 117421 w 533693"/>
              <a:gd name="connsiteY227" fmla="*/ 6548 h 456803"/>
              <a:gd name="connsiteX228" fmla="*/ 121503 w 533693"/>
              <a:gd name="connsiteY228" fmla="*/ 0 h 45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533693" h="456803">
                <a:moveTo>
                  <a:pt x="466671" y="454025"/>
                </a:moveTo>
                <a:cubicBezTo>
                  <a:pt x="471434" y="454025"/>
                  <a:pt x="471434" y="455613"/>
                  <a:pt x="471434" y="455613"/>
                </a:cubicBezTo>
                <a:cubicBezTo>
                  <a:pt x="469053" y="457200"/>
                  <a:pt x="466671" y="457200"/>
                  <a:pt x="466671" y="455613"/>
                </a:cubicBezTo>
                <a:cubicBezTo>
                  <a:pt x="466671" y="454025"/>
                  <a:pt x="466671" y="454025"/>
                  <a:pt x="466671" y="454025"/>
                </a:cubicBezTo>
                <a:close/>
                <a:moveTo>
                  <a:pt x="435556" y="429155"/>
                </a:moveTo>
                <a:cubicBezTo>
                  <a:pt x="441271" y="427038"/>
                  <a:pt x="439366" y="431272"/>
                  <a:pt x="439366" y="431272"/>
                </a:cubicBezTo>
                <a:cubicBezTo>
                  <a:pt x="439366" y="433388"/>
                  <a:pt x="431746" y="433388"/>
                  <a:pt x="433651" y="431272"/>
                </a:cubicBezTo>
                <a:cubicBezTo>
                  <a:pt x="433651" y="429155"/>
                  <a:pt x="435556" y="429155"/>
                  <a:pt x="435556" y="429155"/>
                </a:cubicBezTo>
                <a:close/>
                <a:moveTo>
                  <a:pt x="445241" y="415925"/>
                </a:moveTo>
                <a:cubicBezTo>
                  <a:pt x="447622" y="415925"/>
                  <a:pt x="447622" y="417513"/>
                  <a:pt x="445241" y="417513"/>
                </a:cubicBezTo>
                <a:cubicBezTo>
                  <a:pt x="445241" y="419100"/>
                  <a:pt x="442859" y="417513"/>
                  <a:pt x="442859" y="417513"/>
                </a:cubicBezTo>
                <a:cubicBezTo>
                  <a:pt x="442859" y="415925"/>
                  <a:pt x="445241" y="415925"/>
                  <a:pt x="445241" y="415925"/>
                </a:cubicBezTo>
                <a:close/>
                <a:moveTo>
                  <a:pt x="461115" y="414338"/>
                </a:moveTo>
                <a:cubicBezTo>
                  <a:pt x="463099" y="414338"/>
                  <a:pt x="465084" y="414338"/>
                  <a:pt x="465084" y="415926"/>
                </a:cubicBezTo>
                <a:cubicBezTo>
                  <a:pt x="465084" y="417513"/>
                  <a:pt x="463099" y="417513"/>
                  <a:pt x="461115" y="417513"/>
                </a:cubicBezTo>
                <a:cubicBezTo>
                  <a:pt x="457146" y="415926"/>
                  <a:pt x="461115" y="414338"/>
                  <a:pt x="461115" y="414338"/>
                </a:cubicBezTo>
                <a:close/>
                <a:moveTo>
                  <a:pt x="411505" y="412651"/>
                </a:moveTo>
                <a:cubicBezTo>
                  <a:pt x="412498" y="412651"/>
                  <a:pt x="413490" y="413147"/>
                  <a:pt x="413490" y="413147"/>
                </a:cubicBezTo>
                <a:cubicBezTo>
                  <a:pt x="417459" y="413147"/>
                  <a:pt x="415475" y="417116"/>
                  <a:pt x="413490" y="419100"/>
                </a:cubicBezTo>
                <a:cubicBezTo>
                  <a:pt x="411505" y="419100"/>
                  <a:pt x="409521" y="419100"/>
                  <a:pt x="409521" y="415132"/>
                </a:cubicBezTo>
                <a:cubicBezTo>
                  <a:pt x="409521" y="413147"/>
                  <a:pt x="410513" y="412651"/>
                  <a:pt x="411505" y="412651"/>
                </a:cubicBezTo>
                <a:close/>
                <a:moveTo>
                  <a:pt x="280537" y="403226"/>
                </a:moveTo>
                <a:cubicBezTo>
                  <a:pt x="281132" y="403226"/>
                  <a:pt x="281727" y="403755"/>
                  <a:pt x="281727" y="403755"/>
                </a:cubicBezTo>
                <a:cubicBezTo>
                  <a:pt x="281727" y="403755"/>
                  <a:pt x="284109" y="403755"/>
                  <a:pt x="284109" y="405872"/>
                </a:cubicBezTo>
                <a:cubicBezTo>
                  <a:pt x="284109" y="407988"/>
                  <a:pt x="279346" y="407988"/>
                  <a:pt x="279346" y="405872"/>
                </a:cubicBezTo>
                <a:cubicBezTo>
                  <a:pt x="279346" y="403755"/>
                  <a:pt x="279941" y="403226"/>
                  <a:pt x="280537" y="403226"/>
                </a:cubicBezTo>
                <a:close/>
                <a:moveTo>
                  <a:pt x="398806" y="396955"/>
                </a:moveTo>
                <a:cubicBezTo>
                  <a:pt x="399798" y="396955"/>
                  <a:pt x="400790" y="397511"/>
                  <a:pt x="400790" y="397511"/>
                </a:cubicBezTo>
                <a:cubicBezTo>
                  <a:pt x="404759" y="395288"/>
                  <a:pt x="404759" y="399733"/>
                  <a:pt x="402775" y="404178"/>
                </a:cubicBezTo>
                <a:cubicBezTo>
                  <a:pt x="400790" y="406400"/>
                  <a:pt x="396821" y="404178"/>
                  <a:pt x="396821" y="399733"/>
                </a:cubicBezTo>
                <a:cubicBezTo>
                  <a:pt x="396821" y="397511"/>
                  <a:pt x="397813" y="396955"/>
                  <a:pt x="398806" y="396955"/>
                </a:cubicBezTo>
                <a:close/>
                <a:moveTo>
                  <a:pt x="205131" y="390525"/>
                </a:moveTo>
                <a:cubicBezTo>
                  <a:pt x="205131" y="390525"/>
                  <a:pt x="211084" y="390525"/>
                  <a:pt x="211084" y="392113"/>
                </a:cubicBezTo>
                <a:cubicBezTo>
                  <a:pt x="211084" y="393700"/>
                  <a:pt x="205131" y="393700"/>
                  <a:pt x="203146" y="393700"/>
                </a:cubicBezTo>
                <a:cubicBezTo>
                  <a:pt x="203146" y="392113"/>
                  <a:pt x="205131" y="390525"/>
                  <a:pt x="205131" y="390525"/>
                </a:cubicBezTo>
                <a:close/>
                <a:moveTo>
                  <a:pt x="530701" y="377825"/>
                </a:moveTo>
                <a:cubicBezTo>
                  <a:pt x="532817" y="377825"/>
                  <a:pt x="534934" y="379942"/>
                  <a:pt x="532817" y="382059"/>
                </a:cubicBezTo>
                <a:cubicBezTo>
                  <a:pt x="528584" y="384175"/>
                  <a:pt x="528584" y="382059"/>
                  <a:pt x="528584" y="379942"/>
                </a:cubicBezTo>
                <a:cubicBezTo>
                  <a:pt x="528584" y="377825"/>
                  <a:pt x="530701" y="377825"/>
                  <a:pt x="530701" y="377825"/>
                </a:cubicBezTo>
                <a:close/>
                <a:moveTo>
                  <a:pt x="385709" y="371475"/>
                </a:moveTo>
                <a:cubicBezTo>
                  <a:pt x="385709" y="371475"/>
                  <a:pt x="385709" y="371475"/>
                  <a:pt x="385709" y="373856"/>
                </a:cubicBezTo>
                <a:cubicBezTo>
                  <a:pt x="385709" y="376237"/>
                  <a:pt x="380946" y="376237"/>
                  <a:pt x="380946" y="373856"/>
                </a:cubicBezTo>
                <a:cubicBezTo>
                  <a:pt x="380946" y="371475"/>
                  <a:pt x="385709" y="371475"/>
                  <a:pt x="385709" y="371475"/>
                </a:cubicBezTo>
                <a:close/>
                <a:moveTo>
                  <a:pt x="390968" y="366713"/>
                </a:moveTo>
                <a:cubicBezTo>
                  <a:pt x="391861" y="367242"/>
                  <a:pt x="392456" y="368300"/>
                  <a:pt x="391265" y="369359"/>
                </a:cubicBezTo>
                <a:cubicBezTo>
                  <a:pt x="388884" y="371475"/>
                  <a:pt x="388884" y="367242"/>
                  <a:pt x="388884" y="367242"/>
                </a:cubicBezTo>
                <a:cubicBezTo>
                  <a:pt x="388884" y="366184"/>
                  <a:pt x="390075" y="366184"/>
                  <a:pt x="390968" y="366713"/>
                </a:cubicBezTo>
                <a:close/>
                <a:moveTo>
                  <a:pt x="355017" y="357717"/>
                </a:moveTo>
                <a:cubicBezTo>
                  <a:pt x="360838" y="355600"/>
                  <a:pt x="364719" y="359834"/>
                  <a:pt x="364719" y="361950"/>
                </a:cubicBezTo>
                <a:cubicBezTo>
                  <a:pt x="364719" y="364067"/>
                  <a:pt x="366659" y="368300"/>
                  <a:pt x="358898" y="368300"/>
                </a:cubicBezTo>
                <a:cubicBezTo>
                  <a:pt x="351136" y="368300"/>
                  <a:pt x="351136" y="364067"/>
                  <a:pt x="349196" y="361950"/>
                </a:cubicBezTo>
                <a:cubicBezTo>
                  <a:pt x="349196" y="357717"/>
                  <a:pt x="355017" y="357717"/>
                  <a:pt x="355017" y="357717"/>
                </a:cubicBezTo>
                <a:close/>
                <a:moveTo>
                  <a:pt x="377136" y="343430"/>
                </a:moveTo>
                <a:cubicBezTo>
                  <a:pt x="380946" y="341313"/>
                  <a:pt x="380946" y="347663"/>
                  <a:pt x="379041" y="349780"/>
                </a:cubicBezTo>
                <a:cubicBezTo>
                  <a:pt x="377136" y="351897"/>
                  <a:pt x="373326" y="354013"/>
                  <a:pt x="373326" y="347663"/>
                </a:cubicBezTo>
                <a:cubicBezTo>
                  <a:pt x="371421" y="343430"/>
                  <a:pt x="377136" y="343430"/>
                  <a:pt x="377136" y="343430"/>
                </a:cubicBezTo>
                <a:close/>
                <a:moveTo>
                  <a:pt x="375391" y="330200"/>
                </a:moveTo>
                <a:cubicBezTo>
                  <a:pt x="375391" y="330200"/>
                  <a:pt x="377772" y="330200"/>
                  <a:pt x="377772" y="332317"/>
                </a:cubicBezTo>
                <a:cubicBezTo>
                  <a:pt x="377772" y="334434"/>
                  <a:pt x="373009" y="336550"/>
                  <a:pt x="373009" y="334434"/>
                </a:cubicBezTo>
                <a:cubicBezTo>
                  <a:pt x="373009" y="330200"/>
                  <a:pt x="375391" y="330200"/>
                  <a:pt x="375391" y="330200"/>
                </a:cubicBezTo>
                <a:close/>
                <a:moveTo>
                  <a:pt x="378169" y="314326"/>
                </a:moveTo>
                <a:cubicBezTo>
                  <a:pt x="382137" y="312738"/>
                  <a:pt x="384122" y="312738"/>
                  <a:pt x="384122" y="314326"/>
                </a:cubicBezTo>
                <a:cubicBezTo>
                  <a:pt x="384122" y="315913"/>
                  <a:pt x="384122" y="317500"/>
                  <a:pt x="380153" y="317500"/>
                </a:cubicBezTo>
                <a:cubicBezTo>
                  <a:pt x="380153" y="317500"/>
                  <a:pt x="376184" y="315913"/>
                  <a:pt x="378169" y="314326"/>
                </a:cubicBezTo>
                <a:close/>
                <a:moveTo>
                  <a:pt x="367717" y="314325"/>
                </a:moveTo>
                <a:cubicBezTo>
                  <a:pt x="371951" y="314325"/>
                  <a:pt x="376184" y="318029"/>
                  <a:pt x="376184" y="319881"/>
                </a:cubicBezTo>
                <a:cubicBezTo>
                  <a:pt x="376184" y="321733"/>
                  <a:pt x="374067" y="325437"/>
                  <a:pt x="374067" y="323585"/>
                </a:cubicBezTo>
                <a:cubicBezTo>
                  <a:pt x="371951" y="321733"/>
                  <a:pt x="367717" y="319881"/>
                  <a:pt x="367717" y="319881"/>
                </a:cubicBezTo>
                <a:cubicBezTo>
                  <a:pt x="367717" y="319881"/>
                  <a:pt x="363484" y="314325"/>
                  <a:pt x="367717" y="314325"/>
                </a:cubicBezTo>
                <a:close/>
                <a:moveTo>
                  <a:pt x="364753" y="276259"/>
                </a:moveTo>
                <a:cubicBezTo>
                  <a:pt x="366182" y="276027"/>
                  <a:pt x="367611" y="276490"/>
                  <a:pt x="367611" y="276490"/>
                </a:cubicBezTo>
                <a:cubicBezTo>
                  <a:pt x="367611" y="276490"/>
                  <a:pt x="371421" y="278342"/>
                  <a:pt x="371421" y="278342"/>
                </a:cubicBezTo>
                <a:cubicBezTo>
                  <a:pt x="371421" y="280194"/>
                  <a:pt x="369516" y="282046"/>
                  <a:pt x="367611" y="283898"/>
                </a:cubicBezTo>
                <a:cubicBezTo>
                  <a:pt x="363801" y="285750"/>
                  <a:pt x="361896" y="283898"/>
                  <a:pt x="361896" y="280194"/>
                </a:cubicBezTo>
                <a:cubicBezTo>
                  <a:pt x="361896" y="277416"/>
                  <a:pt x="363325" y="276490"/>
                  <a:pt x="364753" y="276259"/>
                </a:cubicBezTo>
                <a:close/>
                <a:moveTo>
                  <a:pt x="257349" y="225955"/>
                </a:moveTo>
                <a:cubicBezTo>
                  <a:pt x="263472" y="223838"/>
                  <a:pt x="263472" y="230188"/>
                  <a:pt x="261431" y="234422"/>
                </a:cubicBezTo>
                <a:cubicBezTo>
                  <a:pt x="261431" y="236538"/>
                  <a:pt x="257349" y="236538"/>
                  <a:pt x="253266" y="230188"/>
                </a:cubicBezTo>
                <a:cubicBezTo>
                  <a:pt x="249184" y="225955"/>
                  <a:pt x="257349" y="225955"/>
                  <a:pt x="257349" y="225955"/>
                </a:cubicBezTo>
                <a:close/>
                <a:moveTo>
                  <a:pt x="241891" y="203002"/>
                </a:moveTo>
                <a:cubicBezTo>
                  <a:pt x="242636" y="203280"/>
                  <a:pt x="243628" y="203836"/>
                  <a:pt x="243628" y="203836"/>
                </a:cubicBezTo>
                <a:cubicBezTo>
                  <a:pt x="245613" y="201613"/>
                  <a:pt x="247597" y="206058"/>
                  <a:pt x="247597" y="208280"/>
                </a:cubicBezTo>
                <a:cubicBezTo>
                  <a:pt x="247597" y="212725"/>
                  <a:pt x="245613" y="210503"/>
                  <a:pt x="245613" y="210503"/>
                </a:cubicBezTo>
                <a:cubicBezTo>
                  <a:pt x="245613" y="210503"/>
                  <a:pt x="241643" y="208280"/>
                  <a:pt x="241643" y="203836"/>
                </a:cubicBezTo>
                <a:cubicBezTo>
                  <a:pt x="240651" y="202725"/>
                  <a:pt x="241147" y="202725"/>
                  <a:pt x="241891" y="203002"/>
                </a:cubicBezTo>
                <a:close/>
                <a:moveTo>
                  <a:pt x="341259" y="182563"/>
                </a:moveTo>
                <a:cubicBezTo>
                  <a:pt x="343243" y="182563"/>
                  <a:pt x="343243" y="184604"/>
                  <a:pt x="343243" y="186645"/>
                </a:cubicBezTo>
                <a:cubicBezTo>
                  <a:pt x="343243" y="186645"/>
                  <a:pt x="347212" y="188686"/>
                  <a:pt x="347212" y="188686"/>
                </a:cubicBezTo>
                <a:cubicBezTo>
                  <a:pt x="347212" y="188686"/>
                  <a:pt x="349196" y="190727"/>
                  <a:pt x="347212" y="194809"/>
                </a:cubicBezTo>
                <a:cubicBezTo>
                  <a:pt x="345227" y="196850"/>
                  <a:pt x="341259" y="194809"/>
                  <a:pt x="339274" y="192768"/>
                </a:cubicBezTo>
                <a:cubicBezTo>
                  <a:pt x="337290" y="192768"/>
                  <a:pt x="333321" y="190727"/>
                  <a:pt x="333321" y="190727"/>
                </a:cubicBezTo>
                <a:cubicBezTo>
                  <a:pt x="333321" y="190727"/>
                  <a:pt x="333321" y="190727"/>
                  <a:pt x="337290" y="186645"/>
                </a:cubicBezTo>
                <a:cubicBezTo>
                  <a:pt x="337290" y="182563"/>
                  <a:pt x="339274" y="182563"/>
                  <a:pt x="341259" y="182563"/>
                </a:cubicBezTo>
                <a:close/>
                <a:moveTo>
                  <a:pt x="274055" y="178198"/>
                </a:moveTo>
                <a:cubicBezTo>
                  <a:pt x="277936" y="176213"/>
                  <a:pt x="279876" y="178198"/>
                  <a:pt x="281816" y="182166"/>
                </a:cubicBezTo>
                <a:cubicBezTo>
                  <a:pt x="283757" y="184151"/>
                  <a:pt x="285697" y="186135"/>
                  <a:pt x="285697" y="186135"/>
                </a:cubicBezTo>
                <a:cubicBezTo>
                  <a:pt x="285697" y="186135"/>
                  <a:pt x="285697" y="190104"/>
                  <a:pt x="283757" y="192088"/>
                </a:cubicBezTo>
                <a:cubicBezTo>
                  <a:pt x="283757" y="196057"/>
                  <a:pt x="281816" y="198041"/>
                  <a:pt x="281816" y="198041"/>
                </a:cubicBezTo>
                <a:cubicBezTo>
                  <a:pt x="281816" y="198041"/>
                  <a:pt x="279876" y="200025"/>
                  <a:pt x="275995" y="198041"/>
                </a:cubicBezTo>
                <a:cubicBezTo>
                  <a:pt x="274055" y="196057"/>
                  <a:pt x="272115" y="194072"/>
                  <a:pt x="272115" y="194072"/>
                </a:cubicBezTo>
                <a:cubicBezTo>
                  <a:pt x="272115" y="190104"/>
                  <a:pt x="272115" y="190104"/>
                  <a:pt x="272115" y="190104"/>
                </a:cubicBezTo>
                <a:cubicBezTo>
                  <a:pt x="272115" y="190104"/>
                  <a:pt x="272115" y="186135"/>
                  <a:pt x="272115" y="186135"/>
                </a:cubicBezTo>
                <a:cubicBezTo>
                  <a:pt x="272115" y="186135"/>
                  <a:pt x="268234" y="178198"/>
                  <a:pt x="274055" y="178198"/>
                </a:cubicBezTo>
                <a:close/>
                <a:moveTo>
                  <a:pt x="329693" y="149821"/>
                </a:moveTo>
                <a:cubicBezTo>
                  <a:pt x="329693" y="147638"/>
                  <a:pt x="333548" y="147638"/>
                  <a:pt x="333548" y="149821"/>
                </a:cubicBezTo>
                <a:cubicBezTo>
                  <a:pt x="335476" y="152004"/>
                  <a:pt x="337404" y="152004"/>
                  <a:pt x="339331" y="152004"/>
                </a:cubicBezTo>
                <a:cubicBezTo>
                  <a:pt x="341259" y="154186"/>
                  <a:pt x="339331" y="156369"/>
                  <a:pt x="339331" y="158552"/>
                </a:cubicBezTo>
                <a:cubicBezTo>
                  <a:pt x="339331" y="160735"/>
                  <a:pt x="341259" y="160735"/>
                  <a:pt x="341259" y="162917"/>
                </a:cubicBezTo>
                <a:cubicBezTo>
                  <a:pt x="341259" y="162917"/>
                  <a:pt x="339331" y="165100"/>
                  <a:pt x="335476" y="165100"/>
                </a:cubicBezTo>
                <a:cubicBezTo>
                  <a:pt x="333548" y="165100"/>
                  <a:pt x="329693" y="162917"/>
                  <a:pt x="325837" y="162917"/>
                </a:cubicBezTo>
                <a:cubicBezTo>
                  <a:pt x="321982" y="162917"/>
                  <a:pt x="318126" y="158552"/>
                  <a:pt x="316199" y="154186"/>
                </a:cubicBezTo>
                <a:cubicBezTo>
                  <a:pt x="314271" y="149821"/>
                  <a:pt x="321982" y="152004"/>
                  <a:pt x="321982" y="152004"/>
                </a:cubicBezTo>
                <a:cubicBezTo>
                  <a:pt x="321982" y="152004"/>
                  <a:pt x="327765" y="152004"/>
                  <a:pt x="329693" y="149821"/>
                </a:cubicBezTo>
                <a:close/>
                <a:moveTo>
                  <a:pt x="251678" y="139700"/>
                </a:moveTo>
                <a:cubicBezTo>
                  <a:pt x="251678" y="139700"/>
                  <a:pt x="255761" y="139700"/>
                  <a:pt x="257802" y="139700"/>
                </a:cubicBezTo>
                <a:cubicBezTo>
                  <a:pt x="259843" y="139700"/>
                  <a:pt x="261884" y="146050"/>
                  <a:pt x="259843" y="148167"/>
                </a:cubicBezTo>
                <a:cubicBezTo>
                  <a:pt x="257802" y="152400"/>
                  <a:pt x="253719" y="152400"/>
                  <a:pt x="251678" y="152400"/>
                </a:cubicBezTo>
                <a:cubicBezTo>
                  <a:pt x="247596" y="150283"/>
                  <a:pt x="247596" y="146050"/>
                  <a:pt x="249637" y="143933"/>
                </a:cubicBezTo>
                <a:cubicBezTo>
                  <a:pt x="251678" y="141817"/>
                  <a:pt x="251678" y="139700"/>
                  <a:pt x="251678" y="139700"/>
                </a:cubicBezTo>
                <a:close/>
                <a:moveTo>
                  <a:pt x="234216" y="121047"/>
                </a:moveTo>
                <a:cubicBezTo>
                  <a:pt x="236257" y="119063"/>
                  <a:pt x="240340" y="123032"/>
                  <a:pt x="242381" y="125016"/>
                </a:cubicBezTo>
                <a:cubicBezTo>
                  <a:pt x="242381" y="127000"/>
                  <a:pt x="244422" y="132953"/>
                  <a:pt x="242381" y="136922"/>
                </a:cubicBezTo>
                <a:cubicBezTo>
                  <a:pt x="242381" y="140891"/>
                  <a:pt x="240340" y="142875"/>
                  <a:pt x="238299" y="138906"/>
                </a:cubicBezTo>
                <a:cubicBezTo>
                  <a:pt x="234216" y="134938"/>
                  <a:pt x="236257" y="132953"/>
                  <a:pt x="236257" y="130969"/>
                </a:cubicBezTo>
                <a:cubicBezTo>
                  <a:pt x="234216" y="127000"/>
                  <a:pt x="232175" y="128985"/>
                  <a:pt x="230134" y="125016"/>
                </a:cubicBezTo>
                <a:cubicBezTo>
                  <a:pt x="230134" y="121047"/>
                  <a:pt x="234216" y="121047"/>
                  <a:pt x="234216" y="121047"/>
                </a:cubicBezTo>
                <a:close/>
                <a:moveTo>
                  <a:pt x="22569" y="112713"/>
                </a:moveTo>
                <a:cubicBezTo>
                  <a:pt x="26537" y="112713"/>
                  <a:pt x="26537" y="114618"/>
                  <a:pt x="28522" y="116523"/>
                </a:cubicBezTo>
                <a:cubicBezTo>
                  <a:pt x="28522" y="120333"/>
                  <a:pt x="26537" y="122238"/>
                  <a:pt x="26537" y="122238"/>
                </a:cubicBezTo>
                <a:cubicBezTo>
                  <a:pt x="24553" y="122238"/>
                  <a:pt x="22569" y="120333"/>
                  <a:pt x="24553" y="118428"/>
                </a:cubicBezTo>
                <a:cubicBezTo>
                  <a:pt x="24553" y="118428"/>
                  <a:pt x="22569" y="116523"/>
                  <a:pt x="22569" y="116523"/>
                </a:cubicBezTo>
                <a:cubicBezTo>
                  <a:pt x="22569" y="116523"/>
                  <a:pt x="20584" y="114618"/>
                  <a:pt x="22569" y="112713"/>
                </a:cubicBezTo>
                <a:close/>
                <a:moveTo>
                  <a:pt x="305804" y="96838"/>
                </a:moveTo>
                <a:cubicBezTo>
                  <a:pt x="314271" y="98879"/>
                  <a:pt x="310038" y="102961"/>
                  <a:pt x="307921" y="107043"/>
                </a:cubicBezTo>
                <a:cubicBezTo>
                  <a:pt x="305804" y="111125"/>
                  <a:pt x="303688" y="107043"/>
                  <a:pt x="303688" y="105002"/>
                </a:cubicBezTo>
                <a:cubicBezTo>
                  <a:pt x="301571" y="105002"/>
                  <a:pt x="301571" y="102961"/>
                  <a:pt x="301571" y="100920"/>
                </a:cubicBezTo>
                <a:cubicBezTo>
                  <a:pt x="301571" y="96838"/>
                  <a:pt x="305804" y="96838"/>
                  <a:pt x="305804" y="96838"/>
                </a:cubicBezTo>
                <a:close/>
                <a:moveTo>
                  <a:pt x="102770" y="95201"/>
                </a:moveTo>
                <a:cubicBezTo>
                  <a:pt x="103464" y="96441"/>
                  <a:pt x="103927" y="98425"/>
                  <a:pt x="103927" y="98425"/>
                </a:cubicBezTo>
                <a:cubicBezTo>
                  <a:pt x="105780" y="98425"/>
                  <a:pt x="103927" y="100410"/>
                  <a:pt x="107632" y="102394"/>
                </a:cubicBezTo>
                <a:cubicBezTo>
                  <a:pt x="109484" y="102394"/>
                  <a:pt x="105780" y="106363"/>
                  <a:pt x="102075" y="106363"/>
                </a:cubicBezTo>
                <a:cubicBezTo>
                  <a:pt x="98371" y="106363"/>
                  <a:pt x="98371" y="100410"/>
                  <a:pt x="100223" y="96441"/>
                </a:cubicBezTo>
                <a:cubicBezTo>
                  <a:pt x="101149" y="93464"/>
                  <a:pt x="102075" y="93960"/>
                  <a:pt x="102770" y="95201"/>
                </a:cubicBezTo>
                <a:close/>
                <a:moveTo>
                  <a:pt x="167428" y="84138"/>
                </a:moveTo>
                <a:cubicBezTo>
                  <a:pt x="173381" y="84138"/>
                  <a:pt x="179334" y="94456"/>
                  <a:pt x="177350" y="96520"/>
                </a:cubicBezTo>
                <a:cubicBezTo>
                  <a:pt x="177350" y="98584"/>
                  <a:pt x="177350" y="104775"/>
                  <a:pt x="175365" y="102711"/>
                </a:cubicBezTo>
                <a:cubicBezTo>
                  <a:pt x="173381" y="100647"/>
                  <a:pt x="169412" y="100647"/>
                  <a:pt x="169412" y="100647"/>
                </a:cubicBezTo>
                <a:cubicBezTo>
                  <a:pt x="169412" y="100647"/>
                  <a:pt x="163459" y="98584"/>
                  <a:pt x="165443" y="98584"/>
                </a:cubicBezTo>
                <a:cubicBezTo>
                  <a:pt x="169412" y="96520"/>
                  <a:pt x="173381" y="96520"/>
                  <a:pt x="173381" y="96520"/>
                </a:cubicBezTo>
                <a:cubicBezTo>
                  <a:pt x="173381" y="94456"/>
                  <a:pt x="169412" y="88265"/>
                  <a:pt x="169412" y="88265"/>
                </a:cubicBezTo>
                <a:lnTo>
                  <a:pt x="167428" y="88265"/>
                </a:lnTo>
                <a:cubicBezTo>
                  <a:pt x="167428" y="88265"/>
                  <a:pt x="163459" y="84138"/>
                  <a:pt x="167428" y="84138"/>
                </a:cubicBezTo>
                <a:close/>
                <a:moveTo>
                  <a:pt x="211480" y="79852"/>
                </a:moveTo>
                <a:cubicBezTo>
                  <a:pt x="213465" y="77788"/>
                  <a:pt x="215449" y="81915"/>
                  <a:pt x="215449" y="81915"/>
                </a:cubicBezTo>
                <a:cubicBezTo>
                  <a:pt x="215449" y="81915"/>
                  <a:pt x="219418" y="83979"/>
                  <a:pt x="221402" y="83979"/>
                </a:cubicBezTo>
                <a:cubicBezTo>
                  <a:pt x="221402" y="83979"/>
                  <a:pt x="223387" y="88106"/>
                  <a:pt x="225371" y="90170"/>
                </a:cubicBezTo>
                <a:cubicBezTo>
                  <a:pt x="225371" y="92234"/>
                  <a:pt x="223387" y="96361"/>
                  <a:pt x="223387" y="96361"/>
                </a:cubicBezTo>
                <a:cubicBezTo>
                  <a:pt x="221402" y="98425"/>
                  <a:pt x="215449" y="92234"/>
                  <a:pt x="213465" y="92234"/>
                </a:cubicBezTo>
                <a:cubicBezTo>
                  <a:pt x="213465" y="90170"/>
                  <a:pt x="209496" y="83979"/>
                  <a:pt x="211480" y="79852"/>
                </a:cubicBezTo>
                <a:close/>
                <a:moveTo>
                  <a:pt x="4028" y="76654"/>
                </a:moveTo>
                <a:cubicBezTo>
                  <a:pt x="10152" y="74613"/>
                  <a:pt x="12193" y="78695"/>
                  <a:pt x="12193" y="80736"/>
                </a:cubicBezTo>
                <a:cubicBezTo>
                  <a:pt x="14234" y="84818"/>
                  <a:pt x="14234" y="86859"/>
                  <a:pt x="12193" y="86859"/>
                </a:cubicBezTo>
                <a:cubicBezTo>
                  <a:pt x="8111" y="88900"/>
                  <a:pt x="4028" y="84818"/>
                  <a:pt x="1987" y="80736"/>
                </a:cubicBezTo>
                <a:cubicBezTo>
                  <a:pt x="-54" y="76654"/>
                  <a:pt x="4028" y="76654"/>
                  <a:pt x="4028" y="76654"/>
                </a:cubicBezTo>
                <a:close/>
                <a:moveTo>
                  <a:pt x="287813" y="76200"/>
                </a:moveTo>
                <a:cubicBezTo>
                  <a:pt x="287813" y="76200"/>
                  <a:pt x="293634" y="76200"/>
                  <a:pt x="293634" y="78220"/>
                </a:cubicBezTo>
                <a:cubicBezTo>
                  <a:pt x="293634" y="82261"/>
                  <a:pt x="287813" y="86302"/>
                  <a:pt x="287813" y="86302"/>
                </a:cubicBezTo>
                <a:cubicBezTo>
                  <a:pt x="287813" y="86302"/>
                  <a:pt x="283932" y="88323"/>
                  <a:pt x="283932" y="90343"/>
                </a:cubicBezTo>
                <a:cubicBezTo>
                  <a:pt x="283932" y="92364"/>
                  <a:pt x="280052" y="96404"/>
                  <a:pt x="280052" y="96404"/>
                </a:cubicBezTo>
                <a:lnTo>
                  <a:pt x="280052" y="94384"/>
                </a:lnTo>
                <a:cubicBezTo>
                  <a:pt x="278111" y="90343"/>
                  <a:pt x="278111" y="86302"/>
                  <a:pt x="278111" y="86302"/>
                </a:cubicBezTo>
                <a:lnTo>
                  <a:pt x="276171" y="82261"/>
                </a:lnTo>
                <a:cubicBezTo>
                  <a:pt x="276171" y="82261"/>
                  <a:pt x="276171" y="80241"/>
                  <a:pt x="278111" y="80241"/>
                </a:cubicBezTo>
                <a:cubicBezTo>
                  <a:pt x="281992" y="78220"/>
                  <a:pt x="285873" y="78220"/>
                  <a:pt x="287813" y="76200"/>
                </a:cubicBezTo>
                <a:close/>
                <a:moveTo>
                  <a:pt x="255832" y="59418"/>
                </a:moveTo>
                <a:cubicBezTo>
                  <a:pt x="256989" y="59871"/>
                  <a:pt x="257915" y="60778"/>
                  <a:pt x="257915" y="60778"/>
                </a:cubicBezTo>
                <a:cubicBezTo>
                  <a:pt x="259768" y="58964"/>
                  <a:pt x="259768" y="64407"/>
                  <a:pt x="261620" y="64407"/>
                </a:cubicBezTo>
                <a:cubicBezTo>
                  <a:pt x="263472" y="64407"/>
                  <a:pt x="261620" y="68036"/>
                  <a:pt x="257915" y="68036"/>
                </a:cubicBezTo>
                <a:cubicBezTo>
                  <a:pt x="254211" y="69850"/>
                  <a:pt x="252359" y="64407"/>
                  <a:pt x="252359" y="60778"/>
                </a:cubicBezTo>
                <a:cubicBezTo>
                  <a:pt x="253285" y="58964"/>
                  <a:pt x="254674" y="58964"/>
                  <a:pt x="255832" y="59418"/>
                </a:cubicBezTo>
                <a:close/>
                <a:moveTo>
                  <a:pt x="171714" y="56753"/>
                </a:moveTo>
                <a:cubicBezTo>
                  <a:pt x="172667" y="57308"/>
                  <a:pt x="173619" y="58420"/>
                  <a:pt x="173619" y="58420"/>
                </a:cubicBezTo>
                <a:cubicBezTo>
                  <a:pt x="179334" y="58420"/>
                  <a:pt x="177429" y="60642"/>
                  <a:pt x="175524" y="62864"/>
                </a:cubicBezTo>
                <a:cubicBezTo>
                  <a:pt x="173619" y="65087"/>
                  <a:pt x="169809" y="65087"/>
                  <a:pt x="169809" y="58420"/>
                </a:cubicBezTo>
                <a:cubicBezTo>
                  <a:pt x="169809" y="56197"/>
                  <a:pt x="170762" y="56197"/>
                  <a:pt x="171714" y="56753"/>
                </a:cubicBezTo>
                <a:close/>
                <a:moveTo>
                  <a:pt x="280140" y="50800"/>
                </a:moveTo>
                <a:cubicBezTo>
                  <a:pt x="280140" y="50800"/>
                  <a:pt x="284109" y="52705"/>
                  <a:pt x="284109" y="54610"/>
                </a:cubicBezTo>
                <a:cubicBezTo>
                  <a:pt x="284109" y="54610"/>
                  <a:pt x="284109" y="56515"/>
                  <a:pt x="282125" y="56515"/>
                </a:cubicBezTo>
                <a:cubicBezTo>
                  <a:pt x="282125" y="58420"/>
                  <a:pt x="280140" y="60325"/>
                  <a:pt x="280140" y="58420"/>
                </a:cubicBezTo>
                <a:cubicBezTo>
                  <a:pt x="278155" y="58420"/>
                  <a:pt x="278155" y="54610"/>
                  <a:pt x="276171" y="54610"/>
                </a:cubicBezTo>
                <a:cubicBezTo>
                  <a:pt x="276171" y="52705"/>
                  <a:pt x="280140" y="50800"/>
                  <a:pt x="280140" y="50800"/>
                </a:cubicBezTo>
                <a:close/>
                <a:moveTo>
                  <a:pt x="131445" y="46526"/>
                </a:moveTo>
                <a:cubicBezTo>
                  <a:pt x="132768" y="47259"/>
                  <a:pt x="133826" y="48724"/>
                  <a:pt x="133826" y="48724"/>
                </a:cubicBezTo>
                <a:cubicBezTo>
                  <a:pt x="133826" y="48724"/>
                  <a:pt x="138059" y="58494"/>
                  <a:pt x="135942" y="64355"/>
                </a:cubicBezTo>
                <a:cubicBezTo>
                  <a:pt x="131709" y="68263"/>
                  <a:pt x="127476" y="64355"/>
                  <a:pt x="127476" y="64355"/>
                </a:cubicBezTo>
                <a:cubicBezTo>
                  <a:pt x="127476" y="64355"/>
                  <a:pt x="125359" y="54586"/>
                  <a:pt x="127476" y="48724"/>
                </a:cubicBezTo>
                <a:cubicBezTo>
                  <a:pt x="128534" y="45794"/>
                  <a:pt x="130122" y="45794"/>
                  <a:pt x="131445" y="46526"/>
                </a:cubicBezTo>
                <a:close/>
                <a:moveTo>
                  <a:pt x="6120" y="38497"/>
                </a:moveTo>
                <a:cubicBezTo>
                  <a:pt x="8061" y="36513"/>
                  <a:pt x="11941" y="38497"/>
                  <a:pt x="13882" y="38497"/>
                </a:cubicBezTo>
                <a:cubicBezTo>
                  <a:pt x="13882" y="40481"/>
                  <a:pt x="15822" y="42466"/>
                  <a:pt x="13882" y="44450"/>
                </a:cubicBezTo>
                <a:cubicBezTo>
                  <a:pt x="13882" y="44450"/>
                  <a:pt x="8061" y="44450"/>
                  <a:pt x="2240" y="42466"/>
                </a:cubicBezTo>
                <a:cubicBezTo>
                  <a:pt x="-1641" y="40481"/>
                  <a:pt x="299" y="40481"/>
                  <a:pt x="2240" y="40481"/>
                </a:cubicBezTo>
                <a:cubicBezTo>
                  <a:pt x="2240" y="40481"/>
                  <a:pt x="6120" y="38497"/>
                  <a:pt x="6120" y="38497"/>
                </a:cubicBezTo>
                <a:close/>
                <a:moveTo>
                  <a:pt x="268234" y="25400"/>
                </a:moveTo>
                <a:cubicBezTo>
                  <a:pt x="268234" y="25400"/>
                  <a:pt x="274187" y="25400"/>
                  <a:pt x="274187" y="25400"/>
                </a:cubicBezTo>
                <a:cubicBezTo>
                  <a:pt x="276172" y="25400"/>
                  <a:pt x="274187" y="26987"/>
                  <a:pt x="272203" y="26987"/>
                </a:cubicBezTo>
                <a:cubicBezTo>
                  <a:pt x="270219" y="28575"/>
                  <a:pt x="268234" y="28575"/>
                  <a:pt x="268234" y="25400"/>
                </a:cubicBezTo>
                <a:close/>
                <a:moveTo>
                  <a:pt x="77961" y="20638"/>
                </a:moveTo>
                <a:cubicBezTo>
                  <a:pt x="77961" y="20638"/>
                  <a:pt x="75919" y="22755"/>
                  <a:pt x="80002" y="24871"/>
                </a:cubicBezTo>
                <a:cubicBezTo>
                  <a:pt x="84084" y="26988"/>
                  <a:pt x="84084" y="29105"/>
                  <a:pt x="77961" y="31221"/>
                </a:cubicBezTo>
                <a:cubicBezTo>
                  <a:pt x="71837" y="33338"/>
                  <a:pt x="69796" y="31221"/>
                  <a:pt x="71837" y="24871"/>
                </a:cubicBezTo>
                <a:cubicBezTo>
                  <a:pt x="71837" y="20638"/>
                  <a:pt x="77961" y="20638"/>
                  <a:pt x="77961" y="20638"/>
                </a:cubicBezTo>
                <a:close/>
                <a:moveTo>
                  <a:pt x="195526" y="19050"/>
                </a:moveTo>
                <a:lnTo>
                  <a:pt x="199336" y="19050"/>
                </a:lnTo>
                <a:cubicBezTo>
                  <a:pt x="199336" y="19050"/>
                  <a:pt x="203146" y="20955"/>
                  <a:pt x="203146" y="24765"/>
                </a:cubicBezTo>
                <a:cubicBezTo>
                  <a:pt x="203146" y="26670"/>
                  <a:pt x="197431" y="26670"/>
                  <a:pt x="197431" y="26670"/>
                </a:cubicBezTo>
                <a:cubicBezTo>
                  <a:pt x="197431" y="26670"/>
                  <a:pt x="191716" y="28575"/>
                  <a:pt x="189811" y="26670"/>
                </a:cubicBezTo>
                <a:cubicBezTo>
                  <a:pt x="189811" y="24765"/>
                  <a:pt x="184096" y="22860"/>
                  <a:pt x="184096" y="20955"/>
                </a:cubicBezTo>
                <a:cubicBezTo>
                  <a:pt x="184096" y="19050"/>
                  <a:pt x="195526" y="19050"/>
                  <a:pt x="195526" y="19050"/>
                </a:cubicBezTo>
                <a:close/>
                <a:moveTo>
                  <a:pt x="155442" y="12780"/>
                </a:moveTo>
                <a:cubicBezTo>
                  <a:pt x="157109" y="13018"/>
                  <a:pt x="159014" y="13970"/>
                  <a:pt x="159966" y="16828"/>
                </a:cubicBezTo>
                <a:cubicBezTo>
                  <a:pt x="161871" y="20638"/>
                  <a:pt x="152346" y="18733"/>
                  <a:pt x="152346" y="13018"/>
                </a:cubicBezTo>
                <a:cubicBezTo>
                  <a:pt x="152346" y="13018"/>
                  <a:pt x="153775" y="12542"/>
                  <a:pt x="155442" y="12780"/>
                </a:cubicBezTo>
                <a:close/>
                <a:moveTo>
                  <a:pt x="121503" y="0"/>
                </a:moveTo>
                <a:cubicBezTo>
                  <a:pt x="125586" y="0"/>
                  <a:pt x="127627" y="4365"/>
                  <a:pt x="127627" y="4365"/>
                </a:cubicBezTo>
                <a:cubicBezTo>
                  <a:pt x="127627" y="4365"/>
                  <a:pt x="127627" y="6548"/>
                  <a:pt x="129668" y="8731"/>
                </a:cubicBezTo>
                <a:cubicBezTo>
                  <a:pt x="131709" y="13096"/>
                  <a:pt x="131709" y="13096"/>
                  <a:pt x="127627" y="15279"/>
                </a:cubicBezTo>
                <a:cubicBezTo>
                  <a:pt x="121503" y="17462"/>
                  <a:pt x="119462" y="10914"/>
                  <a:pt x="117421" y="6548"/>
                </a:cubicBezTo>
                <a:cubicBezTo>
                  <a:pt x="117421" y="4365"/>
                  <a:pt x="119462" y="2183"/>
                  <a:pt x="12150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5" name="Marshall Islands"/>
          <p:cNvSpPr>
            <a:spLocks/>
          </p:cNvSpPr>
          <p:nvPr/>
        </p:nvSpPr>
        <p:spPr bwMode="auto">
          <a:xfrm>
            <a:off x="10099643" y="3286442"/>
            <a:ext cx="592717" cy="328743"/>
          </a:xfrm>
          <a:custGeom>
            <a:avLst/>
            <a:gdLst>
              <a:gd name="connsiteX0" fmla="*/ 15112 w 576135"/>
              <a:gd name="connsiteY0" fmla="*/ 314483 h 319546"/>
              <a:gd name="connsiteX1" fmla="*/ 15112 w 576135"/>
              <a:gd name="connsiteY1" fmla="*/ 318716 h 319546"/>
              <a:gd name="connsiteX2" fmla="*/ 15112 w 576135"/>
              <a:gd name="connsiteY2" fmla="*/ 314483 h 319546"/>
              <a:gd name="connsiteX3" fmla="*/ 19451 w 576135"/>
              <a:gd name="connsiteY3" fmla="*/ 287496 h 319546"/>
              <a:gd name="connsiteX4" fmla="*/ 17599 w 576135"/>
              <a:gd name="connsiteY4" fmla="*/ 291465 h 319546"/>
              <a:gd name="connsiteX5" fmla="*/ 19451 w 576135"/>
              <a:gd name="connsiteY5" fmla="*/ 287496 h 319546"/>
              <a:gd name="connsiteX6" fmla="*/ 16805 w 576135"/>
              <a:gd name="connsiteY6" fmla="*/ 236696 h 319546"/>
              <a:gd name="connsiteX7" fmla="*/ 18922 w 576135"/>
              <a:gd name="connsiteY7" fmla="*/ 238680 h 319546"/>
              <a:gd name="connsiteX8" fmla="*/ 14688 w 576135"/>
              <a:gd name="connsiteY8" fmla="*/ 240665 h 319546"/>
              <a:gd name="connsiteX9" fmla="*/ 16805 w 576135"/>
              <a:gd name="connsiteY9" fmla="*/ 236696 h 319546"/>
              <a:gd name="connsiteX10" fmla="*/ 2730 w 576135"/>
              <a:gd name="connsiteY10" fmla="*/ 214471 h 319546"/>
              <a:gd name="connsiteX11" fmla="*/ 4953 w 576135"/>
              <a:gd name="connsiteY11" fmla="*/ 218440 h 319546"/>
              <a:gd name="connsiteX12" fmla="*/ 2730 w 576135"/>
              <a:gd name="connsiteY12" fmla="*/ 214471 h 319546"/>
              <a:gd name="connsiteX13" fmla="*/ 568197 w 576135"/>
              <a:gd name="connsiteY13" fmla="*/ 194287 h 319546"/>
              <a:gd name="connsiteX14" fmla="*/ 572166 w 576135"/>
              <a:gd name="connsiteY14" fmla="*/ 194287 h 319546"/>
              <a:gd name="connsiteX15" fmla="*/ 576135 w 576135"/>
              <a:gd name="connsiteY15" fmla="*/ 200410 h 319546"/>
              <a:gd name="connsiteX16" fmla="*/ 572166 w 576135"/>
              <a:gd name="connsiteY16" fmla="*/ 204492 h 319546"/>
              <a:gd name="connsiteX17" fmla="*/ 568197 w 576135"/>
              <a:gd name="connsiteY17" fmla="*/ 202451 h 319546"/>
              <a:gd name="connsiteX18" fmla="*/ 568197 w 576135"/>
              <a:gd name="connsiteY18" fmla="*/ 194287 h 319546"/>
              <a:gd name="connsiteX19" fmla="*/ 7016 w 576135"/>
              <a:gd name="connsiteY19" fmla="*/ 189071 h 319546"/>
              <a:gd name="connsiteX20" fmla="*/ 10985 w 576135"/>
              <a:gd name="connsiteY20" fmla="*/ 190659 h 319546"/>
              <a:gd name="connsiteX21" fmla="*/ 5031 w 576135"/>
              <a:gd name="connsiteY21" fmla="*/ 190659 h 319546"/>
              <a:gd name="connsiteX22" fmla="*/ 7016 w 576135"/>
              <a:gd name="connsiteY22" fmla="*/ 189071 h 319546"/>
              <a:gd name="connsiteX23" fmla="*/ 5270 w 576135"/>
              <a:gd name="connsiteY23" fmla="*/ 168433 h 319546"/>
              <a:gd name="connsiteX24" fmla="*/ 9080 w 576135"/>
              <a:gd name="connsiteY24" fmla="*/ 172402 h 319546"/>
              <a:gd name="connsiteX25" fmla="*/ 3365 w 576135"/>
              <a:gd name="connsiteY25" fmla="*/ 172402 h 319546"/>
              <a:gd name="connsiteX26" fmla="*/ 5270 w 576135"/>
              <a:gd name="connsiteY26" fmla="*/ 168433 h 319546"/>
              <a:gd name="connsiteX27" fmla="*/ 964 w 576135"/>
              <a:gd name="connsiteY27" fmla="*/ 147796 h 319546"/>
              <a:gd name="connsiteX28" fmla="*/ 3047 w 576135"/>
              <a:gd name="connsiteY28" fmla="*/ 148325 h 319546"/>
              <a:gd name="connsiteX29" fmla="*/ 7810 w 576135"/>
              <a:gd name="connsiteY29" fmla="*/ 150441 h 319546"/>
              <a:gd name="connsiteX30" fmla="*/ 666 w 576135"/>
              <a:gd name="connsiteY30" fmla="*/ 150441 h 319546"/>
              <a:gd name="connsiteX31" fmla="*/ 964 w 576135"/>
              <a:gd name="connsiteY31" fmla="*/ 147796 h 319546"/>
              <a:gd name="connsiteX32" fmla="*/ 174497 w 576135"/>
              <a:gd name="connsiteY32" fmla="*/ 556 h 319546"/>
              <a:gd name="connsiteX33" fmla="*/ 178730 w 576135"/>
              <a:gd name="connsiteY33" fmla="*/ 2540 h 319546"/>
              <a:gd name="connsiteX34" fmla="*/ 180847 w 576135"/>
              <a:gd name="connsiteY34" fmla="*/ 6509 h 319546"/>
              <a:gd name="connsiteX35" fmla="*/ 178730 w 576135"/>
              <a:gd name="connsiteY35" fmla="*/ 12462 h 319546"/>
              <a:gd name="connsiteX36" fmla="*/ 174497 w 576135"/>
              <a:gd name="connsiteY36" fmla="*/ 8493 h 319546"/>
              <a:gd name="connsiteX37" fmla="*/ 174497 w 576135"/>
              <a:gd name="connsiteY37" fmla="*/ 556 h 31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76135" h="319546">
                <a:moveTo>
                  <a:pt x="15112" y="314483"/>
                </a:moveTo>
                <a:cubicBezTo>
                  <a:pt x="18922" y="318716"/>
                  <a:pt x="17017" y="320833"/>
                  <a:pt x="15112" y="318716"/>
                </a:cubicBezTo>
                <a:cubicBezTo>
                  <a:pt x="9397" y="314483"/>
                  <a:pt x="15112" y="314483"/>
                  <a:pt x="15112" y="314483"/>
                </a:cubicBezTo>
                <a:close/>
                <a:moveTo>
                  <a:pt x="19451" y="287496"/>
                </a:moveTo>
                <a:cubicBezTo>
                  <a:pt x="26860" y="291465"/>
                  <a:pt x="21303" y="295433"/>
                  <a:pt x="17599" y="291465"/>
                </a:cubicBezTo>
                <a:cubicBezTo>
                  <a:pt x="15747" y="287496"/>
                  <a:pt x="19451" y="287496"/>
                  <a:pt x="19451" y="287496"/>
                </a:cubicBezTo>
                <a:close/>
                <a:moveTo>
                  <a:pt x="16805" y="236696"/>
                </a:moveTo>
                <a:cubicBezTo>
                  <a:pt x="16805" y="236696"/>
                  <a:pt x="18922" y="236696"/>
                  <a:pt x="18922" y="238680"/>
                </a:cubicBezTo>
                <a:cubicBezTo>
                  <a:pt x="18922" y="240665"/>
                  <a:pt x="16805" y="244633"/>
                  <a:pt x="14688" y="240665"/>
                </a:cubicBezTo>
                <a:cubicBezTo>
                  <a:pt x="12572" y="238680"/>
                  <a:pt x="16805" y="236696"/>
                  <a:pt x="16805" y="236696"/>
                </a:cubicBezTo>
                <a:close/>
                <a:moveTo>
                  <a:pt x="2730" y="214471"/>
                </a:moveTo>
                <a:cubicBezTo>
                  <a:pt x="9398" y="214471"/>
                  <a:pt x="9398" y="222408"/>
                  <a:pt x="4953" y="218440"/>
                </a:cubicBezTo>
                <a:cubicBezTo>
                  <a:pt x="-1715" y="214471"/>
                  <a:pt x="2730" y="214471"/>
                  <a:pt x="2730" y="214471"/>
                </a:cubicBezTo>
                <a:close/>
                <a:moveTo>
                  <a:pt x="568197" y="194287"/>
                </a:moveTo>
                <a:cubicBezTo>
                  <a:pt x="568197" y="192246"/>
                  <a:pt x="572166" y="194287"/>
                  <a:pt x="572166" y="194287"/>
                </a:cubicBezTo>
                <a:cubicBezTo>
                  <a:pt x="572166" y="194287"/>
                  <a:pt x="576135" y="198369"/>
                  <a:pt x="576135" y="200410"/>
                </a:cubicBezTo>
                <a:cubicBezTo>
                  <a:pt x="576135" y="200410"/>
                  <a:pt x="576135" y="202451"/>
                  <a:pt x="572166" y="204492"/>
                </a:cubicBezTo>
                <a:cubicBezTo>
                  <a:pt x="568197" y="206533"/>
                  <a:pt x="568197" y="202451"/>
                  <a:pt x="568197" y="202451"/>
                </a:cubicBezTo>
                <a:cubicBezTo>
                  <a:pt x="568197" y="202451"/>
                  <a:pt x="568197" y="198369"/>
                  <a:pt x="568197" y="194287"/>
                </a:cubicBezTo>
                <a:close/>
                <a:moveTo>
                  <a:pt x="7016" y="189071"/>
                </a:moveTo>
                <a:cubicBezTo>
                  <a:pt x="7016" y="189071"/>
                  <a:pt x="9000" y="189071"/>
                  <a:pt x="10985" y="190659"/>
                </a:cubicBezTo>
                <a:cubicBezTo>
                  <a:pt x="10985" y="192246"/>
                  <a:pt x="7016" y="192246"/>
                  <a:pt x="5031" y="190659"/>
                </a:cubicBezTo>
                <a:cubicBezTo>
                  <a:pt x="3047" y="189071"/>
                  <a:pt x="7016" y="189071"/>
                  <a:pt x="7016" y="189071"/>
                </a:cubicBezTo>
                <a:close/>
                <a:moveTo>
                  <a:pt x="5270" y="168433"/>
                </a:moveTo>
                <a:cubicBezTo>
                  <a:pt x="5270" y="168433"/>
                  <a:pt x="9080" y="170417"/>
                  <a:pt x="9080" y="172402"/>
                </a:cubicBezTo>
                <a:cubicBezTo>
                  <a:pt x="10985" y="174386"/>
                  <a:pt x="5270" y="176370"/>
                  <a:pt x="3365" y="172402"/>
                </a:cubicBezTo>
                <a:cubicBezTo>
                  <a:pt x="1460" y="168433"/>
                  <a:pt x="5270" y="168433"/>
                  <a:pt x="5270" y="168433"/>
                </a:cubicBezTo>
                <a:close/>
                <a:moveTo>
                  <a:pt x="964" y="147796"/>
                </a:moveTo>
                <a:cubicBezTo>
                  <a:pt x="1857" y="147796"/>
                  <a:pt x="3047" y="148325"/>
                  <a:pt x="3047" y="148325"/>
                </a:cubicBezTo>
                <a:cubicBezTo>
                  <a:pt x="3047" y="148325"/>
                  <a:pt x="7810" y="148325"/>
                  <a:pt x="7810" y="150441"/>
                </a:cubicBezTo>
                <a:cubicBezTo>
                  <a:pt x="7810" y="152558"/>
                  <a:pt x="3047" y="152558"/>
                  <a:pt x="666" y="150441"/>
                </a:cubicBezTo>
                <a:cubicBezTo>
                  <a:pt x="-525" y="148325"/>
                  <a:pt x="71" y="147796"/>
                  <a:pt x="964" y="147796"/>
                </a:cubicBezTo>
                <a:close/>
                <a:moveTo>
                  <a:pt x="174497" y="556"/>
                </a:moveTo>
                <a:cubicBezTo>
                  <a:pt x="174497" y="-1429"/>
                  <a:pt x="176614" y="2540"/>
                  <a:pt x="178730" y="2540"/>
                </a:cubicBezTo>
                <a:cubicBezTo>
                  <a:pt x="178730" y="4524"/>
                  <a:pt x="180847" y="4524"/>
                  <a:pt x="180847" y="6509"/>
                </a:cubicBezTo>
                <a:cubicBezTo>
                  <a:pt x="180847" y="8493"/>
                  <a:pt x="180847" y="10477"/>
                  <a:pt x="178730" y="12462"/>
                </a:cubicBezTo>
                <a:cubicBezTo>
                  <a:pt x="174497" y="14446"/>
                  <a:pt x="174497" y="12462"/>
                  <a:pt x="174497" y="8493"/>
                </a:cubicBezTo>
                <a:cubicBezTo>
                  <a:pt x="174497" y="4524"/>
                  <a:pt x="174497" y="556"/>
                  <a:pt x="174497" y="556"/>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6" name="Fiji Islands"/>
          <p:cNvSpPr>
            <a:spLocks/>
          </p:cNvSpPr>
          <p:nvPr/>
        </p:nvSpPr>
        <p:spPr bwMode="auto">
          <a:xfrm>
            <a:off x="10971634" y="4587327"/>
            <a:ext cx="70228" cy="84001"/>
          </a:xfrm>
          <a:custGeom>
            <a:avLst/>
            <a:gdLst>
              <a:gd name="connsiteX0" fmla="*/ 27306 w 68263"/>
              <a:gd name="connsiteY0" fmla="*/ 75519 h 81651"/>
              <a:gd name="connsiteX1" fmla="*/ 27306 w 68263"/>
              <a:gd name="connsiteY1" fmla="*/ 77504 h 81651"/>
              <a:gd name="connsiteX2" fmla="*/ 20638 w 68263"/>
              <a:gd name="connsiteY2" fmla="*/ 79488 h 81651"/>
              <a:gd name="connsiteX3" fmla="*/ 27306 w 68263"/>
              <a:gd name="connsiteY3" fmla="*/ 75519 h 81651"/>
              <a:gd name="connsiteX4" fmla="*/ 47096 w 68263"/>
              <a:gd name="connsiteY4" fmla="*/ 51706 h 81651"/>
              <a:gd name="connsiteX5" fmla="*/ 49213 w 68263"/>
              <a:gd name="connsiteY5" fmla="*/ 55675 h 81651"/>
              <a:gd name="connsiteX6" fmla="*/ 44980 w 68263"/>
              <a:gd name="connsiteY6" fmla="*/ 55675 h 81651"/>
              <a:gd name="connsiteX7" fmla="*/ 47096 w 68263"/>
              <a:gd name="connsiteY7" fmla="*/ 51706 h 81651"/>
              <a:gd name="connsiteX8" fmla="*/ 53446 w 68263"/>
              <a:gd name="connsiteY8" fmla="*/ 46944 h 81651"/>
              <a:gd name="connsiteX9" fmla="*/ 53446 w 68263"/>
              <a:gd name="connsiteY9" fmla="*/ 48532 h 81651"/>
              <a:gd name="connsiteX10" fmla="*/ 53446 w 68263"/>
              <a:gd name="connsiteY10" fmla="*/ 46944 h 81651"/>
              <a:gd name="connsiteX11" fmla="*/ 42862 w 68263"/>
              <a:gd name="connsiteY11" fmla="*/ 46944 h 81651"/>
              <a:gd name="connsiteX12" fmla="*/ 41275 w 68263"/>
              <a:gd name="connsiteY12" fmla="*/ 49326 h 81651"/>
              <a:gd name="connsiteX13" fmla="*/ 42862 w 68263"/>
              <a:gd name="connsiteY13" fmla="*/ 46944 h 81651"/>
              <a:gd name="connsiteX14" fmla="*/ 17895 w 68263"/>
              <a:gd name="connsiteY14" fmla="*/ 37547 h 81651"/>
              <a:gd name="connsiteX15" fmla="*/ 23533 w 68263"/>
              <a:gd name="connsiteY15" fmla="*/ 37792 h 81651"/>
              <a:gd name="connsiteX16" fmla="*/ 25494 w 68263"/>
              <a:gd name="connsiteY16" fmla="*/ 41714 h 81651"/>
              <a:gd name="connsiteX17" fmla="*/ 29416 w 68263"/>
              <a:gd name="connsiteY17" fmla="*/ 47598 h 81651"/>
              <a:gd name="connsiteX18" fmla="*/ 31377 w 68263"/>
              <a:gd name="connsiteY18" fmla="*/ 55442 h 81651"/>
              <a:gd name="connsiteX19" fmla="*/ 19611 w 68263"/>
              <a:gd name="connsiteY19" fmla="*/ 63286 h 81651"/>
              <a:gd name="connsiteX20" fmla="*/ 3922 w 68263"/>
              <a:gd name="connsiteY20" fmla="*/ 69169 h 81651"/>
              <a:gd name="connsiteX21" fmla="*/ 0 w 68263"/>
              <a:gd name="connsiteY21" fmla="*/ 65247 h 81651"/>
              <a:gd name="connsiteX22" fmla="*/ 1961 w 68263"/>
              <a:gd name="connsiteY22" fmla="*/ 57403 h 81651"/>
              <a:gd name="connsiteX23" fmla="*/ 3922 w 68263"/>
              <a:gd name="connsiteY23" fmla="*/ 47598 h 81651"/>
              <a:gd name="connsiteX24" fmla="*/ 7844 w 68263"/>
              <a:gd name="connsiteY24" fmla="*/ 41714 h 81651"/>
              <a:gd name="connsiteX25" fmla="*/ 17895 w 68263"/>
              <a:gd name="connsiteY25" fmla="*/ 37547 h 81651"/>
              <a:gd name="connsiteX26" fmla="*/ 53182 w 68263"/>
              <a:gd name="connsiteY26" fmla="*/ 29481 h 81651"/>
              <a:gd name="connsiteX27" fmla="*/ 51198 w 68263"/>
              <a:gd name="connsiteY27" fmla="*/ 33714 h 81651"/>
              <a:gd name="connsiteX28" fmla="*/ 53182 w 68263"/>
              <a:gd name="connsiteY28" fmla="*/ 29481 h 81651"/>
              <a:gd name="connsiteX29" fmla="*/ 64215 w 68263"/>
              <a:gd name="connsiteY29" fmla="*/ 21444 h 81651"/>
              <a:gd name="connsiteX30" fmla="*/ 66358 w 68263"/>
              <a:gd name="connsiteY30" fmla="*/ 21940 h 81651"/>
              <a:gd name="connsiteX31" fmla="*/ 66358 w 68263"/>
              <a:gd name="connsiteY31" fmla="*/ 25909 h 81651"/>
              <a:gd name="connsiteX32" fmla="*/ 60643 w 68263"/>
              <a:gd name="connsiteY32" fmla="*/ 23925 h 81651"/>
              <a:gd name="connsiteX33" fmla="*/ 64215 w 68263"/>
              <a:gd name="connsiteY33" fmla="*/ 21444 h 81651"/>
              <a:gd name="connsiteX34" fmla="*/ 65352 w 68263"/>
              <a:gd name="connsiteY34" fmla="*/ 63 h 81651"/>
              <a:gd name="connsiteX35" fmla="*/ 68263 w 68263"/>
              <a:gd name="connsiteY35" fmla="*/ 1303 h 81651"/>
              <a:gd name="connsiteX36" fmla="*/ 62442 w 68263"/>
              <a:gd name="connsiteY36" fmla="*/ 9241 h 81651"/>
              <a:gd name="connsiteX37" fmla="*/ 58562 w 68263"/>
              <a:gd name="connsiteY37" fmla="*/ 15194 h 81651"/>
              <a:gd name="connsiteX38" fmla="*/ 54681 w 68263"/>
              <a:gd name="connsiteY38" fmla="*/ 19163 h 81651"/>
              <a:gd name="connsiteX39" fmla="*/ 46920 w 68263"/>
              <a:gd name="connsiteY39" fmla="*/ 17179 h 81651"/>
              <a:gd name="connsiteX40" fmla="*/ 37219 w 68263"/>
              <a:gd name="connsiteY40" fmla="*/ 21147 h 81651"/>
              <a:gd name="connsiteX41" fmla="*/ 37219 w 68263"/>
              <a:gd name="connsiteY41" fmla="*/ 13210 h 81651"/>
              <a:gd name="connsiteX42" fmla="*/ 41099 w 68263"/>
              <a:gd name="connsiteY42" fmla="*/ 11225 h 81651"/>
              <a:gd name="connsiteX43" fmla="*/ 52741 w 68263"/>
              <a:gd name="connsiteY43" fmla="*/ 7256 h 81651"/>
              <a:gd name="connsiteX44" fmla="*/ 62442 w 68263"/>
              <a:gd name="connsiteY44" fmla="*/ 3288 h 81651"/>
              <a:gd name="connsiteX45" fmla="*/ 65352 w 68263"/>
              <a:gd name="connsiteY45" fmla="*/ 63 h 8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8263" h="81651">
                <a:moveTo>
                  <a:pt x="27306" y="75519"/>
                </a:moveTo>
                <a:cubicBezTo>
                  <a:pt x="27306" y="75519"/>
                  <a:pt x="31751" y="75519"/>
                  <a:pt x="27306" y="77504"/>
                </a:cubicBezTo>
                <a:cubicBezTo>
                  <a:pt x="25083" y="81473"/>
                  <a:pt x="20638" y="83457"/>
                  <a:pt x="20638" y="79488"/>
                </a:cubicBezTo>
                <a:cubicBezTo>
                  <a:pt x="20638" y="75519"/>
                  <a:pt x="27306" y="75519"/>
                  <a:pt x="27306" y="75519"/>
                </a:cubicBezTo>
                <a:close/>
                <a:moveTo>
                  <a:pt x="47096" y="51706"/>
                </a:moveTo>
                <a:cubicBezTo>
                  <a:pt x="47096" y="51706"/>
                  <a:pt x="49213" y="53691"/>
                  <a:pt x="49213" y="55675"/>
                </a:cubicBezTo>
                <a:cubicBezTo>
                  <a:pt x="49213" y="59644"/>
                  <a:pt x="42863" y="57660"/>
                  <a:pt x="44980" y="55675"/>
                </a:cubicBezTo>
                <a:cubicBezTo>
                  <a:pt x="44980" y="51706"/>
                  <a:pt x="47096" y="51706"/>
                  <a:pt x="47096" y="51706"/>
                </a:cubicBezTo>
                <a:close/>
                <a:moveTo>
                  <a:pt x="53446" y="46944"/>
                </a:moveTo>
                <a:cubicBezTo>
                  <a:pt x="55563" y="46944"/>
                  <a:pt x="55563" y="48532"/>
                  <a:pt x="53446" y="48532"/>
                </a:cubicBezTo>
                <a:cubicBezTo>
                  <a:pt x="49213" y="46944"/>
                  <a:pt x="53446" y="46944"/>
                  <a:pt x="53446" y="46944"/>
                </a:cubicBezTo>
                <a:close/>
                <a:moveTo>
                  <a:pt x="42862" y="46944"/>
                </a:moveTo>
                <a:cubicBezTo>
                  <a:pt x="44450" y="46944"/>
                  <a:pt x="42862" y="51707"/>
                  <a:pt x="41275" y="49326"/>
                </a:cubicBezTo>
                <a:cubicBezTo>
                  <a:pt x="41275" y="46944"/>
                  <a:pt x="42862" y="46944"/>
                  <a:pt x="42862" y="46944"/>
                </a:cubicBezTo>
                <a:close/>
                <a:moveTo>
                  <a:pt x="17895" y="37547"/>
                </a:moveTo>
                <a:cubicBezTo>
                  <a:pt x="21082" y="36812"/>
                  <a:pt x="23533" y="36812"/>
                  <a:pt x="23533" y="37792"/>
                </a:cubicBezTo>
                <a:cubicBezTo>
                  <a:pt x="23533" y="39753"/>
                  <a:pt x="23533" y="41714"/>
                  <a:pt x="25494" y="41714"/>
                </a:cubicBezTo>
                <a:cubicBezTo>
                  <a:pt x="27455" y="41714"/>
                  <a:pt x="29416" y="47598"/>
                  <a:pt x="29416" y="47598"/>
                </a:cubicBezTo>
                <a:cubicBezTo>
                  <a:pt x="29416" y="47598"/>
                  <a:pt x="33338" y="51520"/>
                  <a:pt x="31377" y="55442"/>
                </a:cubicBezTo>
                <a:cubicBezTo>
                  <a:pt x="29416" y="59364"/>
                  <a:pt x="25494" y="61325"/>
                  <a:pt x="19611" y="63286"/>
                </a:cubicBezTo>
                <a:cubicBezTo>
                  <a:pt x="15688" y="65247"/>
                  <a:pt x="3922" y="69169"/>
                  <a:pt x="3922" y="69169"/>
                </a:cubicBezTo>
                <a:cubicBezTo>
                  <a:pt x="3922" y="69169"/>
                  <a:pt x="0" y="67208"/>
                  <a:pt x="0" y="65247"/>
                </a:cubicBezTo>
                <a:cubicBezTo>
                  <a:pt x="0" y="61325"/>
                  <a:pt x="0" y="59364"/>
                  <a:pt x="1961" y="57403"/>
                </a:cubicBezTo>
                <a:cubicBezTo>
                  <a:pt x="3922" y="55442"/>
                  <a:pt x="3922" y="47598"/>
                  <a:pt x="3922" y="47598"/>
                </a:cubicBezTo>
                <a:cubicBezTo>
                  <a:pt x="3922" y="47598"/>
                  <a:pt x="1961" y="43675"/>
                  <a:pt x="7844" y="41714"/>
                </a:cubicBezTo>
                <a:cubicBezTo>
                  <a:pt x="10786" y="39753"/>
                  <a:pt x="14708" y="38282"/>
                  <a:pt x="17895" y="37547"/>
                </a:cubicBezTo>
                <a:close/>
                <a:moveTo>
                  <a:pt x="53182" y="29481"/>
                </a:moveTo>
                <a:cubicBezTo>
                  <a:pt x="57151" y="31597"/>
                  <a:pt x="53182" y="35831"/>
                  <a:pt x="51198" y="33714"/>
                </a:cubicBezTo>
                <a:cubicBezTo>
                  <a:pt x="49213" y="29481"/>
                  <a:pt x="53182" y="29481"/>
                  <a:pt x="53182" y="29481"/>
                </a:cubicBezTo>
                <a:close/>
                <a:moveTo>
                  <a:pt x="64215" y="21444"/>
                </a:moveTo>
                <a:cubicBezTo>
                  <a:pt x="65406" y="21444"/>
                  <a:pt x="66358" y="21940"/>
                  <a:pt x="66358" y="21940"/>
                </a:cubicBezTo>
                <a:cubicBezTo>
                  <a:pt x="68263" y="19956"/>
                  <a:pt x="68263" y="23925"/>
                  <a:pt x="66358" y="25909"/>
                </a:cubicBezTo>
                <a:cubicBezTo>
                  <a:pt x="64453" y="27894"/>
                  <a:pt x="58738" y="25909"/>
                  <a:pt x="60643" y="23925"/>
                </a:cubicBezTo>
                <a:cubicBezTo>
                  <a:pt x="61595" y="21940"/>
                  <a:pt x="63024" y="21444"/>
                  <a:pt x="64215" y="21444"/>
                </a:cubicBezTo>
                <a:close/>
                <a:moveTo>
                  <a:pt x="65352" y="63"/>
                </a:moveTo>
                <a:cubicBezTo>
                  <a:pt x="66808" y="-185"/>
                  <a:pt x="68263" y="311"/>
                  <a:pt x="68263" y="1303"/>
                </a:cubicBezTo>
                <a:cubicBezTo>
                  <a:pt x="68263" y="3288"/>
                  <a:pt x="66323" y="9241"/>
                  <a:pt x="62442" y="9241"/>
                </a:cubicBezTo>
                <a:cubicBezTo>
                  <a:pt x="60502" y="11225"/>
                  <a:pt x="58562" y="15194"/>
                  <a:pt x="58562" y="15194"/>
                </a:cubicBezTo>
                <a:cubicBezTo>
                  <a:pt x="58562" y="15194"/>
                  <a:pt x="58562" y="21147"/>
                  <a:pt x="54681" y="19163"/>
                </a:cubicBezTo>
                <a:cubicBezTo>
                  <a:pt x="52741" y="17179"/>
                  <a:pt x="48860" y="15194"/>
                  <a:pt x="46920" y="17179"/>
                </a:cubicBezTo>
                <a:cubicBezTo>
                  <a:pt x="44980" y="21147"/>
                  <a:pt x="39159" y="23132"/>
                  <a:pt x="37219" y="21147"/>
                </a:cubicBezTo>
                <a:cubicBezTo>
                  <a:pt x="35278" y="17179"/>
                  <a:pt x="33338" y="15194"/>
                  <a:pt x="37219" y="13210"/>
                </a:cubicBezTo>
                <a:cubicBezTo>
                  <a:pt x="39159" y="13210"/>
                  <a:pt x="41099" y="11225"/>
                  <a:pt x="41099" y="11225"/>
                </a:cubicBezTo>
                <a:cubicBezTo>
                  <a:pt x="41099" y="11225"/>
                  <a:pt x="46920" y="7256"/>
                  <a:pt x="52741" y="7256"/>
                </a:cubicBezTo>
                <a:cubicBezTo>
                  <a:pt x="56621" y="7256"/>
                  <a:pt x="60502" y="5272"/>
                  <a:pt x="62442" y="3288"/>
                </a:cubicBezTo>
                <a:cubicBezTo>
                  <a:pt x="62442" y="1303"/>
                  <a:pt x="63897" y="311"/>
                  <a:pt x="65352" y="63"/>
                </a:cubicBezTo>
                <a:close/>
              </a:path>
            </a:pathLst>
          </a:custGeom>
          <a:solidFill>
            <a:schemeClr val="accent1">
              <a:lumMod val="20000"/>
              <a:lumOff val="8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7" name="Vanuatu"/>
          <p:cNvSpPr>
            <a:spLocks/>
          </p:cNvSpPr>
          <p:nvPr/>
        </p:nvSpPr>
        <p:spPr bwMode="auto">
          <a:xfrm>
            <a:off x="10686983" y="4508130"/>
            <a:ext cx="75931" cy="215591"/>
          </a:xfrm>
          <a:custGeom>
            <a:avLst/>
            <a:gdLst>
              <a:gd name="connsiteX0" fmla="*/ 68331 w 73807"/>
              <a:gd name="connsiteY0" fmla="*/ 203300 h 209560"/>
              <a:gd name="connsiteX1" fmla="*/ 70315 w 73807"/>
              <a:gd name="connsiteY1" fmla="*/ 207269 h 209560"/>
              <a:gd name="connsiteX2" fmla="*/ 64361 w 73807"/>
              <a:gd name="connsiteY2" fmla="*/ 207269 h 209560"/>
              <a:gd name="connsiteX3" fmla="*/ 68331 w 73807"/>
              <a:gd name="connsiteY3" fmla="*/ 203300 h 209560"/>
              <a:gd name="connsiteX4" fmla="*/ 61848 w 73807"/>
              <a:gd name="connsiteY4" fmla="*/ 177588 h 209560"/>
              <a:gd name="connsiteX5" fmla="*/ 67139 w 73807"/>
              <a:gd name="connsiteY5" fmla="*/ 178353 h 209560"/>
              <a:gd name="connsiteX6" fmla="*/ 67139 w 73807"/>
              <a:gd name="connsiteY6" fmla="*/ 186518 h 209560"/>
              <a:gd name="connsiteX7" fmla="*/ 58672 w 73807"/>
              <a:gd name="connsiteY7" fmla="*/ 188559 h 209560"/>
              <a:gd name="connsiteX8" fmla="*/ 56556 w 73807"/>
              <a:gd name="connsiteY8" fmla="*/ 178353 h 209560"/>
              <a:gd name="connsiteX9" fmla="*/ 61848 w 73807"/>
              <a:gd name="connsiteY9" fmla="*/ 177588 h 209560"/>
              <a:gd name="connsiteX10" fmla="*/ 68727 w 73807"/>
              <a:gd name="connsiteY10" fmla="*/ 173932 h 209560"/>
              <a:gd name="connsiteX11" fmla="*/ 72696 w 73807"/>
              <a:gd name="connsiteY11" fmla="*/ 173932 h 209560"/>
              <a:gd name="connsiteX12" fmla="*/ 68727 w 73807"/>
              <a:gd name="connsiteY12" fmla="*/ 173932 h 209560"/>
              <a:gd name="connsiteX13" fmla="*/ 56556 w 73807"/>
              <a:gd name="connsiteY13" fmla="*/ 152500 h 209560"/>
              <a:gd name="connsiteX14" fmla="*/ 58409 w 73807"/>
              <a:gd name="connsiteY14" fmla="*/ 152500 h 209560"/>
              <a:gd name="connsiteX15" fmla="*/ 60261 w 73807"/>
              <a:gd name="connsiteY15" fmla="*/ 152500 h 209560"/>
              <a:gd name="connsiteX16" fmla="*/ 63965 w 73807"/>
              <a:gd name="connsiteY16" fmla="*/ 158215 h 209560"/>
              <a:gd name="connsiteX17" fmla="*/ 62113 w 73807"/>
              <a:gd name="connsiteY17" fmla="*/ 160120 h 209560"/>
              <a:gd name="connsiteX18" fmla="*/ 56556 w 73807"/>
              <a:gd name="connsiteY18" fmla="*/ 162025 h 209560"/>
              <a:gd name="connsiteX19" fmla="*/ 54704 w 73807"/>
              <a:gd name="connsiteY19" fmla="*/ 156310 h 209560"/>
              <a:gd name="connsiteX20" fmla="*/ 56556 w 73807"/>
              <a:gd name="connsiteY20" fmla="*/ 152500 h 209560"/>
              <a:gd name="connsiteX21" fmla="*/ 47183 w 73807"/>
              <a:gd name="connsiteY21" fmla="*/ 123925 h 209560"/>
              <a:gd name="connsiteX22" fmla="*/ 51265 w 73807"/>
              <a:gd name="connsiteY22" fmla="*/ 125910 h 209560"/>
              <a:gd name="connsiteX23" fmla="*/ 39018 w 73807"/>
              <a:gd name="connsiteY23" fmla="*/ 129879 h 209560"/>
              <a:gd name="connsiteX24" fmla="*/ 39018 w 73807"/>
              <a:gd name="connsiteY24" fmla="*/ 125910 h 209560"/>
              <a:gd name="connsiteX25" fmla="*/ 47183 w 73807"/>
              <a:gd name="connsiteY25" fmla="*/ 123925 h 209560"/>
              <a:gd name="connsiteX26" fmla="*/ 42269 w 73807"/>
              <a:gd name="connsiteY26" fmla="*/ 102097 h 209560"/>
              <a:gd name="connsiteX27" fmla="*/ 46502 w 73807"/>
              <a:gd name="connsiteY27" fmla="*/ 106066 h 209560"/>
              <a:gd name="connsiteX28" fmla="*/ 40152 w 73807"/>
              <a:gd name="connsiteY28" fmla="*/ 104081 h 209560"/>
              <a:gd name="connsiteX29" fmla="*/ 42269 w 73807"/>
              <a:gd name="connsiteY29" fmla="*/ 102097 h 209560"/>
              <a:gd name="connsiteX30" fmla="*/ 42375 w 73807"/>
              <a:gd name="connsiteY30" fmla="*/ 90587 h 209560"/>
              <a:gd name="connsiteX31" fmla="*/ 44597 w 73807"/>
              <a:gd name="connsiteY31" fmla="*/ 93762 h 209560"/>
              <a:gd name="connsiteX32" fmla="*/ 40152 w 73807"/>
              <a:gd name="connsiteY32" fmla="*/ 92175 h 209560"/>
              <a:gd name="connsiteX33" fmla="*/ 42375 w 73807"/>
              <a:gd name="connsiteY33" fmla="*/ 90587 h 209560"/>
              <a:gd name="connsiteX34" fmla="*/ 42797 w 73807"/>
              <a:gd name="connsiteY34" fmla="*/ 84635 h 209560"/>
              <a:gd name="connsiteX35" fmla="*/ 42797 w 73807"/>
              <a:gd name="connsiteY35" fmla="*/ 88604 h 209560"/>
              <a:gd name="connsiteX36" fmla="*/ 42797 w 73807"/>
              <a:gd name="connsiteY36" fmla="*/ 84635 h 209560"/>
              <a:gd name="connsiteX37" fmla="*/ 42533 w 73807"/>
              <a:gd name="connsiteY37" fmla="*/ 73522 h 209560"/>
              <a:gd name="connsiteX38" fmla="*/ 42533 w 73807"/>
              <a:gd name="connsiteY38" fmla="*/ 79475 h 209560"/>
              <a:gd name="connsiteX39" fmla="*/ 34596 w 73807"/>
              <a:gd name="connsiteY39" fmla="*/ 79475 h 209560"/>
              <a:gd name="connsiteX40" fmla="*/ 34596 w 73807"/>
              <a:gd name="connsiteY40" fmla="*/ 75506 h 209560"/>
              <a:gd name="connsiteX41" fmla="*/ 42533 w 73807"/>
              <a:gd name="connsiteY41" fmla="*/ 73522 h 209560"/>
              <a:gd name="connsiteX42" fmla="*/ 18633 w 73807"/>
              <a:gd name="connsiteY42" fmla="*/ 68796 h 209560"/>
              <a:gd name="connsiteX43" fmla="*/ 22513 w 73807"/>
              <a:gd name="connsiteY43" fmla="*/ 72837 h 209560"/>
              <a:gd name="connsiteX44" fmla="*/ 28334 w 73807"/>
              <a:gd name="connsiteY44" fmla="*/ 80918 h 209560"/>
              <a:gd name="connsiteX45" fmla="*/ 28334 w 73807"/>
              <a:gd name="connsiteY45" fmla="*/ 86980 h 209560"/>
              <a:gd name="connsiteX46" fmla="*/ 18633 w 73807"/>
              <a:gd name="connsiteY46" fmla="*/ 84959 h 209560"/>
              <a:gd name="connsiteX47" fmla="*/ 16692 w 73807"/>
              <a:gd name="connsiteY47" fmla="*/ 74857 h 209560"/>
              <a:gd name="connsiteX48" fmla="*/ 18633 w 73807"/>
              <a:gd name="connsiteY48" fmla="*/ 68796 h 209560"/>
              <a:gd name="connsiteX49" fmla="*/ 40549 w 73807"/>
              <a:gd name="connsiteY49" fmla="*/ 60425 h 209560"/>
              <a:gd name="connsiteX50" fmla="*/ 46502 w 73807"/>
              <a:gd name="connsiteY50" fmla="*/ 62466 h 209560"/>
              <a:gd name="connsiteX51" fmla="*/ 42533 w 73807"/>
              <a:gd name="connsiteY51" fmla="*/ 66549 h 209560"/>
              <a:gd name="connsiteX52" fmla="*/ 40549 w 73807"/>
              <a:gd name="connsiteY52" fmla="*/ 60425 h 209560"/>
              <a:gd name="connsiteX53" fmla="*/ 32849 w 73807"/>
              <a:gd name="connsiteY53" fmla="*/ 50900 h 209560"/>
              <a:gd name="connsiteX54" fmla="*/ 38564 w 73807"/>
              <a:gd name="connsiteY54" fmla="*/ 56854 h 209560"/>
              <a:gd name="connsiteX55" fmla="*/ 30944 w 73807"/>
              <a:gd name="connsiteY55" fmla="*/ 54869 h 209560"/>
              <a:gd name="connsiteX56" fmla="*/ 32849 w 73807"/>
              <a:gd name="connsiteY56" fmla="*/ 50900 h 209560"/>
              <a:gd name="connsiteX57" fmla="*/ 43327 w 73807"/>
              <a:gd name="connsiteY57" fmla="*/ 38200 h 209560"/>
              <a:gd name="connsiteX58" fmla="*/ 46502 w 73807"/>
              <a:gd name="connsiteY58" fmla="*/ 45962 h 209560"/>
              <a:gd name="connsiteX59" fmla="*/ 43327 w 73807"/>
              <a:gd name="connsiteY59" fmla="*/ 53723 h 209560"/>
              <a:gd name="connsiteX60" fmla="*/ 43327 w 73807"/>
              <a:gd name="connsiteY60" fmla="*/ 44021 h 209560"/>
              <a:gd name="connsiteX61" fmla="*/ 43327 w 73807"/>
              <a:gd name="connsiteY61" fmla="*/ 38200 h 209560"/>
              <a:gd name="connsiteX62" fmla="*/ 2918 w 73807"/>
              <a:gd name="connsiteY62" fmla="*/ 29009 h 209560"/>
              <a:gd name="connsiteX63" fmla="*/ 6959 w 73807"/>
              <a:gd name="connsiteY63" fmla="*/ 32852 h 209560"/>
              <a:gd name="connsiteX64" fmla="*/ 11000 w 73807"/>
              <a:gd name="connsiteY64" fmla="*/ 40539 h 209560"/>
              <a:gd name="connsiteX65" fmla="*/ 13020 w 73807"/>
              <a:gd name="connsiteY65" fmla="*/ 38618 h 209560"/>
              <a:gd name="connsiteX66" fmla="*/ 17061 w 73807"/>
              <a:gd name="connsiteY66" fmla="*/ 34774 h 209560"/>
              <a:gd name="connsiteX67" fmla="*/ 19082 w 73807"/>
              <a:gd name="connsiteY67" fmla="*/ 42461 h 209560"/>
              <a:gd name="connsiteX68" fmla="*/ 19082 w 73807"/>
              <a:gd name="connsiteY68" fmla="*/ 52070 h 209560"/>
              <a:gd name="connsiteX69" fmla="*/ 19082 w 73807"/>
              <a:gd name="connsiteY69" fmla="*/ 59757 h 209560"/>
              <a:gd name="connsiteX70" fmla="*/ 15041 w 73807"/>
              <a:gd name="connsiteY70" fmla="*/ 61679 h 209560"/>
              <a:gd name="connsiteX71" fmla="*/ 8979 w 73807"/>
              <a:gd name="connsiteY71" fmla="*/ 59757 h 209560"/>
              <a:gd name="connsiteX72" fmla="*/ 897 w 73807"/>
              <a:gd name="connsiteY72" fmla="*/ 55913 h 209560"/>
              <a:gd name="connsiteX73" fmla="*/ 897 w 73807"/>
              <a:gd name="connsiteY73" fmla="*/ 48226 h 209560"/>
              <a:gd name="connsiteX74" fmla="*/ 2918 w 73807"/>
              <a:gd name="connsiteY74" fmla="*/ 36696 h 209560"/>
              <a:gd name="connsiteX75" fmla="*/ 2918 w 73807"/>
              <a:gd name="connsiteY75" fmla="*/ 29009 h 209560"/>
              <a:gd name="connsiteX76" fmla="*/ 28643 w 73807"/>
              <a:gd name="connsiteY76" fmla="*/ 14387 h 209560"/>
              <a:gd name="connsiteX77" fmla="*/ 28643 w 73807"/>
              <a:gd name="connsiteY77" fmla="*/ 18356 h 209560"/>
              <a:gd name="connsiteX78" fmla="*/ 22689 w 73807"/>
              <a:gd name="connsiteY78" fmla="*/ 16372 h 209560"/>
              <a:gd name="connsiteX79" fmla="*/ 28643 w 73807"/>
              <a:gd name="connsiteY79" fmla="*/ 14387 h 209560"/>
              <a:gd name="connsiteX80" fmla="*/ 29992 w 73807"/>
              <a:gd name="connsiteY80" fmla="*/ 497 h 209560"/>
              <a:gd name="connsiteX81" fmla="*/ 33802 w 73807"/>
              <a:gd name="connsiteY81" fmla="*/ 2481 h 209560"/>
              <a:gd name="connsiteX82" fmla="*/ 29992 w 73807"/>
              <a:gd name="connsiteY82" fmla="*/ 6450 h 209560"/>
              <a:gd name="connsiteX83" fmla="*/ 24277 w 73807"/>
              <a:gd name="connsiteY83" fmla="*/ 2481 h 209560"/>
              <a:gd name="connsiteX84" fmla="*/ 29992 w 73807"/>
              <a:gd name="connsiteY84" fmla="*/ 497 h 20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3807" h="209560">
                <a:moveTo>
                  <a:pt x="68331" y="203300"/>
                </a:moveTo>
                <a:cubicBezTo>
                  <a:pt x="68331" y="203300"/>
                  <a:pt x="70315" y="205285"/>
                  <a:pt x="70315" y="207269"/>
                </a:cubicBezTo>
                <a:cubicBezTo>
                  <a:pt x="70315" y="209254"/>
                  <a:pt x="64361" y="211238"/>
                  <a:pt x="64361" y="207269"/>
                </a:cubicBezTo>
                <a:cubicBezTo>
                  <a:pt x="62377" y="203300"/>
                  <a:pt x="68331" y="203300"/>
                  <a:pt x="68331" y="203300"/>
                </a:cubicBezTo>
                <a:close/>
                <a:moveTo>
                  <a:pt x="61848" y="177588"/>
                </a:moveTo>
                <a:cubicBezTo>
                  <a:pt x="64493" y="177843"/>
                  <a:pt x="67139" y="178353"/>
                  <a:pt x="67139" y="178353"/>
                </a:cubicBezTo>
                <a:cubicBezTo>
                  <a:pt x="67139" y="178353"/>
                  <a:pt x="67139" y="184477"/>
                  <a:pt x="67139" y="186518"/>
                </a:cubicBezTo>
                <a:cubicBezTo>
                  <a:pt x="67139" y="190600"/>
                  <a:pt x="60789" y="188559"/>
                  <a:pt x="58672" y="188559"/>
                </a:cubicBezTo>
                <a:cubicBezTo>
                  <a:pt x="54439" y="188559"/>
                  <a:pt x="56556" y="180395"/>
                  <a:pt x="56556" y="178353"/>
                </a:cubicBezTo>
                <a:cubicBezTo>
                  <a:pt x="56556" y="177333"/>
                  <a:pt x="59202" y="177333"/>
                  <a:pt x="61848" y="177588"/>
                </a:cubicBezTo>
                <a:close/>
                <a:moveTo>
                  <a:pt x="68727" y="173932"/>
                </a:moveTo>
                <a:cubicBezTo>
                  <a:pt x="68727" y="171550"/>
                  <a:pt x="72696" y="173932"/>
                  <a:pt x="72696" y="173932"/>
                </a:cubicBezTo>
                <a:cubicBezTo>
                  <a:pt x="76665" y="176313"/>
                  <a:pt x="68727" y="173932"/>
                  <a:pt x="68727" y="173932"/>
                </a:cubicBezTo>
                <a:close/>
                <a:moveTo>
                  <a:pt x="56556" y="152500"/>
                </a:moveTo>
                <a:cubicBezTo>
                  <a:pt x="56556" y="152500"/>
                  <a:pt x="56556" y="152500"/>
                  <a:pt x="58409" y="152500"/>
                </a:cubicBezTo>
                <a:cubicBezTo>
                  <a:pt x="58409" y="152500"/>
                  <a:pt x="60261" y="152500"/>
                  <a:pt x="60261" y="152500"/>
                </a:cubicBezTo>
                <a:cubicBezTo>
                  <a:pt x="63965" y="152500"/>
                  <a:pt x="63965" y="156310"/>
                  <a:pt x="63965" y="158215"/>
                </a:cubicBezTo>
                <a:cubicBezTo>
                  <a:pt x="63965" y="160120"/>
                  <a:pt x="62113" y="160120"/>
                  <a:pt x="62113" y="160120"/>
                </a:cubicBezTo>
                <a:cubicBezTo>
                  <a:pt x="62113" y="160120"/>
                  <a:pt x="58409" y="160120"/>
                  <a:pt x="56556" y="162025"/>
                </a:cubicBezTo>
                <a:cubicBezTo>
                  <a:pt x="52852" y="162025"/>
                  <a:pt x="54704" y="156310"/>
                  <a:pt x="54704" y="156310"/>
                </a:cubicBezTo>
                <a:cubicBezTo>
                  <a:pt x="54704" y="156310"/>
                  <a:pt x="54704" y="156310"/>
                  <a:pt x="56556" y="152500"/>
                </a:cubicBezTo>
                <a:close/>
                <a:moveTo>
                  <a:pt x="47183" y="123925"/>
                </a:moveTo>
                <a:cubicBezTo>
                  <a:pt x="47183" y="123925"/>
                  <a:pt x="51265" y="123925"/>
                  <a:pt x="51265" y="125910"/>
                </a:cubicBezTo>
                <a:cubicBezTo>
                  <a:pt x="51265" y="127894"/>
                  <a:pt x="43100" y="127894"/>
                  <a:pt x="39018" y="129879"/>
                </a:cubicBezTo>
                <a:cubicBezTo>
                  <a:pt x="36977" y="131863"/>
                  <a:pt x="39018" y="125910"/>
                  <a:pt x="39018" y="125910"/>
                </a:cubicBezTo>
                <a:cubicBezTo>
                  <a:pt x="39018" y="123925"/>
                  <a:pt x="47183" y="123925"/>
                  <a:pt x="47183" y="123925"/>
                </a:cubicBezTo>
                <a:close/>
                <a:moveTo>
                  <a:pt x="42269" y="102097"/>
                </a:moveTo>
                <a:cubicBezTo>
                  <a:pt x="42269" y="102097"/>
                  <a:pt x="46502" y="106066"/>
                  <a:pt x="46502" y="106066"/>
                </a:cubicBezTo>
                <a:cubicBezTo>
                  <a:pt x="44385" y="108050"/>
                  <a:pt x="40152" y="106066"/>
                  <a:pt x="40152" y="104081"/>
                </a:cubicBezTo>
                <a:cubicBezTo>
                  <a:pt x="40152" y="100112"/>
                  <a:pt x="42269" y="102097"/>
                  <a:pt x="42269" y="102097"/>
                </a:cubicBezTo>
                <a:close/>
                <a:moveTo>
                  <a:pt x="42375" y="90587"/>
                </a:moveTo>
                <a:cubicBezTo>
                  <a:pt x="51265" y="90587"/>
                  <a:pt x="49042" y="93762"/>
                  <a:pt x="44597" y="93762"/>
                </a:cubicBezTo>
                <a:cubicBezTo>
                  <a:pt x="42375" y="93762"/>
                  <a:pt x="40152" y="93762"/>
                  <a:pt x="40152" y="92175"/>
                </a:cubicBezTo>
                <a:cubicBezTo>
                  <a:pt x="40152" y="90587"/>
                  <a:pt x="42375" y="90587"/>
                  <a:pt x="42375" y="90587"/>
                </a:cubicBezTo>
                <a:close/>
                <a:moveTo>
                  <a:pt x="42797" y="84635"/>
                </a:moveTo>
                <a:cubicBezTo>
                  <a:pt x="44914" y="82650"/>
                  <a:pt x="51264" y="90588"/>
                  <a:pt x="42797" y="88604"/>
                </a:cubicBezTo>
                <a:cubicBezTo>
                  <a:pt x="42797" y="88604"/>
                  <a:pt x="38564" y="86619"/>
                  <a:pt x="42797" y="84635"/>
                </a:cubicBezTo>
                <a:close/>
                <a:moveTo>
                  <a:pt x="42533" y="73522"/>
                </a:moveTo>
                <a:cubicBezTo>
                  <a:pt x="44518" y="75506"/>
                  <a:pt x="46502" y="79475"/>
                  <a:pt x="42533" y="79475"/>
                </a:cubicBezTo>
                <a:cubicBezTo>
                  <a:pt x="38565" y="79475"/>
                  <a:pt x="34596" y="79475"/>
                  <a:pt x="34596" y="79475"/>
                </a:cubicBezTo>
                <a:cubicBezTo>
                  <a:pt x="34596" y="79475"/>
                  <a:pt x="30627" y="77491"/>
                  <a:pt x="34596" y="75506"/>
                </a:cubicBezTo>
                <a:cubicBezTo>
                  <a:pt x="38565" y="71537"/>
                  <a:pt x="40549" y="71537"/>
                  <a:pt x="42533" y="73522"/>
                </a:cubicBezTo>
                <a:close/>
                <a:moveTo>
                  <a:pt x="18633" y="68796"/>
                </a:moveTo>
                <a:cubicBezTo>
                  <a:pt x="22513" y="66775"/>
                  <a:pt x="22513" y="68796"/>
                  <a:pt x="22513" y="72837"/>
                </a:cubicBezTo>
                <a:cubicBezTo>
                  <a:pt x="24454" y="76878"/>
                  <a:pt x="28334" y="80918"/>
                  <a:pt x="28334" y="80918"/>
                </a:cubicBezTo>
                <a:cubicBezTo>
                  <a:pt x="28334" y="80918"/>
                  <a:pt x="32215" y="84959"/>
                  <a:pt x="28334" y="86980"/>
                </a:cubicBezTo>
                <a:cubicBezTo>
                  <a:pt x="24454" y="89000"/>
                  <a:pt x="20573" y="86980"/>
                  <a:pt x="18633" y="84959"/>
                </a:cubicBezTo>
                <a:cubicBezTo>
                  <a:pt x="18633" y="82939"/>
                  <a:pt x="16692" y="74857"/>
                  <a:pt x="16692" y="74857"/>
                </a:cubicBezTo>
                <a:cubicBezTo>
                  <a:pt x="16692" y="74857"/>
                  <a:pt x="14752" y="70816"/>
                  <a:pt x="18633" y="68796"/>
                </a:cubicBezTo>
                <a:close/>
                <a:moveTo>
                  <a:pt x="40549" y="60425"/>
                </a:moveTo>
                <a:cubicBezTo>
                  <a:pt x="44517" y="60425"/>
                  <a:pt x="46502" y="60425"/>
                  <a:pt x="46502" y="62466"/>
                </a:cubicBezTo>
                <a:cubicBezTo>
                  <a:pt x="46502" y="64508"/>
                  <a:pt x="46502" y="74713"/>
                  <a:pt x="42533" y="66549"/>
                </a:cubicBezTo>
                <a:cubicBezTo>
                  <a:pt x="42533" y="66549"/>
                  <a:pt x="38564" y="62466"/>
                  <a:pt x="40549" y="60425"/>
                </a:cubicBezTo>
                <a:close/>
                <a:moveTo>
                  <a:pt x="32849" y="50900"/>
                </a:moveTo>
                <a:cubicBezTo>
                  <a:pt x="36659" y="50900"/>
                  <a:pt x="38564" y="54869"/>
                  <a:pt x="38564" y="56854"/>
                </a:cubicBezTo>
                <a:cubicBezTo>
                  <a:pt x="36659" y="58838"/>
                  <a:pt x="30944" y="54869"/>
                  <a:pt x="30944" y="54869"/>
                </a:cubicBezTo>
                <a:cubicBezTo>
                  <a:pt x="30944" y="54869"/>
                  <a:pt x="29039" y="52885"/>
                  <a:pt x="32849" y="50900"/>
                </a:cubicBezTo>
                <a:close/>
                <a:moveTo>
                  <a:pt x="43327" y="38200"/>
                </a:moveTo>
                <a:cubicBezTo>
                  <a:pt x="46502" y="40141"/>
                  <a:pt x="46502" y="42081"/>
                  <a:pt x="46502" y="45962"/>
                </a:cubicBezTo>
                <a:cubicBezTo>
                  <a:pt x="46502" y="47902"/>
                  <a:pt x="44915" y="55663"/>
                  <a:pt x="43327" y="53723"/>
                </a:cubicBezTo>
                <a:cubicBezTo>
                  <a:pt x="43327" y="49842"/>
                  <a:pt x="43327" y="44021"/>
                  <a:pt x="43327" y="44021"/>
                </a:cubicBezTo>
                <a:cubicBezTo>
                  <a:pt x="43327" y="44021"/>
                  <a:pt x="43327" y="38200"/>
                  <a:pt x="43327" y="38200"/>
                </a:cubicBezTo>
                <a:close/>
                <a:moveTo>
                  <a:pt x="2918" y="29009"/>
                </a:moveTo>
                <a:cubicBezTo>
                  <a:pt x="4938" y="27087"/>
                  <a:pt x="6959" y="30931"/>
                  <a:pt x="6959" y="32852"/>
                </a:cubicBezTo>
                <a:cubicBezTo>
                  <a:pt x="6959" y="34774"/>
                  <a:pt x="8979" y="38618"/>
                  <a:pt x="11000" y="40539"/>
                </a:cubicBezTo>
                <a:cubicBezTo>
                  <a:pt x="13020" y="42461"/>
                  <a:pt x="13020" y="42461"/>
                  <a:pt x="13020" y="38618"/>
                </a:cubicBezTo>
                <a:cubicBezTo>
                  <a:pt x="13020" y="34774"/>
                  <a:pt x="13020" y="34774"/>
                  <a:pt x="17061" y="34774"/>
                </a:cubicBezTo>
                <a:cubicBezTo>
                  <a:pt x="21102" y="34774"/>
                  <a:pt x="19082" y="42461"/>
                  <a:pt x="19082" y="42461"/>
                </a:cubicBezTo>
                <a:cubicBezTo>
                  <a:pt x="19082" y="42461"/>
                  <a:pt x="15041" y="50148"/>
                  <a:pt x="19082" y="52070"/>
                </a:cubicBezTo>
                <a:cubicBezTo>
                  <a:pt x="21102" y="55913"/>
                  <a:pt x="21102" y="57835"/>
                  <a:pt x="19082" y="59757"/>
                </a:cubicBezTo>
                <a:cubicBezTo>
                  <a:pt x="19082" y="61679"/>
                  <a:pt x="17061" y="63600"/>
                  <a:pt x="15041" y="61679"/>
                </a:cubicBezTo>
                <a:cubicBezTo>
                  <a:pt x="13020" y="59757"/>
                  <a:pt x="8979" y="59757"/>
                  <a:pt x="8979" y="59757"/>
                </a:cubicBezTo>
                <a:cubicBezTo>
                  <a:pt x="8979" y="59757"/>
                  <a:pt x="897" y="61679"/>
                  <a:pt x="897" y="55913"/>
                </a:cubicBezTo>
                <a:cubicBezTo>
                  <a:pt x="897" y="52070"/>
                  <a:pt x="-1123" y="52070"/>
                  <a:pt x="897" y="48226"/>
                </a:cubicBezTo>
                <a:cubicBezTo>
                  <a:pt x="2918" y="46305"/>
                  <a:pt x="2918" y="38618"/>
                  <a:pt x="2918" y="36696"/>
                </a:cubicBezTo>
                <a:cubicBezTo>
                  <a:pt x="2918" y="36696"/>
                  <a:pt x="897" y="30931"/>
                  <a:pt x="2918" y="29009"/>
                </a:cubicBezTo>
                <a:close/>
                <a:moveTo>
                  <a:pt x="28643" y="14387"/>
                </a:moveTo>
                <a:cubicBezTo>
                  <a:pt x="30627" y="14387"/>
                  <a:pt x="28643" y="16372"/>
                  <a:pt x="28643" y="18356"/>
                </a:cubicBezTo>
                <a:cubicBezTo>
                  <a:pt x="28643" y="22325"/>
                  <a:pt x="24673" y="18356"/>
                  <a:pt x="22689" y="16372"/>
                </a:cubicBezTo>
                <a:cubicBezTo>
                  <a:pt x="22689" y="14387"/>
                  <a:pt x="28643" y="14387"/>
                  <a:pt x="28643" y="14387"/>
                </a:cubicBezTo>
                <a:close/>
                <a:moveTo>
                  <a:pt x="29992" y="497"/>
                </a:moveTo>
                <a:cubicBezTo>
                  <a:pt x="29992" y="497"/>
                  <a:pt x="31897" y="2481"/>
                  <a:pt x="33802" y="2481"/>
                </a:cubicBezTo>
                <a:cubicBezTo>
                  <a:pt x="33802" y="2481"/>
                  <a:pt x="29992" y="4466"/>
                  <a:pt x="29992" y="6450"/>
                </a:cubicBezTo>
                <a:cubicBezTo>
                  <a:pt x="28087" y="6450"/>
                  <a:pt x="24277" y="4466"/>
                  <a:pt x="24277" y="2481"/>
                </a:cubicBezTo>
                <a:cubicBezTo>
                  <a:pt x="26182" y="-1488"/>
                  <a:pt x="29992" y="497"/>
                  <a:pt x="29992" y="497"/>
                </a:cubicBezTo>
                <a:close/>
              </a:path>
            </a:pathLst>
          </a:custGeom>
          <a:solidFill>
            <a:schemeClr val="accent5">
              <a:lumMod val="40000"/>
              <a:lumOff val="6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8" name="New Caledonia (France)"/>
          <p:cNvSpPr>
            <a:spLocks/>
          </p:cNvSpPr>
          <p:nvPr/>
        </p:nvSpPr>
        <p:spPr bwMode="auto">
          <a:xfrm>
            <a:off x="10596002" y="4699316"/>
            <a:ext cx="114324" cy="88698"/>
          </a:xfrm>
          <a:custGeom>
            <a:avLst/>
            <a:gdLst>
              <a:gd name="connsiteX0" fmla="*/ 107315 w 111125"/>
              <a:gd name="connsiteY0" fmla="*/ 58738 h 86216"/>
              <a:gd name="connsiteX1" fmla="*/ 111125 w 111125"/>
              <a:gd name="connsiteY1" fmla="*/ 62548 h 86216"/>
              <a:gd name="connsiteX2" fmla="*/ 107315 w 111125"/>
              <a:gd name="connsiteY2" fmla="*/ 68263 h 86216"/>
              <a:gd name="connsiteX3" fmla="*/ 103505 w 111125"/>
              <a:gd name="connsiteY3" fmla="*/ 60643 h 86216"/>
              <a:gd name="connsiteX4" fmla="*/ 107315 w 111125"/>
              <a:gd name="connsiteY4" fmla="*/ 58738 h 86216"/>
              <a:gd name="connsiteX5" fmla="*/ 88900 w 111125"/>
              <a:gd name="connsiteY5" fmla="*/ 33338 h 86216"/>
              <a:gd name="connsiteX6" fmla="*/ 91017 w 111125"/>
              <a:gd name="connsiteY6" fmla="*/ 41805 h 86216"/>
              <a:gd name="connsiteX7" fmla="*/ 93133 w 111125"/>
              <a:gd name="connsiteY7" fmla="*/ 48155 h 86216"/>
              <a:gd name="connsiteX8" fmla="*/ 93133 w 111125"/>
              <a:gd name="connsiteY8" fmla="*/ 52388 h 86216"/>
              <a:gd name="connsiteX9" fmla="*/ 84667 w 111125"/>
              <a:gd name="connsiteY9" fmla="*/ 48155 h 86216"/>
              <a:gd name="connsiteX10" fmla="*/ 84667 w 111125"/>
              <a:gd name="connsiteY10" fmla="*/ 37572 h 86216"/>
              <a:gd name="connsiteX11" fmla="*/ 88900 w 111125"/>
              <a:gd name="connsiteY11" fmla="*/ 33338 h 86216"/>
              <a:gd name="connsiteX12" fmla="*/ 76994 w 111125"/>
              <a:gd name="connsiteY12" fmla="*/ 23813 h 86216"/>
              <a:gd name="connsiteX13" fmla="*/ 76994 w 111125"/>
              <a:gd name="connsiteY13" fmla="*/ 28047 h 86216"/>
              <a:gd name="connsiteX14" fmla="*/ 76994 w 111125"/>
              <a:gd name="connsiteY14" fmla="*/ 32280 h 86216"/>
              <a:gd name="connsiteX15" fmla="*/ 76994 w 111125"/>
              <a:gd name="connsiteY15" fmla="*/ 34397 h 86216"/>
              <a:gd name="connsiteX16" fmla="*/ 73025 w 111125"/>
              <a:gd name="connsiteY16" fmla="*/ 34397 h 86216"/>
              <a:gd name="connsiteX17" fmla="*/ 73025 w 111125"/>
              <a:gd name="connsiteY17" fmla="*/ 30163 h 86216"/>
              <a:gd name="connsiteX18" fmla="*/ 75009 w 111125"/>
              <a:gd name="connsiteY18" fmla="*/ 25930 h 86216"/>
              <a:gd name="connsiteX19" fmla="*/ 76994 w 111125"/>
              <a:gd name="connsiteY19" fmla="*/ 23813 h 86216"/>
              <a:gd name="connsiteX20" fmla="*/ 5171 w 111125"/>
              <a:gd name="connsiteY20" fmla="*/ 14288 h 86216"/>
              <a:gd name="connsiteX21" fmla="*/ 13154 w 111125"/>
              <a:gd name="connsiteY21" fmla="*/ 22183 h 86216"/>
              <a:gd name="connsiteX22" fmla="*/ 19141 w 111125"/>
              <a:gd name="connsiteY22" fmla="*/ 24156 h 86216"/>
              <a:gd name="connsiteX23" fmla="*/ 25128 w 111125"/>
              <a:gd name="connsiteY23" fmla="*/ 28104 h 86216"/>
              <a:gd name="connsiteX24" fmla="*/ 33111 w 111125"/>
              <a:gd name="connsiteY24" fmla="*/ 37972 h 86216"/>
              <a:gd name="connsiteX25" fmla="*/ 37102 w 111125"/>
              <a:gd name="connsiteY25" fmla="*/ 41919 h 86216"/>
              <a:gd name="connsiteX26" fmla="*/ 43089 w 111125"/>
              <a:gd name="connsiteY26" fmla="*/ 47840 h 86216"/>
              <a:gd name="connsiteX27" fmla="*/ 47081 w 111125"/>
              <a:gd name="connsiteY27" fmla="*/ 53761 h 86216"/>
              <a:gd name="connsiteX28" fmla="*/ 49076 w 111125"/>
              <a:gd name="connsiteY28" fmla="*/ 55735 h 86216"/>
              <a:gd name="connsiteX29" fmla="*/ 59055 w 111125"/>
              <a:gd name="connsiteY29" fmla="*/ 59682 h 86216"/>
              <a:gd name="connsiteX30" fmla="*/ 65042 w 111125"/>
              <a:gd name="connsiteY30" fmla="*/ 67577 h 86216"/>
              <a:gd name="connsiteX31" fmla="*/ 71029 w 111125"/>
              <a:gd name="connsiteY31" fmla="*/ 73498 h 86216"/>
              <a:gd name="connsiteX32" fmla="*/ 73025 w 111125"/>
              <a:gd name="connsiteY32" fmla="*/ 83366 h 86216"/>
              <a:gd name="connsiteX33" fmla="*/ 67038 w 111125"/>
              <a:gd name="connsiteY33" fmla="*/ 85340 h 86216"/>
              <a:gd name="connsiteX34" fmla="*/ 61051 w 111125"/>
              <a:gd name="connsiteY34" fmla="*/ 85340 h 86216"/>
              <a:gd name="connsiteX35" fmla="*/ 55064 w 111125"/>
              <a:gd name="connsiteY35" fmla="*/ 85340 h 86216"/>
              <a:gd name="connsiteX36" fmla="*/ 49076 w 111125"/>
              <a:gd name="connsiteY36" fmla="*/ 79419 h 86216"/>
              <a:gd name="connsiteX37" fmla="*/ 49076 w 111125"/>
              <a:gd name="connsiteY37" fmla="*/ 73498 h 86216"/>
              <a:gd name="connsiteX38" fmla="*/ 47081 w 111125"/>
              <a:gd name="connsiteY38" fmla="*/ 69550 h 86216"/>
              <a:gd name="connsiteX39" fmla="*/ 39098 w 111125"/>
              <a:gd name="connsiteY39" fmla="*/ 63629 h 86216"/>
              <a:gd name="connsiteX40" fmla="*/ 33111 w 111125"/>
              <a:gd name="connsiteY40" fmla="*/ 59682 h 86216"/>
              <a:gd name="connsiteX41" fmla="*/ 27124 w 111125"/>
              <a:gd name="connsiteY41" fmla="*/ 53761 h 86216"/>
              <a:gd name="connsiteX42" fmla="*/ 23132 w 111125"/>
              <a:gd name="connsiteY42" fmla="*/ 47840 h 86216"/>
              <a:gd name="connsiteX43" fmla="*/ 15149 w 111125"/>
              <a:gd name="connsiteY43" fmla="*/ 39946 h 86216"/>
              <a:gd name="connsiteX44" fmla="*/ 11158 w 111125"/>
              <a:gd name="connsiteY44" fmla="*/ 32051 h 86216"/>
              <a:gd name="connsiteX45" fmla="*/ 9162 w 111125"/>
              <a:gd name="connsiteY45" fmla="*/ 24156 h 86216"/>
              <a:gd name="connsiteX46" fmla="*/ 3175 w 111125"/>
              <a:gd name="connsiteY46" fmla="*/ 18236 h 86216"/>
              <a:gd name="connsiteX47" fmla="*/ 5171 w 111125"/>
              <a:gd name="connsiteY47" fmla="*/ 14288 h 86216"/>
              <a:gd name="connsiteX48" fmla="*/ 1587 w 111125"/>
              <a:gd name="connsiteY48" fmla="*/ 0 h 86216"/>
              <a:gd name="connsiteX49" fmla="*/ 3175 w 111125"/>
              <a:gd name="connsiteY49" fmla="*/ 2117 h 86216"/>
              <a:gd name="connsiteX50" fmla="*/ 0 w 111125"/>
              <a:gd name="connsiteY50" fmla="*/ 4234 h 86216"/>
              <a:gd name="connsiteX51" fmla="*/ 1587 w 111125"/>
              <a:gd name="connsiteY51" fmla="*/ 0 h 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1125" h="86216">
                <a:moveTo>
                  <a:pt x="107315" y="58738"/>
                </a:moveTo>
                <a:cubicBezTo>
                  <a:pt x="107315" y="58738"/>
                  <a:pt x="111125" y="60643"/>
                  <a:pt x="111125" y="62548"/>
                </a:cubicBezTo>
                <a:cubicBezTo>
                  <a:pt x="111125" y="66358"/>
                  <a:pt x="109220" y="68263"/>
                  <a:pt x="107315" y="68263"/>
                </a:cubicBezTo>
                <a:cubicBezTo>
                  <a:pt x="101600" y="68263"/>
                  <a:pt x="101600" y="62548"/>
                  <a:pt x="103505" y="60643"/>
                </a:cubicBezTo>
                <a:cubicBezTo>
                  <a:pt x="103505" y="58738"/>
                  <a:pt x="107315" y="58738"/>
                  <a:pt x="107315" y="58738"/>
                </a:cubicBezTo>
                <a:close/>
                <a:moveTo>
                  <a:pt x="88900" y="33338"/>
                </a:moveTo>
                <a:cubicBezTo>
                  <a:pt x="91017" y="33338"/>
                  <a:pt x="91017" y="37572"/>
                  <a:pt x="91017" y="41805"/>
                </a:cubicBezTo>
                <a:cubicBezTo>
                  <a:pt x="91017" y="43922"/>
                  <a:pt x="93133" y="48155"/>
                  <a:pt x="93133" y="48155"/>
                </a:cubicBezTo>
                <a:cubicBezTo>
                  <a:pt x="95250" y="50272"/>
                  <a:pt x="95250" y="52388"/>
                  <a:pt x="93133" y="52388"/>
                </a:cubicBezTo>
                <a:cubicBezTo>
                  <a:pt x="88900" y="52388"/>
                  <a:pt x="88900" y="52388"/>
                  <a:pt x="84667" y="48155"/>
                </a:cubicBezTo>
                <a:cubicBezTo>
                  <a:pt x="82550" y="43922"/>
                  <a:pt x="84667" y="41805"/>
                  <a:pt x="84667" y="37572"/>
                </a:cubicBezTo>
                <a:cubicBezTo>
                  <a:pt x="84667" y="33338"/>
                  <a:pt x="88900" y="33338"/>
                  <a:pt x="88900" y="33338"/>
                </a:cubicBezTo>
                <a:close/>
                <a:moveTo>
                  <a:pt x="76994" y="23813"/>
                </a:moveTo>
                <a:cubicBezTo>
                  <a:pt x="80963" y="25930"/>
                  <a:pt x="78979" y="28047"/>
                  <a:pt x="76994" y="28047"/>
                </a:cubicBezTo>
                <a:cubicBezTo>
                  <a:pt x="76994" y="28047"/>
                  <a:pt x="76994" y="30163"/>
                  <a:pt x="76994" y="32280"/>
                </a:cubicBezTo>
                <a:cubicBezTo>
                  <a:pt x="78979" y="34397"/>
                  <a:pt x="76994" y="34397"/>
                  <a:pt x="76994" y="34397"/>
                </a:cubicBezTo>
                <a:cubicBezTo>
                  <a:pt x="76994" y="34397"/>
                  <a:pt x="75009" y="36513"/>
                  <a:pt x="73025" y="34397"/>
                </a:cubicBezTo>
                <a:cubicBezTo>
                  <a:pt x="73025" y="30163"/>
                  <a:pt x="73025" y="30163"/>
                  <a:pt x="73025" y="30163"/>
                </a:cubicBezTo>
                <a:cubicBezTo>
                  <a:pt x="73025" y="30163"/>
                  <a:pt x="75009" y="28047"/>
                  <a:pt x="75009" y="25930"/>
                </a:cubicBezTo>
                <a:cubicBezTo>
                  <a:pt x="75009" y="23813"/>
                  <a:pt x="76994" y="23813"/>
                  <a:pt x="76994" y="23813"/>
                </a:cubicBezTo>
                <a:close/>
                <a:moveTo>
                  <a:pt x="5171" y="14288"/>
                </a:moveTo>
                <a:cubicBezTo>
                  <a:pt x="9162" y="16262"/>
                  <a:pt x="9162" y="18236"/>
                  <a:pt x="13154" y="22183"/>
                </a:cubicBezTo>
                <a:cubicBezTo>
                  <a:pt x="15149" y="26130"/>
                  <a:pt x="17145" y="24156"/>
                  <a:pt x="19141" y="24156"/>
                </a:cubicBezTo>
                <a:cubicBezTo>
                  <a:pt x="21136" y="24156"/>
                  <a:pt x="23132" y="24156"/>
                  <a:pt x="25128" y="28104"/>
                </a:cubicBezTo>
                <a:cubicBezTo>
                  <a:pt x="27124" y="32051"/>
                  <a:pt x="31115" y="35998"/>
                  <a:pt x="33111" y="37972"/>
                </a:cubicBezTo>
                <a:cubicBezTo>
                  <a:pt x="33111" y="39946"/>
                  <a:pt x="35106" y="41919"/>
                  <a:pt x="37102" y="41919"/>
                </a:cubicBezTo>
                <a:cubicBezTo>
                  <a:pt x="39098" y="39946"/>
                  <a:pt x="43089" y="43893"/>
                  <a:pt x="43089" y="47840"/>
                </a:cubicBezTo>
                <a:cubicBezTo>
                  <a:pt x="43089" y="51788"/>
                  <a:pt x="47081" y="53761"/>
                  <a:pt x="47081" y="53761"/>
                </a:cubicBezTo>
                <a:cubicBezTo>
                  <a:pt x="47081" y="53761"/>
                  <a:pt x="47081" y="53761"/>
                  <a:pt x="49076" y="55735"/>
                </a:cubicBezTo>
                <a:cubicBezTo>
                  <a:pt x="49076" y="59682"/>
                  <a:pt x="53068" y="59682"/>
                  <a:pt x="59055" y="59682"/>
                </a:cubicBezTo>
                <a:cubicBezTo>
                  <a:pt x="63046" y="61656"/>
                  <a:pt x="63046" y="65603"/>
                  <a:pt x="65042" y="67577"/>
                </a:cubicBezTo>
                <a:cubicBezTo>
                  <a:pt x="65042" y="69550"/>
                  <a:pt x="71029" y="73498"/>
                  <a:pt x="71029" y="73498"/>
                </a:cubicBezTo>
                <a:cubicBezTo>
                  <a:pt x="71029" y="73498"/>
                  <a:pt x="73025" y="79419"/>
                  <a:pt x="73025" y="83366"/>
                </a:cubicBezTo>
                <a:cubicBezTo>
                  <a:pt x="71029" y="87313"/>
                  <a:pt x="69034" y="85340"/>
                  <a:pt x="67038" y="85340"/>
                </a:cubicBezTo>
                <a:cubicBezTo>
                  <a:pt x="65042" y="83366"/>
                  <a:pt x="63046" y="83366"/>
                  <a:pt x="61051" y="85340"/>
                </a:cubicBezTo>
                <a:cubicBezTo>
                  <a:pt x="61051" y="87313"/>
                  <a:pt x="55064" y="85340"/>
                  <a:pt x="55064" y="85340"/>
                </a:cubicBezTo>
                <a:cubicBezTo>
                  <a:pt x="55064" y="85340"/>
                  <a:pt x="51072" y="83366"/>
                  <a:pt x="49076" y="79419"/>
                </a:cubicBezTo>
                <a:cubicBezTo>
                  <a:pt x="47081" y="77445"/>
                  <a:pt x="47081" y="75471"/>
                  <a:pt x="49076" y="73498"/>
                </a:cubicBezTo>
                <a:cubicBezTo>
                  <a:pt x="51072" y="71524"/>
                  <a:pt x="47081" y="69550"/>
                  <a:pt x="47081" y="69550"/>
                </a:cubicBezTo>
                <a:cubicBezTo>
                  <a:pt x="47081" y="69550"/>
                  <a:pt x="45085" y="65603"/>
                  <a:pt x="39098" y="63629"/>
                </a:cubicBezTo>
                <a:cubicBezTo>
                  <a:pt x="35106" y="63629"/>
                  <a:pt x="33111" y="59682"/>
                  <a:pt x="33111" y="59682"/>
                </a:cubicBezTo>
                <a:cubicBezTo>
                  <a:pt x="33111" y="59682"/>
                  <a:pt x="29119" y="55735"/>
                  <a:pt x="27124" y="53761"/>
                </a:cubicBezTo>
                <a:cubicBezTo>
                  <a:pt x="23132" y="49814"/>
                  <a:pt x="23132" y="49814"/>
                  <a:pt x="23132" y="47840"/>
                </a:cubicBezTo>
                <a:cubicBezTo>
                  <a:pt x="23132" y="43893"/>
                  <a:pt x="17145" y="39946"/>
                  <a:pt x="15149" y="39946"/>
                </a:cubicBezTo>
                <a:cubicBezTo>
                  <a:pt x="13154" y="37972"/>
                  <a:pt x="11158" y="35998"/>
                  <a:pt x="11158" y="32051"/>
                </a:cubicBezTo>
                <a:cubicBezTo>
                  <a:pt x="11158" y="28104"/>
                  <a:pt x="9162" y="28104"/>
                  <a:pt x="9162" y="24156"/>
                </a:cubicBezTo>
                <a:cubicBezTo>
                  <a:pt x="7166" y="20209"/>
                  <a:pt x="3175" y="18236"/>
                  <a:pt x="3175" y="18236"/>
                </a:cubicBezTo>
                <a:cubicBezTo>
                  <a:pt x="3175" y="18236"/>
                  <a:pt x="3175" y="14288"/>
                  <a:pt x="5171" y="14288"/>
                </a:cubicBezTo>
                <a:close/>
                <a:moveTo>
                  <a:pt x="1587" y="0"/>
                </a:moveTo>
                <a:cubicBezTo>
                  <a:pt x="1587" y="0"/>
                  <a:pt x="3175" y="2117"/>
                  <a:pt x="3175" y="2117"/>
                </a:cubicBezTo>
                <a:cubicBezTo>
                  <a:pt x="3175" y="4234"/>
                  <a:pt x="1587" y="6350"/>
                  <a:pt x="0" y="4234"/>
                </a:cubicBezTo>
                <a:cubicBezTo>
                  <a:pt x="0" y="0"/>
                  <a:pt x="1587" y="0"/>
                  <a:pt x="1587"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19" name="Australia"/>
          <p:cNvSpPr>
            <a:spLocks/>
          </p:cNvSpPr>
          <p:nvPr/>
        </p:nvSpPr>
        <p:spPr bwMode="auto">
          <a:xfrm>
            <a:off x="9215955" y="4411875"/>
            <a:ext cx="1213461" cy="1014211"/>
          </a:xfrm>
          <a:custGeom>
            <a:avLst/>
            <a:gdLst>
              <a:gd name="connsiteX0" fmla="*/ 822325 w 1179513"/>
              <a:gd name="connsiteY0" fmla="*/ 976312 h 985837"/>
              <a:gd name="connsiteX1" fmla="*/ 826294 w 1179513"/>
              <a:gd name="connsiteY1" fmla="*/ 976312 h 985837"/>
              <a:gd name="connsiteX2" fmla="*/ 832247 w 1179513"/>
              <a:gd name="connsiteY2" fmla="*/ 976312 h 985837"/>
              <a:gd name="connsiteX3" fmla="*/ 836216 w 1179513"/>
              <a:gd name="connsiteY3" fmla="*/ 976312 h 985837"/>
              <a:gd name="connsiteX4" fmla="*/ 838200 w 1179513"/>
              <a:gd name="connsiteY4" fmla="*/ 978217 h 985837"/>
              <a:gd name="connsiteX5" fmla="*/ 836216 w 1179513"/>
              <a:gd name="connsiteY5" fmla="*/ 982027 h 985837"/>
              <a:gd name="connsiteX6" fmla="*/ 832247 w 1179513"/>
              <a:gd name="connsiteY6" fmla="*/ 980122 h 985837"/>
              <a:gd name="connsiteX7" fmla="*/ 830263 w 1179513"/>
              <a:gd name="connsiteY7" fmla="*/ 980122 h 985837"/>
              <a:gd name="connsiteX8" fmla="*/ 826294 w 1179513"/>
              <a:gd name="connsiteY8" fmla="*/ 982027 h 985837"/>
              <a:gd name="connsiteX9" fmla="*/ 826294 w 1179513"/>
              <a:gd name="connsiteY9" fmla="*/ 985837 h 985837"/>
              <a:gd name="connsiteX10" fmla="*/ 824310 w 1179513"/>
              <a:gd name="connsiteY10" fmla="*/ 983932 h 985837"/>
              <a:gd name="connsiteX11" fmla="*/ 824310 w 1179513"/>
              <a:gd name="connsiteY11" fmla="*/ 980122 h 985837"/>
              <a:gd name="connsiteX12" fmla="*/ 822325 w 1179513"/>
              <a:gd name="connsiteY12" fmla="*/ 978217 h 985837"/>
              <a:gd name="connsiteX13" fmla="*/ 822325 w 1179513"/>
              <a:gd name="connsiteY13" fmla="*/ 976312 h 985837"/>
              <a:gd name="connsiteX14" fmla="*/ 826181 w 1179513"/>
              <a:gd name="connsiteY14" fmla="*/ 955675 h 985837"/>
              <a:gd name="connsiteX15" fmla="*/ 831624 w 1179513"/>
              <a:gd name="connsiteY15" fmla="*/ 955675 h 985837"/>
              <a:gd name="connsiteX16" fmla="*/ 833438 w 1179513"/>
              <a:gd name="connsiteY16" fmla="*/ 959556 h 985837"/>
              <a:gd name="connsiteX17" fmla="*/ 829810 w 1179513"/>
              <a:gd name="connsiteY17" fmla="*/ 967317 h 985837"/>
              <a:gd name="connsiteX18" fmla="*/ 831624 w 1179513"/>
              <a:gd name="connsiteY18" fmla="*/ 971197 h 985837"/>
              <a:gd name="connsiteX19" fmla="*/ 827995 w 1179513"/>
              <a:gd name="connsiteY19" fmla="*/ 973137 h 985837"/>
              <a:gd name="connsiteX20" fmla="*/ 826181 w 1179513"/>
              <a:gd name="connsiteY20" fmla="*/ 971197 h 985837"/>
              <a:gd name="connsiteX21" fmla="*/ 826181 w 1179513"/>
              <a:gd name="connsiteY21" fmla="*/ 967317 h 985837"/>
              <a:gd name="connsiteX22" fmla="*/ 822553 w 1179513"/>
              <a:gd name="connsiteY22" fmla="*/ 961496 h 985837"/>
              <a:gd name="connsiteX23" fmla="*/ 826181 w 1179513"/>
              <a:gd name="connsiteY23" fmla="*/ 955675 h 985837"/>
              <a:gd name="connsiteX24" fmla="*/ 726440 w 1179513"/>
              <a:gd name="connsiteY24" fmla="*/ 949325 h 985837"/>
              <a:gd name="connsiteX25" fmla="*/ 730250 w 1179513"/>
              <a:gd name="connsiteY25" fmla="*/ 949325 h 985837"/>
              <a:gd name="connsiteX26" fmla="*/ 730250 w 1179513"/>
              <a:gd name="connsiteY26" fmla="*/ 957407 h 985837"/>
              <a:gd name="connsiteX27" fmla="*/ 730250 w 1179513"/>
              <a:gd name="connsiteY27" fmla="*/ 965489 h 985837"/>
              <a:gd name="connsiteX28" fmla="*/ 728345 w 1179513"/>
              <a:gd name="connsiteY28" fmla="*/ 969530 h 985837"/>
              <a:gd name="connsiteX29" fmla="*/ 724535 w 1179513"/>
              <a:gd name="connsiteY29" fmla="*/ 971550 h 985837"/>
              <a:gd name="connsiteX30" fmla="*/ 720725 w 1179513"/>
              <a:gd name="connsiteY30" fmla="*/ 967509 h 985837"/>
              <a:gd name="connsiteX31" fmla="*/ 722630 w 1179513"/>
              <a:gd name="connsiteY31" fmla="*/ 959428 h 985837"/>
              <a:gd name="connsiteX32" fmla="*/ 724535 w 1179513"/>
              <a:gd name="connsiteY32" fmla="*/ 955387 h 985837"/>
              <a:gd name="connsiteX33" fmla="*/ 726440 w 1179513"/>
              <a:gd name="connsiteY33" fmla="*/ 949325 h 985837"/>
              <a:gd name="connsiteX34" fmla="*/ 586185 w 1179513"/>
              <a:gd name="connsiteY34" fmla="*/ 808037 h 985837"/>
              <a:gd name="connsiteX35" fmla="*/ 590154 w 1179513"/>
              <a:gd name="connsiteY35" fmla="*/ 812078 h 985837"/>
              <a:gd name="connsiteX36" fmla="*/ 590154 w 1179513"/>
              <a:gd name="connsiteY36" fmla="*/ 816119 h 985837"/>
              <a:gd name="connsiteX37" fmla="*/ 594123 w 1179513"/>
              <a:gd name="connsiteY37" fmla="*/ 816119 h 985837"/>
              <a:gd name="connsiteX38" fmla="*/ 598092 w 1179513"/>
              <a:gd name="connsiteY38" fmla="*/ 816119 h 985837"/>
              <a:gd name="connsiteX39" fmla="*/ 600076 w 1179513"/>
              <a:gd name="connsiteY39" fmla="*/ 818140 h 985837"/>
              <a:gd name="connsiteX40" fmla="*/ 600076 w 1179513"/>
              <a:gd name="connsiteY40" fmla="*/ 822180 h 985837"/>
              <a:gd name="connsiteX41" fmla="*/ 598092 w 1179513"/>
              <a:gd name="connsiteY41" fmla="*/ 824201 h 985837"/>
              <a:gd name="connsiteX42" fmla="*/ 594123 w 1179513"/>
              <a:gd name="connsiteY42" fmla="*/ 824201 h 985837"/>
              <a:gd name="connsiteX43" fmla="*/ 592139 w 1179513"/>
              <a:gd name="connsiteY43" fmla="*/ 822180 h 985837"/>
              <a:gd name="connsiteX44" fmla="*/ 590154 w 1179513"/>
              <a:gd name="connsiteY44" fmla="*/ 824201 h 985837"/>
              <a:gd name="connsiteX45" fmla="*/ 588170 w 1179513"/>
              <a:gd name="connsiteY45" fmla="*/ 828242 h 985837"/>
              <a:gd name="connsiteX46" fmla="*/ 584201 w 1179513"/>
              <a:gd name="connsiteY46" fmla="*/ 830262 h 985837"/>
              <a:gd name="connsiteX47" fmla="*/ 580232 w 1179513"/>
              <a:gd name="connsiteY47" fmla="*/ 826221 h 985837"/>
              <a:gd name="connsiteX48" fmla="*/ 576263 w 1179513"/>
              <a:gd name="connsiteY48" fmla="*/ 826221 h 985837"/>
              <a:gd name="connsiteX49" fmla="*/ 574279 w 1179513"/>
              <a:gd name="connsiteY49" fmla="*/ 826221 h 985837"/>
              <a:gd name="connsiteX50" fmla="*/ 570310 w 1179513"/>
              <a:gd name="connsiteY50" fmla="*/ 828242 h 985837"/>
              <a:gd name="connsiteX51" fmla="*/ 566341 w 1179513"/>
              <a:gd name="connsiteY51" fmla="*/ 828242 h 985837"/>
              <a:gd name="connsiteX52" fmla="*/ 562373 w 1179513"/>
              <a:gd name="connsiteY52" fmla="*/ 826221 h 985837"/>
              <a:gd name="connsiteX53" fmla="*/ 562373 w 1179513"/>
              <a:gd name="connsiteY53" fmla="*/ 818140 h 985837"/>
              <a:gd name="connsiteX54" fmla="*/ 564357 w 1179513"/>
              <a:gd name="connsiteY54" fmla="*/ 816119 h 985837"/>
              <a:gd name="connsiteX55" fmla="*/ 566341 w 1179513"/>
              <a:gd name="connsiteY55" fmla="*/ 814099 h 985837"/>
              <a:gd name="connsiteX56" fmla="*/ 572295 w 1179513"/>
              <a:gd name="connsiteY56" fmla="*/ 814099 h 985837"/>
              <a:gd name="connsiteX57" fmla="*/ 578248 w 1179513"/>
              <a:gd name="connsiteY57" fmla="*/ 812078 h 985837"/>
              <a:gd name="connsiteX58" fmla="*/ 586185 w 1179513"/>
              <a:gd name="connsiteY58" fmla="*/ 808037 h 985837"/>
              <a:gd name="connsiteX59" fmla="*/ 1177608 w 1179513"/>
              <a:gd name="connsiteY59" fmla="*/ 664104 h 985837"/>
              <a:gd name="connsiteX60" fmla="*/ 1179513 w 1179513"/>
              <a:gd name="connsiteY60" fmla="*/ 670454 h 985837"/>
              <a:gd name="connsiteX61" fmla="*/ 1169988 w 1179513"/>
              <a:gd name="connsiteY61" fmla="*/ 674687 h 985837"/>
              <a:gd name="connsiteX62" fmla="*/ 1169988 w 1179513"/>
              <a:gd name="connsiteY62" fmla="*/ 666221 h 985837"/>
              <a:gd name="connsiteX63" fmla="*/ 1177608 w 1179513"/>
              <a:gd name="connsiteY63" fmla="*/ 664104 h 985837"/>
              <a:gd name="connsiteX64" fmla="*/ 1042035 w 1179513"/>
              <a:gd name="connsiteY64" fmla="*/ 527483 h 985837"/>
              <a:gd name="connsiteX65" fmla="*/ 1045845 w 1179513"/>
              <a:gd name="connsiteY65" fmla="*/ 541626 h 985837"/>
              <a:gd name="connsiteX66" fmla="*/ 1040130 w 1179513"/>
              <a:gd name="connsiteY66" fmla="*/ 537585 h 985837"/>
              <a:gd name="connsiteX67" fmla="*/ 1038225 w 1179513"/>
              <a:gd name="connsiteY67" fmla="*/ 529503 h 985837"/>
              <a:gd name="connsiteX68" fmla="*/ 1042035 w 1179513"/>
              <a:gd name="connsiteY68" fmla="*/ 527483 h 985837"/>
              <a:gd name="connsiteX69" fmla="*/ 15875 w 1179513"/>
              <a:gd name="connsiteY69" fmla="*/ 477837 h 985837"/>
              <a:gd name="connsiteX70" fmla="*/ 20320 w 1179513"/>
              <a:gd name="connsiteY70" fmla="*/ 479777 h 985837"/>
              <a:gd name="connsiteX71" fmla="*/ 20320 w 1179513"/>
              <a:gd name="connsiteY71" fmla="*/ 483658 h 985837"/>
              <a:gd name="connsiteX72" fmla="*/ 24766 w 1179513"/>
              <a:gd name="connsiteY72" fmla="*/ 485598 h 985837"/>
              <a:gd name="connsiteX73" fmla="*/ 24766 w 1179513"/>
              <a:gd name="connsiteY73" fmla="*/ 491419 h 985837"/>
              <a:gd name="connsiteX74" fmla="*/ 24766 w 1179513"/>
              <a:gd name="connsiteY74" fmla="*/ 493359 h 985837"/>
              <a:gd name="connsiteX75" fmla="*/ 22543 w 1179513"/>
              <a:gd name="connsiteY75" fmla="*/ 495299 h 985837"/>
              <a:gd name="connsiteX76" fmla="*/ 18098 w 1179513"/>
              <a:gd name="connsiteY76" fmla="*/ 493359 h 985837"/>
              <a:gd name="connsiteX77" fmla="*/ 18098 w 1179513"/>
              <a:gd name="connsiteY77" fmla="*/ 491419 h 985837"/>
              <a:gd name="connsiteX78" fmla="*/ 15875 w 1179513"/>
              <a:gd name="connsiteY78" fmla="*/ 487538 h 985837"/>
              <a:gd name="connsiteX79" fmla="*/ 15875 w 1179513"/>
              <a:gd name="connsiteY79" fmla="*/ 483658 h 985837"/>
              <a:gd name="connsiteX80" fmla="*/ 15875 w 1179513"/>
              <a:gd name="connsiteY80" fmla="*/ 477837 h 985837"/>
              <a:gd name="connsiteX81" fmla="*/ 1053704 w 1179513"/>
              <a:gd name="connsiteY81" fmla="*/ 449262 h 985837"/>
              <a:gd name="connsiteX82" fmla="*/ 1055688 w 1179513"/>
              <a:gd name="connsiteY82" fmla="*/ 453231 h 985837"/>
              <a:gd name="connsiteX83" fmla="*/ 1053704 w 1179513"/>
              <a:gd name="connsiteY83" fmla="*/ 459184 h 985837"/>
              <a:gd name="connsiteX84" fmla="*/ 1051719 w 1179513"/>
              <a:gd name="connsiteY84" fmla="*/ 467122 h 985837"/>
              <a:gd name="connsiteX85" fmla="*/ 1047751 w 1179513"/>
              <a:gd name="connsiteY85" fmla="*/ 471090 h 985837"/>
              <a:gd name="connsiteX86" fmla="*/ 1045766 w 1179513"/>
              <a:gd name="connsiteY86" fmla="*/ 477043 h 985837"/>
              <a:gd name="connsiteX87" fmla="*/ 1041797 w 1179513"/>
              <a:gd name="connsiteY87" fmla="*/ 479028 h 985837"/>
              <a:gd name="connsiteX88" fmla="*/ 1041797 w 1179513"/>
              <a:gd name="connsiteY88" fmla="*/ 471090 h 985837"/>
              <a:gd name="connsiteX89" fmla="*/ 1045766 w 1179513"/>
              <a:gd name="connsiteY89" fmla="*/ 469106 h 985837"/>
              <a:gd name="connsiteX90" fmla="*/ 1045766 w 1179513"/>
              <a:gd name="connsiteY90" fmla="*/ 465137 h 985837"/>
              <a:gd name="connsiteX91" fmla="*/ 1043782 w 1179513"/>
              <a:gd name="connsiteY91" fmla="*/ 461168 h 985837"/>
              <a:gd name="connsiteX92" fmla="*/ 1049735 w 1179513"/>
              <a:gd name="connsiteY92" fmla="*/ 457200 h 985837"/>
              <a:gd name="connsiteX93" fmla="*/ 1051719 w 1179513"/>
              <a:gd name="connsiteY93" fmla="*/ 451247 h 985837"/>
              <a:gd name="connsiteX94" fmla="*/ 1053704 w 1179513"/>
              <a:gd name="connsiteY94" fmla="*/ 449262 h 985837"/>
              <a:gd name="connsiteX95" fmla="*/ 78185 w 1179513"/>
              <a:gd name="connsiteY95" fmla="*/ 317953 h 985837"/>
              <a:gd name="connsiteX96" fmla="*/ 84138 w 1179513"/>
              <a:gd name="connsiteY96" fmla="*/ 319994 h 985837"/>
              <a:gd name="connsiteX97" fmla="*/ 78185 w 1179513"/>
              <a:gd name="connsiteY97" fmla="*/ 326117 h 985837"/>
              <a:gd name="connsiteX98" fmla="*/ 72232 w 1179513"/>
              <a:gd name="connsiteY98" fmla="*/ 328158 h 985837"/>
              <a:gd name="connsiteX99" fmla="*/ 68263 w 1179513"/>
              <a:gd name="connsiteY99" fmla="*/ 328158 h 985837"/>
              <a:gd name="connsiteX100" fmla="*/ 68263 w 1179513"/>
              <a:gd name="connsiteY100" fmla="*/ 324076 h 985837"/>
              <a:gd name="connsiteX101" fmla="*/ 72232 w 1179513"/>
              <a:gd name="connsiteY101" fmla="*/ 319994 h 985837"/>
              <a:gd name="connsiteX102" fmla="*/ 78185 w 1179513"/>
              <a:gd name="connsiteY102" fmla="*/ 317953 h 985837"/>
              <a:gd name="connsiteX103" fmla="*/ 718345 w 1179513"/>
              <a:gd name="connsiteY103" fmla="*/ 179387 h 985837"/>
              <a:gd name="connsiteX104" fmla="*/ 723901 w 1179513"/>
              <a:gd name="connsiteY104" fmla="*/ 181371 h 985837"/>
              <a:gd name="connsiteX105" fmla="*/ 722049 w 1179513"/>
              <a:gd name="connsiteY105" fmla="*/ 185340 h 985837"/>
              <a:gd name="connsiteX106" fmla="*/ 716493 w 1179513"/>
              <a:gd name="connsiteY106" fmla="*/ 187324 h 985837"/>
              <a:gd name="connsiteX107" fmla="*/ 714640 w 1179513"/>
              <a:gd name="connsiteY107" fmla="*/ 187324 h 985837"/>
              <a:gd name="connsiteX108" fmla="*/ 712788 w 1179513"/>
              <a:gd name="connsiteY108" fmla="*/ 185340 h 985837"/>
              <a:gd name="connsiteX109" fmla="*/ 716493 w 1179513"/>
              <a:gd name="connsiteY109" fmla="*/ 181371 h 985837"/>
              <a:gd name="connsiteX110" fmla="*/ 718345 w 1179513"/>
              <a:gd name="connsiteY110" fmla="*/ 179387 h 985837"/>
              <a:gd name="connsiteX111" fmla="*/ 645160 w 1179513"/>
              <a:gd name="connsiteY111" fmla="*/ 93662 h 985837"/>
              <a:gd name="connsiteX112" fmla="*/ 650875 w 1179513"/>
              <a:gd name="connsiteY112" fmla="*/ 93662 h 985837"/>
              <a:gd name="connsiteX113" fmla="*/ 652780 w 1179513"/>
              <a:gd name="connsiteY113" fmla="*/ 99615 h 985837"/>
              <a:gd name="connsiteX114" fmla="*/ 656590 w 1179513"/>
              <a:gd name="connsiteY114" fmla="*/ 97631 h 985837"/>
              <a:gd name="connsiteX115" fmla="*/ 658495 w 1179513"/>
              <a:gd name="connsiteY115" fmla="*/ 97631 h 985837"/>
              <a:gd name="connsiteX116" fmla="*/ 658495 w 1179513"/>
              <a:gd name="connsiteY116" fmla="*/ 103584 h 985837"/>
              <a:gd name="connsiteX117" fmla="*/ 658495 w 1179513"/>
              <a:gd name="connsiteY117" fmla="*/ 109537 h 985837"/>
              <a:gd name="connsiteX118" fmla="*/ 654685 w 1179513"/>
              <a:gd name="connsiteY118" fmla="*/ 113506 h 985837"/>
              <a:gd name="connsiteX119" fmla="*/ 652780 w 1179513"/>
              <a:gd name="connsiteY119" fmla="*/ 115490 h 985837"/>
              <a:gd name="connsiteX120" fmla="*/ 648970 w 1179513"/>
              <a:gd name="connsiteY120" fmla="*/ 113506 h 985837"/>
              <a:gd name="connsiteX121" fmla="*/ 645160 w 1179513"/>
              <a:gd name="connsiteY121" fmla="*/ 115490 h 985837"/>
              <a:gd name="connsiteX122" fmla="*/ 641350 w 1179513"/>
              <a:gd name="connsiteY122" fmla="*/ 111521 h 985837"/>
              <a:gd name="connsiteX123" fmla="*/ 645160 w 1179513"/>
              <a:gd name="connsiteY123" fmla="*/ 109537 h 985837"/>
              <a:gd name="connsiteX124" fmla="*/ 643255 w 1179513"/>
              <a:gd name="connsiteY124" fmla="*/ 103584 h 985837"/>
              <a:gd name="connsiteX125" fmla="*/ 643255 w 1179513"/>
              <a:gd name="connsiteY125" fmla="*/ 99615 h 985837"/>
              <a:gd name="connsiteX126" fmla="*/ 645160 w 1179513"/>
              <a:gd name="connsiteY126" fmla="*/ 99615 h 985837"/>
              <a:gd name="connsiteX127" fmla="*/ 645160 w 1179513"/>
              <a:gd name="connsiteY127" fmla="*/ 93662 h 985837"/>
              <a:gd name="connsiteX128" fmla="*/ 813968 w 1179513"/>
              <a:gd name="connsiteY128" fmla="*/ 0 h 985837"/>
              <a:gd name="connsiteX129" fmla="*/ 815963 w 1179513"/>
              <a:gd name="connsiteY129" fmla="*/ 3990 h 985837"/>
              <a:gd name="connsiteX130" fmla="*/ 813968 w 1179513"/>
              <a:gd name="connsiteY130" fmla="*/ 5984 h 985837"/>
              <a:gd name="connsiteX131" fmla="*/ 813968 w 1179513"/>
              <a:gd name="connsiteY131" fmla="*/ 9973 h 985837"/>
              <a:gd name="connsiteX132" fmla="*/ 815963 w 1179513"/>
              <a:gd name="connsiteY132" fmla="*/ 11968 h 985837"/>
              <a:gd name="connsiteX133" fmla="*/ 821948 w 1179513"/>
              <a:gd name="connsiteY133" fmla="*/ 17952 h 985837"/>
              <a:gd name="connsiteX134" fmla="*/ 821948 w 1179513"/>
              <a:gd name="connsiteY134" fmla="*/ 23936 h 985837"/>
              <a:gd name="connsiteX135" fmla="*/ 819953 w 1179513"/>
              <a:gd name="connsiteY135" fmla="*/ 29920 h 985837"/>
              <a:gd name="connsiteX136" fmla="*/ 825938 w 1179513"/>
              <a:gd name="connsiteY136" fmla="*/ 33909 h 985837"/>
              <a:gd name="connsiteX137" fmla="*/ 831923 w 1179513"/>
              <a:gd name="connsiteY137" fmla="*/ 35904 h 985837"/>
              <a:gd name="connsiteX138" fmla="*/ 827933 w 1179513"/>
              <a:gd name="connsiteY138" fmla="*/ 43882 h 985837"/>
              <a:gd name="connsiteX139" fmla="*/ 827933 w 1179513"/>
              <a:gd name="connsiteY139" fmla="*/ 53855 h 985837"/>
              <a:gd name="connsiteX140" fmla="*/ 829928 w 1179513"/>
              <a:gd name="connsiteY140" fmla="*/ 63829 h 985837"/>
              <a:gd name="connsiteX141" fmla="*/ 833918 w 1179513"/>
              <a:gd name="connsiteY141" fmla="*/ 63829 h 985837"/>
              <a:gd name="connsiteX142" fmla="*/ 837908 w 1179513"/>
              <a:gd name="connsiteY142" fmla="*/ 69813 h 985837"/>
              <a:gd name="connsiteX143" fmla="*/ 837908 w 1179513"/>
              <a:gd name="connsiteY143" fmla="*/ 87764 h 985837"/>
              <a:gd name="connsiteX144" fmla="*/ 835913 w 1179513"/>
              <a:gd name="connsiteY144" fmla="*/ 91754 h 985837"/>
              <a:gd name="connsiteX145" fmla="*/ 837908 w 1179513"/>
              <a:gd name="connsiteY145" fmla="*/ 103721 h 985837"/>
              <a:gd name="connsiteX146" fmla="*/ 837908 w 1179513"/>
              <a:gd name="connsiteY146" fmla="*/ 111700 h 985837"/>
              <a:gd name="connsiteX147" fmla="*/ 843893 w 1179513"/>
              <a:gd name="connsiteY147" fmla="*/ 117684 h 985837"/>
              <a:gd name="connsiteX148" fmla="*/ 849878 w 1179513"/>
              <a:gd name="connsiteY148" fmla="*/ 115689 h 985837"/>
              <a:gd name="connsiteX149" fmla="*/ 851873 w 1179513"/>
              <a:gd name="connsiteY149" fmla="*/ 111700 h 985837"/>
              <a:gd name="connsiteX150" fmla="*/ 857858 w 1179513"/>
              <a:gd name="connsiteY150" fmla="*/ 111700 h 985837"/>
              <a:gd name="connsiteX151" fmla="*/ 859853 w 1179513"/>
              <a:gd name="connsiteY151" fmla="*/ 111700 h 985837"/>
              <a:gd name="connsiteX152" fmla="*/ 861848 w 1179513"/>
              <a:gd name="connsiteY152" fmla="*/ 119679 h 985837"/>
              <a:gd name="connsiteX153" fmla="*/ 867834 w 1179513"/>
              <a:gd name="connsiteY153" fmla="*/ 123668 h 985837"/>
              <a:gd name="connsiteX154" fmla="*/ 873819 w 1179513"/>
              <a:gd name="connsiteY154" fmla="*/ 125662 h 985837"/>
              <a:gd name="connsiteX155" fmla="*/ 877809 w 1179513"/>
              <a:gd name="connsiteY155" fmla="*/ 127657 h 985837"/>
              <a:gd name="connsiteX156" fmla="*/ 875814 w 1179513"/>
              <a:gd name="connsiteY156" fmla="*/ 131646 h 985837"/>
              <a:gd name="connsiteX157" fmla="*/ 879804 w 1179513"/>
              <a:gd name="connsiteY157" fmla="*/ 135636 h 985837"/>
              <a:gd name="connsiteX158" fmla="*/ 875814 w 1179513"/>
              <a:gd name="connsiteY158" fmla="*/ 143614 h 985837"/>
              <a:gd name="connsiteX159" fmla="*/ 873819 w 1179513"/>
              <a:gd name="connsiteY159" fmla="*/ 149598 h 985837"/>
              <a:gd name="connsiteX160" fmla="*/ 873819 w 1179513"/>
              <a:gd name="connsiteY160" fmla="*/ 161566 h 985837"/>
              <a:gd name="connsiteX161" fmla="*/ 875814 w 1179513"/>
              <a:gd name="connsiteY161" fmla="*/ 165555 h 985837"/>
              <a:gd name="connsiteX162" fmla="*/ 877809 w 1179513"/>
              <a:gd name="connsiteY162" fmla="*/ 171539 h 985837"/>
              <a:gd name="connsiteX163" fmla="*/ 875814 w 1179513"/>
              <a:gd name="connsiteY163" fmla="*/ 179518 h 985837"/>
              <a:gd name="connsiteX164" fmla="*/ 879804 w 1179513"/>
              <a:gd name="connsiteY164" fmla="*/ 183507 h 985837"/>
              <a:gd name="connsiteX165" fmla="*/ 883794 w 1179513"/>
              <a:gd name="connsiteY165" fmla="*/ 191485 h 985837"/>
              <a:gd name="connsiteX166" fmla="*/ 887784 w 1179513"/>
              <a:gd name="connsiteY166" fmla="*/ 199464 h 985837"/>
              <a:gd name="connsiteX167" fmla="*/ 889779 w 1179513"/>
              <a:gd name="connsiteY167" fmla="*/ 205448 h 985837"/>
              <a:gd name="connsiteX168" fmla="*/ 893769 w 1179513"/>
              <a:gd name="connsiteY168" fmla="*/ 209437 h 985837"/>
              <a:gd name="connsiteX169" fmla="*/ 893769 w 1179513"/>
              <a:gd name="connsiteY169" fmla="*/ 219410 h 985837"/>
              <a:gd name="connsiteX170" fmla="*/ 887784 w 1179513"/>
              <a:gd name="connsiteY170" fmla="*/ 229384 h 985837"/>
              <a:gd name="connsiteX171" fmla="*/ 885789 w 1179513"/>
              <a:gd name="connsiteY171" fmla="*/ 237362 h 985837"/>
              <a:gd name="connsiteX172" fmla="*/ 891774 w 1179513"/>
              <a:gd name="connsiteY172" fmla="*/ 245341 h 985837"/>
              <a:gd name="connsiteX173" fmla="*/ 889779 w 1179513"/>
              <a:gd name="connsiteY173" fmla="*/ 255314 h 985837"/>
              <a:gd name="connsiteX174" fmla="*/ 889779 w 1179513"/>
              <a:gd name="connsiteY174" fmla="*/ 265287 h 985837"/>
              <a:gd name="connsiteX175" fmla="*/ 895764 w 1179513"/>
              <a:gd name="connsiteY175" fmla="*/ 267282 h 985837"/>
              <a:gd name="connsiteX176" fmla="*/ 903744 w 1179513"/>
              <a:gd name="connsiteY176" fmla="*/ 267282 h 985837"/>
              <a:gd name="connsiteX177" fmla="*/ 907734 w 1179513"/>
              <a:gd name="connsiteY177" fmla="*/ 269276 h 985837"/>
              <a:gd name="connsiteX178" fmla="*/ 911724 w 1179513"/>
              <a:gd name="connsiteY178" fmla="*/ 273266 h 985837"/>
              <a:gd name="connsiteX179" fmla="*/ 915714 w 1179513"/>
              <a:gd name="connsiteY179" fmla="*/ 273266 h 985837"/>
              <a:gd name="connsiteX180" fmla="*/ 919704 w 1179513"/>
              <a:gd name="connsiteY180" fmla="*/ 275260 h 985837"/>
              <a:gd name="connsiteX181" fmla="*/ 919704 w 1179513"/>
              <a:gd name="connsiteY181" fmla="*/ 281244 h 985837"/>
              <a:gd name="connsiteX182" fmla="*/ 921699 w 1179513"/>
              <a:gd name="connsiteY182" fmla="*/ 287228 h 985837"/>
              <a:gd name="connsiteX183" fmla="*/ 927684 w 1179513"/>
              <a:gd name="connsiteY183" fmla="*/ 289223 h 985837"/>
              <a:gd name="connsiteX184" fmla="*/ 931674 w 1179513"/>
              <a:gd name="connsiteY184" fmla="*/ 291217 h 985837"/>
              <a:gd name="connsiteX185" fmla="*/ 937659 w 1179513"/>
              <a:gd name="connsiteY185" fmla="*/ 293212 h 985837"/>
              <a:gd name="connsiteX186" fmla="*/ 943644 w 1179513"/>
              <a:gd name="connsiteY186" fmla="*/ 297201 h 985837"/>
              <a:gd name="connsiteX187" fmla="*/ 945639 w 1179513"/>
              <a:gd name="connsiteY187" fmla="*/ 301191 h 985837"/>
              <a:gd name="connsiteX188" fmla="*/ 949629 w 1179513"/>
              <a:gd name="connsiteY188" fmla="*/ 305180 h 985837"/>
              <a:gd name="connsiteX189" fmla="*/ 949629 w 1179513"/>
              <a:gd name="connsiteY189" fmla="*/ 309169 h 985837"/>
              <a:gd name="connsiteX190" fmla="*/ 945639 w 1179513"/>
              <a:gd name="connsiteY190" fmla="*/ 315153 h 985837"/>
              <a:gd name="connsiteX191" fmla="*/ 949629 w 1179513"/>
              <a:gd name="connsiteY191" fmla="*/ 317148 h 985837"/>
              <a:gd name="connsiteX192" fmla="*/ 957609 w 1179513"/>
              <a:gd name="connsiteY192" fmla="*/ 323132 h 985837"/>
              <a:gd name="connsiteX193" fmla="*/ 959604 w 1179513"/>
              <a:gd name="connsiteY193" fmla="*/ 331110 h 985837"/>
              <a:gd name="connsiteX194" fmla="*/ 961599 w 1179513"/>
              <a:gd name="connsiteY194" fmla="*/ 335099 h 985837"/>
              <a:gd name="connsiteX195" fmla="*/ 961599 w 1179513"/>
              <a:gd name="connsiteY195" fmla="*/ 339089 h 985837"/>
              <a:gd name="connsiteX196" fmla="*/ 965589 w 1179513"/>
              <a:gd name="connsiteY196" fmla="*/ 345073 h 985837"/>
              <a:gd name="connsiteX197" fmla="*/ 961599 w 1179513"/>
              <a:gd name="connsiteY197" fmla="*/ 349062 h 985837"/>
              <a:gd name="connsiteX198" fmla="*/ 961599 w 1179513"/>
              <a:gd name="connsiteY198" fmla="*/ 357040 h 985837"/>
              <a:gd name="connsiteX199" fmla="*/ 963594 w 1179513"/>
              <a:gd name="connsiteY199" fmla="*/ 369008 h 985837"/>
              <a:gd name="connsiteX200" fmla="*/ 965589 w 1179513"/>
              <a:gd name="connsiteY200" fmla="*/ 372998 h 985837"/>
              <a:gd name="connsiteX201" fmla="*/ 973570 w 1179513"/>
              <a:gd name="connsiteY201" fmla="*/ 374992 h 985837"/>
              <a:gd name="connsiteX202" fmla="*/ 977560 w 1179513"/>
              <a:gd name="connsiteY202" fmla="*/ 369008 h 985837"/>
              <a:gd name="connsiteX203" fmla="*/ 981550 w 1179513"/>
              <a:gd name="connsiteY203" fmla="*/ 365019 h 985837"/>
              <a:gd name="connsiteX204" fmla="*/ 987535 w 1179513"/>
              <a:gd name="connsiteY204" fmla="*/ 367014 h 985837"/>
              <a:gd name="connsiteX205" fmla="*/ 989530 w 1179513"/>
              <a:gd name="connsiteY205" fmla="*/ 372998 h 985837"/>
              <a:gd name="connsiteX206" fmla="*/ 991525 w 1179513"/>
              <a:gd name="connsiteY206" fmla="*/ 376987 h 985837"/>
              <a:gd name="connsiteX207" fmla="*/ 993520 w 1179513"/>
              <a:gd name="connsiteY207" fmla="*/ 378981 h 985837"/>
              <a:gd name="connsiteX208" fmla="*/ 993520 w 1179513"/>
              <a:gd name="connsiteY208" fmla="*/ 394939 h 985837"/>
              <a:gd name="connsiteX209" fmla="*/ 991525 w 1179513"/>
              <a:gd name="connsiteY209" fmla="*/ 404912 h 985837"/>
              <a:gd name="connsiteX210" fmla="*/ 991525 w 1179513"/>
              <a:gd name="connsiteY210" fmla="*/ 408901 h 985837"/>
              <a:gd name="connsiteX211" fmla="*/ 999505 w 1179513"/>
              <a:gd name="connsiteY211" fmla="*/ 410896 h 985837"/>
              <a:gd name="connsiteX212" fmla="*/ 1007485 w 1179513"/>
              <a:gd name="connsiteY212" fmla="*/ 412890 h 985837"/>
              <a:gd name="connsiteX213" fmla="*/ 1007485 w 1179513"/>
              <a:gd name="connsiteY213" fmla="*/ 418874 h 985837"/>
              <a:gd name="connsiteX214" fmla="*/ 1005490 w 1179513"/>
              <a:gd name="connsiteY214" fmla="*/ 424858 h 985837"/>
              <a:gd name="connsiteX215" fmla="*/ 1009480 w 1179513"/>
              <a:gd name="connsiteY215" fmla="*/ 428847 h 985837"/>
              <a:gd name="connsiteX216" fmla="*/ 1017460 w 1179513"/>
              <a:gd name="connsiteY216" fmla="*/ 428847 h 985837"/>
              <a:gd name="connsiteX217" fmla="*/ 1021450 w 1179513"/>
              <a:gd name="connsiteY217" fmla="*/ 436826 h 985837"/>
              <a:gd name="connsiteX218" fmla="*/ 1021450 w 1179513"/>
              <a:gd name="connsiteY218" fmla="*/ 440815 h 985837"/>
              <a:gd name="connsiteX219" fmla="*/ 1025440 w 1179513"/>
              <a:gd name="connsiteY219" fmla="*/ 446799 h 985837"/>
              <a:gd name="connsiteX220" fmla="*/ 1029430 w 1179513"/>
              <a:gd name="connsiteY220" fmla="*/ 452783 h 985837"/>
              <a:gd name="connsiteX221" fmla="*/ 1033420 w 1179513"/>
              <a:gd name="connsiteY221" fmla="*/ 458767 h 985837"/>
              <a:gd name="connsiteX222" fmla="*/ 1037410 w 1179513"/>
              <a:gd name="connsiteY222" fmla="*/ 464751 h 985837"/>
              <a:gd name="connsiteX223" fmla="*/ 1039405 w 1179513"/>
              <a:gd name="connsiteY223" fmla="*/ 468740 h 985837"/>
              <a:gd name="connsiteX224" fmla="*/ 1037410 w 1179513"/>
              <a:gd name="connsiteY224" fmla="*/ 474724 h 985837"/>
              <a:gd name="connsiteX225" fmla="*/ 1037410 w 1179513"/>
              <a:gd name="connsiteY225" fmla="*/ 480708 h 985837"/>
              <a:gd name="connsiteX226" fmla="*/ 1041400 w 1179513"/>
              <a:gd name="connsiteY226" fmla="*/ 486692 h 985837"/>
              <a:gd name="connsiteX227" fmla="*/ 1041400 w 1179513"/>
              <a:gd name="connsiteY227" fmla="*/ 490681 h 985837"/>
              <a:gd name="connsiteX228" fmla="*/ 1039405 w 1179513"/>
              <a:gd name="connsiteY228" fmla="*/ 496665 h 985837"/>
              <a:gd name="connsiteX229" fmla="*/ 1039405 w 1179513"/>
              <a:gd name="connsiteY229" fmla="*/ 502649 h 985837"/>
              <a:gd name="connsiteX230" fmla="*/ 1041400 w 1179513"/>
              <a:gd name="connsiteY230" fmla="*/ 510628 h 985837"/>
              <a:gd name="connsiteX231" fmla="*/ 1037410 w 1179513"/>
              <a:gd name="connsiteY231" fmla="*/ 516611 h 985837"/>
              <a:gd name="connsiteX232" fmla="*/ 1035415 w 1179513"/>
              <a:gd name="connsiteY232" fmla="*/ 520601 h 985837"/>
              <a:gd name="connsiteX233" fmla="*/ 1035415 w 1179513"/>
              <a:gd name="connsiteY233" fmla="*/ 526585 h 985837"/>
              <a:gd name="connsiteX234" fmla="*/ 1037410 w 1179513"/>
              <a:gd name="connsiteY234" fmla="*/ 532569 h 985837"/>
              <a:gd name="connsiteX235" fmla="*/ 1035415 w 1179513"/>
              <a:gd name="connsiteY235" fmla="*/ 538552 h 985837"/>
              <a:gd name="connsiteX236" fmla="*/ 1037410 w 1179513"/>
              <a:gd name="connsiteY236" fmla="*/ 546531 h 985837"/>
              <a:gd name="connsiteX237" fmla="*/ 1037410 w 1179513"/>
              <a:gd name="connsiteY237" fmla="*/ 552515 h 985837"/>
              <a:gd name="connsiteX238" fmla="*/ 1037410 w 1179513"/>
              <a:gd name="connsiteY238" fmla="*/ 558499 h 985837"/>
              <a:gd name="connsiteX239" fmla="*/ 1039405 w 1179513"/>
              <a:gd name="connsiteY239" fmla="*/ 564483 h 985837"/>
              <a:gd name="connsiteX240" fmla="*/ 1037410 w 1179513"/>
              <a:gd name="connsiteY240" fmla="*/ 572461 h 985837"/>
              <a:gd name="connsiteX241" fmla="*/ 1041400 w 1179513"/>
              <a:gd name="connsiteY241" fmla="*/ 580440 h 985837"/>
              <a:gd name="connsiteX242" fmla="*/ 1037410 w 1179513"/>
              <a:gd name="connsiteY242" fmla="*/ 588418 h 985837"/>
              <a:gd name="connsiteX243" fmla="*/ 1033420 w 1179513"/>
              <a:gd name="connsiteY243" fmla="*/ 594402 h 985837"/>
              <a:gd name="connsiteX244" fmla="*/ 1033420 w 1179513"/>
              <a:gd name="connsiteY244" fmla="*/ 600386 h 985837"/>
              <a:gd name="connsiteX245" fmla="*/ 1031425 w 1179513"/>
              <a:gd name="connsiteY245" fmla="*/ 602381 h 985837"/>
              <a:gd name="connsiteX246" fmla="*/ 1027435 w 1179513"/>
              <a:gd name="connsiteY246" fmla="*/ 604376 h 985837"/>
              <a:gd name="connsiteX247" fmla="*/ 1025440 w 1179513"/>
              <a:gd name="connsiteY247" fmla="*/ 606370 h 985837"/>
              <a:gd name="connsiteX248" fmla="*/ 1029430 w 1179513"/>
              <a:gd name="connsiteY248" fmla="*/ 610359 h 985837"/>
              <a:gd name="connsiteX249" fmla="*/ 1029430 w 1179513"/>
              <a:gd name="connsiteY249" fmla="*/ 618338 h 985837"/>
              <a:gd name="connsiteX250" fmla="*/ 1025440 w 1179513"/>
              <a:gd name="connsiteY250" fmla="*/ 628311 h 985837"/>
              <a:gd name="connsiteX251" fmla="*/ 1019455 w 1179513"/>
              <a:gd name="connsiteY251" fmla="*/ 638284 h 985837"/>
              <a:gd name="connsiteX252" fmla="*/ 1017460 w 1179513"/>
              <a:gd name="connsiteY252" fmla="*/ 642274 h 985837"/>
              <a:gd name="connsiteX253" fmla="*/ 1019455 w 1179513"/>
              <a:gd name="connsiteY253" fmla="*/ 648258 h 985837"/>
              <a:gd name="connsiteX254" fmla="*/ 1013470 w 1179513"/>
              <a:gd name="connsiteY254" fmla="*/ 656236 h 985837"/>
              <a:gd name="connsiteX255" fmla="*/ 1011475 w 1179513"/>
              <a:gd name="connsiteY255" fmla="*/ 662220 h 985837"/>
              <a:gd name="connsiteX256" fmla="*/ 1007485 w 1179513"/>
              <a:gd name="connsiteY256" fmla="*/ 670199 h 985837"/>
              <a:gd name="connsiteX257" fmla="*/ 1005490 w 1179513"/>
              <a:gd name="connsiteY257" fmla="*/ 676182 h 985837"/>
              <a:gd name="connsiteX258" fmla="*/ 997510 w 1179513"/>
              <a:gd name="connsiteY258" fmla="*/ 686156 h 985837"/>
              <a:gd name="connsiteX259" fmla="*/ 995515 w 1179513"/>
              <a:gd name="connsiteY259" fmla="*/ 690145 h 985837"/>
              <a:gd name="connsiteX260" fmla="*/ 993520 w 1179513"/>
              <a:gd name="connsiteY260" fmla="*/ 698123 h 985837"/>
              <a:gd name="connsiteX261" fmla="*/ 989530 w 1179513"/>
              <a:gd name="connsiteY261" fmla="*/ 704107 h 985837"/>
              <a:gd name="connsiteX262" fmla="*/ 981550 w 1179513"/>
              <a:gd name="connsiteY262" fmla="*/ 706102 h 985837"/>
              <a:gd name="connsiteX263" fmla="*/ 975565 w 1179513"/>
              <a:gd name="connsiteY263" fmla="*/ 708097 h 985837"/>
              <a:gd name="connsiteX264" fmla="*/ 979555 w 1179513"/>
              <a:gd name="connsiteY264" fmla="*/ 712086 h 985837"/>
              <a:gd name="connsiteX265" fmla="*/ 977560 w 1179513"/>
              <a:gd name="connsiteY265" fmla="*/ 716075 h 985837"/>
              <a:gd name="connsiteX266" fmla="*/ 969580 w 1179513"/>
              <a:gd name="connsiteY266" fmla="*/ 720065 h 985837"/>
              <a:gd name="connsiteX267" fmla="*/ 963594 w 1179513"/>
              <a:gd name="connsiteY267" fmla="*/ 722059 h 985837"/>
              <a:gd name="connsiteX268" fmla="*/ 961599 w 1179513"/>
              <a:gd name="connsiteY268" fmla="*/ 728043 h 985837"/>
              <a:gd name="connsiteX269" fmla="*/ 959604 w 1179513"/>
              <a:gd name="connsiteY269" fmla="*/ 732032 h 985837"/>
              <a:gd name="connsiteX270" fmla="*/ 955614 w 1179513"/>
              <a:gd name="connsiteY270" fmla="*/ 732032 h 985837"/>
              <a:gd name="connsiteX271" fmla="*/ 955614 w 1179513"/>
              <a:gd name="connsiteY271" fmla="*/ 738016 h 985837"/>
              <a:gd name="connsiteX272" fmla="*/ 953619 w 1179513"/>
              <a:gd name="connsiteY272" fmla="*/ 742006 h 985837"/>
              <a:gd name="connsiteX273" fmla="*/ 949629 w 1179513"/>
              <a:gd name="connsiteY273" fmla="*/ 744000 h 985837"/>
              <a:gd name="connsiteX274" fmla="*/ 949629 w 1179513"/>
              <a:gd name="connsiteY274" fmla="*/ 755968 h 985837"/>
              <a:gd name="connsiteX275" fmla="*/ 941649 w 1179513"/>
              <a:gd name="connsiteY275" fmla="*/ 763947 h 985837"/>
              <a:gd name="connsiteX276" fmla="*/ 935664 w 1179513"/>
              <a:gd name="connsiteY276" fmla="*/ 771925 h 985837"/>
              <a:gd name="connsiteX277" fmla="*/ 933669 w 1179513"/>
              <a:gd name="connsiteY277" fmla="*/ 781898 h 985837"/>
              <a:gd name="connsiteX278" fmla="*/ 931674 w 1179513"/>
              <a:gd name="connsiteY278" fmla="*/ 789877 h 985837"/>
              <a:gd name="connsiteX279" fmla="*/ 927684 w 1179513"/>
              <a:gd name="connsiteY279" fmla="*/ 793866 h 985837"/>
              <a:gd name="connsiteX280" fmla="*/ 923694 w 1179513"/>
              <a:gd name="connsiteY280" fmla="*/ 795861 h 985837"/>
              <a:gd name="connsiteX281" fmla="*/ 919704 w 1179513"/>
              <a:gd name="connsiteY281" fmla="*/ 799850 h 985837"/>
              <a:gd name="connsiteX282" fmla="*/ 917709 w 1179513"/>
              <a:gd name="connsiteY282" fmla="*/ 797855 h 985837"/>
              <a:gd name="connsiteX283" fmla="*/ 915714 w 1179513"/>
              <a:gd name="connsiteY283" fmla="*/ 803839 h 985837"/>
              <a:gd name="connsiteX284" fmla="*/ 915714 w 1179513"/>
              <a:gd name="connsiteY284" fmla="*/ 809823 h 985837"/>
              <a:gd name="connsiteX285" fmla="*/ 915714 w 1179513"/>
              <a:gd name="connsiteY285" fmla="*/ 813812 h 985837"/>
              <a:gd name="connsiteX286" fmla="*/ 911724 w 1179513"/>
              <a:gd name="connsiteY286" fmla="*/ 819796 h 985837"/>
              <a:gd name="connsiteX287" fmla="*/ 911724 w 1179513"/>
              <a:gd name="connsiteY287" fmla="*/ 821791 h 985837"/>
              <a:gd name="connsiteX288" fmla="*/ 907734 w 1179513"/>
              <a:gd name="connsiteY288" fmla="*/ 827775 h 985837"/>
              <a:gd name="connsiteX289" fmla="*/ 903744 w 1179513"/>
              <a:gd name="connsiteY289" fmla="*/ 831764 h 985837"/>
              <a:gd name="connsiteX290" fmla="*/ 901749 w 1179513"/>
              <a:gd name="connsiteY290" fmla="*/ 835754 h 985837"/>
              <a:gd name="connsiteX291" fmla="*/ 901749 w 1179513"/>
              <a:gd name="connsiteY291" fmla="*/ 839743 h 985837"/>
              <a:gd name="connsiteX292" fmla="*/ 899754 w 1179513"/>
              <a:gd name="connsiteY292" fmla="*/ 843732 h 985837"/>
              <a:gd name="connsiteX293" fmla="*/ 899754 w 1179513"/>
              <a:gd name="connsiteY293" fmla="*/ 845727 h 985837"/>
              <a:gd name="connsiteX294" fmla="*/ 897759 w 1179513"/>
              <a:gd name="connsiteY294" fmla="*/ 851711 h 985837"/>
              <a:gd name="connsiteX295" fmla="*/ 897759 w 1179513"/>
              <a:gd name="connsiteY295" fmla="*/ 855700 h 985837"/>
              <a:gd name="connsiteX296" fmla="*/ 897759 w 1179513"/>
              <a:gd name="connsiteY296" fmla="*/ 861684 h 985837"/>
              <a:gd name="connsiteX297" fmla="*/ 897759 w 1179513"/>
              <a:gd name="connsiteY297" fmla="*/ 865673 h 985837"/>
              <a:gd name="connsiteX298" fmla="*/ 893769 w 1179513"/>
              <a:gd name="connsiteY298" fmla="*/ 869662 h 985837"/>
              <a:gd name="connsiteX299" fmla="*/ 889779 w 1179513"/>
              <a:gd name="connsiteY299" fmla="*/ 875646 h 985837"/>
              <a:gd name="connsiteX300" fmla="*/ 885789 w 1179513"/>
              <a:gd name="connsiteY300" fmla="*/ 881630 h 985837"/>
              <a:gd name="connsiteX301" fmla="*/ 879804 w 1179513"/>
              <a:gd name="connsiteY301" fmla="*/ 883625 h 985837"/>
              <a:gd name="connsiteX302" fmla="*/ 871824 w 1179513"/>
              <a:gd name="connsiteY302" fmla="*/ 883625 h 985837"/>
              <a:gd name="connsiteX303" fmla="*/ 863844 w 1179513"/>
              <a:gd name="connsiteY303" fmla="*/ 883625 h 985837"/>
              <a:gd name="connsiteX304" fmla="*/ 855863 w 1179513"/>
              <a:gd name="connsiteY304" fmla="*/ 883625 h 985837"/>
              <a:gd name="connsiteX305" fmla="*/ 849878 w 1179513"/>
              <a:gd name="connsiteY305" fmla="*/ 885619 h 985837"/>
              <a:gd name="connsiteX306" fmla="*/ 843893 w 1179513"/>
              <a:gd name="connsiteY306" fmla="*/ 887614 h 985837"/>
              <a:gd name="connsiteX307" fmla="*/ 837908 w 1179513"/>
              <a:gd name="connsiteY307" fmla="*/ 887614 h 985837"/>
              <a:gd name="connsiteX308" fmla="*/ 833918 w 1179513"/>
              <a:gd name="connsiteY308" fmla="*/ 885619 h 985837"/>
              <a:gd name="connsiteX309" fmla="*/ 829928 w 1179513"/>
              <a:gd name="connsiteY309" fmla="*/ 887614 h 985837"/>
              <a:gd name="connsiteX310" fmla="*/ 829928 w 1179513"/>
              <a:gd name="connsiteY310" fmla="*/ 895593 h 985837"/>
              <a:gd name="connsiteX311" fmla="*/ 825938 w 1179513"/>
              <a:gd name="connsiteY311" fmla="*/ 901577 h 985837"/>
              <a:gd name="connsiteX312" fmla="*/ 819953 w 1179513"/>
              <a:gd name="connsiteY312" fmla="*/ 905566 h 985837"/>
              <a:gd name="connsiteX313" fmla="*/ 813968 w 1179513"/>
              <a:gd name="connsiteY313" fmla="*/ 907560 h 985837"/>
              <a:gd name="connsiteX314" fmla="*/ 809978 w 1179513"/>
              <a:gd name="connsiteY314" fmla="*/ 911550 h 985837"/>
              <a:gd name="connsiteX315" fmla="*/ 805988 w 1179513"/>
              <a:gd name="connsiteY315" fmla="*/ 915539 h 985837"/>
              <a:gd name="connsiteX316" fmla="*/ 800003 w 1179513"/>
              <a:gd name="connsiteY316" fmla="*/ 915539 h 985837"/>
              <a:gd name="connsiteX317" fmla="*/ 794018 w 1179513"/>
              <a:gd name="connsiteY317" fmla="*/ 917534 h 985837"/>
              <a:gd name="connsiteX318" fmla="*/ 792023 w 1179513"/>
              <a:gd name="connsiteY318" fmla="*/ 921523 h 985837"/>
              <a:gd name="connsiteX319" fmla="*/ 790028 w 1179513"/>
              <a:gd name="connsiteY319" fmla="*/ 925512 h 985837"/>
              <a:gd name="connsiteX320" fmla="*/ 784043 w 1179513"/>
              <a:gd name="connsiteY320" fmla="*/ 923518 h 985837"/>
              <a:gd name="connsiteX321" fmla="*/ 780053 w 1179513"/>
              <a:gd name="connsiteY321" fmla="*/ 923518 h 985837"/>
              <a:gd name="connsiteX322" fmla="*/ 778058 w 1179513"/>
              <a:gd name="connsiteY322" fmla="*/ 917534 h 985837"/>
              <a:gd name="connsiteX323" fmla="*/ 776063 w 1179513"/>
              <a:gd name="connsiteY323" fmla="*/ 915539 h 985837"/>
              <a:gd name="connsiteX324" fmla="*/ 772073 w 1179513"/>
              <a:gd name="connsiteY324" fmla="*/ 913544 h 985837"/>
              <a:gd name="connsiteX325" fmla="*/ 774068 w 1179513"/>
              <a:gd name="connsiteY325" fmla="*/ 909555 h 985837"/>
              <a:gd name="connsiteX326" fmla="*/ 774068 w 1179513"/>
              <a:gd name="connsiteY326" fmla="*/ 905566 h 985837"/>
              <a:gd name="connsiteX327" fmla="*/ 770078 w 1179513"/>
              <a:gd name="connsiteY327" fmla="*/ 905566 h 985837"/>
              <a:gd name="connsiteX328" fmla="*/ 762098 w 1179513"/>
              <a:gd name="connsiteY328" fmla="*/ 909555 h 985837"/>
              <a:gd name="connsiteX329" fmla="*/ 758107 w 1179513"/>
              <a:gd name="connsiteY329" fmla="*/ 905566 h 985837"/>
              <a:gd name="connsiteX330" fmla="*/ 762098 w 1179513"/>
              <a:gd name="connsiteY330" fmla="*/ 901577 h 985837"/>
              <a:gd name="connsiteX331" fmla="*/ 764093 w 1179513"/>
              <a:gd name="connsiteY331" fmla="*/ 897587 h 985837"/>
              <a:gd name="connsiteX332" fmla="*/ 762098 w 1179513"/>
              <a:gd name="connsiteY332" fmla="*/ 893598 h 985837"/>
              <a:gd name="connsiteX333" fmla="*/ 758107 w 1179513"/>
              <a:gd name="connsiteY333" fmla="*/ 891603 h 985837"/>
              <a:gd name="connsiteX334" fmla="*/ 756112 w 1179513"/>
              <a:gd name="connsiteY334" fmla="*/ 897587 h 985837"/>
              <a:gd name="connsiteX335" fmla="*/ 752122 w 1179513"/>
              <a:gd name="connsiteY335" fmla="*/ 901577 h 985837"/>
              <a:gd name="connsiteX336" fmla="*/ 748132 w 1179513"/>
              <a:gd name="connsiteY336" fmla="*/ 903571 h 985837"/>
              <a:gd name="connsiteX337" fmla="*/ 744142 w 1179513"/>
              <a:gd name="connsiteY337" fmla="*/ 905566 h 985837"/>
              <a:gd name="connsiteX338" fmla="*/ 740152 w 1179513"/>
              <a:gd name="connsiteY338" fmla="*/ 907560 h 985837"/>
              <a:gd name="connsiteX339" fmla="*/ 734167 w 1179513"/>
              <a:gd name="connsiteY339" fmla="*/ 911550 h 985837"/>
              <a:gd name="connsiteX340" fmla="*/ 730177 w 1179513"/>
              <a:gd name="connsiteY340" fmla="*/ 913544 h 985837"/>
              <a:gd name="connsiteX341" fmla="*/ 720202 w 1179513"/>
              <a:gd name="connsiteY341" fmla="*/ 921523 h 985837"/>
              <a:gd name="connsiteX342" fmla="*/ 716212 w 1179513"/>
              <a:gd name="connsiteY342" fmla="*/ 919528 h 985837"/>
              <a:gd name="connsiteX343" fmla="*/ 708232 w 1179513"/>
              <a:gd name="connsiteY343" fmla="*/ 913544 h 985837"/>
              <a:gd name="connsiteX344" fmla="*/ 702247 w 1179513"/>
              <a:gd name="connsiteY344" fmla="*/ 909555 h 985837"/>
              <a:gd name="connsiteX345" fmla="*/ 698257 w 1179513"/>
              <a:gd name="connsiteY345" fmla="*/ 905566 h 985837"/>
              <a:gd name="connsiteX346" fmla="*/ 694267 w 1179513"/>
              <a:gd name="connsiteY346" fmla="*/ 905566 h 985837"/>
              <a:gd name="connsiteX347" fmla="*/ 688282 w 1179513"/>
              <a:gd name="connsiteY347" fmla="*/ 905566 h 985837"/>
              <a:gd name="connsiteX348" fmla="*/ 682297 w 1179513"/>
              <a:gd name="connsiteY348" fmla="*/ 905566 h 985837"/>
              <a:gd name="connsiteX349" fmla="*/ 676312 w 1179513"/>
              <a:gd name="connsiteY349" fmla="*/ 905566 h 985837"/>
              <a:gd name="connsiteX350" fmla="*/ 670327 w 1179513"/>
              <a:gd name="connsiteY350" fmla="*/ 899582 h 985837"/>
              <a:gd name="connsiteX351" fmla="*/ 660352 w 1179513"/>
              <a:gd name="connsiteY351" fmla="*/ 895593 h 985837"/>
              <a:gd name="connsiteX352" fmla="*/ 652371 w 1179513"/>
              <a:gd name="connsiteY352" fmla="*/ 895593 h 985837"/>
              <a:gd name="connsiteX353" fmla="*/ 648381 w 1179513"/>
              <a:gd name="connsiteY353" fmla="*/ 891603 h 985837"/>
              <a:gd name="connsiteX354" fmla="*/ 646386 w 1179513"/>
              <a:gd name="connsiteY354" fmla="*/ 887614 h 985837"/>
              <a:gd name="connsiteX355" fmla="*/ 640401 w 1179513"/>
              <a:gd name="connsiteY355" fmla="*/ 877641 h 985837"/>
              <a:gd name="connsiteX356" fmla="*/ 636411 w 1179513"/>
              <a:gd name="connsiteY356" fmla="*/ 871657 h 985837"/>
              <a:gd name="connsiteX357" fmla="*/ 636411 w 1179513"/>
              <a:gd name="connsiteY357" fmla="*/ 861684 h 985837"/>
              <a:gd name="connsiteX358" fmla="*/ 640401 w 1179513"/>
              <a:gd name="connsiteY358" fmla="*/ 849716 h 985837"/>
              <a:gd name="connsiteX359" fmla="*/ 640401 w 1179513"/>
              <a:gd name="connsiteY359" fmla="*/ 843732 h 985837"/>
              <a:gd name="connsiteX360" fmla="*/ 638406 w 1179513"/>
              <a:gd name="connsiteY360" fmla="*/ 839743 h 985837"/>
              <a:gd name="connsiteX361" fmla="*/ 634416 w 1179513"/>
              <a:gd name="connsiteY361" fmla="*/ 835754 h 985837"/>
              <a:gd name="connsiteX362" fmla="*/ 632421 w 1179513"/>
              <a:gd name="connsiteY362" fmla="*/ 829770 h 985837"/>
              <a:gd name="connsiteX363" fmla="*/ 632421 w 1179513"/>
              <a:gd name="connsiteY363" fmla="*/ 825780 h 985837"/>
              <a:gd name="connsiteX364" fmla="*/ 636411 w 1179513"/>
              <a:gd name="connsiteY364" fmla="*/ 823786 h 985837"/>
              <a:gd name="connsiteX365" fmla="*/ 638406 w 1179513"/>
              <a:gd name="connsiteY365" fmla="*/ 821791 h 985837"/>
              <a:gd name="connsiteX366" fmla="*/ 636411 w 1179513"/>
              <a:gd name="connsiteY366" fmla="*/ 815807 h 985837"/>
              <a:gd name="connsiteX367" fmla="*/ 632421 w 1179513"/>
              <a:gd name="connsiteY367" fmla="*/ 811818 h 985837"/>
              <a:gd name="connsiteX368" fmla="*/ 632421 w 1179513"/>
              <a:gd name="connsiteY368" fmla="*/ 807829 h 985837"/>
              <a:gd name="connsiteX369" fmla="*/ 630426 w 1179513"/>
              <a:gd name="connsiteY369" fmla="*/ 805834 h 985837"/>
              <a:gd name="connsiteX370" fmla="*/ 622446 w 1179513"/>
              <a:gd name="connsiteY370" fmla="*/ 807829 h 985837"/>
              <a:gd name="connsiteX371" fmla="*/ 616461 w 1179513"/>
              <a:gd name="connsiteY371" fmla="*/ 809823 h 985837"/>
              <a:gd name="connsiteX372" fmla="*/ 614466 w 1179513"/>
              <a:gd name="connsiteY372" fmla="*/ 813812 h 985837"/>
              <a:gd name="connsiteX373" fmla="*/ 606486 w 1179513"/>
              <a:gd name="connsiteY373" fmla="*/ 813812 h 985837"/>
              <a:gd name="connsiteX374" fmla="*/ 602496 w 1179513"/>
              <a:gd name="connsiteY374" fmla="*/ 813812 h 985837"/>
              <a:gd name="connsiteX375" fmla="*/ 600501 w 1179513"/>
              <a:gd name="connsiteY375" fmla="*/ 811818 h 985837"/>
              <a:gd name="connsiteX376" fmla="*/ 610476 w 1179513"/>
              <a:gd name="connsiteY376" fmla="*/ 803839 h 985837"/>
              <a:gd name="connsiteX377" fmla="*/ 614466 w 1179513"/>
              <a:gd name="connsiteY377" fmla="*/ 795861 h 985837"/>
              <a:gd name="connsiteX378" fmla="*/ 616461 w 1179513"/>
              <a:gd name="connsiteY378" fmla="*/ 789877 h 985837"/>
              <a:gd name="connsiteX379" fmla="*/ 620451 w 1179513"/>
              <a:gd name="connsiteY379" fmla="*/ 785888 h 985837"/>
              <a:gd name="connsiteX380" fmla="*/ 618456 w 1179513"/>
              <a:gd name="connsiteY380" fmla="*/ 781898 h 985837"/>
              <a:gd name="connsiteX381" fmla="*/ 614466 w 1179513"/>
              <a:gd name="connsiteY381" fmla="*/ 771925 h 985837"/>
              <a:gd name="connsiteX382" fmla="*/ 612471 w 1179513"/>
              <a:gd name="connsiteY382" fmla="*/ 765941 h 985837"/>
              <a:gd name="connsiteX383" fmla="*/ 610476 w 1179513"/>
              <a:gd name="connsiteY383" fmla="*/ 763947 h 985837"/>
              <a:gd name="connsiteX384" fmla="*/ 606486 w 1179513"/>
              <a:gd name="connsiteY384" fmla="*/ 767936 h 985837"/>
              <a:gd name="connsiteX385" fmla="*/ 602496 w 1179513"/>
              <a:gd name="connsiteY385" fmla="*/ 777909 h 985837"/>
              <a:gd name="connsiteX386" fmla="*/ 600501 w 1179513"/>
              <a:gd name="connsiteY386" fmla="*/ 781898 h 985837"/>
              <a:gd name="connsiteX387" fmla="*/ 598506 w 1179513"/>
              <a:gd name="connsiteY387" fmla="*/ 789877 h 985837"/>
              <a:gd name="connsiteX388" fmla="*/ 596511 w 1179513"/>
              <a:gd name="connsiteY388" fmla="*/ 793866 h 985837"/>
              <a:gd name="connsiteX389" fmla="*/ 590526 w 1179513"/>
              <a:gd name="connsiteY389" fmla="*/ 793866 h 985837"/>
              <a:gd name="connsiteX390" fmla="*/ 576561 w 1179513"/>
              <a:gd name="connsiteY390" fmla="*/ 797855 h 985837"/>
              <a:gd name="connsiteX391" fmla="*/ 570576 w 1179513"/>
              <a:gd name="connsiteY391" fmla="*/ 797855 h 985837"/>
              <a:gd name="connsiteX392" fmla="*/ 572571 w 1179513"/>
              <a:gd name="connsiteY392" fmla="*/ 791871 h 985837"/>
              <a:gd name="connsiteX393" fmla="*/ 580551 w 1179513"/>
              <a:gd name="connsiteY393" fmla="*/ 787882 h 985837"/>
              <a:gd name="connsiteX394" fmla="*/ 590526 w 1179513"/>
              <a:gd name="connsiteY394" fmla="*/ 787882 h 985837"/>
              <a:gd name="connsiteX395" fmla="*/ 590526 w 1179513"/>
              <a:gd name="connsiteY395" fmla="*/ 777909 h 985837"/>
              <a:gd name="connsiteX396" fmla="*/ 594516 w 1179513"/>
              <a:gd name="connsiteY396" fmla="*/ 769930 h 985837"/>
              <a:gd name="connsiteX397" fmla="*/ 594516 w 1179513"/>
              <a:gd name="connsiteY397" fmla="*/ 761952 h 985837"/>
              <a:gd name="connsiteX398" fmla="*/ 600501 w 1179513"/>
              <a:gd name="connsiteY398" fmla="*/ 751979 h 985837"/>
              <a:gd name="connsiteX399" fmla="*/ 602496 w 1179513"/>
              <a:gd name="connsiteY399" fmla="*/ 744000 h 985837"/>
              <a:gd name="connsiteX400" fmla="*/ 606486 w 1179513"/>
              <a:gd name="connsiteY400" fmla="*/ 736022 h 985837"/>
              <a:gd name="connsiteX401" fmla="*/ 608481 w 1179513"/>
              <a:gd name="connsiteY401" fmla="*/ 730038 h 985837"/>
              <a:gd name="connsiteX402" fmla="*/ 610476 w 1179513"/>
              <a:gd name="connsiteY402" fmla="*/ 724054 h 985837"/>
              <a:gd name="connsiteX403" fmla="*/ 608481 w 1179513"/>
              <a:gd name="connsiteY403" fmla="*/ 720065 h 985837"/>
              <a:gd name="connsiteX404" fmla="*/ 600501 w 1179513"/>
              <a:gd name="connsiteY404" fmla="*/ 722059 h 985837"/>
              <a:gd name="connsiteX405" fmla="*/ 596511 w 1179513"/>
              <a:gd name="connsiteY405" fmla="*/ 730038 h 985837"/>
              <a:gd name="connsiteX406" fmla="*/ 592521 w 1179513"/>
              <a:gd name="connsiteY406" fmla="*/ 738016 h 985837"/>
              <a:gd name="connsiteX407" fmla="*/ 586536 w 1179513"/>
              <a:gd name="connsiteY407" fmla="*/ 744000 h 985837"/>
              <a:gd name="connsiteX408" fmla="*/ 580551 w 1179513"/>
              <a:gd name="connsiteY408" fmla="*/ 749984 h 985837"/>
              <a:gd name="connsiteX409" fmla="*/ 562596 w 1179513"/>
              <a:gd name="connsiteY409" fmla="*/ 765941 h 985837"/>
              <a:gd name="connsiteX410" fmla="*/ 556611 w 1179513"/>
              <a:gd name="connsiteY410" fmla="*/ 775914 h 985837"/>
              <a:gd name="connsiteX411" fmla="*/ 552621 w 1179513"/>
              <a:gd name="connsiteY411" fmla="*/ 779904 h 985837"/>
              <a:gd name="connsiteX412" fmla="*/ 552621 w 1179513"/>
              <a:gd name="connsiteY412" fmla="*/ 785888 h 985837"/>
              <a:gd name="connsiteX413" fmla="*/ 550626 w 1179513"/>
              <a:gd name="connsiteY413" fmla="*/ 789877 h 985837"/>
              <a:gd name="connsiteX414" fmla="*/ 542645 w 1179513"/>
              <a:gd name="connsiteY414" fmla="*/ 787882 h 985837"/>
              <a:gd name="connsiteX415" fmla="*/ 538655 w 1179513"/>
              <a:gd name="connsiteY415" fmla="*/ 779904 h 985837"/>
              <a:gd name="connsiteX416" fmla="*/ 536660 w 1179513"/>
              <a:gd name="connsiteY416" fmla="*/ 773920 h 985837"/>
              <a:gd name="connsiteX417" fmla="*/ 538655 w 1179513"/>
              <a:gd name="connsiteY417" fmla="*/ 765941 h 985837"/>
              <a:gd name="connsiteX418" fmla="*/ 536660 w 1179513"/>
              <a:gd name="connsiteY418" fmla="*/ 757963 h 985837"/>
              <a:gd name="connsiteX419" fmla="*/ 534665 w 1179513"/>
              <a:gd name="connsiteY419" fmla="*/ 749984 h 985837"/>
              <a:gd name="connsiteX420" fmla="*/ 528680 w 1179513"/>
              <a:gd name="connsiteY420" fmla="*/ 742006 h 985837"/>
              <a:gd name="connsiteX421" fmla="*/ 526685 w 1179513"/>
              <a:gd name="connsiteY421" fmla="*/ 736022 h 985837"/>
              <a:gd name="connsiteX422" fmla="*/ 526685 w 1179513"/>
              <a:gd name="connsiteY422" fmla="*/ 730038 h 985837"/>
              <a:gd name="connsiteX423" fmla="*/ 520700 w 1179513"/>
              <a:gd name="connsiteY423" fmla="*/ 728043 h 985837"/>
              <a:gd name="connsiteX424" fmla="*/ 516710 w 1179513"/>
              <a:gd name="connsiteY424" fmla="*/ 728043 h 985837"/>
              <a:gd name="connsiteX425" fmla="*/ 514715 w 1179513"/>
              <a:gd name="connsiteY425" fmla="*/ 720065 h 985837"/>
              <a:gd name="connsiteX426" fmla="*/ 518705 w 1179513"/>
              <a:gd name="connsiteY426" fmla="*/ 714081 h 985837"/>
              <a:gd name="connsiteX427" fmla="*/ 522695 w 1179513"/>
              <a:gd name="connsiteY427" fmla="*/ 710091 h 985837"/>
              <a:gd name="connsiteX428" fmla="*/ 518705 w 1179513"/>
              <a:gd name="connsiteY428" fmla="*/ 704107 h 985837"/>
              <a:gd name="connsiteX429" fmla="*/ 512720 w 1179513"/>
              <a:gd name="connsiteY429" fmla="*/ 700118 h 985837"/>
              <a:gd name="connsiteX430" fmla="*/ 504740 w 1179513"/>
              <a:gd name="connsiteY430" fmla="*/ 698123 h 985837"/>
              <a:gd name="connsiteX431" fmla="*/ 498755 w 1179513"/>
              <a:gd name="connsiteY431" fmla="*/ 698123 h 985837"/>
              <a:gd name="connsiteX432" fmla="*/ 494765 w 1179513"/>
              <a:gd name="connsiteY432" fmla="*/ 694134 h 985837"/>
              <a:gd name="connsiteX433" fmla="*/ 486785 w 1179513"/>
              <a:gd name="connsiteY433" fmla="*/ 690145 h 985837"/>
              <a:gd name="connsiteX434" fmla="*/ 478805 w 1179513"/>
              <a:gd name="connsiteY434" fmla="*/ 690145 h 985837"/>
              <a:gd name="connsiteX435" fmla="*/ 472820 w 1179513"/>
              <a:gd name="connsiteY435" fmla="*/ 692140 h 985837"/>
              <a:gd name="connsiteX436" fmla="*/ 468830 w 1179513"/>
              <a:gd name="connsiteY436" fmla="*/ 688150 h 985837"/>
              <a:gd name="connsiteX437" fmla="*/ 464840 w 1179513"/>
              <a:gd name="connsiteY437" fmla="*/ 682166 h 985837"/>
              <a:gd name="connsiteX438" fmla="*/ 458855 w 1179513"/>
              <a:gd name="connsiteY438" fmla="*/ 676182 h 985837"/>
              <a:gd name="connsiteX439" fmla="*/ 454865 w 1179513"/>
              <a:gd name="connsiteY439" fmla="*/ 674188 h 985837"/>
              <a:gd name="connsiteX440" fmla="*/ 450875 w 1179513"/>
              <a:gd name="connsiteY440" fmla="*/ 674188 h 985837"/>
              <a:gd name="connsiteX441" fmla="*/ 444890 w 1179513"/>
              <a:gd name="connsiteY441" fmla="*/ 676182 h 985837"/>
              <a:gd name="connsiteX442" fmla="*/ 434914 w 1179513"/>
              <a:gd name="connsiteY442" fmla="*/ 676182 h 985837"/>
              <a:gd name="connsiteX443" fmla="*/ 422944 w 1179513"/>
              <a:gd name="connsiteY443" fmla="*/ 676182 h 985837"/>
              <a:gd name="connsiteX444" fmla="*/ 412969 w 1179513"/>
              <a:gd name="connsiteY444" fmla="*/ 676182 h 985837"/>
              <a:gd name="connsiteX445" fmla="*/ 400999 w 1179513"/>
              <a:gd name="connsiteY445" fmla="*/ 678177 h 985837"/>
              <a:gd name="connsiteX446" fmla="*/ 391024 w 1179513"/>
              <a:gd name="connsiteY446" fmla="*/ 680172 h 985837"/>
              <a:gd name="connsiteX447" fmla="*/ 383044 w 1179513"/>
              <a:gd name="connsiteY447" fmla="*/ 684161 h 985837"/>
              <a:gd name="connsiteX448" fmla="*/ 375064 w 1179513"/>
              <a:gd name="connsiteY448" fmla="*/ 688150 h 985837"/>
              <a:gd name="connsiteX449" fmla="*/ 359104 w 1179513"/>
              <a:gd name="connsiteY449" fmla="*/ 696129 h 985837"/>
              <a:gd name="connsiteX450" fmla="*/ 343144 w 1179513"/>
              <a:gd name="connsiteY450" fmla="*/ 698123 h 985837"/>
              <a:gd name="connsiteX451" fmla="*/ 331173 w 1179513"/>
              <a:gd name="connsiteY451" fmla="*/ 698123 h 985837"/>
              <a:gd name="connsiteX452" fmla="*/ 323193 w 1179513"/>
              <a:gd name="connsiteY452" fmla="*/ 698123 h 985837"/>
              <a:gd name="connsiteX453" fmla="*/ 311223 w 1179513"/>
              <a:gd name="connsiteY453" fmla="*/ 700118 h 985837"/>
              <a:gd name="connsiteX454" fmla="*/ 299253 w 1179513"/>
              <a:gd name="connsiteY454" fmla="*/ 706102 h 985837"/>
              <a:gd name="connsiteX455" fmla="*/ 291273 w 1179513"/>
              <a:gd name="connsiteY455" fmla="*/ 710091 h 985837"/>
              <a:gd name="connsiteX456" fmla="*/ 281298 w 1179513"/>
              <a:gd name="connsiteY456" fmla="*/ 714081 h 985837"/>
              <a:gd name="connsiteX457" fmla="*/ 279303 w 1179513"/>
              <a:gd name="connsiteY457" fmla="*/ 716075 h 985837"/>
              <a:gd name="connsiteX458" fmla="*/ 277308 w 1179513"/>
              <a:gd name="connsiteY458" fmla="*/ 718070 h 985837"/>
              <a:gd name="connsiteX459" fmla="*/ 273318 w 1179513"/>
              <a:gd name="connsiteY459" fmla="*/ 720065 h 985837"/>
              <a:gd name="connsiteX460" fmla="*/ 269328 w 1179513"/>
              <a:gd name="connsiteY460" fmla="*/ 720065 h 985837"/>
              <a:gd name="connsiteX461" fmla="*/ 263343 w 1179513"/>
              <a:gd name="connsiteY461" fmla="*/ 724054 h 985837"/>
              <a:gd name="connsiteX462" fmla="*/ 257358 w 1179513"/>
              <a:gd name="connsiteY462" fmla="*/ 732032 h 985837"/>
              <a:gd name="connsiteX463" fmla="*/ 253368 w 1179513"/>
              <a:gd name="connsiteY463" fmla="*/ 742006 h 985837"/>
              <a:gd name="connsiteX464" fmla="*/ 249378 w 1179513"/>
              <a:gd name="connsiteY464" fmla="*/ 745995 h 985837"/>
              <a:gd name="connsiteX465" fmla="*/ 239403 w 1179513"/>
              <a:gd name="connsiteY465" fmla="*/ 753973 h 985837"/>
              <a:gd name="connsiteX466" fmla="*/ 229427 w 1179513"/>
              <a:gd name="connsiteY466" fmla="*/ 753973 h 985837"/>
              <a:gd name="connsiteX467" fmla="*/ 215462 w 1179513"/>
              <a:gd name="connsiteY467" fmla="*/ 755968 h 985837"/>
              <a:gd name="connsiteX468" fmla="*/ 205487 w 1179513"/>
              <a:gd name="connsiteY468" fmla="*/ 755968 h 985837"/>
              <a:gd name="connsiteX469" fmla="*/ 199502 w 1179513"/>
              <a:gd name="connsiteY469" fmla="*/ 753973 h 985837"/>
              <a:gd name="connsiteX470" fmla="*/ 193517 w 1179513"/>
              <a:gd name="connsiteY470" fmla="*/ 751979 h 985837"/>
              <a:gd name="connsiteX471" fmla="*/ 187532 w 1179513"/>
              <a:gd name="connsiteY471" fmla="*/ 751979 h 985837"/>
              <a:gd name="connsiteX472" fmla="*/ 181547 w 1179513"/>
              <a:gd name="connsiteY472" fmla="*/ 751979 h 985837"/>
              <a:gd name="connsiteX473" fmla="*/ 175562 w 1179513"/>
              <a:gd name="connsiteY473" fmla="*/ 751979 h 985837"/>
              <a:gd name="connsiteX474" fmla="*/ 169577 w 1179513"/>
              <a:gd name="connsiteY474" fmla="*/ 753973 h 985837"/>
              <a:gd name="connsiteX475" fmla="*/ 161597 w 1179513"/>
              <a:gd name="connsiteY475" fmla="*/ 755968 h 985837"/>
              <a:gd name="connsiteX476" fmla="*/ 155612 w 1179513"/>
              <a:gd name="connsiteY476" fmla="*/ 755968 h 985837"/>
              <a:gd name="connsiteX477" fmla="*/ 147632 w 1179513"/>
              <a:gd name="connsiteY477" fmla="*/ 757963 h 985837"/>
              <a:gd name="connsiteX478" fmla="*/ 141647 w 1179513"/>
              <a:gd name="connsiteY478" fmla="*/ 763947 h 985837"/>
              <a:gd name="connsiteX479" fmla="*/ 137657 w 1179513"/>
              <a:gd name="connsiteY479" fmla="*/ 769930 h 985837"/>
              <a:gd name="connsiteX480" fmla="*/ 129676 w 1179513"/>
              <a:gd name="connsiteY480" fmla="*/ 773920 h 985837"/>
              <a:gd name="connsiteX481" fmla="*/ 125686 w 1179513"/>
              <a:gd name="connsiteY481" fmla="*/ 771925 h 985837"/>
              <a:gd name="connsiteX482" fmla="*/ 121696 w 1179513"/>
              <a:gd name="connsiteY482" fmla="*/ 771925 h 985837"/>
              <a:gd name="connsiteX483" fmla="*/ 115711 w 1179513"/>
              <a:gd name="connsiteY483" fmla="*/ 777909 h 985837"/>
              <a:gd name="connsiteX484" fmla="*/ 111721 w 1179513"/>
              <a:gd name="connsiteY484" fmla="*/ 781898 h 985837"/>
              <a:gd name="connsiteX485" fmla="*/ 107731 w 1179513"/>
              <a:gd name="connsiteY485" fmla="*/ 787882 h 985837"/>
              <a:gd name="connsiteX486" fmla="*/ 83791 w 1179513"/>
              <a:gd name="connsiteY486" fmla="*/ 795861 h 985837"/>
              <a:gd name="connsiteX487" fmla="*/ 75811 w 1179513"/>
              <a:gd name="connsiteY487" fmla="*/ 793866 h 985837"/>
              <a:gd name="connsiteX488" fmla="*/ 65836 w 1179513"/>
              <a:gd name="connsiteY488" fmla="*/ 791871 h 985837"/>
              <a:gd name="connsiteX489" fmla="*/ 53866 w 1179513"/>
              <a:gd name="connsiteY489" fmla="*/ 787882 h 985837"/>
              <a:gd name="connsiteX490" fmla="*/ 47881 w 1179513"/>
              <a:gd name="connsiteY490" fmla="*/ 785888 h 985837"/>
              <a:gd name="connsiteX491" fmla="*/ 43891 w 1179513"/>
              <a:gd name="connsiteY491" fmla="*/ 783893 h 985837"/>
              <a:gd name="connsiteX492" fmla="*/ 41896 w 1179513"/>
              <a:gd name="connsiteY492" fmla="*/ 777909 h 985837"/>
              <a:gd name="connsiteX493" fmla="*/ 33916 w 1179513"/>
              <a:gd name="connsiteY493" fmla="*/ 773920 h 985837"/>
              <a:gd name="connsiteX494" fmla="*/ 25935 w 1179513"/>
              <a:gd name="connsiteY494" fmla="*/ 769930 h 985837"/>
              <a:gd name="connsiteX495" fmla="*/ 21945 w 1179513"/>
              <a:gd name="connsiteY495" fmla="*/ 765941 h 985837"/>
              <a:gd name="connsiteX496" fmla="*/ 19950 w 1179513"/>
              <a:gd name="connsiteY496" fmla="*/ 755968 h 985837"/>
              <a:gd name="connsiteX497" fmla="*/ 21945 w 1179513"/>
              <a:gd name="connsiteY497" fmla="*/ 745995 h 985837"/>
              <a:gd name="connsiteX498" fmla="*/ 27931 w 1179513"/>
              <a:gd name="connsiteY498" fmla="*/ 745995 h 985837"/>
              <a:gd name="connsiteX499" fmla="*/ 33916 w 1179513"/>
              <a:gd name="connsiteY499" fmla="*/ 744000 h 985837"/>
              <a:gd name="connsiteX500" fmla="*/ 37906 w 1179513"/>
              <a:gd name="connsiteY500" fmla="*/ 732032 h 985837"/>
              <a:gd name="connsiteX501" fmla="*/ 41896 w 1179513"/>
              <a:gd name="connsiteY501" fmla="*/ 720065 h 985837"/>
              <a:gd name="connsiteX502" fmla="*/ 45886 w 1179513"/>
              <a:gd name="connsiteY502" fmla="*/ 714081 h 985837"/>
              <a:gd name="connsiteX503" fmla="*/ 47881 w 1179513"/>
              <a:gd name="connsiteY503" fmla="*/ 710091 h 985837"/>
              <a:gd name="connsiteX504" fmla="*/ 47881 w 1179513"/>
              <a:gd name="connsiteY504" fmla="*/ 704107 h 985837"/>
              <a:gd name="connsiteX505" fmla="*/ 47881 w 1179513"/>
              <a:gd name="connsiteY505" fmla="*/ 698123 h 985837"/>
              <a:gd name="connsiteX506" fmla="*/ 47881 w 1179513"/>
              <a:gd name="connsiteY506" fmla="*/ 688150 h 985837"/>
              <a:gd name="connsiteX507" fmla="*/ 47881 w 1179513"/>
              <a:gd name="connsiteY507" fmla="*/ 680172 h 985837"/>
              <a:gd name="connsiteX508" fmla="*/ 47881 w 1179513"/>
              <a:gd name="connsiteY508" fmla="*/ 674188 h 985837"/>
              <a:gd name="connsiteX509" fmla="*/ 43891 w 1179513"/>
              <a:gd name="connsiteY509" fmla="*/ 668204 h 985837"/>
              <a:gd name="connsiteX510" fmla="*/ 39901 w 1179513"/>
              <a:gd name="connsiteY510" fmla="*/ 656236 h 985837"/>
              <a:gd name="connsiteX511" fmla="*/ 39901 w 1179513"/>
              <a:gd name="connsiteY511" fmla="*/ 634295 h 985837"/>
              <a:gd name="connsiteX512" fmla="*/ 39901 w 1179513"/>
              <a:gd name="connsiteY512" fmla="*/ 624322 h 985837"/>
              <a:gd name="connsiteX513" fmla="*/ 37906 w 1179513"/>
              <a:gd name="connsiteY513" fmla="*/ 618338 h 985837"/>
              <a:gd name="connsiteX514" fmla="*/ 37906 w 1179513"/>
              <a:gd name="connsiteY514" fmla="*/ 608365 h 985837"/>
              <a:gd name="connsiteX515" fmla="*/ 37906 w 1179513"/>
              <a:gd name="connsiteY515" fmla="*/ 594402 h 985837"/>
              <a:gd name="connsiteX516" fmla="*/ 33916 w 1179513"/>
              <a:gd name="connsiteY516" fmla="*/ 584429 h 985837"/>
              <a:gd name="connsiteX517" fmla="*/ 31921 w 1179513"/>
              <a:gd name="connsiteY517" fmla="*/ 570467 h 985837"/>
              <a:gd name="connsiteX518" fmla="*/ 27931 w 1179513"/>
              <a:gd name="connsiteY518" fmla="*/ 564483 h 985837"/>
              <a:gd name="connsiteX519" fmla="*/ 25935 w 1179513"/>
              <a:gd name="connsiteY519" fmla="*/ 558499 h 985837"/>
              <a:gd name="connsiteX520" fmla="*/ 27931 w 1179513"/>
              <a:gd name="connsiteY520" fmla="*/ 552515 h 985837"/>
              <a:gd name="connsiteX521" fmla="*/ 27931 w 1179513"/>
              <a:gd name="connsiteY521" fmla="*/ 546531 h 985837"/>
              <a:gd name="connsiteX522" fmla="*/ 25935 w 1179513"/>
              <a:gd name="connsiteY522" fmla="*/ 538552 h 985837"/>
              <a:gd name="connsiteX523" fmla="*/ 19950 w 1179513"/>
              <a:gd name="connsiteY523" fmla="*/ 526585 h 985837"/>
              <a:gd name="connsiteX524" fmla="*/ 13965 w 1179513"/>
              <a:gd name="connsiteY524" fmla="*/ 514617 h 985837"/>
              <a:gd name="connsiteX525" fmla="*/ 13965 w 1179513"/>
              <a:gd name="connsiteY525" fmla="*/ 506638 h 985837"/>
              <a:gd name="connsiteX526" fmla="*/ 7980 w 1179513"/>
              <a:gd name="connsiteY526" fmla="*/ 500654 h 985837"/>
              <a:gd name="connsiteX527" fmla="*/ 1995 w 1179513"/>
              <a:gd name="connsiteY527" fmla="*/ 488687 h 985837"/>
              <a:gd name="connsiteX528" fmla="*/ 0 w 1179513"/>
              <a:gd name="connsiteY528" fmla="*/ 480708 h 985837"/>
              <a:gd name="connsiteX529" fmla="*/ 5985 w 1179513"/>
              <a:gd name="connsiteY529" fmla="*/ 476719 h 985837"/>
              <a:gd name="connsiteX530" fmla="*/ 5985 w 1179513"/>
              <a:gd name="connsiteY530" fmla="*/ 482703 h 985837"/>
              <a:gd name="connsiteX531" fmla="*/ 5985 w 1179513"/>
              <a:gd name="connsiteY531" fmla="*/ 490681 h 985837"/>
              <a:gd name="connsiteX532" fmla="*/ 7980 w 1179513"/>
              <a:gd name="connsiteY532" fmla="*/ 494670 h 985837"/>
              <a:gd name="connsiteX533" fmla="*/ 11970 w 1179513"/>
              <a:gd name="connsiteY533" fmla="*/ 496665 h 985837"/>
              <a:gd name="connsiteX534" fmla="*/ 15960 w 1179513"/>
              <a:gd name="connsiteY534" fmla="*/ 498660 h 985837"/>
              <a:gd name="connsiteX535" fmla="*/ 15960 w 1179513"/>
              <a:gd name="connsiteY535" fmla="*/ 504644 h 985837"/>
              <a:gd name="connsiteX536" fmla="*/ 15960 w 1179513"/>
              <a:gd name="connsiteY536" fmla="*/ 510628 h 985837"/>
              <a:gd name="connsiteX537" fmla="*/ 21945 w 1179513"/>
              <a:gd name="connsiteY537" fmla="*/ 512622 h 985837"/>
              <a:gd name="connsiteX538" fmla="*/ 23940 w 1179513"/>
              <a:gd name="connsiteY538" fmla="*/ 508633 h 985837"/>
              <a:gd name="connsiteX539" fmla="*/ 23940 w 1179513"/>
              <a:gd name="connsiteY539" fmla="*/ 500654 h 985837"/>
              <a:gd name="connsiteX540" fmla="*/ 25935 w 1179513"/>
              <a:gd name="connsiteY540" fmla="*/ 498660 h 985837"/>
              <a:gd name="connsiteX541" fmla="*/ 27931 w 1179513"/>
              <a:gd name="connsiteY541" fmla="*/ 502649 h 985837"/>
              <a:gd name="connsiteX542" fmla="*/ 27931 w 1179513"/>
              <a:gd name="connsiteY542" fmla="*/ 506638 h 985837"/>
              <a:gd name="connsiteX543" fmla="*/ 27931 w 1179513"/>
              <a:gd name="connsiteY543" fmla="*/ 510628 h 985837"/>
              <a:gd name="connsiteX544" fmla="*/ 33916 w 1179513"/>
              <a:gd name="connsiteY544" fmla="*/ 510628 h 985837"/>
              <a:gd name="connsiteX545" fmla="*/ 35911 w 1179513"/>
              <a:gd name="connsiteY545" fmla="*/ 508633 h 985837"/>
              <a:gd name="connsiteX546" fmla="*/ 37906 w 1179513"/>
              <a:gd name="connsiteY546" fmla="*/ 502649 h 985837"/>
              <a:gd name="connsiteX547" fmla="*/ 37906 w 1179513"/>
              <a:gd name="connsiteY547" fmla="*/ 494670 h 985837"/>
              <a:gd name="connsiteX548" fmla="*/ 37906 w 1179513"/>
              <a:gd name="connsiteY548" fmla="*/ 490681 h 985837"/>
              <a:gd name="connsiteX549" fmla="*/ 35911 w 1179513"/>
              <a:gd name="connsiteY549" fmla="*/ 486692 h 985837"/>
              <a:gd name="connsiteX550" fmla="*/ 33916 w 1179513"/>
              <a:gd name="connsiteY550" fmla="*/ 480708 h 985837"/>
              <a:gd name="connsiteX551" fmla="*/ 31921 w 1179513"/>
              <a:gd name="connsiteY551" fmla="*/ 476719 h 985837"/>
              <a:gd name="connsiteX552" fmla="*/ 29926 w 1179513"/>
              <a:gd name="connsiteY552" fmla="*/ 470735 h 985837"/>
              <a:gd name="connsiteX553" fmla="*/ 23940 w 1179513"/>
              <a:gd name="connsiteY553" fmla="*/ 466746 h 985837"/>
              <a:gd name="connsiteX554" fmla="*/ 21945 w 1179513"/>
              <a:gd name="connsiteY554" fmla="*/ 460762 h 985837"/>
              <a:gd name="connsiteX555" fmla="*/ 21945 w 1179513"/>
              <a:gd name="connsiteY555" fmla="*/ 454778 h 985837"/>
              <a:gd name="connsiteX556" fmla="*/ 21945 w 1179513"/>
              <a:gd name="connsiteY556" fmla="*/ 448794 h 985837"/>
              <a:gd name="connsiteX557" fmla="*/ 17955 w 1179513"/>
              <a:gd name="connsiteY557" fmla="*/ 442810 h 985837"/>
              <a:gd name="connsiteX558" fmla="*/ 19950 w 1179513"/>
              <a:gd name="connsiteY558" fmla="*/ 436826 h 985837"/>
              <a:gd name="connsiteX559" fmla="*/ 19950 w 1179513"/>
              <a:gd name="connsiteY559" fmla="*/ 428847 h 985837"/>
              <a:gd name="connsiteX560" fmla="*/ 23940 w 1179513"/>
              <a:gd name="connsiteY560" fmla="*/ 416880 h 985837"/>
              <a:gd name="connsiteX561" fmla="*/ 25935 w 1179513"/>
              <a:gd name="connsiteY561" fmla="*/ 408901 h 985837"/>
              <a:gd name="connsiteX562" fmla="*/ 27931 w 1179513"/>
              <a:gd name="connsiteY562" fmla="*/ 402917 h 985837"/>
              <a:gd name="connsiteX563" fmla="*/ 27931 w 1179513"/>
              <a:gd name="connsiteY563" fmla="*/ 398928 h 985837"/>
              <a:gd name="connsiteX564" fmla="*/ 27931 w 1179513"/>
              <a:gd name="connsiteY564" fmla="*/ 386960 h 985837"/>
              <a:gd name="connsiteX565" fmla="*/ 25935 w 1179513"/>
              <a:gd name="connsiteY565" fmla="*/ 384965 h 985837"/>
              <a:gd name="connsiteX566" fmla="*/ 29926 w 1179513"/>
              <a:gd name="connsiteY566" fmla="*/ 374992 h 985837"/>
              <a:gd name="connsiteX567" fmla="*/ 33916 w 1179513"/>
              <a:gd name="connsiteY567" fmla="*/ 371003 h 985837"/>
              <a:gd name="connsiteX568" fmla="*/ 33916 w 1179513"/>
              <a:gd name="connsiteY568" fmla="*/ 363024 h 985837"/>
              <a:gd name="connsiteX569" fmla="*/ 37906 w 1179513"/>
              <a:gd name="connsiteY569" fmla="*/ 359035 h 985837"/>
              <a:gd name="connsiteX570" fmla="*/ 41896 w 1179513"/>
              <a:gd name="connsiteY570" fmla="*/ 359035 h 985837"/>
              <a:gd name="connsiteX571" fmla="*/ 39901 w 1179513"/>
              <a:gd name="connsiteY571" fmla="*/ 367014 h 985837"/>
              <a:gd name="connsiteX572" fmla="*/ 43891 w 1179513"/>
              <a:gd name="connsiteY572" fmla="*/ 372998 h 985837"/>
              <a:gd name="connsiteX573" fmla="*/ 49876 w 1179513"/>
              <a:gd name="connsiteY573" fmla="*/ 372998 h 985837"/>
              <a:gd name="connsiteX574" fmla="*/ 53866 w 1179513"/>
              <a:gd name="connsiteY574" fmla="*/ 361030 h 985837"/>
              <a:gd name="connsiteX575" fmla="*/ 59851 w 1179513"/>
              <a:gd name="connsiteY575" fmla="*/ 355046 h 985837"/>
              <a:gd name="connsiteX576" fmla="*/ 63841 w 1179513"/>
              <a:gd name="connsiteY576" fmla="*/ 351057 h 985837"/>
              <a:gd name="connsiteX577" fmla="*/ 71821 w 1179513"/>
              <a:gd name="connsiteY577" fmla="*/ 349062 h 985837"/>
              <a:gd name="connsiteX578" fmla="*/ 79801 w 1179513"/>
              <a:gd name="connsiteY578" fmla="*/ 345073 h 985837"/>
              <a:gd name="connsiteX579" fmla="*/ 93766 w 1179513"/>
              <a:gd name="connsiteY579" fmla="*/ 329115 h 985837"/>
              <a:gd name="connsiteX580" fmla="*/ 99751 w 1179513"/>
              <a:gd name="connsiteY580" fmla="*/ 325126 h 985837"/>
              <a:gd name="connsiteX581" fmla="*/ 107731 w 1179513"/>
              <a:gd name="connsiteY581" fmla="*/ 323132 h 985837"/>
              <a:gd name="connsiteX582" fmla="*/ 111721 w 1179513"/>
              <a:gd name="connsiteY582" fmla="*/ 321137 h 985837"/>
              <a:gd name="connsiteX583" fmla="*/ 111721 w 1179513"/>
              <a:gd name="connsiteY583" fmla="*/ 315153 h 985837"/>
              <a:gd name="connsiteX584" fmla="*/ 115711 w 1179513"/>
              <a:gd name="connsiteY584" fmla="*/ 309169 h 985837"/>
              <a:gd name="connsiteX585" fmla="*/ 115711 w 1179513"/>
              <a:gd name="connsiteY585" fmla="*/ 317148 h 985837"/>
              <a:gd name="connsiteX586" fmla="*/ 119701 w 1179513"/>
              <a:gd name="connsiteY586" fmla="*/ 319142 h 985837"/>
              <a:gd name="connsiteX587" fmla="*/ 123691 w 1179513"/>
              <a:gd name="connsiteY587" fmla="*/ 317148 h 985837"/>
              <a:gd name="connsiteX588" fmla="*/ 129676 w 1179513"/>
              <a:gd name="connsiteY588" fmla="*/ 319142 h 985837"/>
              <a:gd name="connsiteX589" fmla="*/ 139652 w 1179513"/>
              <a:gd name="connsiteY589" fmla="*/ 315153 h 985837"/>
              <a:gd name="connsiteX590" fmla="*/ 145637 w 1179513"/>
              <a:gd name="connsiteY590" fmla="*/ 309169 h 985837"/>
              <a:gd name="connsiteX591" fmla="*/ 153617 w 1179513"/>
              <a:gd name="connsiteY591" fmla="*/ 309169 h 985837"/>
              <a:gd name="connsiteX592" fmla="*/ 167582 w 1179513"/>
              <a:gd name="connsiteY592" fmla="*/ 309169 h 985837"/>
              <a:gd name="connsiteX593" fmla="*/ 181547 w 1179513"/>
              <a:gd name="connsiteY593" fmla="*/ 295207 h 985837"/>
              <a:gd name="connsiteX594" fmla="*/ 187532 w 1179513"/>
              <a:gd name="connsiteY594" fmla="*/ 295207 h 985837"/>
              <a:gd name="connsiteX595" fmla="*/ 189527 w 1179513"/>
              <a:gd name="connsiteY595" fmla="*/ 299196 h 985837"/>
              <a:gd name="connsiteX596" fmla="*/ 195512 w 1179513"/>
              <a:gd name="connsiteY596" fmla="*/ 297201 h 985837"/>
              <a:gd name="connsiteX597" fmla="*/ 211472 w 1179513"/>
              <a:gd name="connsiteY597" fmla="*/ 293212 h 985837"/>
              <a:gd name="connsiteX598" fmla="*/ 215462 w 1179513"/>
              <a:gd name="connsiteY598" fmla="*/ 289223 h 985837"/>
              <a:gd name="connsiteX599" fmla="*/ 219452 w 1179513"/>
              <a:gd name="connsiteY599" fmla="*/ 287228 h 985837"/>
              <a:gd name="connsiteX600" fmla="*/ 223442 w 1179513"/>
              <a:gd name="connsiteY600" fmla="*/ 287228 h 985837"/>
              <a:gd name="connsiteX601" fmla="*/ 231422 w 1179513"/>
              <a:gd name="connsiteY601" fmla="*/ 283239 h 985837"/>
              <a:gd name="connsiteX602" fmla="*/ 239403 w 1179513"/>
              <a:gd name="connsiteY602" fmla="*/ 277255 h 985837"/>
              <a:gd name="connsiteX603" fmla="*/ 247383 w 1179513"/>
              <a:gd name="connsiteY603" fmla="*/ 269276 h 985837"/>
              <a:gd name="connsiteX604" fmla="*/ 249378 w 1179513"/>
              <a:gd name="connsiteY604" fmla="*/ 263292 h 985837"/>
              <a:gd name="connsiteX605" fmla="*/ 249378 w 1179513"/>
              <a:gd name="connsiteY605" fmla="*/ 255314 h 985837"/>
              <a:gd name="connsiteX606" fmla="*/ 251373 w 1179513"/>
              <a:gd name="connsiteY606" fmla="*/ 249330 h 985837"/>
              <a:gd name="connsiteX607" fmla="*/ 255363 w 1179513"/>
              <a:gd name="connsiteY607" fmla="*/ 245341 h 985837"/>
              <a:gd name="connsiteX608" fmla="*/ 261348 w 1179513"/>
              <a:gd name="connsiteY608" fmla="*/ 243346 h 985837"/>
              <a:gd name="connsiteX609" fmla="*/ 263343 w 1179513"/>
              <a:gd name="connsiteY609" fmla="*/ 233373 h 985837"/>
              <a:gd name="connsiteX610" fmla="*/ 265338 w 1179513"/>
              <a:gd name="connsiteY610" fmla="*/ 217416 h 985837"/>
              <a:gd name="connsiteX611" fmla="*/ 267333 w 1179513"/>
              <a:gd name="connsiteY611" fmla="*/ 209437 h 985837"/>
              <a:gd name="connsiteX612" fmla="*/ 267333 w 1179513"/>
              <a:gd name="connsiteY612" fmla="*/ 199464 h 985837"/>
              <a:gd name="connsiteX613" fmla="*/ 269328 w 1179513"/>
              <a:gd name="connsiteY613" fmla="*/ 197469 h 985837"/>
              <a:gd name="connsiteX614" fmla="*/ 273318 w 1179513"/>
              <a:gd name="connsiteY614" fmla="*/ 195475 h 985837"/>
              <a:gd name="connsiteX615" fmla="*/ 273318 w 1179513"/>
              <a:gd name="connsiteY615" fmla="*/ 191485 h 985837"/>
              <a:gd name="connsiteX616" fmla="*/ 277308 w 1179513"/>
              <a:gd name="connsiteY616" fmla="*/ 187496 h 985837"/>
              <a:gd name="connsiteX617" fmla="*/ 281298 w 1179513"/>
              <a:gd name="connsiteY617" fmla="*/ 181512 h 985837"/>
              <a:gd name="connsiteX618" fmla="*/ 285288 w 1179513"/>
              <a:gd name="connsiteY618" fmla="*/ 179518 h 985837"/>
              <a:gd name="connsiteX619" fmla="*/ 289278 w 1179513"/>
              <a:gd name="connsiteY619" fmla="*/ 177523 h 985837"/>
              <a:gd name="connsiteX620" fmla="*/ 289278 w 1179513"/>
              <a:gd name="connsiteY620" fmla="*/ 185502 h 985837"/>
              <a:gd name="connsiteX621" fmla="*/ 291273 w 1179513"/>
              <a:gd name="connsiteY621" fmla="*/ 191485 h 985837"/>
              <a:gd name="connsiteX622" fmla="*/ 295263 w 1179513"/>
              <a:gd name="connsiteY622" fmla="*/ 201459 h 985837"/>
              <a:gd name="connsiteX623" fmla="*/ 297258 w 1179513"/>
              <a:gd name="connsiteY623" fmla="*/ 209437 h 985837"/>
              <a:gd name="connsiteX624" fmla="*/ 299253 w 1179513"/>
              <a:gd name="connsiteY624" fmla="*/ 217416 h 985837"/>
              <a:gd name="connsiteX625" fmla="*/ 301248 w 1179513"/>
              <a:gd name="connsiteY625" fmla="*/ 213427 h 985837"/>
              <a:gd name="connsiteX626" fmla="*/ 299253 w 1179513"/>
              <a:gd name="connsiteY626" fmla="*/ 207443 h 985837"/>
              <a:gd name="connsiteX627" fmla="*/ 305238 w 1179513"/>
              <a:gd name="connsiteY627" fmla="*/ 203453 h 985837"/>
              <a:gd name="connsiteX628" fmla="*/ 309228 w 1179513"/>
              <a:gd name="connsiteY628" fmla="*/ 205448 h 985837"/>
              <a:gd name="connsiteX629" fmla="*/ 309228 w 1179513"/>
              <a:gd name="connsiteY629" fmla="*/ 199464 h 985837"/>
              <a:gd name="connsiteX630" fmla="*/ 311223 w 1179513"/>
              <a:gd name="connsiteY630" fmla="*/ 195475 h 985837"/>
              <a:gd name="connsiteX631" fmla="*/ 305238 w 1179513"/>
              <a:gd name="connsiteY631" fmla="*/ 191485 h 985837"/>
              <a:gd name="connsiteX632" fmla="*/ 303243 w 1179513"/>
              <a:gd name="connsiteY632" fmla="*/ 187496 h 985837"/>
              <a:gd name="connsiteX633" fmla="*/ 299253 w 1179513"/>
              <a:gd name="connsiteY633" fmla="*/ 183507 h 985837"/>
              <a:gd name="connsiteX634" fmla="*/ 303243 w 1179513"/>
              <a:gd name="connsiteY634" fmla="*/ 181512 h 985837"/>
              <a:gd name="connsiteX635" fmla="*/ 303243 w 1179513"/>
              <a:gd name="connsiteY635" fmla="*/ 175528 h 985837"/>
              <a:gd name="connsiteX636" fmla="*/ 305238 w 1179513"/>
              <a:gd name="connsiteY636" fmla="*/ 171539 h 985837"/>
              <a:gd name="connsiteX637" fmla="*/ 309228 w 1179513"/>
              <a:gd name="connsiteY637" fmla="*/ 175528 h 985837"/>
              <a:gd name="connsiteX638" fmla="*/ 311223 w 1179513"/>
              <a:gd name="connsiteY638" fmla="*/ 179518 h 985837"/>
              <a:gd name="connsiteX639" fmla="*/ 315213 w 1179513"/>
              <a:gd name="connsiteY639" fmla="*/ 177523 h 985837"/>
              <a:gd name="connsiteX640" fmla="*/ 321198 w 1179513"/>
              <a:gd name="connsiteY640" fmla="*/ 179518 h 985837"/>
              <a:gd name="connsiteX641" fmla="*/ 331173 w 1179513"/>
              <a:gd name="connsiteY641" fmla="*/ 183507 h 985837"/>
              <a:gd name="connsiteX642" fmla="*/ 335163 w 1179513"/>
              <a:gd name="connsiteY642" fmla="*/ 183507 h 985837"/>
              <a:gd name="connsiteX643" fmla="*/ 335163 w 1179513"/>
              <a:gd name="connsiteY643" fmla="*/ 179518 h 985837"/>
              <a:gd name="connsiteX644" fmla="*/ 327183 w 1179513"/>
              <a:gd name="connsiteY644" fmla="*/ 175528 h 985837"/>
              <a:gd name="connsiteX645" fmla="*/ 331173 w 1179513"/>
              <a:gd name="connsiteY645" fmla="*/ 171539 h 985837"/>
              <a:gd name="connsiteX646" fmla="*/ 333168 w 1179513"/>
              <a:gd name="connsiteY646" fmla="*/ 167550 h 985837"/>
              <a:gd name="connsiteX647" fmla="*/ 327183 w 1179513"/>
              <a:gd name="connsiteY647" fmla="*/ 165555 h 985837"/>
              <a:gd name="connsiteX648" fmla="*/ 323193 w 1179513"/>
              <a:gd name="connsiteY648" fmla="*/ 161566 h 985837"/>
              <a:gd name="connsiteX649" fmla="*/ 325188 w 1179513"/>
              <a:gd name="connsiteY649" fmla="*/ 155582 h 985837"/>
              <a:gd name="connsiteX650" fmla="*/ 331173 w 1179513"/>
              <a:gd name="connsiteY650" fmla="*/ 151593 h 985837"/>
              <a:gd name="connsiteX651" fmla="*/ 339153 w 1179513"/>
              <a:gd name="connsiteY651" fmla="*/ 151593 h 985837"/>
              <a:gd name="connsiteX652" fmla="*/ 347134 w 1179513"/>
              <a:gd name="connsiteY652" fmla="*/ 153587 h 985837"/>
              <a:gd name="connsiteX653" fmla="*/ 349129 w 1179513"/>
              <a:gd name="connsiteY653" fmla="*/ 151593 h 985837"/>
              <a:gd name="connsiteX654" fmla="*/ 343144 w 1179513"/>
              <a:gd name="connsiteY654" fmla="*/ 147603 h 985837"/>
              <a:gd name="connsiteX655" fmla="*/ 345139 w 1179513"/>
              <a:gd name="connsiteY655" fmla="*/ 139625 h 985837"/>
              <a:gd name="connsiteX656" fmla="*/ 347134 w 1179513"/>
              <a:gd name="connsiteY656" fmla="*/ 139625 h 985837"/>
              <a:gd name="connsiteX657" fmla="*/ 351124 w 1179513"/>
              <a:gd name="connsiteY657" fmla="*/ 141620 h 985837"/>
              <a:gd name="connsiteX658" fmla="*/ 357109 w 1179513"/>
              <a:gd name="connsiteY658" fmla="*/ 143614 h 985837"/>
              <a:gd name="connsiteX659" fmla="*/ 359104 w 1179513"/>
              <a:gd name="connsiteY659" fmla="*/ 139625 h 985837"/>
              <a:gd name="connsiteX660" fmla="*/ 353119 w 1179513"/>
              <a:gd name="connsiteY660" fmla="*/ 135636 h 985837"/>
              <a:gd name="connsiteX661" fmla="*/ 351124 w 1179513"/>
              <a:gd name="connsiteY661" fmla="*/ 129652 h 985837"/>
              <a:gd name="connsiteX662" fmla="*/ 351124 w 1179513"/>
              <a:gd name="connsiteY662" fmla="*/ 125662 h 985837"/>
              <a:gd name="connsiteX663" fmla="*/ 355114 w 1179513"/>
              <a:gd name="connsiteY663" fmla="*/ 121673 h 985837"/>
              <a:gd name="connsiteX664" fmla="*/ 361099 w 1179513"/>
              <a:gd name="connsiteY664" fmla="*/ 119679 h 985837"/>
              <a:gd name="connsiteX665" fmla="*/ 363094 w 1179513"/>
              <a:gd name="connsiteY665" fmla="*/ 115689 h 985837"/>
              <a:gd name="connsiteX666" fmla="*/ 365089 w 1179513"/>
              <a:gd name="connsiteY666" fmla="*/ 117684 h 985837"/>
              <a:gd name="connsiteX667" fmla="*/ 365089 w 1179513"/>
              <a:gd name="connsiteY667" fmla="*/ 123668 h 985837"/>
              <a:gd name="connsiteX668" fmla="*/ 371074 w 1179513"/>
              <a:gd name="connsiteY668" fmla="*/ 121673 h 985837"/>
              <a:gd name="connsiteX669" fmla="*/ 371074 w 1179513"/>
              <a:gd name="connsiteY669" fmla="*/ 117684 h 985837"/>
              <a:gd name="connsiteX670" fmla="*/ 375064 w 1179513"/>
              <a:gd name="connsiteY670" fmla="*/ 113695 h 985837"/>
              <a:gd name="connsiteX671" fmla="*/ 371074 w 1179513"/>
              <a:gd name="connsiteY671" fmla="*/ 111700 h 985837"/>
              <a:gd name="connsiteX672" fmla="*/ 369079 w 1179513"/>
              <a:gd name="connsiteY672" fmla="*/ 107711 h 985837"/>
              <a:gd name="connsiteX673" fmla="*/ 373069 w 1179513"/>
              <a:gd name="connsiteY673" fmla="*/ 101727 h 985837"/>
              <a:gd name="connsiteX674" fmla="*/ 377059 w 1179513"/>
              <a:gd name="connsiteY674" fmla="*/ 103721 h 985837"/>
              <a:gd name="connsiteX675" fmla="*/ 379054 w 1179513"/>
              <a:gd name="connsiteY675" fmla="*/ 105716 h 985837"/>
              <a:gd name="connsiteX676" fmla="*/ 377059 w 1179513"/>
              <a:gd name="connsiteY676" fmla="*/ 111700 h 985837"/>
              <a:gd name="connsiteX677" fmla="*/ 379054 w 1179513"/>
              <a:gd name="connsiteY677" fmla="*/ 111700 h 985837"/>
              <a:gd name="connsiteX678" fmla="*/ 383044 w 1179513"/>
              <a:gd name="connsiteY678" fmla="*/ 107711 h 985837"/>
              <a:gd name="connsiteX679" fmla="*/ 387034 w 1179513"/>
              <a:gd name="connsiteY679" fmla="*/ 103721 h 985837"/>
              <a:gd name="connsiteX680" fmla="*/ 387034 w 1179513"/>
              <a:gd name="connsiteY680" fmla="*/ 111700 h 985837"/>
              <a:gd name="connsiteX681" fmla="*/ 391024 w 1179513"/>
              <a:gd name="connsiteY681" fmla="*/ 111700 h 985837"/>
              <a:gd name="connsiteX682" fmla="*/ 391024 w 1179513"/>
              <a:gd name="connsiteY682" fmla="*/ 105716 h 985837"/>
              <a:gd name="connsiteX683" fmla="*/ 393019 w 1179513"/>
              <a:gd name="connsiteY683" fmla="*/ 99732 h 985837"/>
              <a:gd name="connsiteX684" fmla="*/ 397009 w 1179513"/>
              <a:gd name="connsiteY684" fmla="*/ 97738 h 985837"/>
              <a:gd name="connsiteX685" fmla="*/ 399004 w 1179513"/>
              <a:gd name="connsiteY685" fmla="*/ 101727 h 985837"/>
              <a:gd name="connsiteX686" fmla="*/ 408979 w 1179513"/>
              <a:gd name="connsiteY686" fmla="*/ 103721 h 985837"/>
              <a:gd name="connsiteX687" fmla="*/ 414964 w 1179513"/>
              <a:gd name="connsiteY687" fmla="*/ 113695 h 985837"/>
              <a:gd name="connsiteX688" fmla="*/ 418954 w 1179513"/>
              <a:gd name="connsiteY688" fmla="*/ 119679 h 985837"/>
              <a:gd name="connsiteX689" fmla="*/ 422944 w 1179513"/>
              <a:gd name="connsiteY689" fmla="*/ 123668 h 985837"/>
              <a:gd name="connsiteX690" fmla="*/ 426934 w 1179513"/>
              <a:gd name="connsiteY690" fmla="*/ 127657 h 985837"/>
              <a:gd name="connsiteX691" fmla="*/ 426934 w 1179513"/>
              <a:gd name="connsiteY691" fmla="*/ 133641 h 985837"/>
              <a:gd name="connsiteX692" fmla="*/ 428929 w 1179513"/>
              <a:gd name="connsiteY692" fmla="*/ 139625 h 985837"/>
              <a:gd name="connsiteX693" fmla="*/ 432919 w 1179513"/>
              <a:gd name="connsiteY693" fmla="*/ 139625 h 985837"/>
              <a:gd name="connsiteX694" fmla="*/ 432919 w 1179513"/>
              <a:gd name="connsiteY694" fmla="*/ 135636 h 985837"/>
              <a:gd name="connsiteX695" fmla="*/ 434914 w 1179513"/>
              <a:gd name="connsiteY695" fmla="*/ 129652 h 985837"/>
              <a:gd name="connsiteX696" fmla="*/ 442894 w 1179513"/>
              <a:gd name="connsiteY696" fmla="*/ 127657 h 985837"/>
              <a:gd name="connsiteX697" fmla="*/ 450875 w 1179513"/>
              <a:gd name="connsiteY697" fmla="*/ 131646 h 985837"/>
              <a:gd name="connsiteX698" fmla="*/ 448880 w 1179513"/>
              <a:gd name="connsiteY698" fmla="*/ 137630 h 985837"/>
              <a:gd name="connsiteX699" fmla="*/ 446885 w 1179513"/>
              <a:gd name="connsiteY699" fmla="*/ 141620 h 985837"/>
              <a:gd name="connsiteX700" fmla="*/ 450875 w 1179513"/>
              <a:gd name="connsiteY700" fmla="*/ 145609 h 985837"/>
              <a:gd name="connsiteX701" fmla="*/ 456860 w 1179513"/>
              <a:gd name="connsiteY701" fmla="*/ 143614 h 985837"/>
              <a:gd name="connsiteX702" fmla="*/ 454865 w 1179513"/>
              <a:gd name="connsiteY702" fmla="*/ 139625 h 985837"/>
              <a:gd name="connsiteX703" fmla="*/ 452870 w 1179513"/>
              <a:gd name="connsiteY703" fmla="*/ 137630 h 985837"/>
              <a:gd name="connsiteX704" fmla="*/ 454865 w 1179513"/>
              <a:gd name="connsiteY704" fmla="*/ 131646 h 985837"/>
              <a:gd name="connsiteX705" fmla="*/ 458855 w 1179513"/>
              <a:gd name="connsiteY705" fmla="*/ 133641 h 985837"/>
              <a:gd name="connsiteX706" fmla="*/ 462845 w 1179513"/>
              <a:gd name="connsiteY706" fmla="*/ 133641 h 985837"/>
              <a:gd name="connsiteX707" fmla="*/ 470825 w 1179513"/>
              <a:gd name="connsiteY707" fmla="*/ 135636 h 985837"/>
              <a:gd name="connsiteX708" fmla="*/ 472820 w 1179513"/>
              <a:gd name="connsiteY708" fmla="*/ 133641 h 985837"/>
              <a:gd name="connsiteX709" fmla="*/ 468830 w 1179513"/>
              <a:gd name="connsiteY709" fmla="*/ 129652 h 985837"/>
              <a:gd name="connsiteX710" fmla="*/ 464840 w 1179513"/>
              <a:gd name="connsiteY710" fmla="*/ 127657 h 985837"/>
              <a:gd name="connsiteX711" fmla="*/ 462845 w 1179513"/>
              <a:gd name="connsiteY711" fmla="*/ 123668 h 985837"/>
              <a:gd name="connsiteX712" fmla="*/ 458855 w 1179513"/>
              <a:gd name="connsiteY712" fmla="*/ 119679 h 985837"/>
              <a:gd name="connsiteX713" fmla="*/ 460850 w 1179513"/>
              <a:gd name="connsiteY713" fmla="*/ 115689 h 985837"/>
              <a:gd name="connsiteX714" fmla="*/ 462845 w 1179513"/>
              <a:gd name="connsiteY714" fmla="*/ 111700 h 985837"/>
              <a:gd name="connsiteX715" fmla="*/ 462845 w 1179513"/>
              <a:gd name="connsiteY715" fmla="*/ 107711 h 985837"/>
              <a:gd name="connsiteX716" fmla="*/ 466835 w 1179513"/>
              <a:gd name="connsiteY716" fmla="*/ 105716 h 985837"/>
              <a:gd name="connsiteX717" fmla="*/ 470825 w 1179513"/>
              <a:gd name="connsiteY717" fmla="*/ 99732 h 985837"/>
              <a:gd name="connsiteX718" fmla="*/ 474815 w 1179513"/>
              <a:gd name="connsiteY718" fmla="*/ 89759 h 985837"/>
              <a:gd name="connsiteX719" fmla="*/ 478805 w 1179513"/>
              <a:gd name="connsiteY719" fmla="*/ 87764 h 985837"/>
              <a:gd name="connsiteX720" fmla="*/ 484790 w 1179513"/>
              <a:gd name="connsiteY720" fmla="*/ 87764 h 985837"/>
              <a:gd name="connsiteX721" fmla="*/ 484790 w 1179513"/>
              <a:gd name="connsiteY721" fmla="*/ 77791 h 985837"/>
              <a:gd name="connsiteX722" fmla="*/ 484790 w 1179513"/>
              <a:gd name="connsiteY722" fmla="*/ 69813 h 985837"/>
              <a:gd name="connsiteX723" fmla="*/ 486785 w 1179513"/>
              <a:gd name="connsiteY723" fmla="*/ 67818 h 985837"/>
              <a:gd name="connsiteX724" fmla="*/ 490775 w 1179513"/>
              <a:gd name="connsiteY724" fmla="*/ 63829 h 985837"/>
              <a:gd name="connsiteX725" fmla="*/ 492770 w 1179513"/>
              <a:gd name="connsiteY725" fmla="*/ 59839 h 985837"/>
              <a:gd name="connsiteX726" fmla="*/ 494765 w 1179513"/>
              <a:gd name="connsiteY726" fmla="*/ 55850 h 985837"/>
              <a:gd name="connsiteX727" fmla="*/ 496760 w 1179513"/>
              <a:gd name="connsiteY727" fmla="*/ 53855 h 985837"/>
              <a:gd name="connsiteX728" fmla="*/ 500750 w 1179513"/>
              <a:gd name="connsiteY728" fmla="*/ 57845 h 985837"/>
              <a:gd name="connsiteX729" fmla="*/ 504740 w 1179513"/>
              <a:gd name="connsiteY729" fmla="*/ 55850 h 985837"/>
              <a:gd name="connsiteX730" fmla="*/ 510725 w 1179513"/>
              <a:gd name="connsiteY730" fmla="*/ 47872 h 985837"/>
              <a:gd name="connsiteX731" fmla="*/ 516710 w 1179513"/>
              <a:gd name="connsiteY731" fmla="*/ 47872 h 985837"/>
              <a:gd name="connsiteX732" fmla="*/ 522695 w 1179513"/>
              <a:gd name="connsiteY732" fmla="*/ 49866 h 985837"/>
              <a:gd name="connsiteX733" fmla="*/ 530675 w 1179513"/>
              <a:gd name="connsiteY733" fmla="*/ 49866 h 985837"/>
              <a:gd name="connsiteX734" fmla="*/ 536660 w 1179513"/>
              <a:gd name="connsiteY734" fmla="*/ 49866 h 985837"/>
              <a:gd name="connsiteX735" fmla="*/ 540650 w 1179513"/>
              <a:gd name="connsiteY735" fmla="*/ 47872 h 985837"/>
              <a:gd name="connsiteX736" fmla="*/ 544640 w 1179513"/>
              <a:gd name="connsiteY736" fmla="*/ 47872 h 985837"/>
              <a:gd name="connsiteX737" fmla="*/ 550626 w 1179513"/>
              <a:gd name="connsiteY737" fmla="*/ 47872 h 985837"/>
              <a:gd name="connsiteX738" fmla="*/ 554616 w 1179513"/>
              <a:gd name="connsiteY738" fmla="*/ 47872 h 985837"/>
              <a:gd name="connsiteX739" fmla="*/ 554616 w 1179513"/>
              <a:gd name="connsiteY739" fmla="*/ 39893 h 985837"/>
              <a:gd name="connsiteX740" fmla="*/ 552621 w 1179513"/>
              <a:gd name="connsiteY740" fmla="*/ 31914 h 985837"/>
              <a:gd name="connsiteX741" fmla="*/ 544640 w 1179513"/>
              <a:gd name="connsiteY741" fmla="*/ 29920 h 985837"/>
              <a:gd name="connsiteX742" fmla="*/ 538655 w 1179513"/>
              <a:gd name="connsiteY742" fmla="*/ 29920 h 985837"/>
              <a:gd name="connsiteX743" fmla="*/ 530675 w 1179513"/>
              <a:gd name="connsiteY743" fmla="*/ 25931 h 985837"/>
              <a:gd name="connsiteX744" fmla="*/ 530675 w 1179513"/>
              <a:gd name="connsiteY744" fmla="*/ 21941 h 985837"/>
              <a:gd name="connsiteX745" fmla="*/ 534665 w 1179513"/>
              <a:gd name="connsiteY745" fmla="*/ 19947 h 985837"/>
              <a:gd name="connsiteX746" fmla="*/ 538655 w 1179513"/>
              <a:gd name="connsiteY746" fmla="*/ 21941 h 985837"/>
              <a:gd name="connsiteX747" fmla="*/ 544640 w 1179513"/>
              <a:gd name="connsiteY747" fmla="*/ 21941 h 985837"/>
              <a:gd name="connsiteX748" fmla="*/ 548630 w 1179513"/>
              <a:gd name="connsiteY748" fmla="*/ 21941 h 985837"/>
              <a:gd name="connsiteX749" fmla="*/ 552621 w 1179513"/>
              <a:gd name="connsiteY749" fmla="*/ 23936 h 985837"/>
              <a:gd name="connsiteX750" fmla="*/ 556611 w 1179513"/>
              <a:gd name="connsiteY750" fmla="*/ 25931 h 985837"/>
              <a:gd name="connsiteX751" fmla="*/ 560601 w 1179513"/>
              <a:gd name="connsiteY751" fmla="*/ 27925 h 985837"/>
              <a:gd name="connsiteX752" fmla="*/ 564591 w 1179513"/>
              <a:gd name="connsiteY752" fmla="*/ 33909 h 985837"/>
              <a:gd name="connsiteX753" fmla="*/ 568581 w 1179513"/>
              <a:gd name="connsiteY753" fmla="*/ 35904 h 985837"/>
              <a:gd name="connsiteX754" fmla="*/ 576561 w 1179513"/>
              <a:gd name="connsiteY754" fmla="*/ 37898 h 985837"/>
              <a:gd name="connsiteX755" fmla="*/ 572571 w 1179513"/>
              <a:gd name="connsiteY755" fmla="*/ 31914 h 985837"/>
              <a:gd name="connsiteX756" fmla="*/ 572571 w 1179513"/>
              <a:gd name="connsiteY756" fmla="*/ 29920 h 985837"/>
              <a:gd name="connsiteX757" fmla="*/ 580551 w 1179513"/>
              <a:gd name="connsiteY757" fmla="*/ 33909 h 985837"/>
              <a:gd name="connsiteX758" fmla="*/ 582546 w 1179513"/>
              <a:gd name="connsiteY758" fmla="*/ 35904 h 985837"/>
              <a:gd name="connsiteX759" fmla="*/ 590526 w 1179513"/>
              <a:gd name="connsiteY759" fmla="*/ 37898 h 985837"/>
              <a:gd name="connsiteX760" fmla="*/ 590526 w 1179513"/>
              <a:gd name="connsiteY760" fmla="*/ 41888 h 985837"/>
              <a:gd name="connsiteX761" fmla="*/ 598506 w 1179513"/>
              <a:gd name="connsiteY761" fmla="*/ 41888 h 985837"/>
              <a:gd name="connsiteX762" fmla="*/ 602496 w 1179513"/>
              <a:gd name="connsiteY762" fmla="*/ 41888 h 985837"/>
              <a:gd name="connsiteX763" fmla="*/ 608481 w 1179513"/>
              <a:gd name="connsiteY763" fmla="*/ 43882 h 985837"/>
              <a:gd name="connsiteX764" fmla="*/ 612471 w 1179513"/>
              <a:gd name="connsiteY764" fmla="*/ 47872 h 985837"/>
              <a:gd name="connsiteX765" fmla="*/ 620451 w 1179513"/>
              <a:gd name="connsiteY765" fmla="*/ 47872 h 985837"/>
              <a:gd name="connsiteX766" fmla="*/ 630426 w 1179513"/>
              <a:gd name="connsiteY766" fmla="*/ 49866 h 985837"/>
              <a:gd name="connsiteX767" fmla="*/ 634416 w 1179513"/>
              <a:gd name="connsiteY767" fmla="*/ 45877 h 985837"/>
              <a:gd name="connsiteX768" fmla="*/ 636411 w 1179513"/>
              <a:gd name="connsiteY768" fmla="*/ 43882 h 985837"/>
              <a:gd name="connsiteX769" fmla="*/ 640401 w 1179513"/>
              <a:gd name="connsiteY769" fmla="*/ 47872 h 985837"/>
              <a:gd name="connsiteX770" fmla="*/ 636411 w 1179513"/>
              <a:gd name="connsiteY770" fmla="*/ 51861 h 985837"/>
              <a:gd name="connsiteX771" fmla="*/ 640401 w 1179513"/>
              <a:gd name="connsiteY771" fmla="*/ 55850 h 985837"/>
              <a:gd name="connsiteX772" fmla="*/ 644391 w 1179513"/>
              <a:gd name="connsiteY772" fmla="*/ 51861 h 985837"/>
              <a:gd name="connsiteX773" fmla="*/ 644391 w 1179513"/>
              <a:gd name="connsiteY773" fmla="*/ 45877 h 985837"/>
              <a:gd name="connsiteX774" fmla="*/ 642396 w 1179513"/>
              <a:gd name="connsiteY774" fmla="*/ 41888 h 985837"/>
              <a:gd name="connsiteX775" fmla="*/ 640401 w 1179513"/>
              <a:gd name="connsiteY775" fmla="*/ 39893 h 985837"/>
              <a:gd name="connsiteX776" fmla="*/ 648381 w 1179513"/>
              <a:gd name="connsiteY776" fmla="*/ 37898 h 985837"/>
              <a:gd name="connsiteX777" fmla="*/ 650376 w 1179513"/>
              <a:gd name="connsiteY777" fmla="*/ 35904 h 985837"/>
              <a:gd name="connsiteX778" fmla="*/ 654367 w 1179513"/>
              <a:gd name="connsiteY778" fmla="*/ 37898 h 985837"/>
              <a:gd name="connsiteX779" fmla="*/ 652371 w 1179513"/>
              <a:gd name="connsiteY779" fmla="*/ 43882 h 985837"/>
              <a:gd name="connsiteX780" fmla="*/ 654367 w 1179513"/>
              <a:gd name="connsiteY780" fmla="*/ 45877 h 985837"/>
              <a:gd name="connsiteX781" fmla="*/ 660352 w 1179513"/>
              <a:gd name="connsiteY781" fmla="*/ 43882 h 985837"/>
              <a:gd name="connsiteX782" fmla="*/ 664342 w 1179513"/>
              <a:gd name="connsiteY782" fmla="*/ 49866 h 985837"/>
              <a:gd name="connsiteX783" fmla="*/ 664342 w 1179513"/>
              <a:gd name="connsiteY783" fmla="*/ 53855 h 985837"/>
              <a:gd name="connsiteX784" fmla="*/ 660352 w 1179513"/>
              <a:gd name="connsiteY784" fmla="*/ 55850 h 985837"/>
              <a:gd name="connsiteX785" fmla="*/ 658357 w 1179513"/>
              <a:gd name="connsiteY785" fmla="*/ 57845 h 985837"/>
              <a:gd name="connsiteX786" fmla="*/ 658357 w 1179513"/>
              <a:gd name="connsiteY786" fmla="*/ 59839 h 985837"/>
              <a:gd name="connsiteX787" fmla="*/ 654367 w 1179513"/>
              <a:gd name="connsiteY787" fmla="*/ 63829 h 985837"/>
              <a:gd name="connsiteX788" fmla="*/ 652371 w 1179513"/>
              <a:gd name="connsiteY788" fmla="*/ 65823 h 985837"/>
              <a:gd name="connsiteX789" fmla="*/ 654367 w 1179513"/>
              <a:gd name="connsiteY789" fmla="*/ 71807 h 985837"/>
              <a:gd name="connsiteX790" fmla="*/ 652371 w 1179513"/>
              <a:gd name="connsiteY790" fmla="*/ 75796 h 985837"/>
              <a:gd name="connsiteX791" fmla="*/ 646386 w 1179513"/>
              <a:gd name="connsiteY791" fmla="*/ 79786 h 985837"/>
              <a:gd name="connsiteX792" fmla="*/ 640401 w 1179513"/>
              <a:gd name="connsiteY792" fmla="*/ 79786 h 985837"/>
              <a:gd name="connsiteX793" fmla="*/ 634416 w 1179513"/>
              <a:gd name="connsiteY793" fmla="*/ 79786 h 985837"/>
              <a:gd name="connsiteX794" fmla="*/ 632421 w 1179513"/>
              <a:gd name="connsiteY794" fmla="*/ 81780 h 985837"/>
              <a:gd name="connsiteX795" fmla="*/ 634416 w 1179513"/>
              <a:gd name="connsiteY795" fmla="*/ 85770 h 985837"/>
              <a:gd name="connsiteX796" fmla="*/ 628431 w 1179513"/>
              <a:gd name="connsiteY796" fmla="*/ 89759 h 985837"/>
              <a:gd name="connsiteX797" fmla="*/ 630426 w 1179513"/>
              <a:gd name="connsiteY797" fmla="*/ 93748 h 985837"/>
              <a:gd name="connsiteX798" fmla="*/ 636411 w 1179513"/>
              <a:gd name="connsiteY798" fmla="*/ 93748 h 985837"/>
              <a:gd name="connsiteX799" fmla="*/ 632421 w 1179513"/>
              <a:gd name="connsiteY799" fmla="*/ 97738 h 985837"/>
              <a:gd name="connsiteX800" fmla="*/ 632421 w 1179513"/>
              <a:gd name="connsiteY800" fmla="*/ 101727 h 985837"/>
              <a:gd name="connsiteX801" fmla="*/ 634416 w 1179513"/>
              <a:gd name="connsiteY801" fmla="*/ 107711 h 985837"/>
              <a:gd name="connsiteX802" fmla="*/ 630426 w 1179513"/>
              <a:gd name="connsiteY802" fmla="*/ 113695 h 985837"/>
              <a:gd name="connsiteX803" fmla="*/ 624441 w 1179513"/>
              <a:gd name="connsiteY803" fmla="*/ 123668 h 985837"/>
              <a:gd name="connsiteX804" fmla="*/ 622446 w 1179513"/>
              <a:gd name="connsiteY804" fmla="*/ 133641 h 985837"/>
              <a:gd name="connsiteX805" fmla="*/ 622446 w 1179513"/>
              <a:gd name="connsiteY805" fmla="*/ 137630 h 985837"/>
              <a:gd name="connsiteX806" fmla="*/ 628431 w 1179513"/>
              <a:gd name="connsiteY806" fmla="*/ 143614 h 985837"/>
              <a:gd name="connsiteX807" fmla="*/ 634416 w 1179513"/>
              <a:gd name="connsiteY807" fmla="*/ 145609 h 985837"/>
              <a:gd name="connsiteX808" fmla="*/ 636411 w 1179513"/>
              <a:gd name="connsiteY808" fmla="*/ 149598 h 985837"/>
              <a:gd name="connsiteX809" fmla="*/ 640401 w 1179513"/>
              <a:gd name="connsiteY809" fmla="*/ 155582 h 985837"/>
              <a:gd name="connsiteX810" fmla="*/ 644391 w 1179513"/>
              <a:gd name="connsiteY810" fmla="*/ 157577 h 985837"/>
              <a:gd name="connsiteX811" fmla="*/ 648381 w 1179513"/>
              <a:gd name="connsiteY811" fmla="*/ 165555 h 985837"/>
              <a:gd name="connsiteX812" fmla="*/ 652371 w 1179513"/>
              <a:gd name="connsiteY812" fmla="*/ 167550 h 985837"/>
              <a:gd name="connsiteX813" fmla="*/ 652371 w 1179513"/>
              <a:gd name="connsiteY813" fmla="*/ 161566 h 985837"/>
              <a:gd name="connsiteX814" fmla="*/ 654367 w 1179513"/>
              <a:gd name="connsiteY814" fmla="*/ 159571 h 985837"/>
              <a:gd name="connsiteX815" fmla="*/ 656362 w 1179513"/>
              <a:gd name="connsiteY815" fmla="*/ 165555 h 985837"/>
              <a:gd name="connsiteX816" fmla="*/ 658357 w 1179513"/>
              <a:gd name="connsiteY816" fmla="*/ 161566 h 985837"/>
              <a:gd name="connsiteX817" fmla="*/ 656362 w 1179513"/>
              <a:gd name="connsiteY817" fmla="*/ 155582 h 985837"/>
              <a:gd name="connsiteX818" fmla="*/ 652371 w 1179513"/>
              <a:gd name="connsiteY818" fmla="*/ 151593 h 985837"/>
              <a:gd name="connsiteX819" fmla="*/ 654367 w 1179513"/>
              <a:gd name="connsiteY819" fmla="*/ 149598 h 985837"/>
              <a:gd name="connsiteX820" fmla="*/ 660352 w 1179513"/>
              <a:gd name="connsiteY820" fmla="*/ 151593 h 985837"/>
              <a:gd name="connsiteX821" fmla="*/ 662347 w 1179513"/>
              <a:gd name="connsiteY821" fmla="*/ 153587 h 985837"/>
              <a:gd name="connsiteX822" fmla="*/ 662347 w 1179513"/>
              <a:gd name="connsiteY822" fmla="*/ 159571 h 985837"/>
              <a:gd name="connsiteX823" fmla="*/ 662347 w 1179513"/>
              <a:gd name="connsiteY823" fmla="*/ 165555 h 985837"/>
              <a:gd name="connsiteX824" fmla="*/ 662347 w 1179513"/>
              <a:gd name="connsiteY824" fmla="*/ 167550 h 985837"/>
              <a:gd name="connsiteX825" fmla="*/ 668332 w 1179513"/>
              <a:gd name="connsiteY825" fmla="*/ 167550 h 985837"/>
              <a:gd name="connsiteX826" fmla="*/ 674317 w 1179513"/>
              <a:gd name="connsiteY826" fmla="*/ 171539 h 985837"/>
              <a:gd name="connsiteX827" fmla="*/ 674317 w 1179513"/>
              <a:gd name="connsiteY827" fmla="*/ 175528 h 985837"/>
              <a:gd name="connsiteX828" fmla="*/ 680302 w 1179513"/>
              <a:gd name="connsiteY828" fmla="*/ 179518 h 985837"/>
              <a:gd name="connsiteX829" fmla="*/ 684292 w 1179513"/>
              <a:gd name="connsiteY829" fmla="*/ 183507 h 985837"/>
              <a:gd name="connsiteX830" fmla="*/ 688282 w 1179513"/>
              <a:gd name="connsiteY830" fmla="*/ 187496 h 985837"/>
              <a:gd name="connsiteX831" fmla="*/ 692272 w 1179513"/>
              <a:gd name="connsiteY831" fmla="*/ 191485 h 985837"/>
              <a:gd name="connsiteX832" fmla="*/ 700252 w 1179513"/>
              <a:gd name="connsiteY832" fmla="*/ 191485 h 985837"/>
              <a:gd name="connsiteX833" fmla="*/ 706237 w 1179513"/>
              <a:gd name="connsiteY833" fmla="*/ 193480 h 985837"/>
              <a:gd name="connsiteX834" fmla="*/ 710227 w 1179513"/>
              <a:gd name="connsiteY834" fmla="*/ 195475 h 985837"/>
              <a:gd name="connsiteX835" fmla="*/ 712222 w 1179513"/>
              <a:gd name="connsiteY835" fmla="*/ 203453 h 985837"/>
              <a:gd name="connsiteX836" fmla="*/ 712222 w 1179513"/>
              <a:gd name="connsiteY836" fmla="*/ 207443 h 985837"/>
              <a:gd name="connsiteX837" fmla="*/ 720202 w 1179513"/>
              <a:gd name="connsiteY837" fmla="*/ 213427 h 985837"/>
              <a:gd name="connsiteX838" fmla="*/ 730177 w 1179513"/>
              <a:gd name="connsiteY838" fmla="*/ 219410 h 985837"/>
              <a:gd name="connsiteX839" fmla="*/ 736162 w 1179513"/>
              <a:gd name="connsiteY839" fmla="*/ 221405 h 985837"/>
              <a:gd name="connsiteX840" fmla="*/ 746137 w 1179513"/>
              <a:gd name="connsiteY840" fmla="*/ 219410 h 985837"/>
              <a:gd name="connsiteX841" fmla="*/ 754117 w 1179513"/>
              <a:gd name="connsiteY841" fmla="*/ 211432 h 985837"/>
              <a:gd name="connsiteX842" fmla="*/ 760103 w 1179513"/>
              <a:gd name="connsiteY842" fmla="*/ 193480 h 985837"/>
              <a:gd name="connsiteX843" fmla="*/ 770078 w 1179513"/>
              <a:gd name="connsiteY843" fmla="*/ 171539 h 985837"/>
              <a:gd name="connsiteX844" fmla="*/ 776063 w 1179513"/>
              <a:gd name="connsiteY844" fmla="*/ 147603 h 985837"/>
              <a:gd name="connsiteX845" fmla="*/ 780053 w 1179513"/>
              <a:gd name="connsiteY845" fmla="*/ 137630 h 985837"/>
              <a:gd name="connsiteX846" fmla="*/ 782048 w 1179513"/>
              <a:gd name="connsiteY846" fmla="*/ 133641 h 985837"/>
              <a:gd name="connsiteX847" fmla="*/ 780053 w 1179513"/>
              <a:gd name="connsiteY847" fmla="*/ 115689 h 985837"/>
              <a:gd name="connsiteX848" fmla="*/ 782048 w 1179513"/>
              <a:gd name="connsiteY848" fmla="*/ 103721 h 985837"/>
              <a:gd name="connsiteX849" fmla="*/ 780053 w 1179513"/>
              <a:gd name="connsiteY849" fmla="*/ 97738 h 985837"/>
              <a:gd name="connsiteX850" fmla="*/ 780053 w 1179513"/>
              <a:gd name="connsiteY850" fmla="*/ 89759 h 985837"/>
              <a:gd name="connsiteX851" fmla="*/ 784043 w 1179513"/>
              <a:gd name="connsiteY851" fmla="*/ 87764 h 985837"/>
              <a:gd name="connsiteX852" fmla="*/ 784043 w 1179513"/>
              <a:gd name="connsiteY852" fmla="*/ 81780 h 985837"/>
              <a:gd name="connsiteX853" fmla="*/ 784043 w 1179513"/>
              <a:gd name="connsiteY853" fmla="*/ 73802 h 985837"/>
              <a:gd name="connsiteX854" fmla="*/ 788033 w 1179513"/>
              <a:gd name="connsiteY854" fmla="*/ 65823 h 985837"/>
              <a:gd name="connsiteX855" fmla="*/ 792023 w 1179513"/>
              <a:gd name="connsiteY855" fmla="*/ 61834 h 985837"/>
              <a:gd name="connsiteX856" fmla="*/ 792023 w 1179513"/>
              <a:gd name="connsiteY856" fmla="*/ 57845 h 985837"/>
              <a:gd name="connsiteX857" fmla="*/ 788033 w 1179513"/>
              <a:gd name="connsiteY857" fmla="*/ 47872 h 985837"/>
              <a:gd name="connsiteX858" fmla="*/ 796013 w 1179513"/>
              <a:gd name="connsiteY858" fmla="*/ 39893 h 985837"/>
              <a:gd name="connsiteX859" fmla="*/ 800003 w 1179513"/>
              <a:gd name="connsiteY859" fmla="*/ 35904 h 985837"/>
              <a:gd name="connsiteX860" fmla="*/ 800003 w 1179513"/>
              <a:gd name="connsiteY860" fmla="*/ 23936 h 985837"/>
              <a:gd name="connsiteX861" fmla="*/ 801998 w 1179513"/>
              <a:gd name="connsiteY861" fmla="*/ 9973 h 985837"/>
              <a:gd name="connsiteX862" fmla="*/ 805988 w 1179513"/>
              <a:gd name="connsiteY862" fmla="*/ 5984 h 985837"/>
              <a:gd name="connsiteX863" fmla="*/ 811973 w 1179513"/>
              <a:gd name="connsiteY863" fmla="*/ 1995 h 985837"/>
              <a:gd name="connsiteX864" fmla="*/ 813968 w 1179513"/>
              <a:gd name="connsiteY864" fmla="*/ 0 h 98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Lst>
            <a:rect l="l" t="t" r="r" b="b"/>
            <a:pathLst>
              <a:path w="1179513" h="985837">
                <a:moveTo>
                  <a:pt x="822325" y="976312"/>
                </a:moveTo>
                <a:cubicBezTo>
                  <a:pt x="824310" y="976312"/>
                  <a:pt x="826294" y="976312"/>
                  <a:pt x="826294" y="976312"/>
                </a:cubicBezTo>
                <a:cubicBezTo>
                  <a:pt x="828278" y="976312"/>
                  <a:pt x="830263" y="976312"/>
                  <a:pt x="832247" y="976312"/>
                </a:cubicBezTo>
                <a:cubicBezTo>
                  <a:pt x="832247" y="976312"/>
                  <a:pt x="836216" y="976312"/>
                  <a:pt x="836216" y="976312"/>
                </a:cubicBezTo>
                <a:cubicBezTo>
                  <a:pt x="838200" y="978217"/>
                  <a:pt x="838200" y="978217"/>
                  <a:pt x="838200" y="978217"/>
                </a:cubicBezTo>
                <a:cubicBezTo>
                  <a:pt x="838200" y="980122"/>
                  <a:pt x="836216" y="982027"/>
                  <a:pt x="836216" y="982027"/>
                </a:cubicBezTo>
                <a:cubicBezTo>
                  <a:pt x="836216" y="980122"/>
                  <a:pt x="834231" y="980122"/>
                  <a:pt x="832247" y="980122"/>
                </a:cubicBezTo>
                <a:cubicBezTo>
                  <a:pt x="832247" y="980122"/>
                  <a:pt x="830263" y="980122"/>
                  <a:pt x="830263" y="980122"/>
                </a:cubicBezTo>
                <a:cubicBezTo>
                  <a:pt x="828278" y="980122"/>
                  <a:pt x="828278" y="982027"/>
                  <a:pt x="826294" y="982027"/>
                </a:cubicBezTo>
                <a:cubicBezTo>
                  <a:pt x="826294" y="982027"/>
                  <a:pt x="826294" y="985837"/>
                  <a:pt x="826294" y="985837"/>
                </a:cubicBezTo>
                <a:cubicBezTo>
                  <a:pt x="826294" y="985837"/>
                  <a:pt x="824310" y="983932"/>
                  <a:pt x="824310" y="983932"/>
                </a:cubicBezTo>
                <a:cubicBezTo>
                  <a:pt x="824310" y="982027"/>
                  <a:pt x="824310" y="980122"/>
                  <a:pt x="824310" y="980122"/>
                </a:cubicBezTo>
                <a:cubicBezTo>
                  <a:pt x="824310" y="978217"/>
                  <a:pt x="822325" y="978217"/>
                  <a:pt x="822325" y="978217"/>
                </a:cubicBezTo>
                <a:cubicBezTo>
                  <a:pt x="822325" y="978217"/>
                  <a:pt x="822325" y="976312"/>
                  <a:pt x="822325" y="976312"/>
                </a:cubicBezTo>
                <a:close/>
                <a:moveTo>
                  <a:pt x="826181" y="955675"/>
                </a:moveTo>
                <a:cubicBezTo>
                  <a:pt x="827995" y="955675"/>
                  <a:pt x="831624" y="955675"/>
                  <a:pt x="831624" y="955675"/>
                </a:cubicBezTo>
                <a:cubicBezTo>
                  <a:pt x="833438" y="957615"/>
                  <a:pt x="833438" y="959556"/>
                  <a:pt x="833438" y="959556"/>
                </a:cubicBezTo>
                <a:cubicBezTo>
                  <a:pt x="833438" y="961496"/>
                  <a:pt x="829810" y="965376"/>
                  <a:pt x="829810" y="967317"/>
                </a:cubicBezTo>
                <a:cubicBezTo>
                  <a:pt x="829810" y="969257"/>
                  <a:pt x="831624" y="969257"/>
                  <a:pt x="831624" y="971197"/>
                </a:cubicBezTo>
                <a:cubicBezTo>
                  <a:pt x="829810" y="971197"/>
                  <a:pt x="829810" y="973137"/>
                  <a:pt x="827995" y="973137"/>
                </a:cubicBezTo>
                <a:cubicBezTo>
                  <a:pt x="826181" y="973137"/>
                  <a:pt x="826181" y="973137"/>
                  <a:pt x="826181" y="971197"/>
                </a:cubicBezTo>
                <a:cubicBezTo>
                  <a:pt x="826181" y="969257"/>
                  <a:pt x="826181" y="967317"/>
                  <a:pt x="826181" y="967317"/>
                </a:cubicBezTo>
                <a:cubicBezTo>
                  <a:pt x="826181" y="965376"/>
                  <a:pt x="824367" y="963436"/>
                  <a:pt x="822553" y="961496"/>
                </a:cubicBezTo>
                <a:cubicBezTo>
                  <a:pt x="820738" y="957615"/>
                  <a:pt x="824367" y="957615"/>
                  <a:pt x="826181" y="955675"/>
                </a:cubicBezTo>
                <a:close/>
                <a:moveTo>
                  <a:pt x="726440" y="949325"/>
                </a:moveTo>
                <a:cubicBezTo>
                  <a:pt x="726440" y="949325"/>
                  <a:pt x="728345" y="949325"/>
                  <a:pt x="730250" y="949325"/>
                </a:cubicBezTo>
                <a:cubicBezTo>
                  <a:pt x="730250" y="951346"/>
                  <a:pt x="730250" y="957407"/>
                  <a:pt x="730250" y="957407"/>
                </a:cubicBezTo>
                <a:cubicBezTo>
                  <a:pt x="730250" y="959428"/>
                  <a:pt x="730250" y="963468"/>
                  <a:pt x="730250" y="965489"/>
                </a:cubicBezTo>
                <a:cubicBezTo>
                  <a:pt x="730250" y="967509"/>
                  <a:pt x="730250" y="969530"/>
                  <a:pt x="728345" y="969530"/>
                </a:cubicBezTo>
                <a:cubicBezTo>
                  <a:pt x="728345" y="971550"/>
                  <a:pt x="726440" y="971550"/>
                  <a:pt x="724535" y="971550"/>
                </a:cubicBezTo>
                <a:cubicBezTo>
                  <a:pt x="722630" y="971550"/>
                  <a:pt x="720725" y="971550"/>
                  <a:pt x="720725" y="967509"/>
                </a:cubicBezTo>
                <a:cubicBezTo>
                  <a:pt x="720725" y="963468"/>
                  <a:pt x="722630" y="961448"/>
                  <a:pt x="722630" y="959428"/>
                </a:cubicBezTo>
                <a:cubicBezTo>
                  <a:pt x="722630" y="959428"/>
                  <a:pt x="724535" y="957407"/>
                  <a:pt x="724535" y="955387"/>
                </a:cubicBezTo>
                <a:cubicBezTo>
                  <a:pt x="724535" y="953366"/>
                  <a:pt x="724535" y="951346"/>
                  <a:pt x="726440" y="949325"/>
                </a:cubicBezTo>
                <a:close/>
                <a:moveTo>
                  <a:pt x="586185" y="808037"/>
                </a:moveTo>
                <a:cubicBezTo>
                  <a:pt x="588170" y="808037"/>
                  <a:pt x="590154" y="810058"/>
                  <a:pt x="590154" y="812078"/>
                </a:cubicBezTo>
                <a:cubicBezTo>
                  <a:pt x="590154" y="814099"/>
                  <a:pt x="590154" y="816119"/>
                  <a:pt x="590154" y="816119"/>
                </a:cubicBezTo>
                <a:cubicBezTo>
                  <a:pt x="592139" y="816119"/>
                  <a:pt x="594123" y="816119"/>
                  <a:pt x="594123" y="816119"/>
                </a:cubicBezTo>
                <a:cubicBezTo>
                  <a:pt x="596107" y="816119"/>
                  <a:pt x="598092" y="816119"/>
                  <a:pt x="598092" y="816119"/>
                </a:cubicBezTo>
                <a:cubicBezTo>
                  <a:pt x="600076" y="816119"/>
                  <a:pt x="600076" y="818140"/>
                  <a:pt x="600076" y="818140"/>
                </a:cubicBezTo>
                <a:cubicBezTo>
                  <a:pt x="600076" y="820160"/>
                  <a:pt x="600076" y="820160"/>
                  <a:pt x="600076" y="822180"/>
                </a:cubicBezTo>
                <a:cubicBezTo>
                  <a:pt x="600076" y="822180"/>
                  <a:pt x="598092" y="824201"/>
                  <a:pt x="598092" y="824201"/>
                </a:cubicBezTo>
                <a:cubicBezTo>
                  <a:pt x="598092" y="824201"/>
                  <a:pt x="596107" y="824201"/>
                  <a:pt x="594123" y="824201"/>
                </a:cubicBezTo>
                <a:cubicBezTo>
                  <a:pt x="594123" y="822180"/>
                  <a:pt x="592139" y="822180"/>
                  <a:pt x="592139" y="822180"/>
                </a:cubicBezTo>
                <a:cubicBezTo>
                  <a:pt x="590154" y="822180"/>
                  <a:pt x="590154" y="824201"/>
                  <a:pt x="590154" y="824201"/>
                </a:cubicBezTo>
                <a:cubicBezTo>
                  <a:pt x="590154" y="824201"/>
                  <a:pt x="588170" y="828242"/>
                  <a:pt x="588170" y="828242"/>
                </a:cubicBezTo>
                <a:cubicBezTo>
                  <a:pt x="586185" y="828242"/>
                  <a:pt x="586185" y="830262"/>
                  <a:pt x="584201" y="830262"/>
                </a:cubicBezTo>
                <a:cubicBezTo>
                  <a:pt x="582217" y="828242"/>
                  <a:pt x="580232" y="828242"/>
                  <a:pt x="580232" y="826221"/>
                </a:cubicBezTo>
                <a:cubicBezTo>
                  <a:pt x="580232" y="826221"/>
                  <a:pt x="578248" y="826221"/>
                  <a:pt x="576263" y="826221"/>
                </a:cubicBezTo>
                <a:cubicBezTo>
                  <a:pt x="576263" y="826221"/>
                  <a:pt x="576263" y="824201"/>
                  <a:pt x="574279" y="826221"/>
                </a:cubicBezTo>
                <a:cubicBezTo>
                  <a:pt x="574279" y="826221"/>
                  <a:pt x="572295" y="828242"/>
                  <a:pt x="570310" y="828242"/>
                </a:cubicBezTo>
                <a:cubicBezTo>
                  <a:pt x="570310" y="828242"/>
                  <a:pt x="568326" y="830262"/>
                  <a:pt x="566341" y="828242"/>
                </a:cubicBezTo>
                <a:cubicBezTo>
                  <a:pt x="564357" y="828242"/>
                  <a:pt x="562373" y="828242"/>
                  <a:pt x="562373" y="826221"/>
                </a:cubicBezTo>
                <a:cubicBezTo>
                  <a:pt x="562373" y="824201"/>
                  <a:pt x="560388" y="820160"/>
                  <a:pt x="562373" y="818140"/>
                </a:cubicBezTo>
                <a:cubicBezTo>
                  <a:pt x="562373" y="818140"/>
                  <a:pt x="564357" y="816119"/>
                  <a:pt x="564357" y="816119"/>
                </a:cubicBezTo>
                <a:cubicBezTo>
                  <a:pt x="564357" y="816119"/>
                  <a:pt x="566341" y="814099"/>
                  <a:pt x="566341" y="814099"/>
                </a:cubicBezTo>
                <a:cubicBezTo>
                  <a:pt x="566341" y="814099"/>
                  <a:pt x="570310" y="814099"/>
                  <a:pt x="572295" y="814099"/>
                </a:cubicBezTo>
                <a:cubicBezTo>
                  <a:pt x="574279" y="812078"/>
                  <a:pt x="576263" y="812078"/>
                  <a:pt x="578248" y="812078"/>
                </a:cubicBezTo>
                <a:cubicBezTo>
                  <a:pt x="580232" y="812078"/>
                  <a:pt x="584201" y="808037"/>
                  <a:pt x="586185" y="808037"/>
                </a:cubicBezTo>
                <a:close/>
                <a:moveTo>
                  <a:pt x="1177608" y="664104"/>
                </a:moveTo>
                <a:cubicBezTo>
                  <a:pt x="1179513" y="664104"/>
                  <a:pt x="1179513" y="668337"/>
                  <a:pt x="1179513" y="670454"/>
                </a:cubicBezTo>
                <a:cubicBezTo>
                  <a:pt x="1179513" y="674687"/>
                  <a:pt x="1173798" y="681037"/>
                  <a:pt x="1169988" y="674687"/>
                </a:cubicBezTo>
                <a:cubicBezTo>
                  <a:pt x="1169988" y="672571"/>
                  <a:pt x="1169988" y="668337"/>
                  <a:pt x="1169988" y="666221"/>
                </a:cubicBezTo>
                <a:cubicBezTo>
                  <a:pt x="1173798" y="664104"/>
                  <a:pt x="1173798" y="661987"/>
                  <a:pt x="1177608" y="664104"/>
                </a:cubicBezTo>
                <a:close/>
                <a:moveTo>
                  <a:pt x="1042035" y="527483"/>
                </a:moveTo>
                <a:cubicBezTo>
                  <a:pt x="1047750" y="525462"/>
                  <a:pt x="1045845" y="537585"/>
                  <a:pt x="1045845" y="541626"/>
                </a:cubicBezTo>
                <a:cubicBezTo>
                  <a:pt x="1042035" y="547687"/>
                  <a:pt x="1040130" y="539605"/>
                  <a:pt x="1040130" y="537585"/>
                </a:cubicBezTo>
                <a:cubicBezTo>
                  <a:pt x="1040130" y="535565"/>
                  <a:pt x="1038225" y="531524"/>
                  <a:pt x="1038225" y="529503"/>
                </a:cubicBezTo>
                <a:cubicBezTo>
                  <a:pt x="1038225" y="529503"/>
                  <a:pt x="1040130" y="527483"/>
                  <a:pt x="1042035" y="527483"/>
                </a:cubicBezTo>
                <a:close/>
                <a:moveTo>
                  <a:pt x="15875" y="477837"/>
                </a:moveTo>
                <a:cubicBezTo>
                  <a:pt x="18098" y="477837"/>
                  <a:pt x="18098" y="477837"/>
                  <a:pt x="20320" y="479777"/>
                </a:cubicBezTo>
                <a:cubicBezTo>
                  <a:pt x="20320" y="479777"/>
                  <a:pt x="20320" y="483658"/>
                  <a:pt x="20320" y="483658"/>
                </a:cubicBezTo>
                <a:cubicBezTo>
                  <a:pt x="22543" y="485598"/>
                  <a:pt x="24766" y="485598"/>
                  <a:pt x="24766" y="485598"/>
                </a:cubicBezTo>
                <a:cubicBezTo>
                  <a:pt x="26988" y="487538"/>
                  <a:pt x="26988" y="489479"/>
                  <a:pt x="24766" y="491419"/>
                </a:cubicBezTo>
                <a:cubicBezTo>
                  <a:pt x="24766" y="491419"/>
                  <a:pt x="24766" y="493359"/>
                  <a:pt x="24766" y="493359"/>
                </a:cubicBezTo>
                <a:cubicBezTo>
                  <a:pt x="24766" y="495299"/>
                  <a:pt x="24766" y="495299"/>
                  <a:pt x="22543" y="495299"/>
                </a:cubicBezTo>
                <a:cubicBezTo>
                  <a:pt x="20320" y="495299"/>
                  <a:pt x="18098" y="495299"/>
                  <a:pt x="18098" y="493359"/>
                </a:cubicBezTo>
                <a:cubicBezTo>
                  <a:pt x="18098" y="493359"/>
                  <a:pt x="18098" y="491419"/>
                  <a:pt x="18098" y="491419"/>
                </a:cubicBezTo>
                <a:cubicBezTo>
                  <a:pt x="18098" y="491419"/>
                  <a:pt x="15875" y="487538"/>
                  <a:pt x="15875" y="487538"/>
                </a:cubicBezTo>
                <a:cubicBezTo>
                  <a:pt x="15875" y="487538"/>
                  <a:pt x="15875" y="485598"/>
                  <a:pt x="15875" y="483658"/>
                </a:cubicBezTo>
                <a:cubicBezTo>
                  <a:pt x="15875" y="479777"/>
                  <a:pt x="15875" y="479777"/>
                  <a:pt x="15875" y="477837"/>
                </a:cubicBezTo>
                <a:close/>
                <a:moveTo>
                  <a:pt x="1053704" y="449262"/>
                </a:moveTo>
                <a:cubicBezTo>
                  <a:pt x="1055688" y="451247"/>
                  <a:pt x="1055688" y="453231"/>
                  <a:pt x="1055688" y="453231"/>
                </a:cubicBezTo>
                <a:cubicBezTo>
                  <a:pt x="1055688" y="455215"/>
                  <a:pt x="1053704" y="459184"/>
                  <a:pt x="1053704" y="459184"/>
                </a:cubicBezTo>
                <a:cubicBezTo>
                  <a:pt x="1053704" y="459184"/>
                  <a:pt x="1051719" y="465137"/>
                  <a:pt x="1051719" y="467122"/>
                </a:cubicBezTo>
                <a:cubicBezTo>
                  <a:pt x="1049735" y="467122"/>
                  <a:pt x="1047751" y="471090"/>
                  <a:pt x="1047751" y="471090"/>
                </a:cubicBezTo>
                <a:cubicBezTo>
                  <a:pt x="1047751" y="471090"/>
                  <a:pt x="1045766" y="475059"/>
                  <a:pt x="1045766" y="477043"/>
                </a:cubicBezTo>
                <a:cubicBezTo>
                  <a:pt x="1045766" y="477043"/>
                  <a:pt x="1043782" y="481012"/>
                  <a:pt x="1041797" y="479028"/>
                </a:cubicBezTo>
                <a:cubicBezTo>
                  <a:pt x="1039813" y="479028"/>
                  <a:pt x="1041797" y="473075"/>
                  <a:pt x="1041797" y="471090"/>
                </a:cubicBezTo>
                <a:cubicBezTo>
                  <a:pt x="1043782" y="471090"/>
                  <a:pt x="1045766" y="469106"/>
                  <a:pt x="1045766" y="469106"/>
                </a:cubicBezTo>
                <a:cubicBezTo>
                  <a:pt x="1045766" y="467122"/>
                  <a:pt x="1045766" y="467122"/>
                  <a:pt x="1045766" y="465137"/>
                </a:cubicBezTo>
                <a:cubicBezTo>
                  <a:pt x="1043782" y="463153"/>
                  <a:pt x="1043782" y="463153"/>
                  <a:pt x="1043782" y="461168"/>
                </a:cubicBezTo>
                <a:cubicBezTo>
                  <a:pt x="1045766" y="457200"/>
                  <a:pt x="1047751" y="457200"/>
                  <a:pt x="1049735" y="457200"/>
                </a:cubicBezTo>
                <a:cubicBezTo>
                  <a:pt x="1049735" y="455215"/>
                  <a:pt x="1049735" y="453231"/>
                  <a:pt x="1051719" y="451247"/>
                </a:cubicBezTo>
                <a:cubicBezTo>
                  <a:pt x="1051719" y="451247"/>
                  <a:pt x="1053704" y="449262"/>
                  <a:pt x="1053704" y="449262"/>
                </a:cubicBezTo>
                <a:close/>
                <a:moveTo>
                  <a:pt x="78185" y="317953"/>
                </a:moveTo>
                <a:cubicBezTo>
                  <a:pt x="80169" y="315912"/>
                  <a:pt x="84138" y="317953"/>
                  <a:pt x="84138" y="319994"/>
                </a:cubicBezTo>
                <a:cubicBezTo>
                  <a:pt x="84138" y="322035"/>
                  <a:pt x="80169" y="324076"/>
                  <a:pt x="78185" y="326117"/>
                </a:cubicBezTo>
                <a:cubicBezTo>
                  <a:pt x="78185" y="328158"/>
                  <a:pt x="74216" y="330199"/>
                  <a:pt x="72232" y="328158"/>
                </a:cubicBezTo>
                <a:cubicBezTo>
                  <a:pt x="70248" y="328158"/>
                  <a:pt x="70248" y="328158"/>
                  <a:pt x="68263" y="328158"/>
                </a:cubicBezTo>
                <a:cubicBezTo>
                  <a:pt x="68263" y="326117"/>
                  <a:pt x="68263" y="324076"/>
                  <a:pt x="68263" y="324076"/>
                </a:cubicBezTo>
                <a:cubicBezTo>
                  <a:pt x="68263" y="324076"/>
                  <a:pt x="70248" y="319994"/>
                  <a:pt x="72232" y="319994"/>
                </a:cubicBezTo>
                <a:cubicBezTo>
                  <a:pt x="76201" y="319994"/>
                  <a:pt x="78185" y="317953"/>
                  <a:pt x="78185" y="317953"/>
                </a:cubicBezTo>
                <a:close/>
                <a:moveTo>
                  <a:pt x="718345" y="179387"/>
                </a:moveTo>
                <a:cubicBezTo>
                  <a:pt x="720197" y="179387"/>
                  <a:pt x="723901" y="179387"/>
                  <a:pt x="723901" y="181371"/>
                </a:cubicBezTo>
                <a:cubicBezTo>
                  <a:pt x="723901" y="183356"/>
                  <a:pt x="723901" y="185340"/>
                  <a:pt x="722049" y="185340"/>
                </a:cubicBezTo>
                <a:cubicBezTo>
                  <a:pt x="720197" y="187324"/>
                  <a:pt x="718345" y="187324"/>
                  <a:pt x="716493" y="187324"/>
                </a:cubicBezTo>
                <a:cubicBezTo>
                  <a:pt x="716493" y="187324"/>
                  <a:pt x="714640" y="187324"/>
                  <a:pt x="714640" y="187324"/>
                </a:cubicBezTo>
                <a:cubicBezTo>
                  <a:pt x="714640" y="187324"/>
                  <a:pt x="712788" y="187324"/>
                  <a:pt x="712788" y="185340"/>
                </a:cubicBezTo>
                <a:cubicBezTo>
                  <a:pt x="712788" y="183356"/>
                  <a:pt x="714640" y="183356"/>
                  <a:pt x="716493" y="181371"/>
                </a:cubicBezTo>
                <a:cubicBezTo>
                  <a:pt x="716493" y="181371"/>
                  <a:pt x="716493" y="181371"/>
                  <a:pt x="718345" y="179387"/>
                </a:cubicBezTo>
                <a:close/>
                <a:moveTo>
                  <a:pt x="645160" y="93662"/>
                </a:moveTo>
                <a:cubicBezTo>
                  <a:pt x="647065" y="93662"/>
                  <a:pt x="650875" y="93662"/>
                  <a:pt x="650875" y="93662"/>
                </a:cubicBezTo>
                <a:cubicBezTo>
                  <a:pt x="652780" y="97631"/>
                  <a:pt x="650875" y="99615"/>
                  <a:pt x="652780" y="99615"/>
                </a:cubicBezTo>
                <a:cubicBezTo>
                  <a:pt x="654685" y="99615"/>
                  <a:pt x="654685" y="97631"/>
                  <a:pt x="656590" y="97631"/>
                </a:cubicBezTo>
                <a:cubicBezTo>
                  <a:pt x="658495" y="97631"/>
                  <a:pt x="658495" y="95647"/>
                  <a:pt x="658495" y="97631"/>
                </a:cubicBezTo>
                <a:cubicBezTo>
                  <a:pt x="660400" y="101600"/>
                  <a:pt x="658495" y="101600"/>
                  <a:pt x="658495" y="103584"/>
                </a:cubicBezTo>
                <a:cubicBezTo>
                  <a:pt x="658495" y="105568"/>
                  <a:pt x="658495" y="107553"/>
                  <a:pt x="658495" y="109537"/>
                </a:cubicBezTo>
                <a:cubicBezTo>
                  <a:pt x="658495" y="111521"/>
                  <a:pt x="656590" y="113506"/>
                  <a:pt x="654685" y="113506"/>
                </a:cubicBezTo>
                <a:cubicBezTo>
                  <a:pt x="654685" y="115490"/>
                  <a:pt x="654685" y="117474"/>
                  <a:pt x="652780" y="115490"/>
                </a:cubicBezTo>
                <a:cubicBezTo>
                  <a:pt x="650875" y="115490"/>
                  <a:pt x="650875" y="113506"/>
                  <a:pt x="648970" y="113506"/>
                </a:cubicBezTo>
                <a:cubicBezTo>
                  <a:pt x="647065" y="113506"/>
                  <a:pt x="645160" y="115490"/>
                  <a:pt x="645160" y="115490"/>
                </a:cubicBezTo>
                <a:cubicBezTo>
                  <a:pt x="643255" y="115490"/>
                  <a:pt x="641350" y="111521"/>
                  <a:pt x="641350" y="111521"/>
                </a:cubicBezTo>
                <a:cubicBezTo>
                  <a:pt x="643255" y="111521"/>
                  <a:pt x="645160" y="109537"/>
                  <a:pt x="645160" y="109537"/>
                </a:cubicBezTo>
                <a:cubicBezTo>
                  <a:pt x="645160" y="107553"/>
                  <a:pt x="645160" y="105568"/>
                  <a:pt x="643255" y="103584"/>
                </a:cubicBezTo>
                <a:cubicBezTo>
                  <a:pt x="643255" y="101600"/>
                  <a:pt x="643255" y="99615"/>
                  <a:pt x="643255" y="99615"/>
                </a:cubicBezTo>
                <a:cubicBezTo>
                  <a:pt x="643255" y="99615"/>
                  <a:pt x="645160" y="101600"/>
                  <a:pt x="645160" y="99615"/>
                </a:cubicBezTo>
                <a:cubicBezTo>
                  <a:pt x="645160" y="97631"/>
                  <a:pt x="645160" y="93662"/>
                  <a:pt x="645160" y="93662"/>
                </a:cubicBezTo>
                <a:close/>
                <a:moveTo>
                  <a:pt x="813968" y="0"/>
                </a:moveTo>
                <a:cubicBezTo>
                  <a:pt x="815963" y="1995"/>
                  <a:pt x="815963" y="1995"/>
                  <a:pt x="815963" y="3990"/>
                </a:cubicBezTo>
                <a:cubicBezTo>
                  <a:pt x="815963" y="3990"/>
                  <a:pt x="813968" y="5984"/>
                  <a:pt x="813968" y="5984"/>
                </a:cubicBezTo>
                <a:cubicBezTo>
                  <a:pt x="813968" y="5984"/>
                  <a:pt x="813968" y="7979"/>
                  <a:pt x="813968" y="9973"/>
                </a:cubicBezTo>
                <a:cubicBezTo>
                  <a:pt x="813968" y="9973"/>
                  <a:pt x="815963" y="11968"/>
                  <a:pt x="815963" y="11968"/>
                </a:cubicBezTo>
                <a:cubicBezTo>
                  <a:pt x="815963" y="11968"/>
                  <a:pt x="819953" y="17952"/>
                  <a:pt x="821948" y="17952"/>
                </a:cubicBezTo>
                <a:cubicBezTo>
                  <a:pt x="821948" y="19947"/>
                  <a:pt x="821948" y="23936"/>
                  <a:pt x="821948" y="23936"/>
                </a:cubicBezTo>
                <a:cubicBezTo>
                  <a:pt x="821948" y="23936"/>
                  <a:pt x="819953" y="27925"/>
                  <a:pt x="819953" y="29920"/>
                </a:cubicBezTo>
                <a:cubicBezTo>
                  <a:pt x="821948" y="31914"/>
                  <a:pt x="821948" y="33909"/>
                  <a:pt x="825938" y="33909"/>
                </a:cubicBezTo>
                <a:cubicBezTo>
                  <a:pt x="827933" y="35904"/>
                  <a:pt x="831923" y="35904"/>
                  <a:pt x="831923" y="35904"/>
                </a:cubicBezTo>
                <a:cubicBezTo>
                  <a:pt x="831923" y="37898"/>
                  <a:pt x="827933" y="41888"/>
                  <a:pt x="827933" y="43882"/>
                </a:cubicBezTo>
                <a:cubicBezTo>
                  <a:pt x="827933" y="43882"/>
                  <a:pt x="827933" y="51861"/>
                  <a:pt x="827933" y="53855"/>
                </a:cubicBezTo>
                <a:cubicBezTo>
                  <a:pt x="829928" y="55850"/>
                  <a:pt x="829928" y="59839"/>
                  <a:pt x="829928" y="63829"/>
                </a:cubicBezTo>
                <a:cubicBezTo>
                  <a:pt x="829928" y="65823"/>
                  <a:pt x="831923" y="63829"/>
                  <a:pt x="833918" y="63829"/>
                </a:cubicBezTo>
                <a:cubicBezTo>
                  <a:pt x="837908" y="65823"/>
                  <a:pt x="837908" y="67818"/>
                  <a:pt x="837908" y="69813"/>
                </a:cubicBezTo>
                <a:cubicBezTo>
                  <a:pt x="837908" y="69813"/>
                  <a:pt x="839903" y="85770"/>
                  <a:pt x="837908" y="87764"/>
                </a:cubicBezTo>
                <a:cubicBezTo>
                  <a:pt x="837908" y="89759"/>
                  <a:pt x="835913" y="91754"/>
                  <a:pt x="835913" y="91754"/>
                </a:cubicBezTo>
                <a:cubicBezTo>
                  <a:pt x="835913" y="93748"/>
                  <a:pt x="835913" y="101727"/>
                  <a:pt x="837908" y="103721"/>
                </a:cubicBezTo>
                <a:cubicBezTo>
                  <a:pt x="837908" y="103721"/>
                  <a:pt x="837908" y="109705"/>
                  <a:pt x="837908" y="111700"/>
                </a:cubicBezTo>
                <a:cubicBezTo>
                  <a:pt x="839903" y="113695"/>
                  <a:pt x="841898" y="117684"/>
                  <a:pt x="843893" y="117684"/>
                </a:cubicBezTo>
                <a:cubicBezTo>
                  <a:pt x="847883" y="117684"/>
                  <a:pt x="847883" y="115689"/>
                  <a:pt x="849878" y="115689"/>
                </a:cubicBezTo>
                <a:cubicBezTo>
                  <a:pt x="851873" y="113695"/>
                  <a:pt x="851873" y="111700"/>
                  <a:pt x="851873" y="111700"/>
                </a:cubicBezTo>
                <a:cubicBezTo>
                  <a:pt x="853868" y="111700"/>
                  <a:pt x="855863" y="111700"/>
                  <a:pt x="857858" y="111700"/>
                </a:cubicBezTo>
                <a:cubicBezTo>
                  <a:pt x="857858" y="111700"/>
                  <a:pt x="859853" y="111700"/>
                  <a:pt x="859853" y="111700"/>
                </a:cubicBezTo>
                <a:cubicBezTo>
                  <a:pt x="859853" y="113695"/>
                  <a:pt x="859853" y="117684"/>
                  <a:pt x="861848" y="119679"/>
                </a:cubicBezTo>
                <a:cubicBezTo>
                  <a:pt x="863844" y="119679"/>
                  <a:pt x="865839" y="121673"/>
                  <a:pt x="867834" y="123668"/>
                </a:cubicBezTo>
                <a:cubicBezTo>
                  <a:pt x="869829" y="123668"/>
                  <a:pt x="871824" y="125662"/>
                  <a:pt x="873819" y="125662"/>
                </a:cubicBezTo>
                <a:cubicBezTo>
                  <a:pt x="875814" y="125662"/>
                  <a:pt x="877809" y="125662"/>
                  <a:pt x="877809" y="127657"/>
                </a:cubicBezTo>
                <a:cubicBezTo>
                  <a:pt x="877809" y="129652"/>
                  <a:pt x="875814" y="131646"/>
                  <a:pt x="875814" y="131646"/>
                </a:cubicBezTo>
                <a:cubicBezTo>
                  <a:pt x="877809" y="133641"/>
                  <a:pt x="879804" y="135636"/>
                  <a:pt x="879804" y="135636"/>
                </a:cubicBezTo>
                <a:cubicBezTo>
                  <a:pt x="879804" y="137630"/>
                  <a:pt x="875814" y="141620"/>
                  <a:pt x="875814" y="143614"/>
                </a:cubicBezTo>
                <a:cubicBezTo>
                  <a:pt x="875814" y="145609"/>
                  <a:pt x="873819" y="147603"/>
                  <a:pt x="873819" y="149598"/>
                </a:cubicBezTo>
                <a:cubicBezTo>
                  <a:pt x="873819" y="151593"/>
                  <a:pt x="873819" y="159571"/>
                  <a:pt x="873819" y="161566"/>
                </a:cubicBezTo>
                <a:cubicBezTo>
                  <a:pt x="873819" y="161566"/>
                  <a:pt x="875814" y="163561"/>
                  <a:pt x="875814" y="165555"/>
                </a:cubicBezTo>
                <a:cubicBezTo>
                  <a:pt x="877809" y="165555"/>
                  <a:pt x="877809" y="169544"/>
                  <a:pt x="877809" y="171539"/>
                </a:cubicBezTo>
                <a:cubicBezTo>
                  <a:pt x="877809" y="173534"/>
                  <a:pt x="875814" y="177523"/>
                  <a:pt x="875814" y="179518"/>
                </a:cubicBezTo>
                <a:cubicBezTo>
                  <a:pt x="875814" y="179518"/>
                  <a:pt x="877809" y="183507"/>
                  <a:pt x="879804" y="183507"/>
                </a:cubicBezTo>
                <a:cubicBezTo>
                  <a:pt x="879804" y="185502"/>
                  <a:pt x="883794" y="189491"/>
                  <a:pt x="883794" y="191485"/>
                </a:cubicBezTo>
                <a:cubicBezTo>
                  <a:pt x="885789" y="191485"/>
                  <a:pt x="885789" y="199464"/>
                  <a:pt x="887784" y="199464"/>
                </a:cubicBezTo>
                <a:cubicBezTo>
                  <a:pt x="887784" y="203453"/>
                  <a:pt x="887784" y="203453"/>
                  <a:pt x="889779" y="205448"/>
                </a:cubicBezTo>
                <a:cubicBezTo>
                  <a:pt x="891774" y="207443"/>
                  <a:pt x="891774" y="207443"/>
                  <a:pt x="893769" y="209437"/>
                </a:cubicBezTo>
                <a:cubicBezTo>
                  <a:pt x="893769" y="211432"/>
                  <a:pt x="893769" y="217416"/>
                  <a:pt x="893769" y="219410"/>
                </a:cubicBezTo>
                <a:cubicBezTo>
                  <a:pt x="893769" y="221405"/>
                  <a:pt x="889779" y="229384"/>
                  <a:pt x="887784" y="229384"/>
                </a:cubicBezTo>
                <a:cubicBezTo>
                  <a:pt x="887784" y="231378"/>
                  <a:pt x="885789" y="237362"/>
                  <a:pt x="885789" y="237362"/>
                </a:cubicBezTo>
                <a:cubicBezTo>
                  <a:pt x="887784" y="239357"/>
                  <a:pt x="891774" y="245341"/>
                  <a:pt x="891774" y="245341"/>
                </a:cubicBezTo>
                <a:cubicBezTo>
                  <a:pt x="891774" y="247335"/>
                  <a:pt x="889779" y="255314"/>
                  <a:pt x="889779" y="255314"/>
                </a:cubicBezTo>
                <a:cubicBezTo>
                  <a:pt x="889779" y="257309"/>
                  <a:pt x="889779" y="263292"/>
                  <a:pt x="889779" y="265287"/>
                </a:cubicBezTo>
                <a:cubicBezTo>
                  <a:pt x="891774" y="267282"/>
                  <a:pt x="893769" y="267282"/>
                  <a:pt x="895764" y="267282"/>
                </a:cubicBezTo>
                <a:cubicBezTo>
                  <a:pt x="897759" y="265287"/>
                  <a:pt x="899754" y="265287"/>
                  <a:pt x="903744" y="267282"/>
                </a:cubicBezTo>
                <a:cubicBezTo>
                  <a:pt x="905739" y="267282"/>
                  <a:pt x="907734" y="267282"/>
                  <a:pt x="907734" y="269276"/>
                </a:cubicBezTo>
                <a:cubicBezTo>
                  <a:pt x="909729" y="271271"/>
                  <a:pt x="909729" y="271271"/>
                  <a:pt x="911724" y="273266"/>
                </a:cubicBezTo>
                <a:cubicBezTo>
                  <a:pt x="913719" y="273266"/>
                  <a:pt x="915714" y="275260"/>
                  <a:pt x="915714" y="273266"/>
                </a:cubicBezTo>
                <a:cubicBezTo>
                  <a:pt x="917709" y="273266"/>
                  <a:pt x="919704" y="273266"/>
                  <a:pt x="919704" y="275260"/>
                </a:cubicBezTo>
                <a:cubicBezTo>
                  <a:pt x="919704" y="275260"/>
                  <a:pt x="917709" y="277255"/>
                  <a:pt x="919704" y="281244"/>
                </a:cubicBezTo>
                <a:cubicBezTo>
                  <a:pt x="919704" y="283239"/>
                  <a:pt x="919704" y="287228"/>
                  <a:pt x="921699" y="287228"/>
                </a:cubicBezTo>
                <a:cubicBezTo>
                  <a:pt x="921699" y="289223"/>
                  <a:pt x="925689" y="289223"/>
                  <a:pt x="927684" y="289223"/>
                </a:cubicBezTo>
                <a:cubicBezTo>
                  <a:pt x="929679" y="287228"/>
                  <a:pt x="931674" y="291217"/>
                  <a:pt x="931674" y="291217"/>
                </a:cubicBezTo>
                <a:cubicBezTo>
                  <a:pt x="931674" y="293212"/>
                  <a:pt x="937659" y="293212"/>
                  <a:pt x="937659" y="293212"/>
                </a:cubicBezTo>
                <a:cubicBezTo>
                  <a:pt x="937659" y="293212"/>
                  <a:pt x="941649" y="295207"/>
                  <a:pt x="943644" y="297201"/>
                </a:cubicBezTo>
                <a:cubicBezTo>
                  <a:pt x="943644" y="299196"/>
                  <a:pt x="943644" y="299196"/>
                  <a:pt x="945639" y="301191"/>
                </a:cubicBezTo>
                <a:cubicBezTo>
                  <a:pt x="945639" y="301191"/>
                  <a:pt x="947634" y="305180"/>
                  <a:pt x="949629" y="305180"/>
                </a:cubicBezTo>
                <a:cubicBezTo>
                  <a:pt x="949629" y="305180"/>
                  <a:pt x="949629" y="309169"/>
                  <a:pt x="949629" y="309169"/>
                </a:cubicBezTo>
                <a:cubicBezTo>
                  <a:pt x="947634" y="311164"/>
                  <a:pt x="943644" y="313158"/>
                  <a:pt x="945639" y="315153"/>
                </a:cubicBezTo>
                <a:cubicBezTo>
                  <a:pt x="945639" y="315153"/>
                  <a:pt x="949629" y="317148"/>
                  <a:pt x="949629" y="317148"/>
                </a:cubicBezTo>
                <a:cubicBezTo>
                  <a:pt x="949629" y="317148"/>
                  <a:pt x="955614" y="321137"/>
                  <a:pt x="957609" y="323132"/>
                </a:cubicBezTo>
                <a:cubicBezTo>
                  <a:pt x="957609" y="327121"/>
                  <a:pt x="957609" y="329115"/>
                  <a:pt x="959604" y="331110"/>
                </a:cubicBezTo>
                <a:cubicBezTo>
                  <a:pt x="959604" y="333105"/>
                  <a:pt x="961599" y="335099"/>
                  <a:pt x="961599" y="335099"/>
                </a:cubicBezTo>
                <a:cubicBezTo>
                  <a:pt x="961599" y="337094"/>
                  <a:pt x="961599" y="339089"/>
                  <a:pt x="961599" y="339089"/>
                </a:cubicBezTo>
                <a:cubicBezTo>
                  <a:pt x="961599" y="341083"/>
                  <a:pt x="965589" y="343078"/>
                  <a:pt x="965589" y="345073"/>
                </a:cubicBezTo>
                <a:cubicBezTo>
                  <a:pt x="965589" y="347067"/>
                  <a:pt x="961599" y="349062"/>
                  <a:pt x="961599" y="349062"/>
                </a:cubicBezTo>
                <a:cubicBezTo>
                  <a:pt x="961599" y="349062"/>
                  <a:pt x="961599" y="355046"/>
                  <a:pt x="961599" y="357040"/>
                </a:cubicBezTo>
                <a:cubicBezTo>
                  <a:pt x="961599" y="359035"/>
                  <a:pt x="961599" y="367014"/>
                  <a:pt x="963594" y="369008"/>
                </a:cubicBezTo>
                <a:cubicBezTo>
                  <a:pt x="963594" y="371003"/>
                  <a:pt x="963594" y="372998"/>
                  <a:pt x="965589" y="372998"/>
                </a:cubicBezTo>
                <a:cubicBezTo>
                  <a:pt x="969580" y="374992"/>
                  <a:pt x="971575" y="376987"/>
                  <a:pt x="973570" y="374992"/>
                </a:cubicBezTo>
                <a:cubicBezTo>
                  <a:pt x="973570" y="374992"/>
                  <a:pt x="975565" y="371003"/>
                  <a:pt x="977560" y="369008"/>
                </a:cubicBezTo>
                <a:cubicBezTo>
                  <a:pt x="977560" y="367014"/>
                  <a:pt x="979555" y="365019"/>
                  <a:pt x="981550" y="365019"/>
                </a:cubicBezTo>
                <a:cubicBezTo>
                  <a:pt x="983545" y="365019"/>
                  <a:pt x="985540" y="367014"/>
                  <a:pt x="987535" y="367014"/>
                </a:cubicBezTo>
                <a:cubicBezTo>
                  <a:pt x="989530" y="369008"/>
                  <a:pt x="989530" y="369008"/>
                  <a:pt x="989530" y="372998"/>
                </a:cubicBezTo>
                <a:cubicBezTo>
                  <a:pt x="991525" y="372998"/>
                  <a:pt x="991525" y="374992"/>
                  <a:pt x="991525" y="376987"/>
                </a:cubicBezTo>
                <a:cubicBezTo>
                  <a:pt x="991525" y="378981"/>
                  <a:pt x="991525" y="376987"/>
                  <a:pt x="993520" y="378981"/>
                </a:cubicBezTo>
                <a:cubicBezTo>
                  <a:pt x="993520" y="380976"/>
                  <a:pt x="993520" y="392944"/>
                  <a:pt x="993520" y="394939"/>
                </a:cubicBezTo>
                <a:cubicBezTo>
                  <a:pt x="993520" y="394939"/>
                  <a:pt x="991525" y="402917"/>
                  <a:pt x="991525" y="404912"/>
                </a:cubicBezTo>
                <a:cubicBezTo>
                  <a:pt x="991525" y="406906"/>
                  <a:pt x="991525" y="406906"/>
                  <a:pt x="991525" y="408901"/>
                </a:cubicBezTo>
                <a:cubicBezTo>
                  <a:pt x="993520" y="410896"/>
                  <a:pt x="995515" y="410896"/>
                  <a:pt x="999505" y="410896"/>
                </a:cubicBezTo>
                <a:cubicBezTo>
                  <a:pt x="999505" y="410896"/>
                  <a:pt x="1005490" y="410896"/>
                  <a:pt x="1007485" y="412890"/>
                </a:cubicBezTo>
                <a:cubicBezTo>
                  <a:pt x="1007485" y="414885"/>
                  <a:pt x="1007485" y="418874"/>
                  <a:pt x="1007485" y="418874"/>
                </a:cubicBezTo>
                <a:cubicBezTo>
                  <a:pt x="1007485" y="420869"/>
                  <a:pt x="1003495" y="422863"/>
                  <a:pt x="1005490" y="424858"/>
                </a:cubicBezTo>
                <a:cubicBezTo>
                  <a:pt x="1005490" y="426853"/>
                  <a:pt x="1007485" y="428847"/>
                  <a:pt x="1009480" y="428847"/>
                </a:cubicBezTo>
                <a:cubicBezTo>
                  <a:pt x="1011475" y="428847"/>
                  <a:pt x="1015465" y="428847"/>
                  <a:pt x="1017460" y="428847"/>
                </a:cubicBezTo>
                <a:cubicBezTo>
                  <a:pt x="1019455" y="430842"/>
                  <a:pt x="1021450" y="434831"/>
                  <a:pt x="1021450" y="436826"/>
                </a:cubicBezTo>
                <a:cubicBezTo>
                  <a:pt x="1021450" y="438821"/>
                  <a:pt x="1019455" y="440815"/>
                  <a:pt x="1021450" y="440815"/>
                </a:cubicBezTo>
                <a:cubicBezTo>
                  <a:pt x="1021450" y="442810"/>
                  <a:pt x="1025440" y="444804"/>
                  <a:pt x="1025440" y="446799"/>
                </a:cubicBezTo>
                <a:cubicBezTo>
                  <a:pt x="1027435" y="446799"/>
                  <a:pt x="1029430" y="452783"/>
                  <a:pt x="1029430" y="452783"/>
                </a:cubicBezTo>
                <a:cubicBezTo>
                  <a:pt x="1029430" y="454778"/>
                  <a:pt x="1031425" y="458767"/>
                  <a:pt x="1033420" y="458767"/>
                </a:cubicBezTo>
                <a:cubicBezTo>
                  <a:pt x="1033420" y="460762"/>
                  <a:pt x="1035415" y="462756"/>
                  <a:pt x="1037410" y="464751"/>
                </a:cubicBezTo>
                <a:cubicBezTo>
                  <a:pt x="1037410" y="464751"/>
                  <a:pt x="1039405" y="466746"/>
                  <a:pt x="1039405" y="468740"/>
                </a:cubicBezTo>
                <a:cubicBezTo>
                  <a:pt x="1039405" y="468740"/>
                  <a:pt x="1037410" y="472729"/>
                  <a:pt x="1037410" y="474724"/>
                </a:cubicBezTo>
                <a:cubicBezTo>
                  <a:pt x="1037410" y="476719"/>
                  <a:pt x="1037410" y="478713"/>
                  <a:pt x="1037410" y="480708"/>
                </a:cubicBezTo>
                <a:cubicBezTo>
                  <a:pt x="1037410" y="482703"/>
                  <a:pt x="1041400" y="484697"/>
                  <a:pt x="1041400" y="486692"/>
                </a:cubicBezTo>
                <a:cubicBezTo>
                  <a:pt x="1041400" y="486692"/>
                  <a:pt x="1041400" y="490681"/>
                  <a:pt x="1041400" y="490681"/>
                </a:cubicBezTo>
                <a:cubicBezTo>
                  <a:pt x="1041400" y="492676"/>
                  <a:pt x="1039405" y="494670"/>
                  <a:pt x="1039405" y="496665"/>
                </a:cubicBezTo>
                <a:cubicBezTo>
                  <a:pt x="1039405" y="498660"/>
                  <a:pt x="1037410" y="500654"/>
                  <a:pt x="1039405" y="502649"/>
                </a:cubicBezTo>
                <a:cubicBezTo>
                  <a:pt x="1039405" y="504644"/>
                  <a:pt x="1041400" y="508633"/>
                  <a:pt x="1041400" y="510628"/>
                </a:cubicBezTo>
                <a:cubicBezTo>
                  <a:pt x="1041400" y="510628"/>
                  <a:pt x="1039405" y="514617"/>
                  <a:pt x="1037410" y="516611"/>
                </a:cubicBezTo>
                <a:cubicBezTo>
                  <a:pt x="1037410" y="516611"/>
                  <a:pt x="1035415" y="518606"/>
                  <a:pt x="1035415" y="520601"/>
                </a:cubicBezTo>
                <a:cubicBezTo>
                  <a:pt x="1033420" y="520601"/>
                  <a:pt x="1033420" y="524590"/>
                  <a:pt x="1035415" y="526585"/>
                </a:cubicBezTo>
                <a:cubicBezTo>
                  <a:pt x="1035415" y="526585"/>
                  <a:pt x="1037410" y="530574"/>
                  <a:pt x="1037410" y="532569"/>
                </a:cubicBezTo>
                <a:cubicBezTo>
                  <a:pt x="1037410" y="534563"/>
                  <a:pt x="1035415" y="536558"/>
                  <a:pt x="1035415" y="538552"/>
                </a:cubicBezTo>
                <a:cubicBezTo>
                  <a:pt x="1035415" y="540547"/>
                  <a:pt x="1037410" y="546531"/>
                  <a:pt x="1037410" y="546531"/>
                </a:cubicBezTo>
                <a:cubicBezTo>
                  <a:pt x="1037410" y="548526"/>
                  <a:pt x="1037410" y="550520"/>
                  <a:pt x="1037410" y="552515"/>
                </a:cubicBezTo>
                <a:cubicBezTo>
                  <a:pt x="1035415" y="554510"/>
                  <a:pt x="1037410" y="556504"/>
                  <a:pt x="1037410" y="558499"/>
                </a:cubicBezTo>
                <a:cubicBezTo>
                  <a:pt x="1037410" y="560493"/>
                  <a:pt x="1039405" y="562488"/>
                  <a:pt x="1039405" y="564483"/>
                </a:cubicBezTo>
                <a:cubicBezTo>
                  <a:pt x="1039405" y="566477"/>
                  <a:pt x="1037410" y="570467"/>
                  <a:pt x="1037410" y="572461"/>
                </a:cubicBezTo>
                <a:cubicBezTo>
                  <a:pt x="1037410" y="574456"/>
                  <a:pt x="1041400" y="578445"/>
                  <a:pt x="1041400" y="580440"/>
                </a:cubicBezTo>
                <a:cubicBezTo>
                  <a:pt x="1041400" y="582434"/>
                  <a:pt x="1037410" y="586424"/>
                  <a:pt x="1037410" y="588418"/>
                </a:cubicBezTo>
                <a:cubicBezTo>
                  <a:pt x="1037410" y="588418"/>
                  <a:pt x="1035415" y="592408"/>
                  <a:pt x="1033420" y="594402"/>
                </a:cubicBezTo>
                <a:cubicBezTo>
                  <a:pt x="1033420" y="596397"/>
                  <a:pt x="1033420" y="598392"/>
                  <a:pt x="1033420" y="600386"/>
                </a:cubicBezTo>
                <a:cubicBezTo>
                  <a:pt x="1033420" y="602381"/>
                  <a:pt x="1033420" y="602381"/>
                  <a:pt x="1031425" y="602381"/>
                </a:cubicBezTo>
                <a:cubicBezTo>
                  <a:pt x="1031425" y="604376"/>
                  <a:pt x="1027435" y="604376"/>
                  <a:pt x="1027435" y="604376"/>
                </a:cubicBezTo>
                <a:cubicBezTo>
                  <a:pt x="1025440" y="606370"/>
                  <a:pt x="1023445" y="604376"/>
                  <a:pt x="1025440" y="606370"/>
                </a:cubicBezTo>
                <a:cubicBezTo>
                  <a:pt x="1025440" y="608365"/>
                  <a:pt x="1029430" y="610359"/>
                  <a:pt x="1029430" y="610359"/>
                </a:cubicBezTo>
                <a:cubicBezTo>
                  <a:pt x="1029430" y="612354"/>
                  <a:pt x="1029430" y="616343"/>
                  <a:pt x="1029430" y="618338"/>
                </a:cubicBezTo>
                <a:cubicBezTo>
                  <a:pt x="1029430" y="618338"/>
                  <a:pt x="1025440" y="626317"/>
                  <a:pt x="1025440" y="628311"/>
                </a:cubicBezTo>
                <a:cubicBezTo>
                  <a:pt x="1025440" y="630306"/>
                  <a:pt x="1021450" y="636290"/>
                  <a:pt x="1019455" y="638284"/>
                </a:cubicBezTo>
                <a:cubicBezTo>
                  <a:pt x="1019455" y="638284"/>
                  <a:pt x="1017460" y="640279"/>
                  <a:pt x="1017460" y="642274"/>
                </a:cubicBezTo>
                <a:cubicBezTo>
                  <a:pt x="1017460" y="644268"/>
                  <a:pt x="1019455" y="646263"/>
                  <a:pt x="1019455" y="648258"/>
                </a:cubicBezTo>
                <a:cubicBezTo>
                  <a:pt x="1017460" y="648258"/>
                  <a:pt x="1015465" y="656236"/>
                  <a:pt x="1013470" y="656236"/>
                </a:cubicBezTo>
                <a:cubicBezTo>
                  <a:pt x="1013470" y="658231"/>
                  <a:pt x="1011475" y="662220"/>
                  <a:pt x="1011475" y="662220"/>
                </a:cubicBezTo>
                <a:cubicBezTo>
                  <a:pt x="1009480" y="664215"/>
                  <a:pt x="1007485" y="668204"/>
                  <a:pt x="1007485" y="670199"/>
                </a:cubicBezTo>
                <a:cubicBezTo>
                  <a:pt x="1007485" y="672193"/>
                  <a:pt x="1005490" y="676182"/>
                  <a:pt x="1005490" y="676182"/>
                </a:cubicBezTo>
                <a:cubicBezTo>
                  <a:pt x="1003495" y="678177"/>
                  <a:pt x="999505" y="686156"/>
                  <a:pt x="997510" y="686156"/>
                </a:cubicBezTo>
                <a:cubicBezTo>
                  <a:pt x="997510" y="686156"/>
                  <a:pt x="995515" y="688150"/>
                  <a:pt x="995515" y="690145"/>
                </a:cubicBezTo>
                <a:cubicBezTo>
                  <a:pt x="995515" y="694134"/>
                  <a:pt x="995515" y="696129"/>
                  <a:pt x="993520" y="698123"/>
                </a:cubicBezTo>
                <a:cubicBezTo>
                  <a:pt x="993520" y="700118"/>
                  <a:pt x="991525" y="704107"/>
                  <a:pt x="989530" y="704107"/>
                </a:cubicBezTo>
                <a:cubicBezTo>
                  <a:pt x="985540" y="706102"/>
                  <a:pt x="983545" y="706102"/>
                  <a:pt x="981550" y="706102"/>
                </a:cubicBezTo>
                <a:cubicBezTo>
                  <a:pt x="979555" y="706102"/>
                  <a:pt x="975565" y="706102"/>
                  <a:pt x="975565" y="708097"/>
                </a:cubicBezTo>
                <a:cubicBezTo>
                  <a:pt x="975565" y="710091"/>
                  <a:pt x="979555" y="710091"/>
                  <a:pt x="979555" y="712086"/>
                </a:cubicBezTo>
                <a:cubicBezTo>
                  <a:pt x="979555" y="712086"/>
                  <a:pt x="977560" y="716075"/>
                  <a:pt x="977560" y="716075"/>
                </a:cubicBezTo>
                <a:cubicBezTo>
                  <a:pt x="975565" y="716075"/>
                  <a:pt x="969580" y="718070"/>
                  <a:pt x="969580" y="720065"/>
                </a:cubicBezTo>
                <a:cubicBezTo>
                  <a:pt x="967585" y="720065"/>
                  <a:pt x="963594" y="720065"/>
                  <a:pt x="963594" y="722059"/>
                </a:cubicBezTo>
                <a:cubicBezTo>
                  <a:pt x="961599" y="724054"/>
                  <a:pt x="961599" y="728043"/>
                  <a:pt x="961599" y="728043"/>
                </a:cubicBezTo>
                <a:cubicBezTo>
                  <a:pt x="961599" y="730038"/>
                  <a:pt x="961599" y="732032"/>
                  <a:pt x="959604" y="732032"/>
                </a:cubicBezTo>
                <a:cubicBezTo>
                  <a:pt x="957609" y="732032"/>
                  <a:pt x="955614" y="732032"/>
                  <a:pt x="955614" y="732032"/>
                </a:cubicBezTo>
                <a:cubicBezTo>
                  <a:pt x="955614" y="734027"/>
                  <a:pt x="955614" y="736022"/>
                  <a:pt x="955614" y="738016"/>
                </a:cubicBezTo>
                <a:cubicBezTo>
                  <a:pt x="955614" y="740011"/>
                  <a:pt x="953619" y="742006"/>
                  <a:pt x="953619" y="742006"/>
                </a:cubicBezTo>
                <a:cubicBezTo>
                  <a:pt x="951624" y="742006"/>
                  <a:pt x="949629" y="742006"/>
                  <a:pt x="949629" y="744000"/>
                </a:cubicBezTo>
                <a:cubicBezTo>
                  <a:pt x="949629" y="745995"/>
                  <a:pt x="949629" y="753973"/>
                  <a:pt x="949629" y="755968"/>
                </a:cubicBezTo>
                <a:cubicBezTo>
                  <a:pt x="947634" y="757963"/>
                  <a:pt x="941649" y="763947"/>
                  <a:pt x="941649" y="763947"/>
                </a:cubicBezTo>
                <a:cubicBezTo>
                  <a:pt x="939654" y="765941"/>
                  <a:pt x="937659" y="769930"/>
                  <a:pt x="935664" y="771925"/>
                </a:cubicBezTo>
                <a:cubicBezTo>
                  <a:pt x="935664" y="773920"/>
                  <a:pt x="933669" y="779904"/>
                  <a:pt x="933669" y="781898"/>
                </a:cubicBezTo>
                <a:cubicBezTo>
                  <a:pt x="933669" y="783893"/>
                  <a:pt x="933669" y="787882"/>
                  <a:pt x="931674" y="789877"/>
                </a:cubicBezTo>
                <a:cubicBezTo>
                  <a:pt x="931674" y="791871"/>
                  <a:pt x="929679" y="791871"/>
                  <a:pt x="927684" y="793866"/>
                </a:cubicBezTo>
                <a:cubicBezTo>
                  <a:pt x="927684" y="793866"/>
                  <a:pt x="923694" y="795861"/>
                  <a:pt x="923694" y="795861"/>
                </a:cubicBezTo>
                <a:cubicBezTo>
                  <a:pt x="923694" y="797855"/>
                  <a:pt x="919704" y="799850"/>
                  <a:pt x="919704" y="799850"/>
                </a:cubicBezTo>
                <a:cubicBezTo>
                  <a:pt x="917709" y="799850"/>
                  <a:pt x="917709" y="797855"/>
                  <a:pt x="917709" y="797855"/>
                </a:cubicBezTo>
                <a:cubicBezTo>
                  <a:pt x="915714" y="799850"/>
                  <a:pt x="915714" y="801845"/>
                  <a:pt x="915714" y="803839"/>
                </a:cubicBezTo>
                <a:cubicBezTo>
                  <a:pt x="915714" y="803839"/>
                  <a:pt x="915714" y="809823"/>
                  <a:pt x="915714" y="809823"/>
                </a:cubicBezTo>
                <a:cubicBezTo>
                  <a:pt x="915714" y="809823"/>
                  <a:pt x="915714" y="813812"/>
                  <a:pt x="915714" y="813812"/>
                </a:cubicBezTo>
                <a:cubicBezTo>
                  <a:pt x="915714" y="815807"/>
                  <a:pt x="913719" y="817802"/>
                  <a:pt x="911724" y="819796"/>
                </a:cubicBezTo>
                <a:cubicBezTo>
                  <a:pt x="911724" y="819796"/>
                  <a:pt x="911724" y="821791"/>
                  <a:pt x="911724" y="821791"/>
                </a:cubicBezTo>
                <a:cubicBezTo>
                  <a:pt x="909729" y="823786"/>
                  <a:pt x="907734" y="827775"/>
                  <a:pt x="907734" y="827775"/>
                </a:cubicBezTo>
                <a:cubicBezTo>
                  <a:pt x="905739" y="827775"/>
                  <a:pt x="903744" y="829770"/>
                  <a:pt x="903744" y="831764"/>
                </a:cubicBezTo>
                <a:cubicBezTo>
                  <a:pt x="901749" y="833759"/>
                  <a:pt x="901749" y="833759"/>
                  <a:pt x="901749" y="835754"/>
                </a:cubicBezTo>
                <a:cubicBezTo>
                  <a:pt x="901749" y="835754"/>
                  <a:pt x="901749" y="839743"/>
                  <a:pt x="901749" y="839743"/>
                </a:cubicBezTo>
                <a:cubicBezTo>
                  <a:pt x="901749" y="841737"/>
                  <a:pt x="901749" y="843732"/>
                  <a:pt x="899754" y="843732"/>
                </a:cubicBezTo>
                <a:cubicBezTo>
                  <a:pt x="899754" y="845727"/>
                  <a:pt x="899754" y="845727"/>
                  <a:pt x="899754" y="845727"/>
                </a:cubicBezTo>
                <a:cubicBezTo>
                  <a:pt x="897759" y="847721"/>
                  <a:pt x="897759" y="851711"/>
                  <a:pt x="897759" y="851711"/>
                </a:cubicBezTo>
                <a:cubicBezTo>
                  <a:pt x="897759" y="851711"/>
                  <a:pt x="897759" y="853705"/>
                  <a:pt x="897759" y="855700"/>
                </a:cubicBezTo>
                <a:cubicBezTo>
                  <a:pt x="897759" y="857695"/>
                  <a:pt x="897759" y="859689"/>
                  <a:pt x="897759" y="861684"/>
                </a:cubicBezTo>
                <a:cubicBezTo>
                  <a:pt x="897759" y="863678"/>
                  <a:pt x="897759" y="863678"/>
                  <a:pt x="897759" y="865673"/>
                </a:cubicBezTo>
                <a:cubicBezTo>
                  <a:pt x="897759" y="867668"/>
                  <a:pt x="895764" y="869662"/>
                  <a:pt x="893769" y="869662"/>
                </a:cubicBezTo>
                <a:cubicBezTo>
                  <a:pt x="893769" y="871657"/>
                  <a:pt x="889779" y="873652"/>
                  <a:pt x="889779" y="875646"/>
                </a:cubicBezTo>
                <a:cubicBezTo>
                  <a:pt x="887784" y="877641"/>
                  <a:pt x="885789" y="879636"/>
                  <a:pt x="885789" y="881630"/>
                </a:cubicBezTo>
                <a:cubicBezTo>
                  <a:pt x="883794" y="881630"/>
                  <a:pt x="879804" y="883625"/>
                  <a:pt x="879804" y="883625"/>
                </a:cubicBezTo>
                <a:cubicBezTo>
                  <a:pt x="877809" y="883625"/>
                  <a:pt x="873819" y="883625"/>
                  <a:pt x="871824" y="883625"/>
                </a:cubicBezTo>
                <a:cubicBezTo>
                  <a:pt x="869829" y="883625"/>
                  <a:pt x="865839" y="883625"/>
                  <a:pt x="863844" y="883625"/>
                </a:cubicBezTo>
                <a:cubicBezTo>
                  <a:pt x="861848" y="883625"/>
                  <a:pt x="857858" y="883625"/>
                  <a:pt x="855863" y="883625"/>
                </a:cubicBezTo>
                <a:cubicBezTo>
                  <a:pt x="855863" y="883625"/>
                  <a:pt x="851873" y="885619"/>
                  <a:pt x="849878" y="885619"/>
                </a:cubicBezTo>
                <a:cubicBezTo>
                  <a:pt x="849878" y="887614"/>
                  <a:pt x="845888" y="887614"/>
                  <a:pt x="843893" y="887614"/>
                </a:cubicBezTo>
                <a:cubicBezTo>
                  <a:pt x="841898" y="887614"/>
                  <a:pt x="839903" y="887614"/>
                  <a:pt x="837908" y="887614"/>
                </a:cubicBezTo>
                <a:cubicBezTo>
                  <a:pt x="837908" y="887614"/>
                  <a:pt x="833918" y="885619"/>
                  <a:pt x="833918" y="885619"/>
                </a:cubicBezTo>
                <a:cubicBezTo>
                  <a:pt x="831923" y="885619"/>
                  <a:pt x="829928" y="887614"/>
                  <a:pt x="829928" y="887614"/>
                </a:cubicBezTo>
                <a:cubicBezTo>
                  <a:pt x="827933" y="889609"/>
                  <a:pt x="829928" y="893598"/>
                  <a:pt x="829928" y="895593"/>
                </a:cubicBezTo>
                <a:cubicBezTo>
                  <a:pt x="829928" y="897587"/>
                  <a:pt x="827933" y="899582"/>
                  <a:pt x="825938" y="901577"/>
                </a:cubicBezTo>
                <a:cubicBezTo>
                  <a:pt x="823943" y="903571"/>
                  <a:pt x="821948" y="905566"/>
                  <a:pt x="819953" y="905566"/>
                </a:cubicBezTo>
                <a:cubicBezTo>
                  <a:pt x="817958" y="905566"/>
                  <a:pt x="815963" y="907560"/>
                  <a:pt x="813968" y="907560"/>
                </a:cubicBezTo>
                <a:cubicBezTo>
                  <a:pt x="811973" y="909555"/>
                  <a:pt x="809978" y="911550"/>
                  <a:pt x="809978" y="911550"/>
                </a:cubicBezTo>
                <a:cubicBezTo>
                  <a:pt x="807983" y="911550"/>
                  <a:pt x="805988" y="915539"/>
                  <a:pt x="805988" y="915539"/>
                </a:cubicBezTo>
                <a:cubicBezTo>
                  <a:pt x="803993" y="915539"/>
                  <a:pt x="801998" y="915539"/>
                  <a:pt x="800003" y="915539"/>
                </a:cubicBezTo>
                <a:cubicBezTo>
                  <a:pt x="798008" y="915539"/>
                  <a:pt x="796013" y="915539"/>
                  <a:pt x="794018" y="917534"/>
                </a:cubicBezTo>
                <a:cubicBezTo>
                  <a:pt x="794018" y="917534"/>
                  <a:pt x="794018" y="919528"/>
                  <a:pt x="792023" y="921523"/>
                </a:cubicBezTo>
                <a:cubicBezTo>
                  <a:pt x="792023" y="923518"/>
                  <a:pt x="792023" y="925512"/>
                  <a:pt x="790028" y="925512"/>
                </a:cubicBezTo>
                <a:cubicBezTo>
                  <a:pt x="788033" y="925512"/>
                  <a:pt x="786038" y="923518"/>
                  <a:pt x="784043" y="923518"/>
                </a:cubicBezTo>
                <a:cubicBezTo>
                  <a:pt x="782048" y="923518"/>
                  <a:pt x="780053" y="923518"/>
                  <a:pt x="780053" y="923518"/>
                </a:cubicBezTo>
                <a:cubicBezTo>
                  <a:pt x="778058" y="921523"/>
                  <a:pt x="778058" y="919528"/>
                  <a:pt x="778058" y="917534"/>
                </a:cubicBezTo>
                <a:cubicBezTo>
                  <a:pt x="778058" y="917534"/>
                  <a:pt x="776063" y="915539"/>
                  <a:pt x="776063" y="915539"/>
                </a:cubicBezTo>
                <a:cubicBezTo>
                  <a:pt x="774068" y="915539"/>
                  <a:pt x="772073" y="913544"/>
                  <a:pt x="772073" y="913544"/>
                </a:cubicBezTo>
                <a:cubicBezTo>
                  <a:pt x="772073" y="911550"/>
                  <a:pt x="774068" y="909555"/>
                  <a:pt x="774068" y="909555"/>
                </a:cubicBezTo>
                <a:cubicBezTo>
                  <a:pt x="774068" y="907560"/>
                  <a:pt x="776063" y="905566"/>
                  <a:pt x="774068" y="905566"/>
                </a:cubicBezTo>
                <a:cubicBezTo>
                  <a:pt x="772073" y="903571"/>
                  <a:pt x="770078" y="905566"/>
                  <a:pt x="770078" y="905566"/>
                </a:cubicBezTo>
                <a:cubicBezTo>
                  <a:pt x="768083" y="905566"/>
                  <a:pt x="762098" y="909555"/>
                  <a:pt x="762098" y="909555"/>
                </a:cubicBezTo>
                <a:cubicBezTo>
                  <a:pt x="760103" y="907560"/>
                  <a:pt x="758107" y="905566"/>
                  <a:pt x="758107" y="905566"/>
                </a:cubicBezTo>
                <a:cubicBezTo>
                  <a:pt x="760103" y="903571"/>
                  <a:pt x="760103" y="903571"/>
                  <a:pt x="762098" y="901577"/>
                </a:cubicBezTo>
                <a:cubicBezTo>
                  <a:pt x="764093" y="901577"/>
                  <a:pt x="764093" y="897587"/>
                  <a:pt x="764093" y="897587"/>
                </a:cubicBezTo>
                <a:cubicBezTo>
                  <a:pt x="764093" y="895593"/>
                  <a:pt x="762098" y="893598"/>
                  <a:pt x="762098" y="893598"/>
                </a:cubicBezTo>
                <a:cubicBezTo>
                  <a:pt x="760103" y="891603"/>
                  <a:pt x="758107" y="891603"/>
                  <a:pt x="758107" y="891603"/>
                </a:cubicBezTo>
                <a:cubicBezTo>
                  <a:pt x="758107" y="893598"/>
                  <a:pt x="756112" y="895593"/>
                  <a:pt x="756112" y="897587"/>
                </a:cubicBezTo>
                <a:cubicBezTo>
                  <a:pt x="756112" y="899582"/>
                  <a:pt x="754117" y="901577"/>
                  <a:pt x="752122" y="901577"/>
                </a:cubicBezTo>
                <a:cubicBezTo>
                  <a:pt x="750127" y="901577"/>
                  <a:pt x="750127" y="901577"/>
                  <a:pt x="748132" y="903571"/>
                </a:cubicBezTo>
                <a:cubicBezTo>
                  <a:pt x="746137" y="903571"/>
                  <a:pt x="746137" y="905566"/>
                  <a:pt x="744142" y="905566"/>
                </a:cubicBezTo>
                <a:cubicBezTo>
                  <a:pt x="742147" y="905566"/>
                  <a:pt x="742147" y="905566"/>
                  <a:pt x="740152" y="907560"/>
                </a:cubicBezTo>
                <a:cubicBezTo>
                  <a:pt x="740152" y="909555"/>
                  <a:pt x="736162" y="909555"/>
                  <a:pt x="734167" y="911550"/>
                </a:cubicBezTo>
                <a:cubicBezTo>
                  <a:pt x="734167" y="913544"/>
                  <a:pt x="730177" y="913544"/>
                  <a:pt x="730177" y="913544"/>
                </a:cubicBezTo>
                <a:cubicBezTo>
                  <a:pt x="730177" y="913544"/>
                  <a:pt x="724192" y="921523"/>
                  <a:pt x="720202" y="921523"/>
                </a:cubicBezTo>
                <a:cubicBezTo>
                  <a:pt x="718207" y="921523"/>
                  <a:pt x="716212" y="921523"/>
                  <a:pt x="716212" y="919528"/>
                </a:cubicBezTo>
                <a:cubicBezTo>
                  <a:pt x="714217" y="919528"/>
                  <a:pt x="708232" y="913544"/>
                  <a:pt x="708232" y="913544"/>
                </a:cubicBezTo>
                <a:cubicBezTo>
                  <a:pt x="708232" y="913544"/>
                  <a:pt x="704242" y="911550"/>
                  <a:pt x="702247" y="909555"/>
                </a:cubicBezTo>
                <a:cubicBezTo>
                  <a:pt x="702247" y="909555"/>
                  <a:pt x="700252" y="907560"/>
                  <a:pt x="698257" y="905566"/>
                </a:cubicBezTo>
                <a:cubicBezTo>
                  <a:pt x="696262" y="905566"/>
                  <a:pt x="696262" y="905566"/>
                  <a:pt x="694267" y="905566"/>
                </a:cubicBezTo>
                <a:cubicBezTo>
                  <a:pt x="692272" y="905566"/>
                  <a:pt x="690277" y="905566"/>
                  <a:pt x="688282" y="905566"/>
                </a:cubicBezTo>
                <a:cubicBezTo>
                  <a:pt x="686287" y="905566"/>
                  <a:pt x="684292" y="905566"/>
                  <a:pt x="682297" y="905566"/>
                </a:cubicBezTo>
                <a:cubicBezTo>
                  <a:pt x="682297" y="905566"/>
                  <a:pt x="678307" y="905566"/>
                  <a:pt x="676312" y="905566"/>
                </a:cubicBezTo>
                <a:cubicBezTo>
                  <a:pt x="674317" y="905566"/>
                  <a:pt x="670327" y="901577"/>
                  <a:pt x="670327" y="899582"/>
                </a:cubicBezTo>
                <a:cubicBezTo>
                  <a:pt x="668332" y="899582"/>
                  <a:pt x="660352" y="895593"/>
                  <a:pt x="660352" y="895593"/>
                </a:cubicBezTo>
                <a:cubicBezTo>
                  <a:pt x="660352" y="895593"/>
                  <a:pt x="654367" y="895593"/>
                  <a:pt x="652371" y="895593"/>
                </a:cubicBezTo>
                <a:cubicBezTo>
                  <a:pt x="652371" y="893598"/>
                  <a:pt x="648381" y="891603"/>
                  <a:pt x="648381" y="891603"/>
                </a:cubicBezTo>
                <a:cubicBezTo>
                  <a:pt x="648381" y="891603"/>
                  <a:pt x="646386" y="889609"/>
                  <a:pt x="646386" y="887614"/>
                </a:cubicBezTo>
                <a:cubicBezTo>
                  <a:pt x="644391" y="887614"/>
                  <a:pt x="640401" y="879636"/>
                  <a:pt x="640401" y="877641"/>
                </a:cubicBezTo>
                <a:cubicBezTo>
                  <a:pt x="640401" y="875646"/>
                  <a:pt x="636411" y="873652"/>
                  <a:pt x="636411" y="871657"/>
                </a:cubicBezTo>
                <a:cubicBezTo>
                  <a:pt x="634416" y="869662"/>
                  <a:pt x="636411" y="863678"/>
                  <a:pt x="636411" y="861684"/>
                </a:cubicBezTo>
                <a:cubicBezTo>
                  <a:pt x="636411" y="859689"/>
                  <a:pt x="640401" y="851711"/>
                  <a:pt x="640401" y="849716"/>
                </a:cubicBezTo>
                <a:cubicBezTo>
                  <a:pt x="640401" y="849716"/>
                  <a:pt x="642396" y="845727"/>
                  <a:pt x="640401" y="843732"/>
                </a:cubicBezTo>
                <a:cubicBezTo>
                  <a:pt x="640401" y="843732"/>
                  <a:pt x="640401" y="841737"/>
                  <a:pt x="638406" y="839743"/>
                </a:cubicBezTo>
                <a:cubicBezTo>
                  <a:pt x="638406" y="837748"/>
                  <a:pt x="636411" y="835754"/>
                  <a:pt x="634416" y="835754"/>
                </a:cubicBezTo>
                <a:cubicBezTo>
                  <a:pt x="634416" y="833759"/>
                  <a:pt x="632421" y="831764"/>
                  <a:pt x="632421" y="829770"/>
                </a:cubicBezTo>
                <a:cubicBezTo>
                  <a:pt x="632421" y="829770"/>
                  <a:pt x="630426" y="825780"/>
                  <a:pt x="632421" y="825780"/>
                </a:cubicBezTo>
                <a:cubicBezTo>
                  <a:pt x="632421" y="823786"/>
                  <a:pt x="634416" y="823786"/>
                  <a:pt x="636411" y="823786"/>
                </a:cubicBezTo>
                <a:cubicBezTo>
                  <a:pt x="636411" y="823786"/>
                  <a:pt x="638406" y="821791"/>
                  <a:pt x="638406" y="821791"/>
                </a:cubicBezTo>
                <a:cubicBezTo>
                  <a:pt x="638406" y="819796"/>
                  <a:pt x="638406" y="815807"/>
                  <a:pt x="636411" y="815807"/>
                </a:cubicBezTo>
                <a:cubicBezTo>
                  <a:pt x="634416" y="813812"/>
                  <a:pt x="632421" y="813812"/>
                  <a:pt x="632421" y="811818"/>
                </a:cubicBezTo>
                <a:cubicBezTo>
                  <a:pt x="632421" y="809823"/>
                  <a:pt x="632421" y="807829"/>
                  <a:pt x="632421" y="807829"/>
                </a:cubicBezTo>
                <a:cubicBezTo>
                  <a:pt x="632421" y="807829"/>
                  <a:pt x="632421" y="805834"/>
                  <a:pt x="630426" y="805834"/>
                </a:cubicBezTo>
                <a:cubicBezTo>
                  <a:pt x="628431" y="805834"/>
                  <a:pt x="622446" y="807829"/>
                  <a:pt x="622446" y="807829"/>
                </a:cubicBezTo>
                <a:cubicBezTo>
                  <a:pt x="620451" y="807829"/>
                  <a:pt x="618456" y="809823"/>
                  <a:pt x="616461" y="809823"/>
                </a:cubicBezTo>
                <a:cubicBezTo>
                  <a:pt x="616461" y="809823"/>
                  <a:pt x="614466" y="811818"/>
                  <a:pt x="614466" y="813812"/>
                </a:cubicBezTo>
                <a:cubicBezTo>
                  <a:pt x="612471" y="813812"/>
                  <a:pt x="608481" y="813812"/>
                  <a:pt x="606486" y="813812"/>
                </a:cubicBezTo>
                <a:cubicBezTo>
                  <a:pt x="606486" y="813812"/>
                  <a:pt x="602496" y="813812"/>
                  <a:pt x="602496" y="813812"/>
                </a:cubicBezTo>
                <a:cubicBezTo>
                  <a:pt x="602496" y="813812"/>
                  <a:pt x="600501" y="811818"/>
                  <a:pt x="600501" y="811818"/>
                </a:cubicBezTo>
                <a:cubicBezTo>
                  <a:pt x="602496" y="809823"/>
                  <a:pt x="608481" y="805834"/>
                  <a:pt x="610476" y="803839"/>
                </a:cubicBezTo>
                <a:cubicBezTo>
                  <a:pt x="610476" y="803839"/>
                  <a:pt x="614466" y="799850"/>
                  <a:pt x="614466" y="795861"/>
                </a:cubicBezTo>
                <a:cubicBezTo>
                  <a:pt x="614466" y="793866"/>
                  <a:pt x="614466" y="791871"/>
                  <a:pt x="616461" y="789877"/>
                </a:cubicBezTo>
                <a:cubicBezTo>
                  <a:pt x="618456" y="787882"/>
                  <a:pt x="620451" y="787882"/>
                  <a:pt x="620451" y="785888"/>
                </a:cubicBezTo>
                <a:cubicBezTo>
                  <a:pt x="622446" y="785888"/>
                  <a:pt x="620451" y="781898"/>
                  <a:pt x="618456" y="781898"/>
                </a:cubicBezTo>
                <a:cubicBezTo>
                  <a:pt x="616461" y="779904"/>
                  <a:pt x="614466" y="773920"/>
                  <a:pt x="614466" y="771925"/>
                </a:cubicBezTo>
                <a:cubicBezTo>
                  <a:pt x="612471" y="769930"/>
                  <a:pt x="614466" y="769930"/>
                  <a:pt x="612471" y="765941"/>
                </a:cubicBezTo>
                <a:cubicBezTo>
                  <a:pt x="610476" y="763947"/>
                  <a:pt x="612471" y="761952"/>
                  <a:pt x="610476" y="763947"/>
                </a:cubicBezTo>
                <a:cubicBezTo>
                  <a:pt x="608481" y="763947"/>
                  <a:pt x="606486" y="767936"/>
                  <a:pt x="606486" y="767936"/>
                </a:cubicBezTo>
                <a:cubicBezTo>
                  <a:pt x="606486" y="769930"/>
                  <a:pt x="602496" y="777909"/>
                  <a:pt x="602496" y="777909"/>
                </a:cubicBezTo>
                <a:cubicBezTo>
                  <a:pt x="602496" y="777909"/>
                  <a:pt x="600501" y="781898"/>
                  <a:pt x="600501" y="781898"/>
                </a:cubicBezTo>
                <a:cubicBezTo>
                  <a:pt x="598506" y="783893"/>
                  <a:pt x="598506" y="787882"/>
                  <a:pt x="598506" y="789877"/>
                </a:cubicBezTo>
                <a:cubicBezTo>
                  <a:pt x="598506" y="791871"/>
                  <a:pt x="596511" y="793866"/>
                  <a:pt x="596511" y="793866"/>
                </a:cubicBezTo>
                <a:cubicBezTo>
                  <a:pt x="594516" y="793866"/>
                  <a:pt x="592521" y="793866"/>
                  <a:pt x="590526" y="793866"/>
                </a:cubicBezTo>
                <a:cubicBezTo>
                  <a:pt x="590526" y="793866"/>
                  <a:pt x="578556" y="797855"/>
                  <a:pt x="576561" y="797855"/>
                </a:cubicBezTo>
                <a:cubicBezTo>
                  <a:pt x="574566" y="797855"/>
                  <a:pt x="570576" y="799850"/>
                  <a:pt x="570576" y="797855"/>
                </a:cubicBezTo>
                <a:cubicBezTo>
                  <a:pt x="570576" y="795861"/>
                  <a:pt x="572571" y="793866"/>
                  <a:pt x="572571" y="791871"/>
                </a:cubicBezTo>
                <a:cubicBezTo>
                  <a:pt x="574566" y="791871"/>
                  <a:pt x="578556" y="789877"/>
                  <a:pt x="580551" y="787882"/>
                </a:cubicBezTo>
                <a:cubicBezTo>
                  <a:pt x="582546" y="787882"/>
                  <a:pt x="588531" y="787882"/>
                  <a:pt x="590526" y="787882"/>
                </a:cubicBezTo>
                <a:cubicBezTo>
                  <a:pt x="590526" y="785888"/>
                  <a:pt x="590526" y="781898"/>
                  <a:pt x="590526" y="777909"/>
                </a:cubicBezTo>
                <a:cubicBezTo>
                  <a:pt x="590526" y="775914"/>
                  <a:pt x="594516" y="769930"/>
                  <a:pt x="594516" y="769930"/>
                </a:cubicBezTo>
                <a:cubicBezTo>
                  <a:pt x="596511" y="767936"/>
                  <a:pt x="594516" y="761952"/>
                  <a:pt x="594516" y="761952"/>
                </a:cubicBezTo>
                <a:cubicBezTo>
                  <a:pt x="596511" y="759957"/>
                  <a:pt x="598506" y="753973"/>
                  <a:pt x="600501" y="751979"/>
                </a:cubicBezTo>
                <a:cubicBezTo>
                  <a:pt x="600501" y="751979"/>
                  <a:pt x="602496" y="745995"/>
                  <a:pt x="602496" y="744000"/>
                </a:cubicBezTo>
                <a:cubicBezTo>
                  <a:pt x="602496" y="744000"/>
                  <a:pt x="606486" y="738016"/>
                  <a:pt x="606486" y="736022"/>
                </a:cubicBezTo>
                <a:cubicBezTo>
                  <a:pt x="606486" y="736022"/>
                  <a:pt x="606486" y="732032"/>
                  <a:pt x="608481" y="730038"/>
                </a:cubicBezTo>
                <a:cubicBezTo>
                  <a:pt x="610476" y="728043"/>
                  <a:pt x="610476" y="724054"/>
                  <a:pt x="610476" y="724054"/>
                </a:cubicBezTo>
                <a:cubicBezTo>
                  <a:pt x="610476" y="722059"/>
                  <a:pt x="610476" y="720065"/>
                  <a:pt x="608481" y="720065"/>
                </a:cubicBezTo>
                <a:cubicBezTo>
                  <a:pt x="606486" y="720065"/>
                  <a:pt x="602496" y="720065"/>
                  <a:pt x="600501" y="722059"/>
                </a:cubicBezTo>
                <a:cubicBezTo>
                  <a:pt x="600501" y="724054"/>
                  <a:pt x="598506" y="728043"/>
                  <a:pt x="596511" y="730038"/>
                </a:cubicBezTo>
                <a:cubicBezTo>
                  <a:pt x="596511" y="732032"/>
                  <a:pt x="594516" y="736022"/>
                  <a:pt x="592521" y="738016"/>
                </a:cubicBezTo>
                <a:cubicBezTo>
                  <a:pt x="590526" y="740011"/>
                  <a:pt x="588531" y="744000"/>
                  <a:pt x="586536" y="744000"/>
                </a:cubicBezTo>
                <a:cubicBezTo>
                  <a:pt x="586536" y="745995"/>
                  <a:pt x="580551" y="747989"/>
                  <a:pt x="580551" y="749984"/>
                </a:cubicBezTo>
                <a:cubicBezTo>
                  <a:pt x="578556" y="749984"/>
                  <a:pt x="562596" y="765941"/>
                  <a:pt x="562596" y="765941"/>
                </a:cubicBezTo>
                <a:cubicBezTo>
                  <a:pt x="562596" y="765941"/>
                  <a:pt x="556611" y="773920"/>
                  <a:pt x="556611" y="775914"/>
                </a:cubicBezTo>
                <a:cubicBezTo>
                  <a:pt x="554616" y="775914"/>
                  <a:pt x="552621" y="777909"/>
                  <a:pt x="552621" y="779904"/>
                </a:cubicBezTo>
                <a:cubicBezTo>
                  <a:pt x="552621" y="781898"/>
                  <a:pt x="554616" y="783893"/>
                  <a:pt x="552621" y="785888"/>
                </a:cubicBezTo>
                <a:cubicBezTo>
                  <a:pt x="552621" y="787882"/>
                  <a:pt x="552621" y="789877"/>
                  <a:pt x="550626" y="789877"/>
                </a:cubicBezTo>
                <a:cubicBezTo>
                  <a:pt x="548630" y="789877"/>
                  <a:pt x="544640" y="787882"/>
                  <a:pt x="542645" y="787882"/>
                </a:cubicBezTo>
                <a:cubicBezTo>
                  <a:pt x="540650" y="787882"/>
                  <a:pt x="538655" y="779904"/>
                  <a:pt x="538655" y="779904"/>
                </a:cubicBezTo>
                <a:cubicBezTo>
                  <a:pt x="538655" y="777909"/>
                  <a:pt x="536660" y="775914"/>
                  <a:pt x="536660" y="773920"/>
                </a:cubicBezTo>
                <a:cubicBezTo>
                  <a:pt x="536660" y="771925"/>
                  <a:pt x="536660" y="767936"/>
                  <a:pt x="538655" y="765941"/>
                </a:cubicBezTo>
                <a:cubicBezTo>
                  <a:pt x="538655" y="763947"/>
                  <a:pt x="538655" y="759957"/>
                  <a:pt x="536660" y="757963"/>
                </a:cubicBezTo>
                <a:cubicBezTo>
                  <a:pt x="536660" y="757963"/>
                  <a:pt x="534665" y="751979"/>
                  <a:pt x="534665" y="749984"/>
                </a:cubicBezTo>
                <a:cubicBezTo>
                  <a:pt x="532670" y="749984"/>
                  <a:pt x="528680" y="744000"/>
                  <a:pt x="528680" y="742006"/>
                </a:cubicBezTo>
                <a:cubicBezTo>
                  <a:pt x="526685" y="740011"/>
                  <a:pt x="526685" y="738016"/>
                  <a:pt x="526685" y="736022"/>
                </a:cubicBezTo>
                <a:cubicBezTo>
                  <a:pt x="526685" y="734027"/>
                  <a:pt x="526685" y="732032"/>
                  <a:pt x="526685" y="730038"/>
                </a:cubicBezTo>
                <a:cubicBezTo>
                  <a:pt x="524690" y="730038"/>
                  <a:pt x="522695" y="728043"/>
                  <a:pt x="520700" y="728043"/>
                </a:cubicBezTo>
                <a:cubicBezTo>
                  <a:pt x="520700" y="728043"/>
                  <a:pt x="516710" y="728043"/>
                  <a:pt x="516710" y="728043"/>
                </a:cubicBezTo>
                <a:cubicBezTo>
                  <a:pt x="516710" y="726048"/>
                  <a:pt x="514715" y="724054"/>
                  <a:pt x="514715" y="720065"/>
                </a:cubicBezTo>
                <a:cubicBezTo>
                  <a:pt x="516710" y="718070"/>
                  <a:pt x="516710" y="714081"/>
                  <a:pt x="518705" y="714081"/>
                </a:cubicBezTo>
                <a:cubicBezTo>
                  <a:pt x="520700" y="712086"/>
                  <a:pt x="522695" y="712086"/>
                  <a:pt x="522695" y="710091"/>
                </a:cubicBezTo>
                <a:cubicBezTo>
                  <a:pt x="522695" y="710091"/>
                  <a:pt x="518705" y="706102"/>
                  <a:pt x="518705" y="704107"/>
                </a:cubicBezTo>
                <a:cubicBezTo>
                  <a:pt x="518705" y="704107"/>
                  <a:pt x="514715" y="700118"/>
                  <a:pt x="512720" y="700118"/>
                </a:cubicBezTo>
                <a:cubicBezTo>
                  <a:pt x="512720" y="698123"/>
                  <a:pt x="506735" y="698123"/>
                  <a:pt x="504740" y="698123"/>
                </a:cubicBezTo>
                <a:cubicBezTo>
                  <a:pt x="504740" y="698123"/>
                  <a:pt x="500750" y="698123"/>
                  <a:pt x="498755" y="698123"/>
                </a:cubicBezTo>
                <a:cubicBezTo>
                  <a:pt x="498755" y="698123"/>
                  <a:pt x="494765" y="696129"/>
                  <a:pt x="494765" y="694134"/>
                </a:cubicBezTo>
                <a:cubicBezTo>
                  <a:pt x="492770" y="694134"/>
                  <a:pt x="488780" y="690145"/>
                  <a:pt x="486785" y="690145"/>
                </a:cubicBezTo>
                <a:cubicBezTo>
                  <a:pt x="484790" y="688150"/>
                  <a:pt x="480800" y="690145"/>
                  <a:pt x="478805" y="690145"/>
                </a:cubicBezTo>
                <a:cubicBezTo>
                  <a:pt x="478805" y="690145"/>
                  <a:pt x="474815" y="692140"/>
                  <a:pt x="472820" y="692140"/>
                </a:cubicBezTo>
                <a:cubicBezTo>
                  <a:pt x="470825" y="692140"/>
                  <a:pt x="468830" y="690145"/>
                  <a:pt x="468830" y="688150"/>
                </a:cubicBezTo>
                <a:cubicBezTo>
                  <a:pt x="468830" y="686156"/>
                  <a:pt x="466835" y="682166"/>
                  <a:pt x="464840" y="682166"/>
                </a:cubicBezTo>
                <a:cubicBezTo>
                  <a:pt x="464840" y="682166"/>
                  <a:pt x="460850" y="678177"/>
                  <a:pt x="458855" y="676182"/>
                </a:cubicBezTo>
                <a:cubicBezTo>
                  <a:pt x="458855" y="676182"/>
                  <a:pt x="456860" y="674188"/>
                  <a:pt x="454865" y="674188"/>
                </a:cubicBezTo>
                <a:cubicBezTo>
                  <a:pt x="452870" y="674188"/>
                  <a:pt x="450875" y="672193"/>
                  <a:pt x="450875" y="674188"/>
                </a:cubicBezTo>
                <a:cubicBezTo>
                  <a:pt x="448880" y="674188"/>
                  <a:pt x="446885" y="676182"/>
                  <a:pt x="444890" y="676182"/>
                </a:cubicBezTo>
                <a:cubicBezTo>
                  <a:pt x="442894" y="676182"/>
                  <a:pt x="436909" y="676182"/>
                  <a:pt x="434914" y="676182"/>
                </a:cubicBezTo>
                <a:cubicBezTo>
                  <a:pt x="432919" y="676182"/>
                  <a:pt x="424939" y="676182"/>
                  <a:pt x="422944" y="676182"/>
                </a:cubicBezTo>
                <a:cubicBezTo>
                  <a:pt x="420949" y="676182"/>
                  <a:pt x="412969" y="676182"/>
                  <a:pt x="412969" y="676182"/>
                </a:cubicBezTo>
                <a:cubicBezTo>
                  <a:pt x="410974" y="676182"/>
                  <a:pt x="400999" y="678177"/>
                  <a:pt x="400999" y="678177"/>
                </a:cubicBezTo>
                <a:cubicBezTo>
                  <a:pt x="400999" y="680172"/>
                  <a:pt x="393019" y="680172"/>
                  <a:pt x="391024" y="680172"/>
                </a:cubicBezTo>
                <a:cubicBezTo>
                  <a:pt x="389029" y="682166"/>
                  <a:pt x="385039" y="684161"/>
                  <a:pt x="383044" y="684161"/>
                </a:cubicBezTo>
                <a:cubicBezTo>
                  <a:pt x="381049" y="686156"/>
                  <a:pt x="377059" y="688150"/>
                  <a:pt x="375064" y="688150"/>
                </a:cubicBezTo>
                <a:cubicBezTo>
                  <a:pt x="373069" y="690145"/>
                  <a:pt x="365089" y="696129"/>
                  <a:pt x="359104" y="696129"/>
                </a:cubicBezTo>
                <a:cubicBezTo>
                  <a:pt x="351124" y="698123"/>
                  <a:pt x="345139" y="698123"/>
                  <a:pt x="343144" y="698123"/>
                </a:cubicBezTo>
                <a:cubicBezTo>
                  <a:pt x="343144" y="698123"/>
                  <a:pt x="333168" y="698123"/>
                  <a:pt x="331173" y="698123"/>
                </a:cubicBezTo>
                <a:cubicBezTo>
                  <a:pt x="331173" y="698123"/>
                  <a:pt x="325188" y="698123"/>
                  <a:pt x="323193" y="698123"/>
                </a:cubicBezTo>
                <a:cubicBezTo>
                  <a:pt x="321198" y="698123"/>
                  <a:pt x="313218" y="698123"/>
                  <a:pt x="311223" y="700118"/>
                </a:cubicBezTo>
                <a:cubicBezTo>
                  <a:pt x="309228" y="700118"/>
                  <a:pt x="301248" y="706102"/>
                  <a:pt x="299253" y="706102"/>
                </a:cubicBezTo>
                <a:cubicBezTo>
                  <a:pt x="297258" y="708097"/>
                  <a:pt x="291273" y="710091"/>
                  <a:pt x="291273" y="710091"/>
                </a:cubicBezTo>
                <a:cubicBezTo>
                  <a:pt x="291273" y="710091"/>
                  <a:pt x="285288" y="714081"/>
                  <a:pt x="281298" y="714081"/>
                </a:cubicBezTo>
                <a:cubicBezTo>
                  <a:pt x="279303" y="714081"/>
                  <a:pt x="279303" y="714081"/>
                  <a:pt x="279303" y="716075"/>
                </a:cubicBezTo>
                <a:cubicBezTo>
                  <a:pt x="277308" y="716075"/>
                  <a:pt x="279303" y="718070"/>
                  <a:pt x="277308" y="718070"/>
                </a:cubicBezTo>
                <a:cubicBezTo>
                  <a:pt x="277308" y="720065"/>
                  <a:pt x="275313" y="720065"/>
                  <a:pt x="273318" y="720065"/>
                </a:cubicBezTo>
                <a:cubicBezTo>
                  <a:pt x="271323" y="720065"/>
                  <a:pt x="269328" y="720065"/>
                  <a:pt x="269328" y="720065"/>
                </a:cubicBezTo>
                <a:cubicBezTo>
                  <a:pt x="267333" y="720065"/>
                  <a:pt x="263343" y="724054"/>
                  <a:pt x="263343" y="724054"/>
                </a:cubicBezTo>
                <a:cubicBezTo>
                  <a:pt x="261348" y="726048"/>
                  <a:pt x="257358" y="732032"/>
                  <a:pt x="257358" y="732032"/>
                </a:cubicBezTo>
                <a:cubicBezTo>
                  <a:pt x="257358" y="734027"/>
                  <a:pt x="253368" y="740011"/>
                  <a:pt x="253368" y="742006"/>
                </a:cubicBezTo>
                <a:cubicBezTo>
                  <a:pt x="251373" y="744000"/>
                  <a:pt x="251373" y="745995"/>
                  <a:pt x="249378" y="745995"/>
                </a:cubicBezTo>
                <a:cubicBezTo>
                  <a:pt x="247383" y="747989"/>
                  <a:pt x="241398" y="751979"/>
                  <a:pt x="239403" y="753973"/>
                </a:cubicBezTo>
                <a:cubicBezTo>
                  <a:pt x="237408" y="753973"/>
                  <a:pt x="231422" y="753973"/>
                  <a:pt x="229427" y="753973"/>
                </a:cubicBezTo>
                <a:cubicBezTo>
                  <a:pt x="227432" y="753973"/>
                  <a:pt x="217457" y="755968"/>
                  <a:pt x="215462" y="755968"/>
                </a:cubicBezTo>
                <a:cubicBezTo>
                  <a:pt x="213467" y="755968"/>
                  <a:pt x="207482" y="755968"/>
                  <a:pt x="205487" y="755968"/>
                </a:cubicBezTo>
                <a:cubicBezTo>
                  <a:pt x="203492" y="753973"/>
                  <a:pt x="199502" y="753973"/>
                  <a:pt x="199502" y="753973"/>
                </a:cubicBezTo>
                <a:cubicBezTo>
                  <a:pt x="197507" y="753973"/>
                  <a:pt x="193517" y="751979"/>
                  <a:pt x="193517" y="751979"/>
                </a:cubicBezTo>
                <a:cubicBezTo>
                  <a:pt x="191522" y="751979"/>
                  <a:pt x="189527" y="751979"/>
                  <a:pt x="187532" y="751979"/>
                </a:cubicBezTo>
                <a:cubicBezTo>
                  <a:pt x="185537" y="751979"/>
                  <a:pt x="181547" y="751979"/>
                  <a:pt x="181547" y="751979"/>
                </a:cubicBezTo>
                <a:cubicBezTo>
                  <a:pt x="179552" y="751979"/>
                  <a:pt x="175562" y="751979"/>
                  <a:pt x="175562" y="751979"/>
                </a:cubicBezTo>
                <a:cubicBezTo>
                  <a:pt x="173567" y="753973"/>
                  <a:pt x="171572" y="753973"/>
                  <a:pt x="169577" y="753973"/>
                </a:cubicBezTo>
                <a:cubicBezTo>
                  <a:pt x="167582" y="753973"/>
                  <a:pt x="163592" y="755968"/>
                  <a:pt x="161597" y="755968"/>
                </a:cubicBezTo>
                <a:cubicBezTo>
                  <a:pt x="159602" y="755968"/>
                  <a:pt x="157607" y="755968"/>
                  <a:pt x="155612" y="755968"/>
                </a:cubicBezTo>
                <a:cubicBezTo>
                  <a:pt x="153617" y="755968"/>
                  <a:pt x="149627" y="757963"/>
                  <a:pt x="147632" y="757963"/>
                </a:cubicBezTo>
                <a:cubicBezTo>
                  <a:pt x="145637" y="759957"/>
                  <a:pt x="143642" y="761952"/>
                  <a:pt x="141647" y="763947"/>
                </a:cubicBezTo>
                <a:cubicBezTo>
                  <a:pt x="141647" y="765941"/>
                  <a:pt x="137657" y="769930"/>
                  <a:pt x="137657" y="769930"/>
                </a:cubicBezTo>
                <a:cubicBezTo>
                  <a:pt x="135662" y="771925"/>
                  <a:pt x="131672" y="773920"/>
                  <a:pt x="129676" y="773920"/>
                </a:cubicBezTo>
                <a:cubicBezTo>
                  <a:pt x="127681" y="773920"/>
                  <a:pt x="125686" y="771925"/>
                  <a:pt x="125686" y="771925"/>
                </a:cubicBezTo>
                <a:cubicBezTo>
                  <a:pt x="123691" y="771925"/>
                  <a:pt x="121696" y="771925"/>
                  <a:pt x="121696" y="771925"/>
                </a:cubicBezTo>
                <a:cubicBezTo>
                  <a:pt x="121696" y="773920"/>
                  <a:pt x="117706" y="775914"/>
                  <a:pt x="115711" y="777909"/>
                </a:cubicBezTo>
                <a:cubicBezTo>
                  <a:pt x="115711" y="777909"/>
                  <a:pt x="111721" y="781898"/>
                  <a:pt x="111721" y="781898"/>
                </a:cubicBezTo>
                <a:cubicBezTo>
                  <a:pt x="109726" y="783893"/>
                  <a:pt x="109726" y="785888"/>
                  <a:pt x="107731" y="787882"/>
                </a:cubicBezTo>
                <a:cubicBezTo>
                  <a:pt x="103741" y="791871"/>
                  <a:pt x="87781" y="795861"/>
                  <a:pt x="83791" y="795861"/>
                </a:cubicBezTo>
                <a:cubicBezTo>
                  <a:pt x="81796" y="795861"/>
                  <a:pt x="77806" y="795861"/>
                  <a:pt x="75811" y="793866"/>
                </a:cubicBezTo>
                <a:cubicBezTo>
                  <a:pt x="73816" y="793866"/>
                  <a:pt x="65836" y="791871"/>
                  <a:pt x="65836" y="791871"/>
                </a:cubicBezTo>
                <a:cubicBezTo>
                  <a:pt x="63841" y="791871"/>
                  <a:pt x="53866" y="787882"/>
                  <a:pt x="53866" y="787882"/>
                </a:cubicBezTo>
                <a:cubicBezTo>
                  <a:pt x="51871" y="787882"/>
                  <a:pt x="49876" y="785888"/>
                  <a:pt x="47881" y="785888"/>
                </a:cubicBezTo>
                <a:cubicBezTo>
                  <a:pt x="45886" y="785888"/>
                  <a:pt x="45886" y="785888"/>
                  <a:pt x="43891" y="783893"/>
                </a:cubicBezTo>
                <a:cubicBezTo>
                  <a:pt x="43891" y="781898"/>
                  <a:pt x="41896" y="779904"/>
                  <a:pt x="41896" y="777909"/>
                </a:cubicBezTo>
                <a:cubicBezTo>
                  <a:pt x="39901" y="775914"/>
                  <a:pt x="35911" y="773920"/>
                  <a:pt x="33916" y="773920"/>
                </a:cubicBezTo>
                <a:cubicBezTo>
                  <a:pt x="31921" y="771925"/>
                  <a:pt x="27931" y="769930"/>
                  <a:pt x="25935" y="769930"/>
                </a:cubicBezTo>
                <a:cubicBezTo>
                  <a:pt x="23940" y="767936"/>
                  <a:pt x="21945" y="765941"/>
                  <a:pt x="21945" y="765941"/>
                </a:cubicBezTo>
                <a:cubicBezTo>
                  <a:pt x="19950" y="763947"/>
                  <a:pt x="19950" y="757963"/>
                  <a:pt x="19950" y="755968"/>
                </a:cubicBezTo>
                <a:cubicBezTo>
                  <a:pt x="19950" y="755968"/>
                  <a:pt x="19950" y="747989"/>
                  <a:pt x="21945" y="745995"/>
                </a:cubicBezTo>
                <a:cubicBezTo>
                  <a:pt x="21945" y="745995"/>
                  <a:pt x="25935" y="745995"/>
                  <a:pt x="27931" y="745995"/>
                </a:cubicBezTo>
                <a:cubicBezTo>
                  <a:pt x="31921" y="745995"/>
                  <a:pt x="33916" y="745995"/>
                  <a:pt x="33916" y="744000"/>
                </a:cubicBezTo>
                <a:cubicBezTo>
                  <a:pt x="35911" y="742006"/>
                  <a:pt x="37906" y="734027"/>
                  <a:pt x="37906" y="732032"/>
                </a:cubicBezTo>
                <a:cubicBezTo>
                  <a:pt x="37906" y="730038"/>
                  <a:pt x="41896" y="722059"/>
                  <a:pt x="41896" y="720065"/>
                </a:cubicBezTo>
                <a:cubicBezTo>
                  <a:pt x="41896" y="718070"/>
                  <a:pt x="43891" y="716075"/>
                  <a:pt x="45886" y="714081"/>
                </a:cubicBezTo>
                <a:cubicBezTo>
                  <a:pt x="45886" y="714081"/>
                  <a:pt x="45886" y="710091"/>
                  <a:pt x="47881" y="710091"/>
                </a:cubicBezTo>
                <a:cubicBezTo>
                  <a:pt x="47881" y="708097"/>
                  <a:pt x="47881" y="706102"/>
                  <a:pt x="47881" y="704107"/>
                </a:cubicBezTo>
                <a:cubicBezTo>
                  <a:pt x="47881" y="702113"/>
                  <a:pt x="47881" y="700118"/>
                  <a:pt x="47881" y="698123"/>
                </a:cubicBezTo>
                <a:cubicBezTo>
                  <a:pt x="47881" y="696129"/>
                  <a:pt x="47881" y="690145"/>
                  <a:pt x="47881" y="688150"/>
                </a:cubicBezTo>
                <a:cubicBezTo>
                  <a:pt x="47881" y="688150"/>
                  <a:pt x="47881" y="682166"/>
                  <a:pt x="47881" y="680172"/>
                </a:cubicBezTo>
                <a:cubicBezTo>
                  <a:pt x="47881" y="680172"/>
                  <a:pt x="47881" y="676182"/>
                  <a:pt x="47881" y="674188"/>
                </a:cubicBezTo>
                <a:cubicBezTo>
                  <a:pt x="47881" y="672193"/>
                  <a:pt x="45886" y="668204"/>
                  <a:pt x="43891" y="668204"/>
                </a:cubicBezTo>
                <a:cubicBezTo>
                  <a:pt x="41896" y="668204"/>
                  <a:pt x="39901" y="658231"/>
                  <a:pt x="39901" y="656236"/>
                </a:cubicBezTo>
                <a:cubicBezTo>
                  <a:pt x="39901" y="652247"/>
                  <a:pt x="39901" y="638284"/>
                  <a:pt x="39901" y="634295"/>
                </a:cubicBezTo>
                <a:cubicBezTo>
                  <a:pt x="39901" y="630306"/>
                  <a:pt x="39901" y="626317"/>
                  <a:pt x="39901" y="624322"/>
                </a:cubicBezTo>
                <a:cubicBezTo>
                  <a:pt x="39901" y="622327"/>
                  <a:pt x="37906" y="620333"/>
                  <a:pt x="37906" y="618338"/>
                </a:cubicBezTo>
                <a:cubicBezTo>
                  <a:pt x="37906" y="614349"/>
                  <a:pt x="39901" y="608365"/>
                  <a:pt x="37906" y="608365"/>
                </a:cubicBezTo>
                <a:cubicBezTo>
                  <a:pt x="37906" y="606370"/>
                  <a:pt x="37906" y="596397"/>
                  <a:pt x="37906" y="594402"/>
                </a:cubicBezTo>
                <a:cubicBezTo>
                  <a:pt x="35911" y="592408"/>
                  <a:pt x="35911" y="586424"/>
                  <a:pt x="33916" y="584429"/>
                </a:cubicBezTo>
                <a:cubicBezTo>
                  <a:pt x="33916" y="582434"/>
                  <a:pt x="31921" y="572461"/>
                  <a:pt x="31921" y="570467"/>
                </a:cubicBezTo>
                <a:cubicBezTo>
                  <a:pt x="31921" y="568472"/>
                  <a:pt x="29926" y="566477"/>
                  <a:pt x="27931" y="564483"/>
                </a:cubicBezTo>
                <a:cubicBezTo>
                  <a:pt x="27931" y="562488"/>
                  <a:pt x="25935" y="562488"/>
                  <a:pt x="25935" y="558499"/>
                </a:cubicBezTo>
                <a:cubicBezTo>
                  <a:pt x="25935" y="556504"/>
                  <a:pt x="27931" y="552515"/>
                  <a:pt x="27931" y="552515"/>
                </a:cubicBezTo>
                <a:cubicBezTo>
                  <a:pt x="27931" y="552515"/>
                  <a:pt x="27931" y="548526"/>
                  <a:pt x="27931" y="546531"/>
                </a:cubicBezTo>
                <a:cubicBezTo>
                  <a:pt x="27931" y="546531"/>
                  <a:pt x="27931" y="540547"/>
                  <a:pt x="25935" y="538552"/>
                </a:cubicBezTo>
                <a:cubicBezTo>
                  <a:pt x="25935" y="536558"/>
                  <a:pt x="19950" y="526585"/>
                  <a:pt x="19950" y="526585"/>
                </a:cubicBezTo>
                <a:cubicBezTo>
                  <a:pt x="19950" y="526585"/>
                  <a:pt x="13965" y="516611"/>
                  <a:pt x="13965" y="514617"/>
                </a:cubicBezTo>
                <a:cubicBezTo>
                  <a:pt x="13965" y="512622"/>
                  <a:pt x="13965" y="508633"/>
                  <a:pt x="13965" y="506638"/>
                </a:cubicBezTo>
                <a:cubicBezTo>
                  <a:pt x="11970" y="504644"/>
                  <a:pt x="9975" y="500654"/>
                  <a:pt x="7980" y="500654"/>
                </a:cubicBezTo>
                <a:cubicBezTo>
                  <a:pt x="7980" y="498660"/>
                  <a:pt x="1995" y="490681"/>
                  <a:pt x="1995" y="488687"/>
                </a:cubicBezTo>
                <a:cubicBezTo>
                  <a:pt x="0" y="486692"/>
                  <a:pt x="0" y="482703"/>
                  <a:pt x="0" y="480708"/>
                </a:cubicBezTo>
                <a:cubicBezTo>
                  <a:pt x="1995" y="478713"/>
                  <a:pt x="5985" y="474724"/>
                  <a:pt x="5985" y="476719"/>
                </a:cubicBezTo>
                <a:cubicBezTo>
                  <a:pt x="5985" y="478713"/>
                  <a:pt x="5985" y="480708"/>
                  <a:pt x="5985" y="482703"/>
                </a:cubicBezTo>
                <a:cubicBezTo>
                  <a:pt x="7980" y="482703"/>
                  <a:pt x="5985" y="488687"/>
                  <a:pt x="5985" y="490681"/>
                </a:cubicBezTo>
                <a:cubicBezTo>
                  <a:pt x="5985" y="492676"/>
                  <a:pt x="7980" y="494670"/>
                  <a:pt x="7980" y="494670"/>
                </a:cubicBezTo>
                <a:cubicBezTo>
                  <a:pt x="9975" y="496665"/>
                  <a:pt x="11970" y="496665"/>
                  <a:pt x="11970" y="496665"/>
                </a:cubicBezTo>
                <a:cubicBezTo>
                  <a:pt x="13965" y="496665"/>
                  <a:pt x="13965" y="496665"/>
                  <a:pt x="15960" y="498660"/>
                </a:cubicBezTo>
                <a:cubicBezTo>
                  <a:pt x="15960" y="498660"/>
                  <a:pt x="15960" y="502649"/>
                  <a:pt x="15960" y="504644"/>
                </a:cubicBezTo>
                <a:cubicBezTo>
                  <a:pt x="15960" y="506638"/>
                  <a:pt x="15960" y="508633"/>
                  <a:pt x="15960" y="510628"/>
                </a:cubicBezTo>
                <a:cubicBezTo>
                  <a:pt x="17955" y="512622"/>
                  <a:pt x="19950" y="512622"/>
                  <a:pt x="21945" y="512622"/>
                </a:cubicBezTo>
                <a:cubicBezTo>
                  <a:pt x="23940" y="510628"/>
                  <a:pt x="23940" y="508633"/>
                  <a:pt x="23940" y="508633"/>
                </a:cubicBezTo>
                <a:cubicBezTo>
                  <a:pt x="23940" y="506638"/>
                  <a:pt x="23940" y="504644"/>
                  <a:pt x="23940" y="500654"/>
                </a:cubicBezTo>
                <a:cubicBezTo>
                  <a:pt x="23940" y="500654"/>
                  <a:pt x="23940" y="498660"/>
                  <a:pt x="25935" y="498660"/>
                </a:cubicBezTo>
                <a:cubicBezTo>
                  <a:pt x="27931" y="498660"/>
                  <a:pt x="27931" y="500654"/>
                  <a:pt x="27931" y="502649"/>
                </a:cubicBezTo>
                <a:cubicBezTo>
                  <a:pt x="27931" y="504644"/>
                  <a:pt x="27931" y="504644"/>
                  <a:pt x="27931" y="506638"/>
                </a:cubicBezTo>
                <a:cubicBezTo>
                  <a:pt x="25935" y="508633"/>
                  <a:pt x="27931" y="510628"/>
                  <a:pt x="27931" y="510628"/>
                </a:cubicBezTo>
                <a:cubicBezTo>
                  <a:pt x="29926" y="510628"/>
                  <a:pt x="31921" y="510628"/>
                  <a:pt x="33916" y="510628"/>
                </a:cubicBezTo>
                <a:cubicBezTo>
                  <a:pt x="33916" y="508633"/>
                  <a:pt x="35911" y="508633"/>
                  <a:pt x="35911" y="508633"/>
                </a:cubicBezTo>
                <a:cubicBezTo>
                  <a:pt x="35911" y="508633"/>
                  <a:pt x="37906" y="502649"/>
                  <a:pt x="37906" y="502649"/>
                </a:cubicBezTo>
                <a:cubicBezTo>
                  <a:pt x="37906" y="500654"/>
                  <a:pt x="37906" y="496665"/>
                  <a:pt x="37906" y="494670"/>
                </a:cubicBezTo>
                <a:cubicBezTo>
                  <a:pt x="37906" y="492676"/>
                  <a:pt x="37906" y="490681"/>
                  <a:pt x="37906" y="490681"/>
                </a:cubicBezTo>
                <a:cubicBezTo>
                  <a:pt x="37906" y="488687"/>
                  <a:pt x="37906" y="486692"/>
                  <a:pt x="35911" y="486692"/>
                </a:cubicBezTo>
                <a:cubicBezTo>
                  <a:pt x="35911" y="484697"/>
                  <a:pt x="33916" y="482703"/>
                  <a:pt x="33916" y="480708"/>
                </a:cubicBezTo>
                <a:cubicBezTo>
                  <a:pt x="31921" y="480708"/>
                  <a:pt x="31921" y="478713"/>
                  <a:pt x="31921" y="476719"/>
                </a:cubicBezTo>
                <a:cubicBezTo>
                  <a:pt x="31921" y="474724"/>
                  <a:pt x="31921" y="472729"/>
                  <a:pt x="29926" y="470735"/>
                </a:cubicBezTo>
                <a:cubicBezTo>
                  <a:pt x="29926" y="470735"/>
                  <a:pt x="25935" y="466746"/>
                  <a:pt x="23940" y="466746"/>
                </a:cubicBezTo>
                <a:cubicBezTo>
                  <a:pt x="23940" y="466746"/>
                  <a:pt x="21945" y="462756"/>
                  <a:pt x="21945" y="460762"/>
                </a:cubicBezTo>
                <a:cubicBezTo>
                  <a:pt x="19950" y="460762"/>
                  <a:pt x="19950" y="456772"/>
                  <a:pt x="21945" y="454778"/>
                </a:cubicBezTo>
                <a:cubicBezTo>
                  <a:pt x="21945" y="452783"/>
                  <a:pt x="21945" y="450788"/>
                  <a:pt x="21945" y="448794"/>
                </a:cubicBezTo>
                <a:cubicBezTo>
                  <a:pt x="19950" y="448794"/>
                  <a:pt x="17955" y="444804"/>
                  <a:pt x="17955" y="442810"/>
                </a:cubicBezTo>
                <a:cubicBezTo>
                  <a:pt x="17955" y="438821"/>
                  <a:pt x="19950" y="436826"/>
                  <a:pt x="19950" y="436826"/>
                </a:cubicBezTo>
                <a:cubicBezTo>
                  <a:pt x="19950" y="434831"/>
                  <a:pt x="17955" y="428847"/>
                  <a:pt x="19950" y="428847"/>
                </a:cubicBezTo>
                <a:cubicBezTo>
                  <a:pt x="19950" y="426853"/>
                  <a:pt x="23940" y="418874"/>
                  <a:pt x="23940" y="416880"/>
                </a:cubicBezTo>
                <a:cubicBezTo>
                  <a:pt x="25935" y="414885"/>
                  <a:pt x="25935" y="410896"/>
                  <a:pt x="25935" y="408901"/>
                </a:cubicBezTo>
                <a:cubicBezTo>
                  <a:pt x="25935" y="406906"/>
                  <a:pt x="25935" y="402917"/>
                  <a:pt x="27931" y="402917"/>
                </a:cubicBezTo>
                <a:cubicBezTo>
                  <a:pt x="27931" y="400922"/>
                  <a:pt x="27931" y="400922"/>
                  <a:pt x="27931" y="398928"/>
                </a:cubicBezTo>
                <a:cubicBezTo>
                  <a:pt x="27931" y="394939"/>
                  <a:pt x="29926" y="388955"/>
                  <a:pt x="27931" y="386960"/>
                </a:cubicBezTo>
                <a:cubicBezTo>
                  <a:pt x="27931" y="384965"/>
                  <a:pt x="25935" y="386960"/>
                  <a:pt x="25935" y="384965"/>
                </a:cubicBezTo>
                <a:cubicBezTo>
                  <a:pt x="25935" y="380976"/>
                  <a:pt x="29926" y="376987"/>
                  <a:pt x="29926" y="374992"/>
                </a:cubicBezTo>
                <a:cubicBezTo>
                  <a:pt x="31921" y="374992"/>
                  <a:pt x="33916" y="372998"/>
                  <a:pt x="33916" y="371003"/>
                </a:cubicBezTo>
                <a:cubicBezTo>
                  <a:pt x="33916" y="369008"/>
                  <a:pt x="33916" y="365019"/>
                  <a:pt x="33916" y="363024"/>
                </a:cubicBezTo>
                <a:cubicBezTo>
                  <a:pt x="33916" y="361030"/>
                  <a:pt x="35911" y="359035"/>
                  <a:pt x="37906" y="359035"/>
                </a:cubicBezTo>
                <a:cubicBezTo>
                  <a:pt x="39901" y="357040"/>
                  <a:pt x="43891" y="357040"/>
                  <a:pt x="41896" y="359035"/>
                </a:cubicBezTo>
                <a:cubicBezTo>
                  <a:pt x="41896" y="361030"/>
                  <a:pt x="39901" y="365019"/>
                  <a:pt x="39901" y="367014"/>
                </a:cubicBezTo>
                <a:cubicBezTo>
                  <a:pt x="39901" y="369008"/>
                  <a:pt x="41896" y="372998"/>
                  <a:pt x="43891" y="372998"/>
                </a:cubicBezTo>
                <a:cubicBezTo>
                  <a:pt x="43891" y="374992"/>
                  <a:pt x="47881" y="374992"/>
                  <a:pt x="49876" y="372998"/>
                </a:cubicBezTo>
                <a:cubicBezTo>
                  <a:pt x="49876" y="372998"/>
                  <a:pt x="53866" y="361030"/>
                  <a:pt x="53866" y="361030"/>
                </a:cubicBezTo>
                <a:cubicBezTo>
                  <a:pt x="55861" y="359035"/>
                  <a:pt x="57856" y="355046"/>
                  <a:pt x="59851" y="355046"/>
                </a:cubicBezTo>
                <a:cubicBezTo>
                  <a:pt x="61846" y="353051"/>
                  <a:pt x="63841" y="351057"/>
                  <a:pt x="63841" y="351057"/>
                </a:cubicBezTo>
                <a:cubicBezTo>
                  <a:pt x="63841" y="351057"/>
                  <a:pt x="69826" y="349062"/>
                  <a:pt x="71821" y="349062"/>
                </a:cubicBezTo>
                <a:cubicBezTo>
                  <a:pt x="73816" y="349062"/>
                  <a:pt x="77806" y="347067"/>
                  <a:pt x="79801" y="345073"/>
                </a:cubicBezTo>
                <a:cubicBezTo>
                  <a:pt x="81796" y="343078"/>
                  <a:pt x="91771" y="331110"/>
                  <a:pt x="93766" y="329115"/>
                </a:cubicBezTo>
                <a:cubicBezTo>
                  <a:pt x="95761" y="327121"/>
                  <a:pt x="97756" y="325126"/>
                  <a:pt x="99751" y="325126"/>
                </a:cubicBezTo>
                <a:cubicBezTo>
                  <a:pt x="101746" y="323132"/>
                  <a:pt x="103741" y="323132"/>
                  <a:pt x="107731" y="323132"/>
                </a:cubicBezTo>
                <a:cubicBezTo>
                  <a:pt x="107731" y="323132"/>
                  <a:pt x="109726" y="323132"/>
                  <a:pt x="111721" y="321137"/>
                </a:cubicBezTo>
                <a:cubicBezTo>
                  <a:pt x="111721" y="321137"/>
                  <a:pt x="109726" y="317148"/>
                  <a:pt x="111721" y="315153"/>
                </a:cubicBezTo>
                <a:cubicBezTo>
                  <a:pt x="111721" y="313158"/>
                  <a:pt x="113716" y="309169"/>
                  <a:pt x="115711" y="309169"/>
                </a:cubicBezTo>
                <a:cubicBezTo>
                  <a:pt x="115711" y="309169"/>
                  <a:pt x="113716" y="317148"/>
                  <a:pt x="115711" y="317148"/>
                </a:cubicBezTo>
                <a:cubicBezTo>
                  <a:pt x="115711" y="321137"/>
                  <a:pt x="117706" y="321137"/>
                  <a:pt x="119701" y="319142"/>
                </a:cubicBezTo>
                <a:cubicBezTo>
                  <a:pt x="121696" y="317148"/>
                  <a:pt x="121696" y="317148"/>
                  <a:pt x="123691" y="317148"/>
                </a:cubicBezTo>
                <a:cubicBezTo>
                  <a:pt x="125686" y="317148"/>
                  <a:pt x="127681" y="319142"/>
                  <a:pt x="129676" y="319142"/>
                </a:cubicBezTo>
                <a:cubicBezTo>
                  <a:pt x="131672" y="319142"/>
                  <a:pt x="137657" y="317148"/>
                  <a:pt x="139652" y="315153"/>
                </a:cubicBezTo>
                <a:cubicBezTo>
                  <a:pt x="143642" y="313158"/>
                  <a:pt x="145637" y="311164"/>
                  <a:pt x="145637" y="309169"/>
                </a:cubicBezTo>
                <a:cubicBezTo>
                  <a:pt x="147632" y="309169"/>
                  <a:pt x="153617" y="309169"/>
                  <a:pt x="153617" y="309169"/>
                </a:cubicBezTo>
                <a:cubicBezTo>
                  <a:pt x="153617" y="309169"/>
                  <a:pt x="165587" y="309169"/>
                  <a:pt x="167582" y="309169"/>
                </a:cubicBezTo>
                <a:cubicBezTo>
                  <a:pt x="169577" y="307174"/>
                  <a:pt x="177557" y="297201"/>
                  <a:pt x="181547" y="295207"/>
                </a:cubicBezTo>
                <a:cubicBezTo>
                  <a:pt x="183542" y="295207"/>
                  <a:pt x="187532" y="295207"/>
                  <a:pt x="187532" y="295207"/>
                </a:cubicBezTo>
                <a:cubicBezTo>
                  <a:pt x="189527" y="295207"/>
                  <a:pt x="187532" y="299196"/>
                  <a:pt x="189527" y="299196"/>
                </a:cubicBezTo>
                <a:cubicBezTo>
                  <a:pt x="189527" y="299196"/>
                  <a:pt x="193517" y="297201"/>
                  <a:pt x="195512" y="297201"/>
                </a:cubicBezTo>
                <a:cubicBezTo>
                  <a:pt x="197507" y="295207"/>
                  <a:pt x="209477" y="293212"/>
                  <a:pt x="211472" y="293212"/>
                </a:cubicBezTo>
                <a:cubicBezTo>
                  <a:pt x="213467" y="291217"/>
                  <a:pt x="213467" y="291217"/>
                  <a:pt x="215462" y="289223"/>
                </a:cubicBezTo>
                <a:cubicBezTo>
                  <a:pt x="217457" y="289223"/>
                  <a:pt x="217457" y="289223"/>
                  <a:pt x="219452" y="287228"/>
                </a:cubicBezTo>
                <a:cubicBezTo>
                  <a:pt x="221447" y="287228"/>
                  <a:pt x="221447" y="287228"/>
                  <a:pt x="223442" y="287228"/>
                </a:cubicBezTo>
                <a:cubicBezTo>
                  <a:pt x="225437" y="287228"/>
                  <a:pt x="229427" y="285233"/>
                  <a:pt x="231422" y="283239"/>
                </a:cubicBezTo>
                <a:cubicBezTo>
                  <a:pt x="233417" y="283239"/>
                  <a:pt x="237408" y="279250"/>
                  <a:pt x="239403" y="277255"/>
                </a:cubicBezTo>
                <a:cubicBezTo>
                  <a:pt x="241398" y="275260"/>
                  <a:pt x="247383" y="271271"/>
                  <a:pt x="247383" y="269276"/>
                </a:cubicBezTo>
                <a:cubicBezTo>
                  <a:pt x="247383" y="267282"/>
                  <a:pt x="249378" y="265287"/>
                  <a:pt x="249378" y="263292"/>
                </a:cubicBezTo>
                <a:cubicBezTo>
                  <a:pt x="249378" y="261298"/>
                  <a:pt x="249378" y="257309"/>
                  <a:pt x="249378" y="255314"/>
                </a:cubicBezTo>
                <a:cubicBezTo>
                  <a:pt x="249378" y="255314"/>
                  <a:pt x="249378" y="251325"/>
                  <a:pt x="251373" y="249330"/>
                </a:cubicBezTo>
                <a:cubicBezTo>
                  <a:pt x="251373" y="247335"/>
                  <a:pt x="251373" y="245341"/>
                  <a:pt x="255363" y="245341"/>
                </a:cubicBezTo>
                <a:cubicBezTo>
                  <a:pt x="255363" y="245341"/>
                  <a:pt x="261348" y="245341"/>
                  <a:pt x="261348" y="243346"/>
                </a:cubicBezTo>
                <a:cubicBezTo>
                  <a:pt x="263343" y="241351"/>
                  <a:pt x="263343" y="235368"/>
                  <a:pt x="263343" y="233373"/>
                </a:cubicBezTo>
                <a:cubicBezTo>
                  <a:pt x="263343" y="233373"/>
                  <a:pt x="265338" y="219410"/>
                  <a:pt x="265338" y="217416"/>
                </a:cubicBezTo>
                <a:cubicBezTo>
                  <a:pt x="265338" y="217416"/>
                  <a:pt x="265338" y="211432"/>
                  <a:pt x="267333" y="209437"/>
                </a:cubicBezTo>
                <a:cubicBezTo>
                  <a:pt x="267333" y="207443"/>
                  <a:pt x="267333" y="201459"/>
                  <a:pt x="267333" y="199464"/>
                </a:cubicBezTo>
                <a:cubicBezTo>
                  <a:pt x="269328" y="197469"/>
                  <a:pt x="269328" y="197469"/>
                  <a:pt x="269328" y="197469"/>
                </a:cubicBezTo>
                <a:cubicBezTo>
                  <a:pt x="273318" y="195475"/>
                  <a:pt x="273318" y="197469"/>
                  <a:pt x="273318" y="195475"/>
                </a:cubicBezTo>
                <a:cubicBezTo>
                  <a:pt x="273318" y="193480"/>
                  <a:pt x="271323" y="191485"/>
                  <a:pt x="273318" y="191485"/>
                </a:cubicBezTo>
                <a:cubicBezTo>
                  <a:pt x="273318" y="189491"/>
                  <a:pt x="277308" y="187496"/>
                  <a:pt x="277308" y="187496"/>
                </a:cubicBezTo>
                <a:cubicBezTo>
                  <a:pt x="279303" y="185502"/>
                  <a:pt x="281298" y="183507"/>
                  <a:pt x="281298" y="181512"/>
                </a:cubicBezTo>
                <a:cubicBezTo>
                  <a:pt x="283293" y="179518"/>
                  <a:pt x="283293" y="179518"/>
                  <a:pt x="285288" y="179518"/>
                </a:cubicBezTo>
                <a:cubicBezTo>
                  <a:pt x="287283" y="177523"/>
                  <a:pt x="289278" y="175528"/>
                  <a:pt x="289278" y="177523"/>
                </a:cubicBezTo>
                <a:cubicBezTo>
                  <a:pt x="291273" y="179518"/>
                  <a:pt x="289278" y="183507"/>
                  <a:pt x="289278" y="185502"/>
                </a:cubicBezTo>
                <a:cubicBezTo>
                  <a:pt x="289278" y="187496"/>
                  <a:pt x="289278" y="189491"/>
                  <a:pt x="291273" y="191485"/>
                </a:cubicBezTo>
                <a:cubicBezTo>
                  <a:pt x="291273" y="191485"/>
                  <a:pt x="293268" y="199464"/>
                  <a:pt x="295263" y="201459"/>
                </a:cubicBezTo>
                <a:cubicBezTo>
                  <a:pt x="297258" y="205448"/>
                  <a:pt x="297258" y="207443"/>
                  <a:pt x="297258" y="209437"/>
                </a:cubicBezTo>
                <a:cubicBezTo>
                  <a:pt x="297258" y="211432"/>
                  <a:pt x="297258" y="215421"/>
                  <a:pt x="299253" y="217416"/>
                </a:cubicBezTo>
                <a:cubicBezTo>
                  <a:pt x="299253" y="217416"/>
                  <a:pt x="301248" y="215421"/>
                  <a:pt x="301248" y="213427"/>
                </a:cubicBezTo>
                <a:cubicBezTo>
                  <a:pt x="299253" y="211432"/>
                  <a:pt x="299253" y="209437"/>
                  <a:pt x="299253" y="207443"/>
                </a:cubicBezTo>
                <a:cubicBezTo>
                  <a:pt x="301248" y="205448"/>
                  <a:pt x="303243" y="201459"/>
                  <a:pt x="305238" y="203453"/>
                </a:cubicBezTo>
                <a:cubicBezTo>
                  <a:pt x="307233" y="203453"/>
                  <a:pt x="307233" y="207443"/>
                  <a:pt x="309228" y="205448"/>
                </a:cubicBezTo>
                <a:cubicBezTo>
                  <a:pt x="309228" y="205448"/>
                  <a:pt x="309228" y="199464"/>
                  <a:pt x="309228" y="199464"/>
                </a:cubicBezTo>
                <a:cubicBezTo>
                  <a:pt x="309228" y="197469"/>
                  <a:pt x="311223" y="199464"/>
                  <a:pt x="311223" y="195475"/>
                </a:cubicBezTo>
                <a:cubicBezTo>
                  <a:pt x="311223" y="193480"/>
                  <a:pt x="305238" y="191485"/>
                  <a:pt x="305238" y="191485"/>
                </a:cubicBezTo>
                <a:cubicBezTo>
                  <a:pt x="303243" y="189491"/>
                  <a:pt x="303243" y="187496"/>
                  <a:pt x="303243" y="187496"/>
                </a:cubicBezTo>
                <a:cubicBezTo>
                  <a:pt x="301248" y="185502"/>
                  <a:pt x="299253" y="185502"/>
                  <a:pt x="299253" y="183507"/>
                </a:cubicBezTo>
                <a:cubicBezTo>
                  <a:pt x="301248" y="181512"/>
                  <a:pt x="303243" y="181512"/>
                  <a:pt x="303243" y="181512"/>
                </a:cubicBezTo>
                <a:cubicBezTo>
                  <a:pt x="305238" y="179518"/>
                  <a:pt x="303243" y="179518"/>
                  <a:pt x="303243" y="175528"/>
                </a:cubicBezTo>
                <a:cubicBezTo>
                  <a:pt x="303243" y="173534"/>
                  <a:pt x="303243" y="171539"/>
                  <a:pt x="305238" y="171539"/>
                </a:cubicBezTo>
                <a:cubicBezTo>
                  <a:pt x="307233" y="169544"/>
                  <a:pt x="307233" y="173534"/>
                  <a:pt x="309228" y="175528"/>
                </a:cubicBezTo>
                <a:cubicBezTo>
                  <a:pt x="309228" y="177523"/>
                  <a:pt x="307233" y="179518"/>
                  <a:pt x="311223" y="179518"/>
                </a:cubicBezTo>
                <a:cubicBezTo>
                  <a:pt x="313218" y="177523"/>
                  <a:pt x="313218" y="175528"/>
                  <a:pt x="315213" y="177523"/>
                </a:cubicBezTo>
                <a:cubicBezTo>
                  <a:pt x="317208" y="177523"/>
                  <a:pt x="319203" y="179518"/>
                  <a:pt x="321198" y="179518"/>
                </a:cubicBezTo>
                <a:cubicBezTo>
                  <a:pt x="325188" y="181512"/>
                  <a:pt x="327183" y="181512"/>
                  <a:pt x="331173" y="183507"/>
                </a:cubicBezTo>
                <a:cubicBezTo>
                  <a:pt x="333168" y="183507"/>
                  <a:pt x="335163" y="185502"/>
                  <a:pt x="335163" y="183507"/>
                </a:cubicBezTo>
                <a:cubicBezTo>
                  <a:pt x="337158" y="181512"/>
                  <a:pt x="335163" y="179518"/>
                  <a:pt x="335163" y="179518"/>
                </a:cubicBezTo>
                <a:cubicBezTo>
                  <a:pt x="333168" y="179518"/>
                  <a:pt x="327183" y="177523"/>
                  <a:pt x="327183" y="175528"/>
                </a:cubicBezTo>
                <a:cubicBezTo>
                  <a:pt x="327183" y="173534"/>
                  <a:pt x="329178" y="171539"/>
                  <a:pt x="331173" y="171539"/>
                </a:cubicBezTo>
                <a:cubicBezTo>
                  <a:pt x="331173" y="169544"/>
                  <a:pt x="333168" y="169544"/>
                  <a:pt x="333168" y="167550"/>
                </a:cubicBezTo>
                <a:cubicBezTo>
                  <a:pt x="333168" y="165555"/>
                  <a:pt x="327183" y="165555"/>
                  <a:pt x="327183" y="165555"/>
                </a:cubicBezTo>
                <a:cubicBezTo>
                  <a:pt x="325188" y="165555"/>
                  <a:pt x="325188" y="165555"/>
                  <a:pt x="323193" y="161566"/>
                </a:cubicBezTo>
                <a:cubicBezTo>
                  <a:pt x="323193" y="159571"/>
                  <a:pt x="323193" y="157577"/>
                  <a:pt x="325188" y="155582"/>
                </a:cubicBezTo>
                <a:cubicBezTo>
                  <a:pt x="327183" y="153587"/>
                  <a:pt x="327183" y="151593"/>
                  <a:pt x="331173" y="151593"/>
                </a:cubicBezTo>
                <a:cubicBezTo>
                  <a:pt x="333168" y="151593"/>
                  <a:pt x="337158" y="149598"/>
                  <a:pt x="339153" y="151593"/>
                </a:cubicBezTo>
                <a:cubicBezTo>
                  <a:pt x="343144" y="153587"/>
                  <a:pt x="345139" y="155582"/>
                  <a:pt x="347134" y="153587"/>
                </a:cubicBezTo>
                <a:cubicBezTo>
                  <a:pt x="349129" y="153587"/>
                  <a:pt x="349129" y="153587"/>
                  <a:pt x="349129" y="151593"/>
                </a:cubicBezTo>
                <a:cubicBezTo>
                  <a:pt x="347134" y="149598"/>
                  <a:pt x="345139" y="149598"/>
                  <a:pt x="343144" y="147603"/>
                </a:cubicBezTo>
                <a:cubicBezTo>
                  <a:pt x="343144" y="143614"/>
                  <a:pt x="343144" y="141620"/>
                  <a:pt x="345139" y="139625"/>
                </a:cubicBezTo>
                <a:cubicBezTo>
                  <a:pt x="345139" y="137630"/>
                  <a:pt x="347134" y="137630"/>
                  <a:pt x="347134" y="139625"/>
                </a:cubicBezTo>
                <a:cubicBezTo>
                  <a:pt x="349129" y="139625"/>
                  <a:pt x="349129" y="141620"/>
                  <a:pt x="351124" y="141620"/>
                </a:cubicBezTo>
                <a:cubicBezTo>
                  <a:pt x="353119" y="143614"/>
                  <a:pt x="357109" y="143614"/>
                  <a:pt x="357109" y="143614"/>
                </a:cubicBezTo>
                <a:cubicBezTo>
                  <a:pt x="359104" y="141620"/>
                  <a:pt x="361099" y="141620"/>
                  <a:pt x="359104" y="139625"/>
                </a:cubicBezTo>
                <a:cubicBezTo>
                  <a:pt x="359104" y="137630"/>
                  <a:pt x="355114" y="135636"/>
                  <a:pt x="353119" y="135636"/>
                </a:cubicBezTo>
                <a:cubicBezTo>
                  <a:pt x="353119" y="133641"/>
                  <a:pt x="351124" y="131646"/>
                  <a:pt x="351124" y="129652"/>
                </a:cubicBezTo>
                <a:cubicBezTo>
                  <a:pt x="351124" y="127657"/>
                  <a:pt x="349129" y="127657"/>
                  <a:pt x="351124" y="125662"/>
                </a:cubicBezTo>
                <a:cubicBezTo>
                  <a:pt x="351124" y="123668"/>
                  <a:pt x="355114" y="123668"/>
                  <a:pt x="355114" y="121673"/>
                </a:cubicBezTo>
                <a:cubicBezTo>
                  <a:pt x="357109" y="121673"/>
                  <a:pt x="359104" y="119679"/>
                  <a:pt x="361099" y="119679"/>
                </a:cubicBezTo>
                <a:cubicBezTo>
                  <a:pt x="361099" y="117684"/>
                  <a:pt x="361099" y="115689"/>
                  <a:pt x="363094" y="115689"/>
                </a:cubicBezTo>
                <a:cubicBezTo>
                  <a:pt x="365089" y="115689"/>
                  <a:pt x="365089" y="115689"/>
                  <a:pt x="365089" y="117684"/>
                </a:cubicBezTo>
                <a:cubicBezTo>
                  <a:pt x="365089" y="117684"/>
                  <a:pt x="363094" y="121673"/>
                  <a:pt x="365089" y="123668"/>
                </a:cubicBezTo>
                <a:cubicBezTo>
                  <a:pt x="367084" y="123668"/>
                  <a:pt x="371074" y="123668"/>
                  <a:pt x="371074" y="121673"/>
                </a:cubicBezTo>
                <a:cubicBezTo>
                  <a:pt x="371074" y="119679"/>
                  <a:pt x="371074" y="119679"/>
                  <a:pt x="371074" y="117684"/>
                </a:cubicBezTo>
                <a:cubicBezTo>
                  <a:pt x="371074" y="117684"/>
                  <a:pt x="373069" y="115689"/>
                  <a:pt x="375064" y="113695"/>
                </a:cubicBezTo>
                <a:cubicBezTo>
                  <a:pt x="375064" y="111700"/>
                  <a:pt x="373069" y="111700"/>
                  <a:pt x="371074" y="111700"/>
                </a:cubicBezTo>
                <a:cubicBezTo>
                  <a:pt x="371074" y="109705"/>
                  <a:pt x="369079" y="109705"/>
                  <a:pt x="369079" y="107711"/>
                </a:cubicBezTo>
                <a:cubicBezTo>
                  <a:pt x="369079" y="107711"/>
                  <a:pt x="371074" y="101727"/>
                  <a:pt x="373069" y="101727"/>
                </a:cubicBezTo>
                <a:cubicBezTo>
                  <a:pt x="375064" y="101727"/>
                  <a:pt x="375064" y="101727"/>
                  <a:pt x="377059" y="103721"/>
                </a:cubicBezTo>
                <a:cubicBezTo>
                  <a:pt x="379054" y="103721"/>
                  <a:pt x="381049" y="103721"/>
                  <a:pt x="379054" y="105716"/>
                </a:cubicBezTo>
                <a:cubicBezTo>
                  <a:pt x="379054" y="107711"/>
                  <a:pt x="377059" y="109705"/>
                  <a:pt x="377059" y="111700"/>
                </a:cubicBezTo>
                <a:cubicBezTo>
                  <a:pt x="379054" y="111700"/>
                  <a:pt x="379054" y="111700"/>
                  <a:pt x="379054" y="111700"/>
                </a:cubicBezTo>
                <a:cubicBezTo>
                  <a:pt x="381049" y="111700"/>
                  <a:pt x="383044" y="107711"/>
                  <a:pt x="383044" y="107711"/>
                </a:cubicBezTo>
                <a:cubicBezTo>
                  <a:pt x="385039" y="105716"/>
                  <a:pt x="387034" y="103721"/>
                  <a:pt x="387034" y="103721"/>
                </a:cubicBezTo>
                <a:cubicBezTo>
                  <a:pt x="387034" y="105716"/>
                  <a:pt x="387034" y="111700"/>
                  <a:pt x="387034" y="111700"/>
                </a:cubicBezTo>
                <a:cubicBezTo>
                  <a:pt x="387034" y="113695"/>
                  <a:pt x="391024" y="111700"/>
                  <a:pt x="391024" y="111700"/>
                </a:cubicBezTo>
                <a:cubicBezTo>
                  <a:pt x="393019" y="109705"/>
                  <a:pt x="391024" y="107711"/>
                  <a:pt x="391024" y="105716"/>
                </a:cubicBezTo>
                <a:cubicBezTo>
                  <a:pt x="391024" y="103721"/>
                  <a:pt x="391024" y="99732"/>
                  <a:pt x="393019" y="99732"/>
                </a:cubicBezTo>
                <a:cubicBezTo>
                  <a:pt x="393019" y="97738"/>
                  <a:pt x="395014" y="97738"/>
                  <a:pt x="397009" y="97738"/>
                </a:cubicBezTo>
                <a:cubicBezTo>
                  <a:pt x="399004" y="99732"/>
                  <a:pt x="397009" y="99732"/>
                  <a:pt x="399004" y="101727"/>
                </a:cubicBezTo>
                <a:cubicBezTo>
                  <a:pt x="402994" y="101727"/>
                  <a:pt x="404989" y="101727"/>
                  <a:pt x="408979" y="103721"/>
                </a:cubicBezTo>
                <a:cubicBezTo>
                  <a:pt x="410974" y="105716"/>
                  <a:pt x="414964" y="111700"/>
                  <a:pt x="414964" y="113695"/>
                </a:cubicBezTo>
                <a:cubicBezTo>
                  <a:pt x="416959" y="113695"/>
                  <a:pt x="416959" y="117684"/>
                  <a:pt x="418954" y="119679"/>
                </a:cubicBezTo>
                <a:cubicBezTo>
                  <a:pt x="418954" y="121673"/>
                  <a:pt x="422944" y="123668"/>
                  <a:pt x="422944" y="123668"/>
                </a:cubicBezTo>
                <a:cubicBezTo>
                  <a:pt x="422944" y="123668"/>
                  <a:pt x="424939" y="125662"/>
                  <a:pt x="426934" y="127657"/>
                </a:cubicBezTo>
                <a:cubicBezTo>
                  <a:pt x="426934" y="129652"/>
                  <a:pt x="426934" y="131646"/>
                  <a:pt x="426934" y="133641"/>
                </a:cubicBezTo>
                <a:cubicBezTo>
                  <a:pt x="426934" y="135636"/>
                  <a:pt x="426934" y="137630"/>
                  <a:pt x="428929" y="139625"/>
                </a:cubicBezTo>
                <a:cubicBezTo>
                  <a:pt x="428929" y="141620"/>
                  <a:pt x="430924" y="141620"/>
                  <a:pt x="432919" y="139625"/>
                </a:cubicBezTo>
                <a:cubicBezTo>
                  <a:pt x="432919" y="139625"/>
                  <a:pt x="432919" y="135636"/>
                  <a:pt x="432919" y="135636"/>
                </a:cubicBezTo>
                <a:cubicBezTo>
                  <a:pt x="432919" y="133641"/>
                  <a:pt x="432919" y="131646"/>
                  <a:pt x="434914" y="129652"/>
                </a:cubicBezTo>
                <a:cubicBezTo>
                  <a:pt x="436909" y="127657"/>
                  <a:pt x="440899" y="127657"/>
                  <a:pt x="442894" y="127657"/>
                </a:cubicBezTo>
                <a:cubicBezTo>
                  <a:pt x="446885" y="129652"/>
                  <a:pt x="448880" y="129652"/>
                  <a:pt x="450875" y="131646"/>
                </a:cubicBezTo>
                <a:cubicBezTo>
                  <a:pt x="450875" y="131646"/>
                  <a:pt x="448880" y="135636"/>
                  <a:pt x="448880" y="137630"/>
                </a:cubicBezTo>
                <a:cubicBezTo>
                  <a:pt x="446885" y="137630"/>
                  <a:pt x="446885" y="139625"/>
                  <a:pt x="446885" y="141620"/>
                </a:cubicBezTo>
                <a:cubicBezTo>
                  <a:pt x="448880" y="143614"/>
                  <a:pt x="448880" y="145609"/>
                  <a:pt x="450875" y="145609"/>
                </a:cubicBezTo>
                <a:cubicBezTo>
                  <a:pt x="452870" y="145609"/>
                  <a:pt x="454865" y="143614"/>
                  <a:pt x="456860" y="143614"/>
                </a:cubicBezTo>
                <a:cubicBezTo>
                  <a:pt x="456860" y="141620"/>
                  <a:pt x="454865" y="141620"/>
                  <a:pt x="454865" y="139625"/>
                </a:cubicBezTo>
                <a:cubicBezTo>
                  <a:pt x="452870" y="139625"/>
                  <a:pt x="450875" y="139625"/>
                  <a:pt x="452870" y="137630"/>
                </a:cubicBezTo>
                <a:cubicBezTo>
                  <a:pt x="452870" y="135636"/>
                  <a:pt x="452870" y="133641"/>
                  <a:pt x="454865" y="131646"/>
                </a:cubicBezTo>
                <a:cubicBezTo>
                  <a:pt x="454865" y="131646"/>
                  <a:pt x="456860" y="131646"/>
                  <a:pt x="458855" y="133641"/>
                </a:cubicBezTo>
                <a:cubicBezTo>
                  <a:pt x="458855" y="135636"/>
                  <a:pt x="460850" y="133641"/>
                  <a:pt x="462845" y="133641"/>
                </a:cubicBezTo>
                <a:cubicBezTo>
                  <a:pt x="462845" y="133641"/>
                  <a:pt x="468830" y="135636"/>
                  <a:pt x="470825" y="135636"/>
                </a:cubicBezTo>
                <a:cubicBezTo>
                  <a:pt x="472820" y="135636"/>
                  <a:pt x="474815" y="133641"/>
                  <a:pt x="472820" y="133641"/>
                </a:cubicBezTo>
                <a:cubicBezTo>
                  <a:pt x="472820" y="131646"/>
                  <a:pt x="468830" y="129652"/>
                  <a:pt x="468830" y="129652"/>
                </a:cubicBezTo>
                <a:cubicBezTo>
                  <a:pt x="466835" y="129652"/>
                  <a:pt x="464840" y="129652"/>
                  <a:pt x="464840" y="127657"/>
                </a:cubicBezTo>
                <a:cubicBezTo>
                  <a:pt x="464840" y="127657"/>
                  <a:pt x="464840" y="125662"/>
                  <a:pt x="462845" y="123668"/>
                </a:cubicBezTo>
                <a:cubicBezTo>
                  <a:pt x="462845" y="123668"/>
                  <a:pt x="458855" y="121673"/>
                  <a:pt x="458855" y="119679"/>
                </a:cubicBezTo>
                <a:cubicBezTo>
                  <a:pt x="458855" y="117684"/>
                  <a:pt x="458855" y="117684"/>
                  <a:pt x="460850" y="115689"/>
                </a:cubicBezTo>
                <a:cubicBezTo>
                  <a:pt x="462845" y="115689"/>
                  <a:pt x="462845" y="113695"/>
                  <a:pt x="462845" y="111700"/>
                </a:cubicBezTo>
                <a:cubicBezTo>
                  <a:pt x="462845" y="111700"/>
                  <a:pt x="462845" y="107711"/>
                  <a:pt x="462845" y="107711"/>
                </a:cubicBezTo>
                <a:cubicBezTo>
                  <a:pt x="462845" y="107711"/>
                  <a:pt x="466835" y="107711"/>
                  <a:pt x="466835" y="105716"/>
                </a:cubicBezTo>
                <a:cubicBezTo>
                  <a:pt x="468830" y="103721"/>
                  <a:pt x="470825" y="101727"/>
                  <a:pt x="470825" y="99732"/>
                </a:cubicBezTo>
                <a:cubicBezTo>
                  <a:pt x="470825" y="97738"/>
                  <a:pt x="472820" y="89759"/>
                  <a:pt x="474815" y="89759"/>
                </a:cubicBezTo>
                <a:cubicBezTo>
                  <a:pt x="474815" y="87764"/>
                  <a:pt x="474815" y="87764"/>
                  <a:pt x="478805" y="87764"/>
                </a:cubicBezTo>
                <a:cubicBezTo>
                  <a:pt x="480800" y="87764"/>
                  <a:pt x="484790" y="89759"/>
                  <a:pt x="484790" y="87764"/>
                </a:cubicBezTo>
                <a:cubicBezTo>
                  <a:pt x="484790" y="87764"/>
                  <a:pt x="484790" y="79786"/>
                  <a:pt x="484790" y="77791"/>
                </a:cubicBezTo>
                <a:cubicBezTo>
                  <a:pt x="484790" y="77791"/>
                  <a:pt x="484790" y="71807"/>
                  <a:pt x="484790" y="69813"/>
                </a:cubicBezTo>
                <a:cubicBezTo>
                  <a:pt x="484790" y="69813"/>
                  <a:pt x="484790" y="67818"/>
                  <a:pt x="486785" y="67818"/>
                </a:cubicBezTo>
                <a:cubicBezTo>
                  <a:pt x="486785" y="65823"/>
                  <a:pt x="490775" y="65823"/>
                  <a:pt x="490775" y="63829"/>
                </a:cubicBezTo>
                <a:cubicBezTo>
                  <a:pt x="492770" y="63829"/>
                  <a:pt x="494765" y="59839"/>
                  <a:pt x="492770" y="59839"/>
                </a:cubicBezTo>
                <a:cubicBezTo>
                  <a:pt x="492770" y="57845"/>
                  <a:pt x="492770" y="55850"/>
                  <a:pt x="494765" y="55850"/>
                </a:cubicBezTo>
                <a:cubicBezTo>
                  <a:pt x="494765" y="53855"/>
                  <a:pt x="496760" y="53855"/>
                  <a:pt x="496760" y="53855"/>
                </a:cubicBezTo>
                <a:cubicBezTo>
                  <a:pt x="498755" y="53855"/>
                  <a:pt x="498755" y="57845"/>
                  <a:pt x="500750" y="57845"/>
                </a:cubicBezTo>
                <a:cubicBezTo>
                  <a:pt x="502745" y="59839"/>
                  <a:pt x="502745" y="57845"/>
                  <a:pt x="504740" y="55850"/>
                </a:cubicBezTo>
                <a:cubicBezTo>
                  <a:pt x="504740" y="55850"/>
                  <a:pt x="508730" y="49866"/>
                  <a:pt x="510725" y="47872"/>
                </a:cubicBezTo>
                <a:cubicBezTo>
                  <a:pt x="510725" y="47872"/>
                  <a:pt x="514715" y="45877"/>
                  <a:pt x="516710" y="47872"/>
                </a:cubicBezTo>
                <a:cubicBezTo>
                  <a:pt x="518705" y="47872"/>
                  <a:pt x="522695" y="47872"/>
                  <a:pt x="522695" y="49866"/>
                </a:cubicBezTo>
                <a:cubicBezTo>
                  <a:pt x="524690" y="49866"/>
                  <a:pt x="528680" y="49866"/>
                  <a:pt x="530675" y="49866"/>
                </a:cubicBezTo>
                <a:cubicBezTo>
                  <a:pt x="532670" y="49866"/>
                  <a:pt x="534665" y="49866"/>
                  <a:pt x="536660" y="49866"/>
                </a:cubicBezTo>
                <a:cubicBezTo>
                  <a:pt x="538655" y="47872"/>
                  <a:pt x="538655" y="47872"/>
                  <a:pt x="540650" y="47872"/>
                </a:cubicBezTo>
                <a:cubicBezTo>
                  <a:pt x="542645" y="47872"/>
                  <a:pt x="542645" y="47872"/>
                  <a:pt x="544640" y="47872"/>
                </a:cubicBezTo>
                <a:cubicBezTo>
                  <a:pt x="546635" y="47872"/>
                  <a:pt x="548630" y="47872"/>
                  <a:pt x="550626" y="47872"/>
                </a:cubicBezTo>
                <a:cubicBezTo>
                  <a:pt x="550626" y="47872"/>
                  <a:pt x="554616" y="47872"/>
                  <a:pt x="554616" y="47872"/>
                </a:cubicBezTo>
                <a:cubicBezTo>
                  <a:pt x="556611" y="45877"/>
                  <a:pt x="554616" y="39893"/>
                  <a:pt x="554616" y="39893"/>
                </a:cubicBezTo>
                <a:cubicBezTo>
                  <a:pt x="554616" y="37898"/>
                  <a:pt x="552621" y="31914"/>
                  <a:pt x="552621" y="31914"/>
                </a:cubicBezTo>
                <a:cubicBezTo>
                  <a:pt x="550626" y="29920"/>
                  <a:pt x="546635" y="29920"/>
                  <a:pt x="544640" y="29920"/>
                </a:cubicBezTo>
                <a:cubicBezTo>
                  <a:pt x="544640" y="29920"/>
                  <a:pt x="540650" y="31914"/>
                  <a:pt x="538655" y="29920"/>
                </a:cubicBezTo>
                <a:cubicBezTo>
                  <a:pt x="538655" y="29920"/>
                  <a:pt x="532670" y="27925"/>
                  <a:pt x="530675" y="25931"/>
                </a:cubicBezTo>
                <a:cubicBezTo>
                  <a:pt x="530675" y="25931"/>
                  <a:pt x="530675" y="21941"/>
                  <a:pt x="530675" y="21941"/>
                </a:cubicBezTo>
                <a:cubicBezTo>
                  <a:pt x="530675" y="19947"/>
                  <a:pt x="534665" y="19947"/>
                  <a:pt x="534665" y="19947"/>
                </a:cubicBezTo>
                <a:cubicBezTo>
                  <a:pt x="534665" y="19947"/>
                  <a:pt x="536660" y="21941"/>
                  <a:pt x="538655" y="21941"/>
                </a:cubicBezTo>
                <a:cubicBezTo>
                  <a:pt x="540650" y="21941"/>
                  <a:pt x="542645" y="21941"/>
                  <a:pt x="544640" y="21941"/>
                </a:cubicBezTo>
                <a:cubicBezTo>
                  <a:pt x="546635" y="19947"/>
                  <a:pt x="548630" y="19947"/>
                  <a:pt x="548630" y="21941"/>
                </a:cubicBezTo>
                <a:cubicBezTo>
                  <a:pt x="550626" y="21941"/>
                  <a:pt x="550626" y="23936"/>
                  <a:pt x="552621" y="23936"/>
                </a:cubicBezTo>
                <a:cubicBezTo>
                  <a:pt x="552621" y="25931"/>
                  <a:pt x="554616" y="25931"/>
                  <a:pt x="556611" y="25931"/>
                </a:cubicBezTo>
                <a:cubicBezTo>
                  <a:pt x="558606" y="25931"/>
                  <a:pt x="560601" y="25931"/>
                  <a:pt x="560601" y="27925"/>
                </a:cubicBezTo>
                <a:cubicBezTo>
                  <a:pt x="562596" y="27925"/>
                  <a:pt x="564591" y="31914"/>
                  <a:pt x="564591" y="33909"/>
                </a:cubicBezTo>
                <a:cubicBezTo>
                  <a:pt x="564591" y="33909"/>
                  <a:pt x="566586" y="35904"/>
                  <a:pt x="568581" y="35904"/>
                </a:cubicBezTo>
                <a:cubicBezTo>
                  <a:pt x="568581" y="37898"/>
                  <a:pt x="574566" y="37898"/>
                  <a:pt x="576561" y="37898"/>
                </a:cubicBezTo>
                <a:cubicBezTo>
                  <a:pt x="576561" y="35904"/>
                  <a:pt x="572571" y="33909"/>
                  <a:pt x="572571" y="31914"/>
                </a:cubicBezTo>
                <a:cubicBezTo>
                  <a:pt x="572571" y="29920"/>
                  <a:pt x="570576" y="29920"/>
                  <a:pt x="572571" y="29920"/>
                </a:cubicBezTo>
                <a:cubicBezTo>
                  <a:pt x="572571" y="29920"/>
                  <a:pt x="578556" y="31914"/>
                  <a:pt x="580551" y="33909"/>
                </a:cubicBezTo>
                <a:cubicBezTo>
                  <a:pt x="580551" y="35904"/>
                  <a:pt x="580551" y="35904"/>
                  <a:pt x="582546" y="35904"/>
                </a:cubicBezTo>
                <a:cubicBezTo>
                  <a:pt x="586536" y="37898"/>
                  <a:pt x="590526" y="35904"/>
                  <a:pt x="590526" y="37898"/>
                </a:cubicBezTo>
                <a:cubicBezTo>
                  <a:pt x="590526" y="39893"/>
                  <a:pt x="588531" y="41888"/>
                  <a:pt x="590526" y="41888"/>
                </a:cubicBezTo>
                <a:cubicBezTo>
                  <a:pt x="592521" y="43882"/>
                  <a:pt x="598506" y="43882"/>
                  <a:pt x="598506" y="41888"/>
                </a:cubicBezTo>
                <a:cubicBezTo>
                  <a:pt x="600501" y="41888"/>
                  <a:pt x="600501" y="41888"/>
                  <a:pt x="602496" y="41888"/>
                </a:cubicBezTo>
                <a:cubicBezTo>
                  <a:pt x="604491" y="41888"/>
                  <a:pt x="608481" y="43882"/>
                  <a:pt x="608481" y="43882"/>
                </a:cubicBezTo>
                <a:cubicBezTo>
                  <a:pt x="608481" y="43882"/>
                  <a:pt x="610476" y="45877"/>
                  <a:pt x="612471" y="47872"/>
                </a:cubicBezTo>
                <a:cubicBezTo>
                  <a:pt x="614466" y="47872"/>
                  <a:pt x="618456" y="47872"/>
                  <a:pt x="620451" y="47872"/>
                </a:cubicBezTo>
                <a:cubicBezTo>
                  <a:pt x="622446" y="47872"/>
                  <a:pt x="628431" y="49866"/>
                  <a:pt x="630426" y="49866"/>
                </a:cubicBezTo>
                <a:cubicBezTo>
                  <a:pt x="632421" y="47872"/>
                  <a:pt x="632421" y="47872"/>
                  <a:pt x="634416" y="45877"/>
                </a:cubicBezTo>
                <a:cubicBezTo>
                  <a:pt x="634416" y="45877"/>
                  <a:pt x="634416" y="43882"/>
                  <a:pt x="636411" y="43882"/>
                </a:cubicBezTo>
                <a:cubicBezTo>
                  <a:pt x="640401" y="43882"/>
                  <a:pt x="640401" y="47872"/>
                  <a:pt x="640401" y="47872"/>
                </a:cubicBezTo>
                <a:cubicBezTo>
                  <a:pt x="638406" y="49866"/>
                  <a:pt x="636411" y="51861"/>
                  <a:pt x="636411" y="51861"/>
                </a:cubicBezTo>
                <a:cubicBezTo>
                  <a:pt x="638406" y="53855"/>
                  <a:pt x="640401" y="55850"/>
                  <a:pt x="640401" y="55850"/>
                </a:cubicBezTo>
                <a:cubicBezTo>
                  <a:pt x="642396" y="55850"/>
                  <a:pt x="644391" y="51861"/>
                  <a:pt x="644391" y="51861"/>
                </a:cubicBezTo>
                <a:cubicBezTo>
                  <a:pt x="644391" y="49866"/>
                  <a:pt x="644391" y="47872"/>
                  <a:pt x="644391" y="45877"/>
                </a:cubicBezTo>
                <a:cubicBezTo>
                  <a:pt x="644391" y="43882"/>
                  <a:pt x="642396" y="43882"/>
                  <a:pt x="642396" y="41888"/>
                </a:cubicBezTo>
                <a:cubicBezTo>
                  <a:pt x="640401" y="41888"/>
                  <a:pt x="640401" y="39893"/>
                  <a:pt x="640401" y="39893"/>
                </a:cubicBezTo>
                <a:cubicBezTo>
                  <a:pt x="642396" y="39893"/>
                  <a:pt x="646386" y="39893"/>
                  <a:pt x="648381" y="37898"/>
                </a:cubicBezTo>
                <a:cubicBezTo>
                  <a:pt x="648381" y="37898"/>
                  <a:pt x="648381" y="35904"/>
                  <a:pt x="650376" y="35904"/>
                </a:cubicBezTo>
                <a:cubicBezTo>
                  <a:pt x="652371" y="35904"/>
                  <a:pt x="654367" y="35904"/>
                  <a:pt x="654367" y="37898"/>
                </a:cubicBezTo>
                <a:cubicBezTo>
                  <a:pt x="652371" y="37898"/>
                  <a:pt x="650376" y="41888"/>
                  <a:pt x="652371" y="43882"/>
                </a:cubicBezTo>
                <a:cubicBezTo>
                  <a:pt x="652371" y="45877"/>
                  <a:pt x="652371" y="47872"/>
                  <a:pt x="654367" y="45877"/>
                </a:cubicBezTo>
                <a:cubicBezTo>
                  <a:pt x="656362" y="45877"/>
                  <a:pt x="658357" y="43882"/>
                  <a:pt x="660352" y="43882"/>
                </a:cubicBezTo>
                <a:cubicBezTo>
                  <a:pt x="660352" y="43882"/>
                  <a:pt x="664342" y="47872"/>
                  <a:pt x="664342" y="49866"/>
                </a:cubicBezTo>
                <a:cubicBezTo>
                  <a:pt x="664342" y="49866"/>
                  <a:pt x="666337" y="51861"/>
                  <a:pt x="664342" y="53855"/>
                </a:cubicBezTo>
                <a:cubicBezTo>
                  <a:pt x="662347" y="53855"/>
                  <a:pt x="660352" y="55850"/>
                  <a:pt x="660352" y="55850"/>
                </a:cubicBezTo>
                <a:cubicBezTo>
                  <a:pt x="660352" y="55850"/>
                  <a:pt x="658357" y="55850"/>
                  <a:pt x="658357" y="57845"/>
                </a:cubicBezTo>
                <a:cubicBezTo>
                  <a:pt x="658357" y="59839"/>
                  <a:pt x="658357" y="59839"/>
                  <a:pt x="658357" y="59839"/>
                </a:cubicBezTo>
                <a:cubicBezTo>
                  <a:pt x="656362" y="61834"/>
                  <a:pt x="654367" y="61834"/>
                  <a:pt x="654367" y="63829"/>
                </a:cubicBezTo>
                <a:cubicBezTo>
                  <a:pt x="652371" y="63829"/>
                  <a:pt x="652371" y="63829"/>
                  <a:pt x="652371" y="65823"/>
                </a:cubicBezTo>
                <a:cubicBezTo>
                  <a:pt x="652371" y="67818"/>
                  <a:pt x="654367" y="69813"/>
                  <a:pt x="654367" y="71807"/>
                </a:cubicBezTo>
                <a:cubicBezTo>
                  <a:pt x="654367" y="73802"/>
                  <a:pt x="652371" y="75796"/>
                  <a:pt x="652371" y="75796"/>
                </a:cubicBezTo>
                <a:cubicBezTo>
                  <a:pt x="652371" y="77791"/>
                  <a:pt x="648381" y="79786"/>
                  <a:pt x="646386" y="79786"/>
                </a:cubicBezTo>
                <a:cubicBezTo>
                  <a:pt x="646386" y="79786"/>
                  <a:pt x="644391" y="79786"/>
                  <a:pt x="640401" y="79786"/>
                </a:cubicBezTo>
                <a:cubicBezTo>
                  <a:pt x="638406" y="79786"/>
                  <a:pt x="636411" y="79786"/>
                  <a:pt x="634416" y="79786"/>
                </a:cubicBezTo>
                <a:cubicBezTo>
                  <a:pt x="634416" y="79786"/>
                  <a:pt x="632421" y="81780"/>
                  <a:pt x="632421" y="81780"/>
                </a:cubicBezTo>
                <a:cubicBezTo>
                  <a:pt x="634416" y="83775"/>
                  <a:pt x="636411" y="85770"/>
                  <a:pt x="634416" y="85770"/>
                </a:cubicBezTo>
                <a:cubicBezTo>
                  <a:pt x="632421" y="87764"/>
                  <a:pt x="628431" y="87764"/>
                  <a:pt x="628431" y="89759"/>
                </a:cubicBezTo>
                <a:cubicBezTo>
                  <a:pt x="628431" y="91754"/>
                  <a:pt x="628431" y="93748"/>
                  <a:pt x="630426" y="93748"/>
                </a:cubicBezTo>
                <a:cubicBezTo>
                  <a:pt x="632421" y="93748"/>
                  <a:pt x="634416" y="93748"/>
                  <a:pt x="636411" y="93748"/>
                </a:cubicBezTo>
                <a:cubicBezTo>
                  <a:pt x="636411" y="95743"/>
                  <a:pt x="634416" y="97738"/>
                  <a:pt x="632421" y="97738"/>
                </a:cubicBezTo>
                <a:cubicBezTo>
                  <a:pt x="632421" y="99732"/>
                  <a:pt x="630426" y="99732"/>
                  <a:pt x="632421" y="101727"/>
                </a:cubicBezTo>
                <a:cubicBezTo>
                  <a:pt x="632421" y="103721"/>
                  <a:pt x="634416" y="103721"/>
                  <a:pt x="634416" y="107711"/>
                </a:cubicBezTo>
                <a:cubicBezTo>
                  <a:pt x="634416" y="107711"/>
                  <a:pt x="630426" y="111700"/>
                  <a:pt x="630426" y="113695"/>
                </a:cubicBezTo>
                <a:cubicBezTo>
                  <a:pt x="628431" y="113695"/>
                  <a:pt x="624441" y="123668"/>
                  <a:pt x="624441" y="123668"/>
                </a:cubicBezTo>
                <a:cubicBezTo>
                  <a:pt x="622446" y="125662"/>
                  <a:pt x="622446" y="131646"/>
                  <a:pt x="622446" y="133641"/>
                </a:cubicBezTo>
                <a:cubicBezTo>
                  <a:pt x="622446" y="135636"/>
                  <a:pt x="622446" y="137630"/>
                  <a:pt x="622446" y="137630"/>
                </a:cubicBezTo>
                <a:cubicBezTo>
                  <a:pt x="624441" y="139625"/>
                  <a:pt x="628431" y="141620"/>
                  <a:pt x="628431" y="143614"/>
                </a:cubicBezTo>
                <a:cubicBezTo>
                  <a:pt x="630426" y="143614"/>
                  <a:pt x="632421" y="145609"/>
                  <a:pt x="634416" y="145609"/>
                </a:cubicBezTo>
                <a:cubicBezTo>
                  <a:pt x="636411" y="147603"/>
                  <a:pt x="636411" y="147603"/>
                  <a:pt x="636411" y="149598"/>
                </a:cubicBezTo>
                <a:cubicBezTo>
                  <a:pt x="636411" y="151593"/>
                  <a:pt x="638406" y="155582"/>
                  <a:pt x="640401" y="155582"/>
                </a:cubicBezTo>
                <a:cubicBezTo>
                  <a:pt x="640401" y="157577"/>
                  <a:pt x="644391" y="157577"/>
                  <a:pt x="644391" y="157577"/>
                </a:cubicBezTo>
                <a:cubicBezTo>
                  <a:pt x="646386" y="157577"/>
                  <a:pt x="648381" y="161566"/>
                  <a:pt x="648381" y="165555"/>
                </a:cubicBezTo>
                <a:cubicBezTo>
                  <a:pt x="650376" y="167550"/>
                  <a:pt x="652371" y="167550"/>
                  <a:pt x="652371" y="167550"/>
                </a:cubicBezTo>
                <a:cubicBezTo>
                  <a:pt x="654367" y="165555"/>
                  <a:pt x="652371" y="161566"/>
                  <a:pt x="652371" y="161566"/>
                </a:cubicBezTo>
                <a:cubicBezTo>
                  <a:pt x="652371" y="159571"/>
                  <a:pt x="652371" y="157577"/>
                  <a:pt x="654367" y="159571"/>
                </a:cubicBezTo>
                <a:cubicBezTo>
                  <a:pt x="656362" y="161566"/>
                  <a:pt x="656362" y="165555"/>
                  <a:pt x="656362" y="165555"/>
                </a:cubicBezTo>
                <a:cubicBezTo>
                  <a:pt x="658357" y="165555"/>
                  <a:pt x="658357" y="161566"/>
                  <a:pt x="658357" y="161566"/>
                </a:cubicBezTo>
                <a:cubicBezTo>
                  <a:pt x="658357" y="159571"/>
                  <a:pt x="658357" y="157577"/>
                  <a:pt x="656362" y="155582"/>
                </a:cubicBezTo>
                <a:cubicBezTo>
                  <a:pt x="654367" y="153587"/>
                  <a:pt x="652371" y="153587"/>
                  <a:pt x="652371" y="151593"/>
                </a:cubicBezTo>
                <a:cubicBezTo>
                  <a:pt x="652371" y="149598"/>
                  <a:pt x="652371" y="149598"/>
                  <a:pt x="654367" y="149598"/>
                </a:cubicBezTo>
                <a:cubicBezTo>
                  <a:pt x="656362" y="151593"/>
                  <a:pt x="658357" y="151593"/>
                  <a:pt x="660352" y="151593"/>
                </a:cubicBezTo>
                <a:cubicBezTo>
                  <a:pt x="662347" y="151593"/>
                  <a:pt x="662347" y="153587"/>
                  <a:pt x="662347" y="153587"/>
                </a:cubicBezTo>
                <a:cubicBezTo>
                  <a:pt x="662347" y="155582"/>
                  <a:pt x="662347" y="157577"/>
                  <a:pt x="662347" y="159571"/>
                </a:cubicBezTo>
                <a:cubicBezTo>
                  <a:pt x="662347" y="161566"/>
                  <a:pt x="662347" y="163561"/>
                  <a:pt x="662347" y="165555"/>
                </a:cubicBezTo>
                <a:cubicBezTo>
                  <a:pt x="662347" y="165555"/>
                  <a:pt x="660352" y="165555"/>
                  <a:pt x="662347" y="167550"/>
                </a:cubicBezTo>
                <a:cubicBezTo>
                  <a:pt x="664342" y="169544"/>
                  <a:pt x="666337" y="167550"/>
                  <a:pt x="668332" y="167550"/>
                </a:cubicBezTo>
                <a:cubicBezTo>
                  <a:pt x="670327" y="167550"/>
                  <a:pt x="674317" y="169544"/>
                  <a:pt x="674317" y="171539"/>
                </a:cubicBezTo>
                <a:cubicBezTo>
                  <a:pt x="674317" y="173534"/>
                  <a:pt x="674317" y="173534"/>
                  <a:pt x="674317" y="175528"/>
                </a:cubicBezTo>
                <a:cubicBezTo>
                  <a:pt x="676312" y="177523"/>
                  <a:pt x="678307" y="177523"/>
                  <a:pt x="680302" y="179518"/>
                </a:cubicBezTo>
                <a:cubicBezTo>
                  <a:pt x="682297" y="179518"/>
                  <a:pt x="682297" y="179518"/>
                  <a:pt x="684292" y="183507"/>
                </a:cubicBezTo>
                <a:cubicBezTo>
                  <a:pt x="686287" y="185502"/>
                  <a:pt x="686287" y="187496"/>
                  <a:pt x="688282" y="187496"/>
                </a:cubicBezTo>
                <a:cubicBezTo>
                  <a:pt x="690277" y="189491"/>
                  <a:pt x="690277" y="189491"/>
                  <a:pt x="692272" y="191485"/>
                </a:cubicBezTo>
                <a:cubicBezTo>
                  <a:pt x="694267" y="191485"/>
                  <a:pt x="698257" y="191485"/>
                  <a:pt x="700252" y="191485"/>
                </a:cubicBezTo>
                <a:cubicBezTo>
                  <a:pt x="700252" y="191485"/>
                  <a:pt x="704242" y="193480"/>
                  <a:pt x="706237" y="193480"/>
                </a:cubicBezTo>
                <a:cubicBezTo>
                  <a:pt x="708232" y="195475"/>
                  <a:pt x="708232" y="195475"/>
                  <a:pt x="710227" y="195475"/>
                </a:cubicBezTo>
                <a:cubicBezTo>
                  <a:pt x="710227" y="197469"/>
                  <a:pt x="710227" y="201459"/>
                  <a:pt x="712222" y="203453"/>
                </a:cubicBezTo>
                <a:cubicBezTo>
                  <a:pt x="712222" y="205448"/>
                  <a:pt x="712222" y="207443"/>
                  <a:pt x="712222" y="207443"/>
                </a:cubicBezTo>
                <a:cubicBezTo>
                  <a:pt x="714217" y="209437"/>
                  <a:pt x="718207" y="211432"/>
                  <a:pt x="720202" y="213427"/>
                </a:cubicBezTo>
                <a:cubicBezTo>
                  <a:pt x="724192" y="213427"/>
                  <a:pt x="730177" y="219410"/>
                  <a:pt x="730177" y="219410"/>
                </a:cubicBezTo>
                <a:cubicBezTo>
                  <a:pt x="732172" y="219410"/>
                  <a:pt x="734167" y="221405"/>
                  <a:pt x="736162" y="221405"/>
                </a:cubicBezTo>
                <a:cubicBezTo>
                  <a:pt x="738157" y="221405"/>
                  <a:pt x="744142" y="221405"/>
                  <a:pt x="746137" y="219410"/>
                </a:cubicBezTo>
                <a:cubicBezTo>
                  <a:pt x="748132" y="219410"/>
                  <a:pt x="754117" y="213427"/>
                  <a:pt x="754117" y="211432"/>
                </a:cubicBezTo>
                <a:cubicBezTo>
                  <a:pt x="756112" y="207443"/>
                  <a:pt x="760103" y="193480"/>
                  <a:pt x="760103" y="193480"/>
                </a:cubicBezTo>
                <a:cubicBezTo>
                  <a:pt x="760103" y="193480"/>
                  <a:pt x="768083" y="173534"/>
                  <a:pt x="770078" y="171539"/>
                </a:cubicBezTo>
                <a:cubicBezTo>
                  <a:pt x="770078" y="169544"/>
                  <a:pt x="776063" y="147603"/>
                  <a:pt x="776063" y="147603"/>
                </a:cubicBezTo>
                <a:cubicBezTo>
                  <a:pt x="776063" y="147603"/>
                  <a:pt x="780053" y="139625"/>
                  <a:pt x="780053" y="137630"/>
                </a:cubicBezTo>
                <a:cubicBezTo>
                  <a:pt x="782048" y="137630"/>
                  <a:pt x="782048" y="135636"/>
                  <a:pt x="782048" y="133641"/>
                </a:cubicBezTo>
                <a:cubicBezTo>
                  <a:pt x="782048" y="131646"/>
                  <a:pt x="780053" y="117684"/>
                  <a:pt x="780053" y="115689"/>
                </a:cubicBezTo>
                <a:cubicBezTo>
                  <a:pt x="780053" y="115689"/>
                  <a:pt x="782048" y="105716"/>
                  <a:pt x="782048" y="103721"/>
                </a:cubicBezTo>
                <a:cubicBezTo>
                  <a:pt x="782048" y="103721"/>
                  <a:pt x="780053" y="99732"/>
                  <a:pt x="780053" y="97738"/>
                </a:cubicBezTo>
                <a:cubicBezTo>
                  <a:pt x="780053" y="95743"/>
                  <a:pt x="780053" y="91754"/>
                  <a:pt x="780053" y="89759"/>
                </a:cubicBezTo>
                <a:cubicBezTo>
                  <a:pt x="782048" y="89759"/>
                  <a:pt x="784043" y="89759"/>
                  <a:pt x="784043" y="87764"/>
                </a:cubicBezTo>
                <a:cubicBezTo>
                  <a:pt x="786038" y="87764"/>
                  <a:pt x="784043" y="81780"/>
                  <a:pt x="784043" y="81780"/>
                </a:cubicBezTo>
                <a:cubicBezTo>
                  <a:pt x="784043" y="79786"/>
                  <a:pt x="784043" y="75796"/>
                  <a:pt x="784043" y="73802"/>
                </a:cubicBezTo>
                <a:cubicBezTo>
                  <a:pt x="784043" y="71807"/>
                  <a:pt x="786038" y="65823"/>
                  <a:pt x="788033" y="65823"/>
                </a:cubicBezTo>
                <a:cubicBezTo>
                  <a:pt x="790028" y="63829"/>
                  <a:pt x="792023" y="63829"/>
                  <a:pt x="792023" y="61834"/>
                </a:cubicBezTo>
                <a:cubicBezTo>
                  <a:pt x="792023" y="59839"/>
                  <a:pt x="792023" y="59839"/>
                  <a:pt x="792023" y="57845"/>
                </a:cubicBezTo>
                <a:cubicBezTo>
                  <a:pt x="790028" y="55850"/>
                  <a:pt x="788033" y="49866"/>
                  <a:pt x="788033" y="47872"/>
                </a:cubicBezTo>
                <a:cubicBezTo>
                  <a:pt x="790028" y="45877"/>
                  <a:pt x="796013" y="39893"/>
                  <a:pt x="796013" y="39893"/>
                </a:cubicBezTo>
                <a:cubicBezTo>
                  <a:pt x="796013" y="39893"/>
                  <a:pt x="798008" y="37898"/>
                  <a:pt x="800003" y="35904"/>
                </a:cubicBezTo>
                <a:cubicBezTo>
                  <a:pt x="800003" y="35904"/>
                  <a:pt x="800003" y="25931"/>
                  <a:pt x="800003" y="23936"/>
                </a:cubicBezTo>
                <a:cubicBezTo>
                  <a:pt x="801998" y="19947"/>
                  <a:pt x="801998" y="11968"/>
                  <a:pt x="801998" y="9973"/>
                </a:cubicBezTo>
                <a:cubicBezTo>
                  <a:pt x="803993" y="7979"/>
                  <a:pt x="805988" y="5984"/>
                  <a:pt x="805988" y="5984"/>
                </a:cubicBezTo>
                <a:cubicBezTo>
                  <a:pt x="807983" y="3990"/>
                  <a:pt x="811973" y="1995"/>
                  <a:pt x="811973" y="1995"/>
                </a:cubicBezTo>
                <a:cubicBezTo>
                  <a:pt x="813968" y="0"/>
                  <a:pt x="813968" y="0"/>
                  <a:pt x="813968"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0" name="New Zealand"/>
          <p:cNvSpPr>
            <a:spLocks/>
          </p:cNvSpPr>
          <p:nvPr/>
        </p:nvSpPr>
        <p:spPr bwMode="auto">
          <a:xfrm>
            <a:off x="10303425" y="5196320"/>
            <a:ext cx="645345" cy="753564"/>
          </a:xfrm>
          <a:custGeom>
            <a:avLst/>
            <a:gdLst>
              <a:gd name="connsiteX0" fmla="*/ 1187 w 627290"/>
              <a:gd name="connsiteY0" fmla="*/ 724988 h 732482"/>
              <a:gd name="connsiteX1" fmla="*/ 6049 w 627290"/>
              <a:gd name="connsiteY1" fmla="*/ 726047 h 732482"/>
              <a:gd name="connsiteX2" fmla="*/ 492 w 627290"/>
              <a:gd name="connsiteY2" fmla="*/ 730280 h 732482"/>
              <a:gd name="connsiteX3" fmla="*/ 1187 w 627290"/>
              <a:gd name="connsiteY3" fmla="*/ 724988 h 732482"/>
              <a:gd name="connsiteX4" fmla="*/ 2211 w 627290"/>
              <a:gd name="connsiteY4" fmla="*/ 705938 h 732482"/>
              <a:gd name="connsiteX5" fmla="*/ 8165 w 627290"/>
              <a:gd name="connsiteY5" fmla="*/ 707922 h 732482"/>
              <a:gd name="connsiteX6" fmla="*/ 6181 w 627290"/>
              <a:gd name="connsiteY6" fmla="*/ 711891 h 732482"/>
              <a:gd name="connsiteX7" fmla="*/ 2211 w 627290"/>
              <a:gd name="connsiteY7" fmla="*/ 711891 h 732482"/>
              <a:gd name="connsiteX8" fmla="*/ 2211 w 627290"/>
              <a:gd name="connsiteY8" fmla="*/ 705938 h 732482"/>
              <a:gd name="connsiteX9" fmla="*/ 233987 w 627290"/>
              <a:gd name="connsiteY9" fmla="*/ 636485 h 732482"/>
              <a:gd name="connsiteX10" fmla="*/ 235971 w 627290"/>
              <a:gd name="connsiteY10" fmla="*/ 636485 h 732482"/>
              <a:gd name="connsiteX11" fmla="*/ 237955 w 627290"/>
              <a:gd name="connsiteY11" fmla="*/ 638470 h 732482"/>
              <a:gd name="connsiteX12" fmla="*/ 232002 w 627290"/>
              <a:gd name="connsiteY12" fmla="*/ 640454 h 732482"/>
              <a:gd name="connsiteX13" fmla="*/ 233987 w 627290"/>
              <a:gd name="connsiteY13" fmla="*/ 636485 h 732482"/>
              <a:gd name="connsiteX14" fmla="*/ 128418 w 627290"/>
              <a:gd name="connsiteY14" fmla="*/ 590527 h 732482"/>
              <a:gd name="connsiteX15" fmla="*/ 134371 w 627290"/>
              <a:gd name="connsiteY15" fmla="*/ 592591 h 732482"/>
              <a:gd name="connsiteX16" fmla="*/ 136356 w 627290"/>
              <a:gd name="connsiteY16" fmla="*/ 600845 h 732482"/>
              <a:gd name="connsiteX17" fmla="*/ 132387 w 627290"/>
              <a:gd name="connsiteY17" fmla="*/ 607037 h 732482"/>
              <a:gd name="connsiteX18" fmla="*/ 128418 w 627290"/>
              <a:gd name="connsiteY18" fmla="*/ 607037 h 732482"/>
              <a:gd name="connsiteX19" fmla="*/ 124449 w 627290"/>
              <a:gd name="connsiteY19" fmla="*/ 609100 h 732482"/>
              <a:gd name="connsiteX20" fmla="*/ 122465 w 627290"/>
              <a:gd name="connsiteY20" fmla="*/ 602909 h 732482"/>
              <a:gd name="connsiteX21" fmla="*/ 124449 w 627290"/>
              <a:gd name="connsiteY21" fmla="*/ 594654 h 732482"/>
              <a:gd name="connsiteX22" fmla="*/ 128418 w 627290"/>
              <a:gd name="connsiteY22" fmla="*/ 590527 h 732482"/>
              <a:gd name="connsiteX23" fmla="*/ 138340 w 627290"/>
              <a:gd name="connsiteY23" fmla="*/ 583701 h 732482"/>
              <a:gd name="connsiteX24" fmla="*/ 141515 w 627290"/>
              <a:gd name="connsiteY24" fmla="*/ 588464 h 732482"/>
              <a:gd name="connsiteX25" fmla="*/ 141515 w 627290"/>
              <a:gd name="connsiteY25" fmla="*/ 590845 h 732482"/>
              <a:gd name="connsiteX26" fmla="*/ 139927 w 627290"/>
              <a:gd name="connsiteY26" fmla="*/ 593226 h 732482"/>
              <a:gd name="connsiteX27" fmla="*/ 136752 w 627290"/>
              <a:gd name="connsiteY27" fmla="*/ 590845 h 732482"/>
              <a:gd name="connsiteX28" fmla="*/ 138340 w 627290"/>
              <a:gd name="connsiteY28" fmla="*/ 583701 h 732482"/>
              <a:gd name="connsiteX29" fmla="*/ 453617 w 627290"/>
              <a:gd name="connsiteY29" fmla="*/ 542426 h 732482"/>
              <a:gd name="connsiteX30" fmla="*/ 455840 w 627290"/>
              <a:gd name="connsiteY30" fmla="*/ 548379 h 732482"/>
              <a:gd name="connsiteX31" fmla="*/ 449172 w 627290"/>
              <a:gd name="connsiteY31" fmla="*/ 548379 h 732482"/>
              <a:gd name="connsiteX32" fmla="*/ 446950 w 627290"/>
              <a:gd name="connsiteY32" fmla="*/ 546395 h 732482"/>
              <a:gd name="connsiteX33" fmla="*/ 449172 w 627290"/>
              <a:gd name="connsiteY33" fmla="*/ 544410 h 732482"/>
              <a:gd name="connsiteX34" fmla="*/ 453617 w 627290"/>
              <a:gd name="connsiteY34" fmla="*/ 542426 h 732482"/>
              <a:gd name="connsiteX35" fmla="*/ 159341 w 627290"/>
              <a:gd name="connsiteY35" fmla="*/ 497817 h 732482"/>
              <a:gd name="connsiteX36" fmla="*/ 161888 w 627290"/>
              <a:gd name="connsiteY36" fmla="*/ 500198 h 732482"/>
              <a:gd name="connsiteX37" fmla="*/ 163740 w 627290"/>
              <a:gd name="connsiteY37" fmla="*/ 502103 h 732482"/>
              <a:gd name="connsiteX38" fmla="*/ 163740 w 627290"/>
              <a:gd name="connsiteY38" fmla="*/ 505913 h 732482"/>
              <a:gd name="connsiteX39" fmla="*/ 156331 w 627290"/>
              <a:gd name="connsiteY39" fmla="*/ 504008 h 732482"/>
              <a:gd name="connsiteX40" fmla="*/ 158183 w 627290"/>
              <a:gd name="connsiteY40" fmla="*/ 498293 h 732482"/>
              <a:gd name="connsiteX41" fmla="*/ 159341 w 627290"/>
              <a:gd name="connsiteY41" fmla="*/ 497817 h 732482"/>
              <a:gd name="connsiteX42" fmla="*/ 468937 w 627290"/>
              <a:gd name="connsiteY42" fmla="*/ 478926 h 732482"/>
              <a:gd name="connsiteX43" fmla="*/ 472905 w 627290"/>
              <a:gd name="connsiteY43" fmla="*/ 480513 h 732482"/>
              <a:gd name="connsiteX44" fmla="*/ 472905 w 627290"/>
              <a:gd name="connsiteY44" fmla="*/ 482101 h 732482"/>
              <a:gd name="connsiteX45" fmla="*/ 468937 w 627290"/>
              <a:gd name="connsiteY45" fmla="*/ 482101 h 732482"/>
              <a:gd name="connsiteX46" fmla="*/ 468937 w 627290"/>
              <a:gd name="connsiteY46" fmla="*/ 478926 h 732482"/>
              <a:gd name="connsiteX47" fmla="*/ 479652 w 627290"/>
              <a:gd name="connsiteY47" fmla="*/ 470988 h 732482"/>
              <a:gd name="connsiteX48" fmla="*/ 482827 w 627290"/>
              <a:gd name="connsiteY48" fmla="*/ 470988 h 732482"/>
              <a:gd name="connsiteX49" fmla="*/ 482827 w 627290"/>
              <a:gd name="connsiteY49" fmla="*/ 474163 h 732482"/>
              <a:gd name="connsiteX50" fmla="*/ 479652 w 627290"/>
              <a:gd name="connsiteY50" fmla="*/ 472575 h 732482"/>
              <a:gd name="connsiteX51" fmla="*/ 479652 w 627290"/>
              <a:gd name="connsiteY51" fmla="*/ 470988 h 732482"/>
              <a:gd name="connsiteX52" fmla="*/ 212000 w 627290"/>
              <a:gd name="connsiteY52" fmla="*/ 440826 h 732482"/>
              <a:gd name="connsiteX53" fmla="*/ 214064 w 627290"/>
              <a:gd name="connsiteY53" fmla="*/ 446687 h 732482"/>
              <a:gd name="connsiteX54" fmla="*/ 209937 w 627290"/>
              <a:gd name="connsiteY54" fmla="*/ 448641 h 732482"/>
              <a:gd name="connsiteX55" fmla="*/ 209937 w 627290"/>
              <a:gd name="connsiteY55" fmla="*/ 452549 h 732482"/>
              <a:gd name="connsiteX56" fmla="*/ 216128 w 627290"/>
              <a:gd name="connsiteY56" fmla="*/ 456457 h 732482"/>
              <a:gd name="connsiteX57" fmla="*/ 212000 w 627290"/>
              <a:gd name="connsiteY57" fmla="*/ 460364 h 732482"/>
              <a:gd name="connsiteX58" fmla="*/ 203745 w 627290"/>
              <a:gd name="connsiteY58" fmla="*/ 464272 h 732482"/>
              <a:gd name="connsiteX59" fmla="*/ 197554 w 627290"/>
              <a:gd name="connsiteY59" fmla="*/ 466226 h 732482"/>
              <a:gd name="connsiteX60" fmla="*/ 195490 w 627290"/>
              <a:gd name="connsiteY60" fmla="*/ 464272 h 732482"/>
              <a:gd name="connsiteX61" fmla="*/ 195490 w 627290"/>
              <a:gd name="connsiteY61" fmla="*/ 460364 h 732482"/>
              <a:gd name="connsiteX62" fmla="*/ 201681 w 627290"/>
              <a:gd name="connsiteY62" fmla="*/ 456457 h 732482"/>
              <a:gd name="connsiteX63" fmla="*/ 203745 w 627290"/>
              <a:gd name="connsiteY63" fmla="*/ 450595 h 732482"/>
              <a:gd name="connsiteX64" fmla="*/ 203745 w 627290"/>
              <a:gd name="connsiteY64" fmla="*/ 442780 h 732482"/>
              <a:gd name="connsiteX65" fmla="*/ 212000 w 627290"/>
              <a:gd name="connsiteY65" fmla="*/ 440826 h 732482"/>
              <a:gd name="connsiteX66" fmla="*/ 610357 w 627290"/>
              <a:gd name="connsiteY66" fmla="*/ 361451 h 732482"/>
              <a:gd name="connsiteX67" fmla="*/ 614590 w 627290"/>
              <a:gd name="connsiteY67" fmla="*/ 363038 h 732482"/>
              <a:gd name="connsiteX68" fmla="*/ 608240 w 627290"/>
              <a:gd name="connsiteY68" fmla="*/ 363038 h 732482"/>
              <a:gd name="connsiteX69" fmla="*/ 610357 w 627290"/>
              <a:gd name="connsiteY69" fmla="*/ 361451 h 732482"/>
              <a:gd name="connsiteX70" fmla="*/ 602525 w 627290"/>
              <a:gd name="connsiteY70" fmla="*/ 345576 h 732482"/>
              <a:gd name="connsiteX71" fmla="*/ 608240 w 627290"/>
              <a:gd name="connsiteY71" fmla="*/ 349386 h 732482"/>
              <a:gd name="connsiteX72" fmla="*/ 608240 w 627290"/>
              <a:gd name="connsiteY72" fmla="*/ 353196 h 732482"/>
              <a:gd name="connsiteX73" fmla="*/ 598715 w 627290"/>
              <a:gd name="connsiteY73" fmla="*/ 351291 h 732482"/>
              <a:gd name="connsiteX74" fmla="*/ 600620 w 627290"/>
              <a:gd name="connsiteY74" fmla="*/ 347481 h 732482"/>
              <a:gd name="connsiteX75" fmla="*/ 602525 w 627290"/>
              <a:gd name="connsiteY75" fmla="*/ 345576 h 732482"/>
              <a:gd name="connsiteX76" fmla="*/ 607182 w 627290"/>
              <a:gd name="connsiteY76" fmla="*/ 340813 h 732482"/>
              <a:gd name="connsiteX77" fmla="*/ 611415 w 627290"/>
              <a:gd name="connsiteY77" fmla="*/ 342929 h 732482"/>
              <a:gd name="connsiteX78" fmla="*/ 605065 w 627290"/>
              <a:gd name="connsiteY78" fmla="*/ 345046 h 732482"/>
              <a:gd name="connsiteX79" fmla="*/ 607182 w 627290"/>
              <a:gd name="connsiteY79" fmla="*/ 340813 h 732482"/>
              <a:gd name="connsiteX80" fmla="*/ 598715 w 627290"/>
              <a:gd name="connsiteY80" fmla="*/ 339226 h 732482"/>
              <a:gd name="connsiteX81" fmla="*/ 600303 w 627290"/>
              <a:gd name="connsiteY81" fmla="*/ 341342 h 732482"/>
              <a:gd name="connsiteX82" fmla="*/ 600303 w 627290"/>
              <a:gd name="connsiteY82" fmla="*/ 343459 h 732482"/>
              <a:gd name="connsiteX83" fmla="*/ 597128 w 627290"/>
              <a:gd name="connsiteY83" fmla="*/ 345576 h 732482"/>
              <a:gd name="connsiteX84" fmla="*/ 595540 w 627290"/>
              <a:gd name="connsiteY84" fmla="*/ 341342 h 732482"/>
              <a:gd name="connsiteX85" fmla="*/ 598715 w 627290"/>
              <a:gd name="connsiteY85" fmla="*/ 339226 h 732482"/>
              <a:gd name="connsiteX86" fmla="*/ 604535 w 627290"/>
              <a:gd name="connsiteY86" fmla="*/ 334463 h 732482"/>
              <a:gd name="connsiteX87" fmla="*/ 606652 w 627290"/>
              <a:gd name="connsiteY87" fmla="*/ 336579 h 732482"/>
              <a:gd name="connsiteX88" fmla="*/ 604535 w 627290"/>
              <a:gd name="connsiteY88" fmla="*/ 338696 h 732482"/>
              <a:gd name="connsiteX89" fmla="*/ 600302 w 627290"/>
              <a:gd name="connsiteY89" fmla="*/ 338696 h 732482"/>
              <a:gd name="connsiteX90" fmla="*/ 600302 w 627290"/>
              <a:gd name="connsiteY90" fmla="*/ 336579 h 732482"/>
              <a:gd name="connsiteX91" fmla="*/ 604535 w 627290"/>
              <a:gd name="connsiteY91" fmla="*/ 334463 h 732482"/>
              <a:gd name="connsiteX92" fmla="*/ 623057 w 627290"/>
              <a:gd name="connsiteY92" fmla="*/ 332876 h 732482"/>
              <a:gd name="connsiteX93" fmla="*/ 627290 w 627290"/>
              <a:gd name="connsiteY93" fmla="*/ 337109 h 732482"/>
              <a:gd name="connsiteX94" fmla="*/ 620940 w 627290"/>
              <a:gd name="connsiteY94" fmla="*/ 337109 h 732482"/>
              <a:gd name="connsiteX95" fmla="*/ 623057 w 627290"/>
              <a:gd name="connsiteY95" fmla="*/ 332876 h 732482"/>
              <a:gd name="connsiteX96" fmla="*/ 394957 w 627290"/>
              <a:gd name="connsiteY96" fmla="*/ 210638 h 732482"/>
              <a:gd name="connsiteX97" fmla="*/ 390969 w 627290"/>
              <a:gd name="connsiteY97" fmla="*/ 216632 h 732482"/>
              <a:gd name="connsiteX98" fmla="*/ 388975 w 627290"/>
              <a:gd name="connsiteY98" fmla="*/ 222626 h 732482"/>
              <a:gd name="connsiteX99" fmla="*/ 394957 w 627290"/>
              <a:gd name="connsiteY99" fmla="*/ 222626 h 732482"/>
              <a:gd name="connsiteX100" fmla="*/ 396951 w 627290"/>
              <a:gd name="connsiteY100" fmla="*/ 226622 h 732482"/>
              <a:gd name="connsiteX101" fmla="*/ 394957 w 627290"/>
              <a:gd name="connsiteY101" fmla="*/ 238611 h 732482"/>
              <a:gd name="connsiteX102" fmla="*/ 398944 w 627290"/>
              <a:gd name="connsiteY102" fmla="*/ 244605 h 732482"/>
              <a:gd name="connsiteX103" fmla="*/ 402932 w 627290"/>
              <a:gd name="connsiteY103" fmla="*/ 242607 h 732482"/>
              <a:gd name="connsiteX104" fmla="*/ 408914 w 627290"/>
              <a:gd name="connsiteY104" fmla="*/ 240609 h 732482"/>
              <a:gd name="connsiteX105" fmla="*/ 410908 w 627290"/>
              <a:gd name="connsiteY105" fmla="*/ 242607 h 732482"/>
              <a:gd name="connsiteX106" fmla="*/ 414896 w 627290"/>
              <a:gd name="connsiteY106" fmla="*/ 244605 h 732482"/>
              <a:gd name="connsiteX107" fmla="*/ 420877 w 627290"/>
              <a:gd name="connsiteY107" fmla="*/ 234614 h 732482"/>
              <a:gd name="connsiteX108" fmla="*/ 426859 w 627290"/>
              <a:gd name="connsiteY108" fmla="*/ 232616 h 732482"/>
              <a:gd name="connsiteX109" fmla="*/ 428853 w 627290"/>
              <a:gd name="connsiteY109" fmla="*/ 240609 h 732482"/>
              <a:gd name="connsiteX110" fmla="*/ 424865 w 627290"/>
              <a:gd name="connsiteY110" fmla="*/ 244605 h 732482"/>
              <a:gd name="connsiteX111" fmla="*/ 424865 w 627290"/>
              <a:gd name="connsiteY111" fmla="*/ 248601 h 732482"/>
              <a:gd name="connsiteX112" fmla="*/ 416890 w 627290"/>
              <a:gd name="connsiteY112" fmla="*/ 252597 h 732482"/>
              <a:gd name="connsiteX113" fmla="*/ 414896 w 627290"/>
              <a:gd name="connsiteY113" fmla="*/ 260589 h 732482"/>
              <a:gd name="connsiteX114" fmla="*/ 412902 w 627290"/>
              <a:gd name="connsiteY114" fmla="*/ 268582 h 732482"/>
              <a:gd name="connsiteX115" fmla="*/ 404926 w 627290"/>
              <a:gd name="connsiteY115" fmla="*/ 276574 h 732482"/>
              <a:gd name="connsiteX116" fmla="*/ 400938 w 627290"/>
              <a:gd name="connsiteY116" fmla="*/ 282568 h 732482"/>
              <a:gd name="connsiteX117" fmla="*/ 396951 w 627290"/>
              <a:gd name="connsiteY117" fmla="*/ 286564 h 732482"/>
              <a:gd name="connsiteX118" fmla="*/ 390969 w 627290"/>
              <a:gd name="connsiteY118" fmla="*/ 292558 h 732482"/>
              <a:gd name="connsiteX119" fmla="*/ 384987 w 627290"/>
              <a:gd name="connsiteY119" fmla="*/ 302549 h 732482"/>
              <a:gd name="connsiteX120" fmla="*/ 380999 w 627290"/>
              <a:gd name="connsiteY120" fmla="*/ 310541 h 732482"/>
              <a:gd name="connsiteX121" fmla="*/ 373024 w 627290"/>
              <a:gd name="connsiteY121" fmla="*/ 312539 h 732482"/>
              <a:gd name="connsiteX122" fmla="*/ 367042 w 627290"/>
              <a:gd name="connsiteY122" fmla="*/ 316535 h 732482"/>
              <a:gd name="connsiteX123" fmla="*/ 365048 w 627290"/>
              <a:gd name="connsiteY123" fmla="*/ 324527 h 732482"/>
              <a:gd name="connsiteX124" fmla="*/ 363054 w 627290"/>
              <a:gd name="connsiteY124" fmla="*/ 328523 h 732482"/>
              <a:gd name="connsiteX125" fmla="*/ 365048 w 627290"/>
              <a:gd name="connsiteY125" fmla="*/ 330521 h 732482"/>
              <a:gd name="connsiteX126" fmla="*/ 369036 w 627290"/>
              <a:gd name="connsiteY126" fmla="*/ 328523 h 732482"/>
              <a:gd name="connsiteX127" fmla="*/ 373024 w 627290"/>
              <a:gd name="connsiteY127" fmla="*/ 334517 h 732482"/>
              <a:gd name="connsiteX128" fmla="*/ 371030 w 627290"/>
              <a:gd name="connsiteY128" fmla="*/ 338514 h 732482"/>
              <a:gd name="connsiteX129" fmla="*/ 367042 w 627290"/>
              <a:gd name="connsiteY129" fmla="*/ 336516 h 732482"/>
              <a:gd name="connsiteX130" fmla="*/ 361060 w 627290"/>
              <a:gd name="connsiteY130" fmla="*/ 334517 h 732482"/>
              <a:gd name="connsiteX131" fmla="*/ 357072 w 627290"/>
              <a:gd name="connsiteY131" fmla="*/ 336516 h 732482"/>
              <a:gd name="connsiteX132" fmla="*/ 353085 w 627290"/>
              <a:gd name="connsiteY132" fmla="*/ 336516 h 732482"/>
              <a:gd name="connsiteX133" fmla="*/ 347103 w 627290"/>
              <a:gd name="connsiteY133" fmla="*/ 336516 h 732482"/>
              <a:gd name="connsiteX134" fmla="*/ 341121 w 627290"/>
              <a:gd name="connsiteY134" fmla="*/ 340512 h 732482"/>
              <a:gd name="connsiteX135" fmla="*/ 337133 w 627290"/>
              <a:gd name="connsiteY135" fmla="*/ 346506 h 732482"/>
              <a:gd name="connsiteX136" fmla="*/ 331152 w 627290"/>
              <a:gd name="connsiteY136" fmla="*/ 346506 h 732482"/>
              <a:gd name="connsiteX137" fmla="*/ 323176 w 627290"/>
              <a:gd name="connsiteY137" fmla="*/ 348504 h 732482"/>
              <a:gd name="connsiteX138" fmla="*/ 317194 w 627290"/>
              <a:gd name="connsiteY138" fmla="*/ 356496 h 732482"/>
              <a:gd name="connsiteX139" fmla="*/ 313207 w 627290"/>
              <a:gd name="connsiteY139" fmla="*/ 372481 h 732482"/>
              <a:gd name="connsiteX140" fmla="*/ 307225 w 627290"/>
              <a:gd name="connsiteY140" fmla="*/ 382471 h 732482"/>
              <a:gd name="connsiteX141" fmla="*/ 301243 w 627290"/>
              <a:gd name="connsiteY141" fmla="*/ 384469 h 732482"/>
              <a:gd name="connsiteX142" fmla="*/ 297255 w 627290"/>
              <a:gd name="connsiteY142" fmla="*/ 396457 h 732482"/>
              <a:gd name="connsiteX143" fmla="*/ 293268 w 627290"/>
              <a:gd name="connsiteY143" fmla="*/ 402452 h 732482"/>
              <a:gd name="connsiteX144" fmla="*/ 289280 w 627290"/>
              <a:gd name="connsiteY144" fmla="*/ 406448 h 732482"/>
              <a:gd name="connsiteX145" fmla="*/ 293268 w 627290"/>
              <a:gd name="connsiteY145" fmla="*/ 408446 h 732482"/>
              <a:gd name="connsiteX146" fmla="*/ 295261 w 627290"/>
              <a:gd name="connsiteY146" fmla="*/ 412442 h 732482"/>
              <a:gd name="connsiteX147" fmla="*/ 289280 w 627290"/>
              <a:gd name="connsiteY147" fmla="*/ 412442 h 732482"/>
              <a:gd name="connsiteX148" fmla="*/ 281304 w 627290"/>
              <a:gd name="connsiteY148" fmla="*/ 414440 h 732482"/>
              <a:gd name="connsiteX149" fmla="*/ 275322 w 627290"/>
              <a:gd name="connsiteY149" fmla="*/ 420434 h 732482"/>
              <a:gd name="connsiteX150" fmla="*/ 261365 w 627290"/>
              <a:gd name="connsiteY150" fmla="*/ 430424 h 732482"/>
              <a:gd name="connsiteX151" fmla="*/ 253389 w 627290"/>
              <a:gd name="connsiteY151" fmla="*/ 434421 h 732482"/>
              <a:gd name="connsiteX152" fmla="*/ 247408 w 627290"/>
              <a:gd name="connsiteY152" fmla="*/ 440415 h 732482"/>
              <a:gd name="connsiteX153" fmla="*/ 241426 w 627290"/>
              <a:gd name="connsiteY153" fmla="*/ 442413 h 732482"/>
              <a:gd name="connsiteX154" fmla="*/ 225475 w 627290"/>
              <a:gd name="connsiteY154" fmla="*/ 440415 h 732482"/>
              <a:gd name="connsiteX155" fmla="*/ 221487 w 627290"/>
              <a:gd name="connsiteY155" fmla="*/ 438417 h 732482"/>
              <a:gd name="connsiteX156" fmla="*/ 225475 w 627290"/>
              <a:gd name="connsiteY156" fmla="*/ 434421 h 732482"/>
              <a:gd name="connsiteX157" fmla="*/ 227469 w 627290"/>
              <a:gd name="connsiteY157" fmla="*/ 430424 h 732482"/>
              <a:gd name="connsiteX158" fmla="*/ 225475 w 627290"/>
              <a:gd name="connsiteY158" fmla="*/ 428426 h 732482"/>
              <a:gd name="connsiteX159" fmla="*/ 219493 w 627290"/>
              <a:gd name="connsiteY159" fmla="*/ 430424 h 732482"/>
              <a:gd name="connsiteX160" fmla="*/ 217499 w 627290"/>
              <a:gd name="connsiteY160" fmla="*/ 428426 h 732482"/>
              <a:gd name="connsiteX161" fmla="*/ 209524 w 627290"/>
              <a:gd name="connsiteY161" fmla="*/ 428426 h 732482"/>
              <a:gd name="connsiteX162" fmla="*/ 205536 w 627290"/>
              <a:gd name="connsiteY162" fmla="*/ 428426 h 732482"/>
              <a:gd name="connsiteX163" fmla="*/ 207530 w 627290"/>
              <a:gd name="connsiteY163" fmla="*/ 424430 h 732482"/>
              <a:gd name="connsiteX164" fmla="*/ 209524 w 627290"/>
              <a:gd name="connsiteY164" fmla="*/ 422432 h 732482"/>
              <a:gd name="connsiteX165" fmla="*/ 203542 w 627290"/>
              <a:gd name="connsiteY165" fmla="*/ 422432 h 732482"/>
              <a:gd name="connsiteX166" fmla="*/ 199554 w 627290"/>
              <a:gd name="connsiteY166" fmla="*/ 424430 h 732482"/>
              <a:gd name="connsiteX167" fmla="*/ 195566 w 627290"/>
              <a:gd name="connsiteY167" fmla="*/ 424430 h 732482"/>
              <a:gd name="connsiteX168" fmla="*/ 193572 w 627290"/>
              <a:gd name="connsiteY168" fmla="*/ 422432 h 732482"/>
              <a:gd name="connsiteX169" fmla="*/ 187591 w 627290"/>
              <a:gd name="connsiteY169" fmla="*/ 422432 h 732482"/>
              <a:gd name="connsiteX170" fmla="*/ 181609 w 627290"/>
              <a:gd name="connsiteY170" fmla="*/ 422432 h 732482"/>
              <a:gd name="connsiteX171" fmla="*/ 181609 w 627290"/>
              <a:gd name="connsiteY171" fmla="*/ 420434 h 732482"/>
              <a:gd name="connsiteX172" fmla="*/ 183603 w 627290"/>
              <a:gd name="connsiteY172" fmla="*/ 416438 h 732482"/>
              <a:gd name="connsiteX173" fmla="*/ 183603 w 627290"/>
              <a:gd name="connsiteY173" fmla="*/ 412442 h 732482"/>
              <a:gd name="connsiteX174" fmla="*/ 181609 w 627290"/>
              <a:gd name="connsiteY174" fmla="*/ 410444 h 732482"/>
              <a:gd name="connsiteX175" fmla="*/ 181609 w 627290"/>
              <a:gd name="connsiteY175" fmla="*/ 406448 h 732482"/>
              <a:gd name="connsiteX176" fmla="*/ 185597 w 627290"/>
              <a:gd name="connsiteY176" fmla="*/ 404450 h 732482"/>
              <a:gd name="connsiteX177" fmla="*/ 191578 w 627290"/>
              <a:gd name="connsiteY177" fmla="*/ 404450 h 732482"/>
              <a:gd name="connsiteX178" fmla="*/ 191578 w 627290"/>
              <a:gd name="connsiteY178" fmla="*/ 402452 h 732482"/>
              <a:gd name="connsiteX179" fmla="*/ 191578 w 627290"/>
              <a:gd name="connsiteY179" fmla="*/ 394459 h 732482"/>
              <a:gd name="connsiteX180" fmla="*/ 197560 w 627290"/>
              <a:gd name="connsiteY180" fmla="*/ 386467 h 732482"/>
              <a:gd name="connsiteX181" fmla="*/ 209524 w 627290"/>
              <a:gd name="connsiteY181" fmla="*/ 378475 h 732482"/>
              <a:gd name="connsiteX182" fmla="*/ 215505 w 627290"/>
              <a:gd name="connsiteY182" fmla="*/ 370483 h 732482"/>
              <a:gd name="connsiteX183" fmla="*/ 221487 w 627290"/>
              <a:gd name="connsiteY183" fmla="*/ 362490 h 732482"/>
              <a:gd name="connsiteX184" fmla="*/ 237438 w 627290"/>
              <a:gd name="connsiteY184" fmla="*/ 352500 h 732482"/>
              <a:gd name="connsiteX185" fmla="*/ 243420 w 627290"/>
              <a:gd name="connsiteY185" fmla="*/ 344508 h 732482"/>
              <a:gd name="connsiteX186" fmla="*/ 255383 w 627290"/>
              <a:gd name="connsiteY186" fmla="*/ 340512 h 732482"/>
              <a:gd name="connsiteX187" fmla="*/ 263359 w 627290"/>
              <a:gd name="connsiteY187" fmla="*/ 340512 h 732482"/>
              <a:gd name="connsiteX188" fmla="*/ 267347 w 627290"/>
              <a:gd name="connsiteY188" fmla="*/ 332519 h 732482"/>
              <a:gd name="connsiteX189" fmla="*/ 277316 w 627290"/>
              <a:gd name="connsiteY189" fmla="*/ 330521 h 732482"/>
              <a:gd name="connsiteX190" fmla="*/ 281304 w 627290"/>
              <a:gd name="connsiteY190" fmla="*/ 324527 h 732482"/>
              <a:gd name="connsiteX191" fmla="*/ 289280 w 627290"/>
              <a:gd name="connsiteY191" fmla="*/ 320531 h 732482"/>
              <a:gd name="connsiteX192" fmla="*/ 303237 w 627290"/>
              <a:gd name="connsiteY192" fmla="*/ 316535 h 732482"/>
              <a:gd name="connsiteX193" fmla="*/ 305231 w 627290"/>
              <a:gd name="connsiteY193" fmla="*/ 308543 h 732482"/>
              <a:gd name="connsiteX194" fmla="*/ 319188 w 627290"/>
              <a:gd name="connsiteY194" fmla="*/ 300550 h 732482"/>
              <a:gd name="connsiteX195" fmla="*/ 325170 w 627290"/>
              <a:gd name="connsiteY195" fmla="*/ 296554 h 732482"/>
              <a:gd name="connsiteX196" fmla="*/ 335140 w 627290"/>
              <a:gd name="connsiteY196" fmla="*/ 292558 h 732482"/>
              <a:gd name="connsiteX197" fmla="*/ 337133 w 627290"/>
              <a:gd name="connsiteY197" fmla="*/ 284566 h 732482"/>
              <a:gd name="connsiteX198" fmla="*/ 343115 w 627290"/>
              <a:gd name="connsiteY198" fmla="*/ 272578 h 732482"/>
              <a:gd name="connsiteX199" fmla="*/ 349097 w 627290"/>
              <a:gd name="connsiteY199" fmla="*/ 260589 h 732482"/>
              <a:gd name="connsiteX200" fmla="*/ 353085 w 627290"/>
              <a:gd name="connsiteY200" fmla="*/ 256593 h 732482"/>
              <a:gd name="connsiteX201" fmla="*/ 361060 w 627290"/>
              <a:gd name="connsiteY201" fmla="*/ 254595 h 732482"/>
              <a:gd name="connsiteX202" fmla="*/ 369036 w 627290"/>
              <a:gd name="connsiteY202" fmla="*/ 240609 h 732482"/>
              <a:gd name="connsiteX203" fmla="*/ 377011 w 627290"/>
              <a:gd name="connsiteY203" fmla="*/ 226622 h 732482"/>
              <a:gd name="connsiteX204" fmla="*/ 380999 w 627290"/>
              <a:gd name="connsiteY204" fmla="*/ 220628 h 732482"/>
              <a:gd name="connsiteX205" fmla="*/ 386981 w 627290"/>
              <a:gd name="connsiteY205" fmla="*/ 216632 h 732482"/>
              <a:gd name="connsiteX206" fmla="*/ 388975 w 627290"/>
              <a:gd name="connsiteY206" fmla="*/ 212636 h 732482"/>
              <a:gd name="connsiteX207" fmla="*/ 394957 w 627290"/>
              <a:gd name="connsiteY207" fmla="*/ 210638 h 732482"/>
              <a:gd name="connsiteX208" fmla="*/ 451214 w 627290"/>
              <a:gd name="connsiteY208" fmla="*/ 1494 h 732482"/>
              <a:gd name="connsiteX209" fmla="*/ 455205 w 627290"/>
              <a:gd name="connsiteY209" fmla="*/ 1494 h 732482"/>
              <a:gd name="connsiteX210" fmla="*/ 449218 w 627290"/>
              <a:gd name="connsiteY210" fmla="*/ 7475 h 732482"/>
              <a:gd name="connsiteX211" fmla="*/ 445226 w 627290"/>
              <a:gd name="connsiteY211" fmla="*/ 11462 h 732482"/>
              <a:gd name="connsiteX212" fmla="*/ 449218 w 627290"/>
              <a:gd name="connsiteY212" fmla="*/ 15450 h 732482"/>
              <a:gd name="connsiteX213" fmla="*/ 449218 w 627290"/>
              <a:gd name="connsiteY213" fmla="*/ 23424 h 732482"/>
              <a:gd name="connsiteX214" fmla="*/ 451214 w 627290"/>
              <a:gd name="connsiteY214" fmla="*/ 25418 h 732482"/>
              <a:gd name="connsiteX215" fmla="*/ 453209 w 627290"/>
              <a:gd name="connsiteY215" fmla="*/ 19437 h 732482"/>
              <a:gd name="connsiteX216" fmla="*/ 457201 w 627290"/>
              <a:gd name="connsiteY216" fmla="*/ 17443 h 732482"/>
              <a:gd name="connsiteX217" fmla="*/ 461192 w 627290"/>
              <a:gd name="connsiteY217" fmla="*/ 19437 h 732482"/>
              <a:gd name="connsiteX218" fmla="*/ 461192 w 627290"/>
              <a:gd name="connsiteY218" fmla="*/ 25418 h 732482"/>
              <a:gd name="connsiteX219" fmla="*/ 465184 w 627290"/>
              <a:gd name="connsiteY219" fmla="*/ 25418 h 732482"/>
              <a:gd name="connsiteX220" fmla="*/ 471171 w 627290"/>
              <a:gd name="connsiteY220" fmla="*/ 29405 h 732482"/>
              <a:gd name="connsiteX221" fmla="*/ 475162 w 627290"/>
              <a:gd name="connsiteY221" fmla="*/ 33392 h 732482"/>
              <a:gd name="connsiteX222" fmla="*/ 479154 w 627290"/>
              <a:gd name="connsiteY222" fmla="*/ 39373 h 732482"/>
              <a:gd name="connsiteX223" fmla="*/ 481149 w 627290"/>
              <a:gd name="connsiteY223" fmla="*/ 49341 h 732482"/>
              <a:gd name="connsiteX224" fmla="*/ 479154 w 627290"/>
              <a:gd name="connsiteY224" fmla="*/ 51334 h 732482"/>
              <a:gd name="connsiteX225" fmla="*/ 475162 w 627290"/>
              <a:gd name="connsiteY225" fmla="*/ 53328 h 732482"/>
              <a:gd name="connsiteX226" fmla="*/ 475162 w 627290"/>
              <a:gd name="connsiteY226" fmla="*/ 59309 h 732482"/>
              <a:gd name="connsiteX227" fmla="*/ 479154 w 627290"/>
              <a:gd name="connsiteY227" fmla="*/ 63296 h 732482"/>
              <a:gd name="connsiteX228" fmla="*/ 479154 w 627290"/>
              <a:gd name="connsiteY228" fmla="*/ 69277 h 732482"/>
              <a:gd name="connsiteX229" fmla="*/ 475162 w 627290"/>
              <a:gd name="connsiteY229" fmla="*/ 73264 h 732482"/>
              <a:gd name="connsiteX230" fmla="*/ 473166 w 627290"/>
              <a:gd name="connsiteY230" fmla="*/ 83232 h 732482"/>
              <a:gd name="connsiteX231" fmla="*/ 475162 w 627290"/>
              <a:gd name="connsiteY231" fmla="*/ 87219 h 732482"/>
              <a:gd name="connsiteX232" fmla="*/ 481149 w 627290"/>
              <a:gd name="connsiteY232" fmla="*/ 87219 h 732482"/>
              <a:gd name="connsiteX233" fmla="*/ 487136 w 627290"/>
              <a:gd name="connsiteY233" fmla="*/ 91207 h 732482"/>
              <a:gd name="connsiteX234" fmla="*/ 487136 w 627290"/>
              <a:gd name="connsiteY234" fmla="*/ 95194 h 732482"/>
              <a:gd name="connsiteX235" fmla="*/ 487136 w 627290"/>
              <a:gd name="connsiteY235" fmla="*/ 101175 h 732482"/>
              <a:gd name="connsiteX236" fmla="*/ 489132 w 627290"/>
              <a:gd name="connsiteY236" fmla="*/ 101175 h 732482"/>
              <a:gd name="connsiteX237" fmla="*/ 491128 w 627290"/>
              <a:gd name="connsiteY237" fmla="*/ 97187 h 732482"/>
              <a:gd name="connsiteX238" fmla="*/ 491128 w 627290"/>
              <a:gd name="connsiteY238" fmla="*/ 91207 h 732482"/>
              <a:gd name="connsiteX239" fmla="*/ 491128 w 627290"/>
              <a:gd name="connsiteY239" fmla="*/ 87219 h 732482"/>
              <a:gd name="connsiteX240" fmla="*/ 493124 w 627290"/>
              <a:gd name="connsiteY240" fmla="*/ 83232 h 732482"/>
              <a:gd name="connsiteX241" fmla="*/ 493124 w 627290"/>
              <a:gd name="connsiteY241" fmla="*/ 79245 h 732482"/>
              <a:gd name="connsiteX242" fmla="*/ 491128 w 627290"/>
              <a:gd name="connsiteY242" fmla="*/ 75258 h 732482"/>
              <a:gd name="connsiteX243" fmla="*/ 493124 w 627290"/>
              <a:gd name="connsiteY243" fmla="*/ 73264 h 732482"/>
              <a:gd name="connsiteX244" fmla="*/ 497115 w 627290"/>
              <a:gd name="connsiteY244" fmla="*/ 77251 h 732482"/>
              <a:gd name="connsiteX245" fmla="*/ 499111 w 627290"/>
              <a:gd name="connsiteY245" fmla="*/ 83232 h 732482"/>
              <a:gd name="connsiteX246" fmla="*/ 501106 w 627290"/>
              <a:gd name="connsiteY246" fmla="*/ 85226 h 732482"/>
              <a:gd name="connsiteX247" fmla="*/ 501106 w 627290"/>
              <a:gd name="connsiteY247" fmla="*/ 95194 h 732482"/>
              <a:gd name="connsiteX248" fmla="*/ 499111 w 627290"/>
              <a:gd name="connsiteY248" fmla="*/ 107155 h 732482"/>
              <a:gd name="connsiteX249" fmla="*/ 503102 w 627290"/>
              <a:gd name="connsiteY249" fmla="*/ 113136 h 732482"/>
              <a:gd name="connsiteX250" fmla="*/ 511085 w 627290"/>
              <a:gd name="connsiteY250" fmla="*/ 121111 h 732482"/>
              <a:gd name="connsiteX251" fmla="*/ 517072 w 627290"/>
              <a:gd name="connsiteY251" fmla="*/ 123104 h 732482"/>
              <a:gd name="connsiteX252" fmla="*/ 523059 w 627290"/>
              <a:gd name="connsiteY252" fmla="*/ 127091 h 732482"/>
              <a:gd name="connsiteX253" fmla="*/ 529046 w 627290"/>
              <a:gd name="connsiteY253" fmla="*/ 129085 h 732482"/>
              <a:gd name="connsiteX254" fmla="*/ 537029 w 627290"/>
              <a:gd name="connsiteY254" fmla="*/ 123104 h 732482"/>
              <a:gd name="connsiteX255" fmla="*/ 543016 w 627290"/>
              <a:gd name="connsiteY255" fmla="*/ 117123 h 732482"/>
              <a:gd name="connsiteX256" fmla="*/ 547008 w 627290"/>
              <a:gd name="connsiteY256" fmla="*/ 117123 h 732482"/>
              <a:gd name="connsiteX257" fmla="*/ 549004 w 627290"/>
              <a:gd name="connsiteY257" fmla="*/ 109149 h 732482"/>
              <a:gd name="connsiteX258" fmla="*/ 550999 w 627290"/>
              <a:gd name="connsiteY258" fmla="*/ 105162 h 732482"/>
              <a:gd name="connsiteX259" fmla="*/ 556986 w 627290"/>
              <a:gd name="connsiteY259" fmla="*/ 107155 h 732482"/>
              <a:gd name="connsiteX260" fmla="*/ 558982 w 627290"/>
              <a:gd name="connsiteY260" fmla="*/ 111143 h 732482"/>
              <a:gd name="connsiteX261" fmla="*/ 562974 w 627290"/>
              <a:gd name="connsiteY261" fmla="*/ 113136 h 732482"/>
              <a:gd name="connsiteX262" fmla="*/ 566965 w 627290"/>
              <a:gd name="connsiteY262" fmla="*/ 117123 h 732482"/>
              <a:gd name="connsiteX263" fmla="*/ 566965 w 627290"/>
              <a:gd name="connsiteY263" fmla="*/ 119117 h 732482"/>
              <a:gd name="connsiteX264" fmla="*/ 558982 w 627290"/>
              <a:gd name="connsiteY264" fmla="*/ 125098 h 732482"/>
              <a:gd name="connsiteX265" fmla="*/ 556986 w 627290"/>
              <a:gd name="connsiteY265" fmla="*/ 133072 h 732482"/>
              <a:gd name="connsiteX266" fmla="*/ 554991 w 627290"/>
              <a:gd name="connsiteY266" fmla="*/ 139053 h 732482"/>
              <a:gd name="connsiteX267" fmla="*/ 549004 w 627290"/>
              <a:gd name="connsiteY267" fmla="*/ 147028 h 732482"/>
              <a:gd name="connsiteX268" fmla="*/ 543016 w 627290"/>
              <a:gd name="connsiteY268" fmla="*/ 149021 h 732482"/>
              <a:gd name="connsiteX269" fmla="*/ 537029 w 627290"/>
              <a:gd name="connsiteY269" fmla="*/ 156996 h 732482"/>
              <a:gd name="connsiteX270" fmla="*/ 535034 w 627290"/>
              <a:gd name="connsiteY270" fmla="*/ 160983 h 732482"/>
              <a:gd name="connsiteX271" fmla="*/ 537029 w 627290"/>
              <a:gd name="connsiteY271" fmla="*/ 164970 h 732482"/>
              <a:gd name="connsiteX272" fmla="*/ 535034 w 627290"/>
              <a:gd name="connsiteY272" fmla="*/ 170951 h 732482"/>
              <a:gd name="connsiteX273" fmla="*/ 529046 w 627290"/>
              <a:gd name="connsiteY273" fmla="*/ 172944 h 732482"/>
              <a:gd name="connsiteX274" fmla="*/ 531042 w 627290"/>
              <a:gd name="connsiteY274" fmla="*/ 166964 h 732482"/>
              <a:gd name="connsiteX275" fmla="*/ 523059 w 627290"/>
              <a:gd name="connsiteY275" fmla="*/ 164970 h 732482"/>
              <a:gd name="connsiteX276" fmla="*/ 513081 w 627290"/>
              <a:gd name="connsiteY276" fmla="*/ 168957 h 732482"/>
              <a:gd name="connsiteX277" fmla="*/ 505098 w 627290"/>
              <a:gd name="connsiteY277" fmla="*/ 178925 h 732482"/>
              <a:gd name="connsiteX278" fmla="*/ 507094 w 627290"/>
              <a:gd name="connsiteY278" fmla="*/ 180919 h 732482"/>
              <a:gd name="connsiteX279" fmla="*/ 509089 w 627290"/>
              <a:gd name="connsiteY279" fmla="*/ 188893 h 732482"/>
              <a:gd name="connsiteX280" fmla="*/ 505098 w 627290"/>
              <a:gd name="connsiteY280" fmla="*/ 198861 h 732482"/>
              <a:gd name="connsiteX281" fmla="*/ 495119 w 627290"/>
              <a:gd name="connsiteY281" fmla="*/ 204842 h 732482"/>
              <a:gd name="connsiteX282" fmla="*/ 491128 w 627290"/>
              <a:gd name="connsiteY282" fmla="*/ 210823 h 732482"/>
              <a:gd name="connsiteX283" fmla="*/ 481149 w 627290"/>
              <a:gd name="connsiteY283" fmla="*/ 224778 h 732482"/>
              <a:gd name="connsiteX284" fmla="*/ 469175 w 627290"/>
              <a:gd name="connsiteY284" fmla="*/ 238733 h 732482"/>
              <a:gd name="connsiteX285" fmla="*/ 461192 w 627290"/>
              <a:gd name="connsiteY285" fmla="*/ 246708 h 732482"/>
              <a:gd name="connsiteX286" fmla="*/ 453209 w 627290"/>
              <a:gd name="connsiteY286" fmla="*/ 254682 h 732482"/>
              <a:gd name="connsiteX287" fmla="*/ 447222 w 627290"/>
              <a:gd name="connsiteY287" fmla="*/ 254682 h 732482"/>
              <a:gd name="connsiteX288" fmla="*/ 445226 w 627290"/>
              <a:gd name="connsiteY288" fmla="*/ 248701 h 732482"/>
              <a:gd name="connsiteX289" fmla="*/ 445226 w 627290"/>
              <a:gd name="connsiteY289" fmla="*/ 244714 h 732482"/>
              <a:gd name="connsiteX290" fmla="*/ 441235 w 627290"/>
              <a:gd name="connsiteY290" fmla="*/ 244714 h 732482"/>
              <a:gd name="connsiteX291" fmla="*/ 439239 w 627290"/>
              <a:gd name="connsiteY291" fmla="*/ 246708 h 732482"/>
              <a:gd name="connsiteX292" fmla="*/ 435248 w 627290"/>
              <a:gd name="connsiteY292" fmla="*/ 246708 h 732482"/>
              <a:gd name="connsiteX293" fmla="*/ 437244 w 627290"/>
              <a:gd name="connsiteY293" fmla="*/ 236740 h 732482"/>
              <a:gd name="connsiteX294" fmla="*/ 443231 w 627290"/>
              <a:gd name="connsiteY294" fmla="*/ 228765 h 732482"/>
              <a:gd name="connsiteX295" fmla="*/ 449218 w 627290"/>
              <a:gd name="connsiteY295" fmla="*/ 218797 h 732482"/>
              <a:gd name="connsiteX296" fmla="*/ 455205 w 627290"/>
              <a:gd name="connsiteY296" fmla="*/ 208829 h 732482"/>
              <a:gd name="connsiteX297" fmla="*/ 457201 w 627290"/>
              <a:gd name="connsiteY297" fmla="*/ 202848 h 732482"/>
              <a:gd name="connsiteX298" fmla="*/ 449218 w 627290"/>
              <a:gd name="connsiteY298" fmla="*/ 194874 h 732482"/>
              <a:gd name="connsiteX299" fmla="*/ 437244 w 627290"/>
              <a:gd name="connsiteY299" fmla="*/ 186900 h 732482"/>
              <a:gd name="connsiteX300" fmla="*/ 429261 w 627290"/>
              <a:gd name="connsiteY300" fmla="*/ 180919 h 732482"/>
              <a:gd name="connsiteX301" fmla="*/ 429261 w 627290"/>
              <a:gd name="connsiteY301" fmla="*/ 170951 h 732482"/>
              <a:gd name="connsiteX302" fmla="*/ 435248 w 627290"/>
              <a:gd name="connsiteY302" fmla="*/ 164970 h 732482"/>
              <a:gd name="connsiteX303" fmla="*/ 441235 w 627290"/>
              <a:gd name="connsiteY303" fmla="*/ 162976 h 732482"/>
              <a:gd name="connsiteX304" fmla="*/ 447222 w 627290"/>
              <a:gd name="connsiteY304" fmla="*/ 160983 h 732482"/>
              <a:gd name="connsiteX305" fmla="*/ 451214 w 627290"/>
              <a:gd name="connsiteY305" fmla="*/ 158989 h 732482"/>
              <a:gd name="connsiteX306" fmla="*/ 457201 w 627290"/>
              <a:gd name="connsiteY306" fmla="*/ 141047 h 732482"/>
              <a:gd name="connsiteX307" fmla="*/ 461192 w 627290"/>
              <a:gd name="connsiteY307" fmla="*/ 137059 h 732482"/>
              <a:gd name="connsiteX308" fmla="*/ 463188 w 627290"/>
              <a:gd name="connsiteY308" fmla="*/ 133072 h 732482"/>
              <a:gd name="connsiteX309" fmla="*/ 467179 w 627290"/>
              <a:gd name="connsiteY309" fmla="*/ 133072 h 732482"/>
              <a:gd name="connsiteX310" fmla="*/ 469175 w 627290"/>
              <a:gd name="connsiteY310" fmla="*/ 127091 h 732482"/>
              <a:gd name="connsiteX311" fmla="*/ 467179 w 627290"/>
              <a:gd name="connsiteY311" fmla="*/ 121111 h 732482"/>
              <a:gd name="connsiteX312" fmla="*/ 469175 w 627290"/>
              <a:gd name="connsiteY312" fmla="*/ 117123 h 732482"/>
              <a:gd name="connsiteX313" fmla="*/ 469175 w 627290"/>
              <a:gd name="connsiteY313" fmla="*/ 109149 h 732482"/>
              <a:gd name="connsiteX314" fmla="*/ 465184 w 627290"/>
              <a:gd name="connsiteY314" fmla="*/ 103168 h 732482"/>
              <a:gd name="connsiteX315" fmla="*/ 463188 w 627290"/>
              <a:gd name="connsiteY315" fmla="*/ 97187 h 732482"/>
              <a:gd name="connsiteX316" fmla="*/ 465184 w 627290"/>
              <a:gd name="connsiteY316" fmla="*/ 87219 h 732482"/>
              <a:gd name="connsiteX317" fmla="*/ 467179 w 627290"/>
              <a:gd name="connsiteY317" fmla="*/ 77251 h 732482"/>
              <a:gd name="connsiteX318" fmla="*/ 465184 w 627290"/>
              <a:gd name="connsiteY318" fmla="*/ 69277 h 732482"/>
              <a:gd name="connsiteX319" fmla="*/ 463188 w 627290"/>
              <a:gd name="connsiteY319" fmla="*/ 67283 h 732482"/>
              <a:gd name="connsiteX320" fmla="*/ 461192 w 627290"/>
              <a:gd name="connsiteY320" fmla="*/ 59309 h 732482"/>
              <a:gd name="connsiteX321" fmla="*/ 457201 w 627290"/>
              <a:gd name="connsiteY321" fmla="*/ 51334 h 732482"/>
              <a:gd name="connsiteX322" fmla="*/ 453209 w 627290"/>
              <a:gd name="connsiteY322" fmla="*/ 47347 h 732482"/>
              <a:gd name="connsiteX323" fmla="*/ 447222 w 627290"/>
              <a:gd name="connsiteY323" fmla="*/ 37379 h 732482"/>
              <a:gd name="connsiteX324" fmla="*/ 443231 w 627290"/>
              <a:gd name="connsiteY324" fmla="*/ 31398 h 732482"/>
              <a:gd name="connsiteX325" fmla="*/ 447222 w 627290"/>
              <a:gd name="connsiteY325" fmla="*/ 27411 h 732482"/>
              <a:gd name="connsiteX326" fmla="*/ 445226 w 627290"/>
              <a:gd name="connsiteY326" fmla="*/ 21430 h 732482"/>
              <a:gd name="connsiteX327" fmla="*/ 441235 w 627290"/>
              <a:gd name="connsiteY327" fmla="*/ 13456 h 732482"/>
              <a:gd name="connsiteX328" fmla="*/ 439239 w 627290"/>
              <a:gd name="connsiteY328" fmla="*/ 9469 h 732482"/>
              <a:gd name="connsiteX329" fmla="*/ 437244 w 627290"/>
              <a:gd name="connsiteY329" fmla="*/ 5482 h 732482"/>
              <a:gd name="connsiteX330" fmla="*/ 443231 w 627290"/>
              <a:gd name="connsiteY330" fmla="*/ 3488 h 732482"/>
              <a:gd name="connsiteX331" fmla="*/ 447222 w 627290"/>
              <a:gd name="connsiteY331" fmla="*/ 3488 h 732482"/>
              <a:gd name="connsiteX332" fmla="*/ 451214 w 627290"/>
              <a:gd name="connsiteY332" fmla="*/ 1494 h 73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Lst>
            <a:rect l="l" t="t" r="r" b="b"/>
            <a:pathLst>
              <a:path w="627290" h="732482">
                <a:moveTo>
                  <a:pt x="1187" y="724988"/>
                </a:moveTo>
                <a:cubicBezTo>
                  <a:pt x="2344" y="723930"/>
                  <a:pt x="4197" y="723930"/>
                  <a:pt x="6049" y="726047"/>
                </a:cubicBezTo>
                <a:cubicBezTo>
                  <a:pt x="9753" y="732397"/>
                  <a:pt x="492" y="734513"/>
                  <a:pt x="492" y="730280"/>
                </a:cubicBezTo>
                <a:cubicBezTo>
                  <a:pt x="-434" y="728163"/>
                  <a:pt x="29" y="726047"/>
                  <a:pt x="1187" y="724988"/>
                </a:cubicBezTo>
                <a:close/>
                <a:moveTo>
                  <a:pt x="2211" y="705938"/>
                </a:moveTo>
                <a:cubicBezTo>
                  <a:pt x="4196" y="705938"/>
                  <a:pt x="8165" y="705938"/>
                  <a:pt x="8165" y="707922"/>
                </a:cubicBezTo>
                <a:cubicBezTo>
                  <a:pt x="8165" y="709907"/>
                  <a:pt x="6181" y="711891"/>
                  <a:pt x="6181" y="711891"/>
                </a:cubicBezTo>
                <a:cubicBezTo>
                  <a:pt x="6181" y="711891"/>
                  <a:pt x="2211" y="713875"/>
                  <a:pt x="2211" y="711891"/>
                </a:cubicBezTo>
                <a:cubicBezTo>
                  <a:pt x="227" y="709907"/>
                  <a:pt x="227" y="707922"/>
                  <a:pt x="2211" y="705938"/>
                </a:cubicBezTo>
                <a:close/>
                <a:moveTo>
                  <a:pt x="233987" y="636485"/>
                </a:moveTo>
                <a:cubicBezTo>
                  <a:pt x="233987" y="634501"/>
                  <a:pt x="235971" y="636485"/>
                  <a:pt x="235971" y="636485"/>
                </a:cubicBezTo>
                <a:cubicBezTo>
                  <a:pt x="235971" y="636485"/>
                  <a:pt x="237955" y="636485"/>
                  <a:pt x="237955" y="638470"/>
                </a:cubicBezTo>
                <a:cubicBezTo>
                  <a:pt x="239940" y="642438"/>
                  <a:pt x="235971" y="642438"/>
                  <a:pt x="232002" y="640454"/>
                </a:cubicBezTo>
                <a:cubicBezTo>
                  <a:pt x="232002" y="640454"/>
                  <a:pt x="232002" y="638470"/>
                  <a:pt x="233987" y="636485"/>
                </a:cubicBezTo>
                <a:close/>
                <a:moveTo>
                  <a:pt x="128418" y="590527"/>
                </a:moveTo>
                <a:cubicBezTo>
                  <a:pt x="128418" y="588463"/>
                  <a:pt x="132387" y="590527"/>
                  <a:pt x="134371" y="592591"/>
                </a:cubicBezTo>
                <a:cubicBezTo>
                  <a:pt x="136356" y="592591"/>
                  <a:pt x="138340" y="600845"/>
                  <a:pt x="136356" y="600845"/>
                </a:cubicBezTo>
                <a:cubicBezTo>
                  <a:pt x="136356" y="602909"/>
                  <a:pt x="134371" y="607037"/>
                  <a:pt x="132387" y="607037"/>
                </a:cubicBezTo>
                <a:cubicBezTo>
                  <a:pt x="132387" y="607037"/>
                  <a:pt x="128418" y="607037"/>
                  <a:pt x="128418" y="607037"/>
                </a:cubicBezTo>
                <a:cubicBezTo>
                  <a:pt x="128418" y="607037"/>
                  <a:pt x="126434" y="609100"/>
                  <a:pt x="124449" y="609100"/>
                </a:cubicBezTo>
                <a:cubicBezTo>
                  <a:pt x="122465" y="607037"/>
                  <a:pt x="122465" y="604973"/>
                  <a:pt x="122465" y="602909"/>
                </a:cubicBezTo>
                <a:cubicBezTo>
                  <a:pt x="122465" y="600845"/>
                  <a:pt x="122465" y="598782"/>
                  <a:pt x="124449" y="594654"/>
                </a:cubicBezTo>
                <a:cubicBezTo>
                  <a:pt x="124449" y="592591"/>
                  <a:pt x="124449" y="590527"/>
                  <a:pt x="128418" y="590527"/>
                </a:cubicBezTo>
                <a:close/>
                <a:moveTo>
                  <a:pt x="138340" y="583701"/>
                </a:moveTo>
                <a:cubicBezTo>
                  <a:pt x="139927" y="583701"/>
                  <a:pt x="141515" y="586082"/>
                  <a:pt x="141515" y="588464"/>
                </a:cubicBezTo>
                <a:cubicBezTo>
                  <a:pt x="141515" y="588464"/>
                  <a:pt x="141515" y="590845"/>
                  <a:pt x="141515" y="590845"/>
                </a:cubicBezTo>
                <a:lnTo>
                  <a:pt x="139927" y="593226"/>
                </a:lnTo>
                <a:cubicBezTo>
                  <a:pt x="139927" y="593226"/>
                  <a:pt x="136752" y="590845"/>
                  <a:pt x="136752" y="590845"/>
                </a:cubicBezTo>
                <a:cubicBezTo>
                  <a:pt x="136752" y="588464"/>
                  <a:pt x="138340" y="583701"/>
                  <a:pt x="138340" y="583701"/>
                </a:cubicBezTo>
                <a:close/>
                <a:moveTo>
                  <a:pt x="453617" y="542426"/>
                </a:moveTo>
                <a:cubicBezTo>
                  <a:pt x="455840" y="544410"/>
                  <a:pt x="455840" y="546395"/>
                  <a:pt x="455840" y="548379"/>
                </a:cubicBezTo>
                <a:cubicBezTo>
                  <a:pt x="453617" y="550363"/>
                  <a:pt x="451395" y="550363"/>
                  <a:pt x="449172" y="548379"/>
                </a:cubicBezTo>
                <a:cubicBezTo>
                  <a:pt x="446950" y="548379"/>
                  <a:pt x="446950" y="548379"/>
                  <a:pt x="446950" y="546395"/>
                </a:cubicBezTo>
                <a:cubicBezTo>
                  <a:pt x="444727" y="544410"/>
                  <a:pt x="446950" y="544410"/>
                  <a:pt x="449172" y="544410"/>
                </a:cubicBezTo>
                <a:cubicBezTo>
                  <a:pt x="449172" y="542426"/>
                  <a:pt x="451395" y="542426"/>
                  <a:pt x="453617" y="542426"/>
                </a:cubicBezTo>
                <a:close/>
                <a:moveTo>
                  <a:pt x="159341" y="497817"/>
                </a:moveTo>
                <a:cubicBezTo>
                  <a:pt x="160036" y="497817"/>
                  <a:pt x="160962" y="498293"/>
                  <a:pt x="161888" y="500198"/>
                </a:cubicBezTo>
                <a:cubicBezTo>
                  <a:pt x="161888" y="502103"/>
                  <a:pt x="161888" y="502103"/>
                  <a:pt x="163740" y="502103"/>
                </a:cubicBezTo>
                <a:cubicBezTo>
                  <a:pt x="163740" y="504008"/>
                  <a:pt x="163740" y="505913"/>
                  <a:pt x="163740" y="505913"/>
                </a:cubicBezTo>
                <a:cubicBezTo>
                  <a:pt x="156331" y="504008"/>
                  <a:pt x="156331" y="504008"/>
                  <a:pt x="156331" y="504008"/>
                </a:cubicBezTo>
                <a:cubicBezTo>
                  <a:pt x="152627" y="500198"/>
                  <a:pt x="152627" y="500198"/>
                  <a:pt x="158183" y="498293"/>
                </a:cubicBezTo>
                <a:cubicBezTo>
                  <a:pt x="158183" y="498293"/>
                  <a:pt x="158646" y="497817"/>
                  <a:pt x="159341" y="497817"/>
                </a:cubicBezTo>
                <a:close/>
                <a:moveTo>
                  <a:pt x="468937" y="478926"/>
                </a:moveTo>
                <a:cubicBezTo>
                  <a:pt x="470921" y="478926"/>
                  <a:pt x="472905" y="478926"/>
                  <a:pt x="472905" y="480513"/>
                </a:cubicBezTo>
                <a:cubicBezTo>
                  <a:pt x="474890" y="480513"/>
                  <a:pt x="472905" y="482101"/>
                  <a:pt x="472905" y="482101"/>
                </a:cubicBezTo>
                <a:cubicBezTo>
                  <a:pt x="472905" y="482101"/>
                  <a:pt x="470921" y="482101"/>
                  <a:pt x="468937" y="482101"/>
                </a:cubicBezTo>
                <a:cubicBezTo>
                  <a:pt x="466952" y="480513"/>
                  <a:pt x="468937" y="478926"/>
                  <a:pt x="468937" y="478926"/>
                </a:cubicBezTo>
                <a:close/>
                <a:moveTo>
                  <a:pt x="479652" y="470988"/>
                </a:moveTo>
                <a:cubicBezTo>
                  <a:pt x="479652" y="469401"/>
                  <a:pt x="482827" y="470988"/>
                  <a:pt x="482827" y="470988"/>
                </a:cubicBezTo>
                <a:cubicBezTo>
                  <a:pt x="484415" y="472575"/>
                  <a:pt x="484415" y="472575"/>
                  <a:pt x="482827" y="474163"/>
                </a:cubicBezTo>
                <a:cubicBezTo>
                  <a:pt x="482827" y="474163"/>
                  <a:pt x="479652" y="474163"/>
                  <a:pt x="479652" y="472575"/>
                </a:cubicBezTo>
                <a:cubicBezTo>
                  <a:pt x="479652" y="472575"/>
                  <a:pt x="479652" y="470988"/>
                  <a:pt x="479652" y="470988"/>
                </a:cubicBezTo>
                <a:close/>
                <a:moveTo>
                  <a:pt x="212000" y="440826"/>
                </a:moveTo>
                <a:cubicBezTo>
                  <a:pt x="212000" y="440826"/>
                  <a:pt x="214064" y="444733"/>
                  <a:pt x="214064" y="446687"/>
                </a:cubicBezTo>
                <a:cubicBezTo>
                  <a:pt x="214064" y="446687"/>
                  <a:pt x="209937" y="446687"/>
                  <a:pt x="209937" y="448641"/>
                </a:cubicBezTo>
                <a:cubicBezTo>
                  <a:pt x="209937" y="450595"/>
                  <a:pt x="209937" y="450595"/>
                  <a:pt x="209937" y="452549"/>
                </a:cubicBezTo>
                <a:cubicBezTo>
                  <a:pt x="212000" y="452549"/>
                  <a:pt x="216128" y="452549"/>
                  <a:pt x="216128" y="456457"/>
                </a:cubicBezTo>
                <a:cubicBezTo>
                  <a:pt x="216128" y="456457"/>
                  <a:pt x="214064" y="460364"/>
                  <a:pt x="212000" y="460364"/>
                </a:cubicBezTo>
                <a:cubicBezTo>
                  <a:pt x="212000" y="460364"/>
                  <a:pt x="203745" y="462318"/>
                  <a:pt x="203745" y="464272"/>
                </a:cubicBezTo>
                <a:cubicBezTo>
                  <a:pt x="201681" y="466226"/>
                  <a:pt x="197554" y="466226"/>
                  <a:pt x="197554" y="466226"/>
                </a:cubicBezTo>
                <a:cubicBezTo>
                  <a:pt x="195490" y="466226"/>
                  <a:pt x="195490" y="464272"/>
                  <a:pt x="195490" y="464272"/>
                </a:cubicBezTo>
                <a:cubicBezTo>
                  <a:pt x="195490" y="464272"/>
                  <a:pt x="195490" y="462318"/>
                  <a:pt x="195490" y="460364"/>
                </a:cubicBezTo>
                <a:cubicBezTo>
                  <a:pt x="195490" y="460364"/>
                  <a:pt x="199618" y="456457"/>
                  <a:pt x="201681" y="456457"/>
                </a:cubicBezTo>
                <a:cubicBezTo>
                  <a:pt x="201681" y="454503"/>
                  <a:pt x="203745" y="452549"/>
                  <a:pt x="203745" y="450595"/>
                </a:cubicBezTo>
                <a:cubicBezTo>
                  <a:pt x="203745" y="448641"/>
                  <a:pt x="203745" y="444733"/>
                  <a:pt x="203745" y="442780"/>
                </a:cubicBezTo>
                <a:cubicBezTo>
                  <a:pt x="205809" y="442780"/>
                  <a:pt x="209937" y="440826"/>
                  <a:pt x="212000" y="440826"/>
                </a:cubicBezTo>
                <a:close/>
                <a:moveTo>
                  <a:pt x="610357" y="361451"/>
                </a:moveTo>
                <a:cubicBezTo>
                  <a:pt x="610357" y="361451"/>
                  <a:pt x="612473" y="361451"/>
                  <a:pt x="614590" y="363038"/>
                </a:cubicBezTo>
                <a:cubicBezTo>
                  <a:pt x="614590" y="364625"/>
                  <a:pt x="610357" y="366213"/>
                  <a:pt x="608240" y="363038"/>
                </a:cubicBezTo>
                <a:cubicBezTo>
                  <a:pt x="608240" y="363038"/>
                  <a:pt x="610357" y="361451"/>
                  <a:pt x="610357" y="361451"/>
                </a:cubicBezTo>
                <a:close/>
                <a:moveTo>
                  <a:pt x="602525" y="345576"/>
                </a:moveTo>
                <a:cubicBezTo>
                  <a:pt x="604430" y="345576"/>
                  <a:pt x="606335" y="347481"/>
                  <a:pt x="608240" y="349386"/>
                </a:cubicBezTo>
                <a:cubicBezTo>
                  <a:pt x="608240" y="351291"/>
                  <a:pt x="608240" y="353196"/>
                  <a:pt x="608240" y="353196"/>
                </a:cubicBezTo>
                <a:cubicBezTo>
                  <a:pt x="606335" y="355101"/>
                  <a:pt x="600620" y="355101"/>
                  <a:pt x="598715" y="351291"/>
                </a:cubicBezTo>
                <a:cubicBezTo>
                  <a:pt x="598715" y="349386"/>
                  <a:pt x="598715" y="347481"/>
                  <a:pt x="600620" y="347481"/>
                </a:cubicBezTo>
                <a:cubicBezTo>
                  <a:pt x="600620" y="345576"/>
                  <a:pt x="602525" y="345576"/>
                  <a:pt x="602525" y="345576"/>
                </a:cubicBezTo>
                <a:close/>
                <a:moveTo>
                  <a:pt x="607182" y="340813"/>
                </a:moveTo>
                <a:cubicBezTo>
                  <a:pt x="609298" y="340813"/>
                  <a:pt x="611415" y="340813"/>
                  <a:pt x="611415" y="342929"/>
                </a:cubicBezTo>
                <a:cubicBezTo>
                  <a:pt x="611415" y="345046"/>
                  <a:pt x="607182" y="347163"/>
                  <a:pt x="605065" y="345046"/>
                </a:cubicBezTo>
                <a:cubicBezTo>
                  <a:pt x="605065" y="342929"/>
                  <a:pt x="607182" y="340813"/>
                  <a:pt x="607182" y="340813"/>
                </a:cubicBezTo>
                <a:close/>
                <a:moveTo>
                  <a:pt x="598715" y="339226"/>
                </a:moveTo>
                <a:cubicBezTo>
                  <a:pt x="600303" y="339226"/>
                  <a:pt x="600303" y="339226"/>
                  <a:pt x="600303" y="341342"/>
                </a:cubicBezTo>
                <a:cubicBezTo>
                  <a:pt x="600303" y="341342"/>
                  <a:pt x="600303" y="343459"/>
                  <a:pt x="600303" y="343459"/>
                </a:cubicBezTo>
                <a:cubicBezTo>
                  <a:pt x="600303" y="343459"/>
                  <a:pt x="597128" y="345576"/>
                  <a:pt x="597128" y="345576"/>
                </a:cubicBezTo>
                <a:cubicBezTo>
                  <a:pt x="595540" y="343459"/>
                  <a:pt x="595540" y="343459"/>
                  <a:pt x="595540" y="341342"/>
                </a:cubicBezTo>
                <a:cubicBezTo>
                  <a:pt x="597128" y="341342"/>
                  <a:pt x="597128" y="339226"/>
                  <a:pt x="598715" y="339226"/>
                </a:cubicBezTo>
                <a:close/>
                <a:moveTo>
                  <a:pt x="604535" y="334463"/>
                </a:moveTo>
                <a:cubicBezTo>
                  <a:pt x="606652" y="336579"/>
                  <a:pt x="606652" y="336579"/>
                  <a:pt x="606652" y="336579"/>
                </a:cubicBezTo>
                <a:cubicBezTo>
                  <a:pt x="606652" y="338696"/>
                  <a:pt x="604535" y="338696"/>
                  <a:pt x="604535" y="338696"/>
                </a:cubicBezTo>
                <a:cubicBezTo>
                  <a:pt x="604535" y="338696"/>
                  <a:pt x="602419" y="340813"/>
                  <a:pt x="600302" y="338696"/>
                </a:cubicBezTo>
                <a:cubicBezTo>
                  <a:pt x="600302" y="338696"/>
                  <a:pt x="600302" y="336579"/>
                  <a:pt x="600302" y="336579"/>
                </a:cubicBezTo>
                <a:cubicBezTo>
                  <a:pt x="602419" y="334463"/>
                  <a:pt x="602419" y="334463"/>
                  <a:pt x="604535" y="334463"/>
                </a:cubicBezTo>
                <a:close/>
                <a:moveTo>
                  <a:pt x="623057" y="332876"/>
                </a:moveTo>
                <a:cubicBezTo>
                  <a:pt x="625173" y="332876"/>
                  <a:pt x="627290" y="332876"/>
                  <a:pt x="627290" y="337109"/>
                </a:cubicBezTo>
                <a:cubicBezTo>
                  <a:pt x="627290" y="337109"/>
                  <a:pt x="623057" y="339226"/>
                  <a:pt x="620940" y="337109"/>
                </a:cubicBezTo>
                <a:cubicBezTo>
                  <a:pt x="620940" y="334992"/>
                  <a:pt x="623057" y="332876"/>
                  <a:pt x="623057" y="332876"/>
                </a:cubicBezTo>
                <a:close/>
                <a:moveTo>
                  <a:pt x="394957" y="210638"/>
                </a:moveTo>
                <a:cubicBezTo>
                  <a:pt x="394957" y="210638"/>
                  <a:pt x="392963" y="214634"/>
                  <a:pt x="390969" y="216632"/>
                </a:cubicBezTo>
                <a:cubicBezTo>
                  <a:pt x="390969" y="218630"/>
                  <a:pt x="386981" y="220628"/>
                  <a:pt x="388975" y="222626"/>
                </a:cubicBezTo>
                <a:cubicBezTo>
                  <a:pt x="388975" y="224624"/>
                  <a:pt x="392963" y="222626"/>
                  <a:pt x="394957" y="222626"/>
                </a:cubicBezTo>
                <a:cubicBezTo>
                  <a:pt x="394957" y="222626"/>
                  <a:pt x="396951" y="222626"/>
                  <a:pt x="396951" y="226622"/>
                </a:cubicBezTo>
                <a:cubicBezTo>
                  <a:pt x="396951" y="230618"/>
                  <a:pt x="394957" y="236613"/>
                  <a:pt x="394957" y="238611"/>
                </a:cubicBezTo>
                <a:cubicBezTo>
                  <a:pt x="396951" y="242607"/>
                  <a:pt x="394957" y="242607"/>
                  <a:pt x="398944" y="244605"/>
                </a:cubicBezTo>
                <a:cubicBezTo>
                  <a:pt x="400938" y="246603"/>
                  <a:pt x="402932" y="244605"/>
                  <a:pt x="402932" y="242607"/>
                </a:cubicBezTo>
                <a:cubicBezTo>
                  <a:pt x="404926" y="240609"/>
                  <a:pt x="406920" y="240609"/>
                  <a:pt x="408914" y="240609"/>
                </a:cubicBezTo>
                <a:cubicBezTo>
                  <a:pt x="410908" y="238611"/>
                  <a:pt x="410908" y="242607"/>
                  <a:pt x="410908" y="242607"/>
                </a:cubicBezTo>
                <a:cubicBezTo>
                  <a:pt x="410908" y="244605"/>
                  <a:pt x="412902" y="244605"/>
                  <a:pt x="414896" y="244605"/>
                </a:cubicBezTo>
                <a:cubicBezTo>
                  <a:pt x="414896" y="240609"/>
                  <a:pt x="418883" y="236613"/>
                  <a:pt x="420877" y="234614"/>
                </a:cubicBezTo>
                <a:cubicBezTo>
                  <a:pt x="422871" y="234614"/>
                  <a:pt x="424865" y="230618"/>
                  <a:pt x="426859" y="232616"/>
                </a:cubicBezTo>
                <a:cubicBezTo>
                  <a:pt x="428853" y="234614"/>
                  <a:pt x="428853" y="238611"/>
                  <a:pt x="428853" y="240609"/>
                </a:cubicBezTo>
                <a:cubicBezTo>
                  <a:pt x="426859" y="240609"/>
                  <a:pt x="426859" y="240609"/>
                  <a:pt x="424865" y="244605"/>
                </a:cubicBezTo>
                <a:cubicBezTo>
                  <a:pt x="424865" y="246603"/>
                  <a:pt x="424865" y="248601"/>
                  <a:pt x="424865" y="248601"/>
                </a:cubicBezTo>
                <a:cubicBezTo>
                  <a:pt x="422871" y="250599"/>
                  <a:pt x="416890" y="250599"/>
                  <a:pt x="416890" y="252597"/>
                </a:cubicBezTo>
                <a:cubicBezTo>
                  <a:pt x="414896" y="256593"/>
                  <a:pt x="414896" y="260589"/>
                  <a:pt x="414896" y="260589"/>
                </a:cubicBezTo>
                <a:cubicBezTo>
                  <a:pt x="414896" y="260589"/>
                  <a:pt x="414896" y="266583"/>
                  <a:pt x="412902" y="268582"/>
                </a:cubicBezTo>
                <a:cubicBezTo>
                  <a:pt x="412902" y="270580"/>
                  <a:pt x="406920" y="276574"/>
                  <a:pt x="404926" y="276574"/>
                </a:cubicBezTo>
                <a:cubicBezTo>
                  <a:pt x="402932" y="278572"/>
                  <a:pt x="402932" y="280570"/>
                  <a:pt x="400938" y="282568"/>
                </a:cubicBezTo>
                <a:cubicBezTo>
                  <a:pt x="400938" y="284566"/>
                  <a:pt x="398944" y="286564"/>
                  <a:pt x="396951" y="286564"/>
                </a:cubicBezTo>
                <a:cubicBezTo>
                  <a:pt x="394957" y="288562"/>
                  <a:pt x="390969" y="290560"/>
                  <a:pt x="390969" y="292558"/>
                </a:cubicBezTo>
                <a:cubicBezTo>
                  <a:pt x="388975" y="294556"/>
                  <a:pt x="386981" y="298552"/>
                  <a:pt x="384987" y="302549"/>
                </a:cubicBezTo>
                <a:cubicBezTo>
                  <a:pt x="380999" y="306545"/>
                  <a:pt x="382993" y="308543"/>
                  <a:pt x="380999" y="310541"/>
                </a:cubicBezTo>
                <a:cubicBezTo>
                  <a:pt x="377011" y="312539"/>
                  <a:pt x="373024" y="308543"/>
                  <a:pt x="373024" y="312539"/>
                </a:cubicBezTo>
                <a:cubicBezTo>
                  <a:pt x="369036" y="314537"/>
                  <a:pt x="367042" y="316535"/>
                  <a:pt x="367042" y="316535"/>
                </a:cubicBezTo>
                <a:cubicBezTo>
                  <a:pt x="367042" y="318533"/>
                  <a:pt x="367042" y="322529"/>
                  <a:pt x="365048" y="324527"/>
                </a:cubicBezTo>
                <a:cubicBezTo>
                  <a:pt x="365048" y="324527"/>
                  <a:pt x="363054" y="326525"/>
                  <a:pt x="363054" y="328523"/>
                </a:cubicBezTo>
                <a:cubicBezTo>
                  <a:pt x="363054" y="330521"/>
                  <a:pt x="365048" y="330521"/>
                  <a:pt x="365048" y="330521"/>
                </a:cubicBezTo>
                <a:cubicBezTo>
                  <a:pt x="367042" y="330521"/>
                  <a:pt x="367042" y="328523"/>
                  <a:pt x="369036" y="328523"/>
                </a:cubicBezTo>
                <a:cubicBezTo>
                  <a:pt x="373024" y="328523"/>
                  <a:pt x="375018" y="330521"/>
                  <a:pt x="373024" y="334517"/>
                </a:cubicBezTo>
                <a:cubicBezTo>
                  <a:pt x="373024" y="336516"/>
                  <a:pt x="373024" y="338514"/>
                  <a:pt x="371030" y="338514"/>
                </a:cubicBezTo>
                <a:cubicBezTo>
                  <a:pt x="369036" y="338514"/>
                  <a:pt x="367042" y="338514"/>
                  <a:pt x="367042" y="336516"/>
                </a:cubicBezTo>
                <a:cubicBezTo>
                  <a:pt x="365048" y="336516"/>
                  <a:pt x="363054" y="334517"/>
                  <a:pt x="361060" y="334517"/>
                </a:cubicBezTo>
                <a:cubicBezTo>
                  <a:pt x="361060" y="334517"/>
                  <a:pt x="359066" y="336516"/>
                  <a:pt x="357072" y="336516"/>
                </a:cubicBezTo>
                <a:cubicBezTo>
                  <a:pt x="355079" y="336516"/>
                  <a:pt x="355079" y="338514"/>
                  <a:pt x="353085" y="336516"/>
                </a:cubicBezTo>
                <a:cubicBezTo>
                  <a:pt x="351091" y="336516"/>
                  <a:pt x="349097" y="336516"/>
                  <a:pt x="347103" y="336516"/>
                </a:cubicBezTo>
                <a:cubicBezTo>
                  <a:pt x="347103" y="336516"/>
                  <a:pt x="343115" y="338514"/>
                  <a:pt x="341121" y="340512"/>
                </a:cubicBezTo>
                <a:cubicBezTo>
                  <a:pt x="341121" y="340512"/>
                  <a:pt x="337133" y="344508"/>
                  <a:pt x="337133" y="346506"/>
                </a:cubicBezTo>
                <a:cubicBezTo>
                  <a:pt x="335140" y="348504"/>
                  <a:pt x="333146" y="346506"/>
                  <a:pt x="331152" y="346506"/>
                </a:cubicBezTo>
                <a:cubicBezTo>
                  <a:pt x="329158" y="348504"/>
                  <a:pt x="325170" y="346506"/>
                  <a:pt x="323176" y="348504"/>
                </a:cubicBezTo>
                <a:cubicBezTo>
                  <a:pt x="323176" y="348504"/>
                  <a:pt x="319188" y="354498"/>
                  <a:pt x="317194" y="356496"/>
                </a:cubicBezTo>
                <a:cubicBezTo>
                  <a:pt x="315200" y="358494"/>
                  <a:pt x="313207" y="368485"/>
                  <a:pt x="313207" y="372481"/>
                </a:cubicBezTo>
                <a:cubicBezTo>
                  <a:pt x="311213" y="376477"/>
                  <a:pt x="309219" y="378475"/>
                  <a:pt x="307225" y="382471"/>
                </a:cubicBezTo>
                <a:cubicBezTo>
                  <a:pt x="305231" y="384469"/>
                  <a:pt x="301243" y="382471"/>
                  <a:pt x="301243" y="384469"/>
                </a:cubicBezTo>
                <a:cubicBezTo>
                  <a:pt x="299249" y="386467"/>
                  <a:pt x="297255" y="394459"/>
                  <a:pt x="297255" y="396457"/>
                </a:cubicBezTo>
                <a:cubicBezTo>
                  <a:pt x="297255" y="398455"/>
                  <a:pt x="293268" y="402452"/>
                  <a:pt x="293268" y="402452"/>
                </a:cubicBezTo>
                <a:cubicBezTo>
                  <a:pt x="293268" y="404450"/>
                  <a:pt x="289280" y="406448"/>
                  <a:pt x="289280" y="406448"/>
                </a:cubicBezTo>
                <a:cubicBezTo>
                  <a:pt x="289280" y="408446"/>
                  <a:pt x="293268" y="408446"/>
                  <a:pt x="293268" y="408446"/>
                </a:cubicBezTo>
                <a:cubicBezTo>
                  <a:pt x="295261" y="408446"/>
                  <a:pt x="297255" y="410444"/>
                  <a:pt x="295261" y="412442"/>
                </a:cubicBezTo>
                <a:cubicBezTo>
                  <a:pt x="295261" y="412442"/>
                  <a:pt x="291274" y="412442"/>
                  <a:pt x="289280" y="412442"/>
                </a:cubicBezTo>
                <a:cubicBezTo>
                  <a:pt x="289280" y="412442"/>
                  <a:pt x="283298" y="412442"/>
                  <a:pt x="281304" y="414440"/>
                </a:cubicBezTo>
                <a:cubicBezTo>
                  <a:pt x="281304" y="414440"/>
                  <a:pt x="275322" y="418436"/>
                  <a:pt x="275322" y="420434"/>
                </a:cubicBezTo>
                <a:cubicBezTo>
                  <a:pt x="273328" y="422432"/>
                  <a:pt x="261365" y="430424"/>
                  <a:pt x="261365" y="430424"/>
                </a:cubicBezTo>
                <a:cubicBezTo>
                  <a:pt x="259371" y="430424"/>
                  <a:pt x="253389" y="434421"/>
                  <a:pt x="253389" y="434421"/>
                </a:cubicBezTo>
                <a:cubicBezTo>
                  <a:pt x="251396" y="436419"/>
                  <a:pt x="247408" y="438417"/>
                  <a:pt x="247408" y="440415"/>
                </a:cubicBezTo>
                <a:cubicBezTo>
                  <a:pt x="245414" y="440415"/>
                  <a:pt x="243420" y="442413"/>
                  <a:pt x="241426" y="442413"/>
                </a:cubicBezTo>
                <a:cubicBezTo>
                  <a:pt x="239432" y="442413"/>
                  <a:pt x="227469" y="440415"/>
                  <a:pt x="225475" y="440415"/>
                </a:cubicBezTo>
                <a:cubicBezTo>
                  <a:pt x="225475" y="440415"/>
                  <a:pt x="221487" y="440415"/>
                  <a:pt x="221487" y="438417"/>
                </a:cubicBezTo>
                <a:cubicBezTo>
                  <a:pt x="221487" y="438417"/>
                  <a:pt x="225475" y="434421"/>
                  <a:pt x="225475" y="434421"/>
                </a:cubicBezTo>
                <a:cubicBezTo>
                  <a:pt x="225475" y="432422"/>
                  <a:pt x="227469" y="432422"/>
                  <a:pt x="227469" y="430424"/>
                </a:cubicBezTo>
                <a:cubicBezTo>
                  <a:pt x="225475" y="430424"/>
                  <a:pt x="225475" y="428426"/>
                  <a:pt x="225475" y="428426"/>
                </a:cubicBezTo>
                <a:cubicBezTo>
                  <a:pt x="225475" y="428426"/>
                  <a:pt x="221487" y="432422"/>
                  <a:pt x="219493" y="430424"/>
                </a:cubicBezTo>
                <a:cubicBezTo>
                  <a:pt x="219493" y="430424"/>
                  <a:pt x="217499" y="428426"/>
                  <a:pt x="217499" y="428426"/>
                </a:cubicBezTo>
                <a:cubicBezTo>
                  <a:pt x="217499" y="428426"/>
                  <a:pt x="211517" y="428426"/>
                  <a:pt x="209524" y="428426"/>
                </a:cubicBezTo>
                <a:cubicBezTo>
                  <a:pt x="209524" y="428426"/>
                  <a:pt x="205536" y="428426"/>
                  <a:pt x="205536" y="428426"/>
                </a:cubicBezTo>
                <a:cubicBezTo>
                  <a:pt x="205536" y="426428"/>
                  <a:pt x="207530" y="424430"/>
                  <a:pt x="207530" y="424430"/>
                </a:cubicBezTo>
                <a:cubicBezTo>
                  <a:pt x="207530" y="424430"/>
                  <a:pt x="209524" y="422432"/>
                  <a:pt x="209524" y="422432"/>
                </a:cubicBezTo>
                <a:cubicBezTo>
                  <a:pt x="209524" y="422432"/>
                  <a:pt x="205536" y="422432"/>
                  <a:pt x="203542" y="422432"/>
                </a:cubicBezTo>
                <a:cubicBezTo>
                  <a:pt x="201548" y="424430"/>
                  <a:pt x="201548" y="424430"/>
                  <a:pt x="199554" y="424430"/>
                </a:cubicBezTo>
                <a:cubicBezTo>
                  <a:pt x="199554" y="424430"/>
                  <a:pt x="195566" y="424430"/>
                  <a:pt x="195566" y="424430"/>
                </a:cubicBezTo>
                <a:cubicBezTo>
                  <a:pt x="195566" y="424430"/>
                  <a:pt x="193572" y="422432"/>
                  <a:pt x="193572" y="422432"/>
                </a:cubicBezTo>
                <a:cubicBezTo>
                  <a:pt x="191578" y="422432"/>
                  <a:pt x="187591" y="422432"/>
                  <a:pt x="187591" y="422432"/>
                </a:cubicBezTo>
                <a:cubicBezTo>
                  <a:pt x="185597" y="422432"/>
                  <a:pt x="183603" y="422432"/>
                  <a:pt x="181609" y="422432"/>
                </a:cubicBezTo>
                <a:cubicBezTo>
                  <a:pt x="181609" y="422432"/>
                  <a:pt x="179615" y="420434"/>
                  <a:pt x="181609" y="420434"/>
                </a:cubicBezTo>
                <a:cubicBezTo>
                  <a:pt x="181609" y="418436"/>
                  <a:pt x="183603" y="416438"/>
                  <a:pt x="183603" y="416438"/>
                </a:cubicBezTo>
                <a:cubicBezTo>
                  <a:pt x="183603" y="414440"/>
                  <a:pt x="183603" y="414440"/>
                  <a:pt x="183603" y="412442"/>
                </a:cubicBezTo>
                <a:cubicBezTo>
                  <a:pt x="183603" y="412442"/>
                  <a:pt x="181609" y="412442"/>
                  <a:pt x="181609" y="410444"/>
                </a:cubicBezTo>
                <a:cubicBezTo>
                  <a:pt x="181609" y="410444"/>
                  <a:pt x="181609" y="408446"/>
                  <a:pt x="181609" y="406448"/>
                </a:cubicBezTo>
                <a:cubicBezTo>
                  <a:pt x="181609" y="406448"/>
                  <a:pt x="183603" y="404450"/>
                  <a:pt x="185597" y="404450"/>
                </a:cubicBezTo>
                <a:cubicBezTo>
                  <a:pt x="187591" y="404450"/>
                  <a:pt x="189585" y="404450"/>
                  <a:pt x="191578" y="404450"/>
                </a:cubicBezTo>
                <a:cubicBezTo>
                  <a:pt x="191578" y="404450"/>
                  <a:pt x="191578" y="402452"/>
                  <a:pt x="191578" y="402452"/>
                </a:cubicBezTo>
                <a:cubicBezTo>
                  <a:pt x="191578" y="400453"/>
                  <a:pt x="191578" y="396457"/>
                  <a:pt x="191578" y="394459"/>
                </a:cubicBezTo>
                <a:cubicBezTo>
                  <a:pt x="191578" y="392461"/>
                  <a:pt x="197560" y="386467"/>
                  <a:pt x="197560" y="386467"/>
                </a:cubicBezTo>
                <a:cubicBezTo>
                  <a:pt x="197560" y="386467"/>
                  <a:pt x="207530" y="380473"/>
                  <a:pt x="209524" y="378475"/>
                </a:cubicBezTo>
                <a:cubicBezTo>
                  <a:pt x="213511" y="374479"/>
                  <a:pt x="213511" y="372481"/>
                  <a:pt x="215505" y="370483"/>
                </a:cubicBezTo>
                <a:cubicBezTo>
                  <a:pt x="215505" y="366486"/>
                  <a:pt x="219493" y="364488"/>
                  <a:pt x="221487" y="362490"/>
                </a:cubicBezTo>
                <a:cubicBezTo>
                  <a:pt x="225475" y="362490"/>
                  <a:pt x="233450" y="354498"/>
                  <a:pt x="237438" y="352500"/>
                </a:cubicBezTo>
                <a:cubicBezTo>
                  <a:pt x="239432" y="350502"/>
                  <a:pt x="241426" y="344508"/>
                  <a:pt x="243420" y="344508"/>
                </a:cubicBezTo>
                <a:cubicBezTo>
                  <a:pt x="247408" y="342510"/>
                  <a:pt x="251396" y="340512"/>
                  <a:pt x="255383" y="340512"/>
                </a:cubicBezTo>
                <a:cubicBezTo>
                  <a:pt x="259371" y="340512"/>
                  <a:pt x="261365" y="340512"/>
                  <a:pt x="263359" y="340512"/>
                </a:cubicBezTo>
                <a:cubicBezTo>
                  <a:pt x="263359" y="338514"/>
                  <a:pt x="265353" y="334517"/>
                  <a:pt x="267347" y="332519"/>
                </a:cubicBezTo>
                <a:cubicBezTo>
                  <a:pt x="269341" y="332519"/>
                  <a:pt x="275322" y="330521"/>
                  <a:pt x="277316" y="330521"/>
                </a:cubicBezTo>
                <a:cubicBezTo>
                  <a:pt x="279310" y="330521"/>
                  <a:pt x="279310" y="326525"/>
                  <a:pt x="281304" y="324527"/>
                </a:cubicBezTo>
                <a:cubicBezTo>
                  <a:pt x="281304" y="324527"/>
                  <a:pt x="289280" y="322529"/>
                  <a:pt x="289280" y="320531"/>
                </a:cubicBezTo>
                <a:cubicBezTo>
                  <a:pt x="291274" y="320531"/>
                  <a:pt x="301243" y="318533"/>
                  <a:pt x="303237" y="316535"/>
                </a:cubicBezTo>
                <a:cubicBezTo>
                  <a:pt x="303237" y="314537"/>
                  <a:pt x="303237" y="308543"/>
                  <a:pt x="305231" y="308543"/>
                </a:cubicBezTo>
                <a:cubicBezTo>
                  <a:pt x="305231" y="306545"/>
                  <a:pt x="317194" y="302549"/>
                  <a:pt x="319188" y="300550"/>
                </a:cubicBezTo>
                <a:cubicBezTo>
                  <a:pt x="321182" y="298552"/>
                  <a:pt x="323176" y="296554"/>
                  <a:pt x="325170" y="296554"/>
                </a:cubicBezTo>
                <a:cubicBezTo>
                  <a:pt x="327164" y="294556"/>
                  <a:pt x="333146" y="294556"/>
                  <a:pt x="335140" y="292558"/>
                </a:cubicBezTo>
                <a:cubicBezTo>
                  <a:pt x="335140" y="290560"/>
                  <a:pt x="337133" y="286564"/>
                  <a:pt x="337133" y="284566"/>
                </a:cubicBezTo>
                <a:cubicBezTo>
                  <a:pt x="339127" y="282568"/>
                  <a:pt x="343115" y="274576"/>
                  <a:pt x="343115" y="272578"/>
                </a:cubicBezTo>
                <a:cubicBezTo>
                  <a:pt x="345109" y="268582"/>
                  <a:pt x="349097" y="264585"/>
                  <a:pt x="349097" y="260589"/>
                </a:cubicBezTo>
                <a:cubicBezTo>
                  <a:pt x="349097" y="258591"/>
                  <a:pt x="351091" y="258591"/>
                  <a:pt x="353085" y="256593"/>
                </a:cubicBezTo>
                <a:cubicBezTo>
                  <a:pt x="355079" y="256593"/>
                  <a:pt x="361060" y="256593"/>
                  <a:pt x="361060" y="254595"/>
                </a:cubicBezTo>
                <a:cubicBezTo>
                  <a:pt x="363054" y="252597"/>
                  <a:pt x="367042" y="244605"/>
                  <a:pt x="369036" y="240609"/>
                </a:cubicBezTo>
                <a:cubicBezTo>
                  <a:pt x="369036" y="240609"/>
                  <a:pt x="377011" y="228620"/>
                  <a:pt x="377011" y="226622"/>
                </a:cubicBezTo>
                <a:cubicBezTo>
                  <a:pt x="377011" y="224624"/>
                  <a:pt x="380999" y="220628"/>
                  <a:pt x="380999" y="220628"/>
                </a:cubicBezTo>
                <a:cubicBezTo>
                  <a:pt x="382993" y="218630"/>
                  <a:pt x="386981" y="218630"/>
                  <a:pt x="386981" y="216632"/>
                </a:cubicBezTo>
                <a:cubicBezTo>
                  <a:pt x="386981" y="214634"/>
                  <a:pt x="386981" y="212636"/>
                  <a:pt x="388975" y="212636"/>
                </a:cubicBezTo>
                <a:cubicBezTo>
                  <a:pt x="388975" y="210638"/>
                  <a:pt x="394957" y="210638"/>
                  <a:pt x="394957" y="210638"/>
                </a:cubicBezTo>
                <a:close/>
                <a:moveTo>
                  <a:pt x="451214" y="1494"/>
                </a:moveTo>
                <a:cubicBezTo>
                  <a:pt x="453209" y="-499"/>
                  <a:pt x="455205" y="-499"/>
                  <a:pt x="455205" y="1494"/>
                </a:cubicBezTo>
                <a:cubicBezTo>
                  <a:pt x="455205" y="3488"/>
                  <a:pt x="451214" y="7475"/>
                  <a:pt x="449218" y="7475"/>
                </a:cubicBezTo>
                <a:cubicBezTo>
                  <a:pt x="449218" y="9469"/>
                  <a:pt x="445226" y="11462"/>
                  <a:pt x="445226" y="11462"/>
                </a:cubicBezTo>
                <a:cubicBezTo>
                  <a:pt x="445226" y="13456"/>
                  <a:pt x="449218" y="15450"/>
                  <a:pt x="449218" y="15450"/>
                </a:cubicBezTo>
                <a:cubicBezTo>
                  <a:pt x="449218" y="15450"/>
                  <a:pt x="449218" y="21430"/>
                  <a:pt x="449218" y="23424"/>
                </a:cubicBezTo>
                <a:cubicBezTo>
                  <a:pt x="449218" y="23424"/>
                  <a:pt x="451214" y="25418"/>
                  <a:pt x="451214" y="25418"/>
                </a:cubicBezTo>
                <a:cubicBezTo>
                  <a:pt x="453209" y="25418"/>
                  <a:pt x="453209" y="21430"/>
                  <a:pt x="453209" y="19437"/>
                </a:cubicBezTo>
                <a:cubicBezTo>
                  <a:pt x="455205" y="19437"/>
                  <a:pt x="457201" y="17443"/>
                  <a:pt x="457201" y="17443"/>
                </a:cubicBezTo>
                <a:cubicBezTo>
                  <a:pt x="459196" y="17443"/>
                  <a:pt x="461192" y="17443"/>
                  <a:pt x="461192" y="19437"/>
                </a:cubicBezTo>
                <a:cubicBezTo>
                  <a:pt x="461192" y="19437"/>
                  <a:pt x="461192" y="25418"/>
                  <a:pt x="461192" y="25418"/>
                </a:cubicBezTo>
                <a:cubicBezTo>
                  <a:pt x="461192" y="27411"/>
                  <a:pt x="463188" y="25418"/>
                  <a:pt x="465184" y="25418"/>
                </a:cubicBezTo>
                <a:cubicBezTo>
                  <a:pt x="467179" y="25418"/>
                  <a:pt x="469175" y="29405"/>
                  <a:pt x="471171" y="29405"/>
                </a:cubicBezTo>
                <a:cubicBezTo>
                  <a:pt x="471171" y="29405"/>
                  <a:pt x="473166" y="33392"/>
                  <a:pt x="475162" y="33392"/>
                </a:cubicBezTo>
                <a:cubicBezTo>
                  <a:pt x="475162" y="35386"/>
                  <a:pt x="479154" y="37379"/>
                  <a:pt x="479154" y="39373"/>
                </a:cubicBezTo>
                <a:cubicBezTo>
                  <a:pt x="481149" y="41366"/>
                  <a:pt x="481149" y="47347"/>
                  <a:pt x="481149" y="49341"/>
                </a:cubicBezTo>
                <a:cubicBezTo>
                  <a:pt x="481149" y="51334"/>
                  <a:pt x="479154" y="51334"/>
                  <a:pt x="479154" y="51334"/>
                </a:cubicBezTo>
                <a:cubicBezTo>
                  <a:pt x="477158" y="53328"/>
                  <a:pt x="475162" y="53328"/>
                  <a:pt x="475162" y="53328"/>
                </a:cubicBezTo>
                <a:cubicBezTo>
                  <a:pt x="475162" y="55322"/>
                  <a:pt x="475162" y="57315"/>
                  <a:pt x="475162" y="59309"/>
                </a:cubicBezTo>
                <a:cubicBezTo>
                  <a:pt x="477158" y="61302"/>
                  <a:pt x="479154" y="63296"/>
                  <a:pt x="479154" y="63296"/>
                </a:cubicBezTo>
                <a:cubicBezTo>
                  <a:pt x="479154" y="65290"/>
                  <a:pt x="479154" y="67283"/>
                  <a:pt x="479154" y="69277"/>
                </a:cubicBezTo>
                <a:cubicBezTo>
                  <a:pt x="479154" y="71271"/>
                  <a:pt x="475162" y="73264"/>
                  <a:pt x="475162" y="73264"/>
                </a:cubicBezTo>
                <a:cubicBezTo>
                  <a:pt x="475162" y="75258"/>
                  <a:pt x="473166" y="81239"/>
                  <a:pt x="473166" y="83232"/>
                </a:cubicBezTo>
                <a:cubicBezTo>
                  <a:pt x="475162" y="85226"/>
                  <a:pt x="475162" y="87219"/>
                  <a:pt x="475162" y="87219"/>
                </a:cubicBezTo>
                <a:cubicBezTo>
                  <a:pt x="477158" y="87219"/>
                  <a:pt x="479154" y="87219"/>
                  <a:pt x="481149" y="87219"/>
                </a:cubicBezTo>
                <a:cubicBezTo>
                  <a:pt x="483145" y="89213"/>
                  <a:pt x="487136" y="89213"/>
                  <a:pt x="487136" y="91207"/>
                </a:cubicBezTo>
                <a:cubicBezTo>
                  <a:pt x="489132" y="93200"/>
                  <a:pt x="487136" y="95194"/>
                  <a:pt x="487136" y="95194"/>
                </a:cubicBezTo>
                <a:cubicBezTo>
                  <a:pt x="487136" y="97187"/>
                  <a:pt x="485141" y="101175"/>
                  <a:pt x="487136" y="101175"/>
                </a:cubicBezTo>
                <a:cubicBezTo>
                  <a:pt x="487136" y="103168"/>
                  <a:pt x="489132" y="103168"/>
                  <a:pt x="489132" y="101175"/>
                </a:cubicBezTo>
                <a:cubicBezTo>
                  <a:pt x="491128" y="101175"/>
                  <a:pt x="491128" y="97187"/>
                  <a:pt x="491128" y="97187"/>
                </a:cubicBezTo>
                <a:cubicBezTo>
                  <a:pt x="491128" y="97187"/>
                  <a:pt x="491128" y="93200"/>
                  <a:pt x="491128" y="91207"/>
                </a:cubicBezTo>
                <a:cubicBezTo>
                  <a:pt x="491128" y="89213"/>
                  <a:pt x="491128" y="87219"/>
                  <a:pt x="491128" y="87219"/>
                </a:cubicBezTo>
                <a:cubicBezTo>
                  <a:pt x="491128" y="87219"/>
                  <a:pt x="493124" y="83232"/>
                  <a:pt x="493124" y="83232"/>
                </a:cubicBezTo>
                <a:cubicBezTo>
                  <a:pt x="493124" y="81239"/>
                  <a:pt x="493124" y="79245"/>
                  <a:pt x="493124" y="79245"/>
                </a:cubicBezTo>
                <a:cubicBezTo>
                  <a:pt x="493124" y="77251"/>
                  <a:pt x="491128" y="75258"/>
                  <a:pt x="491128" y="75258"/>
                </a:cubicBezTo>
                <a:cubicBezTo>
                  <a:pt x="491128" y="73264"/>
                  <a:pt x="491128" y="71271"/>
                  <a:pt x="493124" y="73264"/>
                </a:cubicBezTo>
                <a:cubicBezTo>
                  <a:pt x="497115" y="73264"/>
                  <a:pt x="497115" y="75258"/>
                  <a:pt x="497115" y="77251"/>
                </a:cubicBezTo>
                <a:cubicBezTo>
                  <a:pt x="497115" y="79245"/>
                  <a:pt x="497115" y="81239"/>
                  <a:pt x="499111" y="83232"/>
                </a:cubicBezTo>
                <a:cubicBezTo>
                  <a:pt x="499111" y="83232"/>
                  <a:pt x="501106" y="85226"/>
                  <a:pt x="501106" y="85226"/>
                </a:cubicBezTo>
                <a:cubicBezTo>
                  <a:pt x="501106" y="87219"/>
                  <a:pt x="501106" y="93200"/>
                  <a:pt x="501106" y="95194"/>
                </a:cubicBezTo>
                <a:cubicBezTo>
                  <a:pt x="501106" y="97187"/>
                  <a:pt x="499111" y="105162"/>
                  <a:pt x="499111" y="107155"/>
                </a:cubicBezTo>
                <a:cubicBezTo>
                  <a:pt x="501106" y="109149"/>
                  <a:pt x="501106" y="111143"/>
                  <a:pt x="503102" y="113136"/>
                </a:cubicBezTo>
                <a:cubicBezTo>
                  <a:pt x="505098" y="115130"/>
                  <a:pt x="511085" y="119117"/>
                  <a:pt x="511085" y="121111"/>
                </a:cubicBezTo>
                <a:cubicBezTo>
                  <a:pt x="513081" y="121111"/>
                  <a:pt x="517072" y="123104"/>
                  <a:pt x="517072" y="123104"/>
                </a:cubicBezTo>
                <a:cubicBezTo>
                  <a:pt x="519068" y="123104"/>
                  <a:pt x="521064" y="127091"/>
                  <a:pt x="523059" y="127091"/>
                </a:cubicBezTo>
                <a:cubicBezTo>
                  <a:pt x="525055" y="129085"/>
                  <a:pt x="529046" y="129085"/>
                  <a:pt x="529046" y="129085"/>
                </a:cubicBezTo>
                <a:cubicBezTo>
                  <a:pt x="531042" y="127091"/>
                  <a:pt x="535034" y="123104"/>
                  <a:pt x="537029" y="123104"/>
                </a:cubicBezTo>
                <a:cubicBezTo>
                  <a:pt x="537029" y="121111"/>
                  <a:pt x="541021" y="117123"/>
                  <a:pt x="543016" y="117123"/>
                </a:cubicBezTo>
                <a:cubicBezTo>
                  <a:pt x="543016" y="117123"/>
                  <a:pt x="545012" y="117123"/>
                  <a:pt x="547008" y="117123"/>
                </a:cubicBezTo>
                <a:cubicBezTo>
                  <a:pt x="547008" y="115130"/>
                  <a:pt x="549004" y="111143"/>
                  <a:pt x="549004" y="109149"/>
                </a:cubicBezTo>
                <a:cubicBezTo>
                  <a:pt x="549004" y="109149"/>
                  <a:pt x="550999" y="105162"/>
                  <a:pt x="550999" y="105162"/>
                </a:cubicBezTo>
                <a:cubicBezTo>
                  <a:pt x="552995" y="105162"/>
                  <a:pt x="554991" y="105162"/>
                  <a:pt x="556986" y="107155"/>
                </a:cubicBezTo>
                <a:cubicBezTo>
                  <a:pt x="556986" y="109149"/>
                  <a:pt x="556986" y="109149"/>
                  <a:pt x="558982" y="111143"/>
                </a:cubicBezTo>
                <a:cubicBezTo>
                  <a:pt x="558982" y="111143"/>
                  <a:pt x="560978" y="113136"/>
                  <a:pt x="562974" y="113136"/>
                </a:cubicBezTo>
                <a:cubicBezTo>
                  <a:pt x="562974" y="113136"/>
                  <a:pt x="566965" y="115130"/>
                  <a:pt x="566965" y="117123"/>
                </a:cubicBezTo>
                <a:cubicBezTo>
                  <a:pt x="566965" y="117123"/>
                  <a:pt x="566965" y="119117"/>
                  <a:pt x="566965" y="119117"/>
                </a:cubicBezTo>
                <a:cubicBezTo>
                  <a:pt x="564969" y="121111"/>
                  <a:pt x="558982" y="125098"/>
                  <a:pt x="558982" y="125098"/>
                </a:cubicBezTo>
                <a:cubicBezTo>
                  <a:pt x="556986" y="127091"/>
                  <a:pt x="554991" y="129085"/>
                  <a:pt x="556986" y="133072"/>
                </a:cubicBezTo>
                <a:cubicBezTo>
                  <a:pt x="556986" y="135066"/>
                  <a:pt x="556986" y="139053"/>
                  <a:pt x="554991" y="139053"/>
                </a:cubicBezTo>
                <a:cubicBezTo>
                  <a:pt x="554991" y="139053"/>
                  <a:pt x="549004" y="145034"/>
                  <a:pt x="549004" y="147028"/>
                </a:cubicBezTo>
                <a:cubicBezTo>
                  <a:pt x="547008" y="147028"/>
                  <a:pt x="543016" y="149021"/>
                  <a:pt x="543016" y="149021"/>
                </a:cubicBezTo>
                <a:cubicBezTo>
                  <a:pt x="541021" y="151015"/>
                  <a:pt x="539025" y="155002"/>
                  <a:pt x="537029" y="156996"/>
                </a:cubicBezTo>
                <a:cubicBezTo>
                  <a:pt x="537029" y="158989"/>
                  <a:pt x="535034" y="158989"/>
                  <a:pt x="535034" y="160983"/>
                </a:cubicBezTo>
                <a:cubicBezTo>
                  <a:pt x="535034" y="162976"/>
                  <a:pt x="537029" y="162976"/>
                  <a:pt x="537029" y="164970"/>
                </a:cubicBezTo>
                <a:cubicBezTo>
                  <a:pt x="537029" y="164970"/>
                  <a:pt x="535034" y="170951"/>
                  <a:pt x="535034" y="170951"/>
                </a:cubicBezTo>
                <a:cubicBezTo>
                  <a:pt x="533038" y="172944"/>
                  <a:pt x="531042" y="172944"/>
                  <a:pt x="529046" y="172944"/>
                </a:cubicBezTo>
                <a:cubicBezTo>
                  <a:pt x="529046" y="170951"/>
                  <a:pt x="531042" y="166964"/>
                  <a:pt x="531042" y="166964"/>
                </a:cubicBezTo>
                <a:cubicBezTo>
                  <a:pt x="529046" y="164970"/>
                  <a:pt x="525055" y="164970"/>
                  <a:pt x="523059" y="164970"/>
                </a:cubicBezTo>
                <a:cubicBezTo>
                  <a:pt x="521064" y="164970"/>
                  <a:pt x="515076" y="166964"/>
                  <a:pt x="513081" y="168957"/>
                </a:cubicBezTo>
                <a:cubicBezTo>
                  <a:pt x="513081" y="168957"/>
                  <a:pt x="505098" y="176932"/>
                  <a:pt x="505098" y="178925"/>
                </a:cubicBezTo>
                <a:cubicBezTo>
                  <a:pt x="505098" y="180919"/>
                  <a:pt x="507094" y="180919"/>
                  <a:pt x="507094" y="180919"/>
                </a:cubicBezTo>
                <a:cubicBezTo>
                  <a:pt x="509089" y="182912"/>
                  <a:pt x="509089" y="184906"/>
                  <a:pt x="509089" y="188893"/>
                </a:cubicBezTo>
                <a:cubicBezTo>
                  <a:pt x="509089" y="190887"/>
                  <a:pt x="507094" y="196868"/>
                  <a:pt x="505098" y="198861"/>
                </a:cubicBezTo>
                <a:cubicBezTo>
                  <a:pt x="505098" y="200855"/>
                  <a:pt x="495119" y="204842"/>
                  <a:pt x="495119" y="204842"/>
                </a:cubicBezTo>
                <a:cubicBezTo>
                  <a:pt x="493124" y="206836"/>
                  <a:pt x="491128" y="208829"/>
                  <a:pt x="491128" y="210823"/>
                </a:cubicBezTo>
                <a:cubicBezTo>
                  <a:pt x="489132" y="212816"/>
                  <a:pt x="481149" y="224778"/>
                  <a:pt x="481149" y="224778"/>
                </a:cubicBezTo>
                <a:cubicBezTo>
                  <a:pt x="481149" y="224778"/>
                  <a:pt x="471171" y="236740"/>
                  <a:pt x="469175" y="238733"/>
                </a:cubicBezTo>
                <a:cubicBezTo>
                  <a:pt x="467179" y="240727"/>
                  <a:pt x="461192" y="246708"/>
                  <a:pt x="461192" y="246708"/>
                </a:cubicBezTo>
                <a:cubicBezTo>
                  <a:pt x="461192" y="248701"/>
                  <a:pt x="455205" y="252689"/>
                  <a:pt x="453209" y="254682"/>
                </a:cubicBezTo>
                <a:cubicBezTo>
                  <a:pt x="451214" y="256676"/>
                  <a:pt x="447222" y="254682"/>
                  <a:pt x="447222" y="254682"/>
                </a:cubicBezTo>
                <a:cubicBezTo>
                  <a:pt x="445226" y="254682"/>
                  <a:pt x="445226" y="250695"/>
                  <a:pt x="445226" y="248701"/>
                </a:cubicBezTo>
                <a:cubicBezTo>
                  <a:pt x="445226" y="248701"/>
                  <a:pt x="445226" y="246708"/>
                  <a:pt x="445226" y="244714"/>
                </a:cubicBezTo>
                <a:cubicBezTo>
                  <a:pt x="445226" y="244714"/>
                  <a:pt x="443231" y="244714"/>
                  <a:pt x="441235" y="244714"/>
                </a:cubicBezTo>
                <a:cubicBezTo>
                  <a:pt x="441235" y="244714"/>
                  <a:pt x="441235" y="246708"/>
                  <a:pt x="439239" y="246708"/>
                </a:cubicBezTo>
                <a:cubicBezTo>
                  <a:pt x="437244" y="246708"/>
                  <a:pt x="435248" y="246708"/>
                  <a:pt x="435248" y="246708"/>
                </a:cubicBezTo>
                <a:cubicBezTo>
                  <a:pt x="429261" y="240727"/>
                  <a:pt x="437244" y="240727"/>
                  <a:pt x="437244" y="236740"/>
                </a:cubicBezTo>
                <a:cubicBezTo>
                  <a:pt x="437244" y="234746"/>
                  <a:pt x="441235" y="230759"/>
                  <a:pt x="443231" y="228765"/>
                </a:cubicBezTo>
                <a:cubicBezTo>
                  <a:pt x="445226" y="226772"/>
                  <a:pt x="449218" y="218797"/>
                  <a:pt x="449218" y="218797"/>
                </a:cubicBezTo>
                <a:cubicBezTo>
                  <a:pt x="451214" y="216804"/>
                  <a:pt x="455205" y="210823"/>
                  <a:pt x="455205" y="208829"/>
                </a:cubicBezTo>
                <a:cubicBezTo>
                  <a:pt x="455205" y="206836"/>
                  <a:pt x="457201" y="204842"/>
                  <a:pt x="457201" y="202848"/>
                </a:cubicBezTo>
                <a:cubicBezTo>
                  <a:pt x="457201" y="200855"/>
                  <a:pt x="451214" y="194874"/>
                  <a:pt x="449218" y="194874"/>
                </a:cubicBezTo>
                <a:cubicBezTo>
                  <a:pt x="447222" y="192880"/>
                  <a:pt x="439239" y="188893"/>
                  <a:pt x="437244" y="186900"/>
                </a:cubicBezTo>
                <a:cubicBezTo>
                  <a:pt x="437244" y="186900"/>
                  <a:pt x="429261" y="182912"/>
                  <a:pt x="429261" y="180919"/>
                </a:cubicBezTo>
                <a:cubicBezTo>
                  <a:pt x="427265" y="178925"/>
                  <a:pt x="427265" y="172944"/>
                  <a:pt x="429261" y="170951"/>
                </a:cubicBezTo>
                <a:cubicBezTo>
                  <a:pt x="429261" y="168957"/>
                  <a:pt x="433252" y="164970"/>
                  <a:pt x="435248" y="164970"/>
                </a:cubicBezTo>
                <a:cubicBezTo>
                  <a:pt x="437244" y="162976"/>
                  <a:pt x="439239" y="162976"/>
                  <a:pt x="441235" y="162976"/>
                </a:cubicBezTo>
                <a:cubicBezTo>
                  <a:pt x="443231" y="162976"/>
                  <a:pt x="445226" y="162976"/>
                  <a:pt x="447222" y="160983"/>
                </a:cubicBezTo>
                <a:cubicBezTo>
                  <a:pt x="449218" y="160983"/>
                  <a:pt x="449218" y="158989"/>
                  <a:pt x="451214" y="158989"/>
                </a:cubicBezTo>
                <a:cubicBezTo>
                  <a:pt x="451214" y="156996"/>
                  <a:pt x="457201" y="143040"/>
                  <a:pt x="457201" y="141047"/>
                </a:cubicBezTo>
                <a:cubicBezTo>
                  <a:pt x="459196" y="141047"/>
                  <a:pt x="461192" y="139053"/>
                  <a:pt x="461192" y="137059"/>
                </a:cubicBezTo>
                <a:cubicBezTo>
                  <a:pt x="463188" y="135066"/>
                  <a:pt x="463188" y="133072"/>
                  <a:pt x="463188" y="133072"/>
                </a:cubicBezTo>
                <a:cubicBezTo>
                  <a:pt x="463188" y="131079"/>
                  <a:pt x="465184" y="133072"/>
                  <a:pt x="467179" y="133072"/>
                </a:cubicBezTo>
                <a:cubicBezTo>
                  <a:pt x="467179" y="133072"/>
                  <a:pt x="469175" y="129085"/>
                  <a:pt x="469175" y="127091"/>
                </a:cubicBezTo>
                <a:cubicBezTo>
                  <a:pt x="469175" y="125098"/>
                  <a:pt x="467179" y="121111"/>
                  <a:pt x="467179" y="121111"/>
                </a:cubicBezTo>
                <a:cubicBezTo>
                  <a:pt x="467179" y="119117"/>
                  <a:pt x="469175" y="117123"/>
                  <a:pt x="469175" y="117123"/>
                </a:cubicBezTo>
                <a:cubicBezTo>
                  <a:pt x="469175" y="115130"/>
                  <a:pt x="469175" y="109149"/>
                  <a:pt x="469175" y="109149"/>
                </a:cubicBezTo>
                <a:cubicBezTo>
                  <a:pt x="467179" y="107155"/>
                  <a:pt x="467179" y="105162"/>
                  <a:pt x="465184" y="103168"/>
                </a:cubicBezTo>
                <a:cubicBezTo>
                  <a:pt x="465184" y="101175"/>
                  <a:pt x="463188" y="97187"/>
                  <a:pt x="463188" y="97187"/>
                </a:cubicBezTo>
                <a:cubicBezTo>
                  <a:pt x="463188" y="97187"/>
                  <a:pt x="465184" y="87219"/>
                  <a:pt x="465184" y="87219"/>
                </a:cubicBezTo>
                <a:cubicBezTo>
                  <a:pt x="465184" y="85226"/>
                  <a:pt x="467179" y="79245"/>
                  <a:pt x="467179" y="77251"/>
                </a:cubicBezTo>
                <a:cubicBezTo>
                  <a:pt x="467179" y="75258"/>
                  <a:pt x="465184" y="71271"/>
                  <a:pt x="465184" y="69277"/>
                </a:cubicBezTo>
                <a:cubicBezTo>
                  <a:pt x="465184" y="69277"/>
                  <a:pt x="463188" y="69277"/>
                  <a:pt x="463188" y="67283"/>
                </a:cubicBezTo>
                <a:cubicBezTo>
                  <a:pt x="461192" y="65290"/>
                  <a:pt x="461192" y="61302"/>
                  <a:pt x="461192" y="59309"/>
                </a:cubicBezTo>
                <a:cubicBezTo>
                  <a:pt x="459196" y="57315"/>
                  <a:pt x="457201" y="51334"/>
                  <a:pt x="457201" y="51334"/>
                </a:cubicBezTo>
                <a:cubicBezTo>
                  <a:pt x="457201" y="49341"/>
                  <a:pt x="453209" y="47347"/>
                  <a:pt x="453209" y="47347"/>
                </a:cubicBezTo>
                <a:cubicBezTo>
                  <a:pt x="453209" y="45354"/>
                  <a:pt x="447222" y="39373"/>
                  <a:pt x="447222" y="37379"/>
                </a:cubicBezTo>
                <a:cubicBezTo>
                  <a:pt x="445226" y="37379"/>
                  <a:pt x="443231" y="33392"/>
                  <a:pt x="443231" y="31398"/>
                </a:cubicBezTo>
                <a:cubicBezTo>
                  <a:pt x="443231" y="29405"/>
                  <a:pt x="447222" y="27411"/>
                  <a:pt x="447222" y="27411"/>
                </a:cubicBezTo>
                <a:cubicBezTo>
                  <a:pt x="447222" y="25418"/>
                  <a:pt x="445226" y="21430"/>
                  <a:pt x="445226" y="21430"/>
                </a:cubicBezTo>
                <a:cubicBezTo>
                  <a:pt x="445226" y="19437"/>
                  <a:pt x="441235" y="15450"/>
                  <a:pt x="441235" y="13456"/>
                </a:cubicBezTo>
                <a:cubicBezTo>
                  <a:pt x="441235" y="13456"/>
                  <a:pt x="441235" y="11462"/>
                  <a:pt x="439239" y="9469"/>
                </a:cubicBezTo>
                <a:cubicBezTo>
                  <a:pt x="437244" y="7475"/>
                  <a:pt x="437244" y="5482"/>
                  <a:pt x="437244" y="5482"/>
                </a:cubicBezTo>
                <a:cubicBezTo>
                  <a:pt x="437244" y="5482"/>
                  <a:pt x="441235" y="3488"/>
                  <a:pt x="443231" y="3488"/>
                </a:cubicBezTo>
                <a:cubicBezTo>
                  <a:pt x="445226" y="3488"/>
                  <a:pt x="447222" y="3488"/>
                  <a:pt x="447222" y="3488"/>
                </a:cubicBezTo>
                <a:cubicBezTo>
                  <a:pt x="449218" y="1494"/>
                  <a:pt x="449218" y="1494"/>
                  <a:pt x="451214" y="1494"/>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1" name="Tasmania"/>
          <p:cNvSpPr>
            <a:spLocks/>
          </p:cNvSpPr>
          <p:nvPr/>
        </p:nvSpPr>
        <p:spPr bwMode="auto">
          <a:xfrm>
            <a:off x="9972122" y="5430986"/>
            <a:ext cx="93092" cy="106157"/>
          </a:xfrm>
          <a:custGeom>
            <a:avLst/>
            <a:gdLst>
              <a:gd name="T0" fmla="*/ 8 w 46"/>
              <a:gd name="T1" fmla="*/ 2 h 52"/>
              <a:gd name="T2" fmla="*/ 10 w 46"/>
              <a:gd name="T3" fmla="*/ 2 h 52"/>
              <a:gd name="T4" fmla="*/ 13 w 46"/>
              <a:gd name="T5" fmla="*/ 6 h 52"/>
              <a:gd name="T6" fmla="*/ 17 w 46"/>
              <a:gd name="T7" fmla="*/ 7 h 52"/>
              <a:gd name="T8" fmla="*/ 20 w 46"/>
              <a:gd name="T9" fmla="*/ 8 h 52"/>
              <a:gd name="T10" fmla="*/ 26 w 46"/>
              <a:gd name="T11" fmla="*/ 8 h 52"/>
              <a:gd name="T12" fmla="*/ 30 w 46"/>
              <a:gd name="T13" fmla="*/ 5 h 52"/>
              <a:gd name="T14" fmla="*/ 34 w 46"/>
              <a:gd name="T15" fmla="*/ 5 h 52"/>
              <a:gd name="T16" fmla="*/ 37 w 46"/>
              <a:gd name="T17" fmla="*/ 4 h 52"/>
              <a:gd name="T18" fmla="*/ 42 w 46"/>
              <a:gd name="T19" fmla="*/ 2 h 52"/>
              <a:gd name="T20" fmla="*/ 45 w 46"/>
              <a:gd name="T21" fmla="*/ 4 h 52"/>
              <a:gd name="T22" fmla="*/ 43 w 46"/>
              <a:gd name="T23" fmla="*/ 11 h 52"/>
              <a:gd name="T24" fmla="*/ 41 w 46"/>
              <a:gd name="T25" fmla="*/ 20 h 52"/>
              <a:gd name="T26" fmla="*/ 42 w 46"/>
              <a:gd name="T27" fmla="*/ 26 h 52"/>
              <a:gd name="T28" fmla="*/ 40 w 46"/>
              <a:gd name="T29" fmla="*/ 26 h 52"/>
              <a:gd name="T30" fmla="*/ 38 w 46"/>
              <a:gd name="T31" fmla="*/ 29 h 52"/>
              <a:gd name="T32" fmla="*/ 36 w 46"/>
              <a:gd name="T33" fmla="*/ 32 h 52"/>
              <a:gd name="T34" fmla="*/ 36 w 46"/>
              <a:gd name="T35" fmla="*/ 35 h 52"/>
              <a:gd name="T36" fmla="*/ 38 w 46"/>
              <a:gd name="T37" fmla="*/ 36 h 52"/>
              <a:gd name="T38" fmla="*/ 35 w 46"/>
              <a:gd name="T39" fmla="*/ 38 h 52"/>
              <a:gd name="T40" fmla="*/ 33 w 46"/>
              <a:gd name="T41" fmla="*/ 42 h 52"/>
              <a:gd name="T42" fmla="*/ 32 w 46"/>
              <a:gd name="T43" fmla="*/ 45 h 52"/>
              <a:gd name="T44" fmla="*/ 30 w 46"/>
              <a:gd name="T45" fmla="*/ 46 h 52"/>
              <a:gd name="T46" fmla="*/ 29 w 46"/>
              <a:gd name="T47" fmla="*/ 44 h 52"/>
              <a:gd name="T48" fmla="*/ 29 w 46"/>
              <a:gd name="T49" fmla="*/ 41 h 52"/>
              <a:gd name="T50" fmla="*/ 27 w 46"/>
              <a:gd name="T51" fmla="*/ 40 h 52"/>
              <a:gd name="T52" fmla="*/ 25 w 46"/>
              <a:gd name="T53" fmla="*/ 43 h 52"/>
              <a:gd name="T54" fmla="*/ 23 w 46"/>
              <a:gd name="T55" fmla="*/ 44 h 52"/>
              <a:gd name="T56" fmla="*/ 22 w 46"/>
              <a:gd name="T57" fmla="*/ 45 h 52"/>
              <a:gd name="T58" fmla="*/ 25 w 46"/>
              <a:gd name="T59" fmla="*/ 46 h 52"/>
              <a:gd name="T60" fmla="*/ 26 w 46"/>
              <a:gd name="T61" fmla="*/ 49 h 52"/>
              <a:gd name="T62" fmla="*/ 24 w 46"/>
              <a:gd name="T63" fmla="*/ 51 h 52"/>
              <a:gd name="T64" fmla="*/ 21 w 46"/>
              <a:gd name="T65" fmla="*/ 51 h 52"/>
              <a:gd name="T66" fmla="*/ 19 w 46"/>
              <a:gd name="T67" fmla="*/ 51 h 52"/>
              <a:gd name="T68" fmla="*/ 17 w 46"/>
              <a:gd name="T69" fmla="*/ 52 h 52"/>
              <a:gd name="T70" fmla="*/ 14 w 46"/>
              <a:gd name="T71" fmla="*/ 51 h 52"/>
              <a:gd name="T72" fmla="*/ 12 w 46"/>
              <a:gd name="T73" fmla="*/ 51 h 52"/>
              <a:gd name="T74" fmla="*/ 9 w 46"/>
              <a:gd name="T75" fmla="*/ 51 h 52"/>
              <a:gd name="T76" fmla="*/ 6 w 46"/>
              <a:gd name="T77" fmla="*/ 51 h 52"/>
              <a:gd name="T78" fmla="*/ 6 w 46"/>
              <a:gd name="T79" fmla="*/ 48 h 52"/>
              <a:gd name="T80" fmla="*/ 3 w 46"/>
              <a:gd name="T81" fmla="*/ 44 h 52"/>
              <a:gd name="T82" fmla="*/ 2 w 46"/>
              <a:gd name="T83" fmla="*/ 40 h 52"/>
              <a:gd name="T84" fmla="*/ 3 w 46"/>
              <a:gd name="T85" fmla="*/ 34 h 52"/>
              <a:gd name="T86" fmla="*/ 1 w 46"/>
              <a:gd name="T87" fmla="*/ 31 h 52"/>
              <a:gd name="T88" fmla="*/ 2 w 46"/>
              <a:gd name="T89" fmla="*/ 29 h 52"/>
              <a:gd name="T90" fmla="*/ 4 w 46"/>
              <a:gd name="T91" fmla="*/ 29 h 52"/>
              <a:gd name="T92" fmla="*/ 5 w 46"/>
              <a:gd name="T93" fmla="*/ 28 h 52"/>
              <a:gd name="T94" fmla="*/ 3 w 46"/>
              <a:gd name="T95" fmla="*/ 23 h 52"/>
              <a:gd name="T96" fmla="*/ 2 w 46"/>
              <a:gd name="T97" fmla="*/ 18 h 52"/>
              <a:gd name="T98" fmla="*/ 0 w 46"/>
              <a:gd name="T99" fmla="*/ 12 h 52"/>
              <a:gd name="T100" fmla="*/ 0 w 46"/>
              <a:gd name="T101" fmla="*/ 7 h 52"/>
              <a:gd name="T102" fmla="*/ 1 w 46"/>
              <a:gd name="T103" fmla="*/ 4 h 52"/>
              <a:gd name="T104" fmla="*/ 2 w 46"/>
              <a:gd name="T105" fmla="*/ 2 h 52"/>
              <a:gd name="T106" fmla="*/ 6 w 46"/>
              <a:gd name="T107" fmla="*/ 1 h 52"/>
              <a:gd name="T108" fmla="*/ 8 w 46"/>
              <a:gd name="T10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52">
                <a:moveTo>
                  <a:pt x="8" y="2"/>
                </a:moveTo>
                <a:cubicBezTo>
                  <a:pt x="8" y="2"/>
                  <a:pt x="9" y="2"/>
                  <a:pt x="10" y="2"/>
                </a:cubicBezTo>
                <a:cubicBezTo>
                  <a:pt x="11" y="3"/>
                  <a:pt x="13" y="5"/>
                  <a:pt x="13" y="6"/>
                </a:cubicBezTo>
                <a:cubicBezTo>
                  <a:pt x="14" y="7"/>
                  <a:pt x="15" y="7"/>
                  <a:pt x="17" y="7"/>
                </a:cubicBezTo>
                <a:cubicBezTo>
                  <a:pt x="17" y="7"/>
                  <a:pt x="19" y="8"/>
                  <a:pt x="20" y="8"/>
                </a:cubicBezTo>
                <a:cubicBezTo>
                  <a:pt x="21" y="8"/>
                  <a:pt x="25" y="8"/>
                  <a:pt x="26" y="8"/>
                </a:cubicBezTo>
                <a:cubicBezTo>
                  <a:pt x="27" y="7"/>
                  <a:pt x="29" y="6"/>
                  <a:pt x="30" y="5"/>
                </a:cubicBezTo>
                <a:cubicBezTo>
                  <a:pt x="31" y="5"/>
                  <a:pt x="33" y="5"/>
                  <a:pt x="34" y="5"/>
                </a:cubicBezTo>
                <a:cubicBezTo>
                  <a:pt x="35" y="5"/>
                  <a:pt x="36" y="4"/>
                  <a:pt x="37" y="4"/>
                </a:cubicBezTo>
                <a:cubicBezTo>
                  <a:pt x="39" y="3"/>
                  <a:pt x="41" y="3"/>
                  <a:pt x="42" y="2"/>
                </a:cubicBezTo>
                <a:cubicBezTo>
                  <a:pt x="44" y="2"/>
                  <a:pt x="45" y="2"/>
                  <a:pt x="45" y="4"/>
                </a:cubicBezTo>
                <a:cubicBezTo>
                  <a:pt x="46" y="7"/>
                  <a:pt x="44" y="10"/>
                  <a:pt x="43" y="11"/>
                </a:cubicBezTo>
                <a:cubicBezTo>
                  <a:pt x="43" y="13"/>
                  <a:pt x="41" y="18"/>
                  <a:pt x="41" y="20"/>
                </a:cubicBezTo>
                <a:cubicBezTo>
                  <a:pt x="42" y="22"/>
                  <a:pt x="42" y="25"/>
                  <a:pt x="42" y="26"/>
                </a:cubicBezTo>
                <a:cubicBezTo>
                  <a:pt x="42" y="27"/>
                  <a:pt x="40" y="26"/>
                  <a:pt x="40" y="26"/>
                </a:cubicBezTo>
                <a:cubicBezTo>
                  <a:pt x="39" y="26"/>
                  <a:pt x="37" y="28"/>
                  <a:pt x="38" y="29"/>
                </a:cubicBezTo>
                <a:cubicBezTo>
                  <a:pt x="38" y="30"/>
                  <a:pt x="36" y="31"/>
                  <a:pt x="36" y="32"/>
                </a:cubicBezTo>
                <a:cubicBezTo>
                  <a:pt x="36" y="33"/>
                  <a:pt x="35" y="35"/>
                  <a:pt x="36" y="35"/>
                </a:cubicBezTo>
                <a:cubicBezTo>
                  <a:pt x="37" y="36"/>
                  <a:pt x="38" y="35"/>
                  <a:pt x="38" y="36"/>
                </a:cubicBezTo>
                <a:cubicBezTo>
                  <a:pt x="38" y="36"/>
                  <a:pt x="36" y="37"/>
                  <a:pt x="35" y="38"/>
                </a:cubicBezTo>
                <a:cubicBezTo>
                  <a:pt x="34" y="39"/>
                  <a:pt x="33" y="42"/>
                  <a:pt x="33" y="42"/>
                </a:cubicBezTo>
                <a:cubicBezTo>
                  <a:pt x="33" y="43"/>
                  <a:pt x="33" y="45"/>
                  <a:pt x="32" y="45"/>
                </a:cubicBezTo>
                <a:cubicBezTo>
                  <a:pt x="32" y="46"/>
                  <a:pt x="31" y="47"/>
                  <a:pt x="30" y="46"/>
                </a:cubicBezTo>
                <a:cubicBezTo>
                  <a:pt x="29" y="46"/>
                  <a:pt x="29" y="45"/>
                  <a:pt x="29" y="44"/>
                </a:cubicBezTo>
                <a:cubicBezTo>
                  <a:pt x="29" y="43"/>
                  <a:pt x="29" y="42"/>
                  <a:pt x="29" y="41"/>
                </a:cubicBezTo>
                <a:cubicBezTo>
                  <a:pt x="28" y="40"/>
                  <a:pt x="27" y="40"/>
                  <a:pt x="27" y="40"/>
                </a:cubicBezTo>
                <a:cubicBezTo>
                  <a:pt x="26" y="41"/>
                  <a:pt x="26" y="42"/>
                  <a:pt x="25" y="43"/>
                </a:cubicBezTo>
                <a:cubicBezTo>
                  <a:pt x="25" y="43"/>
                  <a:pt x="23" y="43"/>
                  <a:pt x="23" y="44"/>
                </a:cubicBezTo>
                <a:cubicBezTo>
                  <a:pt x="23" y="44"/>
                  <a:pt x="22" y="45"/>
                  <a:pt x="22" y="45"/>
                </a:cubicBezTo>
                <a:cubicBezTo>
                  <a:pt x="23" y="46"/>
                  <a:pt x="24" y="46"/>
                  <a:pt x="25" y="46"/>
                </a:cubicBezTo>
                <a:cubicBezTo>
                  <a:pt x="26" y="46"/>
                  <a:pt x="26" y="48"/>
                  <a:pt x="26" y="49"/>
                </a:cubicBezTo>
                <a:cubicBezTo>
                  <a:pt x="26" y="50"/>
                  <a:pt x="25" y="51"/>
                  <a:pt x="24" y="51"/>
                </a:cubicBezTo>
                <a:cubicBezTo>
                  <a:pt x="23" y="51"/>
                  <a:pt x="22" y="51"/>
                  <a:pt x="21" y="51"/>
                </a:cubicBezTo>
                <a:cubicBezTo>
                  <a:pt x="21" y="51"/>
                  <a:pt x="20" y="51"/>
                  <a:pt x="19" y="51"/>
                </a:cubicBezTo>
                <a:cubicBezTo>
                  <a:pt x="19" y="51"/>
                  <a:pt x="18" y="52"/>
                  <a:pt x="17" y="52"/>
                </a:cubicBezTo>
                <a:cubicBezTo>
                  <a:pt x="16" y="52"/>
                  <a:pt x="15" y="52"/>
                  <a:pt x="14" y="51"/>
                </a:cubicBezTo>
                <a:cubicBezTo>
                  <a:pt x="14" y="51"/>
                  <a:pt x="13" y="51"/>
                  <a:pt x="12" y="51"/>
                </a:cubicBezTo>
                <a:cubicBezTo>
                  <a:pt x="11" y="51"/>
                  <a:pt x="10" y="51"/>
                  <a:pt x="9" y="51"/>
                </a:cubicBezTo>
                <a:cubicBezTo>
                  <a:pt x="8" y="51"/>
                  <a:pt x="7" y="52"/>
                  <a:pt x="6" y="51"/>
                </a:cubicBezTo>
                <a:cubicBezTo>
                  <a:pt x="6" y="50"/>
                  <a:pt x="7" y="48"/>
                  <a:pt x="6" y="48"/>
                </a:cubicBezTo>
                <a:cubicBezTo>
                  <a:pt x="6" y="47"/>
                  <a:pt x="3" y="45"/>
                  <a:pt x="3" y="44"/>
                </a:cubicBezTo>
                <a:cubicBezTo>
                  <a:pt x="2" y="43"/>
                  <a:pt x="2" y="40"/>
                  <a:pt x="2" y="40"/>
                </a:cubicBezTo>
                <a:cubicBezTo>
                  <a:pt x="2" y="39"/>
                  <a:pt x="3" y="34"/>
                  <a:pt x="3" y="34"/>
                </a:cubicBezTo>
                <a:cubicBezTo>
                  <a:pt x="3" y="33"/>
                  <a:pt x="1" y="32"/>
                  <a:pt x="1" y="31"/>
                </a:cubicBezTo>
                <a:cubicBezTo>
                  <a:pt x="1" y="30"/>
                  <a:pt x="1" y="29"/>
                  <a:pt x="2" y="29"/>
                </a:cubicBezTo>
                <a:cubicBezTo>
                  <a:pt x="2" y="29"/>
                  <a:pt x="4" y="29"/>
                  <a:pt x="4" y="29"/>
                </a:cubicBezTo>
                <a:cubicBezTo>
                  <a:pt x="5" y="29"/>
                  <a:pt x="6" y="28"/>
                  <a:pt x="5" y="28"/>
                </a:cubicBezTo>
                <a:cubicBezTo>
                  <a:pt x="4" y="27"/>
                  <a:pt x="3" y="23"/>
                  <a:pt x="3" y="23"/>
                </a:cubicBezTo>
                <a:cubicBezTo>
                  <a:pt x="3" y="23"/>
                  <a:pt x="2" y="19"/>
                  <a:pt x="2" y="18"/>
                </a:cubicBezTo>
                <a:cubicBezTo>
                  <a:pt x="2" y="17"/>
                  <a:pt x="1" y="13"/>
                  <a:pt x="0" y="12"/>
                </a:cubicBezTo>
                <a:cubicBezTo>
                  <a:pt x="0" y="12"/>
                  <a:pt x="0" y="8"/>
                  <a:pt x="0" y="7"/>
                </a:cubicBezTo>
                <a:cubicBezTo>
                  <a:pt x="0" y="6"/>
                  <a:pt x="0" y="4"/>
                  <a:pt x="1" y="4"/>
                </a:cubicBezTo>
                <a:cubicBezTo>
                  <a:pt x="1" y="3"/>
                  <a:pt x="2" y="2"/>
                  <a:pt x="2" y="2"/>
                </a:cubicBezTo>
                <a:cubicBezTo>
                  <a:pt x="3" y="1"/>
                  <a:pt x="5" y="0"/>
                  <a:pt x="6" y="1"/>
                </a:cubicBezTo>
                <a:cubicBezTo>
                  <a:pt x="6" y="2"/>
                  <a:pt x="8" y="2"/>
                  <a:pt x="8" y="2"/>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2" name="Vietnam"/>
          <p:cNvSpPr>
            <a:spLocks/>
          </p:cNvSpPr>
          <p:nvPr/>
        </p:nvSpPr>
        <p:spPr bwMode="auto">
          <a:xfrm>
            <a:off x="8937194" y="3314370"/>
            <a:ext cx="213434" cy="486831"/>
          </a:xfrm>
          <a:custGeom>
            <a:avLst/>
            <a:gdLst>
              <a:gd name="connsiteX0" fmla="*/ 179523 w 207463"/>
              <a:gd name="connsiteY0" fmla="*/ 233362 h 473211"/>
              <a:gd name="connsiteX1" fmla="*/ 185238 w 207463"/>
              <a:gd name="connsiteY1" fmla="*/ 237331 h 473211"/>
              <a:gd name="connsiteX2" fmla="*/ 175713 w 207463"/>
              <a:gd name="connsiteY2" fmla="*/ 237331 h 473211"/>
              <a:gd name="connsiteX3" fmla="*/ 179523 w 207463"/>
              <a:gd name="connsiteY3" fmla="*/ 233362 h 473211"/>
              <a:gd name="connsiteX4" fmla="*/ 105862 w 207463"/>
              <a:gd name="connsiteY4" fmla="*/ 142875 h 473211"/>
              <a:gd name="connsiteX5" fmla="*/ 107450 w 207463"/>
              <a:gd name="connsiteY5" fmla="*/ 147108 h 473211"/>
              <a:gd name="connsiteX6" fmla="*/ 105862 w 207463"/>
              <a:gd name="connsiteY6" fmla="*/ 149225 h 473211"/>
              <a:gd name="connsiteX7" fmla="*/ 104275 w 207463"/>
              <a:gd name="connsiteY7" fmla="*/ 147108 h 473211"/>
              <a:gd name="connsiteX8" fmla="*/ 105862 w 207463"/>
              <a:gd name="connsiteY8" fmla="*/ 142875 h 473211"/>
              <a:gd name="connsiteX9" fmla="*/ 105862 w 207463"/>
              <a:gd name="connsiteY9" fmla="*/ 123825 h 473211"/>
              <a:gd name="connsiteX10" fmla="*/ 107450 w 207463"/>
              <a:gd name="connsiteY10" fmla="*/ 127794 h 473211"/>
              <a:gd name="connsiteX11" fmla="*/ 104275 w 207463"/>
              <a:gd name="connsiteY11" fmla="*/ 127794 h 473211"/>
              <a:gd name="connsiteX12" fmla="*/ 105862 w 207463"/>
              <a:gd name="connsiteY12" fmla="*/ 123825 h 473211"/>
              <a:gd name="connsiteX13" fmla="*/ 143434 w 207463"/>
              <a:gd name="connsiteY13" fmla="*/ 75406 h 473211"/>
              <a:gd name="connsiteX14" fmla="*/ 151900 w 207463"/>
              <a:gd name="connsiteY14" fmla="*/ 77390 h 473211"/>
              <a:gd name="connsiteX15" fmla="*/ 147667 w 207463"/>
              <a:gd name="connsiteY15" fmla="*/ 79374 h 473211"/>
              <a:gd name="connsiteX16" fmla="*/ 143434 w 207463"/>
              <a:gd name="connsiteY16" fmla="*/ 77390 h 473211"/>
              <a:gd name="connsiteX17" fmla="*/ 143434 w 207463"/>
              <a:gd name="connsiteY17" fmla="*/ 75406 h 473211"/>
              <a:gd name="connsiteX18" fmla="*/ 67488 w 207463"/>
              <a:gd name="connsiteY18" fmla="*/ 0 h 473211"/>
              <a:gd name="connsiteX19" fmla="*/ 75486 w 207463"/>
              <a:gd name="connsiteY19" fmla="*/ 1994 h 473211"/>
              <a:gd name="connsiteX20" fmla="*/ 77486 w 207463"/>
              <a:gd name="connsiteY20" fmla="*/ 5983 h 473211"/>
              <a:gd name="connsiteX21" fmla="*/ 77486 w 207463"/>
              <a:gd name="connsiteY21" fmla="*/ 11966 h 473211"/>
              <a:gd name="connsiteX22" fmla="*/ 81485 w 207463"/>
              <a:gd name="connsiteY22" fmla="*/ 17949 h 473211"/>
              <a:gd name="connsiteX23" fmla="*/ 87484 w 207463"/>
              <a:gd name="connsiteY23" fmla="*/ 17949 h 473211"/>
              <a:gd name="connsiteX24" fmla="*/ 91483 w 207463"/>
              <a:gd name="connsiteY24" fmla="*/ 15955 h 473211"/>
              <a:gd name="connsiteX25" fmla="*/ 97482 w 207463"/>
              <a:gd name="connsiteY25" fmla="*/ 15955 h 473211"/>
              <a:gd name="connsiteX26" fmla="*/ 103481 w 207463"/>
              <a:gd name="connsiteY26" fmla="*/ 15955 h 473211"/>
              <a:gd name="connsiteX27" fmla="*/ 107481 w 207463"/>
              <a:gd name="connsiteY27" fmla="*/ 19944 h 473211"/>
              <a:gd name="connsiteX28" fmla="*/ 107481 w 207463"/>
              <a:gd name="connsiteY28" fmla="*/ 23932 h 473211"/>
              <a:gd name="connsiteX29" fmla="*/ 105481 w 207463"/>
              <a:gd name="connsiteY29" fmla="*/ 29916 h 473211"/>
              <a:gd name="connsiteX30" fmla="*/ 107481 w 207463"/>
              <a:gd name="connsiteY30" fmla="*/ 37893 h 473211"/>
              <a:gd name="connsiteX31" fmla="*/ 109480 w 207463"/>
              <a:gd name="connsiteY31" fmla="*/ 41882 h 473211"/>
              <a:gd name="connsiteX32" fmla="*/ 111480 w 207463"/>
              <a:gd name="connsiteY32" fmla="*/ 45871 h 473211"/>
              <a:gd name="connsiteX33" fmla="*/ 117479 w 207463"/>
              <a:gd name="connsiteY33" fmla="*/ 45871 h 473211"/>
              <a:gd name="connsiteX34" fmla="*/ 121478 w 207463"/>
              <a:gd name="connsiteY34" fmla="*/ 49859 h 473211"/>
              <a:gd name="connsiteX35" fmla="*/ 123478 w 207463"/>
              <a:gd name="connsiteY35" fmla="*/ 53848 h 473211"/>
              <a:gd name="connsiteX36" fmla="*/ 129477 w 207463"/>
              <a:gd name="connsiteY36" fmla="*/ 57837 h 473211"/>
              <a:gd name="connsiteX37" fmla="*/ 135476 w 207463"/>
              <a:gd name="connsiteY37" fmla="*/ 59831 h 473211"/>
              <a:gd name="connsiteX38" fmla="*/ 142225 w 207463"/>
              <a:gd name="connsiteY38" fmla="*/ 59831 h 473211"/>
              <a:gd name="connsiteX39" fmla="*/ 145474 w 207463"/>
              <a:gd name="connsiteY39" fmla="*/ 59831 h 473211"/>
              <a:gd name="connsiteX40" fmla="*/ 143475 w 207463"/>
              <a:gd name="connsiteY40" fmla="*/ 61826 h 473211"/>
              <a:gd name="connsiteX41" fmla="*/ 141475 w 207463"/>
              <a:gd name="connsiteY41" fmla="*/ 61826 h 473211"/>
              <a:gd name="connsiteX42" fmla="*/ 139475 w 207463"/>
              <a:gd name="connsiteY42" fmla="*/ 63820 h 473211"/>
              <a:gd name="connsiteX43" fmla="*/ 137475 w 207463"/>
              <a:gd name="connsiteY43" fmla="*/ 69803 h 473211"/>
              <a:gd name="connsiteX44" fmla="*/ 141475 w 207463"/>
              <a:gd name="connsiteY44" fmla="*/ 67809 h 473211"/>
              <a:gd name="connsiteX45" fmla="*/ 145474 w 207463"/>
              <a:gd name="connsiteY45" fmla="*/ 67809 h 473211"/>
              <a:gd name="connsiteX46" fmla="*/ 139475 w 207463"/>
              <a:gd name="connsiteY46" fmla="*/ 73792 h 473211"/>
              <a:gd name="connsiteX47" fmla="*/ 133476 w 207463"/>
              <a:gd name="connsiteY47" fmla="*/ 77781 h 473211"/>
              <a:gd name="connsiteX48" fmla="*/ 127477 w 207463"/>
              <a:gd name="connsiteY48" fmla="*/ 75786 h 473211"/>
              <a:gd name="connsiteX49" fmla="*/ 129477 w 207463"/>
              <a:gd name="connsiteY49" fmla="*/ 79775 h 473211"/>
              <a:gd name="connsiteX50" fmla="*/ 131476 w 207463"/>
              <a:gd name="connsiteY50" fmla="*/ 79775 h 473211"/>
              <a:gd name="connsiteX51" fmla="*/ 131476 w 207463"/>
              <a:gd name="connsiteY51" fmla="*/ 83764 h 473211"/>
              <a:gd name="connsiteX52" fmla="*/ 125477 w 207463"/>
              <a:gd name="connsiteY52" fmla="*/ 83764 h 473211"/>
              <a:gd name="connsiteX53" fmla="*/ 117479 w 207463"/>
              <a:gd name="connsiteY53" fmla="*/ 83764 h 473211"/>
              <a:gd name="connsiteX54" fmla="*/ 117479 w 207463"/>
              <a:gd name="connsiteY54" fmla="*/ 95730 h 473211"/>
              <a:gd name="connsiteX55" fmla="*/ 113479 w 207463"/>
              <a:gd name="connsiteY55" fmla="*/ 103708 h 473211"/>
              <a:gd name="connsiteX56" fmla="*/ 101482 w 207463"/>
              <a:gd name="connsiteY56" fmla="*/ 111685 h 473211"/>
              <a:gd name="connsiteX57" fmla="*/ 97482 w 207463"/>
              <a:gd name="connsiteY57" fmla="*/ 125646 h 473211"/>
              <a:gd name="connsiteX58" fmla="*/ 95483 w 207463"/>
              <a:gd name="connsiteY58" fmla="*/ 133623 h 473211"/>
              <a:gd name="connsiteX59" fmla="*/ 91483 w 207463"/>
              <a:gd name="connsiteY59" fmla="*/ 137612 h 473211"/>
              <a:gd name="connsiteX60" fmla="*/ 95483 w 207463"/>
              <a:gd name="connsiteY60" fmla="*/ 143595 h 473211"/>
              <a:gd name="connsiteX61" fmla="*/ 101482 w 207463"/>
              <a:gd name="connsiteY61" fmla="*/ 159550 h 473211"/>
              <a:gd name="connsiteX62" fmla="*/ 105481 w 207463"/>
              <a:gd name="connsiteY62" fmla="*/ 159550 h 473211"/>
              <a:gd name="connsiteX63" fmla="*/ 111480 w 207463"/>
              <a:gd name="connsiteY63" fmla="*/ 163539 h 473211"/>
              <a:gd name="connsiteX64" fmla="*/ 115479 w 207463"/>
              <a:gd name="connsiteY64" fmla="*/ 165534 h 473211"/>
              <a:gd name="connsiteX65" fmla="*/ 119478 w 207463"/>
              <a:gd name="connsiteY65" fmla="*/ 165534 h 473211"/>
              <a:gd name="connsiteX66" fmla="*/ 119478 w 207463"/>
              <a:gd name="connsiteY66" fmla="*/ 171517 h 473211"/>
              <a:gd name="connsiteX67" fmla="*/ 121478 w 207463"/>
              <a:gd name="connsiteY67" fmla="*/ 173511 h 473211"/>
              <a:gd name="connsiteX68" fmla="*/ 121478 w 207463"/>
              <a:gd name="connsiteY68" fmla="*/ 183483 h 473211"/>
              <a:gd name="connsiteX69" fmla="*/ 125477 w 207463"/>
              <a:gd name="connsiteY69" fmla="*/ 191460 h 473211"/>
              <a:gd name="connsiteX70" fmla="*/ 135476 w 207463"/>
              <a:gd name="connsiteY70" fmla="*/ 199438 h 473211"/>
              <a:gd name="connsiteX71" fmla="*/ 143475 w 207463"/>
              <a:gd name="connsiteY71" fmla="*/ 207415 h 473211"/>
              <a:gd name="connsiteX72" fmla="*/ 149474 w 207463"/>
              <a:gd name="connsiteY72" fmla="*/ 213399 h 473211"/>
              <a:gd name="connsiteX73" fmla="*/ 151473 w 207463"/>
              <a:gd name="connsiteY73" fmla="*/ 215393 h 473211"/>
              <a:gd name="connsiteX74" fmla="*/ 153473 w 207463"/>
              <a:gd name="connsiteY74" fmla="*/ 219382 h 473211"/>
              <a:gd name="connsiteX75" fmla="*/ 159472 w 207463"/>
              <a:gd name="connsiteY75" fmla="*/ 219382 h 473211"/>
              <a:gd name="connsiteX76" fmla="*/ 165471 w 207463"/>
              <a:gd name="connsiteY76" fmla="*/ 225365 h 473211"/>
              <a:gd name="connsiteX77" fmla="*/ 169470 w 207463"/>
              <a:gd name="connsiteY77" fmla="*/ 231348 h 473211"/>
              <a:gd name="connsiteX78" fmla="*/ 173469 w 207463"/>
              <a:gd name="connsiteY78" fmla="*/ 231348 h 473211"/>
              <a:gd name="connsiteX79" fmla="*/ 173469 w 207463"/>
              <a:gd name="connsiteY79" fmla="*/ 239326 h 473211"/>
              <a:gd name="connsiteX80" fmla="*/ 175469 w 207463"/>
              <a:gd name="connsiteY80" fmla="*/ 243314 h 473211"/>
              <a:gd name="connsiteX81" fmla="*/ 175469 w 207463"/>
              <a:gd name="connsiteY81" fmla="*/ 249297 h 473211"/>
              <a:gd name="connsiteX82" fmla="*/ 177469 w 207463"/>
              <a:gd name="connsiteY82" fmla="*/ 251292 h 473211"/>
              <a:gd name="connsiteX83" fmla="*/ 183468 w 207463"/>
              <a:gd name="connsiteY83" fmla="*/ 253286 h 473211"/>
              <a:gd name="connsiteX84" fmla="*/ 187467 w 207463"/>
              <a:gd name="connsiteY84" fmla="*/ 255281 h 473211"/>
              <a:gd name="connsiteX85" fmla="*/ 191466 w 207463"/>
              <a:gd name="connsiteY85" fmla="*/ 261264 h 473211"/>
              <a:gd name="connsiteX86" fmla="*/ 195465 w 207463"/>
              <a:gd name="connsiteY86" fmla="*/ 279213 h 473211"/>
              <a:gd name="connsiteX87" fmla="*/ 201464 w 207463"/>
              <a:gd name="connsiteY87" fmla="*/ 293174 h 473211"/>
              <a:gd name="connsiteX88" fmla="*/ 201464 w 207463"/>
              <a:gd name="connsiteY88" fmla="*/ 299157 h 473211"/>
              <a:gd name="connsiteX89" fmla="*/ 203464 w 207463"/>
              <a:gd name="connsiteY89" fmla="*/ 303146 h 473211"/>
              <a:gd name="connsiteX90" fmla="*/ 201464 w 207463"/>
              <a:gd name="connsiteY90" fmla="*/ 313118 h 473211"/>
              <a:gd name="connsiteX91" fmla="*/ 201464 w 207463"/>
              <a:gd name="connsiteY91" fmla="*/ 317106 h 473211"/>
              <a:gd name="connsiteX92" fmla="*/ 203464 w 207463"/>
              <a:gd name="connsiteY92" fmla="*/ 325084 h 473211"/>
              <a:gd name="connsiteX93" fmla="*/ 205464 w 207463"/>
              <a:gd name="connsiteY93" fmla="*/ 327078 h 473211"/>
              <a:gd name="connsiteX94" fmla="*/ 205464 w 207463"/>
              <a:gd name="connsiteY94" fmla="*/ 331067 h 473211"/>
              <a:gd name="connsiteX95" fmla="*/ 207463 w 207463"/>
              <a:gd name="connsiteY95" fmla="*/ 335056 h 473211"/>
              <a:gd name="connsiteX96" fmla="*/ 207463 w 207463"/>
              <a:gd name="connsiteY96" fmla="*/ 339044 h 473211"/>
              <a:gd name="connsiteX97" fmla="*/ 203464 w 207463"/>
              <a:gd name="connsiteY97" fmla="*/ 341039 h 473211"/>
              <a:gd name="connsiteX98" fmla="*/ 203464 w 207463"/>
              <a:gd name="connsiteY98" fmla="*/ 347022 h 473211"/>
              <a:gd name="connsiteX99" fmla="*/ 203464 w 207463"/>
              <a:gd name="connsiteY99" fmla="*/ 351011 h 473211"/>
              <a:gd name="connsiteX100" fmla="*/ 201464 w 207463"/>
              <a:gd name="connsiteY100" fmla="*/ 354999 h 473211"/>
              <a:gd name="connsiteX101" fmla="*/ 201464 w 207463"/>
              <a:gd name="connsiteY101" fmla="*/ 360983 h 473211"/>
              <a:gd name="connsiteX102" fmla="*/ 201464 w 207463"/>
              <a:gd name="connsiteY102" fmla="*/ 362977 h 473211"/>
              <a:gd name="connsiteX103" fmla="*/ 199465 w 207463"/>
              <a:gd name="connsiteY103" fmla="*/ 370954 h 473211"/>
              <a:gd name="connsiteX104" fmla="*/ 197465 w 207463"/>
              <a:gd name="connsiteY104" fmla="*/ 374943 h 473211"/>
              <a:gd name="connsiteX105" fmla="*/ 193466 w 207463"/>
              <a:gd name="connsiteY105" fmla="*/ 382921 h 473211"/>
              <a:gd name="connsiteX106" fmla="*/ 189466 w 207463"/>
              <a:gd name="connsiteY106" fmla="*/ 386910 h 473211"/>
              <a:gd name="connsiteX107" fmla="*/ 181468 w 207463"/>
              <a:gd name="connsiteY107" fmla="*/ 396881 h 473211"/>
              <a:gd name="connsiteX108" fmla="*/ 171470 w 207463"/>
              <a:gd name="connsiteY108" fmla="*/ 402865 h 473211"/>
              <a:gd name="connsiteX109" fmla="*/ 163471 w 207463"/>
              <a:gd name="connsiteY109" fmla="*/ 410842 h 473211"/>
              <a:gd name="connsiteX110" fmla="*/ 157472 w 207463"/>
              <a:gd name="connsiteY110" fmla="*/ 412836 h 473211"/>
              <a:gd name="connsiteX111" fmla="*/ 155472 w 207463"/>
              <a:gd name="connsiteY111" fmla="*/ 412836 h 473211"/>
              <a:gd name="connsiteX112" fmla="*/ 151473 w 207463"/>
              <a:gd name="connsiteY112" fmla="*/ 412836 h 473211"/>
              <a:gd name="connsiteX113" fmla="*/ 145474 w 207463"/>
              <a:gd name="connsiteY113" fmla="*/ 410842 h 473211"/>
              <a:gd name="connsiteX114" fmla="*/ 145474 w 207463"/>
              <a:gd name="connsiteY114" fmla="*/ 418820 h 473211"/>
              <a:gd name="connsiteX115" fmla="*/ 139475 w 207463"/>
              <a:gd name="connsiteY115" fmla="*/ 424803 h 473211"/>
              <a:gd name="connsiteX116" fmla="*/ 141475 w 207463"/>
              <a:gd name="connsiteY116" fmla="*/ 434775 h 473211"/>
              <a:gd name="connsiteX117" fmla="*/ 135476 w 207463"/>
              <a:gd name="connsiteY117" fmla="*/ 438763 h 473211"/>
              <a:gd name="connsiteX118" fmla="*/ 127477 w 207463"/>
              <a:gd name="connsiteY118" fmla="*/ 442752 h 473211"/>
              <a:gd name="connsiteX119" fmla="*/ 119478 w 207463"/>
              <a:gd name="connsiteY119" fmla="*/ 450730 h 473211"/>
              <a:gd name="connsiteX120" fmla="*/ 115479 w 207463"/>
              <a:gd name="connsiteY120" fmla="*/ 456713 h 473211"/>
              <a:gd name="connsiteX121" fmla="*/ 107481 w 207463"/>
              <a:gd name="connsiteY121" fmla="*/ 464690 h 473211"/>
              <a:gd name="connsiteX122" fmla="*/ 105481 w 207463"/>
              <a:gd name="connsiteY122" fmla="*/ 470673 h 473211"/>
              <a:gd name="connsiteX123" fmla="*/ 101482 w 207463"/>
              <a:gd name="connsiteY123" fmla="*/ 472668 h 473211"/>
              <a:gd name="connsiteX124" fmla="*/ 95483 w 207463"/>
              <a:gd name="connsiteY124" fmla="*/ 472668 h 473211"/>
              <a:gd name="connsiteX125" fmla="*/ 91483 w 207463"/>
              <a:gd name="connsiteY125" fmla="*/ 468679 h 473211"/>
              <a:gd name="connsiteX126" fmla="*/ 95483 w 207463"/>
              <a:gd name="connsiteY126" fmla="*/ 462696 h 473211"/>
              <a:gd name="connsiteX127" fmla="*/ 93483 w 207463"/>
              <a:gd name="connsiteY127" fmla="*/ 458707 h 473211"/>
              <a:gd name="connsiteX128" fmla="*/ 91483 w 207463"/>
              <a:gd name="connsiteY128" fmla="*/ 454718 h 473211"/>
              <a:gd name="connsiteX129" fmla="*/ 91483 w 207463"/>
              <a:gd name="connsiteY129" fmla="*/ 448735 h 473211"/>
              <a:gd name="connsiteX130" fmla="*/ 91483 w 207463"/>
              <a:gd name="connsiteY130" fmla="*/ 440758 h 473211"/>
              <a:gd name="connsiteX131" fmla="*/ 93483 w 207463"/>
              <a:gd name="connsiteY131" fmla="*/ 432780 h 473211"/>
              <a:gd name="connsiteX132" fmla="*/ 101482 w 207463"/>
              <a:gd name="connsiteY132" fmla="*/ 428791 h 473211"/>
              <a:gd name="connsiteX133" fmla="*/ 105481 w 207463"/>
              <a:gd name="connsiteY133" fmla="*/ 426797 h 473211"/>
              <a:gd name="connsiteX134" fmla="*/ 99482 w 207463"/>
              <a:gd name="connsiteY134" fmla="*/ 422808 h 473211"/>
              <a:gd name="connsiteX135" fmla="*/ 93483 w 207463"/>
              <a:gd name="connsiteY135" fmla="*/ 418820 h 473211"/>
              <a:gd name="connsiteX136" fmla="*/ 83485 w 207463"/>
              <a:gd name="connsiteY136" fmla="*/ 418820 h 473211"/>
              <a:gd name="connsiteX137" fmla="*/ 79486 w 207463"/>
              <a:gd name="connsiteY137" fmla="*/ 412836 h 473211"/>
              <a:gd name="connsiteX138" fmla="*/ 87484 w 207463"/>
              <a:gd name="connsiteY138" fmla="*/ 408848 h 473211"/>
              <a:gd name="connsiteX139" fmla="*/ 87484 w 207463"/>
              <a:gd name="connsiteY139" fmla="*/ 402865 h 473211"/>
              <a:gd name="connsiteX140" fmla="*/ 89484 w 207463"/>
              <a:gd name="connsiteY140" fmla="*/ 396881 h 473211"/>
              <a:gd name="connsiteX141" fmla="*/ 97482 w 207463"/>
              <a:gd name="connsiteY141" fmla="*/ 396881 h 473211"/>
              <a:gd name="connsiteX142" fmla="*/ 103481 w 207463"/>
              <a:gd name="connsiteY142" fmla="*/ 396881 h 473211"/>
              <a:gd name="connsiteX143" fmla="*/ 109480 w 207463"/>
              <a:gd name="connsiteY143" fmla="*/ 396881 h 473211"/>
              <a:gd name="connsiteX144" fmla="*/ 111480 w 207463"/>
              <a:gd name="connsiteY144" fmla="*/ 400870 h 473211"/>
              <a:gd name="connsiteX145" fmla="*/ 117479 w 207463"/>
              <a:gd name="connsiteY145" fmla="*/ 400870 h 473211"/>
              <a:gd name="connsiteX146" fmla="*/ 121478 w 207463"/>
              <a:gd name="connsiteY146" fmla="*/ 402865 h 473211"/>
              <a:gd name="connsiteX147" fmla="*/ 121478 w 207463"/>
              <a:gd name="connsiteY147" fmla="*/ 394887 h 473211"/>
              <a:gd name="connsiteX148" fmla="*/ 117479 w 207463"/>
              <a:gd name="connsiteY148" fmla="*/ 386910 h 473211"/>
              <a:gd name="connsiteX149" fmla="*/ 113479 w 207463"/>
              <a:gd name="connsiteY149" fmla="*/ 378932 h 473211"/>
              <a:gd name="connsiteX150" fmla="*/ 121478 w 207463"/>
              <a:gd name="connsiteY150" fmla="*/ 368960 h 473211"/>
              <a:gd name="connsiteX151" fmla="*/ 127477 w 207463"/>
              <a:gd name="connsiteY151" fmla="*/ 364971 h 473211"/>
              <a:gd name="connsiteX152" fmla="*/ 137475 w 207463"/>
              <a:gd name="connsiteY152" fmla="*/ 364971 h 473211"/>
              <a:gd name="connsiteX153" fmla="*/ 141475 w 207463"/>
              <a:gd name="connsiteY153" fmla="*/ 362977 h 473211"/>
              <a:gd name="connsiteX154" fmla="*/ 143475 w 207463"/>
              <a:gd name="connsiteY154" fmla="*/ 360983 h 473211"/>
              <a:gd name="connsiteX155" fmla="*/ 151473 w 207463"/>
              <a:gd name="connsiteY155" fmla="*/ 356994 h 473211"/>
              <a:gd name="connsiteX156" fmla="*/ 157472 w 207463"/>
              <a:gd name="connsiteY156" fmla="*/ 341039 h 473211"/>
              <a:gd name="connsiteX157" fmla="*/ 161471 w 207463"/>
              <a:gd name="connsiteY157" fmla="*/ 335056 h 473211"/>
              <a:gd name="connsiteX158" fmla="*/ 161471 w 207463"/>
              <a:gd name="connsiteY158" fmla="*/ 329073 h 473211"/>
              <a:gd name="connsiteX159" fmla="*/ 159472 w 207463"/>
              <a:gd name="connsiteY159" fmla="*/ 323089 h 473211"/>
              <a:gd name="connsiteX160" fmla="*/ 155472 w 207463"/>
              <a:gd name="connsiteY160" fmla="*/ 313118 h 473211"/>
              <a:gd name="connsiteX161" fmla="*/ 155472 w 207463"/>
              <a:gd name="connsiteY161" fmla="*/ 305140 h 473211"/>
              <a:gd name="connsiteX162" fmla="*/ 157472 w 207463"/>
              <a:gd name="connsiteY162" fmla="*/ 297162 h 473211"/>
              <a:gd name="connsiteX163" fmla="*/ 153473 w 207463"/>
              <a:gd name="connsiteY163" fmla="*/ 287191 h 473211"/>
              <a:gd name="connsiteX164" fmla="*/ 153473 w 207463"/>
              <a:gd name="connsiteY164" fmla="*/ 283202 h 473211"/>
              <a:gd name="connsiteX165" fmla="*/ 151473 w 207463"/>
              <a:gd name="connsiteY165" fmla="*/ 279213 h 473211"/>
              <a:gd name="connsiteX166" fmla="*/ 151473 w 207463"/>
              <a:gd name="connsiteY166" fmla="*/ 273230 h 473211"/>
              <a:gd name="connsiteX167" fmla="*/ 155472 w 207463"/>
              <a:gd name="connsiteY167" fmla="*/ 269241 h 473211"/>
              <a:gd name="connsiteX168" fmla="*/ 155472 w 207463"/>
              <a:gd name="connsiteY168" fmla="*/ 261264 h 473211"/>
              <a:gd name="connsiteX169" fmla="*/ 151473 w 207463"/>
              <a:gd name="connsiteY169" fmla="*/ 257275 h 473211"/>
              <a:gd name="connsiteX170" fmla="*/ 147474 w 207463"/>
              <a:gd name="connsiteY170" fmla="*/ 253286 h 473211"/>
              <a:gd name="connsiteX171" fmla="*/ 147474 w 207463"/>
              <a:gd name="connsiteY171" fmla="*/ 247303 h 473211"/>
              <a:gd name="connsiteX172" fmla="*/ 139475 w 207463"/>
              <a:gd name="connsiteY172" fmla="*/ 241320 h 473211"/>
              <a:gd name="connsiteX173" fmla="*/ 139475 w 207463"/>
              <a:gd name="connsiteY173" fmla="*/ 231348 h 473211"/>
              <a:gd name="connsiteX174" fmla="*/ 135476 w 207463"/>
              <a:gd name="connsiteY174" fmla="*/ 227359 h 473211"/>
              <a:gd name="connsiteX175" fmla="*/ 129477 w 207463"/>
              <a:gd name="connsiteY175" fmla="*/ 225365 h 473211"/>
              <a:gd name="connsiteX176" fmla="*/ 125477 w 207463"/>
              <a:gd name="connsiteY176" fmla="*/ 221376 h 473211"/>
              <a:gd name="connsiteX177" fmla="*/ 123478 w 207463"/>
              <a:gd name="connsiteY177" fmla="*/ 215393 h 473211"/>
              <a:gd name="connsiteX178" fmla="*/ 117479 w 207463"/>
              <a:gd name="connsiteY178" fmla="*/ 207415 h 473211"/>
              <a:gd name="connsiteX179" fmla="*/ 119478 w 207463"/>
              <a:gd name="connsiteY179" fmla="*/ 201432 h 473211"/>
              <a:gd name="connsiteX180" fmla="*/ 115479 w 207463"/>
              <a:gd name="connsiteY180" fmla="*/ 199438 h 473211"/>
              <a:gd name="connsiteX181" fmla="*/ 109480 w 207463"/>
              <a:gd name="connsiteY181" fmla="*/ 197444 h 473211"/>
              <a:gd name="connsiteX182" fmla="*/ 105481 w 207463"/>
              <a:gd name="connsiteY182" fmla="*/ 195449 h 473211"/>
              <a:gd name="connsiteX183" fmla="*/ 101482 w 207463"/>
              <a:gd name="connsiteY183" fmla="*/ 191460 h 473211"/>
              <a:gd name="connsiteX184" fmla="*/ 99482 w 207463"/>
              <a:gd name="connsiteY184" fmla="*/ 189466 h 473211"/>
              <a:gd name="connsiteX185" fmla="*/ 99482 w 207463"/>
              <a:gd name="connsiteY185" fmla="*/ 185477 h 473211"/>
              <a:gd name="connsiteX186" fmla="*/ 99482 w 207463"/>
              <a:gd name="connsiteY186" fmla="*/ 183483 h 473211"/>
              <a:gd name="connsiteX187" fmla="*/ 95483 w 207463"/>
              <a:gd name="connsiteY187" fmla="*/ 179494 h 473211"/>
              <a:gd name="connsiteX188" fmla="*/ 93483 w 207463"/>
              <a:gd name="connsiteY188" fmla="*/ 175505 h 473211"/>
              <a:gd name="connsiteX189" fmla="*/ 91483 w 207463"/>
              <a:gd name="connsiteY189" fmla="*/ 169522 h 473211"/>
              <a:gd name="connsiteX190" fmla="*/ 87484 w 207463"/>
              <a:gd name="connsiteY190" fmla="*/ 169522 h 473211"/>
              <a:gd name="connsiteX191" fmla="*/ 85484 w 207463"/>
              <a:gd name="connsiteY191" fmla="*/ 165534 h 473211"/>
              <a:gd name="connsiteX192" fmla="*/ 85484 w 207463"/>
              <a:gd name="connsiteY192" fmla="*/ 159550 h 473211"/>
              <a:gd name="connsiteX193" fmla="*/ 83485 w 207463"/>
              <a:gd name="connsiteY193" fmla="*/ 153567 h 473211"/>
              <a:gd name="connsiteX194" fmla="*/ 81485 w 207463"/>
              <a:gd name="connsiteY194" fmla="*/ 151573 h 473211"/>
              <a:gd name="connsiteX195" fmla="*/ 79486 w 207463"/>
              <a:gd name="connsiteY195" fmla="*/ 147584 h 473211"/>
              <a:gd name="connsiteX196" fmla="*/ 77486 w 207463"/>
              <a:gd name="connsiteY196" fmla="*/ 143595 h 473211"/>
              <a:gd name="connsiteX197" fmla="*/ 71487 w 207463"/>
              <a:gd name="connsiteY197" fmla="*/ 143595 h 473211"/>
              <a:gd name="connsiteX198" fmla="*/ 69487 w 207463"/>
              <a:gd name="connsiteY198" fmla="*/ 145590 h 473211"/>
              <a:gd name="connsiteX199" fmla="*/ 65488 w 207463"/>
              <a:gd name="connsiteY199" fmla="*/ 141601 h 473211"/>
              <a:gd name="connsiteX200" fmla="*/ 61489 w 207463"/>
              <a:gd name="connsiteY200" fmla="*/ 139607 h 473211"/>
              <a:gd name="connsiteX201" fmla="*/ 57489 w 207463"/>
              <a:gd name="connsiteY201" fmla="*/ 139607 h 473211"/>
              <a:gd name="connsiteX202" fmla="*/ 53490 w 207463"/>
              <a:gd name="connsiteY202" fmla="*/ 135618 h 473211"/>
              <a:gd name="connsiteX203" fmla="*/ 53490 w 207463"/>
              <a:gd name="connsiteY203" fmla="*/ 129635 h 473211"/>
              <a:gd name="connsiteX204" fmla="*/ 57489 w 207463"/>
              <a:gd name="connsiteY204" fmla="*/ 127640 h 473211"/>
              <a:gd name="connsiteX205" fmla="*/ 61489 w 207463"/>
              <a:gd name="connsiteY205" fmla="*/ 125646 h 473211"/>
              <a:gd name="connsiteX206" fmla="*/ 67488 w 207463"/>
              <a:gd name="connsiteY206" fmla="*/ 123652 h 473211"/>
              <a:gd name="connsiteX207" fmla="*/ 69487 w 207463"/>
              <a:gd name="connsiteY207" fmla="*/ 119663 h 473211"/>
              <a:gd name="connsiteX208" fmla="*/ 73487 w 207463"/>
              <a:gd name="connsiteY208" fmla="*/ 119663 h 473211"/>
              <a:gd name="connsiteX209" fmla="*/ 75486 w 207463"/>
              <a:gd name="connsiteY209" fmla="*/ 117668 h 473211"/>
              <a:gd name="connsiteX210" fmla="*/ 75486 w 207463"/>
              <a:gd name="connsiteY210" fmla="*/ 111685 h 473211"/>
              <a:gd name="connsiteX211" fmla="*/ 71487 w 207463"/>
              <a:gd name="connsiteY211" fmla="*/ 107697 h 473211"/>
              <a:gd name="connsiteX212" fmla="*/ 65488 w 207463"/>
              <a:gd name="connsiteY212" fmla="*/ 105702 h 473211"/>
              <a:gd name="connsiteX213" fmla="*/ 63488 w 207463"/>
              <a:gd name="connsiteY213" fmla="*/ 99719 h 473211"/>
              <a:gd name="connsiteX214" fmla="*/ 63488 w 207463"/>
              <a:gd name="connsiteY214" fmla="*/ 95730 h 473211"/>
              <a:gd name="connsiteX215" fmla="*/ 57489 w 207463"/>
              <a:gd name="connsiteY215" fmla="*/ 87753 h 473211"/>
              <a:gd name="connsiteX216" fmla="*/ 59489 w 207463"/>
              <a:gd name="connsiteY216" fmla="*/ 83764 h 473211"/>
              <a:gd name="connsiteX217" fmla="*/ 55490 w 207463"/>
              <a:gd name="connsiteY217" fmla="*/ 83764 h 473211"/>
              <a:gd name="connsiteX218" fmla="*/ 53490 w 207463"/>
              <a:gd name="connsiteY218" fmla="*/ 83764 h 473211"/>
              <a:gd name="connsiteX219" fmla="*/ 47491 w 207463"/>
              <a:gd name="connsiteY219" fmla="*/ 83764 h 473211"/>
              <a:gd name="connsiteX220" fmla="*/ 45492 w 207463"/>
              <a:gd name="connsiteY220" fmla="*/ 85758 h 473211"/>
              <a:gd name="connsiteX221" fmla="*/ 41492 w 207463"/>
              <a:gd name="connsiteY221" fmla="*/ 89747 h 473211"/>
              <a:gd name="connsiteX222" fmla="*/ 39493 w 207463"/>
              <a:gd name="connsiteY222" fmla="*/ 91742 h 473211"/>
              <a:gd name="connsiteX223" fmla="*/ 35493 w 207463"/>
              <a:gd name="connsiteY223" fmla="*/ 91742 h 473211"/>
              <a:gd name="connsiteX224" fmla="*/ 29494 w 207463"/>
              <a:gd name="connsiteY224" fmla="*/ 85758 h 473211"/>
              <a:gd name="connsiteX225" fmla="*/ 27495 w 207463"/>
              <a:gd name="connsiteY225" fmla="*/ 81770 h 473211"/>
              <a:gd name="connsiteX226" fmla="*/ 21496 w 207463"/>
              <a:gd name="connsiteY226" fmla="*/ 77781 h 473211"/>
              <a:gd name="connsiteX227" fmla="*/ 19496 w 207463"/>
              <a:gd name="connsiteY227" fmla="*/ 71798 h 473211"/>
              <a:gd name="connsiteX228" fmla="*/ 19496 w 207463"/>
              <a:gd name="connsiteY228" fmla="*/ 61826 h 473211"/>
              <a:gd name="connsiteX229" fmla="*/ 21496 w 207463"/>
              <a:gd name="connsiteY229" fmla="*/ 53848 h 473211"/>
              <a:gd name="connsiteX230" fmla="*/ 17497 w 207463"/>
              <a:gd name="connsiteY230" fmla="*/ 51854 h 473211"/>
              <a:gd name="connsiteX231" fmla="*/ 11498 w 207463"/>
              <a:gd name="connsiteY231" fmla="*/ 51854 h 473211"/>
              <a:gd name="connsiteX232" fmla="*/ 7498 w 207463"/>
              <a:gd name="connsiteY232" fmla="*/ 47865 h 473211"/>
              <a:gd name="connsiteX233" fmla="*/ 7498 w 207463"/>
              <a:gd name="connsiteY233" fmla="*/ 43876 h 473211"/>
              <a:gd name="connsiteX234" fmla="*/ 3499 w 207463"/>
              <a:gd name="connsiteY234" fmla="*/ 41882 h 473211"/>
              <a:gd name="connsiteX235" fmla="*/ 1499 w 207463"/>
              <a:gd name="connsiteY235" fmla="*/ 39887 h 473211"/>
              <a:gd name="connsiteX236" fmla="*/ 1499 w 207463"/>
              <a:gd name="connsiteY236" fmla="*/ 33904 h 473211"/>
              <a:gd name="connsiteX237" fmla="*/ 5499 w 207463"/>
              <a:gd name="connsiteY237" fmla="*/ 29916 h 473211"/>
              <a:gd name="connsiteX238" fmla="*/ 7498 w 207463"/>
              <a:gd name="connsiteY238" fmla="*/ 31910 h 473211"/>
              <a:gd name="connsiteX239" fmla="*/ 9498 w 207463"/>
              <a:gd name="connsiteY239" fmla="*/ 29916 h 473211"/>
              <a:gd name="connsiteX240" fmla="*/ 11498 w 207463"/>
              <a:gd name="connsiteY240" fmla="*/ 25927 h 473211"/>
              <a:gd name="connsiteX241" fmla="*/ 13497 w 207463"/>
              <a:gd name="connsiteY241" fmla="*/ 23932 h 473211"/>
              <a:gd name="connsiteX242" fmla="*/ 17497 w 207463"/>
              <a:gd name="connsiteY242" fmla="*/ 23932 h 473211"/>
              <a:gd name="connsiteX243" fmla="*/ 17497 w 207463"/>
              <a:gd name="connsiteY243" fmla="*/ 27921 h 473211"/>
              <a:gd name="connsiteX244" fmla="*/ 21496 w 207463"/>
              <a:gd name="connsiteY244" fmla="*/ 29916 h 473211"/>
              <a:gd name="connsiteX245" fmla="*/ 27495 w 207463"/>
              <a:gd name="connsiteY245" fmla="*/ 29916 h 473211"/>
              <a:gd name="connsiteX246" fmla="*/ 29494 w 207463"/>
              <a:gd name="connsiteY246" fmla="*/ 25927 h 473211"/>
              <a:gd name="connsiteX247" fmla="*/ 33494 w 207463"/>
              <a:gd name="connsiteY247" fmla="*/ 27921 h 473211"/>
              <a:gd name="connsiteX248" fmla="*/ 35493 w 207463"/>
              <a:gd name="connsiteY248" fmla="*/ 23932 h 473211"/>
              <a:gd name="connsiteX249" fmla="*/ 37493 w 207463"/>
              <a:gd name="connsiteY249" fmla="*/ 21938 h 473211"/>
              <a:gd name="connsiteX250" fmla="*/ 41492 w 207463"/>
              <a:gd name="connsiteY250" fmla="*/ 23932 h 473211"/>
              <a:gd name="connsiteX251" fmla="*/ 49491 w 207463"/>
              <a:gd name="connsiteY251" fmla="*/ 17949 h 473211"/>
              <a:gd name="connsiteX252" fmla="*/ 55490 w 207463"/>
              <a:gd name="connsiteY252" fmla="*/ 9972 h 473211"/>
              <a:gd name="connsiteX253" fmla="*/ 59489 w 207463"/>
              <a:gd name="connsiteY253" fmla="*/ 5983 h 473211"/>
              <a:gd name="connsiteX254" fmla="*/ 63488 w 207463"/>
              <a:gd name="connsiteY254" fmla="*/ 1994 h 473211"/>
              <a:gd name="connsiteX255" fmla="*/ 67488 w 207463"/>
              <a:gd name="connsiteY255" fmla="*/ 0 h 47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07463" h="473211">
                <a:moveTo>
                  <a:pt x="179523" y="233362"/>
                </a:moveTo>
                <a:cubicBezTo>
                  <a:pt x="179523" y="233362"/>
                  <a:pt x="185238" y="233362"/>
                  <a:pt x="185238" y="237331"/>
                </a:cubicBezTo>
                <a:cubicBezTo>
                  <a:pt x="183333" y="241299"/>
                  <a:pt x="177618" y="241299"/>
                  <a:pt x="175713" y="237331"/>
                </a:cubicBezTo>
                <a:cubicBezTo>
                  <a:pt x="175713" y="235346"/>
                  <a:pt x="179523" y="233362"/>
                  <a:pt x="179523" y="233362"/>
                </a:cubicBezTo>
                <a:close/>
                <a:moveTo>
                  <a:pt x="105862" y="142875"/>
                </a:moveTo>
                <a:cubicBezTo>
                  <a:pt x="107450" y="142875"/>
                  <a:pt x="107450" y="144992"/>
                  <a:pt x="107450" y="147108"/>
                </a:cubicBezTo>
                <a:cubicBezTo>
                  <a:pt x="107450" y="149225"/>
                  <a:pt x="107450" y="149225"/>
                  <a:pt x="105862" y="149225"/>
                </a:cubicBezTo>
                <a:cubicBezTo>
                  <a:pt x="104275" y="149225"/>
                  <a:pt x="104275" y="147108"/>
                  <a:pt x="104275" y="147108"/>
                </a:cubicBezTo>
                <a:cubicBezTo>
                  <a:pt x="104275" y="142875"/>
                  <a:pt x="105862" y="142875"/>
                  <a:pt x="105862" y="142875"/>
                </a:cubicBezTo>
                <a:close/>
                <a:moveTo>
                  <a:pt x="105862" y="123825"/>
                </a:moveTo>
                <a:cubicBezTo>
                  <a:pt x="105862" y="123825"/>
                  <a:pt x="107450" y="125809"/>
                  <a:pt x="107450" y="127794"/>
                </a:cubicBezTo>
                <a:cubicBezTo>
                  <a:pt x="107450" y="131762"/>
                  <a:pt x="104275" y="131762"/>
                  <a:pt x="104275" y="127794"/>
                </a:cubicBezTo>
                <a:cubicBezTo>
                  <a:pt x="104275" y="123825"/>
                  <a:pt x="105862" y="123825"/>
                  <a:pt x="105862" y="123825"/>
                </a:cubicBezTo>
                <a:close/>
                <a:moveTo>
                  <a:pt x="143434" y="75406"/>
                </a:moveTo>
                <a:cubicBezTo>
                  <a:pt x="145550" y="71437"/>
                  <a:pt x="149784" y="73421"/>
                  <a:pt x="151900" y="77390"/>
                </a:cubicBezTo>
                <a:cubicBezTo>
                  <a:pt x="151900" y="79374"/>
                  <a:pt x="147667" y="79374"/>
                  <a:pt x="147667" y="79374"/>
                </a:cubicBezTo>
                <a:cubicBezTo>
                  <a:pt x="147667" y="79374"/>
                  <a:pt x="145550" y="79374"/>
                  <a:pt x="143434" y="77390"/>
                </a:cubicBezTo>
                <a:cubicBezTo>
                  <a:pt x="139200" y="77390"/>
                  <a:pt x="143434" y="75406"/>
                  <a:pt x="143434" y="75406"/>
                </a:cubicBezTo>
                <a:close/>
                <a:moveTo>
                  <a:pt x="67488" y="0"/>
                </a:moveTo>
                <a:cubicBezTo>
                  <a:pt x="71487" y="0"/>
                  <a:pt x="75486" y="1994"/>
                  <a:pt x="75486" y="1994"/>
                </a:cubicBezTo>
                <a:cubicBezTo>
                  <a:pt x="75486" y="1994"/>
                  <a:pt x="77486" y="3989"/>
                  <a:pt x="77486" y="5983"/>
                </a:cubicBezTo>
                <a:cubicBezTo>
                  <a:pt x="77486" y="7977"/>
                  <a:pt x="77486" y="9972"/>
                  <a:pt x="77486" y="11966"/>
                </a:cubicBezTo>
                <a:cubicBezTo>
                  <a:pt x="77486" y="11966"/>
                  <a:pt x="79486" y="17949"/>
                  <a:pt x="81485" y="17949"/>
                </a:cubicBezTo>
                <a:cubicBezTo>
                  <a:pt x="81485" y="17949"/>
                  <a:pt x="85484" y="17949"/>
                  <a:pt x="87484" y="17949"/>
                </a:cubicBezTo>
                <a:cubicBezTo>
                  <a:pt x="87484" y="15955"/>
                  <a:pt x="89484" y="15955"/>
                  <a:pt x="91483" y="15955"/>
                </a:cubicBezTo>
                <a:cubicBezTo>
                  <a:pt x="91483" y="15955"/>
                  <a:pt x="97482" y="15955"/>
                  <a:pt x="97482" y="15955"/>
                </a:cubicBezTo>
                <a:cubicBezTo>
                  <a:pt x="99482" y="15955"/>
                  <a:pt x="103481" y="15955"/>
                  <a:pt x="103481" y="15955"/>
                </a:cubicBezTo>
                <a:cubicBezTo>
                  <a:pt x="103481" y="15955"/>
                  <a:pt x="105481" y="17949"/>
                  <a:pt x="107481" y="19944"/>
                </a:cubicBezTo>
                <a:cubicBezTo>
                  <a:pt x="107481" y="19944"/>
                  <a:pt x="107481" y="21938"/>
                  <a:pt x="107481" y="23932"/>
                </a:cubicBezTo>
                <a:cubicBezTo>
                  <a:pt x="105481" y="25927"/>
                  <a:pt x="105481" y="29916"/>
                  <a:pt x="105481" y="29916"/>
                </a:cubicBezTo>
                <a:cubicBezTo>
                  <a:pt x="105481" y="31910"/>
                  <a:pt x="105481" y="35899"/>
                  <a:pt x="107481" y="37893"/>
                </a:cubicBezTo>
                <a:cubicBezTo>
                  <a:pt x="107481" y="39887"/>
                  <a:pt x="109480" y="41882"/>
                  <a:pt x="109480" y="41882"/>
                </a:cubicBezTo>
                <a:cubicBezTo>
                  <a:pt x="111480" y="43876"/>
                  <a:pt x="109480" y="43876"/>
                  <a:pt x="111480" y="45871"/>
                </a:cubicBezTo>
                <a:cubicBezTo>
                  <a:pt x="113479" y="45871"/>
                  <a:pt x="115479" y="45871"/>
                  <a:pt x="117479" y="45871"/>
                </a:cubicBezTo>
                <a:cubicBezTo>
                  <a:pt x="117479" y="45871"/>
                  <a:pt x="119478" y="49859"/>
                  <a:pt x="121478" y="49859"/>
                </a:cubicBezTo>
                <a:cubicBezTo>
                  <a:pt x="121478" y="51854"/>
                  <a:pt x="121478" y="51854"/>
                  <a:pt x="123478" y="53848"/>
                </a:cubicBezTo>
                <a:cubicBezTo>
                  <a:pt x="125477" y="53848"/>
                  <a:pt x="129477" y="55842"/>
                  <a:pt x="129477" y="57837"/>
                </a:cubicBezTo>
                <a:cubicBezTo>
                  <a:pt x="131476" y="57837"/>
                  <a:pt x="133476" y="57837"/>
                  <a:pt x="135476" y="59831"/>
                </a:cubicBezTo>
                <a:cubicBezTo>
                  <a:pt x="136476" y="59831"/>
                  <a:pt x="139475" y="59831"/>
                  <a:pt x="142225" y="59831"/>
                </a:cubicBezTo>
                <a:lnTo>
                  <a:pt x="145474" y="59831"/>
                </a:lnTo>
                <a:cubicBezTo>
                  <a:pt x="143475" y="61826"/>
                  <a:pt x="143475" y="61826"/>
                  <a:pt x="143475" y="61826"/>
                </a:cubicBezTo>
                <a:cubicBezTo>
                  <a:pt x="141475" y="61826"/>
                  <a:pt x="141475" y="61826"/>
                  <a:pt x="141475" y="61826"/>
                </a:cubicBezTo>
                <a:lnTo>
                  <a:pt x="139475" y="63820"/>
                </a:lnTo>
                <a:cubicBezTo>
                  <a:pt x="137475" y="63820"/>
                  <a:pt x="137475" y="67809"/>
                  <a:pt x="137475" y="69803"/>
                </a:cubicBezTo>
                <a:cubicBezTo>
                  <a:pt x="137475" y="71798"/>
                  <a:pt x="141475" y="67809"/>
                  <a:pt x="141475" y="67809"/>
                </a:cubicBezTo>
                <a:cubicBezTo>
                  <a:pt x="143475" y="65814"/>
                  <a:pt x="145474" y="65814"/>
                  <a:pt x="145474" y="67809"/>
                </a:cubicBezTo>
                <a:cubicBezTo>
                  <a:pt x="147474" y="71798"/>
                  <a:pt x="139475" y="71798"/>
                  <a:pt x="139475" y="73792"/>
                </a:cubicBezTo>
                <a:cubicBezTo>
                  <a:pt x="139475" y="75786"/>
                  <a:pt x="137475" y="77781"/>
                  <a:pt x="133476" y="77781"/>
                </a:cubicBezTo>
                <a:cubicBezTo>
                  <a:pt x="129477" y="77781"/>
                  <a:pt x="129477" y="75786"/>
                  <a:pt x="127477" y="75786"/>
                </a:cubicBezTo>
                <a:cubicBezTo>
                  <a:pt x="125477" y="77781"/>
                  <a:pt x="127477" y="79775"/>
                  <a:pt x="129477" y="79775"/>
                </a:cubicBezTo>
                <a:cubicBezTo>
                  <a:pt x="129477" y="79775"/>
                  <a:pt x="131476" y="79775"/>
                  <a:pt x="131476" y="79775"/>
                </a:cubicBezTo>
                <a:cubicBezTo>
                  <a:pt x="131476" y="79775"/>
                  <a:pt x="133476" y="81770"/>
                  <a:pt x="131476" y="83764"/>
                </a:cubicBezTo>
                <a:cubicBezTo>
                  <a:pt x="127477" y="85758"/>
                  <a:pt x="125477" y="83764"/>
                  <a:pt x="125477" y="83764"/>
                </a:cubicBezTo>
                <a:cubicBezTo>
                  <a:pt x="125477" y="83764"/>
                  <a:pt x="123478" y="81770"/>
                  <a:pt x="117479" y="83764"/>
                </a:cubicBezTo>
                <a:cubicBezTo>
                  <a:pt x="113479" y="87753"/>
                  <a:pt x="117479" y="89747"/>
                  <a:pt x="117479" y="95730"/>
                </a:cubicBezTo>
                <a:cubicBezTo>
                  <a:pt x="117479" y="99719"/>
                  <a:pt x="115479" y="103708"/>
                  <a:pt x="113479" y="103708"/>
                </a:cubicBezTo>
                <a:cubicBezTo>
                  <a:pt x="111480" y="103708"/>
                  <a:pt x="105481" y="107697"/>
                  <a:pt x="101482" y="111685"/>
                </a:cubicBezTo>
                <a:cubicBezTo>
                  <a:pt x="97482" y="117668"/>
                  <a:pt x="101482" y="123652"/>
                  <a:pt x="97482" y="125646"/>
                </a:cubicBezTo>
                <a:cubicBezTo>
                  <a:pt x="93483" y="127640"/>
                  <a:pt x="95483" y="127640"/>
                  <a:pt x="95483" y="133623"/>
                </a:cubicBezTo>
                <a:cubicBezTo>
                  <a:pt x="95483" y="137612"/>
                  <a:pt x="93483" y="133623"/>
                  <a:pt x="91483" y="137612"/>
                </a:cubicBezTo>
                <a:cubicBezTo>
                  <a:pt x="91483" y="141601"/>
                  <a:pt x="91483" y="139607"/>
                  <a:pt x="95483" y="143595"/>
                </a:cubicBezTo>
                <a:cubicBezTo>
                  <a:pt x="99482" y="145590"/>
                  <a:pt x="101482" y="153567"/>
                  <a:pt x="101482" y="159550"/>
                </a:cubicBezTo>
                <a:cubicBezTo>
                  <a:pt x="101482" y="163539"/>
                  <a:pt x="101482" y="161545"/>
                  <a:pt x="105481" y="159550"/>
                </a:cubicBezTo>
                <a:cubicBezTo>
                  <a:pt x="107481" y="155562"/>
                  <a:pt x="109480" y="159550"/>
                  <a:pt x="111480" y="163539"/>
                </a:cubicBezTo>
                <a:cubicBezTo>
                  <a:pt x="113479" y="165534"/>
                  <a:pt x="115479" y="165534"/>
                  <a:pt x="115479" y="165534"/>
                </a:cubicBezTo>
                <a:cubicBezTo>
                  <a:pt x="115479" y="165534"/>
                  <a:pt x="117479" y="165534"/>
                  <a:pt x="119478" y="165534"/>
                </a:cubicBezTo>
                <a:cubicBezTo>
                  <a:pt x="121478" y="167528"/>
                  <a:pt x="119478" y="171517"/>
                  <a:pt x="119478" y="171517"/>
                </a:cubicBezTo>
                <a:cubicBezTo>
                  <a:pt x="119478" y="171517"/>
                  <a:pt x="123478" y="171517"/>
                  <a:pt x="121478" y="173511"/>
                </a:cubicBezTo>
                <a:cubicBezTo>
                  <a:pt x="121478" y="177500"/>
                  <a:pt x="121478" y="181489"/>
                  <a:pt x="121478" y="183483"/>
                </a:cubicBezTo>
                <a:cubicBezTo>
                  <a:pt x="121478" y="185477"/>
                  <a:pt x="123478" y="189466"/>
                  <a:pt x="125477" y="191460"/>
                </a:cubicBezTo>
                <a:cubicBezTo>
                  <a:pt x="127477" y="195449"/>
                  <a:pt x="131476" y="195449"/>
                  <a:pt x="135476" y="199438"/>
                </a:cubicBezTo>
                <a:cubicBezTo>
                  <a:pt x="139475" y="203427"/>
                  <a:pt x="143475" y="205421"/>
                  <a:pt x="143475" y="207415"/>
                </a:cubicBezTo>
                <a:cubicBezTo>
                  <a:pt x="145474" y="209410"/>
                  <a:pt x="147474" y="213399"/>
                  <a:pt x="149474" y="213399"/>
                </a:cubicBezTo>
                <a:cubicBezTo>
                  <a:pt x="151473" y="213399"/>
                  <a:pt x="151473" y="215393"/>
                  <a:pt x="151473" y="215393"/>
                </a:cubicBezTo>
                <a:cubicBezTo>
                  <a:pt x="153473" y="219382"/>
                  <a:pt x="153473" y="219382"/>
                  <a:pt x="153473" y="219382"/>
                </a:cubicBezTo>
                <a:cubicBezTo>
                  <a:pt x="153473" y="219382"/>
                  <a:pt x="157472" y="221376"/>
                  <a:pt x="159472" y="219382"/>
                </a:cubicBezTo>
                <a:cubicBezTo>
                  <a:pt x="161471" y="219382"/>
                  <a:pt x="165471" y="223370"/>
                  <a:pt x="165471" y="225365"/>
                </a:cubicBezTo>
                <a:cubicBezTo>
                  <a:pt x="165471" y="227359"/>
                  <a:pt x="169470" y="231348"/>
                  <a:pt x="169470" y="231348"/>
                </a:cubicBezTo>
                <a:cubicBezTo>
                  <a:pt x="173469" y="231348"/>
                  <a:pt x="173469" y="231348"/>
                  <a:pt x="173469" y="231348"/>
                </a:cubicBezTo>
                <a:cubicBezTo>
                  <a:pt x="173469" y="239326"/>
                  <a:pt x="173469" y="239326"/>
                  <a:pt x="173469" y="239326"/>
                </a:cubicBezTo>
                <a:cubicBezTo>
                  <a:pt x="175469" y="243314"/>
                  <a:pt x="175469" y="243314"/>
                  <a:pt x="175469" y="243314"/>
                </a:cubicBezTo>
                <a:cubicBezTo>
                  <a:pt x="175469" y="249297"/>
                  <a:pt x="175469" y="249297"/>
                  <a:pt x="175469" y="249297"/>
                </a:cubicBezTo>
                <a:cubicBezTo>
                  <a:pt x="175469" y="249297"/>
                  <a:pt x="177469" y="247303"/>
                  <a:pt x="177469" y="251292"/>
                </a:cubicBezTo>
                <a:cubicBezTo>
                  <a:pt x="179468" y="253286"/>
                  <a:pt x="181468" y="253286"/>
                  <a:pt x="183468" y="253286"/>
                </a:cubicBezTo>
                <a:cubicBezTo>
                  <a:pt x="185467" y="253286"/>
                  <a:pt x="187467" y="255281"/>
                  <a:pt x="187467" y="255281"/>
                </a:cubicBezTo>
                <a:cubicBezTo>
                  <a:pt x="187467" y="255281"/>
                  <a:pt x="189466" y="261264"/>
                  <a:pt x="191466" y="261264"/>
                </a:cubicBezTo>
                <a:cubicBezTo>
                  <a:pt x="193466" y="263258"/>
                  <a:pt x="193466" y="273230"/>
                  <a:pt x="195465" y="279213"/>
                </a:cubicBezTo>
                <a:cubicBezTo>
                  <a:pt x="197465" y="287191"/>
                  <a:pt x="205464" y="291179"/>
                  <a:pt x="201464" y="293174"/>
                </a:cubicBezTo>
                <a:cubicBezTo>
                  <a:pt x="199465" y="295168"/>
                  <a:pt x="199465" y="297162"/>
                  <a:pt x="201464" y="299157"/>
                </a:cubicBezTo>
                <a:cubicBezTo>
                  <a:pt x="203464" y="299157"/>
                  <a:pt x="205464" y="301151"/>
                  <a:pt x="203464" y="303146"/>
                </a:cubicBezTo>
                <a:cubicBezTo>
                  <a:pt x="201464" y="307134"/>
                  <a:pt x="201464" y="311123"/>
                  <a:pt x="201464" y="313118"/>
                </a:cubicBezTo>
                <a:cubicBezTo>
                  <a:pt x="203464" y="313118"/>
                  <a:pt x="203464" y="315112"/>
                  <a:pt x="201464" y="317106"/>
                </a:cubicBezTo>
                <a:cubicBezTo>
                  <a:pt x="201464" y="321095"/>
                  <a:pt x="203464" y="325084"/>
                  <a:pt x="203464" y="325084"/>
                </a:cubicBezTo>
                <a:cubicBezTo>
                  <a:pt x="203464" y="325084"/>
                  <a:pt x="205464" y="327078"/>
                  <a:pt x="205464" y="327078"/>
                </a:cubicBezTo>
                <a:cubicBezTo>
                  <a:pt x="203464" y="329073"/>
                  <a:pt x="203464" y="331067"/>
                  <a:pt x="205464" y="331067"/>
                </a:cubicBezTo>
                <a:cubicBezTo>
                  <a:pt x="207463" y="333061"/>
                  <a:pt x="207463" y="335056"/>
                  <a:pt x="207463" y="335056"/>
                </a:cubicBezTo>
                <a:cubicBezTo>
                  <a:pt x="205464" y="337050"/>
                  <a:pt x="207463" y="337050"/>
                  <a:pt x="207463" y="339044"/>
                </a:cubicBezTo>
                <a:cubicBezTo>
                  <a:pt x="207463" y="341039"/>
                  <a:pt x="207463" y="341039"/>
                  <a:pt x="203464" y="341039"/>
                </a:cubicBezTo>
                <a:cubicBezTo>
                  <a:pt x="201464" y="341039"/>
                  <a:pt x="203464" y="345028"/>
                  <a:pt x="203464" y="347022"/>
                </a:cubicBezTo>
                <a:cubicBezTo>
                  <a:pt x="205464" y="347022"/>
                  <a:pt x="205464" y="351011"/>
                  <a:pt x="203464" y="351011"/>
                </a:cubicBezTo>
                <a:cubicBezTo>
                  <a:pt x="199465" y="351011"/>
                  <a:pt x="199465" y="354999"/>
                  <a:pt x="201464" y="354999"/>
                </a:cubicBezTo>
                <a:cubicBezTo>
                  <a:pt x="201464" y="356994"/>
                  <a:pt x="201464" y="360983"/>
                  <a:pt x="201464" y="360983"/>
                </a:cubicBezTo>
                <a:cubicBezTo>
                  <a:pt x="201464" y="362977"/>
                  <a:pt x="201464" y="362977"/>
                  <a:pt x="201464" y="362977"/>
                </a:cubicBezTo>
                <a:cubicBezTo>
                  <a:pt x="201464" y="362977"/>
                  <a:pt x="203464" y="370954"/>
                  <a:pt x="199465" y="370954"/>
                </a:cubicBezTo>
                <a:cubicBezTo>
                  <a:pt x="197465" y="370954"/>
                  <a:pt x="197465" y="374943"/>
                  <a:pt x="197465" y="374943"/>
                </a:cubicBezTo>
                <a:cubicBezTo>
                  <a:pt x="197465" y="374943"/>
                  <a:pt x="197465" y="382921"/>
                  <a:pt x="193466" y="382921"/>
                </a:cubicBezTo>
                <a:cubicBezTo>
                  <a:pt x="189466" y="384915"/>
                  <a:pt x="191466" y="386910"/>
                  <a:pt x="189466" y="386910"/>
                </a:cubicBezTo>
                <a:cubicBezTo>
                  <a:pt x="185467" y="388904"/>
                  <a:pt x="185467" y="394887"/>
                  <a:pt x="181468" y="396881"/>
                </a:cubicBezTo>
                <a:cubicBezTo>
                  <a:pt x="179468" y="400870"/>
                  <a:pt x="173469" y="402865"/>
                  <a:pt x="171470" y="402865"/>
                </a:cubicBezTo>
                <a:cubicBezTo>
                  <a:pt x="167470" y="402865"/>
                  <a:pt x="163471" y="408848"/>
                  <a:pt x="163471" y="410842"/>
                </a:cubicBezTo>
                <a:cubicBezTo>
                  <a:pt x="163471" y="412836"/>
                  <a:pt x="157472" y="412836"/>
                  <a:pt x="157472" y="412836"/>
                </a:cubicBezTo>
                <a:cubicBezTo>
                  <a:pt x="157472" y="412836"/>
                  <a:pt x="157472" y="410842"/>
                  <a:pt x="155472" y="412836"/>
                </a:cubicBezTo>
                <a:cubicBezTo>
                  <a:pt x="151473" y="416825"/>
                  <a:pt x="151473" y="412836"/>
                  <a:pt x="151473" y="412836"/>
                </a:cubicBezTo>
                <a:cubicBezTo>
                  <a:pt x="151473" y="412836"/>
                  <a:pt x="147474" y="408848"/>
                  <a:pt x="145474" y="410842"/>
                </a:cubicBezTo>
                <a:cubicBezTo>
                  <a:pt x="143475" y="412836"/>
                  <a:pt x="141475" y="414831"/>
                  <a:pt x="145474" y="418820"/>
                </a:cubicBezTo>
                <a:cubicBezTo>
                  <a:pt x="147474" y="420814"/>
                  <a:pt x="143475" y="422808"/>
                  <a:pt x="139475" y="424803"/>
                </a:cubicBezTo>
                <a:cubicBezTo>
                  <a:pt x="137475" y="426797"/>
                  <a:pt x="141475" y="430786"/>
                  <a:pt x="141475" y="434775"/>
                </a:cubicBezTo>
                <a:cubicBezTo>
                  <a:pt x="141475" y="440758"/>
                  <a:pt x="137475" y="440758"/>
                  <a:pt x="135476" y="438763"/>
                </a:cubicBezTo>
                <a:cubicBezTo>
                  <a:pt x="133476" y="436769"/>
                  <a:pt x="129477" y="438763"/>
                  <a:pt x="127477" y="442752"/>
                </a:cubicBezTo>
                <a:cubicBezTo>
                  <a:pt x="125477" y="448735"/>
                  <a:pt x="121478" y="450730"/>
                  <a:pt x="119478" y="450730"/>
                </a:cubicBezTo>
                <a:cubicBezTo>
                  <a:pt x="117479" y="450730"/>
                  <a:pt x="115479" y="456713"/>
                  <a:pt x="115479" y="456713"/>
                </a:cubicBezTo>
                <a:cubicBezTo>
                  <a:pt x="115479" y="456713"/>
                  <a:pt x="111480" y="464690"/>
                  <a:pt x="107481" y="464690"/>
                </a:cubicBezTo>
                <a:cubicBezTo>
                  <a:pt x="103481" y="464690"/>
                  <a:pt x="105481" y="466685"/>
                  <a:pt x="105481" y="470673"/>
                </a:cubicBezTo>
                <a:cubicBezTo>
                  <a:pt x="105481" y="472668"/>
                  <a:pt x="101482" y="472668"/>
                  <a:pt x="101482" y="472668"/>
                </a:cubicBezTo>
                <a:cubicBezTo>
                  <a:pt x="101482" y="472668"/>
                  <a:pt x="97482" y="470673"/>
                  <a:pt x="95483" y="472668"/>
                </a:cubicBezTo>
                <a:cubicBezTo>
                  <a:pt x="91483" y="474662"/>
                  <a:pt x="89484" y="470673"/>
                  <a:pt x="91483" y="468679"/>
                </a:cubicBezTo>
                <a:cubicBezTo>
                  <a:pt x="93483" y="464690"/>
                  <a:pt x="95483" y="466685"/>
                  <a:pt x="95483" y="462696"/>
                </a:cubicBezTo>
                <a:cubicBezTo>
                  <a:pt x="97482" y="456713"/>
                  <a:pt x="95483" y="460701"/>
                  <a:pt x="93483" y="458707"/>
                </a:cubicBezTo>
                <a:cubicBezTo>
                  <a:pt x="89484" y="456713"/>
                  <a:pt x="91483" y="454718"/>
                  <a:pt x="91483" y="454718"/>
                </a:cubicBezTo>
                <a:cubicBezTo>
                  <a:pt x="91483" y="454718"/>
                  <a:pt x="95483" y="452724"/>
                  <a:pt x="91483" y="448735"/>
                </a:cubicBezTo>
                <a:cubicBezTo>
                  <a:pt x="91483" y="446741"/>
                  <a:pt x="91483" y="442752"/>
                  <a:pt x="91483" y="440758"/>
                </a:cubicBezTo>
                <a:cubicBezTo>
                  <a:pt x="93483" y="438763"/>
                  <a:pt x="93483" y="438763"/>
                  <a:pt x="93483" y="432780"/>
                </a:cubicBezTo>
                <a:cubicBezTo>
                  <a:pt x="93483" y="426797"/>
                  <a:pt x="101482" y="428791"/>
                  <a:pt x="101482" y="428791"/>
                </a:cubicBezTo>
                <a:cubicBezTo>
                  <a:pt x="101482" y="428791"/>
                  <a:pt x="105481" y="426797"/>
                  <a:pt x="105481" y="426797"/>
                </a:cubicBezTo>
                <a:cubicBezTo>
                  <a:pt x="105481" y="424803"/>
                  <a:pt x="99482" y="422808"/>
                  <a:pt x="99482" y="422808"/>
                </a:cubicBezTo>
                <a:cubicBezTo>
                  <a:pt x="99482" y="422808"/>
                  <a:pt x="95483" y="420814"/>
                  <a:pt x="93483" y="418820"/>
                </a:cubicBezTo>
                <a:cubicBezTo>
                  <a:pt x="91483" y="416825"/>
                  <a:pt x="87484" y="418820"/>
                  <a:pt x="83485" y="418820"/>
                </a:cubicBezTo>
                <a:cubicBezTo>
                  <a:pt x="79486" y="416825"/>
                  <a:pt x="79486" y="414831"/>
                  <a:pt x="79486" y="412836"/>
                </a:cubicBezTo>
                <a:cubicBezTo>
                  <a:pt x="79486" y="410842"/>
                  <a:pt x="85484" y="408848"/>
                  <a:pt x="87484" y="408848"/>
                </a:cubicBezTo>
                <a:cubicBezTo>
                  <a:pt x="87484" y="408848"/>
                  <a:pt x="87484" y="404859"/>
                  <a:pt x="87484" y="402865"/>
                </a:cubicBezTo>
                <a:cubicBezTo>
                  <a:pt x="87484" y="400870"/>
                  <a:pt x="87484" y="396881"/>
                  <a:pt x="89484" y="396881"/>
                </a:cubicBezTo>
                <a:cubicBezTo>
                  <a:pt x="91483" y="396881"/>
                  <a:pt x="95483" y="396881"/>
                  <a:pt x="97482" y="396881"/>
                </a:cubicBezTo>
                <a:cubicBezTo>
                  <a:pt x="99482" y="396881"/>
                  <a:pt x="101482" y="396881"/>
                  <a:pt x="103481" y="396881"/>
                </a:cubicBezTo>
                <a:cubicBezTo>
                  <a:pt x="105481" y="396881"/>
                  <a:pt x="107481" y="394887"/>
                  <a:pt x="109480" y="396881"/>
                </a:cubicBezTo>
                <a:cubicBezTo>
                  <a:pt x="109480" y="398876"/>
                  <a:pt x="109480" y="400870"/>
                  <a:pt x="111480" y="400870"/>
                </a:cubicBezTo>
                <a:cubicBezTo>
                  <a:pt x="113479" y="400870"/>
                  <a:pt x="117479" y="400870"/>
                  <a:pt x="117479" y="400870"/>
                </a:cubicBezTo>
                <a:cubicBezTo>
                  <a:pt x="121478" y="402865"/>
                  <a:pt x="121478" y="402865"/>
                  <a:pt x="121478" y="402865"/>
                </a:cubicBezTo>
                <a:cubicBezTo>
                  <a:pt x="121478" y="402865"/>
                  <a:pt x="121478" y="396881"/>
                  <a:pt x="121478" y="394887"/>
                </a:cubicBezTo>
                <a:cubicBezTo>
                  <a:pt x="121478" y="392893"/>
                  <a:pt x="119478" y="388904"/>
                  <a:pt x="117479" y="386910"/>
                </a:cubicBezTo>
                <a:cubicBezTo>
                  <a:pt x="115479" y="384915"/>
                  <a:pt x="113479" y="380926"/>
                  <a:pt x="113479" y="378932"/>
                </a:cubicBezTo>
                <a:cubicBezTo>
                  <a:pt x="115479" y="376938"/>
                  <a:pt x="119478" y="368960"/>
                  <a:pt x="121478" y="368960"/>
                </a:cubicBezTo>
                <a:cubicBezTo>
                  <a:pt x="121478" y="366966"/>
                  <a:pt x="123478" y="364971"/>
                  <a:pt x="127477" y="364971"/>
                </a:cubicBezTo>
                <a:cubicBezTo>
                  <a:pt x="129477" y="364971"/>
                  <a:pt x="135476" y="364971"/>
                  <a:pt x="137475" y="364971"/>
                </a:cubicBezTo>
                <a:cubicBezTo>
                  <a:pt x="137475" y="364971"/>
                  <a:pt x="139475" y="364971"/>
                  <a:pt x="141475" y="362977"/>
                </a:cubicBezTo>
                <a:cubicBezTo>
                  <a:pt x="143475" y="362977"/>
                  <a:pt x="141475" y="360983"/>
                  <a:pt x="143475" y="360983"/>
                </a:cubicBezTo>
                <a:cubicBezTo>
                  <a:pt x="145474" y="358988"/>
                  <a:pt x="151473" y="358988"/>
                  <a:pt x="151473" y="356994"/>
                </a:cubicBezTo>
                <a:cubicBezTo>
                  <a:pt x="151473" y="354999"/>
                  <a:pt x="155472" y="345028"/>
                  <a:pt x="157472" y="341039"/>
                </a:cubicBezTo>
                <a:cubicBezTo>
                  <a:pt x="157472" y="339044"/>
                  <a:pt x="159472" y="337050"/>
                  <a:pt x="161471" y="335056"/>
                </a:cubicBezTo>
                <a:cubicBezTo>
                  <a:pt x="161471" y="333061"/>
                  <a:pt x="161471" y="331067"/>
                  <a:pt x="161471" y="329073"/>
                </a:cubicBezTo>
                <a:cubicBezTo>
                  <a:pt x="159472" y="325084"/>
                  <a:pt x="159472" y="325084"/>
                  <a:pt x="159472" y="323089"/>
                </a:cubicBezTo>
                <a:cubicBezTo>
                  <a:pt x="157472" y="321095"/>
                  <a:pt x="155472" y="315112"/>
                  <a:pt x="155472" y="313118"/>
                </a:cubicBezTo>
                <a:cubicBezTo>
                  <a:pt x="155472" y="311123"/>
                  <a:pt x="155472" y="307134"/>
                  <a:pt x="155472" y="305140"/>
                </a:cubicBezTo>
                <a:cubicBezTo>
                  <a:pt x="155472" y="303146"/>
                  <a:pt x="159472" y="301151"/>
                  <a:pt x="157472" y="297162"/>
                </a:cubicBezTo>
                <a:cubicBezTo>
                  <a:pt x="155472" y="293174"/>
                  <a:pt x="153473" y="287191"/>
                  <a:pt x="153473" y="287191"/>
                </a:cubicBezTo>
                <a:cubicBezTo>
                  <a:pt x="153473" y="285196"/>
                  <a:pt x="153473" y="285196"/>
                  <a:pt x="153473" y="283202"/>
                </a:cubicBezTo>
                <a:cubicBezTo>
                  <a:pt x="153473" y="283202"/>
                  <a:pt x="151473" y="281207"/>
                  <a:pt x="151473" y="279213"/>
                </a:cubicBezTo>
                <a:cubicBezTo>
                  <a:pt x="151473" y="279213"/>
                  <a:pt x="151473" y="275224"/>
                  <a:pt x="151473" y="273230"/>
                </a:cubicBezTo>
                <a:cubicBezTo>
                  <a:pt x="153473" y="271236"/>
                  <a:pt x="153473" y="269241"/>
                  <a:pt x="155472" y="269241"/>
                </a:cubicBezTo>
                <a:cubicBezTo>
                  <a:pt x="155472" y="267247"/>
                  <a:pt x="155472" y="261264"/>
                  <a:pt x="155472" y="261264"/>
                </a:cubicBezTo>
                <a:cubicBezTo>
                  <a:pt x="155472" y="259269"/>
                  <a:pt x="151473" y="257275"/>
                  <a:pt x="151473" y="257275"/>
                </a:cubicBezTo>
                <a:cubicBezTo>
                  <a:pt x="149474" y="255281"/>
                  <a:pt x="147474" y="253286"/>
                  <a:pt x="147474" y="253286"/>
                </a:cubicBezTo>
                <a:cubicBezTo>
                  <a:pt x="147474" y="251292"/>
                  <a:pt x="147474" y="249297"/>
                  <a:pt x="147474" y="247303"/>
                </a:cubicBezTo>
                <a:cubicBezTo>
                  <a:pt x="147474" y="247303"/>
                  <a:pt x="139475" y="241320"/>
                  <a:pt x="139475" y="241320"/>
                </a:cubicBezTo>
                <a:cubicBezTo>
                  <a:pt x="139475" y="239326"/>
                  <a:pt x="139475" y="233342"/>
                  <a:pt x="139475" y="231348"/>
                </a:cubicBezTo>
                <a:cubicBezTo>
                  <a:pt x="139475" y="231348"/>
                  <a:pt x="135476" y="229354"/>
                  <a:pt x="135476" y="227359"/>
                </a:cubicBezTo>
                <a:cubicBezTo>
                  <a:pt x="133476" y="227359"/>
                  <a:pt x="131476" y="227359"/>
                  <a:pt x="129477" y="225365"/>
                </a:cubicBezTo>
                <a:cubicBezTo>
                  <a:pt x="125477" y="225365"/>
                  <a:pt x="125477" y="223370"/>
                  <a:pt x="125477" y="221376"/>
                </a:cubicBezTo>
                <a:cubicBezTo>
                  <a:pt x="123478" y="219382"/>
                  <a:pt x="123478" y="217387"/>
                  <a:pt x="123478" y="215393"/>
                </a:cubicBezTo>
                <a:cubicBezTo>
                  <a:pt x="123478" y="215393"/>
                  <a:pt x="117479" y="209410"/>
                  <a:pt x="117479" y="207415"/>
                </a:cubicBezTo>
                <a:cubicBezTo>
                  <a:pt x="117479" y="205421"/>
                  <a:pt x="119478" y="201432"/>
                  <a:pt x="119478" y="201432"/>
                </a:cubicBezTo>
                <a:cubicBezTo>
                  <a:pt x="119478" y="201432"/>
                  <a:pt x="117479" y="199438"/>
                  <a:pt x="115479" y="199438"/>
                </a:cubicBezTo>
                <a:cubicBezTo>
                  <a:pt x="115479" y="199438"/>
                  <a:pt x="109480" y="197444"/>
                  <a:pt x="109480" y="197444"/>
                </a:cubicBezTo>
                <a:cubicBezTo>
                  <a:pt x="107481" y="195449"/>
                  <a:pt x="107481" y="195449"/>
                  <a:pt x="105481" y="195449"/>
                </a:cubicBezTo>
                <a:cubicBezTo>
                  <a:pt x="105481" y="195449"/>
                  <a:pt x="103481" y="193455"/>
                  <a:pt x="101482" y="191460"/>
                </a:cubicBezTo>
                <a:cubicBezTo>
                  <a:pt x="101482" y="191460"/>
                  <a:pt x="101482" y="189466"/>
                  <a:pt x="99482" y="189466"/>
                </a:cubicBezTo>
                <a:cubicBezTo>
                  <a:pt x="99482" y="187472"/>
                  <a:pt x="99482" y="187472"/>
                  <a:pt x="99482" y="185477"/>
                </a:cubicBezTo>
                <a:cubicBezTo>
                  <a:pt x="101482" y="183483"/>
                  <a:pt x="99482" y="185477"/>
                  <a:pt x="99482" y="183483"/>
                </a:cubicBezTo>
                <a:cubicBezTo>
                  <a:pt x="97482" y="181489"/>
                  <a:pt x="97482" y="181489"/>
                  <a:pt x="95483" y="179494"/>
                </a:cubicBezTo>
                <a:cubicBezTo>
                  <a:pt x="95483" y="179494"/>
                  <a:pt x="93483" y="177500"/>
                  <a:pt x="93483" y="175505"/>
                </a:cubicBezTo>
                <a:cubicBezTo>
                  <a:pt x="93483" y="173511"/>
                  <a:pt x="91483" y="171517"/>
                  <a:pt x="91483" y="169522"/>
                </a:cubicBezTo>
                <a:cubicBezTo>
                  <a:pt x="91483" y="169522"/>
                  <a:pt x="87484" y="169522"/>
                  <a:pt x="87484" y="169522"/>
                </a:cubicBezTo>
                <a:cubicBezTo>
                  <a:pt x="87484" y="169522"/>
                  <a:pt x="87484" y="167528"/>
                  <a:pt x="85484" y="165534"/>
                </a:cubicBezTo>
                <a:cubicBezTo>
                  <a:pt x="85484" y="163539"/>
                  <a:pt x="85484" y="161545"/>
                  <a:pt x="85484" y="159550"/>
                </a:cubicBezTo>
                <a:cubicBezTo>
                  <a:pt x="85484" y="157556"/>
                  <a:pt x="83485" y="155562"/>
                  <a:pt x="83485" y="153567"/>
                </a:cubicBezTo>
                <a:cubicBezTo>
                  <a:pt x="83485" y="151573"/>
                  <a:pt x="81485" y="151573"/>
                  <a:pt x="81485" y="151573"/>
                </a:cubicBezTo>
                <a:cubicBezTo>
                  <a:pt x="79486" y="149578"/>
                  <a:pt x="79486" y="149578"/>
                  <a:pt x="79486" y="147584"/>
                </a:cubicBezTo>
                <a:cubicBezTo>
                  <a:pt x="77486" y="147584"/>
                  <a:pt x="77486" y="145590"/>
                  <a:pt x="77486" y="143595"/>
                </a:cubicBezTo>
                <a:cubicBezTo>
                  <a:pt x="75486" y="143595"/>
                  <a:pt x="73487" y="143595"/>
                  <a:pt x="71487" y="143595"/>
                </a:cubicBezTo>
                <a:cubicBezTo>
                  <a:pt x="71487" y="143595"/>
                  <a:pt x="69487" y="143595"/>
                  <a:pt x="69487" y="145590"/>
                </a:cubicBezTo>
                <a:cubicBezTo>
                  <a:pt x="67488" y="145590"/>
                  <a:pt x="67488" y="143595"/>
                  <a:pt x="65488" y="141601"/>
                </a:cubicBezTo>
                <a:cubicBezTo>
                  <a:pt x="63488" y="139607"/>
                  <a:pt x="63488" y="141601"/>
                  <a:pt x="61489" y="139607"/>
                </a:cubicBezTo>
                <a:cubicBezTo>
                  <a:pt x="59489" y="137612"/>
                  <a:pt x="59489" y="139607"/>
                  <a:pt x="57489" y="139607"/>
                </a:cubicBezTo>
                <a:cubicBezTo>
                  <a:pt x="55490" y="137612"/>
                  <a:pt x="53490" y="135618"/>
                  <a:pt x="53490" y="135618"/>
                </a:cubicBezTo>
                <a:cubicBezTo>
                  <a:pt x="53490" y="133623"/>
                  <a:pt x="53490" y="131629"/>
                  <a:pt x="53490" y="129635"/>
                </a:cubicBezTo>
                <a:cubicBezTo>
                  <a:pt x="55490" y="127640"/>
                  <a:pt x="57489" y="127640"/>
                  <a:pt x="57489" y="127640"/>
                </a:cubicBezTo>
                <a:cubicBezTo>
                  <a:pt x="59489" y="125646"/>
                  <a:pt x="61489" y="125646"/>
                  <a:pt x="61489" y="125646"/>
                </a:cubicBezTo>
                <a:cubicBezTo>
                  <a:pt x="63488" y="125646"/>
                  <a:pt x="67488" y="123652"/>
                  <a:pt x="67488" y="123652"/>
                </a:cubicBezTo>
                <a:cubicBezTo>
                  <a:pt x="67488" y="121657"/>
                  <a:pt x="67488" y="121657"/>
                  <a:pt x="69487" y="119663"/>
                </a:cubicBezTo>
                <a:cubicBezTo>
                  <a:pt x="71487" y="119663"/>
                  <a:pt x="73487" y="121657"/>
                  <a:pt x="73487" y="119663"/>
                </a:cubicBezTo>
                <a:cubicBezTo>
                  <a:pt x="75486" y="119663"/>
                  <a:pt x="75486" y="117668"/>
                  <a:pt x="75486" y="117668"/>
                </a:cubicBezTo>
                <a:cubicBezTo>
                  <a:pt x="75486" y="115674"/>
                  <a:pt x="75486" y="113680"/>
                  <a:pt x="75486" y="111685"/>
                </a:cubicBezTo>
                <a:cubicBezTo>
                  <a:pt x="73487" y="109691"/>
                  <a:pt x="71487" y="109691"/>
                  <a:pt x="71487" y="107697"/>
                </a:cubicBezTo>
                <a:cubicBezTo>
                  <a:pt x="69487" y="107697"/>
                  <a:pt x="67488" y="107697"/>
                  <a:pt x="65488" y="105702"/>
                </a:cubicBezTo>
                <a:cubicBezTo>
                  <a:pt x="65488" y="105702"/>
                  <a:pt x="63488" y="101713"/>
                  <a:pt x="63488" y="99719"/>
                </a:cubicBezTo>
                <a:cubicBezTo>
                  <a:pt x="63488" y="97725"/>
                  <a:pt x="63488" y="97725"/>
                  <a:pt x="63488" y="95730"/>
                </a:cubicBezTo>
                <a:cubicBezTo>
                  <a:pt x="61489" y="93736"/>
                  <a:pt x="59489" y="89747"/>
                  <a:pt x="57489" y="87753"/>
                </a:cubicBezTo>
                <a:cubicBezTo>
                  <a:pt x="57489" y="87753"/>
                  <a:pt x="59489" y="83764"/>
                  <a:pt x="59489" y="83764"/>
                </a:cubicBezTo>
                <a:cubicBezTo>
                  <a:pt x="57489" y="83764"/>
                  <a:pt x="57489" y="83764"/>
                  <a:pt x="55490" y="83764"/>
                </a:cubicBezTo>
                <a:cubicBezTo>
                  <a:pt x="53490" y="83764"/>
                  <a:pt x="53490" y="83764"/>
                  <a:pt x="53490" y="83764"/>
                </a:cubicBezTo>
                <a:cubicBezTo>
                  <a:pt x="51491" y="83764"/>
                  <a:pt x="49491" y="83764"/>
                  <a:pt x="47491" y="83764"/>
                </a:cubicBezTo>
                <a:cubicBezTo>
                  <a:pt x="47491" y="83764"/>
                  <a:pt x="45492" y="85758"/>
                  <a:pt x="45492" y="85758"/>
                </a:cubicBezTo>
                <a:cubicBezTo>
                  <a:pt x="45492" y="87753"/>
                  <a:pt x="43492" y="87753"/>
                  <a:pt x="41492" y="89747"/>
                </a:cubicBezTo>
                <a:cubicBezTo>
                  <a:pt x="41492" y="89747"/>
                  <a:pt x="41492" y="91742"/>
                  <a:pt x="39493" y="91742"/>
                </a:cubicBezTo>
                <a:cubicBezTo>
                  <a:pt x="37493" y="91742"/>
                  <a:pt x="37493" y="91742"/>
                  <a:pt x="35493" y="91742"/>
                </a:cubicBezTo>
                <a:cubicBezTo>
                  <a:pt x="35493" y="89747"/>
                  <a:pt x="31494" y="87753"/>
                  <a:pt x="29494" y="85758"/>
                </a:cubicBezTo>
                <a:cubicBezTo>
                  <a:pt x="29494" y="85758"/>
                  <a:pt x="27495" y="83764"/>
                  <a:pt x="27495" y="81770"/>
                </a:cubicBezTo>
                <a:cubicBezTo>
                  <a:pt x="25495" y="81770"/>
                  <a:pt x="23495" y="79775"/>
                  <a:pt x="21496" y="77781"/>
                </a:cubicBezTo>
                <a:cubicBezTo>
                  <a:pt x="21496" y="75786"/>
                  <a:pt x="19496" y="73792"/>
                  <a:pt x="19496" y="71798"/>
                </a:cubicBezTo>
                <a:cubicBezTo>
                  <a:pt x="19496" y="71798"/>
                  <a:pt x="19496" y="63820"/>
                  <a:pt x="19496" y="61826"/>
                </a:cubicBezTo>
                <a:cubicBezTo>
                  <a:pt x="19496" y="59831"/>
                  <a:pt x="21496" y="55842"/>
                  <a:pt x="21496" y="53848"/>
                </a:cubicBezTo>
                <a:cubicBezTo>
                  <a:pt x="21496" y="53848"/>
                  <a:pt x="19496" y="51854"/>
                  <a:pt x="17497" y="51854"/>
                </a:cubicBezTo>
                <a:cubicBezTo>
                  <a:pt x="15497" y="51854"/>
                  <a:pt x="11498" y="53848"/>
                  <a:pt x="11498" y="51854"/>
                </a:cubicBezTo>
                <a:cubicBezTo>
                  <a:pt x="7498" y="51854"/>
                  <a:pt x="7498" y="49859"/>
                  <a:pt x="7498" y="47865"/>
                </a:cubicBezTo>
                <a:cubicBezTo>
                  <a:pt x="7498" y="45871"/>
                  <a:pt x="7498" y="45871"/>
                  <a:pt x="7498" y="43876"/>
                </a:cubicBezTo>
                <a:cubicBezTo>
                  <a:pt x="7498" y="43876"/>
                  <a:pt x="5499" y="41882"/>
                  <a:pt x="3499" y="41882"/>
                </a:cubicBezTo>
                <a:cubicBezTo>
                  <a:pt x="3499" y="39887"/>
                  <a:pt x="1499" y="39887"/>
                  <a:pt x="1499" y="39887"/>
                </a:cubicBezTo>
                <a:cubicBezTo>
                  <a:pt x="-500" y="37893"/>
                  <a:pt x="-500" y="35899"/>
                  <a:pt x="1499" y="33904"/>
                </a:cubicBezTo>
                <a:cubicBezTo>
                  <a:pt x="1499" y="33904"/>
                  <a:pt x="3499" y="31910"/>
                  <a:pt x="5499" y="29916"/>
                </a:cubicBezTo>
                <a:cubicBezTo>
                  <a:pt x="5499" y="29916"/>
                  <a:pt x="5499" y="31910"/>
                  <a:pt x="7498" y="31910"/>
                </a:cubicBezTo>
                <a:cubicBezTo>
                  <a:pt x="7498" y="31910"/>
                  <a:pt x="9498" y="29916"/>
                  <a:pt x="9498" y="29916"/>
                </a:cubicBezTo>
                <a:cubicBezTo>
                  <a:pt x="9498" y="27921"/>
                  <a:pt x="11498" y="25927"/>
                  <a:pt x="11498" y="25927"/>
                </a:cubicBezTo>
                <a:cubicBezTo>
                  <a:pt x="13497" y="23932"/>
                  <a:pt x="11498" y="23932"/>
                  <a:pt x="13497" y="23932"/>
                </a:cubicBezTo>
                <a:cubicBezTo>
                  <a:pt x="15497" y="23932"/>
                  <a:pt x="17497" y="23932"/>
                  <a:pt x="17497" y="23932"/>
                </a:cubicBezTo>
                <a:cubicBezTo>
                  <a:pt x="17497" y="25927"/>
                  <a:pt x="17497" y="25927"/>
                  <a:pt x="17497" y="27921"/>
                </a:cubicBezTo>
                <a:cubicBezTo>
                  <a:pt x="19496" y="29916"/>
                  <a:pt x="19496" y="29916"/>
                  <a:pt x="21496" y="29916"/>
                </a:cubicBezTo>
                <a:cubicBezTo>
                  <a:pt x="23495" y="29916"/>
                  <a:pt x="27495" y="29916"/>
                  <a:pt x="27495" y="29916"/>
                </a:cubicBezTo>
                <a:cubicBezTo>
                  <a:pt x="27495" y="27921"/>
                  <a:pt x="27495" y="25927"/>
                  <a:pt x="29494" y="25927"/>
                </a:cubicBezTo>
                <a:cubicBezTo>
                  <a:pt x="31494" y="25927"/>
                  <a:pt x="31494" y="27921"/>
                  <a:pt x="33494" y="27921"/>
                </a:cubicBezTo>
                <a:cubicBezTo>
                  <a:pt x="35493" y="25927"/>
                  <a:pt x="35493" y="25927"/>
                  <a:pt x="35493" y="23932"/>
                </a:cubicBezTo>
                <a:cubicBezTo>
                  <a:pt x="35493" y="23932"/>
                  <a:pt x="37493" y="21938"/>
                  <a:pt x="37493" y="21938"/>
                </a:cubicBezTo>
                <a:cubicBezTo>
                  <a:pt x="39493" y="21938"/>
                  <a:pt x="39493" y="23932"/>
                  <a:pt x="41492" y="23932"/>
                </a:cubicBezTo>
                <a:cubicBezTo>
                  <a:pt x="45492" y="21938"/>
                  <a:pt x="47491" y="17949"/>
                  <a:pt x="49491" y="17949"/>
                </a:cubicBezTo>
                <a:cubicBezTo>
                  <a:pt x="49491" y="15955"/>
                  <a:pt x="53490" y="9972"/>
                  <a:pt x="55490" y="9972"/>
                </a:cubicBezTo>
                <a:cubicBezTo>
                  <a:pt x="57489" y="7977"/>
                  <a:pt x="57489" y="7977"/>
                  <a:pt x="59489" y="5983"/>
                </a:cubicBezTo>
                <a:cubicBezTo>
                  <a:pt x="61489" y="3989"/>
                  <a:pt x="61489" y="3989"/>
                  <a:pt x="63488" y="1994"/>
                </a:cubicBezTo>
                <a:cubicBezTo>
                  <a:pt x="65488" y="0"/>
                  <a:pt x="65488" y="0"/>
                  <a:pt x="67488" y="0"/>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3" name="Cambodia"/>
          <p:cNvSpPr>
            <a:spLocks/>
          </p:cNvSpPr>
          <p:nvPr/>
        </p:nvSpPr>
        <p:spPr bwMode="auto">
          <a:xfrm>
            <a:off x="8961178" y="3605078"/>
            <a:ext cx="142088" cy="140455"/>
          </a:xfrm>
          <a:custGeom>
            <a:avLst/>
            <a:gdLst>
              <a:gd name="connsiteX0" fmla="*/ 18097 w 138113"/>
              <a:gd name="connsiteY0" fmla="*/ 130175 h 136525"/>
              <a:gd name="connsiteX1" fmla="*/ 21907 w 138113"/>
              <a:gd name="connsiteY1" fmla="*/ 134408 h 136525"/>
              <a:gd name="connsiteX2" fmla="*/ 20002 w 138113"/>
              <a:gd name="connsiteY2" fmla="*/ 136525 h 136525"/>
              <a:gd name="connsiteX3" fmla="*/ 14287 w 138113"/>
              <a:gd name="connsiteY3" fmla="*/ 132292 h 136525"/>
              <a:gd name="connsiteX4" fmla="*/ 18097 w 138113"/>
              <a:gd name="connsiteY4" fmla="*/ 130175 h 136525"/>
              <a:gd name="connsiteX5" fmla="*/ 44768 w 138113"/>
              <a:gd name="connsiteY5" fmla="*/ 127634 h 136525"/>
              <a:gd name="connsiteX6" fmla="*/ 49213 w 138113"/>
              <a:gd name="connsiteY6" fmla="*/ 132079 h 136525"/>
              <a:gd name="connsiteX7" fmla="*/ 42545 w 138113"/>
              <a:gd name="connsiteY7" fmla="*/ 134302 h 136525"/>
              <a:gd name="connsiteX8" fmla="*/ 40323 w 138113"/>
              <a:gd name="connsiteY8" fmla="*/ 129857 h 136525"/>
              <a:gd name="connsiteX9" fmla="*/ 44768 w 138113"/>
              <a:gd name="connsiteY9" fmla="*/ 127634 h 136525"/>
              <a:gd name="connsiteX10" fmla="*/ 26459 w 138113"/>
              <a:gd name="connsiteY10" fmla="*/ 123825 h 136525"/>
              <a:gd name="connsiteX11" fmla="*/ 28575 w 138113"/>
              <a:gd name="connsiteY11" fmla="*/ 128058 h 136525"/>
              <a:gd name="connsiteX12" fmla="*/ 22225 w 138113"/>
              <a:gd name="connsiteY12" fmla="*/ 128058 h 136525"/>
              <a:gd name="connsiteX13" fmla="*/ 26459 w 138113"/>
              <a:gd name="connsiteY13" fmla="*/ 123825 h 136525"/>
              <a:gd name="connsiteX14" fmla="*/ 56046 w 138113"/>
              <a:gd name="connsiteY14" fmla="*/ 0 h 136525"/>
              <a:gd name="connsiteX15" fmla="*/ 64053 w 138113"/>
              <a:gd name="connsiteY15" fmla="*/ 2003 h 136525"/>
              <a:gd name="connsiteX16" fmla="*/ 72059 w 138113"/>
              <a:gd name="connsiteY16" fmla="*/ 6008 h 136525"/>
              <a:gd name="connsiteX17" fmla="*/ 72059 w 138113"/>
              <a:gd name="connsiteY17" fmla="*/ 8011 h 136525"/>
              <a:gd name="connsiteX18" fmla="*/ 70058 w 138113"/>
              <a:gd name="connsiteY18" fmla="*/ 12016 h 136525"/>
              <a:gd name="connsiteX19" fmla="*/ 68056 w 138113"/>
              <a:gd name="connsiteY19" fmla="*/ 14019 h 136525"/>
              <a:gd name="connsiteX20" fmla="*/ 74061 w 138113"/>
              <a:gd name="connsiteY20" fmla="*/ 16021 h 136525"/>
              <a:gd name="connsiteX21" fmla="*/ 78064 w 138113"/>
              <a:gd name="connsiteY21" fmla="*/ 16021 h 136525"/>
              <a:gd name="connsiteX22" fmla="*/ 82067 w 138113"/>
              <a:gd name="connsiteY22" fmla="*/ 22029 h 136525"/>
              <a:gd name="connsiteX23" fmla="*/ 88072 w 138113"/>
              <a:gd name="connsiteY23" fmla="*/ 22029 h 136525"/>
              <a:gd name="connsiteX24" fmla="*/ 94077 w 138113"/>
              <a:gd name="connsiteY24" fmla="*/ 20027 h 136525"/>
              <a:gd name="connsiteX25" fmla="*/ 96079 w 138113"/>
              <a:gd name="connsiteY25" fmla="*/ 12016 h 136525"/>
              <a:gd name="connsiteX26" fmla="*/ 98080 w 138113"/>
              <a:gd name="connsiteY26" fmla="*/ 8011 h 136525"/>
              <a:gd name="connsiteX27" fmla="*/ 100082 w 138113"/>
              <a:gd name="connsiteY27" fmla="*/ 8011 h 136525"/>
              <a:gd name="connsiteX28" fmla="*/ 104085 w 138113"/>
              <a:gd name="connsiteY28" fmla="*/ 8011 h 136525"/>
              <a:gd name="connsiteX29" fmla="*/ 106087 w 138113"/>
              <a:gd name="connsiteY29" fmla="*/ 6008 h 136525"/>
              <a:gd name="connsiteX30" fmla="*/ 112092 w 138113"/>
              <a:gd name="connsiteY30" fmla="*/ 6008 h 136525"/>
              <a:gd name="connsiteX31" fmla="*/ 114094 w 138113"/>
              <a:gd name="connsiteY31" fmla="*/ 8011 h 136525"/>
              <a:gd name="connsiteX32" fmla="*/ 118097 w 138113"/>
              <a:gd name="connsiteY32" fmla="*/ 10013 h 136525"/>
              <a:gd name="connsiteX33" fmla="*/ 126103 w 138113"/>
              <a:gd name="connsiteY33" fmla="*/ 6008 h 136525"/>
              <a:gd name="connsiteX34" fmla="*/ 130107 w 138113"/>
              <a:gd name="connsiteY34" fmla="*/ 4005 h 136525"/>
              <a:gd name="connsiteX35" fmla="*/ 134110 w 138113"/>
              <a:gd name="connsiteY35" fmla="*/ 14019 h 136525"/>
              <a:gd name="connsiteX36" fmla="*/ 132108 w 138113"/>
              <a:gd name="connsiteY36" fmla="*/ 22029 h 136525"/>
              <a:gd name="connsiteX37" fmla="*/ 132108 w 138113"/>
              <a:gd name="connsiteY37" fmla="*/ 30040 h 136525"/>
              <a:gd name="connsiteX38" fmla="*/ 136112 w 138113"/>
              <a:gd name="connsiteY38" fmla="*/ 40054 h 136525"/>
              <a:gd name="connsiteX39" fmla="*/ 138113 w 138113"/>
              <a:gd name="connsiteY39" fmla="*/ 46062 h 136525"/>
              <a:gd name="connsiteX40" fmla="*/ 138113 w 138113"/>
              <a:gd name="connsiteY40" fmla="*/ 52070 h 136525"/>
              <a:gd name="connsiteX41" fmla="*/ 134110 w 138113"/>
              <a:gd name="connsiteY41" fmla="*/ 58078 h 136525"/>
              <a:gd name="connsiteX42" fmla="*/ 128105 w 138113"/>
              <a:gd name="connsiteY42" fmla="*/ 74099 h 136525"/>
              <a:gd name="connsiteX43" fmla="*/ 120099 w 138113"/>
              <a:gd name="connsiteY43" fmla="*/ 78105 h 136525"/>
              <a:gd name="connsiteX44" fmla="*/ 118097 w 138113"/>
              <a:gd name="connsiteY44" fmla="*/ 80108 h 136525"/>
              <a:gd name="connsiteX45" fmla="*/ 114094 w 138113"/>
              <a:gd name="connsiteY45" fmla="*/ 82110 h 136525"/>
              <a:gd name="connsiteX46" fmla="*/ 104085 w 138113"/>
              <a:gd name="connsiteY46" fmla="*/ 82110 h 136525"/>
              <a:gd name="connsiteX47" fmla="*/ 98080 w 138113"/>
              <a:gd name="connsiteY47" fmla="*/ 86116 h 136525"/>
              <a:gd name="connsiteX48" fmla="*/ 90074 w 138113"/>
              <a:gd name="connsiteY48" fmla="*/ 96129 h 136525"/>
              <a:gd name="connsiteX49" fmla="*/ 94077 w 138113"/>
              <a:gd name="connsiteY49" fmla="*/ 104140 h 136525"/>
              <a:gd name="connsiteX50" fmla="*/ 98080 w 138113"/>
              <a:gd name="connsiteY50" fmla="*/ 112151 h 136525"/>
              <a:gd name="connsiteX51" fmla="*/ 98080 w 138113"/>
              <a:gd name="connsiteY51" fmla="*/ 120161 h 136525"/>
              <a:gd name="connsiteX52" fmla="*/ 94077 w 138113"/>
              <a:gd name="connsiteY52" fmla="*/ 118159 h 136525"/>
              <a:gd name="connsiteX53" fmla="*/ 88072 w 138113"/>
              <a:gd name="connsiteY53" fmla="*/ 118159 h 136525"/>
              <a:gd name="connsiteX54" fmla="*/ 86071 w 138113"/>
              <a:gd name="connsiteY54" fmla="*/ 114153 h 136525"/>
              <a:gd name="connsiteX55" fmla="*/ 80066 w 138113"/>
              <a:gd name="connsiteY55" fmla="*/ 114153 h 136525"/>
              <a:gd name="connsiteX56" fmla="*/ 74061 w 138113"/>
              <a:gd name="connsiteY56" fmla="*/ 114153 h 136525"/>
              <a:gd name="connsiteX57" fmla="*/ 66054 w 138113"/>
              <a:gd name="connsiteY57" fmla="*/ 114153 h 136525"/>
              <a:gd name="connsiteX58" fmla="*/ 64053 w 138113"/>
              <a:gd name="connsiteY58" fmla="*/ 120161 h 136525"/>
              <a:gd name="connsiteX59" fmla="*/ 64053 w 138113"/>
              <a:gd name="connsiteY59" fmla="*/ 126169 h 136525"/>
              <a:gd name="connsiteX60" fmla="*/ 56046 w 138113"/>
              <a:gd name="connsiteY60" fmla="*/ 130175 h 136525"/>
              <a:gd name="connsiteX61" fmla="*/ 50041 w 138113"/>
              <a:gd name="connsiteY61" fmla="*/ 126169 h 136525"/>
              <a:gd name="connsiteX62" fmla="*/ 46038 w 138113"/>
              <a:gd name="connsiteY62" fmla="*/ 122164 h 136525"/>
              <a:gd name="connsiteX63" fmla="*/ 34028 w 138113"/>
              <a:gd name="connsiteY63" fmla="*/ 122164 h 136525"/>
              <a:gd name="connsiteX64" fmla="*/ 34028 w 138113"/>
              <a:gd name="connsiteY64" fmla="*/ 114153 h 136525"/>
              <a:gd name="connsiteX65" fmla="*/ 36030 w 138113"/>
              <a:gd name="connsiteY65" fmla="*/ 110148 h 136525"/>
              <a:gd name="connsiteX66" fmla="*/ 30025 w 138113"/>
              <a:gd name="connsiteY66" fmla="*/ 104140 h 136525"/>
              <a:gd name="connsiteX67" fmla="*/ 28023 w 138113"/>
              <a:gd name="connsiteY67" fmla="*/ 110148 h 136525"/>
              <a:gd name="connsiteX68" fmla="*/ 18015 w 138113"/>
              <a:gd name="connsiteY68" fmla="*/ 114153 h 136525"/>
              <a:gd name="connsiteX69" fmla="*/ 20017 w 138113"/>
              <a:gd name="connsiteY69" fmla="*/ 108145 h 136525"/>
              <a:gd name="connsiteX70" fmla="*/ 20017 w 138113"/>
              <a:gd name="connsiteY70" fmla="*/ 104140 h 136525"/>
              <a:gd name="connsiteX71" fmla="*/ 20017 w 138113"/>
              <a:gd name="connsiteY71" fmla="*/ 96129 h 136525"/>
              <a:gd name="connsiteX72" fmla="*/ 16013 w 138113"/>
              <a:gd name="connsiteY72" fmla="*/ 92124 h 136525"/>
              <a:gd name="connsiteX73" fmla="*/ 12010 w 138113"/>
              <a:gd name="connsiteY73" fmla="*/ 82110 h 136525"/>
              <a:gd name="connsiteX74" fmla="*/ 6005 w 138113"/>
              <a:gd name="connsiteY74" fmla="*/ 76102 h 136525"/>
              <a:gd name="connsiteX75" fmla="*/ 10008 w 138113"/>
              <a:gd name="connsiteY75" fmla="*/ 74099 h 136525"/>
              <a:gd name="connsiteX76" fmla="*/ 14011 w 138113"/>
              <a:gd name="connsiteY76" fmla="*/ 78105 h 136525"/>
              <a:gd name="connsiteX77" fmla="*/ 16013 w 138113"/>
              <a:gd name="connsiteY77" fmla="*/ 86116 h 136525"/>
              <a:gd name="connsiteX78" fmla="*/ 18015 w 138113"/>
              <a:gd name="connsiteY78" fmla="*/ 84113 h 136525"/>
              <a:gd name="connsiteX79" fmla="*/ 18015 w 138113"/>
              <a:gd name="connsiteY79" fmla="*/ 76102 h 136525"/>
              <a:gd name="connsiteX80" fmla="*/ 14011 w 138113"/>
              <a:gd name="connsiteY80" fmla="*/ 68091 h 136525"/>
              <a:gd name="connsiteX81" fmla="*/ 10008 w 138113"/>
              <a:gd name="connsiteY81" fmla="*/ 58078 h 136525"/>
              <a:gd name="connsiteX82" fmla="*/ 6005 w 138113"/>
              <a:gd name="connsiteY82" fmla="*/ 48064 h 136525"/>
              <a:gd name="connsiteX83" fmla="*/ 4003 w 138113"/>
              <a:gd name="connsiteY83" fmla="*/ 36048 h 136525"/>
              <a:gd name="connsiteX84" fmla="*/ 0 w 138113"/>
              <a:gd name="connsiteY84" fmla="*/ 32043 h 136525"/>
              <a:gd name="connsiteX85" fmla="*/ 4003 w 138113"/>
              <a:gd name="connsiteY85" fmla="*/ 24032 h 136525"/>
              <a:gd name="connsiteX86" fmla="*/ 10008 w 138113"/>
              <a:gd name="connsiteY86" fmla="*/ 20027 h 136525"/>
              <a:gd name="connsiteX87" fmla="*/ 14011 w 138113"/>
              <a:gd name="connsiteY87" fmla="*/ 10013 h 136525"/>
              <a:gd name="connsiteX88" fmla="*/ 18015 w 138113"/>
              <a:gd name="connsiteY88" fmla="*/ 6008 h 136525"/>
              <a:gd name="connsiteX89" fmla="*/ 34028 w 138113"/>
              <a:gd name="connsiteY89" fmla="*/ 2003 h 136525"/>
              <a:gd name="connsiteX90" fmla="*/ 46038 w 138113"/>
              <a:gd name="connsiteY90" fmla="*/ 2003 h 136525"/>
              <a:gd name="connsiteX91" fmla="*/ 56046 w 138113"/>
              <a:gd name="connsiteY91" fmla="*/ 0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8113" h="136525">
                <a:moveTo>
                  <a:pt x="18097" y="130175"/>
                </a:moveTo>
                <a:cubicBezTo>
                  <a:pt x="18097" y="130175"/>
                  <a:pt x="18097" y="132292"/>
                  <a:pt x="21907" y="134408"/>
                </a:cubicBezTo>
                <a:cubicBezTo>
                  <a:pt x="23812" y="134408"/>
                  <a:pt x="23812" y="136525"/>
                  <a:pt x="20002" y="136525"/>
                </a:cubicBezTo>
                <a:cubicBezTo>
                  <a:pt x="16192" y="136525"/>
                  <a:pt x="16192" y="134408"/>
                  <a:pt x="14287" y="132292"/>
                </a:cubicBezTo>
                <a:cubicBezTo>
                  <a:pt x="14287" y="130175"/>
                  <a:pt x="18097" y="130175"/>
                  <a:pt x="18097" y="130175"/>
                </a:cubicBezTo>
                <a:close/>
                <a:moveTo>
                  <a:pt x="44768" y="127634"/>
                </a:moveTo>
                <a:cubicBezTo>
                  <a:pt x="44768" y="125412"/>
                  <a:pt x="49213" y="127634"/>
                  <a:pt x="49213" y="132079"/>
                </a:cubicBezTo>
                <a:cubicBezTo>
                  <a:pt x="49213" y="136524"/>
                  <a:pt x="44768" y="136524"/>
                  <a:pt x="42545" y="134302"/>
                </a:cubicBezTo>
                <a:cubicBezTo>
                  <a:pt x="38100" y="132079"/>
                  <a:pt x="38100" y="132079"/>
                  <a:pt x="40323" y="129857"/>
                </a:cubicBezTo>
                <a:cubicBezTo>
                  <a:pt x="42545" y="129857"/>
                  <a:pt x="44768" y="127634"/>
                  <a:pt x="44768" y="127634"/>
                </a:cubicBezTo>
                <a:close/>
                <a:moveTo>
                  <a:pt x="26459" y="123825"/>
                </a:moveTo>
                <a:cubicBezTo>
                  <a:pt x="26459" y="123825"/>
                  <a:pt x="28575" y="125942"/>
                  <a:pt x="28575" y="128058"/>
                </a:cubicBezTo>
                <a:cubicBezTo>
                  <a:pt x="28575" y="130175"/>
                  <a:pt x="24342" y="130175"/>
                  <a:pt x="22225" y="128058"/>
                </a:cubicBezTo>
                <a:cubicBezTo>
                  <a:pt x="22225" y="123825"/>
                  <a:pt x="26459" y="123825"/>
                  <a:pt x="26459" y="123825"/>
                </a:cubicBezTo>
                <a:close/>
                <a:moveTo>
                  <a:pt x="56046" y="0"/>
                </a:moveTo>
                <a:cubicBezTo>
                  <a:pt x="60049" y="0"/>
                  <a:pt x="64053" y="2003"/>
                  <a:pt x="64053" y="2003"/>
                </a:cubicBezTo>
                <a:cubicBezTo>
                  <a:pt x="66054" y="4005"/>
                  <a:pt x="72059" y="6008"/>
                  <a:pt x="72059" y="6008"/>
                </a:cubicBezTo>
                <a:cubicBezTo>
                  <a:pt x="72059" y="6008"/>
                  <a:pt x="72059" y="8011"/>
                  <a:pt x="72059" y="8011"/>
                </a:cubicBezTo>
                <a:cubicBezTo>
                  <a:pt x="72059" y="10013"/>
                  <a:pt x="70058" y="12016"/>
                  <a:pt x="70058" y="12016"/>
                </a:cubicBezTo>
                <a:cubicBezTo>
                  <a:pt x="68056" y="12016"/>
                  <a:pt x="68056" y="14019"/>
                  <a:pt x="68056" y="14019"/>
                </a:cubicBezTo>
                <a:cubicBezTo>
                  <a:pt x="68056" y="16021"/>
                  <a:pt x="74061" y="16021"/>
                  <a:pt x="74061" y="16021"/>
                </a:cubicBezTo>
                <a:cubicBezTo>
                  <a:pt x="76062" y="16021"/>
                  <a:pt x="78064" y="16021"/>
                  <a:pt x="78064" y="16021"/>
                </a:cubicBezTo>
                <a:cubicBezTo>
                  <a:pt x="80066" y="18024"/>
                  <a:pt x="82067" y="20027"/>
                  <a:pt x="82067" y="22029"/>
                </a:cubicBezTo>
                <a:cubicBezTo>
                  <a:pt x="84069" y="24032"/>
                  <a:pt x="86071" y="22029"/>
                  <a:pt x="88072" y="22029"/>
                </a:cubicBezTo>
                <a:cubicBezTo>
                  <a:pt x="88072" y="22029"/>
                  <a:pt x="94077" y="20027"/>
                  <a:pt x="94077" y="20027"/>
                </a:cubicBezTo>
                <a:cubicBezTo>
                  <a:pt x="96079" y="20027"/>
                  <a:pt x="96079" y="16021"/>
                  <a:pt x="96079" y="12016"/>
                </a:cubicBezTo>
                <a:cubicBezTo>
                  <a:pt x="96079" y="12016"/>
                  <a:pt x="96079" y="8011"/>
                  <a:pt x="98080" y="8011"/>
                </a:cubicBezTo>
                <a:cubicBezTo>
                  <a:pt x="98080" y="8011"/>
                  <a:pt x="100082" y="6008"/>
                  <a:pt x="100082" y="8011"/>
                </a:cubicBezTo>
                <a:cubicBezTo>
                  <a:pt x="102084" y="8011"/>
                  <a:pt x="102084" y="8011"/>
                  <a:pt x="104085" y="8011"/>
                </a:cubicBezTo>
                <a:cubicBezTo>
                  <a:pt x="106087" y="8011"/>
                  <a:pt x="106087" y="8011"/>
                  <a:pt x="106087" y="6008"/>
                </a:cubicBezTo>
                <a:cubicBezTo>
                  <a:pt x="108089" y="6008"/>
                  <a:pt x="110090" y="6008"/>
                  <a:pt x="112092" y="6008"/>
                </a:cubicBezTo>
                <a:cubicBezTo>
                  <a:pt x="112092" y="6008"/>
                  <a:pt x="114094" y="8011"/>
                  <a:pt x="114094" y="8011"/>
                </a:cubicBezTo>
                <a:cubicBezTo>
                  <a:pt x="114094" y="8011"/>
                  <a:pt x="116095" y="10013"/>
                  <a:pt x="118097" y="10013"/>
                </a:cubicBezTo>
                <a:cubicBezTo>
                  <a:pt x="118097" y="10013"/>
                  <a:pt x="124102" y="8011"/>
                  <a:pt x="126103" y="6008"/>
                </a:cubicBezTo>
                <a:cubicBezTo>
                  <a:pt x="126103" y="6008"/>
                  <a:pt x="128105" y="4005"/>
                  <a:pt x="130107" y="4005"/>
                </a:cubicBezTo>
                <a:cubicBezTo>
                  <a:pt x="130107" y="4005"/>
                  <a:pt x="132108" y="12016"/>
                  <a:pt x="134110" y="14019"/>
                </a:cubicBezTo>
                <a:cubicBezTo>
                  <a:pt x="136112" y="18024"/>
                  <a:pt x="132108" y="20027"/>
                  <a:pt x="132108" y="22029"/>
                </a:cubicBezTo>
                <a:cubicBezTo>
                  <a:pt x="132108" y="24032"/>
                  <a:pt x="132108" y="28038"/>
                  <a:pt x="132108" y="30040"/>
                </a:cubicBezTo>
                <a:cubicBezTo>
                  <a:pt x="132108" y="32043"/>
                  <a:pt x="134110" y="38051"/>
                  <a:pt x="136112" y="40054"/>
                </a:cubicBezTo>
                <a:cubicBezTo>
                  <a:pt x="136112" y="42056"/>
                  <a:pt x="136112" y="42056"/>
                  <a:pt x="138113" y="46062"/>
                </a:cubicBezTo>
                <a:cubicBezTo>
                  <a:pt x="138113" y="48064"/>
                  <a:pt x="138113" y="50067"/>
                  <a:pt x="138113" y="52070"/>
                </a:cubicBezTo>
                <a:cubicBezTo>
                  <a:pt x="136112" y="54073"/>
                  <a:pt x="134110" y="56075"/>
                  <a:pt x="134110" y="58078"/>
                </a:cubicBezTo>
                <a:cubicBezTo>
                  <a:pt x="132108" y="62083"/>
                  <a:pt x="128105" y="72097"/>
                  <a:pt x="128105" y="74099"/>
                </a:cubicBezTo>
                <a:cubicBezTo>
                  <a:pt x="128105" y="76102"/>
                  <a:pt x="122100" y="76102"/>
                  <a:pt x="120099" y="78105"/>
                </a:cubicBezTo>
                <a:cubicBezTo>
                  <a:pt x="118097" y="78105"/>
                  <a:pt x="120099" y="80108"/>
                  <a:pt x="118097" y="80108"/>
                </a:cubicBezTo>
                <a:cubicBezTo>
                  <a:pt x="116095" y="82110"/>
                  <a:pt x="114094" y="82110"/>
                  <a:pt x="114094" y="82110"/>
                </a:cubicBezTo>
                <a:cubicBezTo>
                  <a:pt x="112092" y="82110"/>
                  <a:pt x="106087" y="82110"/>
                  <a:pt x="104085" y="82110"/>
                </a:cubicBezTo>
                <a:cubicBezTo>
                  <a:pt x="100082" y="82110"/>
                  <a:pt x="98080" y="84113"/>
                  <a:pt x="98080" y="86116"/>
                </a:cubicBezTo>
                <a:cubicBezTo>
                  <a:pt x="96079" y="86116"/>
                  <a:pt x="92076" y="94126"/>
                  <a:pt x="90074" y="96129"/>
                </a:cubicBezTo>
                <a:cubicBezTo>
                  <a:pt x="90074" y="98132"/>
                  <a:pt x="92076" y="102137"/>
                  <a:pt x="94077" y="104140"/>
                </a:cubicBezTo>
                <a:cubicBezTo>
                  <a:pt x="96079" y="106143"/>
                  <a:pt x="98080" y="110148"/>
                  <a:pt x="98080" y="112151"/>
                </a:cubicBezTo>
                <a:cubicBezTo>
                  <a:pt x="98080" y="114153"/>
                  <a:pt x="98080" y="120161"/>
                  <a:pt x="98080" y="120161"/>
                </a:cubicBezTo>
                <a:cubicBezTo>
                  <a:pt x="94077" y="118159"/>
                  <a:pt x="94077" y="118159"/>
                  <a:pt x="94077" y="118159"/>
                </a:cubicBezTo>
                <a:cubicBezTo>
                  <a:pt x="94077" y="118159"/>
                  <a:pt x="90074" y="118159"/>
                  <a:pt x="88072" y="118159"/>
                </a:cubicBezTo>
                <a:cubicBezTo>
                  <a:pt x="86071" y="118159"/>
                  <a:pt x="86071" y="116156"/>
                  <a:pt x="86071" y="114153"/>
                </a:cubicBezTo>
                <a:cubicBezTo>
                  <a:pt x="84069" y="112151"/>
                  <a:pt x="82067" y="114153"/>
                  <a:pt x="80066" y="114153"/>
                </a:cubicBezTo>
                <a:cubicBezTo>
                  <a:pt x="78064" y="114153"/>
                  <a:pt x="76062" y="114153"/>
                  <a:pt x="74061" y="114153"/>
                </a:cubicBezTo>
                <a:cubicBezTo>
                  <a:pt x="72059" y="114153"/>
                  <a:pt x="68056" y="114153"/>
                  <a:pt x="66054" y="114153"/>
                </a:cubicBezTo>
                <a:cubicBezTo>
                  <a:pt x="64053" y="114153"/>
                  <a:pt x="64053" y="118159"/>
                  <a:pt x="64053" y="120161"/>
                </a:cubicBezTo>
                <a:cubicBezTo>
                  <a:pt x="64053" y="122164"/>
                  <a:pt x="64053" y="126169"/>
                  <a:pt x="64053" y="126169"/>
                </a:cubicBezTo>
                <a:cubicBezTo>
                  <a:pt x="62051" y="126169"/>
                  <a:pt x="56046" y="128172"/>
                  <a:pt x="56046" y="130175"/>
                </a:cubicBezTo>
                <a:cubicBezTo>
                  <a:pt x="56046" y="128172"/>
                  <a:pt x="54044" y="130175"/>
                  <a:pt x="50041" y="126169"/>
                </a:cubicBezTo>
                <a:cubicBezTo>
                  <a:pt x="46038" y="124167"/>
                  <a:pt x="48040" y="124167"/>
                  <a:pt x="46038" y="122164"/>
                </a:cubicBezTo>
                <a:cubicBezTo>
                  <a:pt x="44036" y="122164"/>
                  <a:pt x="38031" y="124167"/>
                  <a:pt x="34028" y="122164"/>
                </a:cubicBezTo>
                <a:cubicBezTo>
                  <a:pt x="30025" y="120161"/>
                  <a:pt x="34028" y="116156"/>
                  <a:pt x="34028" y="114153"/>
                </a:cubicBezTo>
                <a:cubicBezTo>
                  <a:pt x="36030" y="114153"/>
                  <a:pt x="36030" y="114153"/>
                  <a:pt x="36030" y="110148"/>
                </a:cubicBezTo>
                <a:cubicBezTo>
                  <a:pt x="36030" y="106143"/>
                  <a:pt x="30025" y="102137"/>
                  <a:pt x="30025" y="104140"/>
                </a:cubicBezTo>
                <a:cubicBezTo>
                  <a:pt x="28023" y="106143"/>
                  <a:pt x="26022" y="110148"/>
                  <a:pt x="28023" y="110148"/>
                </a:cubicBezTo>
                <a:cubicBezTo>
                  <a:pt x="30025" y="112151"/>
                  <a:pt x="22018" y="118159"/>
                  <a:pt x="18015" y="114153"/>
                </a:cubicBezTo>
                <a:cubicBezTo>
                  <a:pt x="16013" y="112151"/>
                  <a:pt x="20017" y="108145"/>
                  <a:pt x="20017" y="108145"/>
                </a:cubicBezTo>
                <a:cubicBezTo>
                  <a:pt x="20017" y="108145"/>
                  <a:pt x="22018" y="108145"/>
                  <a:pt x="20017" y="104140"/>
                </a:cubicBezTo>
                <a:cubicBezTo>
                  <a:pt x="18015" y="100134"/>
                  <a:pt x="20017" y="98132"/>
                  <a:pt x="20017" y="96129"/>
                </a:cubicBezTo>
                <a:cubicBezTo>
                  <a:pt x="20017" y="94126"/>
                  <a:pt x="18015" y="94126"/>
                  <a:pt x="16013" y="92124"/>
                </a:cubicBezTo>
                <a:cubicBezTo>
                  <a:pt x="14011" y="90121"/>
                  <a:pt x="12010" y="86116"/>
                  <a:pt x="12010" y="82110"/>
                </a:cubicBezTo>
                <a:cubicBezTo>
                  <a:pt x="12010" y="78105"/>
                  <a:pt x="8006" y="76102"/>
                  <a:pt x="6005" y="76102"/>
                </a:cubicBezTo>
                <a:cubicBezTo>
                  <a:pt x="6005" y="78105"/>
                  <a:pt x="6005" y="74099"/>
                  <a:pt x="10008" y="74099"/>
                </a:cubicBezTo>
                <a:cubicBezTo>
                  <a:pt x="12010" y="74099"/>
                  <a:pt x="14011" y="76102"/>
                  <a:pt x="14011" y="78105"/>
                </a:cubicBezTo>
                <a:cubicBezTo>
                  <a:pt x="14011" y="80108"/>
                  <a:pt x="14011" y="86116"/>
                  <a:pt x="16013" y="86116"/>
                </a:cubicBezTo>
                <a:cubicBezTo>
                  <a:pt x="18015" y="88118"/>
                  <a:pt x="18015" y="84113"/>
                  <a:pt x="18015" y="84113"/>
                </a:cubicBezTo>
                <a:cubicBezTo>
                  <a:pt x="18015" y="84113"/>
                  <a:pt x="20017" y="76102"/>
                  <a:pt x="18015" y="76102"/>
                </a:cubicBezTo>
                <a:cubicBezTo>
                  <a:pt x="18015" y="74099"/>
                  <a:pt x="16013" y="72097"/>
                  <a:pt x="14011" y="68091"/>
                </a:cubicBezTo>
                <a:cubicBezTo>
                  <a:pt x="14011" y="66089"/>
                  <a:pt x="10008" y="60081"/>
                  <a:pt x="10008" y="58078"/>
                </a:cubicBezTo>
                <a:cubicBezTo>
                  <a:pt x="8006" y="56075"/>
                  <a:pt x="6005" y="50067"/>
                  <a:pt x="6005" y="48064"/>
                </a:cubicBezTo>
                <a:cubicBezTo>
                  <a:pt x="6005" y="46062"/>
                  <a:pt x="4003" y="36048"/>
                  <a:pt x="4003" y="36048"/>
                </a:cubicBezTo>
                <a:cubicBezTo>
                  <a:pt x="4003" y="36048"/>
                  <a:pt x="0" y="36048"/>
                  <a:pt x="0" y="32043"/>
                </a:cubicBezTo>
                <a:cubicBezTo>
                  <a:pt x="0" y="30040"/>
                  <a:pt x="2001" y="26035"/>
                  <a:pt x="4003" y="24032"/>
                </a:cubicBezTo>
                <a:cubicBezTo>
                  <a:pt x="6005" y="22029"/>
                  <a:pt x="8006" y="22029"/>
                  <a:pt x="10008" y="20027"/>
                </a:cubicBezTo>
                <a:cubicBezTo>
                  <a:pt x="12010" y="18024"/>
                  <a:pt x="14011" y="14019"/>
                  <a:pt x="14011" y="10013"/>
                </a:cubicBezTo>
                <a:cubicBezTo>
                  <a:pt x="14011" y="8011"/>
                  <a:pt x="14011" y="6008"/>
                  <a:pt x="18015" y="6008"/>
                </a:cubicBezTo>
                <a:cubicBezTo>
                  <a:pt x="22018" y="4005"/>
                  <a:pt x="30025" y="2003"/>
                  <a:pt x="34028" y="2003"/>
                </a:cubicBezTo>
                <a:cubicBezTo>
                  <a:pt x="40033" y="2003"/>
                  <a:pt x="42035" y="2003"/>
                  <a:pt x="46038" y="2003"/>
                </a:cubicBezTo>
                <a:cubicBezTo>
                  <a:pt x="50041" y="2003"/>
                  <a:pt x="54044" y="0"/>
                  <a:pt x="5604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4" name="Laos"/>
          <p:cNvSpPr>
            <a:spLocks/>
          </p:cNvSpPr>
          <p:nvPr/>
        </p:nvSpPr>
        <p:spPr bwMode="auto">
          <a:xfrm>
            <a:off x="8876252" y="3338868"/>
            <a:ext cx="220482" cy="290708"/>
          </a:xfrm>
          <a:custGeom>
            <a:avLst/>
            <a:gdLst>
              <a:gd name="T0" fmla="*/ 4 w 108"/>
              <a:gd name="T1" fmla="*/ 24 h 142"/>
              <a:gd name="T2" fmla="*/ 11 w 108"/>
              <a:gd name="T3" fmla="*/ 15 h 142"/>
              <a:gd name="T4" fmla="*/ 21 w 108"/>
              <a:gd name="T5" fmla="*/ 20 h 142"/>
              <a:gd name="T6" fmla="*/ 19 w 108"/>
              <a:gd name="T7" fmla="*/ 13 h 142"/>
              <a:gd name="T8" fmla="*/ 18 w 108"/>
              <a:gd name="T9" fmla="*/ 5 h 142"/>
              <a:gd name="T10" fmla="*/ 25 w 108"/>
              <a:gd name="T11" fmla="*/ 1 h 142"/>
              <a:gd name="T12" fmla="*/ 33 w 108"/>
              <a:gd name="T13" fmla="*/ 3 h 142"/>
              <a:gd name="T14" fmla="*/ 34 w 108"/>
              <a:gd name="T15" fmla="*/ 10 h 142"/>
              <a:gd name="T16" fmla="*/ 41 w 108"/>
              <a:gd name="T17" fmla="*/ 15 h 142"/>
              <a:gd name="T18" fmla="*/ 44 w 108"/>
              <a:gd name="T19" fmla="*/ 29 h 142"/>
              <a:gd name="T20" fmla="*/ 51 w 108"/>
              <a:gd name="T21" fmla="*/ 33 h 142"/>
              <a:gd name="T22" fmla="*/ 58 w 108"/>
              <a:gd name="T23" fmla="*/ 30 h 142"/>
              <a:gd name="T24" fmla="*/ 62 w 108"/>
              <a:gd name="T25" fmla="*/ 38 h 142"/>
              <a:gd name="T26" fmla="*/ 68 w 108"/>
              <a:gd name="T27" fmla="*/ 47 h 142"/>
              <a:gd name="T28" fmla="*/ 61 w 108"/>
              <a:gd name="T29" fmla="*/ 51 h 142"/>
              <a:gd name="T30" fmla="*/ 59 w 108"/>
              <a:gd name="T31" fmla="*/ 58 h 142"/>
              <a:gd name="T32" fmla="*/ 66 w 108"/>
              <a:gd name="T33" fmla="*/ 60 h 142"/>
              <a:gd name="T34" fmla="*/ 72 w 108"/>
              <a:gd name="T35" fmla="*/ 65 h 142"/>
              <a:gd name="T36" fmla="*/ 76 w 108"/>
              <a:gd name="T37" fmla="*/ 73 h 142"/>
              <a:gd name="T38" fmla="*/ 80 w 108"/>
              <a:gd name="T39" fmla="*/ 81 h 142"/>
              <a:gd name="T40" fmla="*/ 85 w 108"/>
              <a:gd name="T41" fmla="*/ 87 h 142"/>
              <a:gd name="T42" fmla="*/ 92 w 108"/>
              <a:gd name="T43" fmla="*/ 96 h 142"/>
              <a:gd name="T44" fmla="*/ 100 w 108"/>
              <a:gd name="T45" fmla="*/ 104 h 142"/>
              <a:gd name="T46" fmla="*/ 106 w 108"/>
              <a:gd name="T47" fmla="*/ 117 h 142"/>
              <a:gd name="T48" fmla="*/ 106 w 108"/>
              <a:gd name="T49" fmla="*/ 128 h 142"/>
              <a:gd name="T50" fmla="*/ 99 w 108"/>
              <a:gd name="T51" fmla="*/ 134 h 142"/>
              <a:gd name="T52" fmla="*/ 92 w 108"/>
              <a:gd name="T53" fmla="*/ 134 h 142"/>
              <a:gd name="T54" fmla="*/ 86 w 108"/>
              <a:gd name="T55" fmla="*/ 141 h 142"/>
              <a:gd name="T56" fmla="*/ 76 w 108"/>
              <a:gd name="T57" fmla="*/ 137 h 142"/>
              <a:gd name="T58" fmla="*/ 82 w 108"/>
              <a:gd name="T59" fmla="*/ 130 h 142"/>
              <a:gd name="T60" fmla="*/ 81 w 108"/>
              <a:gd name="T61" fmla="*/ 118 h 142"/>
              <a:gd name="T62" fmla="*/ 80 w 108"/>
              <a:gd name="T63" fmla="*/ 108 h 142"/>
              <a:gd name="T64" fmla="*/ 73 w 108"/>
              <a:gd name="T65" fmla="*/ 101 h 142"/>
              <a:gd name="T66" fmla="*/ 72 w 108"/>
              <a:gd name="T67" fmla="*/ 90 h 142"/>
              <a:gd name="T68" fmla="*/ 65 w 108"/>
              <a:gd name="T69" fmla="*/ 83 h 142"/>
              <a:gd name="T70" fmla="*/ 60 w 108"/>
              <a:gd name="T71" fmla="*/ 77 h 142"/>
              <a:gd name="T72" fmla="*/ 54 w 108"/>
              <a:gd name="T73" fmla="*/ 73 h 142"/>
              <a:gd name="T74" fmla="*/ 47 w 108"/>
              <a:gd name="T75" fmla="*/ 67 h 142"/>
              <a:gd name="T76" fmla="*/ 40 w 108"/>
              <a:gd name="T77" fmla="*/ 73 h 142"/>
              <a:gd name="T78" fmla="*/ 32 w 108"/>
              <a:gd name="T79" fmla="*/ 75 h 142"/>
              <a:gd name="T80" fmla="*/ 21 w 108"/>
              <a:gd name="T81" fmla="*/ 76 h 142"/>
              <a:gd name="T82" fmla="*/ 12 w 108"/>
              <a:gd name="T83" fmla="*/ 82 h 142"/>
              <a:gd name="T84" fmla="*/ 15 w 108"/>
              <a:gd name="T85" fmla="*/ 70 h 142"/>
              <a:gd name="T86" fmla="*/ 16 w 108"/>
              <a:gd name="T87" fmla="*/ 58 h 142"/>
              <a:gd name="T88" fmla="*/ 18 w 108"/>
              <a:gd name="T89" fmla="*/ 48 h 142"/>
              <a:gd name="T90" fmla="*/ 10 w 108"/>
              <a:gd name="T91" fmla="*/ 47 h 142"/>
              <a:gd name="T92" fmla="*/ 6 w 108"/>
              <a:gd name="T93" fmla="*/ 42 h 142"/>
              <a:gd name="T94" fmla="*/ 1 w 108"/>
              <a:gd name="T95"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42">
                <a:moveTo>
                  <a:pt x="0" y="36"/>
                </a:moveTo>
                <a:cubicBezTo>
                  <a:pt x="1" y="35"/>
                  <a:pt x="1" y="34"/>
                  <a:pt x="2" y="32"/>
                </a:cubicBezTo>
                <a:cubicBezTo>
                  <a:pt x="3" y="32"/>
                  <a:pt x="4" y="29"/>
                  <a:pt x="4" y="29"/>
                </a:cubicBezTo>
                <a:cubicBezTo>
                  <a:pt x="4" y="29"/>
                  <a:pt x="4" y="26"/>
                  <a:pt x="4" y="24"/>
                </a:cubicBezTo>
                <a:cubicBezTo>
                  <a:pt x="5" y="22"/>
                  <a:pt x="6" y="21"/>
                  <a:pt x="6" y="20"/>
                </a:cubicBezTo>
                <a:cubicBezTo>
                  <a:pt x="6" y="19"/>
                  <a:pt x="6" y="18"/>
                  <a:pt x="7" y="18"/>
                </a:cubicBezTo>
                <a:cubicBezTo>
                  <a:pt x="8" y="18"/>
                  <a:pt x="11" y="17"/>
                  <a:pt x="11" y="17"/>
                </a:cubicBezTo>
                <a:cubicBezTo>
                  <a:pt x="11" y="17"/>
                  <a:pt x="11" y="16"/>
                  <a:pt x="11" y="15"/>
                </a:cubicBezTo>
                <a:cubicBezTo>
                  <a:pt x="11" y="16"/>
                  <a:pt x="12" y="18"/>
                  <a:pt x="13" y="19"/>
                </a:cubicBezTo>
                <a:cubicBezTo>
                  <a:pt x="13" y="20"/>
                  <a:pt x="14" y="21"/>
                  <a:pt x="15" y="21"/>
                </a:cubicBezTo>
                <a:cubicBezTo>
                  <a:pt x="15" y="20"/>
                  <a:pt x="16" y="20"/>
                  <a:pt x="17" y="20"/>
                </a:cubicBezTo>
                <a:cubicBezTo>
                  <a:pt x="18" y="20"/>
                  <a:pt x="21" y="20"/>
                  <a:pt x="21" y="20"/>
                </a:cubicBezTo>
                <a:cubicBezTo>
                  <a:pt x="21" y="19"/>
                  <a:pt x="21" y="18"/>
                  <a:pt x="20" y="18"/>
                </a:cubicBezTo>
                <a:cubicBezTo>
                  <a:pt x="20" y="18"/>
                  <a:pt x="19" y="17"/>
                  <a:pt x="19" y="16"/>
                </a:cubicBezTo>
                <a:cubicBezTo>
                  <a:pt x="20" y="16"/>
                  <a:pt x="20" y="15"/>
                  <a:pt x="20" y="15"/>
                </a:cubicBezTo>
                <a:cubicBezTo>
                  <a:pt x="19" y="14"/>
                  <a:pt x="19" y="14"/>
                  <a:pt x="19" y="13"/>
                </a:cubicBezTo>
                <a:cubicBezTo>
                  <a:pt x="19" y="13"/>
                  <a:pt x="19" y="12"/>
                  <a:pt x="19" y="12"/>
                </a:cubicBezTo>
                <a:cubicBezTo>
                  <a:pt x="19" y="11"/>
                  <a:pt x="19" y="11"/>
                  <a:pt x="18" y="10"/>
                </a:cubicBezTo>
                <a:cubicBezTo>
                  <a:pt x="18" y="10"/>
                  <a:pt x="18" y="8"/>
                  <a:pt x="18" y="7"/>
                </a:cubicBezTo>
                <a:cubicBezTo>
                  <a:pt x="18" y="6"/>
                  <a:pt x="18" y="5"/>
                  <a:pt x="18" y="5"/>
                </a:cubicBezTo>
                <a:cubicBezTo>
                  <a:pt x="19" y="4"/>
                  <a:pt x="19" y="4"/>
                  <a:pt x="20" y="4"/>
                </a:cubicBezTo>
                <a:cubicBezTo>
                  <a:pt x="21" y="4"/>
                  <a:pt x="22" y="4"/>
                  <a:pt x="22" y="4"/>
                </a:cubicBezTo>
                <a:cubicBezTo>
                  <a:pt x="22" y="4"/>
                  <a:pt x="24" y="4"/>
                  <a:pt x="24" y="3"/>
                </a:cubicBezTo>
                <a:cubicBezTo>
                  <a:pt x="25" y="3"/>
                  <a:pt x="25" y="2"/>
                  <a:pt x="25" y="1"/>
                </a:cubicBezTo>
                <a:cubicBezTo>
                  <a:pt x="26" y="1"/>
                  <a:pt x="26" y="0"/>
                  <a:pt x="27" y="0"/>
                </a:cubicBezTo>
                <a:cubicBezTo>
                  <a:pt x="28" y="0"/>
                  <a:pt x="28" y="0"/>
                  <a:pt x="29" y="1"/>
                </a:cubicBezTo>
                <a:cubicBezTo>
                  <a:pt x="30" y="1"/>
                  <a:pt x="30" y="1"/>
                  <a:pt x="31" y="2"/>
                </a:cubicBezTo>
                <a:cubicBezTo>
                  <a:pt x="32" y="2"/>
                  <a:pt x="33" y="3"/>
                  <a:pt x="33" y="3"/>
                </a:cubicBezTo>
                <a:cubicBezTo>
                  <a:pt x="33" y="3"/>
                  <a:pt x="31" y="4"/>
                  <a:pt x="31" y="5"/>
                </a:cubicBezTo>
                <a:cubicBezTo>
                  <a:pt x="30" y="6"/>
                  <a:pt x="30" y="7"/>
                  <a:pt x="31" y="8"/>
                </a:cubicBezTo>
                <a:cubicBezTo>
                  <a:pt x="31" y="8"/>
                  <a:pt x="32" y="8"/>
                  <a:pt x="32" y="9"/>
                </a:cubicBezTo>
                <a:cubicBezTo>
                  <a:pt x="33" y="9"/>
                  <a:pt x="34" y="10"/>
                  <a:pt x="34" y="10"/>
                </a:cubicBezTo>
                <a:cubicBezTo>
                  <a:pt x="34" y="11"/>
                  <a:pt x="34" y="11"/>
                  <a:pt x="34" y="12"/>
                </a:cubicBezTo>
                <a:cubicBezTo>
                  <a:pt x="34" y="13"/>
                  <a:pt x="34" y="14"/>
                  <a:pt x="36" y="14"/>
                </a:cubicBezTo>
                <a:cubicBezTo>
                  <a:pt x="36" y="15"/>
                  <a:pt x="38" y="14"/>
                  <a:pt x="39" y="14"/>
                </a:cubicBezTo>
                <a:cubicBezTo>
                  <a:pt x="40" y="14"/>
                  <a:pt x="41" y="15"/>
                  <a:pt x="41" y="15"/>
                </a:cubicBezTo>
                <a:cubicBezTo>
                  <a:pt x="41" y="16"/>
                  <a:pt x="40" y="18"/>
                  <a:pt x="40" y="19"/>
                </a:cubicBezTo>
                <a:cubicBezTo>
                  <a:pt x="40" y="20"/>
                  <a:pt x="40" y="24"/>
                  <a:pt x="40" y="24"/>
                </a:cubicBezTo>
                <a:cubicBezTo>
                  <a:pt x="40" y="25"/>
                  <a:pt x="41" y="26"/>
                  <a:pt x="41" y="27"/>
                </a:cubicBezTo>
                <a:cubicBezTo>
                  <a:pt x="42" y="28"/>
                  <a:pt x="43" y="29"/>
                  <a:pt x="44" y="29"/>
                </a:cubicBezTo>
                <a:cubicBezTo>
                  <a:pt x="44" y="30"/>
                  <a:pt x="45" y="31"/>
                  <a:pt x="45" y="31"/>
                </a:cubicBezTo>
                <a:cubicBezTo>
                  <a:pt x="46" y="32"/>
                  <a:pt x="48" y="33"/>
                  <a:pt x="48" y="34"/>
                </a:cubicBezTo>
                <a:cubicBezTo>
                  <a:pt x="49" y="34"/>
                  <a:pt x="49" y="34"/>
                  <a:pt x="50" y="34"/>
                </a:cubicBezTo>
                <a:cubicBezTo>
                  <a:pt x="51" y="34"/>
                  <a:pt x="51" y="33"/>
                  <a:pt x="51" y="33"/>
                </a:cubicBezTo>
                <a:cubicBezTo>
                  <a:pt x="52" y="32"/>
                  <a:pt x="53" y="32"/>
                  <a:pt x="53" y="31"/>
                </a:cubicBezTo>
                <a:cubicBezTo>
                  <a:pt x="53" y="31"/>
                  <a:pt x="54" y="30"/>
                  <a:pt x="54" y="30"/>
                </a:cubicBezTo>
                <a:cubicBezTo>
                  <a:pt x="55" y="30"/>
                  <a:pt x="56" y="30"/>
                  <a:pt x="57" y="30"/>
                </a:cubicBezTo>
                <a:cubicBezTo>
                  <a:pt x="57" y="30"/>
                  <a:pt x="57" y="30"/>
                  <a:pt x="58" y="30"/>
                </a:cubicBezTo>
                <a:cubicBezTo>
                  <a:pt x="59" y="30"/>
                  <a:pt x="59" y="30"/>
                  <a:pt x="60" y="30"/>
                </a:cubicBezTo>
                <a:cubicBezTo>
                  <a:pt x="60" y="30"/>
                  <a:pt x="59" y="32"/>
                  <a:pt x="59" y="32"/>
                </a:cubicBezTo>
                <a:cubicBezTo>
                  <a:pt x="60" y="33"/>
                  <a:pt x="61" y="35"/>
                  <a:pt x="62" y="36"/>
                </a:cubicBezTo>
                <a:cubicBezTo>
                  <a:pt x="62" y="37"/>
                  <a:pt x="62" y="37"/>
                  <a:pt x="62" y="38"/>
                </a:cubicBezTo>
                <a:cubicBezTo>
                  <a:pt x="62" y="39"/>
                  <a:pt x="63" y="41"/>
                  <a:pt x="63" y="41"/>
                </a:cubicBezTo>
                <a:cubicBezTo>
                  <a:pt x="64" y="42"/>
                  <a:pt x="65" y="42"/>
                  <a:pt x="66" y="42"/>
                </a:cubicBezTo>
                <a:cubicBezTo>
                  <a:pt x="66" y="43"/>
                  <a:pt x="67" y="43"/>
                  <a:pt x="68" y="44"/>
                </a:cubicBezTo>
                <a:cubicBezTo>
                  <a:pt x="68" y="45"/>
                  <a:pt x="68" y="46"/>
                  <a:pt x="68" y="47"/>
                </a:cubicBezTo>
                <a:cubicBezTo>
                  <a:pt x="68" y="47"/>
                  <a:pt x="68" y="48"/>
                  <a:pt x="67" y="48"/>
                </a:cubicBezTo>
                <a:cubicBezTo>
                  <a:pt x="67" y="49"/>
                  <a:pt x="66" y="48"/>
                  <a:pt x="65" y="48"/>
                </a:cubicBezTo>
                <a:cubicBezTo>
                  <a:pt x="64" y="49"/>
                  <a:pt x="64" y="49"/>
                  <a:pt x="64" y="50"/>
                </a:cubicBezTo>
                <a:cubicBezTo>
                  <a:pt x="64" y="50"/>
                  <a:pt x="62" y="51"/>
                  <a:pt x="61" y="51"/>
                </a:cubicBezTo>
                <a:cubicBezTo>
                  <a:pt x="61" y="51"/>
                  <a:pt x="60" y="51"/>
                  <a:pt x="59" y="52"/>
                </a:cubicBezTo>
                <a:cubicBezTo>
                  <a:pt x="59" y="52"/>
                  <a:pt x="58" y="52"/>
                  <a:pt x="57" y="53"/>
                </a:cubicBezTo>
                <a:cubicBezTo>
                  <a:pt x="57" y="54"/>
                  <a:pt x="57" y="55"/>
                  <a:pt x="57" y="56"/>
                </a:cubicBezTo>
                <a:cubicBezTo>
                  <a:pt x="57" y="56"/>
                  <a:pt x="58" y="57"/>
                  <a:pt x="59" y="58"/>
                </a:cubicBezTo>
                <a:cubicBezTo>
                  <a:pt x="60" y="58"/>
                  <a:pt x="60" y="57"/>
                  <a:pt x="61" y="58"/>
                </a:cubicBezTo>
                <a:cubicBezTo>
                  <a:pt x="62" y="59"/>
                  <a:pt x="62" y="58"/>
                  <a:pt x="63" y="59"/>
                </a:cubicBezTo>
                <a:cubicBezTo>
                  <a:pt x="64" y="60"/>
                  <a:pt x="64" y="61"/>
                  <a:pt x="65" y="61"/>
                </a:cubicBezTo>
                <a:cubicBezTo>
                  <a:pt x="65" y="60"/>
                  <a:pt x="66" y="60"/>
                  <a:pt x="66" y="60"/>
                </a:cubicBezTo>
                <a:cubicBezTo>
                  <a:pt x="67" y="60"/>
                  <a:pt x="68" y="60"/>
                  <a:pt x="69" y="60"/>
                </a:cubicBezTo>
                <a:cubicBezTo>
                  <a:pt x="69" y="61"/>
                  <a:pt x="69" y="62"/>
                  <a:pt x="70" y="62"/>
                </a:cubicBezTo>
                <a:cubicBezTo>
                  <a:pt x="70" y="63"/>
                  <a:pt x="70" y="63"/>
                  <a:pt x="71" y="64"/>
                </a:cubicBezTo>
                <a:cubicBezTo>
                  <a:pt x="71" y="64"/>
                  <a:pt x="72" y="64"/>
                  <a:pt x="72" y="65"/>
                </a:cubicBezTo>
                <a:cubicBezTo>
                  <a:pt x="72" y="66"/>
                  <a:pt x="73" y="67"/>
                  <a:pt x="73" y="68"/>
                </a:cubicBezTo>
                <a:cubicBezTo>
                  <a:pt x="73" y="69"/>
                  <a:pt x="73" y="70"/>
                  <a:pt x="73" y="71"/>
                </a:cubicBezTo>
                <a:cubicBezTo>
                  <a:pt x="74" y="72"/>
                  <a:pt x="74" y="73"/>
                  <a:pt x="74" y="73"/>
                </a:cubicBezTo>
                <a:cubicBezTo>
                  <a:pt x="74" y="73"/>
                  <a:pt x="76" y="73"/>
                  <a:pt x="76" y="73"/>
                </a:cubicBezTo>
                <a:cubicBezTo>
                  <a:pt x="76" y="74"/>
                  <a:pt x="77" y="75"/>
                  <a:pt x="77" y="76"/>
                </a:cubicBezTo>
                <a:cubicBezTo>
                  <a:pt x="77" y="77"/>
                  <a:pt x="78" y="78"/>
                  <a:pt x="78" y="78"/>
                </a:cubicBezTo>
                <a:cubicBezTo>
                  <a:pt x="79" y="79"/>
                  <a:pt x="79" y="79"/>
                  <a:pt x="80" y="80"/>
                </a:cubicBezTo>
                <a:cubicBezTo>
                  <a:pt x="80" y="81"/>
                  <a:pt x="81" y="80"/>
                  <a:pt x="80" y="81"/>
                </a:cubicBezTo>
                <a:cubicBezTo>
                  <a:pt x="80" y="82"/>
                  <a:pt x="80" y="82"/>
                  <a:pt x="80" y="83"/>
                </a:cubicBezTo>
                <a:cubicBezTo>
                  <a:pt x="81" y="83"/>
                  <a:pt x="81" y="84"/>
                  <a:pt x="81" y="84"/>
                </a:cubicBezTo>
                <a:cubicBezTo>
                  <a:pt x="82" y="85"/>
                  <a:pt x="83" y="86"/>
                  <a:pt x="83" y="86"/>
                </a:cubicBezTo>
                <a:cubicBezTo>
                  <a:pt x="84" y="86"/>
                  <a:pt x="84" y="86"/>
                  <a:pt x="85" y="87"/>
                </a:cubicBezTo>
                <a:cubicBezTo>
                  <a:pt x="85" y="87"/>
                  <a:pt x="88" y="88"/>
                  <a:pt x="88" y="88"/>
                </a:cubicBezTo>
                <a:cubicBezTo>
                  <a:pt x="89" y="88"/>
                  <a:pt x="90" y="89"/>
                  <a:pt x="90" y="89"/>
                </a:cubicBezTo>
                <a:cubicBezTo>
                  <a:pt x="90" y="89"/>
                  <a:pt x="89" y="91"/>
                  <a:pt x="89" y="92"/>
                </a:cubicBezTo>
                <a:cubicBezTo>
                  <a:pt x="89" y="93"/>
                  <a:pt x="92" y="96"/>
                  <a:pt x="92" y="96"/>
                </a:cubicBezTo>
                <a:cubicBezTo>
                  <a:pt x="92" y="97"/>
                  <a:pt x="92" y="98"/>
                  <a:pt x="93" y="99"/>
                </a:cubicBezTo>
                <a:cubicBezTo>
                  <a:pt x="93" y="100"/>
                  <a:pt x="93" y="101"/>
                  <a:pt x="95" y="101"/>
                </a:cubicBezTo>
                <a:cubicBezTo>
                  <a:pt x="96" y="102"/>
                  <a:pt x="97" y="102"/>
                  <a:pt x="98" y="102"/>
                </a:cubicBezTo>
                <a:cubicBezTo>
                  <a:pt x="98" y="103"/>
                  <a:pt x="100" y="104"/>
                  <a:pt x="100" y="104"/>
                </a:cubicBezTo>
                <a:cubicBezTo>
                  <a:pt x="100" y="105"/>
                  <a:pt x="100" y="108"/>
                  <a:pt x="100" y="109"/>
                </a:cubicBezTo>
                <a:cubicBezTo>
                  <a:pt x="100" y="109"/>
                  <a:pt x="104" y="112"/>
                  <a:pt x="104" y="112"/>
                </a:cubicBezTo>
                <a:cubicBezTo>
                  <a:pt x="104" y="113"/>
                  <a:pt x="104" y="114"/>
                  <a:pt x="104" y="115"/>
                </a:cubicBezTo>
                <a:cubicBezTo>
                  <a:pt x="104" y="115"/>
                  <a:pt x="105" y="116"/>
                  <a:pt x="106" y="117"/>
                </a:cubicBezTo>
                <a:cubicBezTo>
                  <a:pt x="106" y="117"/>
                  <a:pt x="108" y="118"/>
                  <a:pt x="108" y="119"/>
                </a:cubicBezTo>
                <a:cubicBezTo>
                  <a:pt x="108" y="119"/>
                  <a:pt x="108" y="122"/>
                  <a:pt x="108" y="123"/>
                </a:cubicBezTo>
                <a:cubicBezTo>
                  <a:pt x="107" y="123"/>
                  <a:pt x="107" y="124"/>
                  <a:pt x="106" y="125"/>
                </a:cubicBezTo>
                <a:cubicBezTo>
                  <a:pt x="106" y="126"/>
                  <a:pt x="106" y="128"/>
                  <a:pt x="106" y="128"/>
                </a:cubicBezTo>
                <a:cubicBezTo>
                  <a:pt x="106" y="129"/>
                  <a:pt x="107" y="130"/>
                  <a:pt x="107" y="130"/>
                </a:cubicBezTo>
                <a:cubicBezTo>
                  <a:pt x="107" y="131"/>
                  <a:pt x="105" y="133"/>
                  <a:pt x="105" y="133"/>
                </a:cubicBezTo>
                <a:cubicBezTo>
                  <a:pt x="104" y="134"/>
                  <a:pt x="101" y="135"/>
                  <a:pt x="101" y="135"/>
                </a:cubicBezTo>
                <a:cubicBezTo>
                  <a:pt x="100" y="135"/>
                  <a:pt x="99" y="134"/>
                  <a:pt x="99" y="134"/>
                </a:cubicBezTo>
                <a:cubicBezTo>
                  <a:pt x="99" y="134"/>
                  <a:pt x="98" y="133"/>
                  <a:pt x="98" y="133"/>
                </a:cubicBezTo>
                <a:cubicBezTo>
                  <a:pt x="97" y="133"/>
                  <a:pt x="96" y="133"/>
                  <a:pt x="95" y="133"/>
                </a:cubicBezTo>
                <a:cubicBezTo>
                  <a:pt x="95" y="134"/>
                  <a:pt x="95" y="134"/>
                  <a:pt x="94" y="134"/>
                </a:cubicBezTo>
                <a:cubicBezTo>
                  <a:pt x="93" y="134"/>
                  <a:pt x="93" y="134"/>
                  <a:pt x="92" y="134"/>
                </a:cubicBezTo>
                <a:cubicBezTo>
                  <a:pt x="92" y="133"/>
                  <a:pt x="91" y="134"/>
                  <a:pt x="91" y="134"/>
                </a:cubicBezTo>
                <a:cubicBezTo>
                  <a:pt x="90" y="134"/>
                  <a:pt x="90" y="136"/>
                  <a:pt x="90" y="136"/>
                </a:cubicBezTo>
                <a:cubicBezTo>
                  <a:pt x="90" y="138"/>
                  <a:pt x="90" y="140"/>
                  <a:pt x="89" y="140"/>
                </a:cubicBezTo>
                <a:cubicBezTo>
                  <a:pt x="89" y="140"/>
                  <a:pt x="86" y="141"/>
                  <a:pt x="86" y="141"/>
                </a:cubicBezTo>
                <a:cubicBezTo>
                  <a:pt x="85" y="141"/>
                  <a:pt x="84" y="142"/>
                  <a:pt x="83" y="141"/>
                </a:cubicBezTo>
                <a:cubicBezTo>
                  <a:pt x="83" y="140"/>
                  <a:pt x="82" y="139"/>
                  <a:pt x="81" y="138"/>
                </a:cubicBezTo>
                <a:cubicBezTo>
                  <a:pt x="81" y="138"/>
                  <a:pt x="80" y="138"/>
                  <a:pt x="79" y="138"/>
                </a:cubicBezTo>
                <a:cubicBezTo>
                  <a:pt x="79" y="138"/>
                  <a:pt x="76" y="138"/>
                  <a:pt x="76" y="137"/>
                </a:cubicBezTo>
                <a:cubicBezTo>
                  <a:pt x="76" y="137"/>
                  <a:pt x="76" y="136"/>
                  <a:pt x="77" y="136"/>
                </a:cubicBezTo>
                <a:cubicBezTo>
                  <a:pt x="77" y="136"/>
                  <a:pt x="78" y="135"/>
                  <a:pt x="78" y="134"/>
                </a:cubicBezTo>
                <a:cubicBezTo>
                  <a:pt x="78" y="134"/>
                  <a:pt x="78" y="133"/>
                  <a:pt x="78" y="133"/>
                </a:cubicBezTo>
                <a:cubicBezTo>
                  <a:pt x="79" y="132"/>
                  <a:pt x="82" y="130"/>
                  <a:pt x="82" y="130"/>
                </a:cubicBezTo>
                <a:cubicBezTo>
                  <a:pt x="82" y="130"/>
                  <a:pt x="82" y="126"/>
                  <a:pt x="82" y="125"/>
                </a:cubicBezTo>
                <a:cubicBezTo>
                  <a:pt x="82" y="124"/>
                  <a:pt x="82" y="123"/>
                  <a:pt x="82" y="122"/>
                </a:cubicBezTo>
                <a:cubicBezTo>
                  <a:pt x="83" y="122"/>
                  <a:pt x="83" y="121"/>
                  <a:pt x="83" y="120"/>
                </a:cubicBezTo>
                <a:cubicBezTo>
                  <a:pt x="83" y="120"/>
                  <a:pt x="81" y="119"/>
                  <a:pt x="81" y="118"/>
                </a:cubicBezTo>
                <a:cubicBezTo>
                  <a:pt x="80" y="117"/>
                  <a:pt x="80" y="116"/>
                  <a:pt x="81" y="115"/>
                </a:cubicBezTo>
                <a:cubicBezTo>
                  <a:pt x="81" y="114"/>
                  <a:pt x="83" y="112"/>
                  <a:pt x="82" y="112"/>
                </a:cubicBezTo>
                <a:cubicBezTo>
                  <a:pt x="82" y="111"/>
                  <a:pt x="81" y="110"/>
                  <a:pt x="81" y="110"/>
                </a:cubicBezTo>
                <a:cubicBezTo>
                  <a:pt x="80" y="109"/>
                  <a:pt x="80" y="109"/>
                  <a:pt x="80" y="108"/>
                </a:cubicBezTo>
                <a:cubicBezTo>
                  <a:pt x="80" y="107"/>
                  <a:pt x="80" y="106"/>
                  <a:pt x="79" y="106"/>
                </a:cubicBezTo>
                <a:cubicBezTo>
                  <a:pt x="79" y="106"/>
                  <a:pt x="79" y="105"/>
                  <a:pt x="78" y="104"/>
                </a:cubicBezTo>
                <a:cubicBezTo>
                  <a:pt x="78" y="104"/>
                  <a:pt x="76" y="103"/>
                  <a:pt x="76" y="103"/>
                </a:cubicBezTo>
                <a:cubicBezTo>
                  <a:pt x="75" y="102"/>
                  <a:pt x="73" y="102"/>
                  <a:pt x="73" y="101"/>
                </a:cubicBezTo>
                <a:cubicBezTo>
                  <a:pt x="72" y="100"/>
                  <a:pt x="72" y="97"/>
                  <a:pt x="72" y="96"/>
                </a:cubicBezTo>
                <a:cubicBezTo>
                  <a:pt x="71" y="96"/>
                  <a:pt x="71" y="95"/>
                  <a:pt x="70" y="94"/>
                </a:cubicBezTo>
                <a:cubicBezTo>
                  <a:pt x="70" y="93"/>
                  <a:pt x="70" y="92"/>
                  <a:pt x="71" y="92"/>
                </a:cubicBezTo>
                <a:cubicBezTo>
                  <a:pt x="72" y="91"/>
                  <a:pt x="72" y="90"/>
                  <a:pt x="72" y="90"/>
                </a:cubicBezTo>
                <a:cubicBezTo>
                  <a:pt x="72" y="89"/>
                  <a:pt x="72" y="88"/>
                  <a:pt x="72" y="87"/>
                </a:cubicBezTo>
                <a:cubicBezTo>
                  <a:pt x="72" y="87"/>
                  <a:pt x="71" y="86"/>
                  <a:pt x="70" y="86"/>
                </a:cubicBezTo>
                <a:cubicBezTo>
                  <a:pt x="70" y="86"/>
                  <a:pt x="70" y="85"/>
                  <a:pt x="69" y="85"/>
                </a:cubicBezTo>
                <a:cubicBezTo>
                  <a:pt x="68" y="84"/>
                  <a:pt x="66" y="83"/>
                  <a:pt x="65" y="83"/>
                </a:cubicBezTo>
                <a:cubicBezTo>
                  <a:pt x="65" y="83"/>
                  <a:pt x="64" y="83"/>
                  <a:pt x="63" y="82"/>
                </a:cubicBezTo>
                <a:cubicBezTo>
                  <a:pt x="62" y="82"/>
                  <a:pt x="61" y="81"/>
                  <a:pt x="61" y="81"/>
                </a:cubicBezTo>
                <a:cubicBezTo>
                  <a:pt x="61" y="81"/>
                  <a:pt x="61" y="80"/>
                  <a:pt x="61" y="80"/>
                </a:cubicBezTo>
                <a:cubicBezTo>
                  <a:pt x="60" y="79"/>
                  <a:pt x="60" y="78"/>
                  <a:pt x="60" y="77"/>
                </a:cubicBezTo>
                <a:cubicBezTo>
                  <a:pt x="60" y="77"/>
                  <a:pt x="60" y="76"/>
                  <a:pt x="59" y="76"/>
                </a:cubicBezTo>
                <a:cubicBezTo>
                  <a:pt x="58" y="76"/>
                  <a:pt x="58" y="76"/>
                  <a:pt x="57" y="76"/>
                </a:cubicBezTo>
                <a:cubicBezTo>
                  <a:pt x="56" y="75"/>
                  <a:pt x="55" y="75"/>
                  <a:pt x="55" y="74"/>
                </a:cubicBezTo>
                <a:cubicBezTo>
                  <a:pt x="54" y="74"/>
                  <a:pt x="54" y="73"/>
                  <a:pt x="54" y="73"/>
                </a:cubicBezTo>
                <a:cubicBezTo>
                  <a:pt x="54" y="72"/>
                  <a:pt x="54" y="70"/>
                  <a:pt x="54" y="69"/>
                </a:cubicBezTo>
                <a:cubicBezTo>
                  <a:pt x="53" y="69"/>
                  <a:pt x="52" y="67"/>
                  <a:pt x="51" y="67"/>
                </a:cubicBezTo>
                <a:cubicBezTo>
                  <a:pt x="51" y="67"/>
                  <a:pt x="49" y="67"/>
                  <a:pt x="49" y="67"/>
                </a:cubicBezTo>
                <a:cubicBezTo>
                  <a:pt x="49" y="67"/>
                  <a:pt x="48" y="67"/>
                  <a:pt x="47" y="67"/>
                </a:cubicBezTo>
                <a:cubicBezTo>
                  <a:pt x="46" y="67"/>
                  <a:pt x="45" y="67"/>
                  <a:pt x="45" y="67"/>
                </a:cubicBezTo>
                <a:cubicBezTo>
                  <a:pt x="45" y="68"/>
                  <a:pt x="44" y="68"/>
                  <a:pt x="43" y="69"/>
                </a:cubicBezTo>
                <a:cubicBezTo>
                  <a:pt x="43" y="70"/>
                  <a:pt x="42" y="71"/>
                  <a:pt x="42" y="72"/>
                </a:cubicBezTo>
                <a:cubicBezTo>
                  <a:pt x="42" y="73"/>
                  <a:pt x="41" y="73"/>
                  <a:pt x="40" y="73"/>
                </a:cubicBezTo>
                <a:cubicBezTo>
                  <a:pt x="39" y="73"/>
                  <a:pt x="39" y="73"/>
                  <a:pt x="38" y="74"/>
                </a:cubicBezTo>
                <a:cubicBezTo>
                  <a:pt x="38" y="74"/>
                  <a:pt x="37" y="75"/>
                  <a:pt x="36" y="75"/>
                </a:cubicBezTo>
                <a:cubicBezTo>
                  <a:pt x="36" y="75"/>
                  <a:pt x="35" y="75"/>
                  <a:pt x="34" y="75"/>
                </a:cubicBezTo>
                <a:cubicBezTo>
                  <a:pt x="34" y="75"/>
                  <a:pt x="33" y="75"/>
                  <a:pt x="32" y="75"/>
                </a:cubicBezTo>
                <a:cubicBezTo>
                  <a:pt x="31" y="75"/>
                  <a:pt x="30" y="75"/>
                  <a:pt x="29" y="75"/>
                </a:cubicBezTo>
                <a:cubicBezTo>
                  <a:pt x="29" y="75"/>
                  <a:pt x="29" y="75"/>
                  <a:pt x="28" y="75"/>
                </a:cubicBezTo>
                <a:cubicBezTo>
                  <a:pt x="27" y="75"/>
                  <a:pt x="25" y="76"/>
                  <a:pt x="25" y="75"/>
                </a:cubicBezTo>
                <a:cubicBezTo>
                  <a:pt x="24" y="75"/>
                  <a:pt x="21" y="76"/>
                  <a:pt x="21" y="76"/>
                </a:cubicBezTo>
                <a:cubicBezTo>
                  <a:pt x="21" y="76"/>
                  <a:pt x="19" y="76"/>
                  <a:pt x="19" y="77"/>
                </a:cubicBezTo>
                <a:cubicBezTo>
                  <a:pt x="18" y="78"/>
                  <a:pt x="17" y="80"/>
                  <a:pt x="17" y="81"/>
                </a:cubicBezTo>
                <a:cubicBezTo>
                  <a:pt x="17" y="81"/>
                  <a:pt x="14" y="83"/>
                  <a:pt x="14" y="83"/>
                </a:cubicBezTo>
                <a:cubicBezTo>
                  <a:pt x="13" y="83"/>
                  <a:pt x="12" y="82"/>
                  <a:pt x="12" y="82"/>
                </a:cubicBezTo>
                <a:cubicBezTo>
                  <a:pt x="11" y="81"/>
                  <a:pt x="11" y="80"/>
                  <a:pt x="12" y="80"/>
                </a:cubicBezTo>
                <a:cubicBezTo>
                  <a:pt x="13" y="80"/>
                  <a:pt x="14" y="78"/>
                  <a:pt x="14" y="77"/>
                </a:cubicBezTo>
                <a:cubicBezTo>
                  <a:pt x="13" y="76"/>
                  <a:pt x="13" y="73"/>
                  <a:pt x="13" y="72"/>
                </a:cubicBezTo>
                <a:cubicBezTo>
                  <a:pt x="14" y="71"/>
                  <a:pt x="14" y="70"/>
                  <a:pt x="15" y="70"/>
                </a:cubicBezTo>
                <a:cubicBezTo>
                  <a:pt x="15" y="70"/>
                  <a:pt x="15" y="68"/>
                  <a:pt x="15" y="68"/>
                </a:cubicBezTo>
                <a:cubicBezTo>
                  <a:pt x="16" y="67"/>
                  <a:pt x="16" y="66"/>
                  <a:pt x="16" y="66"/>
                </a:cubicBezTo>
                <a:cubicBezTo>
                  <a:pt x="16" y="65"/>
                  <a:pt x="16" y="63"/>
                  <a:pt x="16" y="62"/>
                </a:cubicBezTo>
                <a:cubicBezTo>
                  <a:pt x="16" y="60"/>
                  <a:pt x="15" y="59"/>
                  <a:pt x="16" y="58"/>
                </a:cubicBezTo>
                <a:cubicBezTo>
                  <a:pt x="16" y="58"/>
                  <a:pt x="16" y="55"/>
                  <a:pt x="16" y="54"/>
                </a:cubicBezTo>
                <a:cubicBezTo>
                  <a:pt x="16" y="54"/>
                  <a:pt x="15" y="53"/>
                  <a:pt x="16" y="52"/>
                </a:cubicBezTo>
                <a:cubicBezTo>
                  <a:pt x="17" y="52"/>
                  <a:pt x="18" y="50"/>
                  <a:pt x="18" y="50"/>
                </a:cubicBezTo>
                <a:cubicBezTo>
                  <a:pt x="19" y="50"/>
                  <a:pt x="18" y="49"/>
                  <a:pt x="18" y="48"/>
                </a:cubicBezTo>
                <a:cubicBezTo>
                  <a:pt x="17" y="47"/>
                  <a:pt x="17" y="47"/>
                  <a:pt x="16" y="47"/>
                </a:cubicBezTo>
                <a:cubicBezTo>
                  <a:pt x="16" y="47"/>
                  <a:pt x="15" y="47"/>
                  <a:pt x="14" y="47"/>
                </a:cubicBezTo>
                <a:cubicBezTo>
                  <a:pt x="13" y="47"/>
                  <a:pt x="12" y="47"/>
                  <a:pt x="12" y="47"/>
                </a:cubicBezTo>
                <a:cubicBezTo>
                  <a:pt x="11" y="47"/>
                  <a:pt x="11" y="47"/>
                  <a:pt x="10" y="47"/>
                </a:cubicBezTo>
                <a:cubicBezTo>
                  <a:pt x="9" y="47"/>
                  <a:pt x="9" y="46"/>
                  <a:pt x="8" y="47"/>
                </a:cubicBezTo>
                <a:cubicBezTo>
                  <a:pt x="8" y="47"/>
                  <a:pt x="7" y="47"/>
                  <a:pt x="6" y="47"/>
                </a:cubicBezTo>
                <a:cubicBezTo>
                  <a:pt x="5" y="47"/>
                  <a:pt x="6" y="46"/>
                  <a:pt x="6" y="45"/>
                </a:cubicBezTo>
                <a:cubicBezTo>
                  <a:pt x="6" y="44"/>
                  <a:pt x="6" y="43"/>
                  <a:pt x="6" y="42"/>
                </a:cubicBezTo>
                <a:cubicBezTo>
                  <a:pt x="6" y="42"/>
                  <a:pt x="7" y="41"/>
                  <a:pt x="6" y="41"/>
                </a:cubicBezTo>
                <a:cubicBezTo>
                  <a:pt x="6" y="41"/>
                  <a:pt x="4" y="40"/>
                  <a:pt x="4" y="39"/>
                </a:cubicBezTo>
                <a:cubicBezTo>
                  <a:pt x="4" y="39"/>
                  <a:pt x="4" y="37"/>
                  <a:pt x="4" y="37"/>
                </a:cubicBezTo>
                <a:cubicBezTo>
                  <a:pt x="1" y="37"/>
                  <a:pt x="1" y="37"/>
                  <a:pt x="1" y="37"/>
                </a:cubicBezTo>
                <a:lnTo>
                  <a:pt x="0" y="36"/>
                </a:ln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5" name="Maldives"/>
          <p:cNvSpPr>
            <a:spLocks/>
          </p:cNvSpPr>
          <p:nvPr/>
        </p:nvSpPr>
        <p:spPr bwMode="auto">
          <a:xfrm>
            <a:off x="8152747" y="3853324"/>
            <a:ext cx="36415" cy="234566"/>
          </a:xfrm>
          <a:custGeom>
            <a:avLst/>
            <a:gdLst>
              <a:gd name="connsiteX0" fmla="*/ 26459 w 35396"/>
              <a:gd name="connsiteY0" fmla="*/ 223838 h 228004"/>
              <a:gd name="connsiteX1" fmla="*/ 28575 w 35396"/>
              <a:gd name="connsiteY1" fmla="*/ 226219 h 228004"/>
              <a:gd name="connsiteX2" fmla="*/ 22225 w 35396"/>
              <a:gd name="connsiteY2" fmla="*/ 226219 h 228004"/>
              <a:gd name="connsiteX3" fmla="*/ 26459 w 35396"/>
              <a:gd name="connsiteY3" fmla="*/ 223838 h 228004"/>
              <a:gd name="connsiteX4" fmla="*/ 28575 w 35396"/>
              <a:gd name="connsiteY4" fmla="*/ 220663 h 228004"/>
              <a:gd name="connsiteX5" fmla="*/ 31750 w 35396"/>
              <a:gd name="connsiteY5" fmla="*/ 222251 h 228004"/>
              <a:gd name="connsiteX6" fmla="*/ 28575 w 35396"/>
              <a:gd name="connsiteY6" fmla="*/ 223838 h 228004"/>
              <a:gd name="connsiteX7" fmla="*/ 28575 w 35396"/>
              <a:gd name="connsiteY7" fmla="*/ 220663 h 228004"/>
              <a:gd name="connsiteX8" fmla="*/ 30083 w 35396"/>
              <a:gd name="connsiteY8" fmla="*/ 199867 h 228004"/>
              <a:gd name="connsiteX9" fmla="*/ 32702 w 35396"/>
              <a:gd name="connsiteY9" fmla="*/ 200343 h 228004"/>
              <a:gd name="connsiteX10" fmla="*/ 34607 w 35396"/>
              <a:gd name="connsiteY10" fmla="*/ 206058 h 228004"/>
              <a:gd name="connsiteX11" fmla="*/ 28892 w 35396"/>
              <a:gd name="connsiteY11" fmla="*/ 202248 h 228004"/>
              <a:gd name="connsiteX12" fmla="*/ 30083 w 35396"/>
              <a:gd name="connsiteY12" fmla="*/ 199867 h 228004"/>
              <a:gd name="connsiteX13" fmla="*/ 22860 w 35396"/>
              <a:gd name="connsiteY13" fmla="*/ 195716 h 228004"/>
              <a:gd name="connsiteX14" fmla="*/ 24765 w 35396"/>
              <a:gd name="connsiteY14" fmla="*/ 199798 h 228004"/>
              <a:gd name="connsiteX15" fmla="*/ 26670 w 35396"/>
              <a:gd name="connsiteY15" fmla="*/ 201839 h 228004"/>
              <a:gd name="connsiteX16" fmla="*/ 26670 w 35396"/>
              <a:gd name="connsiteY16" fmla="*/ 205921 h 228004"/>
              <a:gd name="connsiteX17" fmla="*/ 19050 w 35396"/>
              <a:gd name="connsiteY17" fmla="*/ 201839 h 228004"/>
              <a:gd name="connsiteX18" fmla="*/ 22860 w 35396"/>
              <a:gd name="connsiteY18" fmla="*/ 195716 h 228004"/>
              <a:gd name="connsiteX19" fmla="*/ 24606 w 35396"/>
              <a:gd name="connsiteY19" fmla="*/ 187722 h 228004"/>
              <a:gd name="connsiteX20" fmla="*/ 26591 w 35396"/>
              <a:gd name="connsiteY20" fmla="*/ 191691 h 228004"/>
              <a:gd name="connsiteX21" fmla="*/ 22622 w 35396"/>
              <a:gd name="connsiteY21" fmla="*/ 193675 h 228004"/>
              <a:gd name="connsiteX22" fmla="*/ 22622 w 35396"/>
              <a:gd name="connsiteY22" fmla="*/ 191691 h 228004"/>
              <a:gd name="connsiteX23" fmla="*/ 24606 w 35396"/>
              <a:gd name="connsiteY23" fmla="*/ 187722 h 228004"/>
              <a:gd name="connsiteX24" fmla="*/ 23019 w 35396"/>
              <a:gd name="connsiteY24" fmla="*/ 176213 h 228004"/>
              <a:gd name="connsiteX25" fmla="*/ 26459 w 35396"/>
              <a:gd name="connsiteY25" fmla="*/ 176213 h 228004"/>
              <a:gd name="connsiteX26" fmla="*/ 26988 w 35396"/>
              <a:gd name="connsiteY26" fmla="*/ 176213 h 228004"/>
              <a:gd name="connsiteX27" fmla="*/ 23019 w 35396"/>
              <a:gd name="connsiteY27" fmla="*/ 177801 h 228004"/>
              <a:gd name="connsiteX28" fmla="*/ 23019 w 35396"/>
              <a:gd name="connsiteY28" fmla="*/ 176213 h 228004"/>
              <a:gd name="connsiteX29" fmla="*/ 22755 w 35396"/>
              <a:gd name="connsiteY29" fmla="*/ 166688 h 228004"/>
              <a:gd name="connsiteX30" fmla="*/ 24607 w 35396"/>
              <a:gd name="connsiteY30" fmla="*/ 166688 h 228004"/>
              <a:gd name="connsiteX31" fmla="*/ 26459 w 35396"/>
              <a:gd name="connsiteY31" fmla="*/ 176213 h 228004"/>
              <a:gd name="connsiteX32" fmla="*/ 22755 w 35396"/>
              <a:gd name="connsiteY32" fmla="*/ 172403 h 228004"/>
              <a:gd name="connsiteX33" fmla="*/ 20902 w 35396"/>
              <a:gd name="connsiteY33" fmla="*/ 170498 h 228004"/>
              <a:gd name="connsiteX34" fmla="*/ 22755 w 35396"/>
              <a:gd name="connsiteY34" fmla="*/ 166688 h 228004"/>
              <a:gd name="connsiteX35" fmla="*/ 26352 w 35396"/>
              <a:gd name="connsiteY35" fmla="*/ 138113 h 228004"/>
              <a:gd name="connsiteX36" fmla="*/ 30162 w 35396"/>
              <a:gd name="connsiteY36" fmla="*/ 143828 h 228004"/>
              <a:gd name="connsiteX37" fmla="*/ 22542 w 35396"/>
              <a:gd name="connsiteY37" fmla="*/ 141923 h 228004"/>
              <a:gd name="connsiteX38" fmla="*/ 26352 w 35396"/>
              <a:gd name="connsiteY38" fmla="*/ 138113 h 228004"/>
              <a:gd name="connsiteX39" fmla="*/ 14922 w 35396"/>
              <a:gd name="connsiteY39" fmla="*/ 130175 h 228004"/>
              <a:gd name="connsiteX40" fmla="*/ 11112 w 35396"/>
              <a:gd name="connsiteY40" fmla="*/ 134144 h 228004"/>
              <a:gd name="connsiteX41" fmla="*/ 14922 w 35396"/>
              <a:gd name="connsiteY41" fmla="*/ 130175 h 228004"/>
              <a:gd name="connsiteX42" fmla="*/ 8731 w 35396"/>
              <a:gd name="connsiteY42" fmla="*/ 125413 h 228004"/>
              <a:gd name="connsiteX43" fmla="*/ 10716 w 35396"/>
              <a:gd name="connsiteY43" fmla="*/ 129647 h 228004"/>
              <a:gd name="connsiteX44" fmla="*/ 6747 w 35396"/>
              <a:gd name="connsiteY44" fmla="*/ 127530 h 228004"/>
              <a:gd name="connsiteX45" fmla="*/ 8731 w 35396"/>
              <a:gd name="connsiteY45" fmla="*/ 125413 h 228004"/>
              <a:gd name="connsiteX46" fmla="*/ 25740 w 35396"/>
              <a:gd name="connsiteY46" fmla="*/ 109226 h 228004"/>
              <a:gd name="connsiteX47" fmla="*/ 28802 w 35396"/>
              <a:gd name="connsiteY47" fmla="*/ 109991 h 228004"/>
              <a:gd name="connsiteX48" fmla="*/ 30843 w 35396"/>
              <a:gd name="connsiteY48" fmla="*/ 112032 h 228004"/>
              <a:gd name="connsiteX49" fmla="*/ 32884 w 35396"/>
              <a:gd name="connsiteY49" fmla="*/ 116114 h 228004"/>
              <a:gd name="connsiteX50" fmla="*/ 30843 w 35396"/>
              <a:gd name="connsiteY50" fmla="*/ 120196 h 228004"/>
              <a:gd name="connsiteX51" fmla="*/ 24720 w 35396"/>
              <a:gd name="connsiteY51" fmla="*/ 118155 h 228004"/>
              <a:gd name="connsiteX52" fmla="*/ 22678 w 35396"/>
              <a:gd name="connsiteY52" fmla="*/ 114073 h 228004"/>
              <a:gd name="connsiteX53" fmla="*/ 22678 w 35396"/>
              <a:gd name="connsiteY53" fmla="*/ 109991 h 228004"/>
              <a:gd name="connsiteX54" fmla="*/ 25740 w 35396"/>
              <a:gd name="connsiteY54" fmla="*/ 109226 h 228004"/>
              <a:gd name="connsiteX55" fmla="*/ 10319 w 35396"/>
              <a:gd name="connsiteY55" fmla="*/ 100466 h 228004"/>
              <a:gd name="connsiteX56" fmla="*/ 14288 w 35396"/>
              <a:gd name="connsiteY56" fmla="*/ 100466 h 228004"/>
              <a:gd name="connsiteX57" fmla="*/ 14288 w 35396"/>
              <a:gd name="connsiteY57" fmla="*/ 104548 h 228004"/>
              <a:gd name="connsiteX58" fmla="*/ 14288 w 35396"/>
              <a:gd name="connsiteY58" fmla="*/ 108630 h 228004"/>
              <a:gd name="connsiteX59" fmla="*/ 8335 w 35396"/>
              <a:gd name="connsiteY59" fmla="*/ 110671 h 228004"/>
              <a:gd name="connsiteX60" fmla="*/ 10319 w 35396"/>
              <a:gd name="connsiteY60" fmla="*/ 100466 h 228004"/>
              <a:gd name="connsiteX61" fmla="*/ 27831 w 35396"/>
              <a:gd name="connsiteY61" fmla="*/ 86717 h 228004"/>
              <a:gd name="connsiteX62" fmla="*/ 28575 w 35396"/>
              <a:gd name="connsiteY62" fmla="*/ 88106 h 228004"/>
              <a:gd name="connsiteX63" fmla="*/ 22622 w 35396"/>
              <a:gd name="connsiteY63" fmla="*/ 91810 h 228004"/>
              <a:gd name="connsiteX64" fmla="*/ 22622 w 35396"/>
              <a:gd name="connsiteY64" fmla="*/ 88106 h 228004"/>
              <a:gd name="connsiteX65" fmla="*/ 27831 w 35396"/>
              <a:gd name="connsiteY65" fmla="*/ 86717 h 228004"/>
              <a:gd name="connsiteX66" fmla="*/ 22226 w 35396"/>
              <a:gd name="connsiteY66" fmla="*/ 82551 h 228004"/>
              <a:gd name="connsiteX67" fmla="*/ 22226 w 35396"/>
              <a:gd name="connsiteY67" fmla="*/ 84138 h 228004"/>
              <a:gd name="connsiteX68" fmla="*/ 22226 w 35396"/>
              <a:gd name="connsiteY68" fmla="*/ 82551 h 228004"/>
              <a:gd name="connsiteX69" fmla="*/ 8996 w 35396"/>
              <a:gd name="connsiteY69" fmla="*/ 82550 h 228004"/>
              <a:gd name="connsiteX70" fmla="*/ 11112 w 35396"/>
              <a:gd name="connsiteY70" fmla="*/ 86519 h 228004"/>
              <a:gd name="connsiteX71" fmla="*/ 4762 w 35396"/>
              <a:gd name="connsiteY71" fmla="*/ 86519 h 228004"/>
              <a:gd name="connsiteX72" fmla="*/ 8996 w 35396"/>
              <a:gd name="connsiteY72" fmla="*/ 82550 h 228004"/>
              <a:gd name="connsiteX73" fmla="*/ 12304 w 35396"/>
              <a:gd name="connsiteY73" fmla="*/ 68263 h 228004"/>
              <a:gd name="connsiteX74" fmla="*/ 12304 w 35396"/>
              <a:gd name="connsiteY74" fmla="*/ 72497 h 228004"/>
              <a:gd name="connsiteX75" fmla="*/ 6350 w 35396"/>
              <a:gd name="connsiteY75" fmla="*/ 70380 h 228004"/>
              <a:gd name="connsiteX76" fmla="*/ 12304 w 35396"/>
              <a:gd name="connsiteY76" fmla="*/ 68263 h 228004"/>
              <a:gd name="connsiteX77" fmla="*/ 22622 w 35396"/>
              <a:gd name="connsiteY77" fmla="*/ 66675 h 228004"/>
              <a:gd name="connsiteX78" fmla="*/ 28575 w 35396"/>
              <a:gd name="connsiteY78" fmla="*/ 68263 h 228004"/>
              <a:gd name="connsiteX79" fmla="*/ 22622 w 35396"/>
              <a:gd name="connsiteY79" fmla="*/ 69850 h 228004"/>
              <a:gd name="connsiteX80" fmla="*/ 22622 w 35396"/>
              <a:gd name="connsiteY80" fmla="*/ 66675 h 228004"/>
              <a:gd name="connsiteX81" fmla="*/ 10477 w 35396"/>
              <a:gd name="connsiteY81" fmla="*/ 55563 h 228004"/>
              <a:gd name="connsiteX82" fmla="*/ 14287 w 35396"/>
              <a:gd name="connsiteY82" fmla="*/ 57680 h 228004"/>
              <a:gd name="connsiteX83" fmla="*/ 10477 w 35396"/>
              <a:gd name="connsiteY83" fmla="*/ 57680 h 228004"/>
              <a:gd name="connsiteX84" fmla="*/ 6667 w 35396"/>
              <a:gd name="connsiteY84" fmla="*/ 57680 h 228004"/>
              <a:gd name="connsiteX85" fmla="*/ 10477 w 35396"/>
              <a:gd name="connsiteY85" fmla="*/ 55563 h 228004"/>
              <a:gd name="connsiteX86" fmla="*/ 8732 w 35396"/>
              <a:gd name="connsiteY86" fmla="*/ 50800 h 228004"/>
              <a:gd name="connsiteX87" fmla="*/ 8732 w 35396"/>
              <a:gd name="connsiteY87" fmla="*/ 53975 h 228004"/>
              <a:gd name="connsiteX88" fmla="*/ 6350 w 35396"/>
              <a:gd name="connsiteY88" fmla="*/ 52388 h 228004"/>
              <a:gd name="connsiteX89" fmla="*/ 8732 w 35396"/>
              <a:gd name="connsiteY89" fmla="*/ 50800 h 228004"/>
              <a:gd name="connsiteX90" fmla="*/ 22754 w 35396"/>
              <a:gd name="connsiteY90" fmla="*/ 46434 h 228004"/>
              <a:gd name="connsiteX91" fmla="*/ 24871 w 35396"/>
              <a:gd name="connsiteY91" fmla="*/ 48419 h 228004"/>
              <a:gd name="connsiteX92" fmla="*/ 20637 w 35396"/>
              <a:gd name="connsiteY92" fmla="*/ 50403 h 228004"/>
              <a:gd name="connsiteX93" fmla="*/ 22754 w 35396"/>
              <a:gd name="connsiteY93" fmla="*/ 46434 h 228004"/>
              <a:gd name="connsiteX94" fmla="*/ 7144 w 35396"/>
              <a:gd name="connsiteY94" fmla="*/ 38100 h 228004"/>
              <a:gd name="connsiteX95" fmla="*/ 11113 w 35396"/>
              <a:gd name="connsiteY95" fmla="*/ 40005 h 228004"/>
              <a:gd name="connsiteX96" fmla="*/ 9129 w 35396"/>
              <a:gd name="connsiteY96" fmla="*/ 45720 h 228004"/>
              <a:gd name="connsiteX97" fmla="*/ 5160 w 35396"/>
              <a:gd name="connsiteY97" fmla="*/ 45720 h 228004"/>
              <a:gd name="connsiteX98" fmla="*/ 3175 w 35396"/>
              <a:gd name="connsiteY98" fmla="*/ 41910 h 228004"/>
              <a:gd name="connsiteX99" fmla="*/ 7144 w 35396"/>
              <a:gd name="connsiteY99" fmla="*/ 38100 h 228004"/>
              <a:gd name="connsiteX100" fmla="*/ 18521 w 35396"/>
              <a:gd name="connsiteY100" fmla="*/ 28575 h 228004"/>
              <a:gd name="connsiteX101" fmla="*/ 20373 w 35396"/>
              <a:gd name="connsiteY101" fmla="*/ 31750 h 228004"/>
              <a:gd name="connsiteX102" fmla="*/ 12964 w 35396"/>
              <a:gd name="connsiteY102" fmla="*/ 30163 h 228004"/>
              <a:gd name="connsiteX103" fmla="*/ 18521 w 35396"/>
              <a:gd name="connsiteY103" fmla="*/ 28575 h 228004"/>
              <a:gd name="connsiteX104" fmla="*/ 18256 w 35396"/>
              <a:gd name="connsiteY104" fmla="*/ 15875 h 228004"/>
              <a:gd name="connsiteX105" fmla="*/ 16272 w 35396"/>
              <a:gd name="connsiteY105" fmla="*/ 18256 h 228004"/>
              <a:gd name="connsiteX106" fmla="*/ 18256 w 35396"/>
              <a:gd name="connsiteY106" fmla="*/ 15875 h 228004"/>
              <a:gd name="connsiteX107" fmla="*/ 15081 w 35396"/>
              <a:gd name="connsiteY107" fmla="*/ 11113 h 228004"/>
              <a:gd name="connsiteX108" fmla="*/ 13097 w 35396"/>
              <a:gd name="connsiteY108" fmla="*/ 12701 h 228004"/>
              <a:gd name="connsiteX109" fmla="*/ 15081 w 35396"/>
              <a:gd name="connsiteY109" fmla="*/ 11113 h 228004"/>
              <a:gd name="connsiteX110" fmla="*/ 4234 w 35396"/>
              <a:gd name="connsiteY110" fmla="*/ 7938 h 228004"/>
              <a:gd name="connsiteX111" fmla="*/ 0 w 35396"/>
              <a:gd name="connsiteY111" fmla="*/ 12172 h 228004"/>
              <a:gd name="connsiteX112" fmla="*/ 4234 w 35396"/>
              <a:gd name="connsiteY112" fmla="*/ 7938 h 228004"/>
              <a:gd name="connsiteX113" fmla="*/ 6350 w 35396"/>
              <a:gd name="connsiteY113" fmla="*/ 6351 h 228004"/>
              <a:gd name="connsiteX114" fmla="*/ 8732 w 35396"/>
              <a:gd name="connsiteY114" fmla="*/ 6351 h 228004"/>
              <a:gd name="connsiteX115" fmla="*/ 6350 w 35396"/>
              <a:gd name="connsiteY115" fmla="*/ 6351 h 228004"/>
              <a:gd name="connsiteX116" fmla="*/ 10054 w 35396"/>
              <a:gd name="connsiteY116" fmla="*/ 0 h 228004"/>
              <a:gd name="connsiteX117" fmla="*/ 10054 w 35396"/>
              <a:gd name="connsiteY117" fmla="*/ 4234 h 228004"/>
              <a:gd name="connsiteX118" fmla="*/ 10054 w 35396"/>
              <a:gd name="connsiteY118" fmla="*/ 0 h 22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5396" h="228004">
                <a:moveTo>
                  <a:pt x="26459" y="223838"/>
                </a:moveTo>
                <a:cubicBezTo>
                  <a:pt x="26459" y="223838"/>
                  <a:pt x="28575" y="223838"/>
                  <a:pt x="28575" y="226219"/>
                </a:cubicBezTo>
                <a:cubicBezTo>
                  <a:pt x="26459" y="228600"/>
                  <a:pt x="24342" y="228600"/>
                  <a:pt x="22225" y="226219"/>
                </a:cubicBezTo>
                <a:cubicBezTo>
                  <a:pt x="22225" y="223838"/>
                  <a:pt x="26459" y="223838"/>
                  <a:pt x="26459" y="223838"/>
                </a:cubicBezTo>
                <a:close/>
                <a:moveTo>
                  <a:pt x="28575" y="220663"/>
                </a:moveTo>
                <a:cubicBezTo>
                  <a:pt x="28575" y="220663"/>
                  <a:pt x="31750" y="220663"/>
                  <a:pt x="31750" y="222251"/>
                </a:cubicBezTo>
                <a:cubicBezTo>
                  <a:pt x="31750" y="223838"/>
                  <a:pt x="30163" y="225425"/>
                  <a:pt x="28575" y="223838"/>
                </a:cubicBezTo>
                <a:cubicBezTo>
                  <a:pt x="26987" y="222251"/>
                  <a:pt x="28575" y="220663"/>
                  <a:pt x="28575" y="220663"/>
                </a:cubicBezTo>
                <a:close/>
                <a:moveTo>
                  <a:pt x="30083" y="199867"/>
                </a:moveTo>
                <a:cubicBezTo>
                  <a:pt x="31274" y="199867"/>
                  <a:pt x="32702" y="200343"/>
                  <a:pt x="32702" y="200343"/>
                </a:cubicBezTo>
                <a:cubicBezTo>
                  <a:pt x="34607" y="198438"/>
                  <a:pt x="36512" y="202248"/>
                  <a:pt x="34607" y="206058"/>
                </a:cubicBezTo>
                <a:cubicBezTo>
                  <a:pt x="30797" y="207963"/>
                  <a:pt x="28892" y="206058"/>
                  <a:pt x="28892" y="202248"/>
                </a:cubicBezTo>
                <a:cubicBezTo>
                  <a:pt x="27940" y="200343"/>
                  <a:pt x="28892" y="199867"/>
                  <a:pt x="30083" y="199867"/>
                </a:cubicBezTo>
                <a:close/>
                <a:moveTo>
                  <a:pt x="22860" y="195716"/>
                </a:moveTo>
                <a:cubicBezTo>
                  <a:pt x="22860" y="193675"/>
                  <a:pt x="24765" y="197757"/>
                  <a:pt x="24765" y="199798"/>
                </a:cubicBezTo>
                <a:cubicBezTo>
                  <a:pt x="22860" y="201839"/>
                  <a:pt x="24765" y="201839"/>
                  <a:pt x="26670" y="201839"/>
                </a:cubicBezTo>
                <a:cubicBezTo>
                  <a:pt x="28575" y="203880"/>
                  <a:pt x="28575" y="203880"/>
                  <a:pt x="26670" y="205921"/>
                </a:cubicBezTo>
                <a:cubicBezTo>
                  <a:pt x="22860" y="207962"/>
                  <a:pt x="20955" y="205921"/>
                  <a:pt x="19050" y="201839"/>
                </a:cubicBezTo>
                <a:cubicBezTo>
                  <a:pt x="19050" y="199798"/>
                  <a:pt x="22860" y="195716"/>
                  <a:pt x="22860" y="195716"/>
                </a:cubicBezTo>
                <a:close/>
                <a:moveTo>
                  <a:pt x="24606" y="187722"/>
                </a:moveTo>
                <a:cubicBezTo>
                  <a:pt x="26591" y="185738"/>
                  <a:pt x="28575" y="189707"/>
                  <a:pt x="26591" y="191691"/>
                </a:cubicBezTo>
                <a:cubicBezTo>
                  <a:pt x="26591" y="193675"/>
                  <a:pt x="24606" y="193675"/>
                  <a:pt x="22622" y="193675"/>
                </a:cubicBezTo>
                <a:cubicBezTo>
                  <a:pt x="20637" y="193675"/>
                  <a:pt x="22622" y="193675"/>
                  <a:pt x="22622" y="191691"/>
                </a:cubicBezTo>
                <a:cubicBezTo>
                  <a:pt x="22622" y="187722"/>
                  <a:pt x="24606" y="187722"/>
                  <a:pt x="24606" y="187722"/>
                </a:cubicBezTo>
                <a:close/>
                <a:moveTo>
                  <a:pt x="23019" y="176213"/>
                </a:moveTo>
                <a:lnTo>
                  <a:pt x="26459" y="176213"/>
                </a:lnTo>
                <a:lnTo>
                  <a:pt x="26988" y="176213"/>
                </a:lnTo>
                <a:cubicBezTo>
                  <a:pt x="26988" y="177801"/>
                  <a:pt x="23019" y="179388"/>
                  <a:pt x="23019" y="177801"/>
                </a:cubicBezTo>
                <a:cubicBezTo>
                  <a:pt x="19050" y="177801"/>
                  <a:pt x="23019" y="176213"/>
                  <a:pt x="23019" y="176213"/>
                </a:cubicBezTo>
                <a:close/>
                <a:moveTo>
                  <a:pt x="22755" y="166688"/>
                </a:moveTo>
                <a:cubicBezTo>
                  <a:pt x="22755" y="166688"/>
                  <a:pt x="22755" y="166688"/>
                  <a:pt x="24607" y="166688"/>
                </a:cubicBezTo>
                <a:cubicBezTo>
                  <a:pt x="30163" y="166688"/>
                  <a:pt x="30163" y="174308"/>
                  <a:pt x="26459" y="176213"/>
                </a:cubicBezTo>
                <a:cubicBezTo>
                  <a:pt x="22755" y="176213"/>
                  <a:pt x="24607" y="172403"/>
                  <a:pt x="22755" y="172403"/>
                </a:cubicBezTo>
                <a:cubicBezTo>
                  <a:pt x="20902" y="172403"/>
                  <a:pt x="19050" y="170498"/>
                  <a:pt x="20902" y="170498"/>
                </a:cubicBezTo>
                <a:cubicBezTo>
                  <a:pt x="22755" y="168593"/>
                  <a:pt x="22755" y="166688"/>
                  <a:pt x="22755" y="166688"/>
                </a:cubicBezTo>
                <a:close/>
                <a:moveTo>
                  <a:pt x="26352" y="138113"/>
                </a:moveTo>
                <a:cubicBezTo>
                  <a:pt x="28257" y="138113"/>
                  <a:pt x="30162" y="140018"/>
                  <a:pt x="30162" y="143828"/>
                </a:cubicBezTo>
                <a:cubicBezTo>
                  <a:pt x="30162" y="147638"/>
                  <a:pt x="24447" y="147638"/>
                  <a:pt x="22542" y="141923"/>
                </a:cubicBezTo>
                <a:cubicBezTo>
                  <a:pt x="20637" y="138113"/>
                  <a:pt x="26352" y="138113"/>
                  <a:pt x="26352" y="138113"/>
                </a:cubicBezTo>
                <a:close/>
                <a:moveTo>
                  <a:pt x="14922" y="130175"/>
                </a:moveTo>
                <a:cubicBezTo>
                  <a:pt x="20637" y="130175"/>
                  <a:pt x="11112" y="138112"/>
                  <a:pt x="11112" y="134144"/>
                </a:cubicBezTo>
                <a:cubicBezTo>
                  <a:pt x="11112" y="132159"/>
                  <a:pt x="14922" y="130175"/>
                  <a:pt x="14922" y="130175"/>
                </a:cubicBezTo>
                <a:close/>
                <a:moveTo>
                  <a:pt x="8731" y="125413"/>
                </a:moveTo>
                <a:cubicBezTo>
                  <a:pt x="12700" y="125413"/>
                  <a:pt x="12700" y="129647"/>
                  <a:pt x="10716" y="129647"/>
                </a:cubicBezTo>
                <a:cubicBezTo>
                  <a:pt x="8731" y="131763"/>
                  <a:pt x="6747" y="129647"/>
                  <a:pt x="6747" y="127530"/>
                </a:cubicBezTo>
                <a:cubicBezTo>
                  <a:pt x="4762" y="125413"/>
                  <a:pt x="8731" y="125413"/>
                  <a:pt x="8731" y="125413"/>
                </a:cubicBezTo>
                <a:close/>
                <a:moveTo>
                  <a:pt x="25740" y="109226"/>
                </a:moveTo>
                <a:cubicBezTo>
                  <a:pt x="27271" y="109481"/>
                  <a:pt x="28802" y="109991"/>
                  <a:pt x="28802" y="109991"/>
                </a:cubicBezTo>
                <a:cubicBezTo>
                  <a:pt x="30843" y="107950"/>
                  <a:pt x="32884" y="109991"/>
                  <a:pt x="30843" y="112032"/>
                </a:cubicBezTo>
                <a:cubicBezTo>
                  <a:pt x="30843" y="114073"/>
                  <a:pt x="30843" y="114073"/>
                  <a:pt x="32884" y="116114"/>
                </a:cubicBezTo>
                <a:cubicBezTo>
                  <a:pt x="34925" y="118155"/>
                  <a:pt x="30843" y="118155"/>
                  <a:pt x="30843" y="120196"/>
                </a:cubicBezTo>
                <a:cubicBezTo>
                  <a:pt x="30843" y="122237"/>
                  <a:pt x="24720" y="120196"/>
                  <a:pt x="24720" y="118155"/>
                </a:cubicBezTo>
                <a:cubicBezTo>
                  <a:pt x="24720" y="118155"/>
                  <a:pt x="22678" y="116114"/>
                  <a:pt x="22678" y="114073"/>
                </a:cubicBezTo>
                <a:cubicBezTo>
                  <a:pt x="20637" y="112032"/>
                  <a:pt x="20637" y="114073"/>
                  <a:pt x="22678" y="109991"/>
                </a:cubicBezTo>
                <a:cubicBezTo>
                  <a:pt x="22678" y="108971"/>
                  <a:pt x="24209" y="108971"/>
                  <a:pt x="25740" y="109226"/>
                </a:cubicBezTo>
                <a:close/>
                <a:moveTo>
                  <a:pt x="10319" y="100466"/>
                </a:moveTo>
                <a:cubicBezTo>
                  <a:pt x="10319" y="100466"/>
                  <a:pt x="14288" y="98425"/>
                  <a:pt x="14288" y="100466"/>
                </a:cubicBezTo>
                <a:cubicBezTo>
                  <a:pt x="14288" y="100466"/>
                  <a:pt x="14288" y="104548"/>
                  <a:pt x="14288" y="104548"/>
                </a:cubicBezTo>
                <a:cubicBezTo>
                  <a:pt x="14288" y="104548"/>
                  <a:pt x="14288" y="106589"/>
                  <a:pt x="14288" y="108630"/>
                </a:cubicBezTo>
                <a:cubicBezTo>
                  <a:pt x="12304" y="110671"/>
                  <a:pt x="10319" y="112712"/>
                  <a:pt x="8335" y="110671"/>
                </a:cubicBezTo>
                <a:cubicBezTo>
                  <a:pt x="6350" y="108630"/>
                  <a:pt x="10319" y="100466"/>
                  <a:pt x="10319" y="100466"/>
                </a:cubicBezTo>
                <a:close/>
                <a:moveTo>
                  <a:pt x="27831" y="86717"/>
                </a:moveTo>
                <a:cubicBezTo>
                  <a:pt x="28575" y="87643"/>
                  <a:pt x="28575" y="89032"/>
                  <a:pt x="28575" y="88106"/>
                </a:cubicBezTo>
                <a:cubicBezTo>
                  <a:pt x="28575" y="89958"/>
                  <a:pt x="24606" y="93662"/>
                  <a:pt x="22622" y="91810"/>
                </a:cubicBezTo>
                <a:cubicBezTo>
                  <a:pt x="20637" y="89958"/>
                  <a:pt x="22622" y="88106"/>
                  <a:pt x="22622" y="88106"/>
                </a:cubicBezTo>
                <a:cubicBezTo>
                  <a:pt x="25598" y="85328"/>
                  <a:pt x="27087" y="85791"/>
                  <a:pt x="27831" y="86717"/>
                </a:cubicBezTo>
                <a:close/>
                <a:moveTo>
                  <a:pt x="22226" y="82551"/>
                </a:moveTo>
                <a:cubicBezTo>
                  <a:pt x="23813" y="80963"/>
                  <a:pt x="23813" y="84138"/>
                  <a:pt x="22226" y="84138"/>
                </a:cubicBezTo>
                <a:cubicBezTo>
                  <a:pt x="22226" y="84138"/>
                  <a:pt x="19050" y="82551"/>
                  <a:pt x="22226" y="82551"/>
                </a:cubicBezTo>
                <a:close/>
                <a:moveTo>
                  <a:pt x="8996" y="82550"/>
                </a:moveTo>
                <a:cubicBezTo>
                  <a:pt x="8996" y="82550"/>
                  <a:pt x="11112" y="82550"/>
                  <a:pt x="11112" y="86519"/>
                </a:cubicBezTo>
                <a:cubicBezTo>
                  <a:pt x="11112" y="90487"/>
                  <a:pt x="4762" y="90487"/>
                  <a:pt x="4762" y="86519"/>
                </a:cubicBezTo>
                <a:cubicBezTo>
                  <a:pt x="4762" y="84534"/>
                  <a:pt x="8996" y="82550"/>
                  <a:pt x="8996" y="82550"/>
                </a:cubicBezTo>
                <a:close/>
                <a:moveTo>
                  <a:pt x="12304" y="68263"/>
                </a:moveTo>
                <a:cubicBezTo>
                  <a:pt x="14288" y="68263"/>
                  <a:pt x="14288" y="70380"/>
                  <a:pt x="12304" y="72497"/>
                </a:cubicBezTo>
                <a:cubicBezTo>
                  <a:pt x="12304" y="74613"/>
                  <a:pt x="6350" y="74613"/>
                  <a:pt x="6350" y="70380"/>
                </a:cubicBezTo>
                <a:cubicBezTo>
                  <a:pt x="6350" y="68263"/>
                  <a:pt x="12304" y="68263"/>
                  <a:pt x="12304" y="68263"/>
                </a:cubicBezTo>
                <a:close/>
                <a:moveTo>
                  <a:pt x="22622" y="66675"/>
                </a:moveTo>
                <a:cubicBezTo>
                  <a:pt x="22622" y="66675"/>
                  <a:pt x="28575" y="66675"/>
                  <a:pt x="28575" y="68263"/>
                </a:cubicBezTo>
                <a:cubicBezTo>
                  <a:pt x="28575" y="69850"/>
                  <a:pt x="24606" y="69850"/>
                  <a:pt x="22622" y="69850"/>
                </a:cubicBezTo>
                <a:cubicBezTo>
                  <a:pt x="20637" y="66675"/>
                  <a:pt x="22622" y="66675"/>
                  <a:pt x="22622" y="66675"/>
                </a:cubicBezTo>
                <a:close/>
                <a:moveTo>
                  <a:pt x="10477" y="55563"/>
                </a:moveTo>
                <a:cubicBezTo>
                  <a:pt x="10477" y="55563"/>
                  <a:pt x="14287" y="57680"/>
                  <a:pt x="14287" y="57680"/>
                </a:cubicBezTo>
                <a:cubicBezTo>
                  <a:pt x="14287" y="59797"/>
                  <a:pt x="12382" y="59797"/>
                  <a:pt x="10477" y="57680"/>
                </a:cubicBezTo>
                <a:cubicBezTo>
                  <a:pt x="8572" y="57680"/>
                  <a:pt x="6667" y="61913"/>
                  <a:pt x="6667" y="57680"/>
                </a:cubicBezTo>
                <a:cubicBezTo>
                  <a:pt x="4762" y="55563"/>
                  <a:pt x="10477" y="55563"/>
                  <a:pt x="10477" y="55563"/>
                </a:cubicBezTo>
                <a:close/>
                <a:moveTo>
                  <a:pt x="8732" y="50800"/>
                </a:moveTo>
                <a:cubicBezTo>
                  <a:pt x="8732" y="50800"/>
                  <a:pt x="11113" y="52388"/>
                  <a:pt x="8732" y="53975"/>
                </a:cubicBezTo>
                <a:cubicBezTo>
                  <a:pt x="6350" y="53975"/>
                  <a:pt x="6350" y="53975"/>
                  <a:pt x="6350" y="52388"/>
                </a:cubicBezTo>
                <a:cubicBezTo>
                  <a:pt x="6350" y="50800"/>
                  <a:pt x="8732" y="50800"/>
                  <a:pt x="8732" y="50800"/>
                </a:cubicBezTo>
                <a:close/>
                <a:moveTo>
                  <a:pt x="22754" y="46434"/>
                </a:moveTo>
                <a:cubicBezTo>
                  <a:pt x="22754" y="46434"/>
                  <a:pt x="24871" y="44450"/>
                  <a:pt x="24871" y="48419"/>
                </a:cubicBezTo>
                <a:cubicBezTo>
                  <a:pt x="26987" y="52387"/>
                  <a:pt x="22754" y="52387"/>
                  <a:pt x="20637" y="50403"/>
                </a:cubicBezTo>
                <a:cubicBezTo>
                  <a:pt x="20637" y="46434"/>
                  <a:pt x="22754" y="46434"/>
                  <a:pt x="22754" y="46434"/>
                </a:cubicBezTo>
                <a:close/>
                <a:moveTo>
                  <a:pt x="7144" y="38100"/>
                </a:moveTo>
                <a:cubicBezTo>
                  <a:pt x="7144" y="38100"/>
                  <a:pt x="11113" y="38100"/>
                  <a:pt x="11113" y="40005"/>
                </a:cubicBezTo>
                <a:cubicBezTo>
                  <a:pt x="11113" y="41910"/>
                  <a:pt x="9129" y="43815"/>
                  <a:pt x="9129" y="45720"/>
                </a:cubicBezTo>
                <a:cubicBezTo>
                  <a:pt x="9129" y="47625"/>
                  <a:pt x="7144" y="47625"/>
                  <a:pt x="5160" y="45720"/>
                </a:cubicBezTo>
                <a:cubicBezTo>
                  <a:pt x="5160" y="43815"/>
                  <a:pt x="3175" y="45720"/>
                  <a:pt x="3175" y="41910"/>
                </a:cubicBezTo>
                <a:cubicBezTo>
                  <a:pt x="3175" y="38100"/>
                  <a:pt x="7144" y="38100"/>
                  <a:pt x="7144" y="38100"/>
                </a:cubicBezTo>
                <a:close/>
                <a:moveTo>
                  <a:pt x="18521" y="28575"/>
                </a:moveTo>
                <a:cubicBezTo>
                  <a:pt x="20373" y="30163"/>
                  <a:pt x="22225" y="30163"/>
                  <a:pt x="20373" y="31750"/>
                </a:cubicBezTo>
                <a:cubicBezTo>
                  <a:pt x="18521" y="31750"/>
                  <a:pt x="12964" y="31750"/>
                  <a:pt x="12964" y="30163"/>
                </a:cubicBezTo>
                <a:cubicBezTo>
                  <a:pt x="11112" y="28575"/>
                  <a:pt x="18521" y="28575"/>
                  <a:pt x="18521" y="28575"/>
                </a:cubicBezTo>
                <a:close/>
                <a:moveTo>
                  <a:pt x="18256" y="15875"/>
                </a:moveTo>
                <a:cubicBezTo>
                  <a:pt x="22225" y="18256"/>
                  <a:pt x="20241" y="20637"/>
                  <a:pt x="16272" y="18256"/>
                </a:cubicBezTo>
                <a:cubicBezTo>
                  <a:pt x="14287" y="18256"/>
                  <a:pt x="18256" y="15875"/>
                  <a:pt x="18256" y="15875"/>
                </a:cubicBezTo>
                <a:close/>
                <a:moveTo>
                  <a:pt x="15081" y="11113"/>
                </a:moveTo>
                <a:cubicBezTo>
                  <a:pt x="19050" y="14288"/>
                  <a:pt x="15081" y="15875"/>
                  <a:pt x="13097" y="12701"/>
                </a:cubicBezTo>
                <a:cubicBezTo>
                  <a:pt x="11112" y="11113"/>
                  <a:pt x="15081" y="11113"/>
                  <a:pt x="15081" y="11113"/>
                </a:cubicBezTo>
                <a:close/>
                <a:moveTo>
                  <a:pt x="4234" y="7938"/>
                </a:moveTo>
                <a:cubicBezTo>
                  <a:pt x="6350" y="10055"/>
                  <a:pt x="0" y="14288"/>
                  <a:pt x="0" y="12172"/>
                </a:cubicBezTo>
                <a:cubicBezTo>
                  <a:pt x="0" y="7938"/>
                  <a:pt x="4234" y="7938"/>
                  <a:pt x="4234" y="7938"/>
                </a:cubicBezTo>
                <a:close/>
                <a:moveTo>
                  <a:pt x="6350" y="6351"/>
                </a:moveTo>
                <a:cubicBezTo>
                  <a:pt x="6350" y="4763"/>
                  <a:pt x="8732" y="6351"/>
                  <a:pt x="8732" y="6351"/>
                </a:cubicBezTo>
                <a:cubicBezTo>
                  <a:pt x="11113" y="7938"/>
                  <a:pt x="6350" y="7938"/>
                  <a:pt x="6350" y="6351"/>
                </a:cubicBezTo>
                <a:close/>
                <a:moveTo>
                  <a:pt x="10054" y="0"/>
                </a:moveTo>
                <a:cubicBezTo>
                  <a:pt x="14287" y="2117"/>
                  <a:pt x="12171" y="6350"/>
                  <a:pt x="10054" y="4234"/>
                </a:cubicBezTo>
                <a:cubicBezTo>
                  <a:pt x="7937" y="0"/>
                  <a:pt x="10054" y="0"/>
                  <a:pt x="10054"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6" name="India"/>
          <p:cNvSpPr>
            <a:spLocks/>
          </p:cNvSpPr>
          <p:nvPr/>
        </p:nvSpPr>
        <p:spPr bwMode="auto">
          <a:xfrm>
            <a:off x="8018397" y="2837478"/>
            <a:ext cx="772929" cy="975365"/>
          </a:xfrm>
          <a:custGeom>
            <a:avLst/>
            <a:gdLst>
              <a:gd name="connsiteX0" fmla="*/ 665580 w 751305"/>
              <a:gd name="connsiteY0" fmla="*/ 933450 h 948078"/>
              <a:gd name="connsiteX1" fmla="*/ 667167 w 751305"/>
              <a:gd name="connsiteY1" fmla="*/ 935831 h 948078"/>
              <a:gd name="connsiteX2" fmla="*/ 663992 w 751305"/>
              <a:gd name="connsiteY2" fmla="*/ 935831 h 948078"/>
              <a:gd name="connsiteX3" fmla="*/ 665580 w 751305"/>
              <a:gd name="connsiteY3" fmla="*/ 933450 h 948078"/>
              <a:gd name="connsiteX4" fmla="*/ 669549 w 751305"/>
              <a:gd name="connsiteY4" fmla="*/ 919956 h 948078"/>
              <a:gd name="connsiteX5" fmla="*/ 671930 w 751305"/>
              <a:gd name="connsiteY5" fmla="*/ 919956 h 948078"/>
              <a:gd name="connsiteX6" fmla="*/ 669549 w 751305"/>
              <a:gd name="connsiteY6" fmla="*/ 922337 h 948078"/>
              <a:gd name="connsiteX7" fmla="*/ 669549 w 751305"/>
              <a:gd name="connsiteY7" fmla="*/ 919956 h 948078"/>
              <a:gd name="connsiteX8" fmla="*/ 147261 w 751305"/>
              <a:gd name="connsiteY8" fmla="*/ 882650 h 948078"/>
              <a:gd name="connsiteX9" fmla="*/ 147261 w 751305"/>
              <a:gd name="connsiteY9" fmla="*/ 885825 h 948078"/>
              <a:gd name="connsiteX10" fmla="*/ 147261 w 751305"/>
              <a:gd name="connsiteY10" fmla="*/ 882650 h 948078"/>
              <a:gd name="connsiteX11" fmla="*/ 126623 w 751305"/>
              <a:gd name="connsiteY11" fmla="*/ 871538 h 948078"/>
              <a:gd name="connsiteX12" fmla="*/ 124639 w 751305"/>
              <a:gd name="connsiteY12" fmla="*/ 873655 h 948078"/>
              <a:gd name="connsiteX13" fmla="*/ 126623 w 751305"/>
              <a:gd name="connsiteY13" fmla="*/ 871538 h 948078"/>
              <a:gd name="connsiteX14" fmla="*/ 135355 w 751305"/>
              <a:gd name="connsiteY14" fmla="*/ 858838 h 948078"/>
              <a:gd name="connsiteX15" fmla="*/ 133767 w 751305"/>
              <a:gd name="connsiteY15" fmla="*/ 860425 h 948078"/>
              <a:gd name="connsiteX16" fmla="*/ 135355 w 751305"/>
              <a:gd name="connsiteY16" fmla="*/ 858838 h 948078"/>
              <a:gd name="connsiteX17" fmla="*/ 640339 w 751305"/>
              <a:gd name="connsiteY17" fmla="*/ 851446 h 948078"/>
              <a:gd name="connsiteX18" fmla="*/ 641767 w 751305"/>
              <a:gd name="connsiteY18" fmla="*/ 853678 h 948078"/>
              <a:gd name="connsiteX19" fmla="*/ 639862 w 751305"/>
              <a:gd name="connsiteY19" fmla="*/ 859631 h 948078"/>
              <a:gd name="connsiteX20" fmla="*/ 636052 w 751305"/>
              <a:gd name="connsiteY20" fmla="*/ 853678 h 948078"/>
              <a:gd name="connsiteX21" fmla="*/ 640339 w 751305"/>
              <a:gd name="connsiteY21" fmla="*/ 851446 h 948078"/>
              <a:gd name="connsiteX22" fmla="*/ 129534 w 751305"/>
              <a:gd name="connsiteY22" fmla="*/ 839787 h 948078"/>
              <a:gd name="connsiteX23" fmla="*/ 131651 w 751305"/>
              <a:gd name="connsiteY23" fmla="*/ 840317 h 948078"/>
              <a:gd name="connsiteX24" fmla="*/ 127417 w 751305"/>
              <a:gd name="connsiteY24" fmla="*/ 842433 h 948078"/>
              <a:gd name="connsiteX25" fmla="*/ 129534 w 751305"/>
              <a:gd name="connsiteY25" fmla="*/ 839787 h 948078"/>
              <a:gd name="connsiteX26" fmla="*/ 642859 w 751305"/>
              <a:gd name="connsiteY26" fmla="*/ 813494 h 948078"/>
              <a:gd name="connsiteX27" fmla="*/ 643355 w 751305"/>
              <a:gd name="connsiteY27" fmla="*/ 815816 h 948078"/>
              <a:gd name="connsiteX28" fmla="*/ 643355 w 751305"/>
              <a:gd name="connsiteY28" fmla="*/ 826134 h 948078"/>
              <a:gd name="connsiteX29" fmla="*/ 639386 w 751305"/>
              <a:gd name="connsiteY29" fmla="*/ 826134 h 948078"/>
              <a:gd name="connsiteX30" fmla="*/ 639386 w 751305"/>
              <a:gd name="connsiteY30" fmla="*/ 815816 h 948078"/>
              <a:gd name="connsiteX31" fmla="*/ 642859 w 751305"/>
              <a:gd name="connsiteY31" fmla="*/ 813494 h 948078"/>
              <a:gd name="connsiteX32" fmla="*/ 671930 w 751305"/>
              <a:gd name="connsiteY32" fmla="*/ 800417 h 948078"/>
              <a:gd name="connsiteX33" fmla="*/ 675105 w 751305"/>
              <a:gd name="connsiteY33" fmla="*/ 804227 h 948078"/>
              <a:gd name="connsiteX34" fmla="*/ 671930 w 751305"/>
              <a:gd name="connsiteY34" fmla="*/ 804227 h 948078"/>
              <a:gd name="connsiteX35" fmla="*/ 671930 w 751305"/>
              <a:gd name="connsiteY35" fmla="*/ 800417 h 948078"/>
              <a:gd name="connsiteX36" fmla="*/ 646610 w 751305"/>
              <a:gd name="connsiteY36" fmla="*/ 787360 h 948078"/>
              <a:gd name="connsiteX37" fmla="*/ 647800 w 751305"/>
              <a:gd name="connsiteY37" fmla="*/ 787876 h 948078"/>
              <a:gd name="connsiteX38" fmla="*/ 647800 w 751305"/>
              <a:gd name="connsiteY38" fmla="*/ 798194 h 948078"/>
              <a:gd name="connsiteX39" fmla="*/ 643990 w 751305"/>
              <a:gd name="connsiteY39" fmla="*/ 804385 h 948078"/>
              <a:gd name="connsiteX40" fmla="*/ 640180 w 751305"/>
              <a:gd name="connsiteY40" fmla="*/ 800258 h 948078"/>
              <a:gd name="connsiteX41" fmla="*/ 643990 w 751305"/>
              <a:gd name="connsiteY41" fmla="*/ 789939 h 948078"/>
              <a:gd name="connsiteX42" fmla="*/ 646610 w 751305"/>
              <a:gd name="connsiteY42" fmla="*/ 787360 h 948078"/>
              <a:gd name="connsiteX43" fmla="*/ 647482 w 751305"/>
              <a:gd name="connsiteY43" fmla="*/ 768350 h 948078"/>
              <a:gd name="connsiteX44" fmla="*/ 649387 w 751305"/>
              <a:gd name="connsiteY44" fmla="*/ 774171 h 948078"/>
              <a:gd name="connsiteX45" fmla="*/ 645577 w 751305"/>
              <a:gd name="connsiteY45" fmla="*/ 783872 h 948078"/>
              <a:gd name="connsiteX46" fmla="*/ 641767 w 751305"/>
              <a:gd name="connsiteY46" fmla="*/ 776111 h 948078"/>
              <a:gd name="connsiteX47" fmla="*/ 647482 w 751305"/>
              <a:gd name="connsiteY47" fmla="*/ 768350 h 948078"/>
              <a:gd name="connsiteX48" fmla="*/ 679074 w 751305"/>
              <a:gd name="connsiteY48" fmla="*/ 763488 h 948078"/>
              <a:gd name="connsiteX49" fmla="*/ 679868 w 751305"/>
              <a:gd name="connsiteY49" fmla="*/ 763984 h 948078"/>
              <a:gd name="connsiteX50" fmla="*/ 681455 w 751305"/>
              <a:gd name="connsiteY50" fmla="*/ 765968 h 948078"/>
              <a:gd name="connsiteX51" fmla="*/ 678280 w 751305"/>
              <a:gd name="connsiteY51" fmla="*/ 765968 h 948078"/>
              <a:gd name="connsiteX52" fmla="*/ 679074 w 751305"/>
              <a:gd name="connsiteY52" fmla="*/ 763488 h 948078"/>
              <a:gd name="connsiteX53" fmla="*/ 144535 w 751305"/>
              <a:gd name="connsiteY53" fmla="*/ 0 h 948078"/>
              <a:gd name="connsiteX54" fmla="*/ 148527 w 751305"/>
              <a:gd name="connsiteY54" fmla="*/ 1994 h 948078"/>
              <a:gd name="connsiteX55" fmla="*/ 156511 w 751305"/>
              <a:gd name="connsiteY55" fmla="*/ 3989 h 948078"/>
              <a:gd name="connsiteX56" fmla="*/ 160503 w 751305"/>
              <a:gd name="connsiteY56" fmla="*/ 1994 h 948078"/>
              <a:gd name="connsiteX57" fmla="*/ 170482 w 751305"/>
              <a:gd name="connsiteY57" fmla="*/ 7977 h 948078"/>
              <a:gd name="connsiteX58" fmla="*/ 174474 w 751305"/>
              <a:gd name="connsiteY58" fmla="*/ 13961 h 948078"/>
              <a:gd name="connsiteX59" fmla="*/ 182458 w 751305"/>
              <a:gd name="connsiteY59" fmla="*/ 21938 h 948078"/>
              <a:gd name="connsiteX60" fmla="*/ 192438 w 751305"/>
              <a:gd name="connsiteY60" fmla="*/ 25927 h 948078"/>
              <a:gd name="connsiteX61" fmla="*/ 200422 w 751305"/>
              <a:gd name="connsiteY61" fmla="*/ 31910 h 948078"/>
              <a:gd name="connsiteX62" fmla="*/ 204414 w 751305"/>
              <a:gd name="connsiteY62" fmla="*/ 35899 h 948078"/>
              <a:gd name="connsiteX63" fmla="*/ 206410 w 751305"/>
              <a:gd name="connsiteY63" fmla="*/ 39887 h 948078"/>
              <a:gd name="connsiteX64" fmla="*/ 212397 w 751305"/>
              <a:gd name="connsiteY64" fmla="*/ 43876 h 948078"/>
              <a:gd name="connsiteX65" fmla="*/ 218385 w 751305"/>
              <a:gd name="connsiteY65" fmla="*/ 45871 h 948078"/>
              <a:gd name="connsiteX66" fmla="*/ 224373 w 751305"/>
              <a:gd name="connsiteY66" fmla="*/ 45871 h 948078"/>
              <a:gd name="connsiteX67" fmla="*/ 224373 w 751305"/>
              <a:gd name="connsiteY67" fmla="*/ 51854 h 948078"/>
              <a:gd name="connsiteX68" fmla="*/ 226369 w 751305"/>
              <a:gd name="connsiteY68" fmla="*/ 55843 h 948078"/>
              <a:gd name="connsiteX69" fmla="*/ 234353 w 751305"/>
              <a:gd name="connsiteY69" fmla="*/ 51854 h 948078"/>
              <a:gd name="connsiteX70" fmla="*/ 244333 w 751305"/>
              <a:gd name="connsiteY70" fmla="*/ 49859 h 948078"/>
              <a:gd name="connsiteX71" fmla="*/ 250321 w 751305"/>
              <a:gd name="connsiteY71" fmla="*/ 43876 h 948078"/>
              <a:gd name="connsiteX72" fmla="*/ 260300 w 751305"/>
              <a:gd name="connsiteY72" fmla="*/ 39887 h 948078"/>
              <a:gd name="connsiteX73" fmla="*/ 266288 w 751305"/>
              <a:gd name="connsiteY73" fmla="*/ 37893 h 948078"/>
              <a:gd name="connsiteX74" fmla="*/ 268284 w 751305"/>
              <a:gd name="connsiteY74" fmla="*/ 31910 h 948078"/>
              <a:gd name="connsiteX75" fmla="*/ 276268 w 751305"/>
              <a:gd name="connsiteY75" fmla="*/ 35899 h 948078"/>
              <a:gd name="connsiteX76" fmla="*/ 280260 w 751305"/>
              <a:gd name="connsiteY76" fmla="*/ 39887 h 948078"/>
              <a:gd name="connsiteX77" fmla="*/ 288244 w 751305"/>
              <a:gd name="connsiteY77" fmla="*/ 41882 h 948078"/>
              <a:gd name="connsiteX78" fmla="*/ 292236 w 751305"/>
              <a:gd name="connsiteY78" fmla="*/ 45871 h 948078"/>
              <a:gd name="connsiteX79" fmla="*/ 296228 w 751305"/>
              <a:gd name="connsiteY79" fmla="*/ 61826 h 948078"/>
              <a:gd name="connsiteX80" fmla="*/ 298223 w 751305"/>
              <a:gd name="connsiteY80" fmla="*/ 73792 h 948078"/>
              <a:gd name="connsiteX81" fmla="*/ 294232 w 751305"/>
              <a:gd name="connsiteY81" fmla="*/ 81769 h 948078"/>
              <a:gd name="connsiteX82" fmla="*/ 286248 w 751305"/>
              <a:gd name="connsiteY82" fmla="*/ 89747 h 948078"/>
              <a:gd name="connsiteX83" fmla="*/ 282256 w 751305"/>
              <a:gd name="connsiteY83" fmla="*/ 93736 h 948078"/>
              <a:gd name="connsiteX84" fmla="*/ 278264 w 751305"/>
              <a:gd name="connsiteY84" fmla="*/ 93736 h 948078"/>
              <a:gd name="connsiteX85" fmla="*/ 278264 w 751305"/>
              <a:gd name="connsiteY85" fmla="*/ 103708 h 948078"/>
              <a:gd name="connsiteX86" fmla="*/ 272276 w 751305"/>
              <a:gd name="connsiteY86" fmla="*/ 105702 h 948078"/>
              <a:gd name="connsiteX87" fmla="*/ 264292 w 751305"/>
              <a:gd name="connsiteY87" fmla="*/ 105702 h 948078"/>
              <a:gd name="connsiteX88" fmla="*/ 266288 w 751305"/>
              <a:gd name="connsiteY88" fmla="*/ 111685 h 948078"/>
              <a:gd name="connsiteX89" fmla="*/ 268284 w 751305"/>
              <a:gd name="connsiteY89" fmla="*/ 113680 h 948078"/>
              <a:gd name="connsiteX90" fmla="*/ 266288 w 751305"/>
              <a:gd name="connsiteY90" fmla="*/ 121657 h 948078"/>
              <a:gd name="connsiteX91" fmla="*/ 270280 w 751305"/>
              <a:gd name="connsiteY91" fmla="*/ 127640 h 948078"/>
              <a:gd name="connsiteX92" fmla="*/ 280260 w 751305"/>
              <a:gd name="connsiteY92" fmla="*/ 129635 h 948078"/>
              <a:gd name="connsiteX93" fmla="*/ 282256 w 751305"/>
              <a:gd name="connsiteY93" fmla="*/ 139606 h 948078"/>
              <a:gd name="connsiteX94" fmla="*/ 282256 w 751305"/>
              <a:gd name="connsiteY94" fmla="*/ 145590 h 948078"/>
              <a:gd name="connsiteX95" fmla="*/ 286248 w 751305"/>
              <a:gd name="connsiteY95" fmla="*/ 151573 h 948078"/>
              <a:gd name="connsiteX96" fmla="*/ 282256 w 751305"/>
              <a:gd name="connsiteY96" fmla="*/ 153567 h 948078"/>
              <a:gd name="connsiteX97" fmla="*/ 276268 w 751305"/>
              <a:gd name="connsiteY97" fmla="*/ 153567 h 948078"/>
              <a:gd name="connsiteX98" fmla="*/ 272276 w 751305"/>
              <a:gd name="connsiteY98" fmla="*/ 155562 h 948078"/>
              <a:gd name="connsiteX99" fmla="*/ 272276 w 751305"/>
              <a:gd name="connsiteY99" fmla="*/ 159550 h 948078"/>
              <a:gd name="connsiteX100" fmla="*/ 268284 w 751305"/>
              <a:gd name="connsiteY100" fmla="*/ 161545 h 948078"/>
              <a:gd name="connsiteX101" fmla="*/ 266288 w 751305"/>
              <a:gd name="connsiteY101" fmla="*/ 163539 h 948078"/>
              <a:gd name="connsiteX102" fmla="*/ 262296 w 751305"/>
              <a:gd name="connsiteY102" fmla="*/ 159550 h 948078"/>
              <a:gd name="connsiteX103" fmla="*/ 260300 w 751305"/>
              <a:gd name="connsiteY103" fmla="*/ 157556 h 948078"/>
              <a:gd name="connsiteX104" fmla="*/ 258304 w 751305"/>
              <a:gd name="connsiteY104" fmla="*/ 163539 h 948078"/>
              <a:gd name="connsiteX105" fmla="*/ 262296 w 751305"/>
              <a:gd name="connsiteY105" fmla="*/ 169522 h 948078"/>
              <a:gd name="connsiteX106" fmla="*/ 264292 w 751305"/>
              <a:gd name="connsiteY106" fmla="*/ 177500 h 948078"/>
              <a:gd name="connsiteX107" fmla="*/ 262296 w 751305"/>
              <a:gd name="connsiteY107" fmla="*/ 185477 h 948078"/>
              <a:gd name="connsiteX108" fmla="*/ 264292 w 751305"/>
              <a:gd name="connsiteY108" fmla="*/ 195449 h 948078"/>
              <a:gd name="connsiteX109" fmla="*/ 266288 w 751305"/>
              <a:gd name="connsiteY109" fmla="*/ 199438 h 948078"/>
              <a:gd name="connsiteX110" fmla="*/ 270280 w 751305"/>
              <a:gd name="connsiteY110" fmla="*/ 201432 h 948078"/>
              <a:gd name="connsiteX111" fmla="*/ 280260 w 751305"/>
              <a:gd name="connsiteY111" fmla="*/ 201432 h 948078"/>
              <a:gd name="connsiteX112" fmla="*/ 284252 w 751305"/>
              <a:gd name="connsiteY112" fmla="*/ 209410 h 948078"/>
              <a:gd name="connsiteX113" fmla="*/ 294232 w 751305"/>
              <a:gd name="connsiteY113" fmla="*/ 211404 h 948078"/>
              <a:gd name="connsiteX114" fmla="*/ 300219 w 751305"/>
              <a:gd name="connsiteY114" fmla="*/ 219382 h 948078"/>
              <a:gd name="connsiteX115" fmla="*/ 306207 w 751305"/>
              <a:gd name="connsiteY115" fmla="*/ 225365 h 948078"/>
              <a:gd name="connsiteX116" fmla="*/ 314191 w 751305"/>
              <a:gd name="connsiteY116" fmla="*/ 229354 h 948078"/>
              <a:gd name="connsiteX117" fmla="*/ 322175 w 751305"/>
              <a:gd name="connsiteY117" fmla="*/ 235337 h 948078"/>
              <a:gd name="connsiteX118" fmla="*/ 326167 w 751305"/>
              <a:gd name="connsiteY118" fmla="*/ 241320 h 948078"/>
              <a:gd name="connsiteX119" fmla="*/ 320179 w 751305"/>
              <a:gd name="connsiteY119" fmla="*/ 241320 h 948078"/>
              <a:gd name="connsiteX120" fmla="*/ 312195 w 751305"/>
              <a:gd name="connsiteY120" fmla="*/ 245309 h 948078"/>
              <a:gd name="connsiteX121" fmla="*/ 306207 w 751305"/>
              <a:gd name="connsiteY121" fmla="*/ 249297 h 948078"/>
              <a:gd name="connsiteX122" fmla="*/ 302215 w 751305"/>
              <a:gd name="connsiteY122" fmla="*/ 263258 h 948078"/>
              <a:gd name="connsiteX123" fmla="*/ 302215 w 751305"/>
              <a:gd name="connsiteY123" fmla="*/ 273230 h 948078"/>
              <a:gd name="connsiteX124" fmla="*/ 298223 w 751305"/>
              <a:gd name="connsiteY124" fmla="*/ 281207 h 948078"/>
              <a:gd name="connsiteX125" fmla="*/ 306207 w 751305"/>
              <a:gd name="connsiteY125" fmla="*/ 285196 h 948078"/>
              <a:gd name="connsiteX126" fmla="*/ 316187 w 751305"/>
              <a:gd name="connsiteY126" fmla="*/ 289185 h 948078"/>
              <a:gd name="connsiteX127" fmla="*/ 328163 w 751305"/>
              <a:gd name="connsiteY127" fmla="*/ 293174 h 948078"/>
              <a:gd name="connsiteX128" fmla="*/ 334151 w 751305"/>
              <a:gd name="connsiteY128" fmla="*/ 297163 h 948078"/>
              <a:gd name="connsiteX129" fmla="*/ 340139 w 751305"/>
              <a:gd name="connsiteY129" fmla="*/ 307134 h 948078"/>
              <a:gd name="connsiteX130" fmla="*/ 346126 w 751305"/>
              <a:gd name="connsiteY130" fmla="*/ 309129 h 948078"/>
              <a:gd name="connsiteX131" fmla="*/ 356106 w 751305"/>
              <a:gd name="connsiteY131" fmla="*/ 311123 h 948078"/>
              <a:gd name="connsiteX132" fmla="*/ 362094 w 751305"/>
              <a:gd name="connsiteY132" fmla="*/ 315112 h 948078"/>
              <a:gd name="connsiteX133" fmla="*/ 368082 w 751305"/>
              <a:gd name="connsiteY133" fmla="*/ 315112 h 948078"/>
              <a:gd name="connsiteX134" fmla="*/ 374070 w 751305"/>
              <a:gd name="connsiteY134" fmla="*/ 321095 h 948078"/>
              <a:gd name="connsiteX135" fmla="*/ 380058 w 751305"/>
              <a:gd name="connsiteY135" fmla="*/ 327078 h 948078"/>
              <a:gd name="connsiteX136" fmla="*/ 388041 w 751305"/>
              <a:gd name="connsiteY136" fmla="*/ 327078 h 948078"/>
              <a:gd name="connsiteX137" fmla="*/ 398021 w 751305"/>
              <a:gd name="connsiteY137" fmla="*/ 325084 h 948078"/>
              <a:gd name="connsiteX138" fmla="*/ 402013 w 751305"/>
              <a:gd name="connsiteY138" fmla="*/ 327078 h 948078"/>
              <a:gd name="connsiteX139" fmla="*/ 409997 w 751305"/>
              <a:gd name="connsiteY139" fmla="*/ 323089 h 948078"/>
              <a:gd name="connsiteX140" fmla="*/ 415985 w 751305"/>
              <a:gd name="connsiteY140" fmla="*/ 327078 h 948078"/>
              <a:gd name="connsiteX141" fmla="*/ 419977 w 751305"/>
              <a:gd name="connsiteY141" fmla="*/ 337050 h 948078"/>
              <a:gd name="connsiteX142" fmla="*/ 429956 w 751305"/>
              <a:gd name="connsiteY142" fmla="*/ 339045 h 948078"/>
              <a:gd name="connsiteX143" fmla="*/ 443928 w 751305"/>
              <a:gd name="connsiteY143" fmla="*/ 341039 h 948078"/>
              <a:gd name="connsiteX144" fmla="*/ 453908 w 751305"/>
              <a:gd name="connsiteY144" fmla="*/ 349016 h 948078"/>
              <a:gd name="connsiteX145" fmla="*/ 463888 w 751305"/>
              <a:gd name="connsiteY145" fmla="*/ 349016 h 948078"/>
              <a:gd name="connsiteX146" fmla="*/ 469876 w 751305"/>
              <a:gd name="connsiteY146" fmla="*/ 353005 h 948078"/>
              <a:gd name="connsiteX147" fmla="*/ 481851 w 751305"/>
              <a:gd name="connsiteY147" fmla="*/ 349016 h 948078"/>
              <a:gd name="connsiteX148" fmla="*/ 489835 w 751305"/>
              <a:gd name="connsiteY148" fmla="*/ 351011 h 948078"/>
              <a:gd name="connsiteX149" fmla="*/ 499815 w 751305"/>
              <a:gd name="connsiteY149" fmla="*/ 351011 h 948078"/>
              <a:gd name="connsiteX150" fmla="*/ 505803 w 751305"/>
              <a:gd name="connsiteY150" fmla="*/ 353005 h 948078"/>
              <a:gd name="connsiteX151" fmla="*/ 507799 w 751305"/>
              <a:gd name="connsiteY151" fmla="*/ 349016 h 948078"/>
              <a:gd name="connsiteX152" fmla="*/ 507799 w 751305"/>
              <a:gd name="connsiteY152" fmla="*/ 341039 h 948078"/>
              <a:gd name="connsiteX153" fmla="*/ 505803 w 751305"/>
              <a:gd name="connsiteY153" fmla="*/ 325084 h 948078"/>
              <a:gd name="connsiteX154" fmla="*/ 505803 w 751305"/>
              <a:gd name="connsiteY154" fmla="*/ 317106 h 948078"/>
              <a:gd name="connsiteX155" fmla="*/ 503807 w 751305"/>
              <a:gd name="connsiteY155" fmla="*/ 311123 h 948078"/>
              <a:gd name="connsiteX156" fmla="*/ 513787 w 751305"/>
              <a:gd name="connsiteY156" fmla="*/ 305140 h 948078"/>
              <a:gd name="connsiteX157" fmla="*/ 519774 w 751305"/>
              <a:gd name="connsiteY157" fmla="*/ 301151 h 948078"/>
              <a:gd name="connsiteX158" fmla="*/ 523766 w 751305"/>
              <a:gd name="connsiteY158" fmla="*/ 305140 h 948078"/>
              <a:gd name="connsiteX159" fmla="*/ 525762 w 751305"/>
              <a:gd name="connsiteY159" fmla="*/ 313118 h 948078"/>
              <a:gd name="connsiteX160" fmla="*/ 527758 w 751305"/>
              <a:gd name="connsiteY160" fmla="*/ 319101 h 948078"/>
              <a:gd name="connsiteX161" fmla="*/ 523766 w 751305"/>
              <a:gd name="connsiteY161" fmla="*/ 327078 h 948078"/>
              <a:gd name="connsiteX162" fmla="*/ 527758 w 751305"/>
              <a:gd name="connsiteY162" fmla="*/ 333061 h 948078"/>
              <a:gd name="connsiteX163" fmla="*/ 537738 w 751305"/>
              <a:gd name="connsiteY163" fmla="*/ 335056 h 948078"/>
              <a:gd name="connsiteX164" fmla="*/ 545722 w 751305"/>
              <a:gd name="connsiteY164" fmla="*/ 335056 h 948078"/>
              <a:gd name="connsiteX165" fmla="*/ 553706 w 751305"/>
              <a:gd name="connsiteY165" fmla="*/ 337050 h 948078"/>
              <a:gd name="connsiteX166" fmla="*/ 559694 w 751305"/>
              <a:gd name="connsiteY166" fmla="*/ 335056 h 948078"/>
              <a:gd name="connsiteX167" fmla="*/ 569673 w 751305"/>
              <a:gd name="connsiteY167" fmla="*/ 337050 h 948078"/>
              <a:gd name="connsiteX168" fmla="*/ 575661 w 751305"/>
              <a:gd name="connsiteY168" fmla="*/ 337050 h 948078"/>
              <a:gd name="connsiteX169" fmla="*/ 581649 w 751305"/>
              <a:gd name="connsiteY169" fmla="*/ 335056 h 948078"/>
              <a:gd name="connsiteX170" fmla="*/ 587637 w 751305"/>
              <a:gd name="connsiteY170" fmla="*/ 333061 h 948078"/>
              <a:gd name="connsiteX171" fmla="*/ 597617 w 751305"/>
              <a:gd name="connsiteY171" fmla="*/ 335056 h 948078"/>
              <a:gd name="connsiteX172" fmla="*/ 601609 w 751305"/>
              <a:gd name="connsiteY172" fmla="*/ 335056 h 948078"/>
              <a:gd name="connsiteX173" fmla="*/ 609592 w 751305"/>
              <a:gd name="connsiteY173" fmla="*/ 335056 h 948078"/>
              <a:gd name="connsiteX174" fmla="*/ 609592 w 751305"/>
              <a:gd name="connsiteY174" fmla="*/ 327078 h 948078"/>
              <a:gd name="connsiteX175" fmla="*/ 609592 w 751305"/>
              <a:gd name="connsiteY175" fmla="*/ 319101 h 948078"/>
              <a:gd name="connsiteX176" fmla="*/ 605601 w 751305"/>
              <a:gd name="connsiteY176" fmla="*/ 315112 h 948078"/>
              <a:gd name="connsiteX177" fmla="*/ 597617 w 751305"/>
              <a:gd name="connsiteY177" fmla="*/ 311123 h 948078"/>
              <a:gd name="connsiteX178" fmla="*/ 593625 w 751305"/>
              <a:gd name="connsiteY178" fmla="*/ 305140 h 948078"/>
              <a:gd name="connsiteX179" fmla="*/ 603605 w 751305"/>
              <a:gd name="connsiteY179" fmla="*/ 305140 h 948078"/>
              <a:gd name="connsiteX180" fmla="*/ 615580 w 751305"/>
              <a:gd name="connsiteY180" fmla="*/ 307134 h 948078"/>
              <a:gd name="connsiteX181" fmla="*/ 621568 w 751305"/>
              <a:gd name="connsiteY181" fmla="*/ 303146 h 948078"/>
              <a:gd name="connsiteX182" fmla="*/ 623564 w 751305"/>
              <a:gd name="connsiteY182" fmla="*/ 297163 h 948078"/>
              <a:gd name="connsiteX183" fmla="*/ 625560 w 751305"/>
              <a:gd name="connsiteY183" fmla="*/ 293174 h 948078"/>
              <a:gd name="connsiteX184" fmla="*/ 629552 w 751305"/>
              <a:gd name="connsiteY184" fmla="*/ 291179 h 948078"/>
              <a:gd name="connsiteX185" fmla="*/ 639532 w 751305"/>
              <a:gd name="connsiteY185" fmla="*/ 289185 h 948078"/>
              <a:gd name="connsiteX186" fmla="*/ 641528 w 751305"/>
              <a:gd name="connsiteY186" fmla="*/ 283202 h 948078"/>
              <a:gd name="connsiteX187" fmla="*/ 645520 w 751305"/>
              <a:gd name="connsiteY187" fmla="*/ 281207 h 948078"/>
              <a:gd name="connsiteX188" fmla="*/ 651507 w 751305"/>
              <a:gd name="connsiteY188" fmla="*/ 279213 h 948078"/>
              <a:gd name="connsiteX189" fmla="*/ 655499 w 751305"/>
              <a:gd name="connsiteY189" fmla="*/ 277219 h 948078"/>
              <a:gd name="connsiteX190" fmla="*/ 659491 w 751305"/>
              <a:gd name="connsiteY190" fmla="*/ 275224 h 948078"/>
              <a:gd name="connsiteX191" fmla="*/ 663483 w 751305"/>
              <a:gd name="connsiteY191" fmla="*/ 271236 h 948078"/>
              <a:gd name="connsiteX192" fmla="*/ 667475 w 751305"/>
              <a:gd name="connsiteY192" fmla="*/ 267247 h 948078"/>
              <a:gd name="connsiteX193" fmla="*/ 669471 w 751305"/>
              <a:gd name="connsiteY193" fmla="*/ 263258 h 948078"/>
              <a:gd name="connsiteX194" fmla="*/ 673463 w 751305"/>
              <a:gd name="connsiteY194" fmla="*/ 259269 h 948078"/>
              <a:gd name="connsiteX195" fmla="*/ 677455 w 751305"/>
              <a:gd name="connsiteY195" fmla="*/ 261264 h 948078"/>
              <a:gd name="connsiteX196" fmla="*/ 683443 w 751305"/>
              <a:gd name="connsiteY196" fmla="*/ 263258 h 948078"/>
              <a:gd name="connsiteX197" fmla="*/ 687435 w 751305"/>
              <a:gd name="connsiteY197" fmla="*/ 265252 h 948078"/>
              <a:gd name="connsiteX198" fmla="*/ 691427 w 751305"/>
              <a:gd name="connsiteY198" fmla="*/ 265252 h 948078"/>
              <a:gd name="connsiteX199" fmla="*/ 695418 w 751305"/>
              <a:gd name="connsiteY199" fmla="*/ 265252 h 948078"/>
              <a:gd name="connsiteX200" fmla="*/ 699410 w 751305"/>
              <a:gd name="connsiteY200" fmla="*/ 261264 h 948078"/>
              <a:gd name="connsiteX201" fmla="*/ 705398 w 751305"/>
              <a:gd name="connsiteY201" fmla="*/ 257275 h 948078"/>
              <a:gd name="connsiteX202" fmla="*/ 709390 w 751305"/>
              <a:gd name="connsiteY202" fmla="*/ 257275 h 948078"/>
              <a:gd name="connsiteX203" fmla="*/ 717374 w 751305"/>
              <a:gd name="connsiteY203" fmla="*/ 257275 h 948078"/>
              <a:gd name="connsiteX204" fmla="*/ 721366 w 751305"/>
              <a:gd name="connsiteY204" fmla="*/ 261264 h 948078"/>
              <a:gd name="connsiteX205" fmla="*/ 719370 w 751305"/>
              <a:gd name="connsiteY205" fmla="*/ 265252 h 948078"/>
              <a:gd name="connsiteX206" fmla="*/ 719370 w 751305"/>
              <a:gd name="connsiteY206" fmla="*/ 269241 h 948078"/>
              <a:gd name="connsiteX207" fmla="*/ 725358 w 751305"/>
              <a:gd name="connsiteY207" fmla="*/ 269241 h 948078"/>
              <a:gd name="connsiteX208" fmla="*/ 727354 w 751305"/>
              <a:gd name="connsiteY208" fmla="*/ 273230 h 948078"/>
              <a:gd name="connsiteX209" fmla="*/ 727354 w 751305"/>
              <a:gd name="connsiteY209" fmla="*/ 275224 h 948078"/>
              <a:gd name="connsiteX210" fmla="*/ 729350 w 751305"/>
              <a:gd name="connsiteY210" fmla="*/ 277219 h 948078"/>
              <a:gd name="connsiteX211" fmla="*/ 725358 w 751305"/>
              <a:gd name="connsiteY211" fmla="*/ 281207 h 948078"/>
              <a:gd name="connsiteX212" fmla="*/ 727354 w 751305"/>
              <a:gd name="connsiteY212" fmla="*/ 287191 h 948078"/>
              <a:gd name="connsiteX213" fmla="*/ 731346 w 751305"/>
              <a:gd name="connsiteY213" fmla="*/ 287191 h 948078"/>
              <a:gd name="connsiteX214" fmla="*/ 735338 w 751305"/>
              <a:gd name="connsiteY214" fmla="*/ 287191 h 948078"/>
              <a:gd name="connsiteX215" fmla="*/ 737334 w 751305"/>
              <a:gd name="connsiteY215" fmla="*/ 289185 h 948078"/>
              <a:gd name="connsiteX216" fmla="*/ 739329 w 751305"/>
              <a:gd name="connsiteY216" fmla="*/ 287191 h 948078"/>
              <a:gd name="connsiteX217" fmla="*/ 741325 w 751305"/>
              <a:gd name="connsiteY217" fmla="*/ 289185 h 948078"/>
              <a:gd name="connsiteX218" fmla="*/ 745317 w 751305"/>
              <a:gd name="connsiteY218" fmla="*/ 289185 h 948078"/>
              <a:gd name="connsiteX219" fmla="*/ 751305 w 751305"/>
              <a:gd name="connsiteY219" fmla="*/ 299157 h 948078"/>
              <a:gd name="connsiteX220" fmla="*/ 747313 w 751305"/>
              <a:gd name="connsiteY220" fmla="*/ 305140 h 948078"/>
              <a:gd name="connsiteX221" fmla="*/ 741325 w 751305"/>
              <a:gd name="connsiteY221" fmla="*/ 313118 h 948078"/>
              <a:gd name="connsiteX222" fmla="*/ 743321 w 751305"/>
              <a:gd name="connsiteY222" fmla="*/ 321095 h 948078"/>
              <a:gd name="connsiteX223" fmla="*/ 739329 w 751305"/>
              <a:gd name="connsiteY223" fmla="*/ 325084 h 948078"/>
              <a:gd name="connsiteX224" fmla="*/ 733342 w 751305"/>
              <a:gd name="connsiteY224" fmla="*/ 323089 h 948078"/>
              <a:gd name="connsiteX225" fmla="*/ 727354 w 751305"/>
              <a:gd name="connsiteY225" fmla="*/ 323089 h 948078"/>
              <a:gd name="connsiteX226" fmla="*/ 721366 w 751305"/>
              <a:gd name="connsiteY226" fmla="*/ 323089 h 948078"/>
              <a:gd name="connsiteX227" fmla="*/ 717374 w 751305"/>
              <a:gd name="connsiteY227" fmla="*/ 327078 h 948078"/>
              <a:gd name="connsiteX228" fmla="*/ 711386 w 751305"/>
              <a:gd name="connsiteY228" fmla="*/ 331067 h 948078"/>
              <a:gd name="connsiteX229" fmla="*/ 711386 w 751305"/>
              <a:gd name="connsiteY229" fmla="*/ 333061 h 948078"/>
              <a:gd name="connsiteX230" fmla="*/ 705398 w 751305"/>
              <a:gd name="connsiteY230" fmla="*/ 337050 h 948078"/>
              <a:gd name="connsiteX231" fmla="*/ 695418 w 751305"/>
              <a:gd name="connsiteY231" fmla="*/ 343033 h 948078"/>
              <a:gd name="connsiteX232" fmla="*/ 691427 w 751305"/>
              <a:gd name="connsiteY232" fmla="*/ 349016 h 948078"/>
              <a:gd name="connsiteX233" fmla="*/ 693423 w 751305"/>
              <a:gd name="connsiteY233" fmla="*/ 360983 h 948078"/>
              <a:gd name="connsiteX234" fmla="*/ 695418 w 751305"/>
              <a:gd name="connsiteY234" fmla="*/ 366966 h 948078"/>
              <a:gd name="connsiteX235" fmla="*/ 691427 w 751305"/>
              <a:gd name="connsiteY235" fmla="*/ 376938 h 948078"/>
              <a:gd name="connsiteX236" fmla="*/ 685439 w 751305"/>
              <a:gd name="connsiteY236" fmla="*/ 380926 h 948078"/>
              <a:gd name="connsiteX237" fmla="*/ 681447 w 751305"/>
              <a:gd name="connsiteY237" fmla="*/ 388904 h 948078"/>
              <a:gd name="connsiteX238" fmla="*/ 685439 w 751305"/>
              <a:gd name="connsiteY238" fmla="*/ 394887 h 948078"/>
              <a:gd name="connsiteX239" fmla="*/ 683443 w 751305"/>
              <a:gd name="connsiteY239" fmla="*/ 402865 h 948078"/>
              <a:gd name="connsiteX240" fmla="*/ 679451 w 751305"/>
              <a:gd name="connsiteY240" fmla="*/ 410842 h 948078"/>
              <a:gd name="connsiteX241" fmla="*/ 675459 w 751305"/>
              <a:gd name="connsiteY241" fmla="*/ 416825 h 948078"/>
              <a:gd name="connsiteX242" fmla="*/ 675459 w 751305"/>
              <a:gd name="connsiteY242" fmla="*/ 424803 h 948078"/>
              <a:gd name="connsiteX243" fmla="*/ 669471 w 751305"/>
              <a:gd name="connsiteY243" fmla="*/ 428792 h 948078"/>
              <a:gd name="connsiteX244" fmla="*/ 659491 w 751305"/>
              <a:gd name="connsiteY244" fmla="*/ 426797 h 948078"/>
              <a:gd name="connsiteX245" fmla="*/ 647516 w 751305"/>
              <a:gd name="connsiteY245" fmla="*/ 424803 h 948078"/>
              <a:gd name="connsiteX246" fmla="*/ 647516 w 751305"/>
              <a:gd name="connsiteY246" fmla="*/ 430786 h 948078"/>
              <a:gd name="connsiteX247" fmla="*/ 651507 w 751305"/>
              <a:gd name="connsiteY247" fmla="*/ 436769 h 948078"/>
              <a:gd name="connsiteX248" fmla="*/ 651507 w 751305"/>
              <a:gd name="connsiteY248" fmla="*/ 448735 h 948078"/>
              <a:gd name="connsiteX249" fmla="*/ 645520 w 751305"/>
              <a:gd name="connsiteY249" fmla="*/ 456713 h 948078"/>
              <a:gd name="connsiteX250" fmla="*/ 643524 w 751305"/>
              <a:gd name="connsiteY250" fmla="*/ 462696 h 948078"/>
              <a:gd name="connsiteX251" fmla="*/ 645520 w 751305"/>
              <a:gd name="connsiteY251" fmla="*/ 470674 h 948078"/>
              <a:gd name="connsiteX252" fmla="*/ 649512 w 751305"/>
              <a:gd name="connsiteY252" fmla="*/ 486629 h 948078"/>
              <a:gd name="connsiteX253" fmla="*/ 645520 w 751305"/>
              <a:gd name="connsiteY253" fmla="*/ 490617 h 948078"/>
              <a:gd name="connsiteX254" fmla="*/ 643524 w 751305"/>
              <a:gd name="connsiteY254" fmla="*/ 486629 h 948078"/>
              <a:gd name="connsiteX255" fmla="*/ 639532 w 751305"/>
              <a:gd name="connsiteY255" fmla="*/ 484634 h 948078"/>
              <a:gd name="connsiteX256" fmla="*/ 635540 w 751305"/>
              <a:gd name="connsiteY256" fmla="*/ 486629 h 948078"/>
              <a:gd name="connsiteX257" fmla="*/ 631548 w 751305"/>
              <a:gd name="connsiteY257" fmla="*/ 480646 h 948078"/>
              <a:gd name="connsiteX258" fmla="*/ 629552 w 751305"/>
              <a:gd name="connsiteY258" fmla="*/ 472668 h 948078"/>
              <a:gd name="connsiteX259" fmla="*/ 625560 w 751305"/>
              <a:gd name="connsiteY259" fmla="*/ 460702 h 948078"/>
              <a:gd name="connsiteX260" fmla="*/ 623564 w 751305"/>
              <a:gd name="connsiteY260" fmla="*/ 454719 h 948078"/>
              <a:gd name="connsiteX261" fmla="*/ 621568 w 751305"/>
              <a:gd name="connsiteY261" fmla="*/ 444747 h 948078"/>
              <a:gd name="connsiteX262" fmla="*/ 621568 w 751305"/>
              <a:gd name="connsiteY262" fmla="*/ 436769 h 948078"/>
              <a:gd name="connsiteX263" fmla="*/ 615580 w 751305"/>
              <a:gd name="connsiteY263" fmla="*/ 434775 h 948078"/>
              <a:gd name="connsiteX264" fmla="*/ 611588 w 751305"/>
              <a:gd name="connsiteY264" fmla="*/ 436769 h 948078"/>
              <a:gd name="connsiteX265" fmla="*/ 609592 w 751305"/>
              <a:gd name="connsiteY265" fmla="*/ 442752 h 948078"/>
              <a:gd name="connsiteX266" fmla="*/ 609592 w 751305"/>
              <a:gd name="connsiteY266" fmla="*/ 450730 h 948078"/>
              <a:gd name="connsiteX267" fmla="*/ 603605 w 751305"/>
              <a:gd name="connsiteY267" fmla="*/ 454719 h 948078"/>
              <a:gd name="connsiteX268" fmla="*/ 597617 w 751305"/>
              <a:gd name="connsiteY268" fmla="*/ 446741 h 948078"/>
              <a:gd name="connsiteX269" fmla="*/ 593625 w 751305"/>
              <a:gd name="connsiteY269" fmla="*/ 432780 h 948078"/>
              <a:gd name="connsiteX270" fmla="*/ 595621 w 751305"/>
              <a:gd name="connsiteY270" fmla="*/ 422808 h 948078"/>
              <a:gd name="connsiteX271" fmla="*/ 601609 w 751305"/>
              <a:gd name="connsiteY271" fmla="*/ 418820 h 948078"/>
              <a:gd name="connsiteX272" fmla="*/ 609592 w 751305"/>
              <a:gd name="connsiteY272" fmla="*/ 418820 h 948078"/>
              <a:gd name="connsiteX273" fmla="*/ 613584 w 751305"/>
              <a:gd name="connsiteY273" fmla="*/ 416825 h 948078"/>
              <a:gd name="connsiteX274" fmla="*/ 613584 w 751305"/>
              <a:gd name="connsiteY274" fmla="*/ 410842 h 948078"/>
              <a:gd name="connsiteX275" fmla="*/ 619572 w 751305"/>
              <a:gd name="connsiteY275" fmla="*/ 404859 h 948078"/>
              <a:gd name="connsiteX276" fmla="*/ 619572 w 751305"/>
              <a:gd name="connsiteY276" fmla="*/ 400870 h 948078"/>
              <a:gd name="connsiteX277" fmla="*/ 623564 w 751305"/>
              <a:gd name="connsiteY277" fmla="*/ 396882 h 948078"/>
              <a:gd name="connsiteX278" fmla="*/ 619572 w 751305"/>
              <a:gd name="connsiteY278" fmla="*/ 392893 h 948078"/>
              <a:gd name="connsiteX279" fmla="*/ 613584 w 751305"/>
              <a:gd name="connsiteY279" fmla="*/ 390898 h 948078"/>
              <a:gd name="connsiteX280" fmla="*/ 613584 w 751305"/>
              <a:gd name="connsiteY280" fmla="*/ 388904 h 948078"/>
              <a:gd name="connsiteX281" fmla="*/ 607596 w 751305"/>
              <a:gd name="connsiteY281" fmla="*/ 386910 h 948078"/>
              <a:gd name="connsiteX282" fmla="*/ 601609 w 751305"/>
              <a:gd name="connsiteY282" fmla="*/ 386910 h 948078"/>
              <a:gd name="connsiteX283" fmla="*/ 591629 w 751305"/>
              <a:gd name="connsiteY283" fmla="*/ 386910 h 948078"/>
              <a:gd name="connsiteX284" fmla="*/ 583645 w 751305"/>
              <a:gd name="connsiteY284" fmla="*/ 386910 h 948078"/>
              <a:gd name="connsiteX285" fmla="*/ 575661 w 751305"/>
              <a:gd name="connsiteY285" fmla="*/ 386910 h 948078"/>
              <a:gd name="connsiteX286" fmla="*/ 567677 w 751305"/>
              <a:gd name="connsiteY286" fmla="*/ 384915 h 948078"/>
              <a:gd name="connsiteX287" fmla="*/ 559694 w 751305"/>
              <a:gd name="connsiteY287" fmla="*/ 382921 h 948078"/>
              <a:gd name="connsiteX288" fmla="*/ 557698 w 751305"/>
              <a:gd name="connsiteY288" fmla="*/ 378932 h 948078"/>
              <a:gd name="connsiteX289" fmla="*/ 555702 w 751305"/>
              <a:gd name="connsiteY289" fmla="*/ 372949 h 948078"/>
              <a:gd name="connsiteX290" fmla="*/ 553706 w 751305"/>
              <a:gd name="connsiteY290" fmla="*/ 364971 h 948078"/>
              <a:gd name="connsiteX291" fmla="*/ 549714 w 751305"/>
              <a:gd name="connsiteY291" fmla="*/ 358988 h 948078"/>
              <a:gd name="connsiteX292" fmla="*/ 543726 w 751305"/>
              <a:gd name="connsiteY292" fmla="*/ 358988 h 948078"/>
              <a:gd name="connsiteX293" fmla="*/ 539734 w 751305"/>
              <a:gd name="connsiteY293" fmla="*/ 362977 h 948078"/>
              <a:gd name="connsiteX294" fmla="*/ 535742 w 751305"/>
              <a:gd name="connsiteY294" fmla="*/ 360983 h 948078"/>
              <a:gd name="connsiteX295" fmla="*/ 531750 w 751305"/>
              <a:gd name="connsiteY295" fmla="*/ 353005 h 948078"/>
              <a:gd name="connsiteX296" fmla="*/ 527758 w 751305"/>
              <a:gd name="connsiteY296" fmla="*/ 355000 h 948078"/>
              <a:gd name="connsiteX297" fmla="*/ 525762 w 751305"/>
              <a:gd name="connsiteY297" fmla="*/ 360983 h 948078"/>
              <a:gd name="connsiteX298" fmla="*/ 523766 w 751305"/>
              <a:gd name="connsiteY298" fmla="*/ 360983 h 948078"/>
              <a:gd name="connsiteX299" fmla="*/ 515783 w 751305"/>
              <a:gd name="connsiteY299" fmla="*/ 353005 h 948078"/>
              <a:gd name="connsiteX300" fmla="*/ 513787 w 751305"/>
              <a:gd name="connsiteY300" fmla="*/ 355000 h 948078"/>
              <a:gd name="connsiteX301" fmla="*/ 515783 w 751305"/>
              <a:gd name="connsiteY301" fmla="*/ 362977 h 948078"/>
              <a:gd name="connsiteX302" fmla="*/ 513787 w 751305"/>
              <a:gd name="connsiteY302" fmla="*/ 366966 h 948078"/>
              <a:gd name="connsiteX303" fmla="*/ 507799 w 751305"/>
              <a:gd name="connsiteY303" fmla="*/ 370955 h 948078"/>
              <a:gd name="connsiteX304" fmla="*/ 507799 w 751305"/>
              <a:gd name="connsiteY304" fmla="*/ 376938 h 948078"/>
              <a:gd name="connsiteX305" fmla="*/ 515783 w 751305"/>
              <a:gd name="connsiteY305" fmla="*/ 382921 h 948078"/>
              <a:gd name="connsiteX306" fmla="*/ 521770 w 751305"/>
              <a:gd name="connsiteY306" fmla="*/ 386910 h 948078"/>
              <a:gd name="connsiteX307" fmla="*/ 521770 w 751305"/>
              <a:gd name="connsiteY307" fmla="*/ 392893 h 948078"/>
              <a:gd name="connsiteX308" fmla="*/ 513787 w 751305"/>
              <a:gd name="connsiteY308" fmla="*/ 396882 h 948078"/>
              <a:gd name="connsiteX309" fmla="*/ 509795 w 751305"/>
              <a:gd name="connsiteY309" fmla="*/ 402865 h 948078"/>
              <a:gd name="connsiteX310" fmla="*/ 507799 w 751305"/>
              <a:gd name="connsiteY310" fmla="*/ 412837 h 948078"/>
              <a:gd name="connsiteX311" fmla="*/ 507799 w 751305"/>
              <a:gd name="connsiteY311" fmla="*/ 420814 h 948078"/>
              <a:gd name="connsiteX312" fmla="*/ 513787 w 751305"/>
              <a:gd name="connsiteY312" fmla="*/ 424803 h 948078"/>
              <a:gd name="connsiteX313" fmla="*/ 519774 w 751305"/>
              <a:gd name="connsiteY313" fmla="*/ 420814 h 948078"/>
              <a:gd name="connsiteX314" fmla="*/ 521770 w 751305"/>
              <a:gd name="connsiteY314" fmla="*/ 416825 h 948078"/>
              <a:gd name="connsiteX315" fmla="*/ 525762 w 751305"/>
              <a:gd name="connsiteY315" fmla="*/ 414831 h 948078"/>
              <a:gd name="connsiteX316" fmla="*/ 527758 w 751305"/>
              <a:gd name="connsiteY316" fmla="*/ 422808 h 948078"/>
              <a:gd name="connsiteX317" fmla="*/ 525762 w 751305"/>
              <a:gd name="connsiteY317" fmla="*/ 424803 h 948078"/>
              <a:gd name="connsiteX318" fmla="*/ 521770 w 751305"/>
              <a:gd name="connsiteY318" fmla="*/ 430786 h 948078"/>
              <a:gd name="connsiteX319" fmla="*/ 519774 w 751305"/>
              <a:gd name="connsiteY319" fmla="*/ 438764 h 948078"/>
              <a:gd name="connsiteX320" fmla="*/ 525762 w 751305"/>
              <a:gd name="connsiteY320" fmla="*/ 448735 h 948078"/>
              <a:gd name="connsiteX321" fmla="*/ 533746 w 751305"/>
              <a:gd name="connsiteY321" fmla="*/ 458707 h 948078"/>
              <a:gd name="connsiteX322" fmla="*/ 533746 w 751305"/>
              <a:gd name="connsiteY322" fmla="*/ 464690 h 948078"/>
              <a:gd name="connsiteX323" fmla="*/ 533746 w 751305"/>
              <a:gd name="connsiteY323" fmla="*/ 472668 h 948078"/>
              <a:gd name="connsiteX324" fmla="*/ 537738 w 751305"/>
              <a:gd name="connsiteY324" fmla="*/ 478651 h 948078"/>
              <a:gd name="connsiteX325" fmla="*/ 539734 w 751305"/>
              <a:gd name="connsiteY325" fmla="*/ 482640 h 948078"/>
              <a:gd name="connsiteX326" fmla="*/ 541730 w 751305"/>
              <a:gd name="connsiteY326" fmla="*/ 488623 h 948078"/>
              <a:gd name="connsiteX327" fmla="*/ 541730 w 751305"/>
              <a:gd name="connsiteY327" fmla="*/ 498595 h 948078"/>
              <a:gd name="connsiteX328" fmla="*/ 537738 w 751305"/>
              <a:gd name="connsiteY328" fmla="*/ 500589 h 948078"/>
              <a:gd name="connsiteX329" fmla="*/ 529754 w 751305"/>
              <a:gd name="connsiteY329" fmla="*/ 500589 h 948078"/>
              <a:gd name="connsiteX330" fmla="*/ 525762 w 751305"/>
              <a:gd name="connsiteY330" fmla="*/ 502584 h 948078"/>
              <a:gd name="connsiteX331" fmla="*/ 519774 w 751305"/>
              <a:gd name="connsiteY331" fmla="*/ 504578 h 948078"/>
              <a:gd name="connsiteX332" fmla="*/ 513787 w 751305"/>
              <a:gd name="connsiteY332" fmla="*/ 506572 h 948078"/>
              <a:gd name="connsiteX333" fmla="*/ 511791 w 751305"/>
              <a:gd name="connsiteY333" fmla="*/ 498595 h 948078"/>
              <a:gd name="connsiteX334" fmla="*/ 501811 w 751305"/>
              <a:gd name="connsiteY334" fmla="*/ 502584 h 948078"/>
              <a:gd name="connsiteX335" fmla="*/ 491831 w 751305"/>
              <a:gd name="connsiteY335" fmla="*/ 512556 h 948078"/>
              <a:gd name="connsiteX336" fmla="*/ 475863 w 751305"/>
              <a:gd name="connsiteY336" fmla="*/ 522527 h 948078"/>
              <a:gd name="connsiteX337" fmla="*/ 473868 w 751305"/>
              <a:gd name="connsiteY337" fmla="*/ 538483 h 948078"/>
              <a:gd name="connsiteX338" fmla="*/ 473868 w 751305"/>
              <a:gd name="connsiteY338" fmla="*/ 550449 h 948078"/>
              <a:gd name="connsiteX339" fmla="*/ 463888 w 751305"/>
              <a:gd name="connsiteY339" fmla="*/ 562415 h 948078"/>
              <a:gd name="connsiteX340" fmla="*/ 457900 w 751305"/>
              <a:gd name="connsiteY340" fmla="*/ 568398 h 948078"/>
              <a:gd name="connsiteX341" fmla="*/ 449916 w 751305"/>
              <a:gd name="connsiteY341" fmla="*/ 564409 h 948078"/>
              <a:gd name="connsiteX342" fmla="*/ 445924 w 751305"/>
              <a:gd name="connsiteY342" fmla="*/ 562415 h 948078"/>
              <a:gd name="connsiteX343" fmla="*/ 441932 w 751305"/>
              <a:gd name="connsiteY343" fmla="*/ 568398 h 948078"/>
              <a:gd name="connsiteX344" fmla="*/ 451912 w 751305"/>
              <a:gd name="connsiteY344" fmla="*/ 572387 h 948078"/>
              <a:gd name="connsiteX345" fmla="*/ 435944 w 751305"/>
              <a:gd name="connsiteY345" fmla="*/ 584353 h 948078"/>
              <a:gd name="connsiteX346" fmla="*/ 427961 w 751305"/>
              <a:gd name="connsiteY346" fmla="*/ 596320 h 948078"/>
              <a:gd name="connsiteX347" fmla="*/ 417981 w 751305"/>
              <a:gd name="connsiteY347" fmla="*/ 608286 h 948078"/>
              <a:gd name="connsiteX348" fmla="*/ 398021 w 751305"/>
              <a:gd name="connsiteY348" fmla="*/ 626235 h 948078"/>
              <a:gd name="connsiteX349" fmla="*/ 384050 w 751305"/>
              <a:gd name="connsiteY349" fmla="*/ 644185 h 948078"/>
              <a:gd name="connsiteX350" fmla="*/ 378062 w 751305"/>
              <a:gd name="connsiteY350" fmla="*/ 654157 h 948078"/>
              <a:gd name="connsiteX351" fmla="*/ 384050 w 751305"/>
              <a:gd name="connsiteY351" fmla="*/ 660140 h 948078"/>
              <a:gd name="connsiteX352" fmla="*/ 372074 w 751305"/>
              <a:gd name="connsiteY352" fmla="*/ 674100 h 948078"/>
              <a:gd name="connsiteX353" fmla="*/ 360098 w 751305"/>
              <a:gd name="connsiteY353" fmla="*/ 678089 h 948078"/>
              <a:gd name="connsiteX354" fmla="*/ 356106 w 751305"/>
              <a:gd name="connsiteY354" fmla="*/ 680084 h 948078"/>
              <a:gd name="connsiteX355" fmla="*/ 352114 w 751305"/>
              <a:gd name="connsiteY355" fmla="*/ 686067 h 948078"/>
              <a:gd name="connsiteX356" fmla="*/ 348122 w 751305"/>
              <a:gd name="connsiteY356" fmla="*/ 692050 h 948078"/>
              <a:gd name="connsiteX357" fmla="*/ 346126 w 751305"/>
              <a:gd name="connsiteY357" fmla="*/ 700027 h 948078"/>
              <a:gd name="connsiteX358" fmla="*/ 338143 w 751305"/>
              <a:gd name="connsiteY358" fmla="*/ 702022 h 948078"/>
              <a:gd name="connsiteX359" fmla="*/ 334151 w 751305"/>
              <a:gd name="connsiteY359" fmla="*/ 696039 h 948078"/>
              <a:gd name="connsiteX360" fmla="*/ 320179 w 751305"/>
              <a:gd name="connsiteY360" fmla="*/ 708005 h 948078"/>
              <a:gd name="connsiteX361" fmla="*/ 320179 w 751305"/>
              <a:gd name="connsiteY361" fmla="*/ 747892 h 948078"/>
              <a:gd name="connsiteX362" fmla="*/ 322175 w 751305"/>
              <a:gd name="connsiteY362" fmla="*/ 769831 h 948078"/>
              <a:gd name="connsiteX363" fmla="*/ 314191 w 751305"/>
              <a:gd name="connsiteY363" fmla="*/ 803735 h 948078"/>
              <a:gd name="connsiteX364" fmla="*/ 308203 w 751305"/>
              <a:gd name="connsiteY364" fmla="*/ 829662 h 948078"/>
              <a:gd name="connsiteX365" fmla="*/ 312195 w 751305"/>
              <a:gd name="connsiteY365" fmla="*/ 869550 h 948078"/>
              <a:gd name="connsiteX366" fmla="*/ 304211 w 751305"/>
              <a:gd name="connsiteY366" fmla="*/ 875533 h 948078"/>
              <a:gd name="connsiteX367" fmla="*/ 300219 w 751305"/>
              <a:gd name="connsiteY367" fmla="*/ 883511 h 948078"/>
              <a:gd name="connsiteX368" fmla="*/ 296228 w 751305"/>
              <a:gd name="connsiteY368" fmla="*/ 893483 h 948078"/>
              <a:gd name="connsiteX369" fmla="*/ 290240 w 751305"/>
              <a:gd name="connsiteY369" fmla="*/ 907443 h 948078"/>
              <a:gd name="connsiteX370" fmla="*/ 288244 w 751305"/>
              <a:gd name="connsiteY370" fmla="*/ 913426 h 948078"/>
              <a:gd name="connsiteX371" fmla="*/ 276268 w 751305"/>
              <a:gd name="connsiteY371" fmla="*/ 921404 h 948078"/>
              <a:gd name="connsiteX372" fmla="*/ 262296 w 751305"/>
              <a:gd name="connsiteY372" fmla="*/ 947331 h 948078"/>
              <a:gd name="connsiteX373" fmla="*/ 250321 w 751305"/>
              <a:gd name="connsiteY373" fmla="*/ 941348 h 948078"/>
              <a:gd name="connsiteX374" fmla="*/ 240341 w 751305"/>
              <a:gd name="connsiteY374" fmla="*/ 929381 h 948078"/>
              <a:gd name="connsiteX375" fmla="*/ 228365 w 751305"/>
              <a:gd name="connsiteY375" fmla="*/ 911432 h 948078"/>
              <a:gd name="connsiteX376" fmla="*/ 220381 w 751305"/>
              <a:gd name="connsiteY376" fmla="*/ 881516 h 948078"/>
              <a:gd name="connsiteX377" fmla="*/ 212397 w 751305"/>
              <a:gd name="connsiteY377" fmla="*/ 855589 h 948078"/>
              <a:gd name="connsiteX378" fmla="*/ 204414 w 751305"/>
              <a:gd name="connsiteY378" fmla="*/ 841628 h 948078"/>
              <a:gd name="connsiteX379" fmla="*/ 192438 w 751305"/>
              <a:gd name="connsiteY379" fmla="*/ 819690 h 948078"/>
              <a:gd name="connsiteX380" fmla="*/ 178466 w 751305"/>
              <a:gd name="connsiteY380" fmla="*/ 791769 h 948078"/>
              <a:gd name="connsiteX381" fmla="*/ 166490 w 751305"/>
              <a:gd name="connsiteY381" fmla="*/ 763847 h 948078"/>
              <a:gd name="connsiteX382" fmla="*/ 160503 w 751305"/>
              <a:gd name="connsiteY382" fmla="*/ 735926 h 948078"/>
              <a:gd name="connsiteX383" fmla="*/ 152519 w 751305"/>
              <a:gd name="connsiteY383" fmla="*/ 723960 h 948078"/>
              <a:gd name="connsiteX384" fmla="*/ 142539 w 751305"/>
              <a:gd name="connsiteY384" fmla="*/ 704016 h 948078"/>
              <a:gd name="connsiteX385" fmla="*/ 136551 w 751305"/>
              <a:gd name="connsiteY385" fmla="*/ 686067 h 948078"/>
              <a:gd name="connsiteX386" fmla="*/ 132559 w 751305"/>
              <a:gd name="connsiteY386" fmla="*/ 664128 h 948078"/>
              <a:gd name="connsiteX387" fmla="*/ 130563 w 751305"/>
              <a:gd name="connsiteY387" fmla="*/ 648173 h 948078"/>
              <a:gd name="connsiteX388" fmla="*/ 124575 w 751305"/>
              <a:gd name="connsiteY388" fmla="*/ 630224 h 948078"/>
              <a:gd name="connsiteX389" fmla="*/ 120583 w 751305"/>
              <a:gd name="connsiteY389" fmla="*/ 610280 h 948078"/>
              <a:gd name="connsiteX390" fmla="*/ 120583 w 751305"/>
              <a:gd name="connsiteY390" fmla="*/ 598314 h 948078"/>
              <a:gd name="connsiteX391" fmla="*/ 116592 w 751305"/>
              <a:gd name="connsiteY391" fmla="*/ 588342 h 948078"/>
              <a:gd name="connsiteX392" fmla="*/ 116592 w 751305"/>
              <a:gd name="connsiteY392" fmla="*/ 576376 h 948078"/>
              <a:gd name="connsiteX393" fmla="*/ 114596 w 751305"/>
              <a:gd name="connsiteY393" fmla="*/ 560421 h 948078"/>
              <a:gd name="connsiteX394" fmla="*/ 118588 w 751305"/>
              <a:gd name="connsiteY394" fmla="*/ 548454 h 948078"/>
              <a:gd name="connsiteX395" fmla="*/ 116592 w 751305"/>
              <a:gd name="connsiteY395" fmla="*/ 538483 h 948078"/>
              <a:gd name="connsiteX396" fmla="*/ 112599 w 751305"/>
              <a:gd name="connsiteY396" fmla="*/ 524522 h 948078"/>
              <a:gd name="connsiteX397" fmla="*/ 110603 w 751305"/>
              <a:gd name="connsiteY397" fmla="*/ 512556 h 948078"/>
              <a:gd name="connsiteX398" fmla="*/ 110603 w 751305"/>
              <a:gd name="connsiteY398" fmla="*/ 504578 h 948078"/>
              <a:gd name="connsiteX399" fmla="*/ 106611 w 751305"/>
              <a:gd name="connsiteY399" fmla="*/ 500589 h 948078"/>
              <a:gd name="connsiteX400" fmla="*/ 106611 w 751305"/>
              <a:gd name="connsiteY400" fmla="*/ 496601 h 948078"/>
              <a:gd name="connsiteX401" fmla="*/ 100623 w 751305"/>
              <a:gd name="connsiteY401" fmla="*/ 496601 h 948078"/>
              <a:gd name="connsiteX402" fmla="*/ 98627 w 751305"/>
              <a:gd name="connsiteY402" fmla="*/ 496601 h 948078"/>
              <a:gd name="connsiteX403" fmla="*/ 96632 w 751305"/>
              <a:gd name="connsiteY403" fmla="*/ 514550 h 948078"/>
              <a:gd name="connsiteX404" fmla="*/ 94636 w 751305"/>
              <a:gd name="connsiteY404" fmla="*/ 524522 h 948078"/>
              <a:gd name="connsiteX405" fmla="*/ 86652 w 751305"/>
              <a:gd name="connsiteY405" fmla="*/ 534494 h 948078"/>
              <a:gd name="connsiteX406" fmla="*/ 68688 w 751305"/>
              <a:gd name="connsiteY406" fmla="*/ 544466 h 948078"/>
              <a:gd name="connsiteX407" fmla="*/ 54716 w 751305"/>
              <a:gd name="connsiteY407" fmla="*/ 542471 h 948078"/>
              <a:gd name="connsiteX408" fmla="*/ 40745 w 751305"/>
              <a:gd name="connsiteY408" fmla="*/ 530505 h 948078"/>
              <a:gd name="connsiteX409" fmla="*/ 30765 w 751305"/>
              <a:gd name="connsiteY409" fmla="*/ 522527 h 948078"/>
              <a:gd name="connsiteX410" fmla="*/ 24777 w 751305"/>
              <a:gd name="connsiteY410" fmla="*/ 512556 h 948078"/>
              <a:gd name="connsiteX411" fmla="*/ 10805 w 751305"/>
              <a:gd name="connsiteY411" fmla="*/ 494606 h 948078"/>
              <a:gd name="connsiteX412" fmla="*/ 18789 w 751305"/>
              <a:gd name="connsiteY412" fmla="*/ 492612 h 948078"/>
              <a:gd name="connsiteX413" fmla="*/ 28769 w 751305"/>
              <a:gd name="connsiteY413" fmla="*/ 492612 h 948078"/>
              <a:gd name="connsiteX414" fmla="*/ 34757 w 751305"/>
              <a:gd name="connsiteY414" fmla="*/ 490617 h 948078"/>
              <a:gd name="connsiteX415" fmla="*/ 38749 w 751305"/>
              <a:gd name="connsiteY415" fmla="*/ 484634 h 948078"/>
              <a:gd name="connsiteX416" fmla="*/ 46733 w 751305"/>
              <a:gd name="connsiteY416" fmla="*/ 476657 h 948078"/>
              <a:gd name="connsiteX417" fmla="*/ 42741 w 751305"/>
              <a:gd name="connsiteY417" fmla="*/ 476657 h 948078"/>
              <a:gd name="connsiteX418" fmla="*/ 30765 w 751305"/>
              <a:gd name="connsiteY418" fmla="*/ 476657 h 948078"/>
              <a:gd name="connsiteX419" fmla="*/ 16793 w 751305"/>
              <a:gd name="connsiteY419" fmla="*/ 476657 h 948078"/>
              <a:gd name="connsiteX420" fmla="*/ 826 w 751305"/>
              <a:gd name="connsiteY420" fmla="*/ 464690 h 948078"/>
              <a:gd name="connsiteX421" fmla="*/ 2822 w 751305"/>
              <a:gd name="connsiteY421" fmla="*/ 450730 h 948078"/>
              <a:gd name="connsiteX422" fmla="*/ 2822 w 751305"/>
              <a:gd name="connsiteY422" fmla="*/ 448735 h 948078"/>
              <a:gd name="connsiteX423" fmla="*/ 4818 w 751305"/>
              <a:gd name="connsiteY423" fmla="*/ 442752 h 948078"/>
              <a:gd name="connsiteX424" fmla="*/ 6814 w 751305"/>
              <a:gd name="connsiteY424" fmla="*/ 438764 h 948078"/>
              <a:gd name="connsiteX425" fmla="*/ 10805 w 751305"/>
              <a:gd name="connsiteY425" fmla="*/ 440758 h 948078"/>
              <a:gd name="connsiteX426" fmla="*/ 16793 w 751305"/>
              <a:gd name="connsiteY426" fmla="*/ 440758 h 948078"/>
              <a:gd name="connsiteX427" fmla="*/ 22781 w 751305"/>
              <a:gd name="connsiteY427" fmla="*/ 438764 h 948078"/>
              <a:gd name="connsiteX428" fmla="*/ 26773 w 751305"/>
              <a:gd name="connsiteY428" fmla="*/ 440758 h 948078"/>
              <a:gd name="connsiteX429" fmla="*/ 30765 w 751305"/>
              <a:gd name="connsiteY429" fmla="*/ 444747 h 948078"/>
              <a:gd name="connsiteX430" fmla="*/ 38749 w 751305"/>
              <a:gd name="connsiteY430" fmla="*/ 444747 h 948078"/>
              <a:gd name="connsiteX431" fmla="*/ 44737 w 751305"/>
              <a:gd name="connsiteY431" fmla="*/ 440758 h 948078"/>
              <a:gd name="connsiteX432" fmla="*/ 46733 w 751305"/>
              <a:gd name="connsiteY432" fmla="*/ 436769 h 948078"/>
              <a:gd name="connsiteX433" fmla="*/ 52721 w 751305"/>
              <a:gd name="connsiteY433" fmla="*/ 430786 h 948078"/>
              <a:gd name="connsiteX434" fmla="*/ 54716 w 751305"/>
              <a:gd name="connsiteY434" fmla="*/ 430786 h 948078"/>
              <a:gd name="connsiteX435" fmla="*/ 58708 w 751305"/>
              <a:gd name="connsiteY435" fmla="*/ 434775 h 948078"/>
              <a:gd name="connsiteX436" fmla="*/ 62700 w 751305"/>
              <a:gd name="connsiteY436" fmla="*/ 436769 h 948078"/>
              <a:gd name="connsiteX437" fmla="*/ 68688 w 751305"/>
              <a:gd name="connsiteY437" fmla="*/ 432780 h 948078"/>
              <a:gd name="connsiteX438" fmla="*/ 70684 w 751305"/>
              <a:gd name="connsiteY438" fmla="*/ 430786 h 948078"/>
              <a:gd name="connsiteX439" fmla="*/ 70684 w 751305"/>
              <a:gd name="connsiteY439" fmla="*/ 424803 h 948078"/>
              <a:gd name="connsiteX440" fmla="*/ 66692 w 751305"/>
              <a:gd name="connsiteY440" fmla="*/ 414831 h 948078"/>
              <a:gd name="connsiteX441" fmla="*/ 64696 w 751305"/>
              <a:gd name="connsiteY441" fmla="*/ 410842 h 948078"/>
              <a:gd name="connsiteX442" fmla="*/ 58708 w 751305"/>
              <a:gd name="connsiteY442" fmla="*/ 404859 h 948078"/>
              <a:gd name="connsiteX443" fmla="*/ 56712 w 751305"/>
              <a:gd name="connsiteY443" fmla="*/ 400870 h 948078"/>
              <a:gd name="connsiteX444" fmla="*/ 58708 w 751305"/>
              <a:gd name="connsiteY444" fmla="*/ 392893 h 948078"/>
              <a:gd name="connsiteX445" fmla="*/ 54716 w 751305"/>
              <a:gd name="connsiteY445" fmla="*/ 388904 h 948078"/>
              <a:gd name="connsiteX446" fmla="*/ 48729 w 751305"/>
              <a:gd name="connsiteY446" fmla="*/ 384915 h 948078"/>
              <a:gd name="connsiteX447" fmla="*/ 44737 w 751305"/>
              <a:gd name="connsiteY447" fmla="*/ 382921 h 948078"/>
              <a:gd name="connsiteX448" fmla="*/ 42741 w 751305"/>
              <a:gd name="connsiteY448" fmla="*/ 374943 h 948078"/>
              <a:gd name="connsiteX449" fmla="*/ 44737 w 751305"/>
              <a:gd name="connsiteY449" fmla="*/ 368960 h 948078"/>
              <a:gd name="connsiteX450" fmla="*/ 44737 w 751305"/>
              <a:gd name="connsiteY450" fmla="*/ 360983 h 948078"/>
              <a:gd name="connsiteX451" fmla="*/ 42741 w 751305"/>
              <a:gd name="connsiteY451" fmla="*/ 356994 h 948078"/>
              <a:gd name="connsiteX452" fmla="*/ 34757 w 751305"/>
              <a:gd name="connsiteY452" fmla="*/ 355000 h 948078"/>
              <a:gd name="connsiteX453" fmla="*/ 28769 w 751305"/>
              <a:gd name="connsiteY453" fmla="*/ 353005 h 948078"/>
              <a:gd name="connsiteX454" fmla="*/ 24777 w 751305"/>
              <a:gd name="connsiteY454" fmla="*/ 347022 h 948078"/>
              <a:gd name="connsiteX455" fmla="*/ 24777 w 751305"/>
              <a:gd name="connsiteY455" fmla="*/ 341039 h 948078"/>
              <a:gd name="connsiteX456" fmla="*/ 28769 w 751305"/>
              <a:gd name="connsiteY456" fmla="*/ 335056 h 948078"/>
              <a:gd name="connsiteX457" fmla="*/ 34757 w 751305"/>
              <a:gd name="connsiteY457" fmla="*/ 331067 h 948078"/>
              <a:gd name="connsiteX458" fmla="*/ 40745 w 751305"/>
              <a:gd name="connsiteY458" fmla="*/ 323089 h 948078"/>
              <a:gd name="connsiteX459" fmla="*/ 46733 w 751305"/>
              <a:gd name="connsiteY459" fmla="*/ 317106 h 948078"/>
              <a:gd name="connsiteX460" fmla="*/ 48729 w 751305"/>
              <a:gd name="connsiteY460" fmla="*/ 311123 h 948078"/>
              <a:gd name="connsiteX461" fmla="*/ 54716 w 751305"/>
              <a:gd name="connsiteY461" fmla="*/ 317106 h 948078"/>
              <a:gd name="connsiteX462" fmla="*/ 60704 w 751305"/>
              <a:gd name="connsiteY462" fmla="*/ 321095 h 948078"/>
              <a:gd name="connsiteX463" fmla="*/ 68688 w 751305"/>
              <a:gd name="connsiteY463" fmla="*/ 319101 h 948078"/>
              <a:gd name="connsiteX464" fmla="*/ 78668 w 751305"/>
              <a:gd name="connsiteY464" fmla="*/ 315112 h 948078"/>
              <a:gd name="connsiteX465" fmla="*/ 84656 w 751305"/>
              <a:gd name="connsiteY465" fmla="*/ 309129 h 948078"/>
              <a:gd name="connsiteX466" fmla="*/ 88648 w 751305"/>
              <a:gd name="connsiteY466" fmla="*/ 301151 h 948078"/>
              <a:gd name="connsiteX467" fmla="*/ 94636 w 751305"/>
              <a:gd name="connsiteY467" fmla="*/ 295168 h 948078"/>
              <a:gd name="connsiteX468" fmla="*/ 98627 w 751305"/>
              <a:gd name="connsiteY468" fmla="*/ 287191 h 948078"/>
              <a:gd name="connsiteX469" fmla="*/ 104615 w 751305"/>
              <a:gd name="connsiteY469" fmla="*/ 279213 h 948078"/>
              <a:gd name="connsiteX470" fmla="*/ 110603 w 751305"/>
              <a:gd name="connsiteY470" fmla="*/ 275224 h 948078"/>
              <a:gd name="connsiteX471" fmla="*/ 114596 w 751305"/>
              <a:gd name="connsiteY471" fmla="*/ 267247 h 948078"/>
              <a:gd name="connsiteX472" fmla="*/ 114596 w 751305"/>
              <a:gd name="connsiteY472" fmla="*/ 257275 h 948078"/>
              <a:gd name="connsiteX473" fmla="*/ 122579 w 751305"/>
              <a:gd name="connsiteY473" fmla="*/ 249297 h 948078"/>
              <a:gd name="connsiteX474" fmla="*/ 128567 w 751305"/>
              <a:gd name="connsiteY474" fmla="*/ 241320 h 948078"/>
              <a:gd name="connsiteX475" fmla="*/ 132559 w 751305"/>
              <a:gd name="connsiteY475" fmla="*/ 231348 h 948078"/>
              <a:gd name="connsiteX476" fmla="*/ 128567 w 751305"/>
              <a:gd name="connsiteY476" fmla="*/ 227359 h 948078"/>
              <a:gd name="connsiteX477" fmla="*/ 132559 w 751305"/>
              <a:gd name="connsiteY477" fmla="*/ 221376 h 948078"/>
              <a:gd name="connsiteX478" fmla="*/ 140543 w 751305"/>
              <a:gd name="connsiteY478" fmla="*/ 219382 h 948078"/>
              <a:gd name="connsiteX479" fmla="*/ 146531 w 751305"/>
              <a:gd name="connsiteY479" fmla="*/ 215393 h 948078"/>
              <a:gd name="connsiteX480" fmla="*/ 152519 w 751305"/>
              <a:gd name="connsiteY480" fmla="*/ 211404 h 948078"/>
              <a:gd name="connsiteX481" fmla="*/ 148527 w 751305"/>
              <a:gd name="connsiteY481" fmla="*/ 205421 h 948078"/>
              <a:gd name="connsiteX482" fmla="*/ 146531 w 751305"/>
              <a:gd name="connsiteY482" fmla="*/ 197444 h 948078"/>
              <a:gd name="connsiteX483" fmla="*/ 148527 w 751305"/>
              <a:gd name="connsiteY483" fmla="*/ 187472 h 948078"/>
              <a:gd name="connsiteX484" fmla="*/ 154515 w 751305"/>
              <a:gd name="connsiteY484" fmla="*/ 177500 h 948078"/>
              <a:gd name="connsiteX485" fmla="*/ 162499 w 751305"/>
              <a:gd name="connsiteY485" fmla="*/ 173511 h 948078"/>
              <a:gd name="connsiteX486" fmla="*/ 166490 w 751305"/>
              <a:gd name="connsiteY486" fmla="*/ 169522 h 948078"/>
              <a:gd name="connsiteX487" fmla="*/ 162499 w 751305"/>
              <a:gd name="connsiteY487" fmla="*/ 165533 h 948078"/>
              <a:gd name="connsiteX488" fmla="*/ 154515 w 751305"/>
              <a:gd name="connsiteY488" fmla="*/ 159550 h 948078"/>
              <a:gd name="connsiteX489" fmla="*/ 148527 w 751305"/>
              <a:gd name="connsiteY489" fmla="*/ 151573 h 948078"/>
              <a:gd name="connsiteX490" fmla="*/ 134555 w 751305"/>
              <a:gd name="connsiteY490" fmla="*/ 149578 h 948078"/>
              <a:gd name="connsiteX491" fmla="*/ 126571 w 751305"/>
              <a:gd name="connsiteY491" fmla="*/ 145590 h 948078"/>
              <a:gd name="connsiteX492" fmla="*/ 118588 w 751305"/>
              <a:gd name="connsiteY492" fmla="*/ 135618 h 948078"/>
              <a:gd name="connsiteX493" fmla="*/ 116592 w 751305"/>
              <a:gd name="connsiteY493" fmla="*/ 127640 h 948078"/>
              <a:gd name="connsiteX494" fmla="*/ 112599 w 751305"/>
              <a:gd name="connsiteY494" fmla="*/ 115674 h 948078"/>
              <a:gd name="connsiteX495" fmla="*/ 114596 w 751305"/>
              <a:gd name="connsiteY495" fmla="*/ 105702 h 948078"/>
              <a:gd name="connsiteX496" fmla="*/ 114596 w 751305"/>
              <a:gd name="connsiteY496" fmla="*/ 93736 h 948078"/>
              <a:gd name="connsiteX497" fmla="*/ 114596 w 751305"/>
              <a:gd name="connsiteY497" fmla="*/ 83764 h 948078"/>
              <a:gd name="connsiteX498" fmla="*/ 118588 w 751305"/>
              <a:gd name="connsiteY498" fmla="*/ 79775 h 948078"/>
              <a:gd name="connsiteX499" fmla="*/ 126571 w 751305"/>
              <a:gd name="connsiteY499" fmla="*/ 73792 h 948078"/>
              <a:gd name="connsiteX500" fmla="*/ 128567 w 751305"/>
              <a:gd name="connsiteY500" fmla="*/ 69803 h 948078"/>
              <a:gd name="connsiteX501" fmla="*/ 124575 w 751305"/>
              <a:gd name="connsiteY501" fmla="*/ 65814 h 948078"/>
              <a:gd name="connsiteX502" fmla="*/ 126571 w 751305"/>
              <a:gd name="connsiteY502" fmla="*/ 57837 h 948078"/>
              <a:gd name="connsiteX503" fmla="*/ 120583 w 751305"/>
              <a:gd name="connsiteY503" fmla="*/ 51854 h 948078"/>
              <a:gd name="connsiteX504" fmla="*/ 114596 w 751305"/>
              <a:gd name="connsiteY504" fmla="*/ 57837 h 948078"/>
              <a:gd name="connsiteX505" fmla="*/ 108607 w 751305"/>
              <a:gd name="connsiteY505" fmla="*/ 57837 h 948078"/>
              <a:gd name="connsiteX506" fmla="*/ 110603 w 751305"/>
              <a:gd name="connsiteY506" fmla="*/ 51854 h 948078"/>
              <a:gd name="connsiteX507" fmla="*/ 108607 w 751305"/>
              <a:gd name="connsiteY507" fmla="*/ 47865 h 948078"/>
              <a:gd name="connsiteX508" fmla="*/ 102619 w 751305"/>
              <a:gd name="connsiteY508" fmla="*/ 41882 h 948078"/>
              <a:gd name="connsiteX509" fmla="*/ 98627 w 751305"/>
              <a:gd name="connsiteY509" fmla="*/ 41882 h 948078"/>
              <a:gd name="connsiteX510" fmla="*/ 92640 w 751305"/>
              <a:gd name="connsiteY510" fmla="*/ 41882 h 948078"/>
              <a:gd name="connsiteX511" fmla="*/ 90644 w 751305"/>
              <a:gd name="connsiteY511" fmla="*/ 35899 h 948078"/>
              <a:gd name="connsiteX512" fmla="*/ 90644 w 751305"/>
              <a:gd name="connsiteY512" fmla="*/ 27921 h 948078"/>
              <a:gd name="connsiteX513" fmla="*/ 96632 w 751305"/>
              <a:gd name="connsiteY513" fmla="*/ 23932 h 948078"/>
              <a:gd name="connsiteX514" fmla="*/ 98627 w 751305"/>
              <a:gd name="connsiteY514" fmla="*/ 23932 h 948078"/>
              <a:gd name="connsiteX515" fmla="*/ 102619 w 751305"/>
              <a:gd name="connsiteY515" fmla="*/ 19944 h 948078"/>
              <a:gd name="connsiteX516" fmla="*/ 102619 w 751305"/>
              <a:gd name="connsiteY516" fmla="*/ 15955 h 948078"/>
              <a:gd name="connsiteX517" fmla="*/ 106611 w 751305"/>
              <a:gd name="connsiteY517" fmla="*/ 15955 h 948078"/>
              <a:gd name="connsiteX518" fmla="*/ 110603 w 751305"/>
              <a:gd name="connsiteY518" fmla="*/ 13961 h 948078"/>
              <a:gd name="connsiteX519" fmla="*/ 112599 w 751305"/>
              <a:gd name="connsiteY519" fmla="*/ 13961 h 948078"/>
              <a:gd name="connsiteX520" fmla="*/ 116592 w 751305"/>
              <a:gd name="connsiteY520" fmla="*/ 13961 h 948078"/>
              <a:gd name="connsiteX521" fmla="*/ 118588 w 751305"/>
              <a:gd name="connsiteY521" fmla="*/ 11966 h 948078"/>
              <a:gd name="connsiteX522" fmla="*/ 118588 w 751305"/>
              <a:gd name="connsiteY522" fmla="*/ 7977 h 948078"/>
              <a:gd name="connsiteX523" fmla="*/ 122579 w 751305"/>
              <a:gd name="connsiteY523" fmla="*/ 5983 h 948078"/>
              <a:gd name="connsiteX524" fmla="*/ 124575 w 751305"/>
              <a:gd name="connsiteY524" fmla="*/ 5983 h 948078"/>
              <a:gd name="connsiteX525" fmla="*/ 130563 w 751305"/>
              <a:gd name="connsiteY525" fmla="*/ 5983 h 948078"/>
              <a:gd name="connsiteX526" fmla="*/ 132559 w 751305"/>
              <a:gd name="connsiteY526" fmla="*/ 5983 h 948078"/>
              <a:gd name="connsiteX527" fmla="*/ 136551 w 751305"/>
              <a:gd name="connsiteY527" fmla="*/ 3989 h 948078"/>
              <a:gd name="connsiteX528" fmla="*/ 138547 w 751305"/>
              <a:gd name="connsiteY528" fmla="*/ 1994 h 948078"/>
              <a:gd name="connsiteX529" fmla="*/ 140543 w 751305"/>
              <a:gd name="connsiteY529" fmla="*/ 1994 h 948078"/>
              <a:gd name="connsiteX530" fmla="*/ 144535 w 751305"/>
              <a:gd name="connsiteY530" fmla="*/ 0 h 94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Lst>
            <a:rect l="l" t="t" r="r" b="b"/>
            <a:pathLst>
              <a:path w="751305" h="948078">
                <a:moveTo>
                  <a:pt x="665580" y="933450"/>
                </a:moveTo>
                <a:cubicBezTo>
                  <a:pt x="665580" y="933450"/>
                  <a:pt x="667167" y="935831"/>
                  <a:pt x="667167" y="935831"/>
                </a:cubicBezTo>
                <a:cubicBezTo>
                  <a:pt x="667167" y="935831"/>
                  <a:pt x="663992" y="938212"/>
                  <a:pt x="663992" y="935831"/>
                </a:cubicBezTo>
                <a:cubicBezTo>
                  <a:pt x="663992" y="933450"/>
                  <a:pt x="665580" y="933450"/>
                  <a:pt x="665580" y="933450"/>
                </a:cubicBezTo>
                <a:close/>
                <a:moveTo>
                  <a:pt x="669549" y="919956"/>
                </a:moveTo>
                <a:cubicBezTo>
                  <a:pt x="669549" y="917575"/>
                  <a:pt x="671930" y="919956"/>
                  <a:pt x="671930" y="919956"/>
                </a:cubicBezTo>
                <a:cubicBezTo>
                  <a:pt x="671930" y="922337"/>
                  <a:pt x="671930" y="922337"/>
                  <a:pt x="669549" y="922337"/>
                </a:cubicBezTo>
                <a:cubicBezTo>
                  <a:pt x="667167" y="919956"/>
                  <a:pt x="669549" y="919956"/>
                  <a:pt x="669549" y="919956"/>
                </a:cubicBezTo>
                <a:close/>
                <a:moveTo>
                  <a:pt x="147261" y="882650"/>
                </a:moveTo>
                <a:cubicBezTo>
                  <a:pt x="149642" y="882650"/>
                  <a:pt x="149642" y="887412"/>
                  <a:pt x="147261" y="885825"/>
                </a:cubicBezTo>
                <a:cubicBezTo>
                  <a:pt x="144879" y="885825"/>
                  <a:pt x="147261" y="882650"/>
                  <a:pt x="147261" y="882650"/>
                </a:cubicBezTo>
                <a:close/>
                <a:moveTo>
                  <a:pt x="126623" y="871538"/>
                </a:moveTo>
                <a:cubicBezTo>
                  <a:pt x="130592" y="873655"/>
                  <a:pt x="124639" y="877888"/>
                  <a:pt x="124639" y="873655"/>
                </a:cubicBezTo>
                <a:cubicBezTo>
                  <a:pt x="122654" y="871538"/>
                  <a:pt x="126623" y="871538"/>
                  <a:pt x="126623" y="871538"/>
                </a:cubicBezTo>
                <a:close/>
                <a:moveTo>
                  <a:pt x="135355" y="858838"/>
                </a:moveTo>
                <a:cubicBezTo>
                  <a:pt x="138530" y="858838"/>
                  <a:pt x="135355" y="863600"/>
                  <a:pt x="133767" y="860425"/>
                </a:cubicBezTo>
                <a:cubicBezTo>
                  <a:pt x="133767" y="858838"/>
                  <a:pt x="135355" y="858838"/>
                  <a:pt x="135355" y="858838"/>
                </a:cubicBezTo>
                <a:close/>
                <a:moveTo>
                  <a:pt x="640339" y="851446"/>
                </a:moveTo>
                <a:cubicBezTo>
                  <a:pt x="641291" y="852190"/>
                  <a:pt x="641767" y="853678"/>
                  <a:pt x="641767" y="853678"/>
                </a:cubicBezTo>
                <a:cubicBezTo>
                  <a:pt x="641767" y="853678"/>
                  <a:pt x="641767" y="857647"/>
                  <a:pt x="639862" y="859631"/>
                </a:cubicBezTo>
                <a:cubicBezTo>
                  <a:pt x="636052" y="863600"/>
                  <a:pt x="632242" y="859631"/>
                  <a:pt x="636052" y="853678"/>
                </a:cubicBezTo>
                <a:cubicBezTo>
                  <a:pt x="637957" y="850702"/>
                  <a:pt x="639386" y="850702"/>
                  <a:pt x="640339" y="851446"/>
                </a:cubicBezTo>
                <a:close/>
                <a:moveTo>
                  <a:pt x="129534" y="839787"/>
                </a:moveTo>
                <a:cubicBezTo>
                  <a:pt x="130592" y="839787"/>
                  <a:pt x="131651" y="840317"/>
                  <a:pt x="131651" y="840317"/>
                </a:cubicBezTo>
                <a:cubicBezTo>
                  <a:pt x="133767" y="842433"/>
                  <a:pt x="127417" y="844550"/>
                  <a:pt x="127417" y="842433"/>
                </a:cubicBezTo>
                <a:cubicBezTo>
                  <a:pt x="127417" y="840317"/>
                  <a:pt x="128476" y="839787"/>
                  <a:pt x="129534" y="839787"/>
                </a:cubicBezTo>
                <a:close/>
                <a:moveTo>
                  <a:pt x="642859" y="813494"/>
                </a:moveTo>
                <a:cubicBezTo>
                  <a:pt x="643355" y="814268"/>
                  <a:pt x="643355" y="815816"/>
                  <a:pt x="643355" y="815816"/>
                </a:cubicBezTo>
                <a:cubicBezTo>
                  <a:pt x="643355" y="815816"/>
                  <a:pt x="643355" y="822007"/>
                  <a:pt x="643355" y="826134"/>
                </a:cubicBezTo>
                <a:cubicBezTo>
                  <a:pt x="643355" y="830262"/>
                  <a:pt x="639386" y="826134"/>
                  <a:pt x="639386" y="826134"/>
                </a:cubicBezTo>
                <a:cubicBezTo>
                  <a:pt x="639386" y="826134"/>
                  <a:pt x="635417" y="822007"/>
                  <a:pt x="639386" y="815816"/>
                </a:cubicBezTo>
                <a:cubicBezTo>
                  <a:pt x="641371" y="812720"/>
                  <a:pt x="642363" y="812720"/>
                  <a:pt x="642859" y="813494"/>
                </a:cubicBezTo>
                <a:close/>
                <a:moveTo>
                  <a:pt x="671930" y="800417"/>
                </a:moveTo>
                <a:cubicBezTo>
                  <a:pt x="673518" y="798512"/>
                  <a:pt x="675105" y="800417"/>
                  <a:pt x="675105" y="804227"/>
                </a:cubicBezTo>
                <a:cubicBezTo>
                  <a:pt x="675105" y="808037"/>
                  <a:pt x="671930" y="808037"/>
                  <a:pt x="671930" y="804227"/>
                </a:cubicBezTo>
                <a:cubicBezTo>
                  <a:pt x="670342" y="800417"/>
                  <a:pt x="671930" y="800417"/>
                  <a:pt x="671930" y="800417"/>
                </a:cubicBezTo>
                <a:close/>
                <a:moveTo>
                  <a:pt x="646610" y="787360"/>
                </a:moveTo>
                <a:cubicBezTo>
                  <a:pt x="647324" y="787360"/>
                  <a:pt x="647800" y="787876"/>
                  <a:pt x="647800" y="787876"/>
                </a:cubicBezTo>
                <a:cubicBezTo>
                  <a:pt x="649705" y="787876"/>
                  <a:pt x="649705" y="796130"/>
                  <a:pt x="647800" y="798194"/>
                </a:cubicBezTo>
                <a:cubicBezTo>
                  <a:pt x="645895" y="798194"/>
                  <a:pt x="647800" y="804385"/>
                  <a:pt x="643990" y="804385"/>
                </a:cubicBezTo>
                <a:cubicBezTo>
                  <a:pt x="640180" y="806449"/>
                  <a:pt x="640180" y="800258"/>
                  <a:pt x="640180" y="800258"/>
                </a:cubicBezTo>
                <a:cubicBezTo>
                  <a:pt x="640180" y="800258"/>
                  <a:pt x="640180" y="794067"/>
                  <a:pt x="643990" y="789939"/>
                </a:cubicBezTo>
                <a:cubicBezTo>
                  <a:pt x="644943" y="787876"/>
                  <a:pt x="645895" y="787360"/>
                  <a:pt x="646610" y="787360"/>
                </a:cubicBezTo>
                <a:close/>
                <a:moveTo>
                  <a:pt x="647482" y="768350"/>
                </a:moveTo>
                <a:cubicBezTo>
                  <a:pt x="651292" y="768350"/>
                  <a:pt x="649387" y="774171"/>
                  <a:pt x="649387" y="774171"/>
                </a:cubicBezTo>
                <a:cubicBezTo>
                  <a:pt x="649387" y="774171"/>
                  <a:pt x="649387" y="779991"/>
                  <a:pt x="645577" y="783872"/>
                </a:cubicBezTo>
                <a:cubicBezTo>
                  <a:pt x="643672" y="785812"/>
                  <a:pt x="641767" y="781931"/>
                  <a:pt x="641767" y="776111"/>
                </a:cubicBezTo>
                <a:cubicBezTo>
                  <a:pt x="641767" y="770290"/>
                  <a:pt x="647482" y="768350"/>
                  <a:pt x="647482" y="768350"/>
                </a:cubicBezTo>
                <a:close/>
                <a:moveTo>
                  <a:pt x="679074" y="763488"/>
                </a:moveTo>
                <a:cubicBezTo>
                  <a:pt x="679471" y="763488"/>
                  <a:pt x="679868" y="763984"/>
                  <a:pt x="679868" y="763984"/>
                </a:cubicBezTo>
                <a:cubicBezTo>
                  <a:pt x="679868" y="763984"/>
                  <a:pt x="681455" y="763984"/>
                  <a:pt x="681455" y="765968"/>
                </a:cubicBezTo>
                <a:cubicBezTo>
                  <a:pt x="681455" y="769937"/>
                  <a:pt x="678280" y="769937"/>
                  <a:pt x="678280" y="765968"/>
                </a:cubicBezTo>
                <a:cubicBezTo>
                  <a:pt x="678280" y="763984"/>
                  <a:pt x="678677" y="763488"/>
                  <a:pt x="679074" y="763488"/>
                </a:cubicBezTo>
                <a:close/>
                <a:moveTo>
                  <a:pt x="144535" y="0"/>
                </a:moveTo>
                <a:cubicBezTo>
                  <a:pt x="144535" y="0"/>
                  <a:pt x="146531" y="1994"/>
                  <a:pt x="148527" y="1994"/>
                </a:cubicBezTo>
                <a:cubicBezTo>
                  <a:pt x="150523" y="3989"/>
                  <a:pt x="154515" y="5983"/>
                  <a:pt x="156511" y="3989"/>
                </a:cubicBezTo>
                <a:cubicBezTo>
                  <a:pt x="156511" y="3989"/>
                  <a:pt x="158507" y="1994"/>
                  <a:pt x="160503" y="1994"/>
                </a:cubicBezTo>
                <a:cubicBezTo>
                  <a:pt x="164494" y="0"/>
                  <a:pt x="166490" y="3989"/>
                  <a:pt x="170482" y="7977"/>
                </a:cubicBezTo>
                <a:cubicBezTo>
                  <a:pt x="170482" y="11966"/>
                  <a:pt x="174474" y="13961"/>
                  <a:pt x="174474" y="13961"/>
                </a:cubicBezTo>
                <a:cubicBezTo>
                  <a:pt x="176470" y="15955"/>
                  <a:pt x="180462" y="19944"/>
                  <a:pt x="182458" y="21938"/>
                </a:cubicBezTo>
                <a:cubicBezTo>
                  <a:pt x="186450" y="23932"/>
                  <a:pt x="190442" y="25927"/>
                  <a:pt x="192438" y="25927"/>
                </a:cubicBezTo>
                <a:cubicBezTo>
                  <a:pt x="194434" y="27921"/>
                  <a:pt x="198426" y="29916"/>
                  <a:pt x="200422" y="31910"/>
                </a:cubicBezTo>
                <a:cubicBezTo>
                  <a:pt x="200422" y="33904"/>
                  <a:pt x="204414" y="35899"/>
                  <a:pt x="204414" y="35899"/>
                </a:cubicBezTo>
                <a:cubicBezTo>
                  <a:pt x="204414" y="35899"/>
                  <a:pt x="206410" y="39887"/>
                  <a:pt x="206410" y="39887"/>
                </a:cubicBezTo>
                <a:cubicBezTo>
                  <a:pt x="206410" y="41882"/>
                  <a:pt x="208406" y="43876"/>
                  <a:pt x="212397" y="43876"/>
                </a:cubicBezTo>
                <a:cubicBezTo>
                  <a:pt x="212397" y="43876"/>
                  <a:pt x="216389" y="45871"/>
                  <a:pt x="218385" y="45871"/>
                </a:cubicBezTo>
                <a:cubicBezTo>
                  <a:pt x="220381" y="43876"/>
                  <a:pt x="224373" y="43876"/>
                  <a:pt x="224373" y="45871"/>
                </a:cubicBezTo>
                <a:cubicBezTo>
                  <a:pt x="226369" y="47865"/>
                  <a:pt x="224373" y="47865"/>
                  <a:pt x="224373" y="51854"/>
                </a:cubicBezTo>
                <a:cubicBezTo>
                  <a:pt x="224373" y="53848"/>
                  <a:pt x="224373" y="55843"/>
                  <a:pt x="226369" y="55843"/>
                </a:cubicBezTo>
                <a:cubicBezTo>
                  <a:pt x="228365" y="55843"/>
                  <a:pt x="232357" y="51854"/>
                  <a:pt x="234353" y="51854"/>
                </a:cubicBezTo>
                <a:cubicBezTo>
                  <a:pt x="236349" y="51854"/>
                  <a:pt x="244333" y="49859"/>
                  <a:pt x="244333" y="49859"/>
                </a:cubicBezTo>
                <a:cubicBezTo>
                  <a:pt x="244333" y="49859"/>
                  <a:pt x="246329" y="45871"/>
                  <a:pt x="250321" y="43876"/>
                </a:cubicBezTo>
                <a:cubicBezTo>
                  <a:pt x="252317" y="41882"/>
                  <a:pt x="256308" y="41882"/>
                  <a:pt x="260300" y="39887"/>
                </a:cubicBezTo>
                <a:cubicBezTo>
                  <a:pt x="264292" y="39887"/>
                  <a:pt x="264292" y="39887"/>
                  <a:pt x="266288" y="37893"/>
                </a:cubicBezTo>
                <a:cubicBezTo>
                  <a:pt x="266288" y="35899"/>
                  <a:pt x="266288" y="33904"/>
                  <a:pt x="268284" y="31910"/>
                </a:cubicBezTo>
                <a:cubicBezTo>
                  <a:pt x="270280" y="31910"/>
                  <a:pt x="274272" y="33904"/>
                  <a:pt x="276268" y="35899"/>
                </a:cubicBezTo>
                <a:cubicBezTo>
                  <a:pt x="278264" y="37893"/>
                  <a:pt x="280260" y="39887"/>
                  <a:pt x="280260" y="39887"/>
                </a:cubicBezTo>
                <a:cubicBezTo>
                  <a:pt x="284252" y="39887"/>
                  <a:pt x="288244" y="39887"/>
                  <a:pt x="288244" y="41882"/>
                </a:cubicBezTo>
                <a:cubicBezTo>
                  <a:pt x="290240" y="41882"/>
                  <a:pt x="292236" y="41882"/>
                  <a:pt x="292236" y="45871"/>
                </a:cubicBezTo>
                <a:cubicBezTo>
                  <a:pt x="294232" y="47865"/>
                  <a:pt x="296228" y="57837"/>
                  <a:pt x="296228" y="61826"/>
                </a:cubicBezTo>
                <a:cubicBezTo>
                  <a:pt x="296228" y="65814"/>
                  <a:pt x="298223" y="71798"/>
                  <a:pt x="298223" y="73792"/>
                </a:cubicBezTo>
                <a:cubicBezTo>
                  <a:pt x="296228" y="77781"/>
                  <a:pt x="296228" y="79775"/>
                  <a:pt x="294232" y="81769"/>
                </a:cubicBezTo>
                <a:cubicBezTo>
                  <a:pt x="292236" y="81769"/>
                  <a:pt x="286248" y="85758"/>
                  <a:pt x="286248" y="89747"/>
                </a:cubicBezTo>
                <a:cubicBezTo>
                  <a:pt x="284252" y="93736"/>
                  <a:pt x="284252" y="93736"/>
                  <a:pt x="282256" y="93736"/>
                </a:cubicBezTo>
                <a:cubicBezTo>
                  <a:pt x="280260" y="93736"/>
                  <a:pt x="280260" y="91741"/>
                  <a:pt x="278264" y="93736"/>
                </a:cubicBezTo>
                <a:cubicBezTo>
                  <a:pt x="278264" y="95730"/>
                  <a:pt x="280260" y="101713"/>
                  <a:pt x="278264" y="103708"/>
                </a:cubicBezTo>
                <a:cubicBezTo>
                  <a:pt x="276268" y="103708"/>
                  <a:pt x="274272" y="103708"/>
                  <a:pt x="272276" y="105702"/>
                </a:cubicBezTo>
                <a:cubicBezTo>
                  <a:pt x="270280" y="105702"/>
                  <a:pt x="264292" y="105702"/>
                  <a:pt x="264292" y="105702"/>
                </a:cubicBezTo>
                <a:cubicBezTo>
                  <a:pt x="264292" y="105702"/>
                  <a:pt x="264292" y="109691"/>
                  <a:pt x="266288" y="111685"/>
                </a:cubicBezTo>
                <a:cubicBezTo>
                  <a:pt x="268284" y="111685"/>
                  <a:pt x="270280" y="111685"/>
                  <a:pt x="268284" y="113680"/>
                </a:cubicBezTo>
                <a:cubicBezTo>
                  <a:pt x="266288" y="115674"/>
                  <a:pt x="264292" y="117668"/>
                  <a:pt x="266288" y="121657"/>
                </a:cubicBezTo>
                <a:cubicBezTo>
                  <a:pt x="266288" y="125646"/>
                  <a:pt x="268284" y="127640"/>
                  <a:pt x="270280" y="127640"/>
                </a:cubicBezTo>
                <a:cubicBezTo>
                  <a:pt x="274272" y="127640"/>
                  <a:pt x="280260" y="125646"/>
                  <a:pt x="280260" y="129635"/>
                </a:cubicBezTo>
                <a:cubicBezTo>
                  <a:pt x="282256" y="133623"/>
                  <a:pt x="282256" y="137612"/>
                  <a:pt x="282256" y="139606"/>
                </a:cubicBezTo>
                <a:cubicBezTo>
                  <a:pt x="282256" y="143595"/>
                  <a:pt x="280260" y="143595"/>
                  <a:pt x="282256" y="145590"/>
                </a:cubicBezTo>
                <a:cubicBezTo>
                  <a:pt x="284252" y="149578"/>
                  <a:pt x="286248" y="149578"/>
                  <a:pt x="286248" y="151573"/>
                </a:cubicBezTo>
                <a:cubicBezTo>
                  <a:pt x="286248" y="151573"/>
                  <a:pt x="286248" y="153567"/>
                  <a:pt x="282256" y="153567"/>
                </a:cubicBezTo>
                <a:cubicBezTo>
                  <a:pt x="280260" y="153567"/>
                  <a:pt x="278264" y="153567"/>
                  <a:pt x="276268" y="153567"/>
                </a:cubicBezTo>
                <a:cubicBezTo>
                  <a:pt x="276268" y="153567"/>
                  <a:pt x="274272" y="153567"/>
                  <a:pt x="272276" y="155562"/>
                </a:cubicBezTo>
                <a:cubicBezTo>
                  <a:pt x="272276" y="157556"/>
                  <a:pt x="272276" y="159550"/>
                  <a:pt x="272276" y="159550"/>
                </a:cubicBezTo>
                <a:cubicBezTo>
                  <a:pt x="272276" y="159550"/>
                  <a:pt x="270280" y="159550"/>
                  <a:pt x="268284" y="161545"/>
                </a:cubicBezTo>
                <a:cubicBezTo>
                  <a:pt x="268284" y="163539"/>
                  <a:pt x="268284" y="163539"/>
                  <a:pt x="266288" y="163539"/>
                </a:cubicBezTo>
                <a:cubicBezTo>
                  <a:pt x="266288" y="163539"/>
                  <a:pt x="262296" y="161545"/>
                  <a:pt x="262296" y="159550"/>
                </a:cubicBezTo>
                <a:cubicBezTo>
                  <a:pt x="262296" y="157556"/>
                  <a:pt x="262296" y="155562"/>
                  <a:pt x="260300" y="157556"/>
                </a:cubicBezTo>
                <a:cubicBezTo>
                  <a:pt x="258304" y="157556"/>
                  <a:pt x="258304" y="159550"/>
                  <a:pt x="258304" y="163539"/>
                </a:cubicBezTo>
                <a:cubicBezTo>
                  <a:pt x="258304" y="165533"/>
                  <a:pt x="258304" y="167528"/>
                  <a:pt x="262296" y="169522"/>
                </a:cubicBezTo>
                <a:cubicBezTo>
                  <a:pt x="264292" y="171517"/>
                  <a:pt x="264292" y="173511"/>
                  <a:pt x="264292" y="177500"/>
                </a:cubicBezTo>
                <a:cubicBezTo>
                  <a:pt x="264292" y="179494"/>
                  <a:pt x="264292" y="181488"/>
                  <a:pt x="262296" y="185477"/>
                </a:cubicBezTo>
                <a:cubicBezTo>
                  <a:pt x="262296" y="189466"/>
                  <a:pt x="264292" y="193455"/>
                  <a:pt x="264292" y="195449"/>
                </a:cubicBezTo>
                <a:cubicBezTo>
                  <a:pt x="264292" y="197444"/>
                  <a:pt x="266288" y="199438"/>
                  <a:pt x="266288" y="199438"/>
                </a:cubicBezTo>
                <a:cubicBezTo>
                  <a:pt x="266288" y="199438"/>
                  <a:pt x="268284" y="201432"/>
                  <a:pt x="270280" y="201432"/>
                </a:cubicBezTo>
                <a:cubicBezTo>
                  <a:pt x="274272" y="199438"/>
                  <a:pt x="276268" y="197444"/>
                  <a:pt x="280260" y="201432"/>
                </a:cubicBezTo>
                <a:cubicBezTo>
                  <a:pt x="282256" y="205421"/>
                  <a:pt x="280260" y="207415"/>
                  <a:pt x="284252" y="209410"/>
                </a:cubicBezTo>
                <a:cubicBezTo>
                  <a:pt x="288244" y="209410"/>
                  <a:pt x="292236" y="209410"/>
                  <a:pt x="294232" y="211404"/>
                </a:cubicBezTo>
                <a:cubicBezTo>
                  <a:pt x="296228" y="213399"/>
                  <a:pt x="296228" y="217387"/>
                  <a:pt x="300219" y="219382"/>
                </a:cubicBezTo>
                <a:cubicBezTo>
                  <a:pt x="302215" y="221376"/>
                  <a:pt x="304211" y="221376"/>
                  <a:pt x="306207" y="225365"/>
                </a:cubicBezTo>
                <a:cubicBezTo>
                  <a:pt x="308203" y="227359"/>
                  <a:pt x="312195" y="229354"/>
                  <a:pt x="314191" y="229354"/>
                </a:cubicBezTo>
                <a:cubicBezTo>
                  <a:pt x="316187" y="229354"/>
                  <a:pt x="320179" y="233342"/>
                  <a:pt x="322175" y="235337"/>
                </a:cubicBezTo>
                <a:cubicBezTo>
                  <a:pt x="322175" y="237331"/>
                  <a:pt x="324171" y="241320"/>
                  <a:pt x="326167" y="241320"/>
                </a:cubicBezTo>
                <a:cubicBezTo>
                  <a:pt x="324171" y="241320"/>
                  <a:pt x="320179" y="241320"/>
                  <a:pt x="320179" y="241320"/>
                </a:cubicBezTo>
                <a:cubicBezTo>
                  <a:pt x="320179" y="243314"/>
                  <a:pt x="314191" y="245309"/>
                  <a:pt x="312195" y="245309"/>
                </a:cubicBezTo>
                <a:cubicBezTo>
                  <a:pt x="312195" y="247303"/>
                  <a:pt x="308203" y="247303"/>
                  <a:pt x="306207" y="249297"/>
                </a:cubicBezTo>
                <a:cubicBezTo>
                  <a:pt x="304211" y="251292"/>
                  <a:pt x="302215" y="261264"/>
                  <a:pt x="302215" y="263258"/>
                </a:cubicBezTo>
                <a:cubicBezTo>
                  <a:pt x="302215" y="267247"/>
                  <a:pt x="304211" y="271236"/>
                  <a:pt x="302215" y="273230"/>
                </a:cubicBezTo>
                <a:cubicBezTo>
                  <a:pt x="300219" y="275224"/>
                  <a:pt x="298223" y="277219"/>
                  <a:pt x="298223" y="281207"/>
                </a:cubicBezTo>
                <a:cubicBezTo>
                  <a:pt x="298223" y="285196"/>
                  <a:pt x="302215" y="285196"/>
                  <a:pt x="306207" y="285196"/>
                </a:cubicBezTo>
                <a:cubicBezTo>
                  <a:pt x="308203" y="285196"/>
                  <a:pt x="314191" y="287191"/>
                  <a:pt x="316187" y="289185"/>
                </a:cubicBezTo>
                <a:cubicBezTo>
                  <a:pt x="318183" y="291179"/>
                  <a:pt x="324171" y="291179"/>
                  <a:pt x="328163" y="293174"/>
                </a:cubicBezTo>
                <a:cubicBezTo>
                  <a:pt x="330159" y="293174"/>
                  <a:pt x="334151" y="297163"/>
                  <a:pt x="334151" y="297163"/>
                </a:cubicBezTo>
                <a:cubicBezTo>
                  <a:pt x="334151" y="299157"/>
                  <a:pt x="340139" y="305140"/>
                  <a:pt x="340139" y="307134"/>
                </a:cubicBezTo>
                <a:cubicBezTo>
                  <a:pt x="342134" y="309129"/>
                  <a:pt x="344130" y="309129"/>
                  <a:pt x="346126" y="309129"/>
                </a:cubicBezTo>
                <a:cubicBezTo>
                  <a:pt x="348122" y="309129"/>
                  <a:pt x="356106" y="309129"/>
                  <a:pt x="356106" y="311123"/>
                </a:cubicBezTo>
                <a:cubicBezTo>
                  <a:pt x="358102" y="313118"/>
                  <a:pt x="360098" y="313118"/>
                  <a:pt x="362094" y="315112"/>
                </a:cubicBezTo>
                <a:cubicBezTo>
                  <a:pt x="364090" y="315112"/>
                  <a:pt x="366086" y="315112"/>
                  <a:pt x="368082" y="315112"/>
                </a:cubicBezTo>
                <a:cubicBezTo>
                  <a:pt x="370078" y="317106"/>
                  <a:pt x="374070" y="319101"/>
                  <a:pt x="374070" y="321095"/>
                </a:cubicBezTo>
                <a:cubicBezTo>
                  <a:pt x="376066" y="323089"/>
                  <a:pt x="378062" y="325084"/>
                  <a:pt x="380058" y="327078"/>
                </a:cubicBezTo>
                <a:cubicBezTo>
                  <a:pt x="382054" y="327078"/>
                  <a:pt x="388041" y="329073"/>
                  <a:pt x="388041" y="327078"/>
                </a:cubicBezTo>
                <a:cubicBezTo>
                  <a:pt x="390037" y="327078"/>
                  <a:pt x="396025" y="325084"/>
                  <a:pt x="398021" y="325084"/>
                </a:cubicBezTo>
                <a:cubicBezTo>
                  <a:pt x="398021" y="327078"/>
                  <a:pt x="400017" y="329073"/>
                  <a:pt x="402013" y="327078"/>
                </a:cubicBezTo>
                <a:cubicBezTo>
                  <a:pt x="404009" y="325084"/>
                  <a:pt x="408001" y="323089"/>
                  <a:pt x="409997" y="323089"/>
                </a:cubicBezTo>
                <a:cubicBezTo>
                  <a:pt x="411993" y="323089"/>
                  <a:pt x="415985" y="325084"/>
                  <a:pt x="415985" y="327078"/>
                </a:cubicBezTo>
                <a:cubicBezTo>
                  <a:pt x="415985" y="331067"/>
                  <a:pt x="417981" y="335056"/>
                  <a:pt x="419977" y="337050"/>
                </a:cubicBezTo>
                <a:cubicBezTo>
                  <a:pt x="419977" y="339045"/>
                  <a:pt x="423969" y="341039"/>
                  <a:pt x="429956" y="339045"/>
                </a:cubicBezTo>
                <a:cubicBezTo>
                  <a:pt x="435944" y="339045"/>
                  <a:pt x="439936" y="337050"/>
                  <a:pt x="443928" y="341039"/>
                </a:cubicBezTo>
                <a:cubicBezTo>
                  <a:pt x="449916" y="345028"/>
                  <a:pt x="451912" y="347022"/>
                  <a:pt x="453908" y="349016"/>
                </a:cubicBezTo>
                <a:cubicBezTo>
                  <a:pt x="455904" y="349016"/>
                  <a:pt x="459896" y="349016"/>
                  <a:pt x="463888" y="349016"/>
                </a:cubicBezTo>
                <a:cubicBezTo>
                  <a:pt x="465884" y="351011"/>
                  <a:pt x="467880" y="353005"/>
                  <a:pt x="469876" y="353005"/>
                </a:cubicBezTo>
                <a:cubicBezTo>
                  <a:pt x="471872" y="355000"/>
                  <a:pt x="477859" y="349016"/>
                  <a:pt x="481851" y="349016"/>
                </a:cubicBezTo>
                <a:cubicBezTo>
                  <a:pt x="485843" y="349016"/>
                  <a:pt x="483847" y="351011"/>
                  <a:pt x="489835" y="351011"/>
                </a:cubicBezTo>
                <a:cubicBezTo>
                  <a:pt x="495823" y="353005"/>
                  <a:pt x="497819" y="353005"/>
                  <a:pt x="499815" y="351011"/>
                </a:cubicBezTo>
                <a:cubicBezTo>
                  <a:pt x="501811" y="351011"/>
                  <a:pt x="505803" y="353005"/>
                  <a:pt x="505803" y="353005"/>
                </a:cubicBezTo>
                <a:cubicBezTo>
                  <a:pt x="505803" y="353005"/>
                  <a:pt x="505803" y="353005"/>
                  <a:pt x="507799" y="349016"/>
                </a:cubicBezTo>
                <a:cubicBezTo>
                  <a:pt x="509795" y="349016"/>
                  <a:pt x="507799" y="343033"/>
                  <a:pt x="507799" y="341039"/>
                </a:cubicBezTo>
                <a:cubicBezTo>
                  <a:pt x="507799" y="339045"/>
                  <a:pt x="505803" y="327078"/>
                  <a:pt x="505803" y="325084"/>
                </a:cubicBezTo>
                <a:cubicBezTo>
                  <a:pt x="505803" y="323089"/>
                  <a:pt x="507799" y="319101"/>
                  <a:pt x="505803" y="317106"/>
                </a:cubicBezTo>
                <a:cubicBezTo>
                  <a:pt x="505803" y="315112"/>
                  <a:pt x="503807" y="311123"/>
                  <a:pt x="503807" y="311123"/>
                </a:cubicBezTo>
                <a:cubicBezTo>
                  <a:pt x="505803" y="309129"/>
                  <a:pt x="511791" y="307134"/>
                  <a:pt x="513787" y="305140"/>
                </a:cubicBezTo>
                <a:cubicBezTo>
                  <a:pt x="515783" y="303146"/>
                  <a:pt x="517779" y="301151"/>
                  <a:pt x="519774" y="301151"/>
                </a:cubicBezTo>
                <a:cubicBezTo>
                  <a:pt x="521770" y="301151"/>
                  <a:pt x="523766" y="301151"/>
                  <a:pt x="523766" y="305140"/>
                </a:cubicBezTo>
                <a:cubicBezTo>
                  <a:pt x="525762" y="307134"/>
                  <a:pt x="525762" y="311123"/>
                  <a:pt x="525762" y="313118"/>
                </a:cubicBezTo>
                <a:cubicBezTo>
                  <a:pt x="525762" y="315112"/>
                  <a:pt x="525762" y="321095"/>
                  <a:pt x="527758" y="319101"/>
                </a:cubicBezTo>
                <a:cubicBezTo>
                  <a:pt x="525762" y="321095"/>
                  <a:pt x="523766" y="323089"/>
                  <a:pt x="523766" y="327078"/>
                </a:cubicBezTo>
                <a:cubicBezTo>
                  <a:pt x="523766" y="329073"/>
                  <a:pt x="523766" y="331067"/>
                  <a:pt x="527758" y="333061"/>
                </a:cubicBezTo>
                <a:cubicBezTo>
                  <a:pt x="529754" y="337050"/>
                  <a:pt x="533746" y="337050"/>
                  <a:pt x="537738" y="335056"/>
                </a:cubicBezTo>
                <a:cubicBezTo>
                  <a:pt x="541730" y="335056"/>
                  <a:pt x="543726" y="333061"/>
                  <a:pt x="545722" y="335056"/>
                </a:cubicBezTo>
                <a:cubicBezTo>
                  <a:pt x="547718" y="335056"/>
                  <a:pt x="551710" y="339045"/>
                  <a:pt x="553706" y="337050"/>
                </a:cubicBezTo>
                <a:cubicBezTo>
                  <a:pt x="555702" y="337050"/>
                  <a:pt x="559694" y="333061"/>
                  <a:pt x="559694" y="335056"/>
                </a:cubicBezTo>
                <a:cubicBezTo>
                  <a:pt x="561690" y="335056"/>
                  <a:pt x="567677" y="337050"/>
                  <a:pt x="569673" y="337050"/>
                </a:cubicBezTo>
                <a:cubicBezTo>
                  <a:pt x="571669" y="337050"/>
                  <a:pt x="573665" y="337050"/>
                  <a:pt x="575661" y="337050"/>
                </a:cubicBezTo>
                <a:cubicBezTo>
                  <a:pt x="577657" y="335056"/>
                  <a:pt x="579653" y="335056"/>
                  <a:pt x="581649" y="335056"/>
                </a:cubicBezTo>
                <a:cubicBezTo>
                  <a:pt x="583645" y="333061"/>
                  <a:pt x="583645" y="333061"/>
                  <a:pt x="587637" y="333061"/>
                </a:cubicBezTo>
                <a:cubicBezTo>
                  <a:pt x="591629" y="333061"/>
                  <a:pt x="595621" y="335056"/>
                  <a:pt x="597617" y="335056"/>
                </a:cubicBezTo>
                <a:cubicBezTo>
                  <a:pt x="601609" y="335056"/>
                  <a:pt x="597617" y="333061"/>
                  <a:pt x="601609" y="335056"/>
                </a:cubicBezTo>
                <a:cubicBezTo>
                  <a:pt x="605601" y="337050"/>
                  <a:pt x="609592" y="335056"/>
                  <a:pt x="609592" y="335056"/>
                </a:cubicBezTo>
                <a:cubicBezTo>
                  <a:pt x="609592" y="333061"/>
                  <a:pt x="609592" y="329073"/>
                  <a:pt x="609592" y="327078"/>
                </a:cubicBezTo>
                <a:cubicBezTo>
                  <a:pt x="609592" y="325084"/>
                  <a:pt x="609592" y="321095"/>
                  <a:pt x="609592" y="319101"/>
                </a:cubicBezTo>
                <a:cubicBezTo>
                  <a:pt x="609592" y="317106"/>
                  <a:pt x="607596" y="315112"/>
                  <a:pt x="605601" y="315112"/>
                </a:cubicBezTo>
                <a:cubicBezTo>
                  <a:pt x="603605" y="313118"/>
                  <a:pt x="599613" y="313118"/>
                  <a:pt x="597617" y="311123"/>
                </a:cubicBezTo>
                <a:cubicBezTo>
                  <a:pt x="595621" y="311123"/>
                  <a:pt x="593625" y="305140"/>
                  <a:pt x="593625" y="305140"/>
                </a:cubicBezTo>
                <a:cubicBezTo>
                  <a:pt x="593625" y="305140"/>
                  <a:pt x="599613" y="305140"/>
                  <a:pt x="603605" y="305140"/>
                </a:cubicBezTo>
                <a:cubicBezTo>
                  <a:pt x="609592" y="305140"/>
                  <a:pt x="613584" y="307134"/>
                  <a:pt x="615580" y="307134"/>
                </a:cubicBezTo>
                <a:cubicBezTo>
                  <a:pt x="617576" y="305140"/>
                  <a:pt x="619572" y="303146"/>
                  <a:pt x="621568" y="303146"/>
                </a:cubicBezTo>
                <a:cubicBezTo>
                  <a:pt x="621568" y="301151"/>
                  <a:pt x="623564" y="299157"/>
                  <a:pt x="623564" y="297163"/>
                </a:cubicBezTo>
                <a:cubicBezTo>
                  <a:pt x="625560" y="295168"/>
                  <a:pt x="625560" y="295168"/>
                  <a:pt x="625560" y="293174"/>
                </a:cubicBezTo>
                <a:cubicBezTo>
                  <a:pt x="627556" y="293174"/>
                  <a:pt x="627556" y="293174"/>
                  <a:pt x="629552" y="291179"/>
                </a:cubicBezTo>
                <a:cubicBezTo>
                  <a:pt x="631548" y="291179"/>
                  <a:pt x="637536" y="289185"/>
                  <a:pt x="639532" y="289185"/>
                </a:cubicBezTo>
                <a:cubicBezTo>
                  <a:pt x="639532" y="289185"/>
                  <a:pt x="641528" y="285196"/>
                  <a:pt x="641528" y="283202"/>
                </a:cubicBezTo>
                <a:cubicBezTo>
                  <a:pt x="643524" y="281207"/>
                  <a:pt x="643524" y="281207"/>
                  <a:pt x="645520" y="281207"/>
                </a:cubicBezTo>
                <a:cubicBezTo>
                  <a:pt x="647516" y="279213"/>
                  <a:pt x="649512" y="279213"/>
                  <a:pt x="651507" y="279213"/>
                </a:cubicBezTo>
                <a:cubicBezTo>
                  <a:pt x="653503" y="277219"/>
                  <a:pt x="653503" y="277219"/>
                  <a:pt x="655499" y="277219"/>
                </a:cubicBezTo>
                <a:cubicBezTo>
                  <a:pt x="655499" y="277219"/>
                  <a:pt x="659491" y="277219"/>
                  <a:pt x="659491" y="275224"/>
                </a:cubicBezTo>
                <a:cubicBezTo>
                  <a:pt x="661487" y="273230"/>
                  <a:pt x="661487" y="273230"/>
                  <a:pt x="663483" y="271236"/>
                </a:cubicBezTo>
                <a:cubicBezTo>
                  <a:pt x="665479" y="269241"/>
                  <a:pt x="665479" y="269241"/>
                  <a:pt x="667475" y="267247"/>
                </a:cubicBezTo>
                <a:cubicBezTo>
                  <a:pt x="667475" y="265252"/>
                  <a:pt x="669471" y="263258"/>
                  <a:pt x="669471" y="263258"/>
                </a:cubicBezTo>
                <a:cubicBezTo>
                  <a:pt x="671467" y="261264"/>
                  <a:pt x="671467" y="259269"/>
                  <a:pt x="673463" y="259269"/>
                </a:cubicBezTo>
                <a:cubicBezTo>
                  <a:pt x="673463" y="259269"/>
                  <a:pt x="675459" y="259269"/>
                  <a:pt x="677455" y="261264"/>
                </a:cubicBezTo>
                <a:cubicBezTo>
                  <a:pt x="679451" y="263258"/>
                  <a:pt x="681447" y="263258"/>
                  <a:pt x="683443" y="263258"/>
                </a:cubicBezTo>
                <a:cubicBezTo>
                  <a:pt x="683443" y="265252"/>
                  <a:pt x="685439" y="265252"/>
                  <a:pt x="687435" y="265252"/>
                </a:cubicBezTo>
                <a:cubicBezTo>
                  <a:pt x="687435" y="265252"/>
                  <a:pt x="689431" y="267247"/>
                  <a:pt x="691427" y="265252"/>
                </a:cubicBezTo>
                <a:cubicBezTo>
                  <a:pt x="691427" y="265252"/>
                  <a:pt x="693423" y="265252"/>
                  <a:pt x="695418" y="265252"/>
                </a:cubicBezTo>
                <a:cubicBezTo>
                  <a:pt x="697414" y="263258"/>
                  <a:pt x="699410" y="263258"/>
                  <a:pt x="699410" y="261264"/>
                </a:cubicBezTo>
                <a:cubicBezTo>
                  <a:pt x="701406" y="259269"/>
                  <a:pt x="705398" y="259269"/>
                  <a:pt x="705398" y="257275"/>
                </a:cubicBezTo>
                <a:cubicBezTo>
                  <a:pt x="707394" y="257275"/>
                  <a:pt x="707394" y="257275"/>
                  <a:pt x="709390" y="257275"/>
                </a:cubicBezTo>
                <a:cubicBezTo>
                  <a:pt x="711386" y="257275"/>
                  <a:pt x="715378" y="255281"/>
                  <a:pt x="717374" y="257275"/>
                </a:cubicBezTo>
                <a:cubicBezTo>
                  <a:pt x="719370" y="259269"/>
                  <a:pt x="721366" y="259269"/>
                  <a:pt x="721366" y="261264"/>
                </a:cubicBezTo>
                <a:cubicBezTo>
                  <a:pt x="721366" y="263258"/>
                  <a:pt x="721366" y="263258"/>
                  <a:pt x="719370" y="265252"/>
                </a:cubicBezTo>
                <a:cubicBezTo>
                  <a:pt x="719370" y="267247"/>
                  <a:pt x="719370" y="267247"/>
                  <a:pt x="719370" y="269241"/>
                </a:cubicBezTo>
                <a:cubicBezTo>
                  <a:pt x="721366" y="269241"/>
                  <a:pt x="723362" y="269241"/>
                  <a:pt x="725358" y="269241"/>
                </a:cubicBezTo>
                <a:cubicBezTo>
                  <a:pt x="727354" y="271236"/>
                  <a:pt x="727354" y="273230"/>
                  <a:pt x="727354" y="273230"/>
                </a:cubicBezTo>
                <a:cubicBezTo>
                  <a:pt x="727354" y="273230"/>
                  <a:pt x="727354" y="275224"/>
                  <a:pt x="727354" y="275224"/>
                </a:cubicBezTo>
                <a:cubicBezTo>
                  <a:pt x="729350" y="277219"/>
                  <a:pt x="731346" y="277219"/>
                  <a:pt x="729350" y="277219"/>
                </a:cubicBezTo>
                <a:cubicBezTo>
                  <a:pt x="729350" y="279213"/>
                  <a:pt x="727354" y="281207"/>
                  <a:pt x="725358" y="281207"/>
                </a:cubicBezTo>
                <a:cubicBezTo>
                  <a:pt x="725358" y="283202"/>
                  <a:pt x="725358" y="285196"/>
                  <a:pt x="727354" y="287191"/>
                </a:cubicBezTo>
                <a:cubicBezTo>
                  <a:pt x="727354" y="287191"/>
                  <a:pt x="729350" y="287191"/>
                  <a:pt x="731346" y="287191"/>
                </a:cubicBezTo>
                <a:cubicBezTo>
                  <a:pt x="731346" y="287191"/>
                  <a:pt x="733342" y="285196"/>
                  <a:pt x="735338" y="287191"/>
                </a:cubicBezTo>
                <a:cubicBezTo>
                  <a:pt x="735338" y="287191"/>
                  <a:pt x="735338" y="287191"/>
                  <a:pt x="737334" y="289185"/>
                </a:cubicBezTo>
                <a:cubicBezTo>
                  <a:pt x="737334" y="289185"/>
                  <a:pt x="737334" y="289185"/>
                  <a:pt x="739329" y="287191"/>
                </a:cubicBezTo>
                <a:cubicBezTo>
                  <a:pt x="739329" y="287191"/>
                  <a:pt x="739329" y="287191"/>
                  <a:pt x="741325" y="289185"/>
                </a:cubicBezTo>
                <a:cubicBezTo>
                  <a:pt x="741325" y="289185"/>
                  <a:pt x="741325" y="289185"/>
                  <a:pt x="745317" y="289185"/>
                </a:cubicBezTo>
                <a:cubicBezTo>
                  <a:pt x="749309" y="291179"/>
                  <a:pt x="751305" y="295168"/>
                  <a:pt x="751305" y="299157"/>
                </a:cubicBezTo>
                <a:cubicBezTo>
                  <a:pt x="751305" y="301151"/>
                  <a:pt x="749309" y="303146"/>
                  <a:pt x="747313" y="305140"/>
                </a:cubicBezTo>
                <a:cubicBezTo>
                  <a:pt x="745317" y="307134"/>
                  <a:pt x="741325" y="311123"/>
                  <a:pt x="741325" y="313118"/>
                </a:cubicBezTo>
                <a:cubicBezTo>
                  <a:pt x="739329" y="315112"/>
                  <a:pt x="741325" y="319101"/>
                  <a:pt x="743321" y="321095"/>
                </a:cubicBezTo>
                <a:cubicBezTo>
                  <a:pt x="743321" y="323089"/>
                  <a:pt x="741325" y="325084"/>
                  <a:pt x="739329" y="325084"/>
                </a:cubicBezTo>
                <a:cubicBezTo>
                  <a:pt x="737334" y="327078"/>
                  <a:pt x="737334" y="325084"/>
                  <a:pt x="733342" y="323089"/>
                </a:cubicBezTo>
                <a:cubicBezTo>
                  <a:pt x="731346" y="321095"/>
                  <a:pt x="729350" y="323089"/>
                  <a:pt x="727354" y="323089"/>
                </a:cubicBezTo>
                <a:cubicBezTo>
                  <a:pt x="725358" y="323089"/>
                  <a:pt x="725358" y="323089"/>
                  <a:pt x="721366" y="323089"/>
                </a:cubicBezTo>
                <a:cubicBezTo>
                  <a:pt x="719370" y="323089"/>
                  <a:pt x="719370" y="325084"/>
                  <a:pt x="717374" y="327078"/>
                </a:cubicBezTo>
                <a:cubicBezTo>
                  <a:pt x="715378" y="327078"/>
                  <a:pt x="713382" y="331067"/>
                  <a:pt x="711386" y="331067"/>
                </a:cubicBezTo>
                <a:cubicBezTo>
                  <a:pt x="711386" y="333061"/>
                  <a:pt x="711386" y="331067"/>
                  <a:pt x="711386" y="333061"/>
                </a:cubicBezTo>
                <a:cubicBezTo>
                  <a:pt x="709390" y="335056"/>
                  <a:pt x="707394" y="337050"/>
                  <a:pt x="705398" y="337050"/>
                </a:cubicBezTo>
                <a:cubicBezTo>
                  <a:pt x="703402" y="339045"/>
                  <a:pt x="697414" y="341039"/>
                  <a:pt x="695418" y="343033"/>
                </a:cubicBezTo>
                <a:cubicBezTo>
                  <a:pt x="693423" y="345028"/>
                  <a:pt x="691427" y="349016"/>
                  <a:pt x="691427" y="349016"/>
                </a:cubicBezTo>
                <a:cubicBezTo>
                  <a:pt x="691427" y="351011"/>
                  <a:pt x="693423" y="358988"/>
                  <a:pt x="693423" y="360983"/>
                </a:cubicBezTo>
                <a:cubicBezTo>
                  <a:pt x="695418" y="362977"/>
                  <a:pt x="695418" y="364971"/>
                  <a:pt x="695418" y="366966"/>
                </a:cubicBezTo>
                <a:cubicBezTo>
                  <a:pt x="693423" y="368960"/>
                  <a:pt x="691427" y="372949"/>
                  <a:pt x="691427" y="376938"/>
                </a:cubicBezTo>
                <a:cubicBezTo>
                  <a:pt x="689431" y="378932"/>
                  <a:pt x="685439" y="380926"/>
                  <a:pt x="685439" y="380926"/>
                </a:cubicBezTo>
                <a:cubicBezTo>
                  <a:pt x="683443" y="382921"/>
                  <a:pt x="681447" y="386910"/>
                  <a:pt x="681447" y="388904"/>
                </a:cubicBezTo>
                <a:cubicBezTo>
                  <a:pt x="681447" y="390898"/>
                  <a:pt x="685439" y="390898"/>
                  <a:pt x="685439" y="394887"/>
                </a:cubicBezTo>
                <a:cubicBezTo>
                  <a:pt x="685439" y="396882"/>
                  <a:pt x="685439" y="402865"/>
                  <a:pt x="683443" y="402865"/>
                </a:cubicBezTo>
                <a:cubicBezTo>
                  <a:pt x="683443" y="404859"/>
                  <a:pt x="681447" y="410842"/>
                  <a:pt x="679451" y="410842"/>
                </a:cubicBezTo>
                <a:cubicBezTo>
                  <a:pt x="677455" y="412837"/>
                  <a:pt x="675459" y="414831"/>
                  <a:pt x="675459" y="416825"/>
                </a:cubicBezTo>
                <a:cubicBezTo>
                  <a:pt x="673463" y="418820"/>
                  <a:pt x="675459" y="422808"/>
                  <a:pt x="675459" y="424803"/>
                </a:cubicBezTo>
                <a:cubicBezTo>
                  <a:pt x="673463" y="426797"/>
                  <a:pt x="671467" y="428792"/>
                  <a:pt x="669471" y="428792"/>
                </a:cubicBezTo>
                <a:cubicBezTo>
                  <a:pt x="667475" y="428792"/>
                  <a:pt x="659491" y="426797"/>
                  <a:pt x="659491" y="426797"/>
                </a:cubicBezTo>
                <a:cubicBezTo>
                  <a:pt x="655499" y="428792"/>
                  <a:pt x="649512" y="424803"/>
                  <a:pt x="647516" y="424803"/>
                </a:cubicBezTo>
                <a:cubicBezTo>
                  <a:pt x="645520" y="426797"/>
                  <a:pt x="645520" y="428792"/>
                  <a:pt x="647516" y="430786"/>
                </a:cubicBezTo>
                <a:cubicBezTo>
                  <a:pt x="647516" y="432780"/>
                  <a:pt x="651507" y="436769"/>
                  <a:pt x="651507" y="436769"/>
                </a:cubicBezTo>
                <a:cubicBezTo>
                  <a:pt x="651507" y="438764"/>
                  <a:pt x="651507" y="444747"/>
                  <a:pt x="651507" y="448735"/>
                </a:cubicBezTo>
                <a:cubicBezTo>
                  <a:pt x="651507" y="450730"/>
                  <a:pt x="647516" y="454719"/>
                  <a:pt x="645520" y="456713"/>
                </a:cubicBezTo>
                <a:cubicBezTo>
                  <a:pt x="643524" y="456713"/>
                  <a:pt x="643524" y="458707"/>
                  <a:pt x="643524" y="462696"/>
                </a:cubicBezTo>
                <a:cubicBezTo>
                  <a:pt x="643524" y="466685"/>
                  <a:pt x="645520" y="470674"/>
                  <a:pt x="645520" y="470674"/>
                </a:cubicBezTo>
                <a:cubicBezTo>
                  <a:pt x="645520" y="472668"/>
                  <a:pt x="649512" y="486629"/>
                  <a:pt x="649512" y="486629"/>
                </a:cubicBezTo>
                <a:cubicBezTo>
                  <a:pt x="647516" y="488623"/>
                  <a:pt x="645520" y="490617"/>
                  <a:pt x="645520" y="490617"/>
                </a:cubicBezTo>
                <a:cubicBezTo>
                  <a:pt x="645520" y="490617"/>
                  <a:pt x="643524" y="488623"/>
                  <a:pt x="643524" y="486629"/>
                </a:cubicBezTo>
                <a:cubicBezTo>
                  <a:pt x="641528" y="484634"/>
                  <a:pt x="639532" y="484634"/>
                  <a:pt x="639532" y="484634"/>
                </a:cubicBezTo>
                <a:cubicBezTo>
                  <a:pt x="639532" y="484634"/>
                  <a:pt x="635540" y="486629"/>
                  <a:pt x="635540" y="486629"/>
                </a:cubicBezTo>
                <a:cubicBezTo>
                  <a:pt x="631548" y="484634"/>
                  <a:pt x="631548" y="482640"/>
                  <a:pt x="631548" y="480646"/>
                </a:cubicBezTo>
                <a:cubicBezTo>
                  <a:pt x="629552" y="478651"/>
                  <a:pt x="629552" y="476657"/>
                  <a:pt x="629552" y="472668"/>
                </a:cubicBezTo>
                <a:cubicBezTo>
                  <a:pt x="627556" y="468679"/>
                  <a:pt x="627556" y="462696"/>
                  <a:pt x="625560" y="460702"/>
                </a:cubicBezTo>
                <a:cubicBezTo>
                  <a:pt x="625560" y="458707"/>
                  <a:pt x="625560" y="456713"/>
                  <a:pt x="623564" y="454719"/>
                </a:cubicBezTo>
                <a:cubicBezTo>
                  <a:pt x="621568" y="452724"/>
                  <a:pt x="621568" y="446741"/>
                  <a:pt x="621568" y="444747"/>
                </a:cubicBezTo>
                <a:cubicBezTo>
                  <a:pt x="621568" y="442752"/>
                  <a:pt x="621568" y="438764"/>
                  <a:pt x="621568" y="436769"/>
                </a:cubicBezTo>
                <a:cubicBezTo>
                  <a:pt x="619572" y="432780"/>
                  <a:pt x="619572" y="434775"/>
                  <a:pt x="615580" y="434775"/>
                </a:cubicBezTo>
                <a:cubicBezTo>
                  <a:pt x="613584" y="434775"/>
                  <a:pt x="613584" y="436769"/>
                  <a:pt x="611588" y="436769"/>
                </a:cubicBezTo>
                <a:cubicBezTo>
                  <a:pt x="609592" y="438764"/>
                  <a:pt x="609592" y="440758"/>
                  <a:pt x="609592" y="442752"/>
                </a:cubicBezTo>
                <a:cubicBezTo>
                  <a:pt x="609592" y="444747"/>
                  <a:pt x="609592" y="448735"/>
                  <a:pt x="609592" y="450730"/>
                </a:cubicBezTo>
                <a:cubicBezTo>
                  <a:pt x="607596" y="452724"/>
                  <a:pt x="605601" y="454719"/>
                  <a:pt x="603605" y="454719"/>
                </a:cubicBezTo>
                <a:cubicBezTo>
                  <a:pt x="601609" y="452724"/>
                  <a:pt x="599613" y="450730"/>
                  <a:pt x="597617" y="446741"/>
                </a:cubicBezTo>
                <a:cubicBezTo>
                  <a:pt x="595621" y="444747"/>
                  <a:pt x="593625" y="434775"/>
                  <a:pt x="593625" y="432780"/>
                </a:cubicBezTo>
                <a:cubicBezTo>
                  <a:pt x="593625" y="430786"/>
                  <a:pt x="595621" y="424803"/>
                  <a:pt x="595621" y="422808"/>
                </a:cubicBezTo>
                <a:cubicBezTo>
                  <a:pt x="595621" y="420814"/>
                  <a:pt x="597617" y="420814"/>
                  <a:pt x="601609" y="418820"/>
                </a:cubicBezTo>
                <a:cubicBezTo>
                  <a:pt x="601609" y="416825"/>
                  <a:pt x="607596" y="416825"/>
                  <a:pt x="609592" y="418820"/>
                </a:cubicBezTo>
                <a:cubicBezTo>
                  <a:pt x="611588" y="418820"/>
                  <a:pt x="613584" y="416825"/>
                  <a:pt x="613584" y="416825"/>
                </a:cubicBezTo>
                <a:cubicBezTo>
                  <a:pt x="613584" y="414831"/>
                  <a:pt x="613584" y="410842"/>
                  <a:pt x="613584" y="410842"/>
                </a:cubicBezTo>
                <a:cubicBezTo>
                  <a:pt x="613584" y="408848"/>
                  <a:pt x="619572" y="404859"/>
                  <a:pt x="619572" y="404859"/>
                </a:cubicBezTo>
                <a:cubicBezTo>
                  <a:pt x="619572" y="404859"/>
                  <a:pt x="617576" y="402865"/>
                  <a:pt x="619572" y="400870"/>
                </a:cubicBezTo>
                <a:cubicBezTo>
                  <a:pt x="619572" y="400870"/>
                  <a:pt x="621568" y="398876"/>
                  <a:pt x="623564" y="396882"/>
                </a:cubicBezTo>
                <a:cubicBezTo>
                  <a:pt x="623564" y="394887"/>
                  <a:pt x="621568" y="392893"/>
                  <a:pt x="619572" y="392893"/>
                </a:cubicBezTo>
                <a:cubicBezTo>
                  <a:pt x="617576" y="392893"/>
                  <a:pt x="613584" y="390898"/>
                  <a:pt x="613584" y="390898"/>
                </a:cubicBezTo>
                <a:cubicBezTo>
                  <a:pt x="613584" y="390898"/>
                  <a:pt x="613584" y="390898"/>
                  <a:pt x="613584" y="388904"/>
                </a:cubicBezTo>
                <a:cubicBezTo>
                  <a:pt x="613584" y="388904"/>
                  <a:pt x="609592" y="386910"/>
                  <a:pt x="607596" y="386910"/>
                </a:cubicBezTo>
                <a:cubicBezTo>
                  <a:pt x="605601" y="386910"/>
                  <a:pt x="601609" y="386910"/>
                  <a:pt x="601609" y="386910"/>
                </a:cubicBezTo>
                <a:cubicBezTo>
                  <a:pt x="601609" y="386910"/>
                  <a:pt x="591629" y="386910"/>
                  <a:pt x="591629" y="386910"/>
                </a:cubicBezTo>
                <a:cubicBezTo>
                  <a:pt x="587637" y="386910"/>
                  <a:pt x="585641" y="386910"/>
                  <a:pt x="583645" y="386910"/>
                </a:cubicBezTo>
                <a:cubicBezTo>
                  <a:pt x="579653" y="386910"/>
                  <a:pt x="577657" y="386910"/>
                  <a:pt x="575661" y="386910"/>
                </a:cubicBezTo>
                <a:cubicBezTo>
                  <a:pt x="573665" y="386910"/>
                  <a:pt x="569673" y="384915"/>
                  <a:pt x="567677" y="384915"/>
                </a:cubicBezTo>
                <a:cubicBezTo>
                  <a:pt x="565681" y="384915"/>
                  <a:pt x="561690" y="384915"/>
                  <a:pt x="559694" y="382921"/>
                </a:cubicBezTo>
                <a:cubicBezTo>
                  <a:pt x="557698" y="382921"/>
                  <a:pt x="557698" y="382921"/>
                  <a:pt x="557698" y="378932"/>
                </a:cubicBezTo>
                <a:cubicBezTo>
                  <a:pt x="555702" y="378932"/>
                  <a:pt x="555702" y="374943"/>
                  <a:pt x="555702" y="372949"/>
                </a:cubicBezTo>
                <a:cubicBezTo>
                  <a:pt x="555702" y="370955"/>
                  <a:pt x="553706" y="366966"/>
                  <a:pt x="553706" y="364971"/>
                </a:cubicBezTo>
                <a:cubicBezTo>
                  <a:pt x="551710" y="362977"/>
                  <a:pt x="551710" y="360983"/>
                  <a:pt x="549714" y="358988"/>
                </a:cubicBezTo>
                <a:cubicBezTo>
                  <a:pt x="545722" y="356994"/>
                  <a:pt x="545722" y="358988"/>
                  <a:pt x="543726" y="358988"/>
                </a:cubicBezTo>
                <a:cubicBezTo>
                  <a:pt x="541730" y="360983"/>
                  <a:pt x="541730" y="360983"/>
                  <a:pt x="539734" y="362977"/>
                </a:cubicBezTo>
                <a:cubicBezTo>
                  <a:pt x="537738" y="364971"/>
                  <a:pt x="537738" y="362977"/>
                  <a:pt x="535742" y="360983"/>
                </a:cubicBezTo>
                <a:cubicBezTo>
                  <a:pt x="533746" y="358988"/>
                  <a:pt x="533746" y="355000"/>
                  <a:pt x="531750" y="353005"/>
                </a:cubicBezTo>
                <a:cubicBezTo>
                  <a:pt x="529754" y="351011"/>
                  <a:pt x="527758" y="353005"/>
                  <a:pt x="527758" y="355000"/>
                </a:cubicBezTo>
                <a:cubicBezTo>
                  <a:pt x="525762" y="356994"/>
                  <a:pt x="525762" y="360983"/>
                  <a:pt x="525762" y="360983"/>
                </a:cubicBezTo>
                <a:cubicBezTo>
                  <a:pt x="525762" y="360983"/>
                  <a:pt x="523766" y="362977"/>
                  <a:pt x="523766" y="360983"/>
                </a:cubicBezTo>
                <a:cubicBezTo>
                  <a:pt x="521770" y="360983"/>
                  <a:pt x="519774" y="353005"/>
                  <a:pt x="515783" y="353005"/>
                </a:cubicBezTo>
                <a:cubicBezTo>
                  <a:pt x="513787" y="353005"/>
                  <a:pt x="513787" y="353005"/>
                  <a:pt x="513787" y="355000"/>
                </a:cubicBezTo>
                <a:cubicBezTo>
                  <a:pt x="513787" y="356994"/>
                  <a:pt x="515783" y="360983"/>
                  <a:pt x="515783" y="362977"/>
                </a:cubicBezTo>
                <a:cubicBezTo>
                  <a:pt x="515783" y="362977"/>
                  <a:pt x="513787" y="364971"/>
                  <a:pt x="513787" y="366966"/>
                </a:cubicBezTo>
                <a:cubicBezTo>
                  <a:pt x="511791" y="366966"/>
                  <a:pt x="507799" y="368960"/>
                  <a:pt x="507799" y="370955"/>
                </a:cubicBezTo>
                <a:cubicBezTo>
                  <a:pt x="507799" y="372949"/>
                  <a:pt x="507799" y="374943"/>
                  <a:pt x="507799" y="376938"/>
                </a:cubicBezTo>
                <a:cubicBezTo>
                  <a:pt x="507799" y="376938"/>
                  <a:pt x="513787" y="382921"/>
                  <a:pt x="515783" y="382921"/>
                </a:cubicBezTo>
                <a:cubicBezTo>
                  <a:pt x="515783" y="384915"/>
                  <a:pt x="519774" y="384915"/>
                  <a:pt x="521770" y="386910"/>
                </a:cubicBezTo>
                <a:cubicBezTo>
                  <a:pt x="523766" y="386910"/>
                  <a:pt x="523766" y="390898"/>
                  <a:pt x="521770" y="392893"/>
                </a:cubicBezTo>
                <a:cubicBezTo>
                  <a:pt x="519774" y="394887"/>
                  <a:pt x="515783" y="394887"/>
                  <a:pt x="513787" y="396882"/>
                </a:cubicBezTo>
                <a:cubicBezTo>
                  <a:pt x="513787" y="398876"/>
                  <a:pt x="511791" y="400870"/>
                  <a:pt x="509795" y="402865"/>
                </a:cubicBezTo>
                <a:cubicBezTo>
                  <a:pt x="509795" y="402865"/>
                  <a:pt x="507799" y="410842"/>
                  <a:pt x="507799" y="412837"/>
                </a:cubicBezTo>
                <a:cubicBezTo>
                  <a:pt x="505803" y="414831"/>
                  <a:pt x="507799" y="416825"/>
                  <a:pt x="507799" y="420814"/>
                </a:cubicBezTo>
                <a:cubicBezTo>
                  <a:pt x="507799" y="422808"/>
                  <a:pt x="511791" y="424803"/>
                  <a:pt x="513787" y="424803"/>
                </a:cubicBezTo>
                <a:cubicBezTo>
                  <a:pt x="515783" y="424803"/>
                  <a:pt x="517779" y="422808"/>
                  <a:pt x="519774" y="420814"/>
                </a:cubicBezTo>
                <a:cubicBezTo>
                  <a:pt x="519774" y="420814"/>
                  <a:pt x="521770" y="418820"/>
                  <a:pt x="521770" y="416825"/>
                </a:cubicBezTo>
                <a:cubicBezTo>
                  <a:pt x="521770" y="416825"/>
                  <a:pt x="523766" y="414831"/>
                  <a:pt x="525762" y="414831"/>
                </a:cubicBezTo>
                <a:cubicBezTo>
                  <a:pt x="527758" y="412837"/>
                  <a:pt x="527758" y="422808"/>
                  <a:pt x="527758" y="422808"/>
                </a:cubicBezTo>
                <a:cubicBezTo>
                  <a:pt x="527758" y="422808"/>
                  <a:pt x="527758" y="422808"/>
                  <a:pt x="525762" y="424803"/>
                </a:cubicBezTo>
                <a:cubicBezTo>
                  <a:pt x="523766" y="426797"/>
                  <a:pt x="521770" y="428792"/>
                  <a:pt x="521770" y="430786"/>
                </a:cubicBezTo>
                <a:cubicBezTo>
                  <a:pt x="519774" y="432780"/>
                  <a:pt x="519774" y="436769"/>
                  <a:pt x="519774" y="438764"/>
                </a:cubicBezTo>
                <a:cubicBezTo>
                  <a:pt x="519774" y="442752"/>
                  <a:pt x="525762" y="446741"/>
                  <a:pt x="525762" y="448735"/>
                </a:cubicBezTo>
                <a:cubicBezTo>
                  <a:pt x="527758" y="450730"/>
                  <a:pt x="531750" y="456713"/>
                  <a:pt x="533746" y="458707"/>
                </a:cubicBezTo>
                <a:cubicBezTo>
                  <a:pt x="533746" y="458707"/>
                  <a:pt x="533746" y="462696"/>
                  <a:pt x="533746" y="464690"/>
                </a:cubicBezTo>
                <a:cubicBezTo>
                  <a:pt x="533746" y="466685"/>
                  <a:pt x="533746" y="472668"/>
                  <a:pt x="533746" y="472668"/>
                </a:cubicBezTo>
                <a:cubicBezTo>
                  <a:pt x="533746" y="474662"/>
                  <a:pt x="537738" y="478651"/>
                  <a:pt x="537738" y="478651"/>
                </a:cubicBezTo>
                <a:cubicBezTo>
                  <a:pt x="537738" y="480646"/>
                  <a:pt x="539734" y="482640"/>
                  <a:pt x="539734" y="482640"/>
                </a:cubicBezTo>
                <a:cubicBezTo>
                  <a:pt x="539734" y="484634"/>
                  <a:pt x="541730" y="488623"/>
                  <a:pt x="541730" y="488623"/>
                </a:cubicBezTo>
                <a:cubicBezTo>
                  <a:pt x="541730" y="488623"/>
                  <a:pt x="541730" y="498595"/>
                  <a:pt x="541730" y="498595"/>
                </a:cubicBezTo>
                <a:cubicBezTo>
                  <a:pt x="539734" y="498595"/>
                  <a:pt x="537738" y="500589"/>
                  <a:pt x="537738" y="500589"/>
                </a:cubicBezTo>
                <a:cubicBezTo>
                  <a:pt x="533746" y="504578"/>
                  <a:pt x="531750" y="504578"/>
                  <a:pt x="529754" y="500589"/>
                </a:cubicBezTo>
                <a:cubicBezTo>
                  <a:pt x="527758" y="496601"/>
                  <a:pt x="525762" y="502584"/>
                  <a:pt x="525762" y="502584"/>
                </a:cubicBezTo>
                <a:cubicBezTo>
                  <a:pt x="525762" y="502584"/>
                  <a:pt x="521770" y="508567"/>
                  <a:pt x="519774" y="504578"/>
                </a:cubicBezTo>
                <a:cubicBezTo>
                  <a:pt x="517779" y="500589"/>
                  <a:pt x="519774" y="506572"/>
                  <a:pt x="513787" y="506572"/>
                </a:cubicBezTo>
                <a:cubicBezTo>
                  <a:pt x="509795" y="506572"/>
                  <a:pt x="511791" y="502584"/>
                  <a:pt x="511791" y="498595"/>
                </a:cubicBezTo>
                <a:cubicBezTo>
                  <a:pt x="509795" y="494606"/>
                  <a:pt x="501811" y="498595"/>
                  <a:pt x="501811" y="502584"/>
                </a:cubicBezTo>
                <a:cubicBezTo>
                  <a:pt x="501811" y="508567"/>
                  <a:pt x="491831" y="512556"/>
                  <a:pt x="491831" y="512556"/>
                </a:cubicBezTo>
                <a:cubicBezTo>
                  <a:pt x="491831" y="512556"/>
                  <a:pt x="477859" y="518539"/>
                  <a:pt x="475863" y="522527"/>
                </a:cubicBezTo>
                <a:cubicBezTo>
                  <a:pt x="473868" y="524522"/>
                  <a:pt x="465884" y="532499"/>
                  <a:pt x="473868" y="538483"/>
                </a:cubicBezTo>
                <a:cubicBezTo>
                  <a:pt x="481851" y="544466"/>
                  <a:pt x="473868" y="550449"/>
                  <a:pt x="473868" y="550449"/>
                </a:cubicBezTo>
                <a:cubicBezTo>
                  <a:pt x="473868" y="550449"/>
                  <a:pt x="467880" y="560421"/>
                  <a:pt x="463888" y="562415"/>
                </a:cubicBezTo>
                <a:cubicBezTo>
                  <a:pt x="459896" y="562415"/>
                  <a:pt x="461892" y="566404"/>
                  <a:pt x="457900" y="568398"/>
                </a:cubicBezTo>
                <a:cubicBezTo>
                  <a:pt x="453908" y="568398"/>
                  <a:pt x="449916" y="568398"/>
                  <a:pt x="449916" y="564409"/>
                </a:cubicBezTo>
                <a:cubicBezTo>
                  <a:pt x="449916" y="562415"/>
                  <a:pt x="445924" y="562415"/>
                  <a:pt x="445924" y="562415"/>
                </a:cubicBezTo>
                <a:cubicBezTo>
                  <a:pt x="445924" y="562415"/>
                  <a:pt x="439936" y="564409"/>
                  <a:pt x="441932" y="568398"/>
                </a:cubicBezTo>
                <a:cubicBezTo>
                  <a:pt x="443928" y="572387"/>
                  <a:pt x="453908" y="570393"/>
                  <a:pt x="451912" y="572387"/>
                </a:cubicBezTo>
                <a:cubicBezTo>
                  <a:pt x="447920" y="572387"/>
                  <a:pt x="437940" y="584353"/>
                  <a:pt x="435944" y="584353"/>
                </a:cubicBezTo>
                <a:cubicBezTo>
                  <a:pt x="433948" y="586348"/>
                  <a:pt x="431952" y="592331"/>
                  <a:pt x="427961" y="596320"/>
                </a:cubicBezTo>
                <a:cubicBezTo>
                  <a:pt x="423969" y="598314"/>
                  <a:pt x="419977" y="604297"/>
                  <a:pt x="417981" y="608286"/>
                </a:cubicBezTo>
                <a:cubicBezTo>
                  <a:pt x="413989" y="614269"/>
                  <a:pt x="398021" y="626235"/>
                  <a:pt x="398021" y="626235"/>
                </a:cubicBezTo>
                <a:cubicBezTo>
                  <a:pt x="398021" y="626235"/>
                  <a:pt x="398021" y="626235"/>
                  <a:pt x="384050" y="644185"/>
                </a:cubicBezTo>
                <a:cubicBezTo>
                  <a:pt x="384050" y="644185"/>
                  <a:pt x="378062" y="648173"/>
                  <a:pt x="378062" y="654157"/>
                </a:cubicBezTo>
                <a:cubicBezTo>
                  <a:pt x="380058" y="660140"/>
                  <a:pt x="384050" y="650168"/>
                  <a:pt x="384050" y="660140"/>
                </a:cubicBezTo>
                <a:cubicBezTo>
                  <a:pt x="386045" y="670112"/>
                  <a:pt x="372074" y="674100"/>
                  <a:pt x="372074" y="674100"/>
                </a:cubicBezTo>
                <a:cubicBezTo>
                  <a:pt x="372074" y="674100"/>
                  <a:pt x="362094" y="680084"/>
                  <a:pt x="360098" y="678089"/>
                </a:cubicBezTo>
                <a:cubicBezTo>
                  <a:pt x="358102" y="676095"/>
                  <a:pt x="356106" y="680084"/>
                  <a:pt x="356106" y="680084"/>
                </a:cubicBezTo>
                <a:cubicBezTo>
                  <a:pt x="356106" y="680084"/>
                  <a:pt x="356106" y="686067"/>
                  <a:pt x="352114" y="686067"/>
                </a:cubicBezTo>
                <a:cubicBezTo>
                  <a:pt x="348122" y="688061"/>
                  <a:pt x="348122" y="692050"/>
                  <a:pt x="348122" y="692050"/>
                </a:cubicBezTo>
                <a:cubicBezTo>
                  <a:pt x="348122" y="692050"/>
                  <a:pt x="348122" y="698033"/>
                  <a:pt x="346126" y="700027"/>
                </a:cubicBezTo>
                <a:cubicBezTo>
                  <a:pt x="342134" y="700027"/>
                  <a:pt x="342134" y="702022"/>
                  <a:pt x="338143" y="702022"/>
                </a:cubicBezTo>
                <a:cubicBezTo>
                  <a:pt x="334151" y="700027"/>
                  <a:pt x="338143" y="696039"/>
                  <a:pt x="334151" y="696039"/>
                </a:cubicBezTo>
                <a:cubicBezTo>
                  <a:pt x="330159" y="696039"/>
                  <a:pt x="324171" y="702022"/>
                  <a:pt x="320179" y="708005"/>
                </a:cubicBezTo>
                <a:cubicBezTo>
                  <a:pt x="316187" y="711994"/>
                  <a:pt x="318183" y="735926"/>
                  <a:pt x="320179" y="747892"/>
                </a:cubicBezTo>
                <a:cubicBezTo>
                  <a:pt x="322175" y="757864"/>
                  <a:pt x="322175" y="761853"/>
                  <a:pt x="322175" y="769831"/>
                </a:cubicBezTo>
                <a:cubicBezTo>
                  <a:pt x="322175" y="777808"/>
                  <a:pt x="318183" y="791769"/>
                  <a:pt x="314191" y="803735"/>
                </a:cubicBezTo>
                <a:cubicBezTo>
                  <a:pt x="308203" y="817696"/>
                  <a:pt x="308203" y="821685"/>
                  <a:pt x="308203" y="829662"/>
                </a:cubicBezTo>
                <a:cubicBezTo>
                  <a:pt x="310199" y="835645"/>
                  <a:pt x="314191" y="859578"/>
                  <a:pt x="312195" y="869550"/>
                </a:cubicBezTo>
                <a:cubicBezTo>
                  <a:pt x="312195" y="879522"/>
                  <a:pt x="308203" y="875533"/>
                  <a:pt x="304211" y="875533"/>
                </a:cubicBezTo>
                <a:cubicBezTo>
                  <a:pt x="300219" y="875533"/>
                  <a:pt x="298223" y="877527"/>
                  <a:pt x="300219" y="883511"/>
                </a:cubicBezTo>
                <a:cubicBezTo>
                  <a:pt x="300219" y="887499"/>
                  <a:pt x="296228" y="893483"/>
                  <a:pt x="296228" y="893483"/>
                </a:cubicBezTo>
                <a:cubicBezTo>
                  <a:pt x="296228" y="893483"/>
                  <a:pt x="288244" y="903454"/>
                  <a:pt x="290240" y="907443"/>
                </a:cubicBezTo>
                <a:cubicBezTo>
                  <a:pt x="292236" y="911432"/>
                  <a:pt x="292236" y="913426"/>
                  <a:pt x="288244" y="913426"/>
                </a:cubicBezTo>
                <a:cubicBezTo>
                  <a:pt x="286248" y="913426"/>
                  <a:pt x="282256" y="915421"/>
                  <a:pt x="276268" y="921404"/>
                </a:cubicBezTo>
                <a:cubicBezTo>
                  <a:pt x="270280" y="927387"/>
                  <a:pt x="266288" y="943342"/>
                  <a:pt x="262296" y="947331"/>
                </a:cubicBezTo>
                <a:cubicBezTo>
                  <a:pt x="256308" y="949325"/>
                  <a:pt x="252317" y="947331"/>
                  <a:pt x="250321" y="941348"/>
                </a:cubicBezTo>
                <a:cubicBezTo>
                  <a:pt x="246329" y="937359"/>
                  <a:pt x="242337" y="935364"/>
                  <a:pt x="240341" y="929381"/>
                </a:cubicBezTo>
                <a:cubicBezTo>
                  <a:pt x="236349" y="923398"/>
                  <a:pt x="232357" y="917415"/>
                  <a:pt x="228365" y="911432"/>
                </a:cubicBezTo>
                <a:cubicBezTo>
                  <a:pt x="226369" y="905449"/>
                  <a:pt x="222377" y="887499"/>
                  <a:pt x="220381" y="881516"/>
                </a:cubicBezTo>
                <a:cubicBezTo>
                  <a:pt x="220381" y="875533"/>
                  <a:pt x="212397" y="857584"/>
                  <a:pt x="212397" y="855589"/>
                </a:cubicBezTo>
                <a:cubicBezTo>
                  <a:pt x="212397" y="855589"/>
                  <a:pt x="212397" y="855589"/>
                  <a:pt x="204414" y="841628"/>
                </a:cubicBezTo>
                <a:cubicBezTo>
                  <a:pt x="204414" y="841628"/>
                  <a:pt x="198426" y="829662"/>
                  <a:pt x="192438" y="819690"/>
                </a:cubicBezTo>
                <a:cubicBezTo>
                  <a:pt x="186450" y="809718"/>
                  <a:pt x="184454" y="799746"/>
                  <a:pt x="178466" y="791769"/>
                </a:cubicBezTo>
                <a:cubicBezTo>
                  <a:pt x="172478" y="783791"/>
                  <a:pt x="168486" y="769831"/>
                  <a:pt x="166490" y="763847"/>
                </a:cubicBezTo>
                <a:cubicBezTo>
                  <a:pt x="164494" y="757864"/>
                  <a:pt x="160503" y="739915"/>
                  <a:pt x="160503" y="735926"/>
                </a:cubicBezTo>
                <a:cubicBezTo>
                  <a:pt x="160503" y="729943"/>
                  <a:pt x="156511" y="725954"/>
                  <a:pt x="152519" y="723960"/>
                </a:cubicBezTo>
                <a:cubicBezTo>
                  <a:pt x="148527" y="719971"/>
                  <a:pt x="146531" y="708005"/>
                  <a:pt x="142539" y="704016"/>
                </a:cubicBezTo>
                <a:cubicBezTo>
                  <a:pt x="140543" y="700027"/>
                  <a:pt x="138547" y="692050"/>
                  <a:pt x="136551" y="686067"/>
                </a:cubicBezTo>
                <a:cubicBezTo>
                  <a:pt x="136551" y="680084"/>
                  <a:pt x="132559" y="670112"/>
                  <a:pt x="132559" y="664128"/>
                </a:cubicBezTo>
                <a:cubicBezTo>
                  <a:pt x="130563" y="660140"/>
                  <a:pt x="130563" y="652162"/>
                  <a:pt x="130563" y="648173"/>
                </a:cubicBezTo>
                <a:cubicBezTo>
                  <a:pt x="130563" y="644185"/>
                  <a:pt x="126571" y="636207"/>
                  <a:pt x="124575" y="630224"/>
                </a:cubicBezTo>
                <a:cubicBezTo>
                  <a:pt x="120583" y="622246"/>
                  <a:pt x="118588" y="616263"/>
                  <a:pt x="120583" y="610280"/>
                </a:cubicBezTo>
                <a:cubicBezTo>
                  <a:pt x="122579" y="602303"/>
                  <a:pt x="124575" y="600308"/>
                  <a:pt x="120583" y="598314"/>
                </a:cubicBezTo>
                <a:cubicBezTo>
                  <a:pt x="118588" y="596320"/>
                  <a:pt x="116592" y="588342"/>
                  <a:pt x="116592" y="588342"/>
                </a:cubicBezTo>
                <a:cubicBezTo>
                  <a:pt x="116592" y="588342"/>
                  <a:pt x="116592" y="580364"/>
                  <a:pt x="116592" y="576376"/>
                </a:cubicBezTo>
                <a:cubicBezTo>
                  <a:pt x="114596" y="570393"/>
                  <a:pt x="114596" y="564409"/>
                  <a:pt x="114596" y="560421"/>
                </a:cubicBezTo>
                <a:cubicBezTo>
                  <a:pt x="114596" y="556432"/>
                  <a:pt x="118588" y="552443"/>
                  <a:pt x="118588" y="548454"/>
                </a:cubicBezTo>
                <a:cubicBezTo>
                  <a:pt x="118588" y="542471"/>
                  <a:pt x="118588" y="540477"/>
                  <a:pt x="116592" y="538483"/>
                </a:cubicBezTo>
                <a:cubicBezTo>
                  <a:pt x="114596" y="538483"/>
                  <a:pt x="108607" y="530505"/>
                  <a:pt x="112599" y="524522"/>
                </a:cubicBezTo>
                <a:cubicBezTo>
                  <a:pt x="116592" y="516544"/>
                  <a:pt x="114596" y="516544"/>
                  <a:pt x="110603" y="512556"/>
                </a:cubicBezTo>
                <a:cubicBezTo>
                  <a:pt x="106611" y="508567"/>
                  <a:pt x="110603" y="504578"/>
                  <a:pt x="110603" y="504578"/>
                </a:cubicBezTo>
                <a:cubicBezTo>
                  <a:pt x="110603" y="504578"/>
                  <a:pt x="106611" y="504578"/>
                  <a:pt x="106611" y="500589"/>
                </a:cubicBezTo>
                <a:cubicBezTo>
                  <a:pt x="106611" y="496601"/>
                  <a:pt x="106611" y="496601"/>
                  <a:pt x="106611" y="496601"/>
                </a:cubicBezTo>
                <a:cubicBezTo>
                  <a:pt x="106611" y="496601"/>
                  <a:pt x="104615" y="498595"/>
                  <a:pt x="100623" y="496601"/>
                </a:cubicBezTo>
                <a:cubicBezTo>
                  <a:pt x="98627" y="492612"/>
                  <a:pt x="100623" y="494606"/>
                  <a:pt x="98627" y="496601"/>
                </a:cubicBezTo>
                <a:cubicBezTo>
                  <a:pt x="94636" y="500589"/>
                  <a:pt x="96632" y="514550"/>
                  <a:pt x="96632" y="514550"/>
                </a:cubicBezTo>
                <a:cubicBezTo>
                  <a:pt x="96632" y="514550"/>
                  <a:pt x="98627" y="522527"/>
                  <a:pt x="94636" y="524522"/>
                </a:cubicBezTo>
                <a:cubicBezTo>
                  <a:pt x="90644" y="526516"/>
                  <a:pt x="90644" y="532499"/>
                  <a:pt x="86652" y="534494"/>
                </a:cubicBezTo>
                <a:cubicBezTo>
                  <a:pt x="80664" y="536488"/>
                  <a:pt x="72680" y="544466"/>
                  <a:pt x="68688" y="544466"/>
                </a:cubicBezTo>
                <a:cubicBezTo>
                  <a:pt x="64696" y="544466"/>
                  <a:pt x="62700" y="544466"/>
                  <a:pt x="54716" y="542471"/>
                </a:cubicBezTo>
                <a:cubicBezTo>
                  <a:pt x="48729" y="538483"/>
                  <a:pt x="42741" y="534494"/>
                  <a:pt x="40745" y="530505"/>
                </a:cubicBezTo>
                <a:cubicBezTo>
                  <a:pt x="38749" y="526516"/>
                  <a:pt x="34757" y="526516"/>
                  <a:pt x="30765" y="522527"/>
                </a:cubicBezTo>
                <a:cubicBezTo>
                  <a:pt x="26773" y="520533"/>
                  <a:pt x="28769" y="516544"/>
                  <a:pt x="24777" y="512556"/>
                </a:cubicBezTo>
                <a:cubicBezTo>
                  <a:pt x="20785" y="504578"/>
                  <a:pt x="10805" y="498595"/>
                  <a:pt x="10805" y="494606"/>
                </a:cubicBezTo>
                <a:cubicBezTo>
                  <a:pt x="8810" y="488623"/>
                  <a:pt x="16793" y="490617"/>
                  <a:pt x="18789" y="492612"/>
                </a:cubicBezTo>
                <a:cubicBezTo>
                  <a:pt x="20785" y="494606"/>
                  <a:pt x="24777" y="492612"/>
                  <a:pt x="28769" y="492612"/>
                </a:cubicBezTo>
                <a:cubicBezTo>
                  <a:pt x="34757" y="492612"/>
                  <a:pt x="34757" y="490617"/>
                  <a:pt x="34757" y="490617"/>
                </a:cubicBezTo>
                <a:cubicBezTo>
                  <a:pt x="34757" y="490617"/>
                  <a:pt x="36753" y="484634"/>
                  <a:pt x="38749" y="484634"/>
                </a:cubicBezTo>
                <a:cubicBezTo>
                  <a:pt x="40745" y="484634"/>
                  <a:pt x="44737" y="482640"/>
                  <a:pt x="46733" y="476657"/>
                </a:cubicBezTo>
                <a:cubicBezTo>
                  <a:pt x="50725" y="470674"/>
                  <a:pt x="46733" y="476657"/>
                  <a:pt x="42741" y="476657"/>
                </a:cubicBezTo>
                <a:cubicBezTo>
                  <a:pt x="38749" y="474662"/>
                  <a:pt x="38749" y="476657"/>
                  <a:pt x="30765" y="476657"/>
                </a:cubicBezTo>
                <a:cubicBezTo>
                  <a:pt x="22781" y="476657"/>
                  <a:pt x="22781" y="476657"/>
                  <a:pt x="16793" y="476657"/>
                </a:cubicBezTo>
                <a:cubicBezTo>
                  <a:pt x="12801" y="476657"/>
                  <a:pt x="4818" y="470674"/>
                  <a:pt x="826" y="464690"/>
                </a:cubicBezTo>
                <a:cubicBezTo>
                  <a:pt x="-1170" y="460702"/>
                  <a:pt x="826" y="452724"/>
                  <a:pt x="2822" y="450730"/>
                </a:cubicBezTo>
                <a:cubicBezTo>
                  <a:pt x="2822" y="450730"/>
                  <a:pt x="2822" y="448735"/>
                  <a:pt x="2822" y="448735"/>
                </a:cubicBezTo>
                <a:cubicBezTo>
                  <a:pt x="2822" y="446741"/>
                  <a:pt x="4818" y="442752"/>
                  <a:pt x="4818" y="442752"/>
                </a:cubicBezTo>
                <a:cubicBezTo>
                  <a:pt x="4818" y="440758"/>
                  <a:pt x="4818" y="438764"/>
                  <a:pt x="6814" y="438764"/>
                </a:cubicBezTo>
                <a:cubicBezTo>
                  <a:pt x="8810" y="440758"/>
                  <a:pt x="8810" y="440758"/>
                  <a:pt x="10805" y="440758"/>
                </a:cubicBezTo>
                <a:cubicBezTo>
                  <a:pt x="12801" y="440758"/>
                  <a:pt x="14797" y="440758"/>
                  <a:pt x="16793" y="440758"/>
                </a:cubicBezTo>
                <a:cubicBezTo>
                  <a:pt x="16793" y="440758"/>
                  <a:pt x="22781" y="438764"/>
                  <a:pt x="22781" y="438764"/>
                </a:cubicBezTo>
                <a:cubicBezTo>
                  <a:pt x="24777" y="438764"/>
                  <a:pt x="26773" y="438764"/>
                  <a:pt x="26773" y="440758"/>
                </a:cubicBezTo>
                <a:cubicBezTo>
                  <a:pt x="26773" y="440758"/>
                  <a:pt x="28769" y="442752"/>
                  <a:pt x="30765" y="444747"/>
                </a:cubicBezTo>
                <a:cubicBezTo>
                  <a:pt x="30765" y="446741"/>
                  <a:pt x="36753" y="444747"/>
                  <a:pt x="38749" y="444747"/>
                </a:cubicBezTo>
                <a:cubicBezTo>
                  <a:pt x="38749" y="444747"/>
                  <a:pt x="42741" y="440758"/>
                  <a:pt x="44737" y="440758"/>
                </a:cubicBezTo>
                <a:cubicBezTo>
                  <a:pt x="44737" y="440758"/>
                  <a:pt x="46733" y="438764"/>
                  <a:pt x="46733" y="436769"/>
                </a:cubicBezTo>
                <a:cubicBezTo>
                  <a:pt x="48729" y="434775"/>
                  <a:pt x="50725" y="432780"/>
                  <a:pt x="52721" y="430786"/>
                </a:cubicBezTo>
                <a:cubicBezTo>
                  <a:pt x="52721" y="430786"/>
                  <a:pt x="54716" y="430786"/>
                  <a:pt x="54716" y="430786"/>
                </a:cubicBezTo>
                <a:cubicBezTo>
                  <a:pt x="56712" y="432780"/>
                  <a:pt x="56712" y="432780"/>
                  <a:pt x="58708" y="434775"/>
                </a:cubicBezTo>
                <a:cubicBezTo>
                  <a:pt x="58708" y="436769"/>
                  <a:pt x="60704" y="438764"/>
                  <a:pt x="62700" y="436769"/>
                </a:cubicBezTo>
                <a:cubicBezTo>
                  <a:pt x="64696" y="436769"/>
                  <a:pt x="66692" y="434775"/>
                  <a:pt x="68688" y="432780"/>
                </a:cubicBezTo>
                <a:cubicBezTo>
                  <a:pt x="68688" y="432780"/>
                  <a:pt x="70684" y="432780"/>
                  <a:pt x="70684" y="430786"/>
                </a:cubicBezTo>
                <a:cubicBezTo>
                  <a:pt x="70684" y="428792"/>
                  <a:pt x="70684" y="426797"/>
                  <a:pt x="70684" y="424803"/>
                </a:cubicBezTo>
                <a:cubicBezTo>
                  <a:pt x="70684" y="424803"/>
                  <a:pt x="68688" y="416825"/>
                  <a:pt x="66692" y="414831"/>
                </a:cubicBezTo>
                <a:cubicBezTo>
                  <a:pt x="66692" y="412837"/>
                  <a:pt x="64696" y="412837"/>
                  <a:pt x="64696" y="410842"/>
                </a:cubicBezTo>
                <a:cubicBezTo>
                  <a:pt x="62700" y="410842"/>
                  <a:pt x="60704" y="406853"/>
                  <a:pt x="58708" y="404859"/>
                </a:cubicBezTo>
                <a:cubicBezTo>
                  <a:pt x="58708" y="404859"/>
                  <a:pt x="58708" y="402865"/>
                  <a:pt x="56712" y="400870"/>
                </a:cubicBezTo>
                <a:cubicBezTo>
                  <a:pt x="56712" y="398876"/>
                  <a:pt x="58708" y="392893"/>
                  <a:pt x="58708" y="392893"/>
                </a:cubicBezTo>
                <a:cubicBezTo>
                  <a:pt x="58708" y="390898"/>
                  <a:pt x="56712" y="388904"/>
                  <a:pt x="54716" y="388904"/>
                </a:cubicBezTo>
                <a:cubicBezTo>
                  <a:pt x="54716" y="386910"/>
                  <a:pt x="50725" y="386910"/>
                  <a:pt x="48729" y="384915"/>
                </a:cubicBezTo>
                <a:cubicBezTo>
                  <a:pt x="48729" y="384915"/>
                  <a:pt x="44737" y="384915"/>
                  <a:pt x="44737" y="382921"/>
                </a:cubicBezTo>
                <a:cubicBezTo>
                  <a:pt x="42741" y="380926"/>
                  <a:pt x="42741" y="374943"/>
                  <a:pt x="42741" y="374943"/>
                </a:cubicBezTo>
                <a:cubicBezTo>
                  <a:pt x="42741" y="372949"/>
                  <a:pt x="44737" y="368960"/>
                  <a:pt x="44737" y="368960"/>
                </a:cubicBezTo>
                <a:cubicBezTo>
                  <a:pt x="44737" y="366966"/>
                  <a:pt x="44737" y="362977"/>
                  <a:pt x="44737" y="360983"/>
                </a:cubicBezTo>
                <a:cubicBezTo>
                  <a:pt x="44737" y="360983"/>
                  <a:pt x="42741" y="356994"/>
                  <a:pt x="42741" y="356994"/>
                </a:cubicBezTo>
                <a:cubicBezTo>
                  <a:pt x="40745" y="356994"/>
                  <a:pt x="38749" y="356994"/>
                  <a:pt x="34757" y="355000"/>
                </a:cubicBezTo>
                <a:cubicBezTo>
                  <a:pt x="34757" y="355000"/>
                  <a:pt x="30765" y="355000"/>
                  <a:pt x="28769" y="353005"/>
                </a:cubicBezTo>
                <a:cubicBezTo>
                  <a:pt x="26773" y="353005"/>
                  <a:pt x="24777" y="349016"/>
                  <a:pt x="24777" y="347022"/>
                </a:cubicBezTo>
                <a:cubicBezTo>
                  <a:pt x="22781" y="345028"/>
                  <a:pt x="24777" y="341039"/>
                  <a:pt x="24777" y="341039"/>
                </a:cubicBezTo>
                <a:cubicBezTo>
                  <a:pt x="24777" y="339045"/>
                  <a:pt x="26773" y="337050"/>
                  <a:pt x="28769" y="335056"/>
                </a:cubicBezTo>
                <a:cubicBezTo>
                  <a:pt x="28769" y="335056"/>
                  <a:pt x="32761" y="331067"/>
                  <a:pt x="34757" y="331067"/>
                </a:cubicBezTo>
                <a:cubicBezTo>
                  <a:pt x="34757" y="329073"/>
                  <a:pt x="40745" y="323089"/>
                  <a:pt x="40745" y="323089"/>
                </a:cubicBezTo>
                <a:cubicBezTo>
                  <a:pt x="40745" y="323089"/>
                  <a:pt x="44737" y="319101"/>
                  <a:pt x="46733" y="317106"/>
                </a:cubicBezTo>
                <a:cubicBezTo>
                  <a:pt x="46733" y="315112"/>
                  <a:pt x="46733" y="311123"/>
                  <a:pt x="48729" y="311123"/>
                </a:cubicBezTo>
                <a:cubicBezTo>
                  <a:pt x="50725" y="311123"/>
                  <a:pt x="54716" y="315112"/>
                  <a:pt x="54716" y="317106"/>
                </a:cubicBezTo>
                <a:cubicBezTo>
                  <a:pt x="54716" y="317106"/>
                  <a:pt x="60704" y="321095"/>
                  <a:pt x="60704" y="321095"/>
                </a:cubicBezTo>
                <a:cubicBezTo>
                  <a:pt x="62700" y="321095"/>
                  <a:pt x="66692" y="319101"/>
                  <a:pt x="68688" y="319101"/>
                </a:cubicBezTo>
                <a:cubicBezTo>
                  <a:pt x="68688" y="319101"/>
                  <a:pt x="76672" y="317106"/>
                  <a:pt x="78668" y="315112"/>
                </a:cubicBezTo>
                <a:cubicBezTo>
                  <a:pt x="80664" y="313118"/>
                  <a:pt x="84656" y="309129"/>
                  <a:pt x="84656" y="309129"/>
                </a:cubicBezTo>
                <a:cubicBezTo>
                  <a:pt x="86652" y="307134"/>
                  <a:pt x="88648" y="303146"/>
                  <a:pt x="88648" y="301151"/>
                </a:cubicBezTo>
                <a:cubicBezTo>
                  <a:pt x="88648" y="301151"/>
                  <a:pt x="94636" y="297163"/>
                  <a:pt x="94636" y="295168"/>
                </a:cubicBezTo>
                <a:cubicBezTo>
                  <a:pt x="96632" y="293174"/>
                  <a:pt x="98627" y="289185"/>
                  <a:pt x="98627" y="287191"/>
                </a:cubicBezTo>
                <a:cubicBezTo>
                  <a:pt x="100623" y="285196"/>
                  <a:pt x="102619" y="281207"/>
                  <a:pt x="104615" y="279213"/>
                </a:cubicBezTo>
                <a:cubicBezTo>
                  <a:pt x="106611" y="277219"/>
                  <a:pt x="108607" y="275224"/>
                  <a:pt x="110603" y="275224"/>
                </a:cubicBezTo>
                <a:cubicBezTo>
                  <a:pt x="110603" y="273230"/>
                  <a:pt x="114596" y="269241"/>
                  <a:pt x="114596" y="267247"/>
                </a:cubicBezTo>
                <a:cubicBezTo>
                  <a:pt x="114596" y="263258"/>
                  <a:pt x="114596" y="259269"/>
                  <a:pt x="114596" y="257275"/>
                </a:cubicBezTo>
                <a:cubicBezTo>
                  <a:pt x="114596" y="255281"/>
                  <a:pt x="122579" y="249297"/>
                  <a:pt x="122579" y="249297"/>
                </a:cubicBezTo>
                <a:cubicBezTo>
                  <a:pt x="124575" y="247303"/>
                  <a:pt x="128567" y="243314"/>
                  <a:pt x="128567" y="241320"/>
                </a:cubicBezTo>
                <a:cubicBezTo>
                  <a:pt x="130563" y="239325"/>
                  <a:pt x="132559" y="235337"/>
                  <a:pt x="132559" y="231348"/>
                </a:cubicBezTo>
                <a:cubicBezTo>
                  <a:pt x="130563" y="229354"/>
                  <a:pt x="128567" y="229354"/>
                  <a:pt x="128567" y="227359"/>
                </a:cubicBezTo>
                <a:cubicBezTo>
                  <a:pt x="128567" y="225365"/>
                  <a:pt x="132559" y="223370"/>
                  <a:pt x="132559" y="221376"/>
                </a:cubicBezTo>
                <a:cubicBezTo>
                  <a:pt x="134555" y="221376"/>
                  <a:pt x="136551" y="219382"/>
                  <a:pt x="140543" y="219382"/>
                </a:cubicBezTo>
                <a:cubicBezTo>
                  <a:pt x="142539" y="217387"/>
                  <a:pt x="144535" y="217387"/>
                  <a:pt x="146531" y="215393"/>
                </a:cubicBezTo>
                <a:cubicBezTo>
                  <a:pt x="148527" y="215393"/>
                  <a:pt x="150523" y="213399"/>
                  <a:pt x="152519" y="211404"/>
                </a:cubicBezTo>
                <a:cubicBezTo>
                  <a:pt x="152519" y="209410"/>
                  <a:pt x="148527" y="205421"/>
                  <a:pt x="148527" y="205421"/>
                </a:cubicBezTo>
                <a:cubicBezTo>
                  <a:pt x="146531" y="203427"/>
                  <a:pt x="146531" y="199438"/>
                  <a:pt x="146531" y="197444"/>
                </a:cubicBezTo>
                <a:cubicBezTo>
                  <a:pt x="148527" y="193455"/>
                  <a:pt x="148527" y="189466"/>
                  <a:pt x="148527" y="187472"/>
                </a:cubicBezTo>
                <a:cubicBezTo>
                  <a:pt x="150523" y="183483"/>
                  <a:pt x="152519" y="179494"/>
                  <a:pt x="154515" y="177500"/>
                </a:cubicBezTo>
                <a:cubicBezTo>
                  <a:pt x="156511" y="175505"/>
                  <a:pt x="160503" y="173511"/>
                  <a:pt x="162499" y="173511"/>
                </a:cubicBezTo>
                <a:cubicBezTo>
                  <a:pt x="164494" y="171517"/>
                  <a:pt x="166490" y="171517"/>
                  <a:pt x="166490" y="169522"/>
                </a:cubicBezTo>
                <a:cubicBezTo>
                  <a:pt x="166490" y="167528"/>
                  <a:pt x="166490" y="167528"/>
                  <a:pt x="162499" y="165533"/>
                </a:cubicBezTo>
                <a:cubicBezTo>
                  <a:pt x="158507" y="163539"/>
                  <a:pt x="156511" y="163539"/>
                  <a:pt x="154515" y="159550"/>
                </a:cubicBezTo>
                <a:cubicBezTo>
                  <a:pt x="152519" y="157556"/>
                  <a:pt x="148527" y="151573"/>
                  <a:pt x="148527" y="151573"/>
                </a:cubicBezTo>
                <a:cubicBezTo>
                  <a:pt x="148527" y="151573"/>
                  <a:pt x="138547" y="151573"/>
                  <a:pt x="134555" y="149578"/>
                </a:cubicBezTo>
                <a:cubicBezTo>
                  <a:pt x="132559" y="149578"/>
                  <a:pt x="128567" y="149578"/>
                  <a:pt x="126571" y="145590"/>
                </a:cubicBezTo>
                <a:cubicBezTo>
                  <a:pt x="124575" y="143595"/>
                  <a:pt x="120583" y="137612"/>
                  <a:pt x="118588" y="135618"/>
                </a:cubicBezTo>
                <a:cubicBezTo>
                  <a:pt x="118588" y="131629"/>
                  <a:pt x="116592" y="129635"/>
                  <a:pt x="116592" y="127640"/>
                </a:cubicBezTo>
                <a:cubicBezTo>
                  <a:pt x="116592" y="125646"/>
                  <a:pt x="112599" y="117668"/>
                  <a:pt x="112599" y="115674"/>
                </a:cubicBezTo>
                <a:cubicBezTo>
                  <a:pt x="112599" y="113680"/>
                  <a:pt x="114596" y="107696"/>
                  <a:pt x="114596" y="105702"/>
                </a:cubicBezTo>
                <a:cubicBezTo>
                  <a:pt x="114596" y="103708"/>
                  <a:pt x="114596" y="97725"/>
                  <a:pt x="114596" y="93736"/>
                </a:cubicBezTo>
                <a:cubicBezTo>
                  <a:pt x="114596" y="91741"/>
                  <a:pt x="114596" y="85758"/>
                  <a:pt x="114596" y="83764"/>
                </a:cubicBezTo>
                <a:cubicBezTo>
                  <a:pt x="114596" y="81769"/>
                  <a:pt x="118588" y="79775"/>
                  <a:pt x="118588" y="79775"/>
                </a:cubicBezTo>
                <a:cubicBezTo>
                  <a:pt x="120583" y="77781"/>
                  <a:pt x="126571" y="75786"/>
                  <a:pt x="126571" y="73792"/>
                </a:cubicBezTo>
                <a:cubicBezTo>
                  <a:pt x="128567" y="73792"/>
                  <a:pt x="128567" y="69803"/>
                  <a:pt x="128567" y="69803"/>
                </a:cubicBezTo>
                <a:cubicBezTo>
                  <a:pt x="128567" y="67809"/>
                  <a:pt x="126571" y="67809"/>
                  <a:pt x="124575" y="65814"/>
                </a:cubicBezTo>
                <a:cubicBezTo>
                  <a:pt x="124575" y="61826"/>
                  <a:pt x="128567" y="59831"/>
                  <a:pt x="126571" y="57837"/>
                </a:cubicBezTo>
                <a:cubicBezTo>
                  <a:pt x="126571" y="55843"/>
                  <a:pt x="124575" y="53848"/>
                  <a:pt x="120583" y="51854"/>
                </a:cubicBezTo>
                <a:cubicBezTo>
                  <a:pt x="118588" y="51854"/>
                  <a:pt x="116592" y="53848"/>
                  <a:pt x="114596" y="57837"/>
                </a:cubicBezTo>
                <a:cubicBezTo>
                  <a:pt x="114596" y="57837"/>
                  <a:pt x="110603" y="59831"/>
                  <a:pt x="108607" y="57837"/>
                </a:cubicBezTo>
                <a:cubicBezTo>
                  <a:pt x="106611" y="55843"/>
                  <a:pt x="108607" y="55843"/>
                  <a:pt x="110603" y="51854"/>
                </a:cubicBezTo>
                <a:cubicBezTo>
                  <a:pt x="110603" y="49859"/>
                  <a:pt x="108607" y="47865"/>
                  <a:pt x="108607" y="47865"/>
                </a:cubicBezTo>
                <a:cubicBezTo>
                  <a:pt x="106611" y="45871"/>
                  <a:pt x="106611" y="43876"/>
                  <a:pt x="102619" y="41882"/>
                </a:cubicBezTo>
                <a:cubicBezTo>
                  <a:pt x="100623" y="41882"/>
                  <a:pt x="98627" y="41882"/>
                  <a:pt x="98627" y="41882"/>
                </a:cubicBezTo>
                <a:cubicBezTo>
                  <a:pt x="98627" y="41882"/>
                  <a:pt x="94636" y="43876"/>
                  <a:pt x="92640" y="41882"/>
                </a:cubicBezTo>
                <a:cubicBezTo>
                  <a:pt x="90644" y="39887"/>
                  <a:pt x="90644" y="37893"/>
                  <a:pt x="90644" y="35899"/>
                </a:cubicBezTo>
                <a:cubicBezTo>
                  <a:pt x="90644" y="33904"/>
                  <a:pt x="90644" y="29916"/>
                  <a:pt x="90644" y="27921"/>
                </a:cubicBezTo>
                <a:cubicBezTo>
                  <a:pt x="90644" y="27921"/>
                  <a:pt x="94636" y="25927"/>
                  <a:pt x="96632" y="23932"/>
                </a:cubicBezTo>
                <a:cubicBezTo>
                  <a:pt x="96632" y="23932"/>
                  <a:pt x="98627" y="23932"/>
                  <a:pt x="98627" y="23932"/>
                </a:cubicBezTo>
                <a:cubicBezTo>
                  <a:pt x="100623" y="21938"/>
                  <a:pt x="102619" y="19944"/>
                  <a:pt x="102619" y="19944"/>
                </a:cubicBezTo>
                <a:cubicBezTo>
                  <a:pt x="102619" y="19944"/>
                  <a:pt x="102619" y="17949"/>
                  <a:pt x="102619" y="15955"/>
                </a:cubicBezTo>
                <a:cubicBezTo>
                  <a:pt x="104615" y="15955"/>
                  <a:pt x="104615" y="15955"/>
                  <a:pt x="106611" y="15955"/>
                </a:cubicBezTo>
                <a:cubicBezTo>
                  <a:pt x="106611" y="13961"/>
                  <a:pt x="108607" y="13961"/>
                  <a:pt x="110603" y="13961"/>
                </a:cubicBezTo>
                <a:cubicBezTo>
                  <a:pt x="110603" y="13961"/>
                  <a:pt x="112599" y="13961"/>
                  <a:pt x="112599" y="13961"/>
                </a:cubicBezTo>
                <a:cubicBezTo>
                  <a:pt x="112599" y="13961"/>
                  <a:pt x="114596" y="13961"/>
                  <a:pt x="116592" y="13961"/>
                </a:cubicBezTo>
                <a:cubicBezTo>
                  <a:pt x="118588" y="13961"/>
                  <a:pt x="118588" y="13961"/>
                  <a:pt x="118588" y="11966"/>
                </a:cubicBezTo>
                <a:cubicBezTo>
                  <a:pt x="118588" y="11966"/>
                  <a:pt x="118588" y="7977"/>
                  <a:pt x="118588" y="7977"/>
                </a:cubicBezTo>
                <a:cubicBezTo>
                  <a:pt x="118588" y="5983"/>
                  <a:pt x="120583" y="5983"/>
                  <a:pt x="122579" y="5983"/>
                </a:cubicBezTo>
                <a:cubicBezTo>
                  <a:pt x="122579" y="5983"/>
                  <a:pt x="124575" y="5983"/>
                  <a:pt x="124575" y="5983"/>
                </a:cubicBezTo>
                <a:cubicBezTo>
                  <a:pt x="126571" y="5983"/>
                  <a:pt x="128567" y="5983"/>
                  <a:pt x="130563" y="5983"/>
                </a:cubicBezTo>
                <a:cubicBezTo>
                  <a:pt x="130563" y="5983"/>
                  <a:pt x="132559" y="5983"/>
                  <a:pt x="132559" y="5983"/>
                </a:cubicBezTo>
                <a:cubicBezTo>
                  <a:pt x="134555" y="5983"/>
                  <a:pt x="134555" y="3989"/>
                  <a:pt x="136551" y="3989"/>
                </a:cubicBezTo>
                <a:cubicBezTo>
                  <a:pt x="136551" y="1994"/>
                  <a:pt x="136551" y="1994"/>
                  <a:pt x="138547" y="1994"/>
                </a:cubicBezTo>
                <a:cubicBezTo>
                  <a:pt x="138547" y="1994"/>
                  <a:pt x="140543" y="1994"/>
                  <a:pt x="140543" y="1994"/>
                </a:cubicBezTo>
                <a:cubicBezTo>
                  <a:pt x="142539" y="1994"/>
                  <a:pt x="144535" y="0"/>
                  <a:pt x="144535" y="0"/>
                </a:cubicBezTo>
                <a:close/>
              </a:path>
            </a:pathLst>
          </a:custGeom>
          <a:solidFill>
            <a:srgbClr val="F62E3C"/>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7" name="Reunion"/>
          <p:cNvSpPr>
            <a:spLocks/>
          </p:cNvSpPr>
          <p:nvPr/>
        </p:nvSpPr>
        <p:spPr bwMode="auto">
          <a:xfrm>
            <a:off x="7670955" y="4745046"/>
            <a:ext cx="32664" cy="27764"/>
          </a:xfrm>
          <a:custGeom>
            <a:avLst/>
            <a:gdLst>
              <a:gd name="T0" fmla="*/ 5 w 16"/>
              <a:gd name="T1" fmla="*/ 2 h 14"/>
              <a:gd name="T2" fmla="*/ 6 w 16"/>
              <a:gd name="T3" fmla="*/ 1 h 14"/>
              <a:gd name="T4" fmla="*/ 9 w 16"/>
              <a:gd name="T5" fmla="*/ 1 h 14"/>
              <a:gd name="T6" fmla="*/ 13 w 16"/>
              <a:gd name="T7" fmla="*/ 3 h 14"/>
              <a:gd name="T8" fmla="*/ 15 w 16"/>
              <a:gd name="T9" fmla="*/ 7 h 14"/>
              <a:gd name="T10" fmla="*/ 16 w 16"/>
              <a:gd name="T11" fmla="*/ 11 h 14"/>
              <a:gd name="T12" fmla="*/ 14 w 16"/>
              <a:gd name="T13" fmla="*/ 14 h 14"/>
              <a:gd name="T14" fmla="*/ 11 w 16"/>
              <a:gd name="T15" fmla="*/ 14 h 14"/>
              <a:gd name="T16" fmla="*/ 9 w 16"/>
              <a:gd name="T17" fmla="*/ 13 h 14"/>
              <a:gd name="T18" fmla="*/ 7 w 16"/>
              <a:gd name="T19" fmla="*/ 13 h 14"/>
              <a:gd name="T20" fmla="*/ 2 w 16"/>
              <a:gd name="T21" fmla="*/ 9 h 14"/>
              <a:gd name="T22" fmla="*/ 1 w 16"/>
              <a:gd name="T23" fmla="*/ 6 h 14"/>
              <a:gd name="T24" fmla="*/ 5 w 16"/>
              <a:gd name="T25" fmla="*/ 6 h 14"/>
              <a:gd name="T26" fmla="*/ 5 w 16"/>
              <a:gd name="T27" fmla="*/ 4 h 14"/>
              <a:gd name="T28" fmla="*/ 5 w 16"/>
              <a:gd name="T2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4">
                <a:moveTo>
                  <a:pt x="5" y="2"/>
                </a:moveTo>
                <a:cubicBezTo>
                  <a:pt x="5" y="2"/>
                  <a:pt x="5" y="1"/>
                  <a:pt x="6" y="1"/>
                </a:cubicBezTo>
                <a:cubicBezTo>
                  <a:pt x="7" y="0"/>
                  <a:pt x="8" y="0"/>
                  <a:pt x="9" y="1"/>
                </a:cubicBezTo>
                <a:cubicBezTo>
                  <a:pt x="11" y="2"/>
                  <a:pt x="12" y="2"/>
                  <a:pt x="13" y="3"/>
                </a:cubicBezTo>
                <a:cubicBezTo>
                  <a:pt x="13" y="4"/>
                  <a:pt x="14" y="7"/>
                  <a:pt x="15" y="7"/>
                </a:cubicBezTo>
                <a:cubicBezTo>
                  <a:pt x="15" y="8"/>
                  <a:pt x="16" y="10"/>
                  <a:pt x="16" y="11"/>
                </a:cubicBezTo>
                <a:cubicBezTo>
                  <a:pt x="16" y="12"/>
                  <a:pt x="15" y="14"/>
                  <a:pt x="14" y="14"/>
                </a:cubicBezTo>
                <a:cubicBezTo>
                  <a:pt x="13" y="14"/>
                  <a:pt x="12" y="14"/>
                  <a:pt x="11" y="14"/>
                </a:cubicBezTo>
                <a:cubicBezTo>
                  <a:pt x="10" y="13"/>
                  <a:pt x="9" y="13"/>
                  <a:pt x="9" y="13"/>
                </a:cubicBezTo>
                <a:cubicBezTo>
                  <a:pt x="8" y="13"/>
                  <a:pt x="7" y="13"/>
                  <a:pt x="7" y="13"/>
                </a:cubicBezTo>
                <a:cubicBezTo>
                  <a:pt x="6" y="13"/>
                  <a:pt x="2" y="10"/>
                  <a:pt x="2" y="9"/>
                </a:cubicBezTo>
                <a:cubicBezTo>
                  <a:pt x="1" y="8"/>
                  <a:pt x="0" y="7"/>
                  <a:pt x="1" y="6"/>
                </a:cubicBezTo>
                <a:cubicBezTo>
                  <a:pt x="2" y="6"/>
                  <a:pt x="4" y="6"/>
                  <a:pt x="5" y="6"/>
                </a:cubicBezTo>
                <a:cubicBezTo>
                  <a:pt x="5" y="6"/>
                  <a:pt x="5" y="4"/>
                  <a:pt x="5" y="4"/>
                </a:cubicBezTo>
                <a:cubicBezTo>
                  <a:pt x="5" y="3"/>
                  <a:pt x="5" y="2"/>
                  <a:pt x="5" y="2"/>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8" name="Comoros and Mayotte"/>
          <p:cNvSpPr>
            <a:spLocks/>
          </p:cNvSpPr>
          <p:nvPr/>
        </p:nvSpPr>
        <p:spPr bwMode="auto">
          <a:xfrm>
            <a:off x="7349219" y="4444332"/>
            <a:ext cx="32664" cy="30574"/>
          </a:xfrm>
          <a:custGeom>
            <a:avLst/>
            <a:gdLst>
              <a:gd name="connsiteX0" fmla="*/ 12171 w 31750"/>
              <a:gd name="connsiteY0" fmla="*/ 22426 h 29719"/>
              <a:gd name="connsiteX1" fmla="*/ 14287 w 31750"/>
              <a:gd name="connsiteY1" fmla="*/ 24331 h 29719"/>
              <a:gd name="connsiteX2" fmla="*/ 10054 w 31750"/>
              <a:gd name="connsiteY2" fmla="*/ 28141 h 29719"/>
              <a:gd name="connsiteX3" fmla="*/ 12171 w 31750"/>
              <a:gd name="connsiteY3" fmla="*/ 22426 h 29719"/>
              <a:gd name="connsiteX4" fmla="*/ 31750 w 31750"/>
              <a:gd name="connsiteY4" fmla="*/ 19251 h 29719"/>
              <a:gd name="connsiteX5" fmla="*/ 31750 w 31750"/>
              <a:gd name="connsiteY5" fmla="*/ 23220 h 29719"/>
              <a:gd name="connsiteX6" fmla="*/ 25400 w 31750"/>
              <a:gd name="connsiteY6" fmla="*/ 23220 h 29719"/>
              <a:gd name="connsiteX7" fmla="*/ 31750 w 31750"/>
              <a:gd name="connsiteY7" fmla="*/ 19251 h 29719"/>
              <a:gd name="connsiteX8" fmla="*/ 1905 w 31750"/>
              <a:gd name="connsiteY8" fmla="*/ 519 h 29719"/>
              <a:gd name="connsiteX9" fmla="*/ 3810 w 31750"/>
              <a:gd name="connsiteY9" fmla="*/ 4329 h 29719"/>
              <a:gd name="connsiteX10" fmla="*/ 3810 w 31750"/>
              <a:gd name="connsiteY10" fmla="*/ 6234 h 29719"/>
              <a:gd name="connsiteX11" fmla="*/ 9525 w 31750"/>
              <a:gd name="connsiteY11" fmla="*/ 6234 h 29719"/>
              <a:gd name="connsiteX12" fmla="*/ 9525 w 31750"/>
              <a:gd name="connsiteY12" fmla="*/ 8139 h 29719"/>
              <a:gd name="connsiteX13" fmla="*/ 5715 w 31750"/>
              <a:gd name="connsiteY13" fmla="*/ 8139 h 29719"/>
              <a:gd name="connsiteX14" fmla="*/ 0 w 31750"/>
              <a:gd name="connsiteY14" fmla="*/ 4329 h 29719"/>
              <a:gd name="connsiteX15" fmla="*/ 1905 w 31750"/>
              <a:gd name="connsiteY15" fmla="*/ 519 h 2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50" h="29719">
                <a:moveTo>
                  <a:pt x="12171" y="22426"/>
                </a:moveTo>
                <a:cubicBezTo>
                  <a:pt x="12171" y="22426"/>
                  <a:pt x="14287" y="22426"/>
                  <a:pt x="14287" y="24331"/>
                </a:cubicBezTo>
                <a:cubicBezTo>
                  <a:pt x="14287" y="28141"/>
                  <a:pt x="10054" y="31951"/>
                  <a:pt x="10054" y="28141"/>
                </a:cubicBezTo>
                <a:cubicBezTo>
                  <a:pt x="7937" y="24331"/>
                  <a:pt x="12171" y="22426"/>
                  <a:pt x="12171" y="22426"/>
                </a:cubicBezTo>
                <a:close/>
                <a:moveTo>
                  <a:pt x="31750" y="19251"/>
                </a:moveTo>
                <a:cubicBezTo>
                  <a:pt x="31750" y="19251"/>
                  <a:pt x="31750" y="21235"/>
                  <a:pt x="31750" y="23220"/>
                </a:cubicBezTo>
                <a:cubicBezTo>
                  <a:pt x="31750" y="25204"/>
                  <a:pt x="25400" y="27188"/>
                  <a:pt x="25400" y="23220"/>
                </a:cubicBezTo>
                <a:cubicBezTo>
                  <a:pt x="25400" y="21235"/>
                  <a:pt x="31750" y="19251"/>
                  <a:pt x="31750" y="19251"/>
                </a:cubicBezTo>
                <a:close/>
                <a:moveTo>
                  <a:pt x="1905" y="519"/>
                </a:moveTo>
                <a:cubicBezTo>
                  <a:pt x="1905" y="-1386"/>
                  <a:pt x="3810" y="2424"/>
                  <a:pt x="3810" y="4329"/>
                </a:cubicBezTo>
                <a:cubicBezTo>
                  <a:pt x="3810" y="4329"/>
                  <a:pt x="3810" y="4329"/>
                  <a:pt x="3810" y="6234"/>
                </a:cubicBezTo>
                <a:cubicBezTo>
                  <a:pt x="5715" y="6234"/>
                  <a:pt x="9525" y="6234"/>
                  <a:pt x="9525" y="6234"/>
                </a:cubicBezTo>
                <a:cubicBezTo>
                  <a:pt x="9525" y="6234"/>
                  <a:pt x="9525" y="6234"/>
                  <a:pt x="9525" y="8139"/>
                </a:cubicBezTo>
                <a:cubicBezTo>
                  <a:pt x="9525" y="8139"/>
                  <a:pt x="9525" y="8139"/>
                  <a:pt x="5715" y="8139"/>
                </a:cubicBezTo>
                <a:cubicBezTo>
                  <a:pt x="3810" y="8139"/>
                  <a:pt x="0" y="8139"/>
                  <a:pt x="0" y="4329"/>
                </a:cubicBezTo>
                <a:cubicBezTo>
                  <a:pt x="0" y="519"/>
                  <a:pt x="1905" y="519"/>
                  <a:pt x="1905" y="51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29" name="Seychelles"/>
          <p:cNvSpPr>
            <a:spLocks/>
          </p:cNvSpPr>
          <p:nvPr/>
        </p:nvSpPr>
        <p:spPr bwMode="auto">
          <a:xfrm>
            <a:off x="7479800" y="4204459"/>
            <a:ext cx="267982" cy="200474"/>
          </a:xfrm>
          <a:custGeom>
            <a:avLst/>
            <a:gdLst>
              <a:gd name="connsiteX0" fmla="*/ 237139 w 260485"/>
              <a:gd name="connsiteY0" fmla="*/ 190500 h 194865"/>
              <a:gd name="connsiteX1" fmla="*/ 239256 w 260485"/>
              <a:gd name="connsiteY1" fmla="*/ 193675 h 194865"/>
              <a:gd name="connsiteX2" fmla="*/ 235022 w 260485"/>
              <a:gd name="connsiteY2" fmla="*/ 193675 h 194865"/>
              <a:gd name="connsiteX3" fmla="*/ 237139 w 260485"/>
              <a:gd name="connsiteY3" fmla="*/ 190500 h 194865"/>
              <a:gd name="connsiteX4" fmla="*/ 95851 w 260485"/>
              <a:gd name="connsiteY4" fmla="*/ 189309 h 194865"/>
              <a:gd name="connsiteX5" fmla="*/ 100084 w 260485"/>
              <a:gd name="connsiteY5" fmla="*/ 189309 h 194865"/>
              <a:gd name="connsiteX6" fmla="*/ 97968 w 260485"/>
              <a:gd name="connsiteY6" fmla="*/ 193278 h 194865"/>
              <a:gd name="connsiteX7" fmla="*/ 93734 w 260485"/>
              <a:gd name="connsiteY7" fmla="*/ 193278 h 194865"/>
              <a:gd name="connsiteX8" fmla="*/ 95851 w 260485"/>
              <a:gd name="connsiteY8" fmla="*/ 189309 h 194865"/>
              <a:gd name="connsiteX9" fmla="*/ 4199 w 260485"/>
              <a:gd name="connsiteY9" fmla="*/ 173567 h 194865"/>
              <a:gd name="connsiteX10" fmla="*/ 8009 w 260485"/>
              <a:gd name="connsiteY10" fmla="*/ 175684 h 194865"/>
              <a:gd name="connsiteX11" fmla="*/ 389 w 260485"/>
              <a:gd name="connsiteY11" fmla="*/ 175684 h 194865"/>
              <a:gd name="connsiteX12" fmla="*/ 4199 w 260485"/>
              <a:gd name="connsiteY12" fmla="*/ 173567 h 194865"/>
              <a:gd name="connsiteX13" fmla="*/ 93338 w 260485"/>
              <a:gd name="connsiteY13" fmla="*/ 168671 h 194865"/>
              <a:gd name="connsiteX14" fmla="*/ 93338 w 260485"/>
              <a:gd name="connsiteY14" fmla="*/ 172640 h 194865"/>
              <a:gd name="connsiteX15" fmla="*/ 87384 w 260485"/>
              <a:gd name="connsiteY15" fmla="*/ 172640 h 194865"/>
              <a:gd name="connsiteX16" fmla="*/ 93338 w 260485"/>
              <a:gd name="connsiteY16" fmla="*/ 168671 h 194865"/>
              <a:gd name="connsiteX17" fmla="*/ 84607 w 260485"/>
              <a:gd name="connsiteY17" fmla="*/ 162242 h 194865"/>
              <a:gd name="connsiteX18" fmla="*/ 88576 w 260485"/>
              <a:gd name="connsiteY18" fmla="*/ 164147 h 194865"/>
              <a:gd name="connsiteX19" fmla="*/ 86591 w 260485"/>
              <a:gd name="connsiteY19" fmla="*/ 167957 h 194865"/>
              <a:gd name="connsiteX20" fmla="*/ 84607 w 260485"/>
              <a:gd name="connsiteY20" fmla="*/ 162242 h 194865"/>
              <a:gd name="connsiteX21" fmla="*/ 94264 w 260485"/>
              <a:gd name="connsiteY21" fmla="*/ 157797 h 194865"/>
              <a:gd name="connsiteX22" fmla="*/ 98497 w 260485"/>
              <a:gd name="connsiteY22" fmla="*/ 160020 h 194865"/>
              <a:gd name="connsiteX23" fmla="*/ 94264 w 260485"/>
              <a:gd name="connsiteY23" fmla="*/ 162242 h 194865"/>
              <a:gd name="connsiteX24" fmla="*/ 94264 w 260485"/>
              <a:gd name="connsiteY24" fmla="*/ 157797 h 194865"/>
              <a:gd name="connsiteX25" fmla="*/ 256718 w 260485"/>
              <a:gd name="connsiteY25" fmla="*/ 139600 h 194865"/>
              <a:gd name="connsiteX26" fmla="*/ 257776 w 260485"/>
              <a:gd name="connsiteY26" fmla="*/ 140096 h 194865"/>
              <a:gd name="connsiteX27" fmla="*/ 259893 w 260485"/>
              <a:gd name="connsiteY27" fmla="*/ 144065 h 194865"/>
              <a:gd name="connsiteX28" fmla="*/ 255659 w 260485"/>
              <a:gd name="connsiteY28" fmla="*/ 142080 h 194865"/>
              <a:gd name="connsiteX29" fmla="*/ 256718 w 260485"/>
              <a:gd name="connsiteY29" fmla="*/ 139600 h 194865"/>
              <a:gd name="connsiteX30" fmla="*/ 229317 w 260485"/>
              <a:gd name="connsiteY30" fmla="*/ 87213 h 194865"/>
              <a:gd name="connsiteX31" fmla="*/ 231053 w 260485"/>
              <a:gd name="connsiteY31" fmla="*/ 87709 h 194865"/>
              <a:gd name="connsiteX32" fmla="*/ 235022 w 260485"/>
              <a:gd name="connsiteY32" fmla="*/ 89693 h 194865"/>
              <a:gd name="connsiteX33" fmla="*/ 229069 w 260485"/>
              <a:gd name="connsiteY33" fmla="*/ 89693 h 194865"/>
              <a:gd name="connsiteX34" fmla="*/ 229317 w 260485"/>
              <a:gd name="connsiteY34" fmla="*/ 87213 h 194865"/>
              <a:gd name="connsiteX35" fmla="*/ 146519 w 260485"/>
              <a:gd name="connsiteY35" fmla="*/ 63400 h 194865"/>
              <a:gd name="connsiteX36" fmla="*/ 148503 w 260485"/>
              <a:gd name="connsiteY36" fmla="*/ 63896 h 194865"/>
              <a:gd name="connsiteX37" fmla="*/ 152472 w 260485"/>
              <a:gd name="connsiteY37" fmla="*/ 65880 h 194865"/>
              <a:gd name="connsiteX38" fmla="*/ 144534 w 260485"/>
              <a:gd name="connsiteY38" fmla="*/ 65880 h 194865"/>
              <a:gd name="connsiteX39" fmla="*/ 146519 w 260485"/>
              <a:gd name="connsiteY39" fmla="*/ 63400 h 194865"/>
              <a:gd name="connsiteX40" fmla="*/ 154060 w 260485"/>
              <a:gd name="connsiteY40" fmla="*/ 60325 h 194865"/>
              <a:gd name="connsiteX41" fmla="*/ 155647 w 260485"/>
              <a:gd name="connsiteY41" fmla="*/ 61912 h 194865"/>
              <a:gd name="connsiteX42" fmla="*/ 155647 w 260485"/>
              <a:gd name="connsiteY42" fmla="*/ 63500 h 194865"/>
              <a:gd name="connsiteX43" fmla="*/ 152472 w 260485"/>
              <a:gd name="connsiteY43" fmla="*/ 61912 h 194865"/>
              <a:gd name="connsiteX44" fmla="*/ 154060 w 260485"/>
              <a:gd name="connsiteY44" fmla="*/ 60325 h 194865"/>
              <a:gd name="connsiteX45" fmla="*/ 144534 w 260485"/>
              <a:gd name="connsiteY45" fmla="*/ 52387 h 194865"/>
              <a:gd name="connsiteX46" fmla="*/ 147710 w 260485"/>
              <a:gd name="connsiteY46" fmla="*/ 52387 h 194865"/>
              <a:gd name="connsiteX47" fmla="*/ 149297 w 260485"/>
              <a:gd name="connsiteY47" fmla="*/ 56620 h 194865"/>
              <a:gd name="connsiteX48" fmla="*/ 144534 w 260485"/>
              <a:gd name="connsiteY48" fmla="*/ 56620 h 194865"/>
              <a:gd name="connsiteX49" fmla="*/ 144534 w 260485"/>
              <a:gd name="connsiteY49" fmla="*/ 52387 h 194865"/>
              <a:gd name="connsiteX50" fmla="*/ 209622 w 260485"/>
              <a:gd name="connsiteY50" fmla="*/ 47525 h 194865"/>
              <a:gd name="connsiteX51" fmla="*/ 211209 w 260485"/>
              <a:gd name="connsiteY51" fmla="*/ 48021 h 194865"/>
              <a:gd name="connsiteX52" fmla="*/ 208034 w 260485"/>
              <a:gd name="connsiteY52" fmla="*/ 50005 h 194865"/>
              <a:gd name="connsiteX53" fmla="*/ 209622 w 260485"/>
              <a:gd name="connsiteY53" fmla="*/ 47525 h 194865"/>
              <a:gd name="connsiteX54" fmla="*/ 154457 w 260485"/>
              <a:gd name="connsiteY54" fmla="*/ 45879 h 194865"/>
              <a:gd name="connsiteX55" fmla="*/ 156441 w 260485"/>
              <a:gd name="connsiteY55" fmla="*/ 46355 h 194865"/>
              <a:gd name="connsiteX56" fmla="*/ 160410 w 260485"/>
              <a:gd name="connsiteY56" fmla="*/ 50165 h 194865"/>
              <a:gd name="connsiteX57" fmla="*/ 152472 w 260485"/>
              <a:gd name="connsiteY57" fmla="*/ 48260 h 194865"/>
              <a:gd name="connsiteX58" fmla="*/ 154457 w 260485"/>
              <a:gd name="connsiteY58" fmla="*/ 45879 h 194865"/>
              <a:gd name="connsiteX59" fmla="*/ 205314 w 260485"/>
              <a:gd name="connsiteY59" fmla="*/ 7187 h 194865"/>
              <a:gd name="connsiteX60" fmla="*/ 207355 w 260485"/>
              <a:gd name="connsiteY60" fmla="*/ 8642 h 194865"/>
              <a:gd name="connsiteX61" fmla="*/ 211437 w 260485"/>
              <a:gd name="connsiteY61" fmla="*/ 14463 h 194865"/>
              <a:gd name="connsiteX62" fmla="*/ 213478 w 260485"/>
              <a:gd name="connsiteY62" fmla="*/ 16403 h 194865"/>
              <a:gd name="connsiteX63" fmla="*/ 213478 w 260485"/>
              <a:gd name="connsiteY63" fmla="*/ 20284 h 194865"/>
              <a:gd name="connsiteX64" fmla="*/ 209396 w 260485"/>
              <a:gd name="connsiteY64" fmla="*/ 18343 h 194865"/>
              <a:gd name="connsiteX65" fmla="*/ 207355 w 260485"/>
              <a:gd name="connsiteY65" fmla="*/ 16403 h 194865"/>
              <a:gd name="connsiteX66" fmla="*/ 203272 w 260485"/>
              <a:gd name="connsiteY66" fmla="*/ 8642 h 194865"/>
              <a:gd name="connsiteX67" fmla="*/ 205314 w 260485"/>
              <a:gd name="connsiteY67" fmla="*/ 7187 h 194865"/>
              <a:gd name="connsiteX68" fmla="*/ 218353 w 260485"/>
              <a:gd name="connsiteY68" fmla="*/ 0 h 194865"/>
              <a:gd name="connsiteX69" fmla="*/ 226290 w 260485"/>
              <a:gd name="connsiteY69" fmla="*/ 1984 h 194865"/>
              <a:gd name="connsiteX70" fmla="*/ 222322 w 260485"/>
              <a:gd name="connsiteY70" fmla="*/ 5953 h 194865"/>
              <a:gd name="connsiteX71" fmla="*/ 220337 w 260485"/>
              <a:gd name="connsiteY71" fmla="*/ 5953 h 194865"/>
              <a:gd name="connsiteX72" fmla="*/ 218353 w 260485"/>
              <a:gd name="connsiteY72" fmla="*/ 7937 h 194865"/>
              <a:gd name="connsiteX73" fmla="*/ 222322 w 260485"/>
              <a:gd name="connsiteY73" fmla="*/ 9922 h 194865"/>
              <a:gd name="connsiteX74" fmla="*/ 228275 w 260485"/>
              <a:gd name="connsiteY74" fmla="*/ 11906 h 194865"/>
              <a:gd name="connsiteX75" fmla="*/ 230259 w 260485"/>
              <a:gd name="connsiteY75" fmla="*/ 13890 h 194865"/>
              <a:gd name="connsiteX76" fmla="*/ 222322 w 260485"/>
              <a:gd name="connsiteY76" fmla="*/ 15875 h 194865"/>
              <a:gd name="connsiteX77" fmla="*/ 216369 w 260485"/>
              <a:gd name="connsiteY77" fmla="*/ 11906 h 194865"/>
              <a:gd name="connsiteX78" fmla="*/ 214384 w 260485"/>
              <a:gd name="connsiteY78" fmla="*/ 5953 h 194865"/>
              <a:gd name="connsiteX79" fmla="*/ 218353 w 260485"/>
              <a:gd name="connsiteY79" fmla="*/ 0 h 19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485" h="194865">
                <a:moveTo>
                  <a:pt x="237139" y="190500"/>
                </a:moveTo>
                <a:cubicBezTo>
                  <a:pt x="239256" y="190500"/>
                  <a:pt x="241372" y="192088"/>
                  <a:pt x="239256" y="193675"/>
                </a:cubicBezTo>
                <a:cubicBezTo>
                  <a:pt x="239256" y="195262"/>
                  <a:pt x="237139" y="195262"/>
                  <a:pt x="235022" y="193675"/>
                </a:cubicBezTo>
                <a:cubicBezTo>
                  <a:pt x="235022" y="190500"/>
                  <a:pt x="237139" y="190500"/>
                  <a:pt x="237139" y="190500"/>
                </a:cubicBezTo>
                <a:close/>
                <a:moveTo>
                  <a:pt x="95851" y="189309"/>
                </a:moveTo>
                <a:cubicBezTo>
                  <a:pt x="100084" y="187325"/>
                  <a:pt x="100084" y="189309"/>
                  <a:pt x="100084" y="189309"/>
                </a:cubicBezTo>
                <a:cubicBezTo>
                  <a:pt x="97968" y="191294"/>
                  <a:pt x="97968" y="193278"/>
                  <a:pt x="97968" y="193278"/>
                </a:cubicBezTo>
                <a:cubicBezTo>
                  <a:pt x="97968" y="193278"/>
                  <a:pt x="93734" y="195262"/>
                  <a:pt x="93734" y="193278"/>
                </a:cubicBezTo>
                <a:cubicBezTo>
                  <a:pt x="93734" y="191294"/>
                  <a:pt x="95851" y="189309"/>
                  <a:pt x="95851" y="189309"/>
                </a:cubicBezTo>
                <a:close/>
                <a:moveTo>
                  <a:pt x="4199" y="173567"/>
                </a:moveTo>
                <a:cubicBezTo>
                  <a:pt x="8009" y="171450"/>
                  <a:pt x="8009" y="173567"/>
                  <a:pt x="8009" y="175684"/>
                </a:cubicBezTo>
                <a:cubicBezTo>
                  <a:pt x="6104" y="177800"/>
                  <a:pt x="389" y="177800"/>
                  <a:pt x="389" y="175684"/>
                </a:cubicBezTo>
                <a:cubicBezTo>
                  <a:pt x="-1516" y="173567"/>
                  <a:pt x="4199" y="173567"/>
                  <a:pt x="4199" y="173567"/>
                </a:cubicBezTo>
                <a:close/>
                <a:moveTo>
                  <a:pt x="93338" y="168671"/>
                </a:moveTo>
                <a:cubicBezTo>
                  <a:pt x="95322" y="166687"/>
                  <a:pt x="95322" y="170655"/>
                  <a:pt x="93338" y="172640"/>
                </a:cubicBezTo>
                <a:cubicBezTo>
                  <a:pt x="93338" y="174624"/>
                  <a:pt x="87384" y="174624"/>
                  <a:pt x="87384" y="172640"/>
                </a:cubicBezTo>
                <a:cubicBezTo>
                  <a:pt x="87384" y="168671"/>
                  <a:pt x="93338" y="168671"/>
                  <a:pt x="93338" y="168671"/>
                </a:cubicBezTo>
                <a:close/>
                <a:moveTo>
                  <a:pt x="84607" y="162242"/>
                </a:moveTo>
                <a:cubicBezTo>
                  <a:pt x="86591" y="160337"/>
                  <a:pt x="88576" y="164147"/>
                  <a:pt x="88576" y="164147"/>
                </a:cubicBezTo>
                <a:cubicBezTo>
                  <a:pt x="90560" y="166052"/>
                  <a:pt x="88576" y="169862"/>
                  <a:pt x="86591" y="167957"/>
                </a:cubicBezTo>
                <a:cubicBezTo>
                  <a:pt x="84607" y="166052"/>
                  <a:pt x="82622" y="166052"/>
                  <a:pt x="84607" y="162242"/>
                </a:cubicBezTo>
                <a:close/>
                <a:moveTo>
                  <a:pt x="94264" y="157797"/>
                </a:moveTo>
                <a:cubicBezTo>
                  <a:pt x="96381" y="155575"/>
                  <a:pt x="98497" y="157797"/>
                  <a:pt x="98497" y="160020"/>
                </a:cubicBezTo>
                <a:cubicBezTo>
                  <a:pt x="98497" y="160020"/>
                  <a:pt x="96381" y="166687"/>
                  <a:pt x="94264" y="162242"/>
                </a:cubicBezTo>
                <a:cubicBezTo>
                  <a:pt x="92147" y="157797"/>
                  <a:pt x="94264" y="157797"/>
                  <a:pt x="94264" y="157797"/>
                </a:cubicBezTo>
                <a:close/>
                <a:moveTo>
                  <a:pt x="256718" y="139600"/>
                </a:moveTo>
                <a:cubicBezTo>
                  <a:pt x="257247" y="139600"/>
                  <a:pt x="257776" y="140096"/>
                  <a:pt x="257776" y="140096"/>
                </a:cubicBezTo>
                <a:cubicBezTo>
                  <a:pt x="257776" y="140096"/>
                  <a:pt x="262009" y="140096"/>
                  <a:pt x="259893" y="144065"/>
                </a:cubicBezTo>
                <a:cubicBezTo>
                  <a:pt x="259893" y="146049"/>
                  <a:pt x="255659" y="146049"/>
                  <a:pt x="255659" y="142080"/>
                </a:cubicBezTo>
                <a:cubicBezTo>
                  <a:pt x="255659" y="140096"/>
                  <a:pt x="256188" y="139600"/>
                  <a:pt x="256718" y="139600"/>
                </a:cubicBezTo>
                <a:close/>
                <a:moveTo>
                  <a:pt x="229317" y="87213"/>
                </a:moveTo>
                <a:cubicBezTo>
                  <a:pt x="230061" y="87213"/>
                  <a:pt x="231053" y="87709"/>
                  <a:pt x="231053" y="87709"/>
                </a:cubicBezTo>
                <a:cubicBezTo>
                  <a:pt x="231053" y="87709"/>
                  <a:pt x="235022" y="87709"/>
                  <a:pt x="235022" y="89693"/>
                </a:cubicBezTo>
                <a:cubicBezTo>
                  <a:pt x="235022" y="93662"/>
                  <a:pt x="229069" y="93662"/>
                  <a:pt x="229069" y="89693"/>
                </a:cubicBezTo>
                <a:cubicBezTo>
                  <a:pt x="228077" y="87709"/>
                  <a:pt x="228573" y="87213"/>
                  <a:pt x="229317" y="87213"/>
                </a:cubicBezTo>
                <a:close/>
                <a:moveTo>
                  <a:pt x="146519" y="63400"/>
                </a:moveTo>
                <a:cubicBezTo>
                  <a:pt x="147511" y="63400"/>
                  <a:pt x="148503" y="63896"/>
                  <a:pt x="148503" y="63896"/>
                </a:cubicBezTo>
                <a:cubicBezTo>
                  <a:pt x="148503" y="63896"/>
                  <a:pt x="152472" y="63896"/>
                  <a:pt x="152472" y="65880"/>
                </a:cubicBezTo>
                <a:cubicBezTo>
                  <a:pt x="152472" y="67865"/>
                  <a:pt x="144534" y="69849"/>
                  <a:pt x="144534" y="65880"/>
                </a:cubicBezTo>
                <a:cubicBezTo>
                  <a:pt x="144534" y="63896"/>
                  <a:pt x="145526" y="63400"/>
                  <a:pt x="146519" y="63400"/>
                </a:cubicBezTo>
                <a:close/>
                <a:moveTo>
                  <a:pt x="154060" y="60325"/>
                </a:moveTo>
                <a:cubicBezTo>
                  <a:pt x="155647" y="60325"/>
                  <a:pt x="155647" y="61912"/>
                  <a:pt x="155647" y="61912"/>
                </a:cubicBezTo>
                <a:cubicBezTo>
                  <a:pt x="155647" y="61912"/>
                  <a:pt x="155647" y="61912"/>
                  <a:pt x="155647" y="63500"/>
                </a:cubicBezTo>
                <a:cubicBezTo>
                  <a:pt x="155647" y="63500"/>
                  <a:pt x="152472" y="63500"/>
                  <a:pt x="152472" y="61912"/>
                </a:cubicBezTo>
                <a:cubicBezTo>
                  <a:pt x="152472" y="60325"/>
                  <a:pt x="154060" y="60325"/>
                  <a:pt x="154060" y="60325"/>
                </a:cubicBezTo>
                <a:close/>
                <a:moveTo>
                  <a:pt x="144534" y="52387"/>
                </a:moveTo>
                <a:cubicBezTo>
                  <a:pt x="146122" y="54503"/>
                  <a:pt x="147710" y="52387"/>
                  <a:pt x="147710" y="52387"/>
                </a:cubicBezTo>
                <a:cubicBezTo>
                  <a:pt x="149297" y="52387"/>
                  <a:pt x="149297" y="54503"/>
                  <a:pt x="149297" y="56620"/>
                </a:cubicBezTo>
                <a:cubicBezTo>
                  <a:pt x="147710" y="56620"/>
                  <a:pt x="144534" y="58737"/>
                  <a:pt x="144534" y="56620"/>
                </a:cubicBezTo>
                <a:cubicBezTo>
                  <a:pt x="144534" y="54503"/>
                  <a:pt x="144534" y="52387"/>
                  <a:pt x="144534" y="52387"/>
                </a:cubicBezTo>
                <a:close/>
                <a:moveTo>
                  <a:pt x="209622" y="47525"/>
                </a:moveTo>
                <a:cubicBezTo>
                  <a:pt x="210415" y="47525"/>
                  <a:pt x="211209" y="48021"/>
                  <a:pt x="211209" y="48021"/>
                </a:cubicBezTo>
                <a:cubicBezTo>
                  <a:pt x="211209" y="53974"/>
                  <a:pt x="208034" y="53974"/>
                  <a:pt x="208034" y="50005"/>
                </a:cubicBezTo>
                <a:cubicBezTo>
                  <a:pt x="208034" y="48021"/>
                  <a:pt x="208828" y="47525"/>
                  <a:pt x="209622" y="47525"/>
                </a:cubicBezTo>
                <a:close/>
                <a:moveTo>
                  <a:pt x="154457" y="45879"/>
                </a:moveTo>
                <a:cubicBezTo>
                  <a:pt x="155449" y="45879"/>
                  <a:pt x="156441" y="46355"/>
                  <a:pt x="156441" y="46355"/>
                </a:cubicBezTo>
                <a:cubicBezTo>
                  <a:pt x="156441" y="46355"/>
                  <a:pt x="160410" y="46355"/>
                  <a:pt x="160410" y="50165"/>
                </a:cubicBezTo>
                <a:cubicBezTo>
                  <a:pt x="160410" y="53975"/>
                  <a:pt x="152472" y="53975"/>
                  <a:pt x="152472" y="48260"/>
                </a:cubicBezTo>
                <a:cubicBezTo>
                  <a:pt x="152472" y="46355"/>
                  <a:pt x="153464" y="45879"/>
                  <a:pt x="154457" y="45879"/>
                </a:cubicBezTo>
                <a:close/>
                <a:moveTo>
                  <a:pt x="205314" y="7187"/>
                </a:moveTo>
                <a:cubicBezTo>
                  <a:pt x="206334" y="7672"/>
                  <a:pt x="207355" y="8642"/>
                  <a:pt x="207355" y="8642"/>
                </a:cubicBezTo>
                <a:cubicBezTo>
                  <a:pt x="207355" y="8642"/>
                  <a:pt x="211437" y="12523"/>
                  <a:pt x="211437" y="14463"/>
                </a:cubicBezTo>
                <a:cubicBezTo>
                  <a:pt x="211437" y="16403"/>
                  <a:pt x="211437" y="16403"/>
                  <a:pt x="213478" y="16403"/>
                </a:cubicBezTo>
                <a:cubicBezTo>
                  <a:pt x="215519" y="16403"/>
                  <a:pt x="217560" y="18343"/>
                  <a:pt x="213478" y="20284"/>
                </a:cubicBezTo>
                <a:cubicBezTo>
                  <a:pt x="209396" y="22224"/>
                  <a:pt x="209396" y="20284"/>
                  <a:pt x="209396" y="18343"/>
                </a:cubicBezTo>
                <a:cubicBezTo>
                  <a:pt x="209396" y="16403"/>
                  <a:pt x="209396" y="16403"/>
                  <a:pt x="207355" y="16403"/>
                </a:cubicBezTo>
                <a:cubicBezTo>
                  <a:pt x="205313" y="16403"/>
                  <a:pt x="203272" y="14463"/>
                  <a:pt x="203272" y="8642"/>
                </a:cubicBezTo>
                <a:cubicBezTo>
                  <a:pt x="203272" y="6702"/>
                  <a:pt x="204293" y="6702"/>
                  <a:pt x="205314" y="7187"/>
                </a:cubicBezTo>
                <a:close/>
                <a:moveTo>
                  <a:pt x="218353" y="0"/>
                </a:moveTo>
                <a:cubicBezTo>
                  <a:pt x="222322" y="0"/>
                  <a:pt x="226290" y="0"/>
                  <a:pt x="226290" y="1984"/>
                </a:cubicBezTo>
                <a:cubicBezTo>
                  <a:pt x="226290" y="3969"/>
                  <a:pt x="222322" y="5953"/>
                  <a:pt x="222322" y="5953"/>
                </a:cubicBezTo>
                <a:cubicBezTo>
                  <a:pt x="222322" y="5953"/>
                  <a:pt x="222322" y="5953"/>
                  <a:pt x="220337" y="5953"/>
                </a:cubicBezTo>
                <a:cubicBezTo>
                  <a:pt x="216369" y="5953"/>
                  <a:pt x="218353" y="7937"/>
                  <a:pt x="218353" y="7937"/>
                </a:cubicBezTo>
                <a:cubicBezTo>
                  <a:pt x="218353" y="7937"/>
                  <a:pt x="220337" y="7937"/>
                  <a:pt x="222322" y="9922"/>
                </a:cubicBezTo>
                <a:cubicBezTo>
                  <a:pt x="222322" y="9922"/>
                  <a:pt x="226290" y="11906"/>
                  <a:pt x="228275" y="11906"/>
                </a:cubicBezTo>
                <a:cubicBezTo>
                  <a:pt x="230259" y="11906"/>
                  <a:pt x="230259" y="11906"/>
                  <a:pt x="230259" y="13890"/>
                </a:cubicBezTo>
                <a:cubicBezTo>
                  <a:pt x="228275" y="15875"/>
                  <a:pt x="224306" y="15875"/>
                  <a:pt x="222322" y="15875"/>
                </a:cubicBezTo>
                <a:cubicBezTo>
                  <a:pt x="220337" y="13890"/>
                  <a:pt x="218353" y="13890"/>
                  <a:pt x="216369" y="11906"/>
                </a:cubicBezTo>
                <a:cubicBezTo>
                  <a:pt x="216369" y="7937"/>
                  <a:pt x="214384" y="7937"/>
                  <a:pt x="214384" y="5953"/>
                </a:cubicBezTo>
                <a:cubicBezTo>
                  <a:pt x="214384" y="1984"/>
                  <a:pt x="216369" y="0"/>
                  <a:pt x="218353"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0" name="Mauritius"/>
          <p:cNvSpPr>
            <a:spLocks/>
          </p:cNvSpPr>
          <p:nvPr/>
        </p:nvSpPr>
        <p:spPr bwMode="auto">
          <a:xfrm>
            <a:off x="7733017" y="4709115"/>
            <a:ext cx="22865" cy="29397"/>
          </a:xfrm>
          <a:custGeom>
            <a:avLst/>
            <a:gdLst>
              <a:gd name="T0" fmla="*/ 3 w 11"/>
              <a:gd name="T1" fmla="*/ 9 h 14"/>
              <a:gd name="T2" fmla="*/ 1 w 11"/>
              <a:gd name="T3" fmla="*/ 12 h 14"/>
              <a:gd name="T4" fmla="*/ 5 w 11"/>
              <a:gd name="T5" fmla="*/ 14 h 14"/>
              <a:gd name="T6" fmla="*/ 8 w 11"/>
              <a:gd name="T7" fmla="*/ 11 h 14"/>
              <a:gd name="T8" fmla="*/ 9 w 11"/>
              <a:gd name="T9" fmla="*/ 6 h 14"/>
              <a:gd name="T10" fmla="*/ 11 w 11"/>
              <a:gd name="T11" fmla="*/ 2 h 14"/>
              <a:gd name="T12" fmla="*/ 9 w 11"/>
              <a:gd name="T13" fmla="*/ 1 h 14"/>
              <a:gd name="T14" fmla="*/ 7 w 11"/>
              <a:gd name="T15" fmla="*/ 3 h 14"/>
              <a:gd name="T16" fmla="*/ 3 w 11"/>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4">
                <a:moveTo>
                  <a:pt x="3" y="9"/>
                </a:moveTo>
                <a:cubicBezTo>
                  <a:pt x="3" y="9"/>
                  <a:pt x="2" y="12"/>
                  <a:pt x="1" y="12"/>
                </a:cubicBezTo>
                <a:cubicBezTo>
                  <a:pt x="0" y="12"/>
                  <a:pt x="3" y="14"/>
                  <a:pt x="5" y="14"/>
                </a:cubicBezTo>
                <a:cubicBezTo>
                  <a:pt x="7" y="13"/>
                  <a:pt x="8" y="12"/>
                  <a:pt x="8" y="11"/>
                </a:cubicBezTo>
                <a:cubicBezTo>
                  <a:pt x="8" y="10"/>
                  <a:pt x="8" y="8"/>
                  <a:pt x="9" y="6"/>
                </a:cubicBezTo>
                <a:cubicBezTo>
                  <a:pt x="10" y="5"/>
                  <a:pt x="10" y="4"/>
                  <a:pt x="11" y="2"/>
                </a:cubicBezTo>
                <a:cubicBezTo>
                  <a:pt x="11" y="0"/>
                  <a:pt x="10" y="1"/>
                  <a:pt x="9" y="1"/>
                </a:cubicBezTo>
                <a:cubicBezTo>
                  <a:pt x="8" y="2"/>
                  <a:pt x="7" y="2"/>
                  <a:pt x="7" y="3"/>
                </a:cubicBezTo>
                <a:cubicBezTo>
                  <a:pt x="6" y="5"/>
                  <a:pt x="4" y="9"/>
                  <a:pt x="3" y="9"/>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1" name="Canary Island"/>
          <p:cNvSpPr>
            <a:spLocks/>
          </p:cNvSpPr>
          <p:nvPr/>
        </p:nvSpPr>
        <p:spPr bwMode="auto">
          <a:xfrm>
            <a:off x="5719293" y="3116306"/>
            <a:ext cx="125756" cy="55100"/>
          </a:xfrm>
          <a:custGeom>
            <a:avLst/>
            <a:gdLst>
              <a:gd name="connsiteX0" fmla="*/ 5557 w 122238"/>
              <a:gd name="connsiteY0" fmla="*/ 48060 h 53559"/>
              <a:gd name="connsiteX1" fmla="*/ 1588 w 122238"/>
              <a:gd name="connsiteY1" fmla="*/ 52293 h 53559"/>
              <a:gd name="connsiteX2" fmla="*/ 5557 w 122238"/>
              <a:gd name="connsiteY2" fmla="*/ 48060 h 53559"/>
              <a:gd name="connsiteX3" fmla="*/ 22623 w 122238"/>
              <a:gd name="connsiteY3" fmla="*/ 34665 h 53559"/>
              <a:gd name="connsiteX4" fmla="*/ 24607 w 122238"/>
              <a:gd name="connsiteY4" fmla="*/ 36153 h 53559"/>
              <a:gd name="connsiteX5" fmla="*/ 24607 w 122238"/>
              <a:gd name="connsiteY5" fmla="*/ 38138 h 53559"/>
              <a:gd name="connsiteX6" fmla="*/ 20638 w 122238"/>
              <a:gd name="connsiteY6" fmla="*/ 36153 h 53559"/>
              <a:gd name="connsiteX7" fmla="*/ 22623 w 122238"/>
              <a:gd name="connsiteY7" fmla="*/ 34665 h 53559"/>
              <a:gd name="connsiteX8" fmla="*/ 60008 w 122238"/>
              <a:gd name="connsiteY8" fmla="*/ 32185 h 53559"/>
              <a:gd name="connsiteX9" fmla="*/ 63818 w 122238"/>
              <a:gd name="connsiteY9" fmla="*/ 32185 h 53559"/>
              <a:gd name="connsiteX10" fmla="*/ 69533 w 122238"/>
              <a:gd name="connsiteY10" fmla="*/ 34302 h 53559"/>
              <a:gd name="connsiteX11" fmla="*/ 67628 w 122238"/>
              <a:gd name="connsiteY11" fmla="*/ 38535 h 53559"/>
              <a:gd name="connsiteX12" fmla="*/ 69533 w 122238"/>
              <a:gd name="connsiteY12" fmla="*/ 44885 h 53559"/>
              <a:gd name="connsiteX13" fmla="*/ 61913 w 122238"/>
              <a:gd name="connsiteY13" fmla="*/ 49118 h 53559"/>
              <a:gd name="connsiteX14" fmla="*/ 54293 w 122238"/>
              <a:gd name="connsiteY14" fmla="*/ 47002 h 53559"/>
              <a:gd name="connsiteX15" fmla="*/ 52388 w 122238"/>
              <a:gd name="connsiteY15" fmla="*/ 44885 h 53559"/>
              <a:gd name="connsiteX16" fmla="*/ 54293 w 122238"/>
              <a:gd name="connsiteY16" fmla="*/ 38535 h 53559"/>
              <a:gd name="connsiteX17" fmla="*/ 56198 w 122238"/>
              <a:gd name="connsiteY17" fmla="*/ 36418 h 53559"/>
              <a:gd name="connsiteX18" fmla="*/ 60008 w 122238"/>
              <a:gd name="connsiteY18" fmla="*/ 32185 h 53559"/>
              <a:gd name="connsiteX19" fmla="*/ 42976 w 122238"/>
              <a:gd name="connsiteY19" fmla="*/ 24208 h 53559"/>
              <a:gd name="connsiteX20" fmla="*/ 46038 w 122238"/>
              <a:gd name="connsiteY20" fmla="*/ 26787 h 53559"/>
              <a:gd name="connsiteX21" fmla="*/ 39915 w 122238"/>
              <a:gd name="connsiteY21" fmla="*/ 37106 h 53559"/>
              <a:gd name="connsiteX22" fmla="*/ 33791 w 122238"/>
              <a:gd name="connsiteY22" fmla="*/ 41233 h 53559"/>
              <a:gd name="connsiteX23" fmla="*/ 31750 w 122238"/>
              <a:gd name="connsiteY23" fmla="*/ 32978 h 53559"/>
              <a:gd name="connsiteX24" fmla="*/ 35832 w 122238"/>
              <a:gd name="connsiteY24" fmla="*/ 26787 h 53559"/>
              <a:gd name="connsiteX25" fmla="*/ 39915 w 122238"/>
              <a:gd name="connsiteY25" fmla="*/ 24724 h 53559"/>
              <a:gd name="connsiteX26" fmla="*/ 42976 w 122238"/>
              <a:gd name="connsiteY26" fmla="*/ 24208 h 53559"/>
              <a:gd name="connsiteX27" fmla="*/ 3062 w 122238"/>
              <a:gd name="connsiteY27" fmla="*/ 9861 h 53559"/>
              <a:gd name="connsiteX28" fmla="*/ 6124 w 122238"/>
              <a:gd name="connsiteY28" fmla="*/ 10357 h 53559"/>
              <a:gd name="connsiteX29" fmla="*/ 10206 w 122238"/>
              <a:gd name="connsiteY29" fmla="*/ 10357 h 53559"/>
              <a:gd name="connsiteX30" fmla="*/ 14288 w 122238"/>
              <a:gd name="connsiteY30" fmla="*/ 14326 h 53559"/>
              <a:gd name="connsiteX31" fmla="*/ 10206 w 122238"/>
              <a:gd name="connsiteY31" fmla="*/ 20279 h 53559"/>
              <a:gd name="connsiteX32" fmla="*/ 4082 w 122238"/>
              <a:gd name="connsiteY32" fmla="*/ 22263 h 53559"/>
              <a:gd name="connsiteX33" fmla="*/ 0 w 122238"/>
              <a:gd name="connsiteY33" fmla="*/ 12342 h 53559"/>
              <a:gd name="connsiteX34" fmla="*/ 3062 w 122238"/>
              <a:gd name="connsiteY34" fmla="*/ 9861 h 53559"/>
              <a:gd name="connsiteX35" fmla="*/ 116075 w 122238"/>
              <a:gd name="connsiteY35" fmla="*/ 813 h 53559"/>
              <a:gd name="connsiteX36" fmla="*/ 122238 w 122238"/>
              <a:gd name="connsiteY36" fmla="*/ 2779 h 53559"/>
              <a:gd name="connsiteX37" fmla="*/ 118129 w 122238"/>
              <a:gd name="connsiteY37" fmla="*/ 8675 h 53559"/>
              <a:gd name="connsiteX38" fmla="*/ 111966 w 122238"/>
              <a:gd name="connsiteY38" fmla="*/ 14572 h 53559"/>
              <a:gd name="connsiteX39" fmla="*/ 109912 w 122238"/>
              <a:gd name="connsiteY39" fmla="*/ 16537 h 53559"/>
              <a:gd name="connsiteX40" fmla="*/ 107857 w 122238"/>
              <a:gd name="connsiteY40" fmla="*/ 24399 h 53559"/>
              <a:gd name="connsiteX41" fmla="*/ 103748 w 122238"/>
              <a:gd name="connsiteY41" fmla="*/ 30295 h 53559"/>
              <a:gd name="connsiteX42" fmla="*/ 97585 w 122238"/>
              <a:gd name="connsiteY42" fmla="*/ 34226 h 53559"/>
              <a:gd name="connsiteX43" fmla="*/ 93476 w 122238"/>
              <a:gd name="connsiteY43" fmla="*/ 36192 h 53559"/>
              <a:gd name="connsiteX44" fmla="*/ 89368 w 122238"/>
              <a:gd name="connsiteY44" fmla="*/ 38157 h 53559"/>
              <a:gd name="connsiteX45" fmla="*/ 89368 w 122238"/>
              <a:gd name="connsiteY45" fmla="*/ 34226 h 53559"/>
              <a:gd name="connsiteX46" fmla="*/ 91422 w 122238"/>
              <a:gd name="connsiteY46" fmla="*/ 30295 h 53559"/>
              <a:gd name="connsiteX47" fmla="*/ 95531 w 122238"/>
              <a:gd name="connsiteY47" fmla="*/ 26365 h 53559"/>
              <a:gd name="connsiteX48" fmla="*/ 97585 w 122238"/>
              <a:gd name="connsiteY48" fmla="*/ 20468 h 53559"/>
              <a:gd name="connsiteX49" fmla="*/ 101694 w 122238"/>
              <a:gd name="connsiteY49" fmla="*/ 14572 h 53559"/>
              <a:gd name="connsiteX50" fmla="*/ 105803 w 122238"/>
              <a:gd name="connsiteY50" fmla="*/ 10641 h 53559"/>
              <a:gd name="connsiteX51" fmla="*/ 107857 w 122238"/>
              <a:gd name="connsiteY51" fmla="*/ 6710 h 53559"/>
              <a:gd name="connsiteX52" fmla="*/ 116075 w 122238"/>
              <a:gd name="connsiteY52" fmla="*/ 813 h 5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2238" h="53559">
                <a:moveTo>
                  <a:pt x="5557" y="48060"/>
                </a:moveTo>
                <a:cubicBezTo>
                  <a:pt x="9526" y="54410"/>
                  <a:pt x="1588" y="54410"/>
                  <a:pt x="1588" y="52293"/>
                </a:cubicBezTo>
                <a:cubicBezTo>
                  <a:pt x="1588" y="48060"/>
                  <a:pt x="5557" y="48060"/>
                  <a:pt x="5557" y="48060"/>
                </a:cubicBezTo>
                <a:close/>
                <a:moveTo>
                  <a:pt x="22623" y="34665"/>
                </a:moveTo>
                <a:cubicBezTo>
                  <a:pt x="23615" y="35161"/>
                  <a:pt x="24607" y="36153"/>
                  <a:pt x="24607" y="36153"/>
                </a:cubicBezTo>
                <a:cubicBezTo>
                  <a:pt x="28576" y="34169"/>
                  <a:pt x="28576" y="36153"/>
                  <a:pt x="24607" y="38138"/>
                </a:cubicBezTo>
                <a:cubicBezTo>
                  <a:pt x="20638" y="40122"/>
                  <a:pt x="20638" y="38138"/>
                  <a:pt x="20638" y="36153"/>
                </a:cubicBezTo>
                <a:cubicBezTo>
                  <a:pt x="20638" y="34169"/>
                  <a:pt x="21630" y="34169"/>
                  <a:pt x="22623" y="34665"/>
                </a:cubicBezTo>
                <a:close/>
                <a:moveTo>
                  <a:pt x="60008" y="32185"/>
                </a:moveTo>
                <a:cubicBezTo>
                  <a:pt x="60008" y="32185"/>
                  <a:pt x="63818" y="34302"/>
                  <a:pt x="63818" y="32185"/>
                </a:cubicBezTo>
                <a:cubicBezTo>
                  <a:pt x="65723" y="32185"/>
                  <a:pt x="69533" y="32185"/>
                  <a:pt x="69533" y="34302"/>
                </a:cubicBezTo>
                <a:cubicBezTo>
                  <a:pt x="67628" y="36418"/>
                  <a:pt x="65723" y="36418"/>
                  <a:pt x="67628" y="38535"/>
                </a:cubicBezTo>
                <a:cubicBezTo>
                  <a:pt x="69533" y="40652"/>
                  <a:pt x="71438" y="40652"/>
                  <a:pt x="69533" y="44885"/>
                </a:cubicBezTo>
                <a:cubicBezTo>
                  <a:pt x="65723" y="47002"/>
                  <a:pt x="61913" y="49118"/>
                  <a:pt x="61913" y="49118"/>
                </a:cubicBezTo>
                <a:cubicBezTo>
                  <a:pt x="61913" y="49118"/>
                  <a:pt x="56198" y="51235"/>
                  <a:pt x="54293" y="47002"/>
                </a:cubicBezTo>
                <a:cubicBezTo>
                  <a:pt x="54293" y="44885"/>
                  <a:pt x="52388" y="44885"/>
                  <a:pt x="52388" y="44885"/>
                </a:cubicBezTo>
                <a:cubicBezTo>
                  <a:pt x="52388" y="44885"/>
                  <a:pt x="52388" y="38535"/>
                  <a:pt x="54293" y="38535"/>
                </a:cubicBezTo>
                <a:cubicBezTo>
                  <a:pt x="56198" y="36418"/>
                  <a:pt x="56198" y="36418"/>
                  <a:pt x="56198" y="36418"/>
                </a:cubicBezTo>
                <a:cubicBezTo>
                  <a:pt x="56198" y="36418"/>
                  <a:pt x="58103" y="32185"/>
                  <a:pt x="60008" y="32185"/>
                </a:cubicBezTo>
                <a:close/>
                <a:moveTo>
                  <a:pt x="42976" y="24208"/>
                </a:moveTo>
                <a:cubicBezTo>
                  <a:pt x="44507" y="24724"/>
                  <a:pt x="46038" y="25756"/>
                  <a:pt x="46038" y="26787"/>
                </a:cubicBezTo>
                <a:cubicBezTo>
                  <a:pt x="46038" y="28851"/>
                  <a:pt x="39915" y="37106"/>
                  <a:pt x="39915" y="37106"/>
                </a:cubicBezTo>
                <a:cubicBezTo>
                  <a:pt x="39915" y="37106"/>
                  <a:pt x="35832" y="43297"/>
                  <a:pt x="33791" y="41233"/>
                </a:cubicBezTo>
                <a:cubicBezTo>
                  <a:pt x="31750" y="39169"/>
                  <a:pt x="31750" y="37106"/>
                  <a:pt x="31750" y="32978"/>
                </a:cubicBezTo>
                <a:cubicBezTo>
                  <a:pt x="31750" y="28851"/>
                  <a:pt x="35832" y="26787"/>
                  <a:pt x="35832" y="26787"/>
                </a:cubicBezTo>
                <a:cubicBezTo>
                  <a:pt x="35832" y="26787"/>
                  <a:pt x="37874" y="26787"/>
                  <a:pt x="39915" y="24724"/>
                </a:cubicBezTo>
                <a:cubicBezTo>
                  <a:pt x="39915" y="23692"/>
                  <a:pt x="41445" y="23692"/>
                  <a:pt x="42976" y="24208"/>
                </a:cubicBezTo>
                <a:close/>
                <a:moveTo>
                  <a:pt x="3062" y="9861"/>
                </a:moveTo>
                <a:cubicBezTo>
                  <a:pt x="4593" y="9861"/>
                  <a:pt x="6124" y="10357"/>
                  <a:pt x="6124" y="10357"/>
                </a:cubicBezTo>
                <a:cubicBezTo>
                  <a:pt x="6124" y="10357"/>
                  <a:pt x="8165" y="10357"/>
                  <a:pt x="10206" y="10357"/>
                </a:cubicBezTo>
                <a:cubicBezTo>
                  <a:pt x="12247" y="12342"/>
                  <a:pt x="14288" y="12342"/>
                  <a:pt x="14288" y="14326"/>
                </a:cubicBezTo>
                <a:cubicBezTo>
                  <a:pt x="14288" y="16310"/>
                  <a:pt x="10206" y="18295"/>
                  <a:pt x="10206" y="20279"/>
                </a:cubicBezTo>
                <a:cubicBezTo>
                  <a:pt x="10206" y="24248"/>
                  <a:pt x="4082" y="22263"/>
                  <a:pt x="4082" y="22263"/>
                </a:cubicBezTo>
                <a:cubicBezTo>
                  <a:pt x="4082" y="22263"/>
                  <a:pt x="0" y="18295"/>
                  <a:pt x="0" y="12342"/>
                </a:cubicBezTo>
                <a:cubicBezTo>
                  <a:pt x="0" y="10357"/>
                  <a:pt x="1531" y="9861"/>
                  <a:pt x="3062" y="9861"/>
                </a:cubicBezTo>
                <a:close/>
                <a:moveTo>
                  <a:pt x="116075" y="813"/>
                </a:moveTo>
                <a:cubicBezTo>
                  <a:pt x="120184" y="-1152"/>
                  <a:pt x="122238" y="813"/>
                  <a:pt x="122238" y="2779"/>
                </a:cubicBezTo>
                <a:cubicBezTo>
                  <a:pt x="122238" y="4744"/>
                  <a:pt x="118129" y="8675"/>
                  <a:pt x="118129" y="8675"/>
                </a:cubicBezTo>
                <a:cubicBezTo>
                  <a:pt x="118129" y="8675"/>
                  <a:pt x="114020" y="12606"/>
                  <a:pt x="111966" y="14572"/>
                </a:cubicBezTo>
                <a:cubicBezTo>
                  <a:pt x="111966" y="14572"/>
                  <a:pt x="107857" y="14572"/>
                  <a:pt x="109912" y="16537"/>
                </a:cubicBezTo>
                <a:cubicBezTo>
                  <a:pt x="109912" y="16537"/>
                  <a:pt x="107857" y="24399"/>
                  <a:pt x="107857" y="24399"/>
                </a:cubicBezTo>
                <a:cubicBezTo>
                  <a:pt x="107857" y="24399"/>
                  <a:pt x="103748" y="28330"/>
                  <a:pt x="103748" y="30295"/>
                </a:cubicBezTo>
                <a:cubicBezTo>
                  <a:pt x="103748" y="32261"/>
                  <a:pt x="97585" y="34226"/>
                  <a:pt x="97585" y="34226"/>
                </a:cubicBezTo>
                <a:cubicBezTo>
                  <a:pt x="97585" y="34226"/>
                  <a:pt x="95531" y="34226"/>
                  <a:pt x="93476" y="36192"/>
                </a:cubicBezTo>
                <a:cubicBezTo>
                  <a:pt x="93476" y="40123"/>
                  <a:pt x="89368" y="40123"/>
                  <a:pt x="89368" y="38157"/>
                </a:cubicBezTo>
                <a:cubicBezTo>
                  <a:pt x="87313" y="36192"/>
                  <a:pt x="91422" y="38157"/>
                  <a:pt x="89368" y="34226"/>
                </a:cubicBezTo>
                <a:cubicBezTo>
                  <a:pt x="89368" y="32261"/>
                  <a:pt x="91422" y="30295"/>
                  <a:pt x="91422" y="30295"/>
                </a:cubicBezTo>
                <a:cubicBezTo>
                  <a:pt x="91422" y="30295"/>
                  <a:pt x="93476" y="26365"/>
                  <a:pt x="95531" y="26365"/>
                </a:cubicBezTo>
                <a:cubicBezTo>
                  <a:pt x="97585" y="24399"/>
                  <a:pt x="97585" y="20468"/>
                  <a:pt x="97585" y="20468"/>
                </a:cubicBezTo>
                <a:cubicBezTo>
                  <a:pt x="97585" y="20468"/>
                  <a:pt x="99640" y="16537"/>
                  <a:pt x="101694" y="14572"/>
                </a:cubicBezTo>
                <a:cubicBezTo>
                  <a:pt x="107857" y="14572"/>
                  <a:pt x="105803" y="10641"/>
                  <a:pt x="105803" y="10641"/>
                </a:cubicBezTo>
                <a:cubicBezTo>
                  <a:pt x="105803" y="10641"/>
                  <a:pt x="107857" y="8675"/>
                  <a:pt x="107857" y="6710"/>
                </a:cubicBezTo>
                <a:cubicBezTo>
                  <a:pt x="107857" y="2779"/>
                  <a:pt x="114020" y="813"/>
                  <a:pt x="116075" y="813"/>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2" name="Madeira Island"/>
          <p:cNvSpPr>
            <a:spLocks/>
          </p:cNvSpPr>
          <p:nvPr/>
        </p:nvSpPr>
        <p:spPr bwMode="auto">
          <a:xfrm>
            <a:off x="5737248" y="2952997"/>
            <a:ext cx="75634" cy="48617"/>
          </a:xfrm>
          <a:custGeom>
            <a:avLst/>
            <a:gdLst>
              <a:gd name="connsiteX0" fmla="*/ 19109 w 73518"/>
              <a:gd name="connsiteY0" fmla="*/ 41543 h 47257"/>
              <a:gd name="connsiteX1" fmla="*/ 21838 w 73518"/>
              <a:gd name="connsiteY1" fmla="*/ 42019 h 47257"/>
              <a:gd name="connsiteX2" fmla="*/ 17869 w 73518"/>
              <a:gd name="connsiteY2" fmla="*/ 43924 h 47257"/>
              <a:gd name="connsiteX3" fmla="*/ 19109 w 73518"/>
              <a:gd name="connsiteY3" fmla="*/ 41543 h 47257"/>
              <a:gd name="connsiteX4" fmla="*/ 10327 w 73518"/>
              <a:gd name="connsiteY4" fmla="*/ 32176 h 47257"/>
              <a:gd name="connsiteX5" fmla="*/ 14296 w 73518"/>
              <a:gd name="connsiteY5" fmla="*/ 39584 h 47257"/>
              <a:gd name="connsiteX6" fmla="*/ 8343 w 73518"/>
              <a:gd name="connsiteY6" fmla="*/ 39584 h 47257"/>
              <a:gd name="connsiteX7" fmla="*/ 406 w 73518"/>
              <a:gd name="connsiteY7" fmla="*/ 35880 h 47257"/>
              <a:gd name="connsiteX8" fmla="*/ 4374 w 73518"/>
              <a:gd name="connsiteY8" fmla="*/ 34028 h 47257"/>
              <a:gd name="connsiteX9" fmla="*/ 10327 w 73518"/>
              <a:gd name="connsiteY9" fmla="*/ 32176 h 47257"/>
              <a:gd name="connsiteX10" fmla="*/ 24139 w 73518"/>
              <a:gd name="connsiteY10" fmla="*/ 25727 h 47257"/>
              <a:gd name="connsiteX11" fmla="*/ 26044 w 73518"/>
              <a:gd name="connsiteY11" fmla="*/ 26223 h 47257"/>
              <a:gd name="connsiteX12" fmla="*/ 22234 w 73518"/>
              <a:gd name="connsiteY12" fmla="*/ 28207 h 47257"/>
              <a:gd name="connsiteX13" fmla="*/ 24139 w 73518"/>
              <a:gd name="connsiteY13" fmla="*/ 25727 h 47257"/>
              <a:gd name="connsiteX14" fmla="*/ 65939 w 73518"/>
              <a:gd name="connsiteY14" fmla="*/ 57 h 47257"/>
              <a:gd name="connsiteX15" fmla="*/ 72637 w 73518"/>
              <a:gd name="connsiteY15" fmla="*/ 1333 h 47257"/>
              <a:gd name="connsiteX16" fmla="*/ 72637 w 73518"/>
              <a:gd name="connsiteY16" fmla="*/ 9497 h 47257"/>
              <a:gd name="connsiteX17" fmla="*/ 60731 w 73518"/>
              <a:gd name="connsiteY17" fmla="*/ 3374 h 47257"/>
              <a:gd name="connsiteX18" fmla="*/ 65939 w 73518"/>
              <a:gd name="connsiteY18" fmla="*/ 57 h 4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518" h="47257">
                <a:moveTo>
                  <a:pt x="19109" y="41543"/>
                </a:moveTo>
                <a:cubicBezTo>
                  <a:pt x="20349" y="41543"/>
                  <a:pt x="21838" y="42019"/>
                  <a:pt x="21838" y="42019"/>
                </a:cubicBezTo>
                <a:cubicBezTo>
                  <a:pt x="23822" y="49639"/>
                  <a:pt x="17869" y="47734"/>
                  <a:pt x="17869" y="43924"/>
                </a:cubicBezTo>
                <a:cubicBezTo>
                  <a:pt x="16876" y="42019"/>
                  <a:pt x="17869" y="41543"/>
                  <a:pt x="19109" y="41543"/>
                </a:cubicBezTo>
                <a:close/>
                <a:moveTo>
                  <a:pt x="10327" y="32176"/>
                </a:moveTo>
                <a:cubicBezTo>
                  <a:pt x="12312" y="32176"/>
                  <a:pt x="14296" y="37732"/>
                  <a:pt x="14296" y="39584"/>
                </a:cubicBezTo>
                <a:cubicBezTo>
                  <a:pt x="14296" y="43288"/>
                  <a:pt x="10327" y="43288"/>
                  <a:pt x="8343" y="39584"/>
                </a:cubicBezTo>
                <a:cubicBezTo>
                  <a:pt x="6359" y="35880"/>
                  <a:pt x="2390" y="39584"/>
                  <a:pt x="406" y="35880"/>
                </a:cubicBezTo>
                <a:cubicBezTo>
                  <a:pt x="-1579" y="34028"/>
                  <a:pt x="4374" y="34028"/>
                  <a:pt x="4374" y="34028"/>
                </a:cubicBezTo>
                <a:cubicBezTo>
                  <a:pt x="4374" y="34028"/>
                  <a:pt x="6359" y="32176"/>
                  <a:pt x="10327" y="32176"/>
                </a:cubicBezTo>
                <a:close/>
                <a:moveTo>
                  <a:pt x="24139" y="25727"/>
                </a:moveTo>
                <a:cubicBezTo>
                  <a:pt x="25092" y="25727"/>
                  <a:pt x="26044" y="26223"/>
                  <a:pt x="26044" y="26223"/>
                </a:cubicBezTo>
                <a:cubicBezTo>
                  <a:pt x="31759" y="28207"/>
                  <a:pt x="22234" y="32176"/>
                  <a:pt x="22234" y="28207"/>
                </a:cubicBezTo>
                <a:cubicBezTo>
                  <a:pt x="22234" y="26223"/>
                  <a:pt x="23187" y="25727"/>
                  <a:pt x="24139" y="25727"/>
                </a:cubicBezTo>
                <a:close/>
                <a:moveTo>
                  <a:pt x="65939" y="57"/>
                </a:moveTo>
                <a:cubicBezTo>
                  <a:pt x="69164" y="312"/>
                  <a:pt x="72637" y="1333"/>
                  <a:pt x="72637" y="1333"/>
                </a:cubicBezTo>
                <a:cubicBezTo>
                  <a:pt x="74621" y="3374"/>
                  <a:pt x="72637" y="7456"/>
                  <a:pt x="72637" y="9497"/>
                </a:cubicBezTo>
                <a:cubicBezTo>
                  <a:pt x="70652" y="11538"/>
                  <a:pt x="64699" y="9497"/>
                  <a:pt x="60731" y="3374"/>
                </a:cubicBezTo>
                <a:cubicBezTo>
                  <a:pt x="59738" y="312"/>
                  <a:pt x="62715" y="-198"/>
                  <a:pt x="65939" y="57"/>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3" name="Azores"/>
          <p:cNvSpPr>
            <a:spLocks/>
          </p:cNvSpPr>
          <p:nvPr/>
        </p:nvSpPr>
        <p:spPr bwMode="auto">
          <a:xfrm>
            <a:off x="5379778" y="2734586"/>
            <a:ext cx="161419" cy="118814"/>
          </a:xfrm>
          <a:custGeom>
            <a:avLst/>
            <a:gdLst>
              <a:gd name="connsiteX0" fmla="*/ 153608 w 156903"/>
              <a:gd name="connsiteY0" fmla="*/ 109617 h 115490"/>
              <a:gd name="connsiteX1" fmla="*/ 156585 w 156903"/>
              <a:gd name="connsiteY1" fmla="*/ 110173 h 115490"/>
              <a:gd name="connsiteX2" fmla="*/ 150631 w 156903"/>
              <a:gd name="connsiteY2" fmla="*/ 112395 h 115490"/>
              <a:gd name="connsiteX3" fmla="*/ 153608 w 156903"/>
              <a:gd name="connsiteY3" fmla="*/ 109617 h 115490"/>
              <a:gd name="connsiteX4" fmla="*/ 136920 w 156903"/>
              <a:gd name="connsiteY4" fmla="*/ 69850 h 115490"/>
              <a:gd name="connsiteX5" fmla="*/ 144425 w 156903"/>
              <a:gd name="connsiteY5" fmla="*/ 71891 h 115490"/>
              <a:gd name="connsiteX6" fmla="*/ 150054 w 156903"/>
              <a:gd name="connsiteY6" fmla="*/ 73932 h 115490"/>
              <a:gd name="connsiteX7" fmla="*/ 153806 w 156903"/>
              <a:gd name="connsiteY7" fmla="*/ 80055 h 115490"/>
              <a:gd name="connsiteX8" fmla="*/ 148178 w 156903"/>
              <a:gd name="connsiteY8" fmla="*/ 82096 h 115490"/>
              <a:gd name="connsiteX9" fmla="*/ 142549 w 156903"/>
              <a:gd name="connsiteY9" fmla="*/ 80055 h 115490"/>
              <a:gd name="connsiteX10" fmla="*/ 138797 w 156903"/>
              <a:gd name="connsiteY10" fmla="*/ 75973 h 115490"/>
              <a:gd name="connsiteX11" fmla="*/ 135044 w 156903"/>
              <a:gd name="connsiteY11" fmla="*/ 73932 h 115490"/>
              <a:gd name="connsiteX12" fmla="*/ 136920 w 156903"/>
              <a:gd name="connsiteY12" fmla="*/ 69850 h 115490"/>
              <a:gd name="connsiteX13" fmla="*/ 64184 w 156903"/>
              <a:gd name="connsiteY13" fmla="*/ 48261 h 115490"/>
              <a:gd name="connsiteX14" fmla="*/ 70245 w 156903"/>
              <a:gd name="connsiteY14" fmla="*/ 48261 h 115490"/>
              <a:gd name="connsiteX15" fmla="*/ 74286 w 156903"/>
              <a:gd name="connsiteY15" fmla="*/ 48261 h 115490"/>
              <a:gd name="connsiteX16" fmla="*/ 80348 w 156903"/>
              <a:gd name="connsiteY16" fmla="*/ 52705 h 115490"/>
              <a:gd name="connsiteX17" fmla="*/ 78327 w 156903"/>
              <a:gd name="connsiteY17" fmla="*/ 54928 h 115490"/>
              <a:gd name="connsiteX18" fmla="*/ 72266 w 156903"/>
              <a:gd name="connsiteY18" fmla="*/ 57150 h 115490"/>
              <a:gd name="connsiteX19" fmla="*/ 68225 w 156903"/>
              <a:gd name="connsiteY19" fmla="*/ 54928 h 115490"/>
              <a:gd name="connsiteX20" fmla="*/ 64184 w 156903"/>
              <a:gd name="connsiteY20" fmla="*/ 52705 h 115490"/>
              <a:gd name="connsiteX21" fmla="*/ 60143 w 156903"/>
              <a:gd name="connsiteY21" fmla="*/ 50483 h 115490"/>
              <a:gd name="connsiteX22" fmla="*/ 64184 w 156903"/>
              <a:gd name="connsiteY22" fmla="*/ 48261 h 115490"/>
              <a:gd name="connsiteX23" fmla="*/ 83956 w 156903"/>
              <a:gd name="connsiteY23" fmla="*/ 25480 h 115490"/>
              <a:gd name="connsiteX24" fmla="*/ 87131 w 156903"/>
              <a:gd name="connsiteY24" fmla="*/ 26036 h 115490"/>
              <a:gd name="connsiteX25" fmla="*/ 80781 w 156903"/>
              <a:gd name="connsiteY25" fmla="*/ 28258 h 115490"/>
              <a:gd name="connsiteX26" fmla="*/ 83956 w 156903"/>
              <a:gd name="connsiteY26" fmla="*/ 25480 h 115490"/>
              <a:gd name="connsiteX27" fmla="*/ 1843 w 156903"/>
              <a:gd name="connsiteY27" fmla="*/ 9883 h 115490"/>
              <a:gd name="connsiteX28" fmla="*/ 4899 w 156903"/>
              <a:gd name="connsiteY28" fmla="*/ 10161 h 115490"/>
              <a:gd name="connsiteX29" fmla="*/ 453 w 156903"/>
              <a:gd name="connsiteY29" fmla="*/ 14605 h 115490"/>
              <a:gd name="connsiteX30" fmla="*/ 1843 w 156903"/>
              <a:gd name="connsiteY30" fmla="*/ 9883 h 115490"/>
              <a:gd name="connsiteX31" fmla="*/ 5216 w 156903"/>
              <a:gd name="connsiteY31" fmla="*/ 0 h 115490"/>
              <a:gd name="connsiteX32" fmla="*/ 5216 w 156903"/>
              <a:gd name="connsiteY32" fmla="*/ 3969 h 115490"/>
              <a:gd name="connsiteX33" fmla="*/ 5216 w 156903"/>
              <a:gd name="connsiteY33" fmla="*/ 0 h 1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903" h="115490">
                <a:moveTo>
                  <a:pt x="153608" y="109617"/>
                </a:moveTo>
                <a:cubicBezTo>
                  <a:pt x="155096" y="109617"/>
                  <a:pt x="156585" y="110173"/>
                  <a:pt x="156585" y="110173"/>
                </a:cubicBezTo>
                <a:cubicBezTo>
                  <a:pt x="158569" y="119062"/>
                  <a:pt x="150631" y="114617"/>
                  <a:pt x="150631" y="112395"/>
                </a:cubicBezTo>
                <a:cubicBezTo>
                  <a:pt x="150631" y="110173"/>
                  <a:pt x="152119" y="109617"/>
                  <a:pt x="153608" y="109617"/>
                </a:cubicBezTo>
                <a:close/>
                <a:moveTo>
                  <a:pt x="136920" y="69850"/>
                </a:moveTo>
                <a:cubicBezTo>
                  <a:pt x="138797" y="69850"/>
                  <a:pt x="142549" y="69850"/>
                  <a:pt x="144425" y="71891"/>
                </a:cubicBezTo>
                <a:cubicBezTo>
                  <a:pt x="144425" y="73932"/>
                  <a:pt x="150054" y="73932"/>
                  <a:pt x="150054" y="73932"/>
                </a:cubicBezTo>
                <a:cubicBezTo>
                  <a:pt x="150054" y="73932"/>
                  <a:pt x="153806" y="75973"/>
                  <a:pt x="153806" y="80055"/>
                </a:cubicBezTo>
                <a:cubicBezTo>
                  <a:pt x="153806" y="84137"/>
                  <a:pt x="148178" y="82096"/>
                  <a:pt x="148178" y="82096"/>
                </a:cubicBezTo>
                <a:cubicBezTo>
                  <a:pt x="148178" y="82096"/>
                  <a:pt x="144425" y="82096"/>
                  <a:pt x="142549" y="80055"/>
                </a:cubicBezTo>
                <a:cubicBezTo>
                  <a:pt x="140673" y="78014"/>
                  <a:pt x="138797" y="75973"/>
                  <a:pt x="138797" y="75973"/>
                </a:cubicBezTo>
                <a:cubicBezTo>
                  <a:pt x="136920" y="75973"/>
                  <a:pt x="135044" y="73932"/>
                  <a:pt x="135044" y="73932"/>
                </a:cubicBezTo>
                <a:cubicBezTo>
                  <a:pt x="135044" y="73932"/>
                  <a:pt x="133168" y="69850"/>
                  <a:pt x="136920" y="69850"/>
                </a:cubicBezTo>
                <a:close/>
                <a:moveTo>
                  <a:pt x="64184" y="48261"/>
                </a:moveTo>
                <a:cubicBezTo>
                  <a:pt x="66204" y="48261"/>
                  <a:pt x="70245" y="48261"/>
                  <a:pt x="70245" y="48261"/>
                </a:cubicBezTo>
                <a:lnTo>
                  <a:pt x="74286" y="48261"/>
                </a:lnTo>
                <a:cubicBezTo>
                  <a:pt x="74286" y="48261"/>
                  <a:pt x="78327" y="48261"/>
                  <a:pt x="80348" y="52705"/>
                </a:cubicBezTo>
                <a:cubicBezTo>
                  <a:pt x="82368" y="54928"/>
                  <a:pt x="78327" y="54928"/>
                  <a:pt x="78327" y="54928"/>
                </a:cubicBezTo>
                <a:cubicBezTo>
                  <a:pt x="78327" y="54928"/>
                  <a:pt x="74286" y="54928"/>
                  <a:pt x="72266" y="57150"/>
                </a:cubicBezTo>
                <a:cubicBezTo>
                  <a:pt x="70245" y="57150"/>
                  <a:pt x="68225" y="57150"/>
                  <a:pt x="68225" y="54928"/>
                </a:cubicBezTo>
                <a:cubicBezTo>
                  <a:pt x="68225" y="54928"/>
                  <a:pt x="66204" y="52705"/>
                  <a:pt x="64184" y="52705"/>
                </a:cubicBezTo>
                <a:cubicBezTo>
                  <a:pt x="62164" y="52705"/>
                  <a:pt x="60143" y="52705"/>
                  <a:pt x="60143" y="50483"/>
                </a:cubicBezTo>
                <a:cubicBezTo>
                  <a:pt x="60143" y="46038"/>
                  <a:pt x="60143" y="46038"/>
                  <a:pt x="64184" y="48261"/>
                </a:cubicBezTo>
                <a:close/>
                <a:moveTo>
                  <a:pt x="83956" y="25480"/>
                </a:moveTo>
                <a:cubicBezTo>
                  <a:pt x="85544" y="25480"/>
                  <a:pt x="87131" y="26036"/>
                  <a:pt x="87131" y="26036"/>
                </a:cubicBezTo>
                <a:cubicBezTo>
                  <a:pt x="87131" y="34925"/>
                  <a:pt x="80781" y="30480"/>
                  <a:pt x="80781" y="28258"/>
                </a:cubicBezTo>
                <a:cubicBezTo>
                  <a:pt x="80781" y="26036"/>
                  <a:pt x="82369" y="25480"/>
                  <a:pt x="83956" y="25480"/>
                </a:cubicBezTo>
                <a:close/>
                <a:moveTo>
                  <a:pt x="1843" y="9883"/>
                </a:moveTo>
                <a:cubicBezTo>
                  <a:pt x="3232" y="9605"/>
                  <a:pt x="4899" y="10161"/>
                  <a:pt x="4899" y="10161"/>
                </a:cubicBezTo>
                <a:cubicBezTo>
                  <a:pt x="9344" y="12383"/>
                  <a:pt x="453" y="19050"/>
                  <a:pt x="453" y="14605"/>
                </a:cubicBezTo>
                <a:cubicBezTo>
                  <a:pt x="-658" y="11272"/>
                  <a:pt x="453" y="10161"/>
                  <a:pt x="1843" y="9883"/>
                </a:cubicBezTo>
                <a:close/>
                <a:moveTo>
                  <a:pt x="5216" y="0"/>
                </a:moveTo>
                <a:cubicBezTo>
                  <a:pt x="10931" y="3969"/>
                  <a:pt x="7121" y="7937"/>
                  <a:pt x="5216" y="3969"/>
                </a:cubicBezTo>
                <a:cubicBezTo>
                  <a:pt x="1406" y="0"/>
                  <a:pt x="5216" y="0"/>
                  <a:pt x="521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4" name="Cape Verde"/>
          <p:cNvSpPr>
            <a:spLocks/>
          </p:cNvSpPr>
          <p:nvPr/>
        </p:nvSpPr>
        <p:spPr bwMode="auto">
          <a:xfrm>
            <a:off x="5513512" y="3515043"/>
            <a:ext cx="76761" cy="73702"/>
          </a:xfrm>
          <a:custGeom>
            <a:avLst/>
            <a:gdLst>
              <a:gd name="connsiteX0" fmla="*/ 37704 w 74613"/>
              <a:gd name="connsiteY0" fmla="*/ 68465 h 71640"/>
              <a:gd name="connsiteX1" fmla="*/ 37704 w 74613"/>
              <a:gd name="connsiteY1" fmla="*/ 70053 h 71640"/>
              <a:gd name="connsiteX2" fmla="*/ 35719 w 74613"/>
              <a:gd name="connsiteY2" fmla="*/ 71640 h 71640"/>
              <a:gd name="connsiteX3" fmla="*/ 33735 w 74613"/>
              <a:gd name="connsiteY3" fmla="*/ 70053 h 71640"/>
              <a:gd name="connsiteX4" fmla="*/ 37704 w 74613"/>
              <a:gd name="connsiteY4" fmla="*/ 68465 h 71640"/>
              <a:gd name="connsiteX5" fmla="*/ 58208 w 74613"/>
              <a:gd name="connsiteY5" fmla="*/ 62115 h 71640"/>
              <a:gd name="connsiteX6" fmla="*/ 60325 w 74613"/>
              <a:gd name="connsiteY6" fmla="*/ 64232 h 71640"/>
              <a:gd name="connsiteX7" fmla="*/ 53975 w 74613"/>
              <a:gd name="connsiteY7" fmla="*/ 64232 h 71640"/>
              <a:gd name="connsiteX8" fmla="*/ 58208 w 74613"/>
              <a:gd name="connsiteY8" fmla="*/ 62115 h 71640"/>
              <a:gd name="connsiteX9" fmla="*/ 44715 w 74613"/>
              <a:gd name="connsiteY9" fmla="*/ 57352 h 71640"/>
              <a:gd name="connsiteX10" fmla="*/ 46567 w 74613"/>
              <a:gd name="connsiteY10" fmla="*/ 59393 h 71640"/>
              <a:gd name="connsiteX11" fmla="*/ 50272 w 74613"/>
              <a:gd name="connsiteY11" fmla="*/ 65516 h 71640"/>
              <a:gd name="connsiteX12" fmla="*/ 50272 w 74613"/>
              <a:gd name="connsiteY12" fmla="*/ 69598 h 71640"/>
              <a:gd name="connsiteX13" fmla="*/ 44715 w 74613"/>
              <a:gd name="connsiteY13" fmla="*/ 67557 h 71640"/>
              <a:gd name="connsiteX14" fmla="*/ 42863 w 74613"/>
              <a:gd name="connsiteY14" fmla="*/ 59393 h 71640"/>
              <a:gd name="connsiteX15" fmla="*/ 44715 w 74613"/>
              <a:gd name="connsiteY15" fmla="*/ 57352 h 71640"/>
              <a:gd name="connsiteX16" fmla="*/ 70644 w 74613"/>
              <a:gd name="connsiteY16" fmla="*/ 30365 h 71640"/>
              <a:gd name="connsiteX17" fmla="*/ 74613 w 74613"/>
              <a:gd name="connsiteY17" fmla="*/ 37773 h 71640"/>
              <a:gd name="connsiteX18" fmla="*/ 68660 w 74613"/>
              <a:gd name="connsiteY18" fmla="*/ 35921 h 71640"/>
              <a:gd name="connsiteX19" fmla="*/ 70644 w 74613"/>
              <a:gd name="connsiteY19" fmla="*/ 30365 h 71640"/>
              <a:gd name="connsiteX20" fmla="*/ 27782 w 74613"/>
              <a:gd name="connsiteY20" fmla="*/ 16077 h 71640"/>
              <a:gd name="connsiteX21" fmla="*/ 29766 w 74613"/>
              <a:gd name="connsiteY21" fmla="*/ 17982 h 71640"/>
              <a:gd name="connsiteX22" fmla="*/ 33735 w 74613"/>
              <a:gd name="connsiteY22" fmla="*/ 17982 h 71640"/>
              <a:gd name="connsiteX23" fmla="*/ 37704 w 74613"/>
              <a:gd name="connsiteY23" fmla="*/ 17982 h 71640"/>
              <a:gd name="connsiteX24" fmla="*/ 37704 w 74613"/>
              <a:gd name="connsiteY24" fmla="*/ 21792 h 71640"/>
              <a:gd name="connsiteX25" fmla="*/ 35719 w 74613"/>
              <a:gd name="connsiteY25" fmla="*/ 23697 h 71640"/>
              <a:gd name="connsiteX26" fmla="*/ 31751 w 74613"/>
              <a:gd name="connsiteY26" fmla="*/ 23697 h 71640"/>
              <a:gd name="connsiteX27" fmla="*/ 27782 w 74613"/>
              <a:gd name="connsiteY27" fmla="*/ 21792 h 71640"/>
              <a:gd name="connsiteX28" fmla="*/ 23813 w 74613"/>
              <a:gd name="connsiteY28" fmla="*/ 17982 h 71640"/>
              <a:gd name="connsiteX29" fmla="*/ 27782 w 74613"/>
              <a:gd name="connsiteY29" fmla="*/ 16077 h 71640"/>
              <a:gd name="connsiteX30" fmla="*/ 72629 w 74613"/>
              <a:gd name="connsiteY30" fmla="*/ 14490 h 71640"/>
              <a:gd name="connsiteX31" fmla="*/ 72629 w 74613"/>
              <a:gd name="connsiteY31" fmla="*/ 20443 h 71640"/>
              <a:gd name="connsiteX32" fmla="*/ 66675 w 74613"/>
              <a:gd name="connsiteY32" fmla="*/ 16474 h 71640"/>
              <a:gd name="connsiteX33" fmla="*/ 72629 w 74613"/>
              <a:gd name="connsiteY33" fmla="*/ 14490 h 71640"/>
              <a:gd name="connsiteX34" fmla="*/ 16669 w 74613"/>
              <a:gd name="connsiteY34" fmla="*/ 8140 h 71640"/>
              <a:gd name="connsiteX35" fmla="*/ 18654 w 74613"/>
              <a:gd name="connsiteY35" fmla="*/ 12373 h 71640"/>
              <a:gd name="connsiteX36" fmla="*/ 12700 w 74613"/>
              <a:gd name="connsiteY36" fmla="*/ 12373 h 71640"/>
              <a:gd name="connsiteX37" fmla="*/ 16669 w 74613"/>
              <a:gd name="connsiteY37" fmla="*/ 8140 h 71640"/>
              <a:gd name="connsiteX38" fmla="*/ 8165 w 74613"/>
              <a:gd name="connsiteY38" fmla="*/ 520 h 71640"/>
              <a:gd name="connsiteX39" fmla="*/ 12247 w 74613"/>
              <a:gd name="connsiteY39" fmla="*/ 4330 h 71640"/>
              <a:gd name="connsiteX40" fmla="*/ 0 w 74613"/>
              <a:gd name="connsiteY40" fmla="*/ 6235 h 71640"/>
              <a:gd name="connsiteX41" fmla="*/ 2041 w 74613"/>
              <a:gd name="connsiteY41" fmla="*/ 2425 h 71640"/>
              <a:gd name="connsiteX42" fmla="*/ 8165 w 74613"/>
              <a:gd name="connsiteY42" fmla="*/ 520 h 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4613" h="71640">
                <a:moveTo>
                  <a:pt x="37704" y="68465"/>
                </a:moveTo>
                <a:cubicBezTo>
                  <a:pt x="37704" y="68465"/>
                  <a:pt x="39688" y="70053"/>
                  <a:pt x="37704" y="70053"/>
                </a:cubicBezTo>
                <a:cubicBezTo>
                  <a:pt x="37704" y="71640"/>
                  <a:pt x="35719" y="71640"/>
                  <a:pt x="35719" y="71640"/>
                </a:cubicBezTo>
                <a:cubicBezTo>
                  <a:pt x="35719" y="71640"/>
                  <a:pt x="31750" y="70053"/>
                  <a:pt x="33735" y="70053"/>
                </a:cubicBezTo>
                <a:cubicBezTo>
                  <a:pt x="35719" y="68465"/>
                  <a:pt x="37704" y="68465"/>
                  <a:pt x="37704" y="68465"/>
                </a:cubicBezTo>
                <a:close/>
                <a:moveTo>
                  <a:pt x="58208" y="62115"/>
                </a:moveTo>
                <a:cubicBezTo>
                  <a:pt x="58208" y="62115"/>
                  <a:pt x="60325" y="64232"/>
                  <a:pt x="60325" y="64232"/>
                </a:cubicBezTo>
                <a:cubicBezTo>
                  <a:pt x="60325" y="66348"/>
                  <a:pt x="53975" y="68465"/>
                  <a:pt x="53975" y="64232"/>
                </a:cubicBezTo>
                <a:cubicBezTo>
                  <a:pt x="53975" y="62115"/>
                  <a:pt x="58208" y="62115"/>
                  <a:pt x="58208" y="62115"/>
                </a:cubicBezTo>
                <a:close/>
                <a:moveTo>
                  <a:pt x="44715" y="57352"/>
                </a:moveTo>
                <a:cubicBezTo>
                  <a:pt x="46567" y="57352"/>
                  <a:pt x="46567" y="57352"/>
                  <a:pt x="46567" y="59393"/>
                </a:cubicBezTo>
                <a:cubicBezTo>
                  <a:pt x="48420" y="61434"/>
                  <a:pt x="50272" y="65516"/>
                  <a:pt x="50272" y="65516"/>
                </a:cubicBezTo>
                <a:cubicBezTo>
                  <a:pt x="50272" y="65516"/>
                  <a:pt x="53976" y="67557"/>
                  <a:pt x="50272" y="69598"/>
                </a:cubicBezTo>
                <a:cubicBezTo>
                  <a:pt x="46567" y="71639"/>
                  <a:pt x="44715" y="69598"/>
                  <a:pt x="44715" y="67557"/>
                </a:cubicBezTo>
                <a:cubicBezTo>
                  <a:pt x="44715" y="65516"/>
                  <a:pt x="44715" y="59393"/>
                  <a:pt x="42863" y="59393"/>
                </a:cubicBezTo>
                <a:cubicBezTo>
                  <a:pt x="42863" y="59393"/>
                  <a:pt x="42863" y="57352"/>
                  <a:pt x="44715" y="57352"/>
                </a:cubicBezTo>
                <a:close/>
                <a:moveTo>
                  <a:pt x="70644" y="30365"/>
                </a:moveTo>
                <a:cubicBezTo>
                  <a:pt x="74613" y="30365"/>
                  <a:pt x="74613" y="35921"/>
                  <a:pt x="74613" y="37773"/>
                </a:cubicBezTo>
                <a:cubicBezTo>
                  <a:pt x="74613" y="39625"/>
                  <a:pt x="68660" y="41477"/>
                  <a:pt x="68660" y="35921"/>
                </a:cubicBezTo>
                <a:cubicBezTo>
                  <a:pt x="68660" y="35921"/>
                  <a:pt x="66675" y="30365"/>
                  <a:pt x="70644" y="30365"/>
                </a:cubicBezTo>
                <a:close/>
                <a:moveTo>
                  <a:pt x="27782" y="16077"/>
                </a:moveTo>
                <a:cubicBezTo>
                  <a:pt x="27782" y="16077"/>
                  <a:pt x="29766" y="16077"/>
                  <a:pt x="29766" y="17982"/>
                </a:cubicBezTo>
                <a:cubicBezTo>
                  <a:pt x="31751" y="17982"/>
                  <a:pt x="33735" y="17982"/>
                  <a:pt x="33735" y="17982"/>
                </a:cubicBezTo>
                <a:cubicBezTo>
                  <a:pt x="33735" y="16077"/>
                  <a:pt x="35719" y="16077"/>
                  <a:pt x="37704" y="17982"/>
                </a:cubicBezTo>
                <a:cubicBezTo>
                  <a:pt x="39688" y="17982"/>
                  <a:pt x="39688" y="21792"/>
                  <a:pt x="37704" y="21792"/>
                </a:cubicBezTo>
                <a:cubicBezTo>
                  <a:pt x="35719" y="21792"/>
                  <a:pt x="35719" y="21792"/>
                  <a:pt x="35719" y="23697"/>
                </a:cubicBezTo>
                <a:cubicBezTo>
                  <a:pt x="35719" y="25602"/>
                  <a:pt x="31751" y="25602"/>
                  <a:pt x="31751" y="23697"/>
                </a:cubicBezTo>
                <a:cubicBezTo>
                  <a:pt x="29766" y="23697"/>
                  <a:pt x="29766" y="21792"/>
                  <a:pt x="27782" y="21792"/>
                </a:cubicBezTo>
                <a:cubicBezTo>
                  <a:pt x="23813" y="21792"/>
                  <a:pt x="23813" y="19887"/>
                  <a:pt x="23813" y="17982"/>
                </a:cubicBezTo>
                <a:cubicBezTo>
                  <a:pt x="23813" y="16077"/>
                  <a:pt x="27782" y="16077"/>
                  <a:pt x="27782" y="16077"/>
                </a:cubicBezTo>
                <a:close/>
                <a:moveTo>
                  <a:pt x="72629" y="14490"/>
                </a:moveTo>
                <a:cubicBezTo>
                  <a:pt x="74613" y="14490"/>
                  <a:pt x="74613" y="16474"/>
                  <a:pt x="72629" y="20443"/>
                </a:cubicBezTo>
                <a:cubicBezTo>
                  <a:pt x="70644" y="22427"/>
                  <a:pt x="66675" y="20443"/>
                  <a:pt x="66675" y="16474"/>
                </a:cubicBezTo>
                <a:cubicBezTo>
                  <a:pt x="66675" y="14490"/>
                  <a:pt x="72629" y="14490"/>
                  <a:pt x="72629" y="14490"/>
                </a:cubicBezTo>
                <a:close/>
                <a:moveTo>
                  <a:pt x="16669" y="8140"/>
                </a:moveTo>
                <a:cubicBezTo>
                  <a:pt x="20638" y="8140"/>
                  <a:pt x="20638" y="10257"/>
                  <a:pt x="18654" y="12373"/>
                </a:cubicBezTo>
                <a:cubicBezTo>
                  <a:pt x="18654" y="14490"/>
                  <a:pt x="12700" y="14490"/>
                  <a:pt x="12700" y="12373"/>
                </a:cubicBezTo>
                <a:cubicBezTo>
                  <a:pt x="12700" y="10257"/>
                  <a:pt x="16669" y="8140"/>
                  <a:pt x="16669" y="8140"/>
                </a:cubicBezTo>
                <a:close/>
                <a:moveTo>
                  <a:pt x="8165" y="520"/>
                </a:moveTo>
                <a:cubicBezTo>
                  <a:pt x="14288" y="-1385"/>
                  <a:pt x="12247" y="2425"/>
                  <a:pt x="12247" y="4330"/>
                </a:cubicBezTo>
                <a:cubicBezTo>
                  <a:pt x="10206" y="6235"/>
                  <a:pt x="2041" y="8140"/>
                  <a:pt x="0" y="6235"/>
                </a:cubicBezTo>
                <a:cubicBezTo>
                  <a:pt x="0" y="6235"/>
                  <a:pt x="0" y="2425"/>
                  <a:pt x="2041" y="2425"/>
                </a:cubicBezTo>
                <a:cubicBezTo>
                  <a:pt x="6124" y="2425"/>
                  <a:pt x="8165" y="520"/>
                  <a:pt x="8165" y="520"/>
                </a:cubicBezTo>
                <a:close/>
              </a:path>
            </a:pathLst>
          </a:custGeom>
          <a:solidFill>
            <a:schemeClr val="accent5">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5" name="Falkland Island (UK)"/>
          <p:cNvSpPr>
            <a:spLocks/>
          </p:cNvSpPr>
          <p:nvPr/>
        </p:nvSpPr>
        <p:spPr bwMode="auto">
          <a:xfrm>
            <a:off x="4649556" y="5832750"/>
            <a:ext cx="88192" cy="40830"/>
          </a:xfrm>
          <a:custGeom>
            <a:avLst/>
            <a:gdLst>
              <a:gd name="connsiteX0" fmla="*/ 35983 w 85725"/>
              <a:gd name="connsiteY0" fmla="*/ 34925 h 39687"/>
              <a:gd name="connsiteX1" fmla="*/ 35983 w 85725"/>
              <a:gd name="connsiteY1" fmla="*/ 39687 h 39687"/>
              <a:gd name="connsiteX2" fmla="*/ 31750 w 85725"/>
              <a:gd name="connsiteY2" fmla="*/ 37306 h 39687"/>
              <a:gd name="connsiteX3" fmla="*/ 35983 w 85725"/>
              <a:gd name="connsiteY3" fmla="*/ 34925 h 39687"/>
              <a:gd name="connsiteX4" fmla="*/ 2381 w 85725"/>
              <a:gd name="connsiteY4" fmla="*/ 19050 h 39687"/>
              <a:gd name="connsiteX5" fmla="*/ 4763 w 85725"/>
              <a:gd name="connsiteY5" fmla="*/ 21431 h 39687"/>
              <a:gd name="connsiteX6" fmla="*/ 0 w 85725"/>
              <a:gd name="connsiteY6" fmla="*/ 21431 h 39687"/>
              <a:gd name="connsiteX7" fmla="*/ 2381 w 85725"/>
              <a:gd name="connsiteY7" fmla="*/ 19050 h 39687"/>
              <a:gd name="connsiteX8" fmla="*/ 11112 w 85725"/>
              <a:gd name="connsiteY8" fmla="*/ 5292 h 39687"/>
              <a:gd name="connsiteX9" fmla="*/ 14287 w 85725"/>
              <a:gd name="connsiteY9" fmla="*/ 5292 h 39687"/>
              <a:gd name="connsiteX10" fmla="*/ 12700 w 85725"/>
              <a:gd name="connsiteY10" fmla="*/ 7409 h 39687"/>
              <a:gd name="connsiteX11" fmla="*/ 11112 w 85725"/>
              <a:gd name="connsiteY11" fmla="*/ 5292 h 39687"/>
              <a:gd name="connsiteX12" fmla="*/ 60134 w 85725"/>
              <a:gd name="connsiteY12" fmla="*/ 1985 h 39687"/>
              <a:gd name="connsiteX13" fmla="*/ 69977 w 85725"/>
              <a:gd name="connsiteY13" fmla="*/ 5953 h 39687"/>
              <a:gd name="connsiteX14" fmla="*/ 71945 w 85725"/>
              <a:gd name="connsiteY14" fmla="*/ 9922 h 39687"/>
              <a:gd name="connsiteX15" fmla="*/ 77851 w 85725"/>
              <a:gd name="connsiteY15" fmla="*/ 11906 h 39687"/>
              <a:gd name="connsiteX16" fmla="*/ 79820 w 85725"/>
              <a:gd name="connsiteY16" fmla="*/ 15875 h 39687"/>
              <a:gd name="connsiteX17" fmla="*/ 85725 w 85725"/>
              <a:gd name="connsiteY17" fmla="*/ 17859 h 39687"/>
              <a:gd name="connsiteX18" fmla="*/ 81788 w 85725"/>
              <a:gd name="connsiteY18" fmla="*/ 21828 h 39687"/>
              <a:gd name="connsiteX19" fmla="*/ 73914 w 85725"/>
              <a:gd name="connsiteY19" fmla="*/ 21828 h 39687"/>
              <a:gd name="connsiteX20" fmla="*/ 64071 w 85725"/>
              <a:gd name="connsiteY20" fmla="*/ 23812 h 39687"/>
              <a:gd name="connsiteX21" fmla="*/ 56197 w 85725"/>
              <a:gd name="connsiteY21" fmla="*/ 25797 h 39687"/>
              <a:gd name="connsiteX22" fmla="*/ 54229 w 85725"/>
              <a:gd name="connsiteY22" fmla="*/ 29765 h 39687"/>
              <a:gd name="connsiteX23" fmla="*/ 50292 w 85725"/>
              <a:gd name="connsiteY23" fmla="*/ 31750 h 39687"/>
              <a:gd name="connsiteX24" fmla="*/ 54229 w 85725"/>
              <a:gd name="connsiteY24" fmla="*/ 35719 h 39687"/>
              <a:gd name="connsiteX25" fmla="*/ 48323 w 85725"/>
              <a:gd name="connsiteY25" fmla="*/ 35719 h 39687"/>
              <a:gd name="connsiteX26" fmla="*/ 44386 w 85725"/>
              <a:gd name="connsiteY26" fmla="*/ 33734 h 39687"/>
              <a:gd name="connsiteX27" fmla="*/ 40449 w 85725"/>
              <a:gd name="connsiteY27" fmla="*/ 35719 h 39687"/>
              <a:gd name="connsiteX28" fmla="*/ 42418 w 85725"/>
              <a:gd name="connsiteY28" fmla="*/ 23812 h 39687"/>
              <a:gd name="connsiteX29" fmla="*/ 48323 w 85725"/>
              <a:gd name="connsiteY29" fmla="*/ 15875 h 39687"/>
              <a:gd name="connsiteX30" fmla="*/ 50292 w 85725"/>
              <a:gd name="connsiteY30" fmla="*/ 7938 h 39687"/>
              <a:gd name="connsiteX31" fmla="*/ 60134 w 85725"/>
              <a:gd name="connsiteY31" fmla="*/ 1985 h 39687"/>
              <a:gd name="connsiteX32" fmla="*/ 33048 w 85725"/>
              <a:gd name="connsiteY32" fmla="*/ 0 h 39687"/>
              <a:gd name="connsiteX33" fmla="*/ 41130 w 85725"/>
              <a:gd name="connsiteY33" fmla="*/ 4011 h 39687"/>
              <a:gd name="connsiteX34" fmla="*/ 45171 w 85725"/>
              <a:gd name="connsiteY34" fmla="*/ 10027 h 39687"/>
              <a:gd name="connsiteX35" fmla="*/ 39110 w 85725"/>
              <a:gd name="connsiteY35" fmla="*/ 16042 h 39687"/>
              <a:gd name="connsiteX36" fmla="*/ 33048 w 85725"/>
              <a:gd name="connsiteY36" fmla="*/ 24063 h 39687"/>
              <a:gd name="connsiteX37" fmla="*/ 24967 w 85725"/>
              <a:gd name="connsiteY37" fmla="*/ 30079 h 39687"/>
              <a:gd name="connsiteX38" fmla="*/ 20926 w 85725"/>
              <a:gd name="connsiteY38" fmla="*/ 32084 h 39687"/>
              <a:gd name="connsiteX39" fmla="*/ 16885 w 85725"/>
              <a:gd name="connsiteY39" fmla="*/ 36095 h 39687"/>
              <a:gd name="connsiteX40" fmla="*/ 8803 w 85725"/>
              <a:gd name="connsiteY40" fmla="*/ 34090 h 39687"/>
              <a:gd name="connsiteX41" fmla="*/ 8803 w 85725"/>
              <a:gd name="connsiteY41" fmla="*/ 28074 h 39687"/>
              <a:gd name="connsiteX42" fmla="*/ 16885 w 85725"/>
              <a:gd name="connsiteY42" fmla="*/ 22058 h 39687"/>
              <a:gd name="connsiteX43" fmla="*/ 20926 w 85725"/>
              <a:gd name="connsiteY43" fmla="*/ 20053 h 39687"/>
              <a:gd name="connsiteX44" fmla="*/ 24967 w 85725"/>
              <a:gd name="connsiteY44" fmla="*/ 18048 h 39687"/>
              <a:gd name="connsiteX45" fmla="*/ 20926 w 85725"/>
              <a:gd name="connsiteY45" fmla="*/ 18048 h 39687"/>
              <a:gd name="connsiteX46" fmla="*/ 12844 w 85725"/>
              <a:gd name="connsiteY46" fmla="*/ 20053 h 39687"/>
              <a:gd name="connsiteX47" fmla="*/ 14864 w 85725"/>
              <a:gd name="connsiteY47" fmla="*/ 16042 h 39687"/>
              <a:gd name="connsiteX48" fmla="*/ 16885 w 85725"/>
              <a:gd name="connsiteY48" fmla="*/ 10027 h 39687"/>
              <a:gd name="connsiteX49" fmla="*/ 22946 w 85725"/>
              <a:gd name="connsiteY49" fmla="*/ 10027 h 39687"/>
              <a:gd name="connsiteX50" fmla="*/ 20926 w 85725"/>
              <a:gd name="connsiteY50" fmla="*/ 6016 h 39687"/>
              <a:gd name="connsiteX51" fmla="*/ 18905 w 85725"/>
              <a:gd name="connsiteY51" fmla="*/ 2006 h 39687"/>
              <a:gd name="connsiteX52" fmla="*/ 33048 w 85725"/>
              <a:gd name="connsiteY52" fmla="*/ 0 h 3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5725" h="39687">
                <a:moveTo>
                  <a:pt x="35983" y="34925"/>
                </a:moveTo>
                <a:cubicBezTo>
                  <a:pt x="38100" y="34925"/>
                  <a:pt x="38100" y="37306"/>
                  <a:pt x="35983" y="39687"/>
                </a:cubicBezTo>
                <a:cubicBezTo>
                  <a:pt x="35983" y="39687"/>
                  <a:pt x="31750" y="39687"/>
                  <a:pt x="31750" y="37306"/>
                </a:cubicBezTo>
                <a:cubicBezTo>
                  <a:pt x="31750" y="34925"/>
                  <a:pt x="35983" y="34925"/>
                  <a:pt x="35983" y="34925"/>
                </a:cubicBezTo>
                <a:close/>
                <a:moveTo>
                  <a:pt x="2381" y="19050"/>
                </a:moveTo>
                <a:cubicBezTo>
                  <a:pt x="2381" y="19050"/>
                  <a:pt x="4763" y="19050"/>
                  <a:pt x="4763" y="21431"/>
                </a:cubicBezTo>
                <a:cubicBezTo>
                  <a:pt x="4763" y="23812"/>
                  <a:pt x="0" y="23812"/>
                  <a:pt x="0" y="21431"/>
                </a:cubicBezTo>
                <a:cubicBezTo>
                  <a:pt x="0" y="19050"/>
                  <a:pt x="2381" y="19050"/>
                  <a:pt x="2381" y="19050"/>
                </a:cubicBezTo>
                <a:close/>
                <a:moveTo>
                  <a:pt x="11112" y="5292"/>
                </a:moveTo>
                <a:cubicBezTo>
                  <a:pt x="11112" y="5292"/>
                  <a:pt x="12700" y="3175"/>
                  <a:pt x="14287" y="5292"/>
                </a:cubicBezTo>
                <a:cubicBezTo>
                  <a:pt x="15875" y="5292"/>
                  <a:pt x="15875" y="5292"/>
                  <a:pt x="12700" y="7409"/>
                </a:cubicBezTo>
                <a:cubicBezTo>
                  <a:pt x="11112" y="9525"/>
                  <a:pt x="11112" y="5292"/>
                  <a:pt x="11112" y="5292"/>
                </a:cubicBezTo>
                <a:close/>
                <a:moveTo>
                  <a:pt x="60134" y="1985"/>
                </a:moveTo>
                <a:cubicBezTo>
                  <a:pt x="66040" y="3969"/>
                  <a:pt x="69977" y="5953"/>
                  <a:pt x="69977" y="5953"/>
                </a:cubicBezTo>
                <a:cubicBezTo>
                  <a:pt x="69977" y="5953"/>
                  <a:pt x="69977" y="9922"/>
                  <a:pt x="71945" y="9922"/>
                </a:cubicBezTo>
                <a:cubicBezTo>
                  <a:pt x="73914" y="9922"/>
                  <a:pt x="75883" y="9922"/>
                  <a:pt x="77851" y="11906"/>
                </a:cubicBezTo>
                <a:cubicBezTo>
                  <a:pt x="77851" y="13891"/>
                  <a:pt x="77851" y="15875"/>
                  <a:pt x="79820" y="15875"/>
                </a:cubicBezTo>
                <a:cubicBezTo>
                  <a:pt x="79820" y="15875"/>
                  <a:pt x="85725" y="13891"/>
                  <a:pt x="85725" y="17859"/>
                </a:cubicBezTo>
                <a:cubicBezTo>
                  <a:pt x="85725" y="19844"/>
                  <a:pt x="81788" y="21828"/>
                  <a:pt x="81788" y="21828"/>
                </a:cubicBezTo>
                <a:cubicBezTo>
                  <a:pt x="81788" y="21828"/>
                  <a:pt x="75883" y="21828"/>
                  <a:pt x="73914" y="21828"/>
                </a:cubicBezTo>
                <a:cubicBezTo>
                  <a:pt x="71945" y="23812"/>
                  <a:pt x="68008" y="23812"/>
                  <a:pt x="64071" y="23812"/>
                </a:cubicBezTo>
                <a:cubicBezTo>
                  <a:pt x="62103" y="23812"/>
                  <a:pt x="56197" y="23812"/>
                  <a:pt x="56197" y="25797"/>
                </a:cubicBezTo>
                <a:cubicBezTo>
                  <a:pt x="56197" y="27781"/>
                  <a:pt x="56197" y="29765"/>
                  <a:pt x="54229" y="29765"/>
                </a:cubicBezTo>
                <a:cubicBezTo>
                  <a:pt x="52260" y="31750"/>
                  <a:pt x="50292" y="31750"/>
                  <a:pt x="50292" y="31750"/>
                </a:cubicBezTo>
                <a:cubicBezTo>
                  <a:pt x="52260" y="33734"/>
                  <a:pt x="54229" y="35719"/>
                  <a:pt x="54229" y="35719"/>
                </a:cubicBezTo>
                <a:cubicBezTo>
                  <a:pt x="52260" y="37703"/>
                  <a:pt x="50292" y="37703"/>
                  <a:pt x="48323" y="35719"/>
                </a:cubicBezTo>
                <a:cubicBezTo>
                  <a:pt x="46355" y="35719"/>
                  <a:pt x="44386" y="33734"/>
                  <a:pt x="44386" y="33734"/>
                </a:cubicBezTo>
                <a:cubicBezTo>
                  <a:pt x="44386" y="35719"/>
                  <a:pt x="40449" y="39687"/>
                  <a:pt x="40449" y="35719"/>
                </a:cubicBezTo>
                <a:cubicBezTo>
                  <a:pt x="40449" y="29765"/>
                  <a:pt x="36512" y="25797"/>
                  <a:pt x="42418" y="23812"/>
                </a:cubicBezTo>
                <a:cubicBezTo>
                  <a:pt x="46355" y="21828"/>
                  <a:pt x="48323" y="19844"/>
                  <a:pt x="48323" y="15875"/>
                </a:cubicBezTo>
                <a:cubicBezTo>
                  <a:pt x="50292" y="13891"/>
                  <a:pt x="50292" y="7938"/>
                  <a:pt x="50292" y="7938"/>
                </a:cubicBezTo>
                <a:cubicBezTo>
                  <a:pt x="50292" y="7938"/>
                  <a:pt x="56197" y="0"/>
                  <a:pt x="60134" y="1985"/>
                </a:cubicBezTo>
                <a:close/>
                <a:moveTo>
                  <a:pt x="33048" y="0"/>
                </a:moveTo>
                <a:cubicBezTo>
                  <a:pt x="37089" y="2006"/>
                  <a:pt x="41130" y="2006"/>
                  <a:pt x="41130" y="4011"/>
                </a:cubicBezTo>
                <a:cubicBezTo>
                  <a:pt x="43151" y="6016"/>
                  <a:pt x="49212" y="8021"/>
                  <a:pt x="45171" y="10027"/>
                </a:cubicBezTo>
                <a:cubicBezTo>
                  <a:pt x="43151" y="14037"/>
                  <a:pt x="45171" y="14037"/>
                  <a:pt x="39110" y="16042"/>
                </a:cubicBezTo>
                <a:cubicBezTo>
                  <a:pt x="35069" y="20053"/>
                  <a:pt x="33048" y="24063"/>
                  <a:pt x="33048" y="24063"/>
                </a:cubicBezTo>
                <a:cubicBezTo>
                  <a:pt x="31028" y="26069"/>
                  <a:pt x="24967" y="30079"/>
                  <a:pt x="24967" y="30079"/>
                </a:cubicBezTo>
                <a:cubicBezTo>
                  <a:pt x="24967" y="30079"/>
                  <a:pt x="20926" y="28074"/>
                  <a:pt x="20926" y="32084"/>
                </a:cubicBezTo>
                <a:cubicBezTo>
                  <a:pt x="20926" y="34090"/>
                  <a:pt x="22946" y="36095"/>
                  <a:pt x="16885" y="36095"/>
                </a:cubicBezTo>
                <a:cubicBezTo>
                  <a:pt x="12844" y="38100"/>
                  <a:pt x="10823" y="38100"/>
                  <a:pt x="8803" y="34090"/>
                </a:cubicBezTo>
                <a:cubicBezTo>
                  <a:pt x="6783" y="32084"/>
                  <a:pt x="4762" y="28074"/>
                  <a:pt x="8803" y="28074"/>
                </a:cubicBezTo>
                <a:cubicBezTo>
                  <a:pt x="14864" y="26069"/>
                  <a:pt x="16885" y="22058"/>
                  <a:pt x="16885" y="22058"/>
                </a:cubicBezTo>
                <a:cubicBezTo>
                  <a:pt x="16885" y="20053"/>
                  <a:pt x="18905" y="20053"/>
                  <a:pt x="20926" y="20053"/>
                </a:cubicBezTo>
                <a:cubicBezTo>
                  <a:pt x="22946" y="22058"/>
                  <a:pt x="24967" y="20053"/>
                  <a:pt x="24967" y="18048"/>
                </a:cubicBezTo>
                <a:cubicBezTo>
                  <a:pt x="24967" y="18048"/>
                  <a:pt x="20926" y="16042"/>
                  <a:pt x="20926" y="18048"/>
                </a:cubicBezTo>
                <a:cubicBezTo>
                  <a:pt x="18905" y="20053"/>
                  <a:pt x="14864" y="22058"/>
                  <a:pt x="12844" y="20053"/>
                </a:cubicBezTo>
                <a:cubicBezTo>
                  <a:pt x="10823" y="18048"/>
                  <a:pt x="12844" y="16042"/>
                  <a:pt x="14864" y="16042"/>
                </a:cubicBezTo>
                <a:cubicBezTo>
                  <a:pt x="16885" y="16042"/>
                  <a:pt x="16885" y="12032"/>
                  <a:pt x="16885" y="10027"/>
                </a:cubicBezTo>
                <a:cubicBezTo>
                  <a:pt x="18905" y="10027"/>
                  <a:pt x="22946" y="10027"/>
                  <a:pt x="22946" y="10027"/>
                </a:cubicBezTo>
                <a:cubicBezTo>
                  <a:pt x="22946" y="8021"/>
                  <a:pt x="20926" y="6016"/>
                  <a:pt x="20926" y="6016"/>
                </a:cubicBezTo>
                <a:cubicBezTo>
                  <a:pt x="20926" y="6016"/>
                  <a:pt x="16885" y="4011"/>
                  <a:pt x="18905" y="2006"/>
                </a:cubicBezTo>
                <a:cubicBezTo>
                  <a:pt x="22946" y="0"/>
                  <a:pt x="29008" y="0"/>
                  <a:pt x="33048"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6" name="Hawaian Island"/>
          <p:cNvSpPr>
            <a:spLocks/>
          </p:cNvSpPr>
          <p:nvPr/>
        </p:nvSpPr>
        <p:spPr bwMode="auto">
          <a:xfrm>
            <a:off x="1717978" y="3260474"/>
            <a:ext cx="323371" cy="194642"/>
          </a:xfrm>
          <a:custGeom>
            <a:avLst/>
            <a:gdLst>
              <a:gd name="connsiteX0" fmla="*/ 291042 w 314325"/>
              <a:gd name="connsiteY0" fmla="*/ 151266 h 189197"/>
              <a:gd name="connsiteX1" fmla="*/ 300743 w 314325"/>
              <a:gd name="connsiteY1" fmla="*/ 153307 h 189197"/>
              <a:gd name="connsiteX2" fmla="*/ 310444 w 314325"/>
              <a:gd name="connsiteY2" fmla="*/ 159430 h 189197"/>
              <a:gd name="connsiteX3" fmla="*/ 312385 w 314325"/>
              <a:gd name="connsiteY3" fmla="*/ 165554 h 189197"/>
              <a:gd name="connsiteX4" fmla="*/ 314325 w 314325"/>
              <a:gd name="connsiteY4" fmla="*/ 171677 h 189197"/>
              <a:gd name="connsiteX5" fmla="*/ 310444 w 314325"/>
              <a:gd name="connsiteY5" fmla="*/ 177800 h 189197"/>
              <a:gd name="connsiteX6" fmla="*/ 304624 w 314325"/>
              <a:gd name="connsiteY6" fmla="*/ 177800 h 189197"/>
              <a:gd name="connsiteX7" fmla="*/ 298803 w 314325"/>
              <a:gd name="connsiteY7" fmla="*/ 181882 h 189197"/>
              <a:gd name="connsiteX8" fmla="*/ 296863 w 314325"/>
              <a:gd name="connsiteY8" fmla="*/ 183923 h 189197"/>
              <a:gd name="connsiteX9" fmla="*/ 291042 w 314325"/>
              <a:gd name="connsiteY9" fmla="*/ 185964 h 189197"/>
              <a:gd name="connsiteX10" fmla="*/ 283281 w 314325"/>
              <a:gd name="connsiteY10" fmla="*/ 185964 h 189197"/>
              <a:gd name="connsiteX11" fmla="*/ 285221 w 314325"/>
              <a:gd name="connsiteY11" fmla="*/ 179841 h 189197"/>
              <a:gd name="connsiteX12" fmla="*/ 281340 w 314325"/>
              <a:gd name="connsiteY12" fmla="*/ 171677 h 189197"/>
              <a:gd name="connsiteX13" fmla="*/ 283281 w 314325"/>
              <a:gd name="connsiteY13" fmla="*/ 161471 h 189197"/>
              <a:gd name="connsiteX14" fmla="*/ 285221 w 314325"/>
              <a:gd name="connsiteY14" fmla="*/ 159430 h 189197"/>
              <a:gd name="connsiteX15" fmla="*/ 287161 w 314325"/>
              <a:gd name="connsiteY15" fmla="*/ 155348 h 189197"/>
              <a:gd name="connsiteX16" fmla="*/ 291042 w 314325"/>
              <a:gd name="connsiteY16" fmla="*/ 151266 h 189197"/>
              <a:gd name="connsiteX17" fmla="*/ 272521 w 314325"/>
              <a:gd name="connsiteY17" fmla="*/ 136525 h 189197"/>
              <a:gd name="connsiteX18" fmla="*/ 274638 w 314325"/>
              <a:gd name="connsiteY18" fmla="*/ 138113 h 189197"/>
              <a:gd name="connsiteX19" fmla="*/ 268288 w 314325"/>
              <a:gd name="connsiteY19" fmla="*/ 138113 h 189197"/>
              <a:gd name="connsiteX20" fmla="*/ 272521 w 314325"/>
              <a:gd name="connsiteY20" fmla="*/ 136525 h 189197"/>
              <a:gd name="connsiteX21" fmla="*/ 257175 w 314325"/>
              <a:gd name="connsiteY21" fmla="*/ 128588 h 189197"/>
              <a:gd name="connsiteX22" fmla="*/ 262890 w 314325"/>
              <a:gd name="connsiteY22" fmla="*/ 128588 h 189197"/>
              <a:gd name="connsiteX23" fmla="*/ 262890 w 314325"/>
              <a:gd name="connsiteY23" fmla="*/ 131763 h 189197"/>
              <a:gd name="connsiteX24" fmla="*/ 257175 w 314325"/>
              <a:gd name="connsiteY24" fmla="*/ 128588 h 189197"/>
              <a:gd name="connsiteX25" fmla="*/ 270828 w 314325"/>
              <a:gd name="connsiteY25" fmla="*/ 123825 h 189197"/>
              <a:gd name="connsiteX26" fmla="*/ 274955 w 314325"/>
              <a:gd name="connsiteY26" fmla="*/ 125866 h 189197"/>
              <a:gd name="connsiteX27" fmla="*/ 277019 w 314325"/>
              <a:gd name="connsiteY27" fmla="*/ 125866 h 189197"/>
              <a:gd name="connsiteX28" fmla="*/ 279083 w 314325"/>
              <a:gd name="connsiteY28" fmla="*/ 123825 h 189197"/>
              <a:gd name="connsiteX29" fmla="*/ 283210 w 314325"/>
              <a:gd name="connsiteY29" fmla="*/ 127907 h 189197"/>
              <a:gd name="connsiteX30" fmla="*/ 285274 w 314325"/>
              <a:gd name="connsiteY30" fmla="*/ 131989 h 189197"/>
              <a:gd name="connsiteX31" fmla="*/ 287338 w 314325"/>
              <a:gd name="connsiteY31" fmla="*/ 134030 h 189197"/>
              <a:gd name="connsiteX32" fmla="*/ 279083 w 314325"/>
              <a:gd name="connsiteY32" fmla="*/ 136071 h 189197"/>
              <a:gd name="connsiteX33" fmla="*/ 274955 w 314325"/>
              <a:gd name="connsiteY33" fmla="*/ 134030 h 189197"/>
              <a:gd name="connsiteX34" fmla="*/ 270828 w 314325"/>
              <a:gd name="connsiteY34" fmla="*/ 127907 h 189197"/>
              <a:gd name="connsiteX35" fmla="*/ 270828 w 314325"/>
              <a:gd name="connsiteY35" fmla="*/ 123825 h 189197"/>
              <a:gd name="connsiteX36" fmla="*/ 257175 w 314325"/>
              <a:gd name="connsiteY36" fmla="*/ 116284 h 189197"/>
              <a:gd name="connsiteX37" fmla="*/ 261056 w 314325"/>
              <a:gd name="connsiteY37" fmla="*/ 116284 h 189197"/>
              <a:gd name="connsiteX38" fmla="*/ 262996 w 314325"/>
              <a:gd name="connsiteY38" fmla="*/ 116284 h 189197"/>
              <a:gd name="connsiteX39" fmla="*/ 266877 w 314325"/>
              <a:gd name="connsiteY39" fmla="*/ 116284 h 189197"/>
              <a:gd name="connsiteX40" fmla="*/ 270757 w 314325"/>
              <a:gd name="connsiteY40" fmla="*/ 116284 h 189197"/>
              <a:gd name="connsiteX41" fmla="*/ 272698 w 314325"/>
              <a:gd name="connsiteY41" fmla="*/ 120253 h 189197"/>
              <a:gd name="connsiteX42" fmla="*/ 266877 w 314325"/>
              <a:gd name="connsiteY42" fmla="*/ 120253 h 189197"/>
              <a:gd name="connsiteX43" fmla="*/ 261056 w 314325"/>
              <a:gd name="connsiteY43" fmla="*/ 120253 h 189197"/>
              <a:gd name="connsiteX44" fmla="*/ 257175 w 314325"/>
              <a:gd name="connsiteY44" fmla="*/ 116284 h 189197"/>
              <a:gd name="connsiteX45" fmla="*/ 184944 w 314325"/>
              <a:gd name="connsiteY45" fmla="*/ 91976 h 189197"/>
              <a:gd name="connsiteX46" fmla="*/ 187325 w 314325"/>
              <a:gd name="connsiteY46" fmla="*/ 92472 h 189197"/>
              <a:gd name="connsiteX47" fmla="*/ 185208 w 314325"/>
              <a:gd name="connsiteY47" fmla="*/ 94457 h 189197"/>
              <a:gd name="connsiteX48" fmla="*/ 180975 w 314325"/>
              <a:gd name="connsiteY48" fmla="*/ 94457 h 189197"/>
              <a:gd name="connsiteX49" fmla="*/ 184944 w 314325"/>
              <a:gd name="connsiteY49" fmla="*/ 91976 h 189197"/>
              <a:gd name="connsiteX50" fmla="*/ 203597 w 314325"/>
              <a:gd name="connsiteY50" fmla="*/ 81360 h 189197"/>
              <a:gd name="connsiteX51" fmla="*/ 207566 w 314325"/>
              <a:gd name="connsiteY51" fmla="*/ 81360 h 189197"/>
              <a:gd name="connsiteX52" fmla="*/ 207566 w 314325"/>
              <a:gd name="connsiteY52" fmla="*/ 87313 h 189197"/>
              <a:gd name="connsiteX53" fmla="*/ 205581 w 314325"/>
              <a:gd name="connsiteY53" fmla="*/ 93266 h 189197"/>
              <a:gd name="connsiteX54" fmla="*/ 199628 w 314325"/>
              <a:gd name="connsiteY54" fmla="*/ 95250 h 189197"/>
              <a:gd name="connsiteX55" fmla="*/ 193675 w 314325"/>
              <a:gd name="connsiteY55" fmla="*/ 89297 h 189197"/>
              <a:gd name="connsiteX56" fmla="*/ 199628 w 314325"/>
              <a:gd name="connsiteY56" fmla="*/ 83344 h 189197"/>
              <a:gd name="connsiteX57" fmla="*/ 3704 w 314325"/>
              <a:gd name="connsiteY57" fmla="*/ 0 h 189197"/>
              <a:gd name="connsiteX58" fmla="*/ 0 w 314325"/>
              <a:gd name="connsiteY58" fmla="*/ 2117 h 189197"/>
              <a:gd name="connsiteX59" fmla="*/ 3704 w 314325"/>
              <a:gd name="connsiteY59" fmla="*/ 0 h 18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325" h="189197">
                <a:moveTo>
                  <a:pt x="291042" y="151266"/>
                </a:moveTo>
                <a:cubicBezTo>
                  <a:pt x="294922" y="153307"/>
                  <a:pt x="296863" y="155348"/>
                  <a:pt x="300743" y="153307"/>
                </a:cubicBezTo>
                <a:cubicBezTo>
                  <a:pt x="304624" y="153307"/>
                  <a:pt x="310444" y="157389"/>
                  <a:pt x="310444" y="159430"/>
                </a:cubicBezTo>
                <a:cubicBezTo>
                  <a:pt x="308504" y="163512"/>
                  <a:pt x="308504" y="165554"/>
                  <a:pt x="312385" y="165554"/>
                </a:cubicBezTo>
                <a:cubicBezTo>
                  <a:pt x="314325" y="167595"/>
                  <a:pt x="314325" y="169636"/>
                  <a:pt x="314325" y="171677"/>
                </a:cubicBezTo>
                <a:cubicBezTo>
                  <a:pt x="314325" y="173718"/>
                  <a:pt x="310444" y="177800"/>
                  <a:pt x="310444" y="177800"/>
                </a:cubicBezTo>
                <a:cubicBezTo>
                  <a:pt x="310444" y="177800"/>
                  <a:pt x="308504" y="177800"/>
                  <a:pt x="304624" y="177800"/>
                </a:cubicBezTo>
                <a:cubicBezTo>
                  <a:pt x="302683" y="177800"/>
                  <a:pt x="300743" y="179841"/>
                  <a:pt x="298803" y="181882"/>
                </a:cubicBezTo>
                <a:cubicBezTo>
                  <a:pt x="298803" y="183923"/>
                  <a:pt x="296863" y="183923"/>
                  <a:pt x="296863" y="183923"/>
                </a:cubicBezTo>
                <a:cubicBezTo>
                  <a:pt x="296863" y="183923"/>
                  <a:pt x="292982" y="185964"/>
                  <a:pt x="291042" y="185964"/>
                </a:cubicBezTo>
                <a:cubicBezTo>
                  <a:pt x="289101" y="188005"/>
                  <a:pt x="283281" y="192087"/>
                  <a:pt x="283281" y="185964"/>
                </a:cubicBezTo>
                <a:cubicBezTo>
                  <a:pt x="283281" y="181882"/>
                  <a:pt x="285221" y="179841"/>
                  <a:pt x="285221" y="179841"/>
                </a:cubicBezTo>
                <a:cubicBezTo>
                  <a:pt x="285221" y="179841"/>
                  <a:pt x="283281" y="175759"/>
                  <a:pt x="281340" y="171677"/>
                </a:cubicBezTo>
                <a:cubicBezTo>
                  <a:pt x="279400" y="167595"/>
                  <a:pt x="283281" y="161471"/>
                  <a:pt x="283281" y="161471"/>
                </a:cubicBezTo>
                <a:cubicBezTo>
                  <a:pt x="283281" y="161471"/>
                  <a:pt x="283281" y="159430"/>
                  <a:pt x="285221" y="159430"/>
                </a:cubicBezTo>
                <a:cubicBezTo>
                  <a:pt x="285221" y="159430"/>
                  <a:pt x="289101" y="157389"/>
                  <a:pt x="287161" y="155348"/>
                </a:cubicBezTo>
                <a:cubicBezTo>
                  <a:pt x="287161" y="153307"/>
                  <a:pt x="287161" y="149225"/>
                  <a:pt x="291042" y="151266"/>
                </a:cubicBezTo>
                <a:close/>
                <a:moveTo>
                  <a:pt x="272521" y="136525"/>
                </a:moveTo>
                <a:cubicBezTo>
                  <a:pt x="272521" y="136525"/>
                  <a:pt x="274638" y="136525"/>
                  <a:pt x="274638" y="138113"/>
                </a:cubicBezTo>
                <a:cubicBezTo>
                  <a:pt x="272521" y="139700"/>
                  <a:pt x="268288" y="139700"/>
                  <a:pt x="268288" y="138113"/>
                </a:cubicBezTo>
                <a:cubicBezTo>
                  <a:pt x="268288" y="136525"/>
                  <a:pt x="272521" y="136525"/>
                  <a:pt x="272521" y="136525"/>
                </a:cubicBezTo>
                <a:close/>
                <a:moveTo>
                  <a:pt x="257175" y="128588"/>
                </a:moveTo>
                <a:cubicBezTo>
                  <a:pt x="257175" y="128588"/>
                  <a:pt x="259080" y="128588"/>
                  <a:pt x="262890" y="128588"/>
                </a:cubicBezTo>
                <a:cubicBezTo>
                  <a:pt x="266700" y="128588"/>
                  <a:pt x="266700" y="131763"/>
                  <a:pt x="262890" y="131763"/>
                </a:cubicBezTo>
                <a:cubicBezTo>
                  <a:pt x="262890" y="133350"/>
                  <a:pt x="257175" y="133350"/>
                  <a:pt x="257175" y="128588"/>
                </a:cubicBezTo>
                <a:close/>
                <a:moveTo>
                  <a:pt x="270828" y="123825"/>
                </a:moveTo>
                <a:cubicBezTo>
                  <a:pt x="270828" y="123825"/>
                  <a:pt x="272891" y="123825"/>
                  <a:pt x="274955" y="125866"/>
                </a:cubicBezTo>
                <a:cubicBezTo>
                  <a:pt x="277019" y="125866"/>
                  <a:pt x="277019" y="125866"/>
                  <a:pt x="277019" y="125866"/>
                </a:cubicBezTo>
                <a:cubicBezTo>
                  <a:pt x="277019" y="125866"/>
                  <a:pt x="277019" y="123825"/>
                  <a:pt x="279083" y="123825"/>
                </a:cubicBezTo>
                <a:cubicBezTo>
                  <a:pt x="283210" y="123825"/>
                  <a:pt x="283210" y="125866"/>
                  <a:pt x="283210" y="127907"/>
                </a:cubicBezTo>
                <a:cubicBezTo>
                  <a:pt x="283210" y="129948"/>
                  <a:pt x="287338" y="131989"/>
                  <a:pt x="285274" y="131989"/>
                </a:cubicBezTo>
                <a:cubicBezTo>
                  <a:pt x="285274" y="131989"/>
                  <a:pt x="287338" y="131989"/>
                  <a:pt x="287338" y="134030"/>
                </a:cubicBezTo>
                <a:cubicBezTo>
                  <a:pt x="287338" y="136071"/>
                  <a:pt x="283210" y="136071"/>
                  <a:pt x="279083" y="136071"/>
                </a:cubicBezTo>
                <a:cubicBezTo>
                  <a:pt x="274955" y="138112"/>
                  <a:pt x="274955" y="136071"/>
                  <a:pt x="274955" y="134030"/>
                </a:cubicBezTo>
                <a:cubicBezTo>
                  <a:pt x="274955" y="131989"/>
                  <a:pt x="272891" y="129948"/>
                  <a:pt x="270828" y="127907"/>
                </a:cubicBezTo>
                <a:cubicBezTo>
                  <a:pt x="266700" y="123825"/>
                  <a:pt x="270828" y="123825"/>
                  <a:pt x="270828" y="123825"/>
                </a:cubicBezTo>
                <a:close/>
                <a:moveTo>
                  <a:pt x="257175" y="116284"/>
                </a:moveTo>
                <a:cubicBezTo>
                  <a:pt x="257175" y="114300"/>
                  <a:pt x="261056" y="116284"/>
                  <a:pt x="261056" y="116284"/>
                </a:cubicBezTo>
                <a:lnTo>
                  <a:pt x="262996" y="116284"/>
                </a:lnTo>
                <a:cubicBezTo>
                  <a:pt x="262996" y="116284"/>
                  <a:pt x="266877" y="116284"/>
                  <a:pt x="266877" y="116284"/>
                </a:cubicBezTo>
                <a:cubicBezTo>
                  <a:pt x="266877" y="116284"/>
                  <a:pt x="270757" y="116284"/>
                  <a:pt x="270757" y="116284"/>
                </a:cubicBezTo>
                <a:cubicBezTo>
                  <a:pt x="270757" y="116284"/>
                  <a:pt x="274638" y="120253"/>
                  <a:pt x="272698" y="120253"/>
                </a:cubicBezTo>
                <a:cubicBezTo>
                  <a:pt x="272698" y="122237"/>
                  <a:pt x="266877" y="122237"/>
                  <a:pt x="266877" y="120253"/>
                </a:cubicBezTo>
                <a:cubicBezTo>
                  <a:pt x="264936" y="120253"/>
                  <a:pt x="262996" y="120253"/>
                  <a:pt x="261056" y="120253"/>
                </a:cubicBezTo>
                <a:cubicBezTo>
                  <a:pt x="259115" y="120253"/>
                  <a:pt x="257175" y="120253"/>
                  <a:pt x="257175" y="116284"/>
                </a:cubicBezTo>
                <a:close/>
                <a:moveTo>
                  <a:pt x="184944" y="91976"/>
                </a:moveTo>
                <a:cubicBezTo>
                  <a:pt x="186267" y="91976"/>
                  <a:pt x="187325" y="92472"/>
                  <a:pt x="187325" y="92472"/>
                </a:cubicBezTo>
                <a:cubicBezTo>
                  <a:pt x="187325" y="92472"/>
                  <a:pt x="187325" y="94457"/>
                  <a:pt x="185208" y="94457"/>
                </a:cubicBezTo>
                <a:cubicBezTo>
                  <a:pt x="185208" y="96441"/>
                  <a:pt x="180975" y="98425"/>
                  <a:pt x="180975" y="94457"/>
                </a:cubicBezTo>
                <a:cubicBezTo>
                  <a:pt x="182033" y="92472"/>
                  <a:pt x="183621" y="91976"/>
                  <a:pt x="184944" y="91976"/>
                </a:cubicBezTo>
                <a:close/>
                <a:moveTo>
                  <a:pt x="203597" y="81360"/>
                </a:moveTo>
                <a:cubicBezTo>
                  <a:pt x="203597" y="81360"/>
                  <a:pt x="205581" y="79375"/>
                  <a:pt x="207566" y="81360"/>
                </a:cubicBezTo>
                <a:cubicBezTo>
                  <a:pt x="209550" y="85328"/>
                  <a:pt x="209550" y="87313"/>
                  <a:pt x="207566" y="87313"/>
                </a:cubicBezTo>
                <a:cubicBezTo>
                  <a:pt x="207566" y="87313"/>
                  <a:pt x="205581" y="91281"/>
                  <a:pt x="205581" y="93266"/>
                </a:cubicBezTo>
                <a:cubicBezTo>
                  <a:pt x="205581" y="95250"/>
                  <a:pt x="199628" y="95250"/>
                  <a:pt x="199628" y="95250"/>
                </a:cubicBezTo>
                <a:cubicBezTo>
                  <a:pt x="197644" y="95250"/>
                  <a:pt x="195659" y="91281"/>
                  <a:pt x="193675" y="89297"/>
                </a:cubicBezTo>
                <a:cubicBezTo>
                  <a:pt x="193675" y="85328"/>
                  <a:pt x="199628" y="83344"/>
                  <a:pt x="199628" y="83344"/>
                </a:cubicBezTo>
                <a:close/>
                <a:moveTo>
                  <a:pt x="3704" y="0"/>
                </a:moveTo>
                <a:cubicBezTo>
                  <a:pt x="11113" y="4233"/>
                  <a:pt x="0" y="6350"/>
                  <a:pt x="0" y="2117"/>
                </a:cubicBezTo>
                <a:cubicBezTo>
                  <a:pt x="0" y="0"/>
                  <a:pt x="3704" y="0"/>
                  <a:pt x="3704"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7" name="Lesotho"/>
          <p:cNvSpPr>
            <a:spLocks/>
          </p:cNvSpPr>
          <p:nvPr/>
        </p:nvSpPr>
        <p:spPr bwMode="auto">
          <a:xfrm>
            <a:off x="6908258" y="5011256"/>
            <a:ext cx="66961" cy="62061"/>
          </a:xfrm>
          <a:custGeom>
            <a:avLst/>
            <a:gdLst>
              <a:gd name="T0" fmla="*/ 2 w 33"/>
              <a:gd name="T1" fmla="*/ 11 h 30"/>
              <a:gd name="T2" fmla="*/ 2 w 33"/>
              <a:gd name="T3" fmla="*/ 15 h 30"/>
              <a:gd name="T4" fmla="*/ 6 w 33"/>
              <a:gd name="T5" fmla="*/ 20 h 30"/>
              <a:gd name="T6" fmla="*/ 10 w 33"/>
              <a:gd name="T7" fmla="*/ 28 h 30"/>
              <a:gd name="T8" fmla="*/ 18 w 33"/>
              <a:gd name="T9" fmla="*/ 29 h 30"/>
              <a:gd name="T10" fmla="*/ 23 w 33"/>
              <a:gd name="T11" fmla="*/ 25 h 30"/>
              <a:gd name="T12" fmla="*/ 29 w 33"/>
              <a:gd name="T13" fmla="*/ 20 h 30"/>
              <a:gd name="T14" fmla="*/ 33 w 33"/>
              <a:gd name="T15" fmla="*/ 13 h 30"/>
              <a:gd name="T16" fmla="*/ 31 w 33"/>
              <a:gd name="T17" fmla="*/ 6 h 30"/>
              <a:gd name="T18" fmla="*/ 23 w 33"/>
              <a:gd name="T19" fmla="*/ 1 h 30"/>
              <a:gd name="T20" fmla="*/ 16 w 33"/>
              <a:gd name="T21" fmla="*/ 5 h 30"/>
              <a:gd name="T22" fmla="*/ 11 w 33"/>
              <a:gd name="T23" fmla="*/ 9 h 30"/>
              <a:gd name="T24" fmla="*/ 2 w 33"/>
              <a:gd name="T25"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0">
                <a:moveTo>
                  <a:pt x="2" y="11"/>
                </a:moveTo>
                <a:cubicBezTo>
                  <a:pt x="2" y="11"/>
                  <a:pt x="0" y="12"/>
                  <a:pt x="2" y="15"/>
                </a:cubicBezTo>
                <a:cubicBezTo>
                  <a:pt x="3" y="18"/>
                  <a:pt x="4" y="16"/>
                  <a:pt x="6" y="20"/>
                </a:cubicBezTo>
                <a:cubicBezTo>
                  <a:pt x="7" y="23"/>
                  <a:pt x="9" y="26"/>
                  <a:pt x="10" y="28"/>
                </a:cubicBezTo>
                <a:cubicBezTo>
                  <a:pt x="12" y="30"/>
                  <a:pt x="17" y="30"/>
                  <a:pt x="18" y="29"/>
                </a:cubicBezTo>
                <a:cubicBezTo>
                  <a:pt x="19" y="28"/>
                  <a:pt x="21" y="25"/>
                  <a:pt x="23" y="25"/>
                </a:cubicBezTo>
                <a:cubicBezTo>
                  <a:pt x="26" y="24"/>
                  <a:pt x="28" y="23"/>
                  <a:pt x="29" y="20"/>
                </a:cubicBezTo>
                <a:cubicBezTo>
                  <a:pt x="30" y="17"/>
                  <a:pt x="32" y="15"/>
                  <a:pt x="33" y="13"/>
                </a:cubicBezTo>
                <a:cubicBezTo>
                  <a:pt x="33" y="11"/>
                  <a:pt x="33" y="9"/>
                  <a:pt x="31" y="6"/>
                </a:cubicBezTo>
                <a:cubicBezTo>
                  <a:pt x="28" y="4"/>
                  <a:pt x="25" y="1"/>
                  <a:pt x="23" y="1"/>
                </a:cubicBezTo>
                <a:cubicBezTo>
                  <a:pt x="20" y="0"/>
                  <a:pt x="16" y="5"/>
                  <a:pt x="16" y="5"/>
                </a:cubicBezTo>
                <a:cubicBezTo>
                  <a:pt x="16" y="5"/>
                  <a:pt x="13" y="7"/>
                  <a:pt x="11" y="9"/>
                </a:cubicBezTo>
                <a:cubicBezTo>
                  <a:pt x="8" y="10"/>
                  <a:pt x="2" y="11"/>
                  <a:pt x="2" y="11"/>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8" name="Swaziland"/>
          <p:cNvSpPr>
            <a:spLocks/>
          </p:cNvSpPr>
          <p:nvPr/>
        </p:nvSpPr>
        <p:spPr bwMode="auto">
          <a:xfrm>
            <a:off x="7020947" y="4913263"/>
            <a:ext cx="44097" cy="55528"/>
          </a:xfrm>
          <a:custGeom>
            <a:avLst/>
            <a:gdLst>
              <a:gd name="T0" fmla="*/ 12 w 22"/>
              <a:gd name="T1" fmla="*/ 1 h 27"/>
              <a:gd name="T2" fmla="*/ 15 w 22"/>
              <a:gd name="T3" fmla="*/ 5 h 27"/>
              <a:gd name="T4" fmla="*/ 19 w 22"/>
              <a:gd name="T5" fmla="*/ 9 h 27"/>
              <a:gd name="T6" fmla="*/ 21 w 22"/>
              <a:gd name="T7" fmla="*/ 9 h 27"/>
              <a:gd name="T8" fmla="*/ 22 w 22"/>
              <a:gd name="T9" fmla="*/ 12 h 27"/>
              <a:gd name="T10" fmla="*/ 21 w 22"/>
              <a:gd name="T11" fmla="*/ 15 h 27"/>
              <a:gd name="T12" fmla="*/ 22 w 22"/>
              <a:gd name="T13" fmla="*/ 19 h 27"/>
              <a:gd name="T14" fmla="*/ 21 w 22"/>
              <a:gd name="T15" fmla="*/ 23 h 27"/>
              <a:gd name="T16" fmla="*/ 19 w 22"/>
              <a:gd name="T17" fmla="*/ 27 h 27"/>
              <a:gd name="T18" fmla="*/ 16 w 22"/>
              <a:gd name="T19" fmla="*/ 27 h 27"/>
              <a:gd name="T20" fmla="*/ 13 w 22"/>
              <a:gd name="T21" fmla="*/ 25 h 27"/>
              <a:gd name="T22" fmla="*/ 10 w 22"/>
              <a:gd name="T23" fmla="*/ 25 h 27"/>
              <a:gd name="T24" fmla="*/ 7 w 22"/>
              <a:gd name="T25" fmla="*/ 24 h 27"/>
              <a:gd name="T26" fmla="*/ 4 w 22"/>
              <a:gd name="T27" fmla="*/ 22 h 27"/>
              <a:gd name="T28" fmla="*/ 1 w 22"/>
              <a:gd name="T29" fmla="*/ 16 h 27"/>
              <a:gd name="T30" fmla="*/ 0 w 22"/>
              <a:gd name="T31" fmla="*/ 13 h 27"/>
              <a:gd name="T32" fmla="*/ 2 w 22"/>
              <a:gd name="T33" fmla="*/ 7 h 27"/>
              <a:gd name="T34" fmla="*/ 5 w 22"/>
              <a:gd name="T35" fmla="*/ 5 h 27"/>
              <a:gd name="T36" fmla="*/ 7 w 22"/>
              <a:gd name="T37" fmla="*/ 2 h 27"/>
              <a:gd name="T38" fmla="*/ 8 w 22"/>
              <a:gd name="T39" fmla="*/ 1 h 27"/>
              <a:gd name="T40" fmla="*/ 10 w 22"/>
              <a:gd name="T41" fmla="*/ 0 h 27"/>
              <a:gd name="T42" fmla="*/ 12 w 22"/>
              <a:gd name="T43"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7">
                <a:moveTo>
                  <a:pt x="12" y="1"/>
                </a:moveTo>
                <a:cubicBezTo>
                  <a:pt x="12" y="1"/>
                  <a:pt x="13" y="4"/>
                  <a:pt x="15" y="5"/>
                </a:cubicBezTo>
                <a:cubicBezTo>
                  <a:pt x="17" y="7"/>
                  <a:pt x="18" y="9"/>
                  <a:pt x="19" y="9"/>
                </a:cubicBezTo>
                <a:cubicBezTo>
                  <a:pt x="20" y="9"/>
                  <a:pt x="21" y="9"/>
                  <a:pt x="21" y="9"/>
                </a:cubicBezTo>
                <a:cubicBezTo>
                  <a:pt x="21" y="9"/>
                  <a:pt x="22" y="11"/>
                  <a:pt x="22" y="12"/>
                </a:cubicBezTo>
                <a:cubicBezTo>
                  <a:pt x="21" y="12"/>
                  <a:pt x="21" y="15"/>
                  <a:pt x="21" y="15"/>
                </a:cubicBezTo>
                <a:cubicBezTo>
                  <a:pt x="22" y="16"/>
                  <a:pt x="22" y="18"/>
                  <a:pt x="22" y="19"/>
                </a:cubicBezTo>
                <a:cubicBezTo>
                  <a:pt x="22" y="19"/>
                  <a:pt x="21" y="23"/>
                  <a:pt x="21" y="23"/>
                </a:cubicBezTo>
                <a:cubicBezTo>
                  <a:pt x="21" y="23"/>
                  <a:pt x="20" y="26"/>
                  <a:pt x="19" y="27"/>
                </a:cubicBezTo>
                <a:cubicBezTo>
                  <a:pt x="19" y="27"/>
                  <a:pt x="18" y="27"/>
                  <a:pt x="16" y="27"/>
                </a:cubicBezTo>
                <a:cubicBezTo>
                  <a:pt x="15" y="27"/>
                  <a:pt x="15" y="26"/>
                  <a:pt x="13" y="25"/>
                </a:cubicBezTo>
                <a:cubicBezTo>
                  <a:pt x="13" y="25"/>
                  <a:pt x="11" y="25"/>
                  <a:pt x="10" y="25"/>
                </a:cubicBezTo>
                <a:cubicBezTo>
                  <a:pt x="10" y="25"/>
                  <a:pt x="8" y="24"/>
                  <a:pt x="7" y="24"/>
                </a:cubicBezTo>
                <a:cubicBezTo>
                  <a:pt x="6" y="24"/>
                  <a:pt x="4" y="23"/>
                  <a:pt x="4" y="22"/>
                </a:cubicBezTo>
                <a:cubicBezTo>
                  <a:pt x="2" y="21"/>
                  <a:pt x="1" y="17"/>
                  <a:pt x="1" y="16"/>
                </a:cubicBezTo>
                <a:cubicBezTo>
                  <a:pt x="1" y="15"/>
                  <a:pt x="0" y="13"/>
                  <a:pt x="0" y="13"/>
                </a:cubicBezTo>
                <a:cubicBezTo>
                  <a:pt x="0" y="12"/>
                  <a:pt x="2" y="8"/>
                  <a:pt x="2" y="7"/>
                </a:cubicBezTo>
                <a:cubicBezTo>
                  <a:pt x="2" y="7"/>
                  <a:pt x="4" y="5"/>
                  <a:pt x="5" y="5"/>
                </a:cubicBezTo>
                <a:cubicBezTo>
                  <a:pt x="5" y="4"/>
                  <a:pt x="6" y="3"/>
                  <a:pt x="7" y="2"/>
                </a:cubicBezTo>
                <a:cubicBezTo>
                  <a:pt x="7" y="2"/>
                  <a:pt x="8" y="1"/>
                  <a:pt x="8" y="1"/>
                </a:cubicBezTo>
                <a:cubicBezTo>
                  <a:pt x="9" y="1"/>
                  <a:pt x="10" y="0"/>
                  <a:pt x="10" y="0"/>
                </a:cubicBezTo>
                <a:lnTo>
                  <a:pt x="12" y="1"/>
                </a:ln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39" name="Madagascar"/>
          <p:cNvSpPr>
            <a:spLocks/>
          </p:cNvSpPr>
          <p:nvPr/>
        </p:nvSpPr>
        <p:spPr bwMode="auto">
          <a:xfrm>
            <a:off x="7357384" y="4457605"/>
            <a:ext cx="202516" cy="447494"/>
          </a:xfrm>
          <a:custGeom>
            <a:avLst/>
            <a:gdLst>
              <a:gd name="T0" fmla="*/ 75 w 99"/>
              <a:gd name="T1" fmla="*/ 8 h 218"/>
              <a:gd name="T2" fmla="*/ 81 w 99"/>
              <a:gd name="T3" fmla="*/ 8 h 218"/>
              <a:gd name="T4" fmla="*/ 83 w 99"/>
              <a:gd name="T5" fmla="*/ 0 h 218"/>
              <a:gd name="T6" fmla="*/ 87 w 99"/>
              <a:gd name="T7" fmla="*/ 5 h 218"/>
              <a:gd name="T8" fmla="*/ 88 w 99"/>
              <a:gd name="T9" fmla="*/ 13 h 218"/>
              <a:gd name="T10" fmla="*/ 92 w 99"/>
              <a:gd name="T11" fmla="*/ 23 h 218"/>
              <a:gd name="T12" fmla="*/ 95 w 99"/>
              <a:gd name="T13" fmla="*/ 32 h 218"/>
              <a:gd name="T14" fmla="*/ 96 w 99"/>
              <a:gd name="T15" fmla="*/ 44 h 218"/>
              <a:gd name="T16" fmla="*/ 98 w 99"/>
              <a:gd name="T17" fmla="*/ 54 h 218"/>
              <a:gd name="T18" fmla="*/ 92 w 99"/>
              <a:gd name="T19" fmla="*/ 63 h 218"/>
              <a:gd name="T20" fmla="*/ 88 w 99"/>
              <a:gd name="T21" fmla="*/ 58 h 218"/>
              <a:gd name="T22" fmla="*/ 89 w 99"/>
              <a:gd name="T23" fmla="*/ 69 h 218"/>
              <a:gd name="T24" fmla="*/ 88 w 99"/>
              <a:gd name="T25" fmla="*/ 78 h 218"/>
              <a:gd name="T26" fmla="*/ 86 w 99"/>
              <a:gd name="T27" fmla="*/ 89 h 218"/>
              <a:gd name="T28" fmla="*/ 83 w 99"/>
              <a:gd name="T29" fmla="*/ 99 h 218"/>
              <a:gd name="T30" fmla="*/ 81 w 99"/>
              <a:gd name="T31" fmla="*/ 109 h 218"/>
              <a:gd name="T32" fmla="*/ 73 w 99"/>
              <a:gd name="T33" fmla="*/ 120 h 218"/>
              <a:gd name="T34" fmla="*/ 71 w 99"/>
              <a:gd name="T35" fmla="*/ 130 h 218"/>
              <a:gd name="T36" fmla="*/ 69 w 99"/>
              <a:gd name="T37" fmla="*/ 140 h 218"/>
              <a:gd name="T38" fmla="*/ 67 w 99"/>
              <a:gd name="T39" fmla="*/ 148 h 218"/>
              <a:gd name="T40" fmla="*/ 65 w 99"/>
              <a:gd name="T41" fmla="*/ 159 h 218"/>
              <a:gd name="T42" fmla="*/ 62 w 99"/>
              <a:gd name="T43" fmla="*/ 171 h 218"/>
              <a:gd name="T44" fmla="*/ 58 w 99"/>
              <a:gd name="T45" fmla="*/ 185 h 218"/>
              <a:gd name="T46" fmla="*/ 56 w 99"/>
              <a:gd name="T47" fmla="*/ 195 h 218"/>
              <a:gd name="T48" fmla="*/ 53 w 99"/>
              <a:gd name="T49" fmla="*/ 202 h 218"/>
              <a:gd name="T50" fmla="*/ 49 w 99"/>
              <a:gd name="T51" fmla="*/ 211 h 218"/>
              <a:gd name="T52" fmla="*/ 43 w 99"/>
              <a:gd name="T53" fmla="*/ 212 h 218"/>
              <a:gd name="T54" fmla="*/ 37 w 99"/>
              <a:gd name="T55" fmla="*/ 213 h 218"/>
              <a:gd name="T56" fmla="*/ 32 w 99"/>
              <a:gd name="T57" fmla="*/ 217 h 218"/>
              <a:gd name="T58" fmla="*/ 21 w 99"/>
              <a:gd name="T59" fmla="*/ 214 h 218"/>
              <a:gd name="T60" fmla="*/ 12 w 99"/>
              <a:gd name="T61" fmla="*/ 210 h 218"/>
              <a:gd name="T62" fmla="*/ 6 w 99"/>
              <a:gd name="T63" fmla="*/ 203 h 218"/>
              <a:gd name="T64" fmla="*/ 3 w 99"/>
              <a:gd name="T65" fmla="*/ 194 h 218"/>
              <a:gd name="T66" fmla="*/ 7 w 99"/>
              <a:gd name="T67" fmla="*/ 186 h 218"/>
              <a:gd name="T68" fmla="*/ 5 w 99"/>
              <a:gd name="T69" fmla="*/ 181 h 218"/>
              <a:gd name="T70" fmla="*/ 3 w 99"/>
              <a:gd name="T71" fmla="*/ 176 h 218"/>
              <a:gd name="T72" fmla="*/ 2 w 99"/>
              <a:gd name="T73" fmla="*/ 170 h 218"/>
              <a:gd name="T74" fmla="*/ 1 w 99"/>
              <a:gd name="T75" fmla="*/ 165 h 218"/>
              <a:gd name="T76" fmla="*/ 2 w 99"/>
              <a:gd name="T77" fmla="*/ 158 h 218"/>
              <a:gd name="T78" fmla="*/ 6 w 99"/>
              <a:gd name="T79" fmla="*/ 152 h 218"/>
              <a:gd name="T80" fmla="*/ 9 w 99"/>
              <a:gd name="T81" fmla="*/ 143 h 218"/>
              <a:gd name="T82" fmla="*/ 15 w 99"/>
              <a:gd name="T83" fmla="*/ 132 h 218"/>
              <a:gd name="T84" fmla="*/ 19 w 99"/>
              <a:gd name="T85" fmla="*/ 122 h 218"/>
              <a:gd name="T86" fmla="*/ 14 w 99"/>
              <a:gd name="T87" fmla="*/ 110 h 218"/>
              <a:gd name="T88" fmla="*/ 12 w 99"/>
              <a:gd name="T89" fmla="*/ 103 h 218"/>
              <a:gd name="T90" fmla="*/ 12 w 99"/>
              <a:gd name="T91" fmla="*/ 91 h 218"/>
              <a:gd name="T92" fmla="*/ 15 w 99"/>
              <a:gd name="T93" fmla="*/ 82 h 218"/>
              <a:gd name="T94" fmla="*/ 19 w 99"/>
              <a:gd name="T95" fmla="*/ 76 h 218"/>
              <a:gd name="T96" fmla="*/ 26 w 99"/>
              <a:gd name="T97" fmla="*/ 66 h 218"/>
              <a:gd name="T98" fmla="*/ 35 w 99"/>
              <a:gd name="T99" fmla="*/ 64 h 218"/>
              <a:gd name="T100" fmla="*/ 42 w 99"/>
              <a:gd name="T101" fmla="*/ 59 h 218"/>
              <a:gd name="T102" fmla="*/ 49 w 99"/>
              <a:gd name="T103" fmla="*/ 53 h 218"/>
              <a:gd name="T104" fmla="*/ 55 w 99"/>
              <a:gd name="T105" fmla="*/ 50 h 218"/>
              <a:gd name="T106" fmla="*/ 60 w 99"/>
              <a:gd name="T107" fmla="*/ 45 h 218"/>
              <a:gd name="T108" fmla="*/ 64 w 99"/>
              <a:gd name="T109" fmla="*/ 37 h 218"/>
              <a:gd name="T110" fmla="*/ 66 w 99"/>
              <a:gd name="T111" fmla="*/ 26 h 218"/>
              <a:gd name="T112" fmla="*/ 72 w 99"/>
              <a:gd name="T113" fmla="*/ 25 h 218"/>
              <a:gd name="T114" fmla="*/ 71 w 99"/>
              <a:gd name="T115" fmla="*/ 20 h 218"/>
              <a:gd name="T116" fmla="*/ 75 w 99"/>
              <a:gd name="T117" fmla="*/ 20 h 218"/>
              <a:gd name="T118" fmla="*/ 78 w 99"/>
              <a:gd name="T119" fmla="*/ 1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218">
                <a:moveTo>
                  <a:pt x="77" y="13"/>
                </a:moveTo>
                <a:cubicBezTo>
                  <a:pt x="77" y="13"/>
                  <a:pt x="76" y="12"/>
                  <a:pt x="75" y="11"/>
                </a:cubicBezTo>
                <a:cubicBezTo>
                  <a:pt x="75" y="10"/>
                  <a:pt x="75" y="9"/>
                  <a:pt x="75" y="8"/>
                </a:cubicBezTo>
                <a:cubicBezTo>
                  <a:pt x="76" y="8"/>
                  <a:pt x="76" y="7"/>
                  <a:pt x="77" y="7"/>
                </a:cubicBezTo>
                <a:cubicBezTo>
                  <a:pt x="77" y="7"/>
                  <a:pt x="78" y="8"/>
                  <a:pt x="79" y="8"/>
                </a:cubicBezTo>
                <a:cubicBezTo>
                  <a:pt x="79" y="8"/>
                  <a:pt x="80" y="8"/>
                  <a:pt x="81" y="8"/>
                </a:cubicBezTo>
                <a:cubicBezTo>
                  <a:pt x="81" y="8"/>
                  <a:pt x="83" y="6"/>
                  <a:pt x="83" y="5"/>
                </a:cubicBezTo>
                <a:cubicBezTo>
                  <a:pt x="83" y="5"/>
                  <a:pt x="83" y="3"/>
                  <a:pt x="83" y="2"/>
                </a:cubicBezTo>
                <a:cubicBezTo>
                  <a:pt x="83" y="2"/>
                  <a:pt x="83" y="1"/>
                  <a:pt x="83" y="0"/>
                </a:cubicBezTo>
                <a:cubicBezTo>
                  <a:pt x="84" y="0"/>
                  <a:pt x="85" y="0"/>
                  <a:pt x="85" y="0"/>
                </a:cubicBezTo>
                <a:cubicBezTo>
                  <a:pt x="85" y="2"/>
                  <a:pt x="85" y="4"/>
                  <a:pt x="85" y="4"/>
                </a:cubicBezTo>
                <a:cubicBezTo>
                  <a:pt x="85" y="4"/>
                  <a:pt x="86" y="5"/>
                  <a:pt x="87" y="5"/>
                </a:cubicBezTo>
                <a:cubicBezTo>
                  <a:pt x="87" y="5"/>
                  <a:pt x="88" y="5"/>
                  <a:pt x="88" y="6"/>
                </a:cubicBezTo>
                <a:cubicBezTo>
                  <a:pt x="88" y="7"/>
                  <a:pt x="88" y="9"/>
                  <a:pt x="88" y="10"/>
                </a:cubicBezTo>
                <a:cubicBezTo>
                  <a:pt x="88" y="10"/>
                  <a:pt x="87" y="12"/>
                  <a:pt x="88" y="13"/>
                </a:cubicBezTo>
                <a:cubicBezTo>
                  <a:pt x="88" y="13"/>
                  <a:pt x="91" y="13"/>
                  <a:pt x="92" y="14"/>
                </a:cubicBezTo>
                <a:cubicBezTo>
                  <a:pt x="92" y="14"/>
                  <a:pt x="92" y="17"/>
                  <a:pt x="92" y="18"/>
                </a:cubicBezTo>
                <a:cubicBezTo>
                  <a:pt x="92" y="18"/>
                  <a:pt x="91" y="22"/>
                  <a:pt x="92" y="23"/>
                </a:cubicBezTo>
                <a:cubicBezTo>
                  <a:pt x="92" y="24"/>
                  <a:pt x="94" y="24"/>
                  <a:pt x="94" y="25"/>
                </a:cubicBezTo>
                <a:cubicBezTo>
                  <a:pt x="94" y="25"/>
                  <a:pt x="94" y="27"/>
                  <a:pt x="94" y="28"/>
                </a:cubicBezTo>
                <a:cubicBezTo>
                  <a:pt x="94" y="29"/>
                  <a:pt x="94" y="31"/>
                  <a:pt x="95" y="32"/>
                </a:cubicBezTo>
                <a:cubicBezTo>
                  <a:pt x="95" y="32"/>
                  <a:pt x="96" y="36"/>
                  <a:pt x="96" y="37"/>
                </a:cubicBezTo>
                <a:cubicBezTo>
                  <a:pt x="96" y="38"/>
                  <a:pt x="96" y="40"/>
                  <a:pt x="96" y="41"/>
                </a:cubicBezTo>
                <a:cubicBezTo>
                  <a:pt x="96" y="42"/>
                  <a:pt x="95" y="44"/>
                  <a:pt x="96" y="44"/>
                </a:cubicBezTo>
                <a:cubicBezTo>
                  <a:pt x="96" y="45"/>
                  <a:pt x="97" y="46"/>
                  <a:pt x="98" y="47"/>
                </a:cubicBezTo>
                <a:cubicBezTo>
                  <a:pt x="98" y="48"/>
                  <a:pt x="99" y="50"/>
                  <a:pt x="99" y="51"/>
                </a:cubicBezTo>
                <a:cubicBezTo>
                  <a:pt x="99" y="51"/>
                  <a:pt x="98" y="53"/>
                  <a:pt x="98" y="54"/>
                </a:cubicBezTo>
                <a:cubicBezTo>
                  <a:pt x="98" y="55"/>
                  <a:pt x="97" y="56"/>
                  <a:pt x="97" y="57"/>
                </a:cubicBezTo>
                <a:cubicBezTo>
                  <a:pt x="97" y="58"/>
                  <a:pt x="96" y="61"/>
                  <a:pt x="95" y="62"/>
                </a:cubicBezTo>
                <a:cubicBezTo>
                  <a:pt x="94" y="63"/>
                  <a:pt x="93" y="63"/>
                  <a:pt x="92" y="63"/>
                </a:cubicBezTo>
                <a:cubicBezTo>
                  <a:pt x="91" y="62"/>
                  <a:pt x="90" y="61"/>
                  <a:pt x="90" y="60"/>
                </a:cubicBezTo>
                <a:cubicBezTo>
                  <a:pt x="90" y="59"/>
                  <a:pt x="90" y="57"/>
                  <a:pt x="90" y="57"/>
                </a:cubicBezTo>
                <a:cubicBezTo>
                  <a:pt x="89" y="57"/>
                  <a:pt x="88" y="57"/>
                  <a:pt x="88" y="58"/>
                </a:cubicBezTo>
                <a:cubicBezTo>
                  <a:pt x="88" y="59"/>
                  <a:pt x="87" y="62"/>
                  <a:pt x="88" y="63"/>
                </a:cubicBezTo>
                <a:cubicBezTo>
                  <a:pt x="88" y="65"/>
                  <a:pt x="87" y="65"/>
                  <a:pt x="88" y="65"/>
                </a:cubicBezTo>
                <a:cubicBezTo>
                  <a:pt x="89" y="67"/>
                  <a:pt x="89" y="68"/>
                  <a:pt x="89" y="69"/>
                </a:cubicBezTo>
                <a:cubicBezTo>
                  <a:pt x="89" y="70"/>
                  <a:pt x="88" y="71"/>
                  <a:pt x="88" y="72"/>
                </a:cubicBezTo>
                <a:cubicBezTo>
                  <a:pt x="88" y="72"/>
                  <a:pt x="88" y="74"/>
                  <a:pt x="88" y="75"/>
                </a:cubicBezTo>
                <a:cubicBezTo>
                  <a:pt x="89" y="76"/>
                  <a:pt x="88" y="77"/>
                  <a:pt x="88" y="78"/>
                </a:cubicBezTo>
                <a:cubicBezTo>
                  <a:pt x="87" y="79"/>
                  <a:pt x="86" y="81"/>
                  <a:pt x="86" y="82"/>
                </a:cubicBezTo>
                <a:cubicBezTo>
                  <a:pt x="86" y="83"/>
                  <a:pt x="86" y="85"/>
                  <a:pt x="86" y="85"/>
                </a:cubicBezTo>
                <a:cubicBezTo>
                  <a:pt x="86" y="85"/>
                  <a:pt x="86" y="87"/>
                  <a:pt x="86" y="89"/>
                </a:cubicBezTo>
                <a:cubicBezTo>
                  <a:pt x="86" y="89"/>
                  <a:pt x="86" y="91"/>
                  <a:pt x="85" y="92"/>
                </a:cubicBezTo>
                <a:cubicBezTo>
                  <a:pt x="85" y="93"/>
                  <a:pt x="84" y="94"/>
                  <a:pt x="84" y="95"/>
                </a:cubicBezTo>
                <a:cubicBezTo>
                  <a:pt x="84" y="95"/>
                  <a:pt x="83" y="97"/>
                  <a:pt x="83" y="99"/>
                </a:cubicBezTo>
                <a:cubicBezTo>
                  <a:pt x="82" y="100"/>
                  <a:pt x="82" y="101"/>
                  <a:pt x="82" y="102"/>
                </a:cubicBezTo>
                <a:cubicBezTo>
                  <a:pt x="82" y="103"/>
                  <a:pt x="82" y="105"/>
                  <a:pt x="81" y="106"/>
                </a:cubicBezTo>
                <a:cubicBezTo>
                  <a:pt x="81" y="106"/>
                  <a:pt x="81" y="108"/>
                  <a:pt x="81" y="109"/>
                </a:cubicBezTo>
                <a:cubicBezTo>
                  <a:pt x="80" y="109"/>
                  <a:pt x="79" y="112"/>
                  <a:pt x="78" y="112"/>
                </a:cubicBezTo>
                <a:cubicBezTo>
                  <a:pt x="78" y="112"/>
                  <a:pt x="76" y="115"/>
                  <a:pt x="76" y="116"/>
                </a:cubicBezTo>
                <a:cubicBezTo>
                  <a:pt x="76" y="116"/>
                  <a:pt x="74" y="119"/>
                  <a:pt x="73" y="120"/>
                </a:cubicBezTo>
                <a:cubicBezTo>
                  <a:pt x="73" y="121"/>
                  <a:pt x="73" y="122"/>
                  <a:pt x="73" y="123"/>
                </a:cubicBezTo>
                <a:cubicBezTo>
                  <a:pt x="73" y="123"/>
                  <a:pt x="72" y="125"/>
                  <a:pt x="72" y="126"/>
                </a:cubicBezTo>
                <a:cubicBezTo>
                  <a:pt x="72" y="127"/>
                  <a:pt x="71" y="129"/>
                  <a:pt x="71" y="130"/>
                </a:cubicBezTo>
                <a:cubicBezTo>
                  <a:pt x="71" y="131"/>
                  <a:pt x="70" y="132"/>
                  <a:pt x="70" y="132"/>
                </a:cubicBezTo>
                <a:cubicBezTo>
                  <a:pt x="70" y="133"/>
                  <a:pt x="69" y="135"/>
                  <a:pt x="69" y="136"/>
                </a:cubicBezTo>
                <a:cubicBezTo>
                  <a:pt x="69" y="137"/>
                  <a:pt x="69" y="139"/>
                  <a:pt x="69" y="140"/>
                </a:cubicBezTo>
                <a:cubicBezTo>
                  <a:pt x="69" y="140"/>
                  <a:pt x="68" y="142"/>
                  <a:pt x="68" y="142"/>
                </a:cubicBezTo>
                <a:cubicBezTo>
                  <a:pt x="68" y="143"/>
                  <a:pt x="68" y="144"/>
                  <a:pt x="67" y="145"/>
                </a:cubicBezTo>
                <a:cubicBezTo>
                  <a:pt x="67" y="146"/>
                  <a:pt x="67" y="147"/>
                  <a:pt x="67" y="148"/>
                </a:cubicBezTo>
                <a:cubicBezTo>
                  <a:pt x="67" y="149"/>
                  <a:pt x="67" y="151"/>
                  <a:pt x="67" y="152"/>
                </a:cubicBezTo>
                <a:cubicBezTo>
                  <a:pt x="67" y="152"/>
                  <a:pt x="67" y="154"/>
                  <a:pt x="67" y="155"/>
                </a:cubicBezTo>
                <a:cubicBezTo>
                  <a:pt x="67" y="155"/>
                  <a:pt x="65" y="158"/>
                  <a:pt x="65" y="159"/>
                </a:cubicBezTo>
                <a:cubicBezTo>
                  <a:pt x="64" y="159"/>
                  <a:pt x="62" y="163"/>
                  <a:pt x="62" y="163"/>
                </a:cubicBezTo>
                <a:cubicBezTo>
                  <a:pt x="62" y="164"/>
                  <a:pt x="61" y="166"/>
                  <a:pt x="61" y="167"/>
                </a:cubicBezTo>
                <a:cubicBezTo>
                  <a:pt x="61" y="168"/>
                  <a:pt x="62" y="170"/>
                  <a:pt x="62" y="171"/>
                </a:cubicBezTo>
                <a:cubicBezTo>
                  <a:pt x="62" y="172"/>
                  <a:pt x="60" y="175"/>
                  <a:pt x="60" y="175"/>
                </a:cubicBezTo>
                <a:cubicBezTo>
                  <a:pt x="60" y="176"/>
                  <a:pt x="60" y="179"/>
                  <a:pt x="59" y="180"/>
                </a:cubicBezTo>
                <a:cubicBezTo>
                  <a:pt x="58" y="181"/>
                  <a:pt x="58" y="184"/>
                  <a:pt x="58" y="185"/>
                </a:cubicBezTo>
                <a:cubicBezTo>
                  <a:pt x="58" y="186"/>
                  <a:pt x="57" y="187"/>
                  <a:pt x="56" y="188"/>
                </a:cubicBezTo>
                <a:cubicBezTo>
                  <a:pt x="56" y="188"/>
                  <a:pt x="56" y="191"/>
                  <a:pt x="56" y="191"/>
                </a:cubicBezTo>
                <a:cubicBezTo>
                  <a:pt x="56" y="192"/>
                  <a:pt x="56" y="194"/>
                  <a:pt x="56" y="195"/>
                </a:cubicBezTo>
                <a:cubicBezTo>
                  <a:pt x="56" y="195"/>
                  <a:pt x="56" y="196"/>
                  <a:pt x="55" y="197"/>
                </a:cubicBezTo>
                <a:cubicBezTo>
                  <a:pt x="54" y="197"/>
                  <a:pt x="54" y="199"/>
                  <a:pt x="54" y="199"/>
                </a:cubicBezTo>
                <a:cubicBezTo>
                  <a:pt x="53" y="200"/>
                  <a:pt x="53" y="201"/>
                  <a:pt x="53" y="202"/>
                </a:cubicBezTo>
                <a:cubicBezTo>
                  <a:pt x="53" y="203"/>
                  <a:pt x="53" y="205"/>
                  <a:pt x="52" y="205"/>
                </a:cubicBezTo>
                <a:cubicBezTo>
                  <a:pt x="52" y="206"/>
                  <a:pt x="52" y="209"/>
                  <a:pt x="51" y="210"/>
                </a:cubicBezTo>
                <a:cubicBezTo>
                  <a:pt x="51" y="211"/>
                  <a:pt x="50" y="211"/>
                  <a:pt x="49" y="211"/>
                </a:cubicBezTo>
                <a:cubicBezTo>
                  <a:pt x="48" y="211"/>
                  <a:pt x="48" y="210"/>
                  <a:pt x="47" y="211"/>
                </a:cubicBezTo>
                <a:cubicBezTo>
                  <a:pt x="46" y="211"/>
                  <a:pt x="46" y="212"/>
                  <a:pt x="45" y="212"/>
                </a:cubicBezTo>
                <a:cubicBezTo>
                  <a:pt x="45" y="212"/>
                  <a:pt x="43" y="212"/>
                  <a:pt x="43" y="212"/>
                </a:cubicBezTo>
                <a:cubicBezTo>
                  <a:pt x="42" y="212"/>
                  <a:pt x="41" y="212"/>
                  <a:pt x="41" y="213"/>
                </a:cubicBezTo>
                <a:cubicBezTo>
                  <a:pt x="40" y="213"/>
                  <a:pt x="39" y="213"/>
                  <a:pt x="39" y="213"/>
                </a:cubicBezTo>
                <a:cubicBezTo>
                  <a:pt x="38" y="213"/>
                  <a:pt x="37" y="213"/>
                  <a:pt x="37" y="213"/>
                </a:cubicBezTo>
                <a:cubicBezTo>
                  <a:pt x="36" y="213"/>
                  <a:pt x="35" y="212"/>
                  <a:pt x="35" y="213"/>
                </a:cubicBezTo>
                <a:cubicBezTo>
                  <a:pt x="34" y="213"/>
                  <a:pt x="34" y="214"/>
                  <a:pt x="33" y="215"/>
                </a:cubicBezTo>
                <a:cubicBezTo>
                  <a:pt x="33" y="216"/>
                  <a:pt x="33" y="217"/>
                  <a:pt x="32" y="217"/>
                </a:cubicBezTo>
                <a:cubicBezTo>
                  <a:pt x="31" y="218"/>
                  <a:pt x="27" y="218"/>
                  <a:pt x="26" y="218"/>
                </a:cubicBezTo>
                <a:cubicBezTo>
                  <a:pt x="25" y="218"/>
                  <a:pt x="24" y="218"/>
                  <a:pt x="23" y="218"/>
                </a:cubicBezTo>
                <a:cubicBezTo>
                  <a:pt x="22" y="217"/>
                  <a:pt x="22" y="215"/>
                  <a:pt x="21" y="214"/>
                </a:cubicBezTo>
                <a:cubicBezTo>
                  <a:pt x="20" y="214"/>
                  <a:pt x="20" y="214"/>
                  <a:pt x="19" y="214"/>
                </a:cubicBezTo>
                <a:cubicBezTo>
                  <a:pt x="18" y="214"/>
                  <a:pt x="17" y="215"/>
                  <a:pt x="16" y="214"/>
                </a:cubicBezTo>
                <a:cubicBezTo>
                  <a:pt x="15" y="214"/>
                  <a:pt x="12" y="211"/>
                  <a:pt x="12" y="210"/>
                </a:cubicBezTo>
                <a:cubicBezTo>
                  <a:pt x="11" y="209"/>
                  <a:pt x="10" y="207"/>
                  <a:pt x="9" y="207"/>
                </a:cubicBezTo>
                <a:cubicBezTo>
                  <a:pt x="9" y="207"/>
                  <a:pt x="8" y="207"/>
                  <a:pt x="7" y="206"/>
                </a:cubicBezTo>
                <a:cubicBezTo>
                  <a:pt x="6" y="205"/>
                  <a:pt x="7" y="204"/>
                  <a:pt x="6" y="203"/>
                </a:cubicBezTo>
                <a:cubicBezTo>
                  <a:pt x="5" y="203"/>
                  <a:pt x="5" y="203"/>
                  <a:pt x="5" y="202"/>
                </a:cubicBezTo>
                <a:cubicBezTo>
                  <a:pt x="4" y="201"/>
                  <a:pt x="5" y="200"/>
                  <a:pt x="5" y="199"/>
                </a:cubicBezTo>
                <a:cubicBezTo>
                  <a:pt x="5" y="198"/>
                  <a:pt x="3" y="195"/>
                  <a:pt x="3" y="194"/>
                </a:cubicBezTo>
                <a:cubicBezTo>
                  <a:pt x="4" y="193"/>
                  <a:pt x="5" y="191"/>
                  <a:pt x="5" y="191"/>
                </a:cubicBezTo>
                <a:cubicBezTo>
                  <a:pt x="5" y="190"/>
                  <a:pt x="7" y="189"/>
                  <a:pt x="7" y="188"/>
                </a:cubicBezTo>
                <a:cubicBezTo>
                  <a:pt x="7" y="188"/>
                  <a:pt x="7" y="187"/>
                  <a:pt x="7" y="186"/>
                </a:cubicBezTo>
                <a:cubicBezTo>
                  <a:pt x="7" y="185"/>
                  <a:pt x="7" y="184"/>
                  <a:pt x="7" y="184"/>
                </a:cubicBezTo>
                <a:cubicBezTo>
                  <a:pt x="7" y="184"/>
                  <a:pt x="6" y="184"/>
                  <a:pt x="5" y="183"/>
                </a:cubicBezTo>
                <a:cubicBezTo>
                  <a:pt x="5" y="182"/>
                  <a:pt x="5" y="181"/>
                  <a:pt x="5" y="181"/>
                </a:cubicBezTo>
                <a:cubicBezTo>
                  <a:pt x="5" y="180"/>
                  <a:pt x="4" y="180"/>
                  <a:pt x="4" y="180"/>
                </a:cubicBezTo>
                <a:cubicBezTo>
                  <a:pt x="4" y="180"/>
                  <a:pt x="4" y="178"/>
                  <a:pt x="4" y="178"/>
                </a:cubicBezTo>
                <a:cubicBezTo>
                  <a:pt x="4" y="178"/>
                  <a:pt x="3" y="177"/>
                  <a:pt x="3" y="176"/>
                </a:cubicBezTo>
                <a:cubicBezTo>
                  <a:pt x="2" y="176"/>
                  <a:pt x="0" y="176"/>
                  <a:pt x="1" y="175"/>
                </a:cubicBezTo>
                <a:cubicBezTo>
                  <a:pt x="1" y="174"/>
                  <a:pt x="2" y="173"/>
                  <a:pt x="2" y="172"/>
                </a:cubicBezTo>
                <a:cubicBezTo>
                  <a:pt x="2" y="171"/>
                  <a:pt x="3" y="170"/>
                  <a:pt x="2" y="170"/>
                </a:cubicBezTo>
                <a:cubicBezTo>
                  <a:pt x="1" y="170"/>
                  <a:pt x="1" y="170"/>
                  <a:pt x="0" y="169"/>
                </a:cubicBezTo>
                <a:cubicBezTo>
                  <a:pt x="0" y="168"/>
                  <a:pt x="0" y="167"/>
                  <a:pt x="0" y="166"/>
                </a:cubicBezTo>
                <a:cubicBezTo>
                  <a:pt x="1" y="166"/>
                  <a:pt x="1" y="165"/>
                  <a:pt x="1" y="165"/>
                </a:cubicBezTo>
                <a:cubicBezTo>
                  <a:pt x="2" y="164"/>
                  <a:pt x="3" y="163"/>
                  <a:pt x="2" y="163"/>
                </a:cubicBezTo>
                <a:cubicBezTo>
                  <a:pt x="1" y="162"/>
                  <a:pt x="0" y="162"/>
                  <a:pt x="0" y="161"/>
                </a:cubicBezTo>
                <a:cubicBezTo>
                  <a:pt x="1" y="160"/>
                  <a:pt x="2" y="159"/>
                  <a:pt x="2" y="158"/>
                </a:cubicBezTo>
                <a:cubicBezTo>
                  <a:pt x="2" y="157"/>
                  <a:pt x="2" y="157"/>
                  <a:pt x="3" y="157"/>
                </a:cubicBezTo>
                <a:cubicBezTo>
                  <a:pt x="3" y="157"/>
                  <a:pt x="5" y="154"/>
                  <a:pt x="5" y="153"/>
                </a:cubicBezTo>
                <a:cubicBezTo>
                  <a:pt x="5" y="152"/>
                  <a:pt x="5" y="152"/>
                  <a:pt x="6" y="152"/>
                </a:cubicBezTo>
                <a:cubicBezTo>
                  <a:pt x="7" y="151"/>
                  <a:pt x="8" y="151"/>
                  <a:pt x="9" y="150"/>
                </a:cubicBezTo>
                <a:cubicBezTo>
                  <a:pt x="9" y="149"/>
                  <a:pt x="9" y="147"/>
                  <a:pt x="9" y="146"/>
                </a:cubicBezTo>
                <a:cubicBezTo>
                  <a:pt x="9" y="145"/>
                  <a:pt x="9" y="143"/>
                  <a:pt x="9" y="143"/>
                </a:cubicBezTo>
                <a:cubicBezTo>
                  <a:pt x="10" y="143"/>
                  <a:pt x="12" y="139"/>
                  <a:pt x="13" y="138"/>
                </a:cubicBezTo>
                <a:cubicBezTo>
                  <a:pt x="14" y="137"/>
                  <a:pt x="15" y="137"/>
                  <a:pt x="15" y="135"/>
                </a:cubicBezTo>
                <a:cubicBezTo>
                  <a:pt x="15" y="135"/>
                  <a:pt x="15" y="133"/>
                  <a:pt x="15" y="132"/>
                </a:cubicBezTo>
                <a:cubicBezTo>
                  <a:pt x="15" y="131"/>
                  <a:pt x="16" y="129"/>
                  <a:pt x="17" y="129"/>
                </a:cubicBezTo>
                <a:cubicBezTo>
                  <a:pt x="17" y="128"/>
                  <a:pt x="18" y="126"/>
                  <a:pt x="18" y="125"/>
                </a:cubicBezTo>
                <a:cubicBezTo>
                  <a:pt x="18" y="124"/>
                  <a:pt x="19" y="123"/>
                  <a:pt x="19" y="122"/>
                </a:cubicBezTo>
                <a:cubicBezTo>
                  <a:pt x="18" y="121"/>
                  <a:pt x="18" y="119"/>
                  <a:pt x="17" y="118"/>
                </a:cubicBezTo>
                <a:cubicBezTo>
                  <a:pt x="17" y="118"/>
                  <a:pt x="15" y="112"/>
                  <a:pt x="15" y="112"/>
                </a:cubicBezTo>
                <a:cubicBezTo>
                  <a:pt x="14" y="112"/>
                  <a:pt x="14" y="111"/>
                  <a:pt x="14" y="110"/>
                </a:cubicBezTo>
                <a:cubicBezTo>
                  <a:pt x="14" y="109"/>
                  <a:pt x="15" y="109"/>
                  <a:pt x="15" y="108"/>
                </a:cubicBezTo>
                <a:cubicBezTo>
                  <a:pt x="15" y="107"/>
                  <a:pt x="16" y="107"/>
                  <a:pt x="14" y="106"/>
                </a:cubicBezTo>
                <a:cubicBezTo>
                  <a:pt x="14" y="105"/>
                  <a:pt x="13" y="104"/>
                  <a:pt x="12" y="103"/>
                </a:cubicBezTo>
                <a:cubicBezTo>
                  <a:pt x="12" y="102"/>
                  <a:pt x="12" y="99"/>
                  <a:pt x="12" y="99"/>
                </a:cubicBezTo>
                <a:cubicBezTo>
                  <a:pt x="12" y="98"/>
                  <a:pt x="13" y="97"/>
                  <a:pt x="13" y="96"/>
                </a:cubicBezTo>
                <a:cubicBezTo>
                  <a:pt x="14" y="96"/>
                  <a:pt x="11" y="93"/>
                  <a:pt x="12" y="91"/>
                </a:cubicBezTo>
                <a:cubicBezTo>
                  <a:pt x="12" y="90"/>
                  <a:pt x="13" y="87"/>
                  <a:pt x="13" y="87"/>
                </a:cubicBezTo>
                <a:cubicBezTo>
                  <a:pt x="13" y="86"/>
                  <a:pt x="14" y="85"/>
                  <a:pt x="14" y="84"/>
                </a:cubicBezTo>
                <a:cubicBezTo>
                  <a:pt x="14" y="83"/>
                  <a:pt x="14" y="82"/>
                  <a:pt x="15" y="82"/>
                </a:cubicBezTo>
                <a:cubicBezTo>
                  <a:pt x="16" y="82"/>
                  <a:pt x="16" y="81"/>
                  <a:pt x="16" y="80"/>
                </a:cubicBezTo>
                <a:cubicBezTo>
                  <a:pt x="16" y="79"/>
                  <a:pt x="16" y="78"/>
                  <a:pt x="17" y="78"/>
                </a:cubicBezTo>
                <a:cubicBezTo>
                  <a:pt x="17" y="77"/>
                  <a:pt x="18" y="78"/>
                  <a:pt x="19" y="76"/>
                </a:cubicBezTo>
                <a:cubicBezTo>
                  <a:pt x="19" y="76"/>
                  <a:pt x="20" y="70"/>
                  <a:pt x="20" y="69"/>
                </a:cubicBezTo>
                <a:cubicBezTo>
                  <a:pt x="20" y="67"/>
                  <a:pt x="21" y="67"/>
                  <a:pt x="22" y="67"/>
                </a:cubicBezTo>
                <a:cubicBezTo>
                  <a:pt x="23" y="66"/>
                  <a:pt x="25" y="66"/>
                  <a:pt x="26" y="66"/>
                </a:cubicBezTo>
                <a:cubicBezTo>
                  <a:pt x="28" y="66"/>
                  <a:pt x="29" y="65"/>
                  <a:pt x="30" y="65"/>
                </a:cubicBezTo>
                <a:cubicBezTo>
                  <a:pt x="30" y="64"/>
                  <a:pt x="31" y="64"/>
                  <a:pt x="32" y="64"/>
                </a:cubicBezTo>
                <a:cubicBezTo>
                  <a:pt x="33" y="65"/>
                  <a:pt x="34" y="65"/>
                  <a:pt x="35" y="64"/>
                </a:cubicBezTo>
                <a:cubicBezTo>
                  <a:pt x="35" y="64"/>
                  <a:pt x="35" y="62"/>
                  <a:pt x="36" y="61"/>
                </a:cubicBezTo>
                <a:cubicBezTo>
                  <a:pt x="36" y="61"/>
                  <a:pt x="37" y="60"/>
                  <a:pt x="38" y="60"/>
                </a:cubicBezTo>
                <a:cubicBezTo>
                  <a:pt x="40" y="60"/>
                  <a:pt x="41" y="60"/>
                  <a:pt x="42" y="59"/>
                </a:cubicBezTo>
                <a:cubicBezTo>
                  <a:pt x="43" y="58"/>
                  <a:pt x="43" y="58"/>
                  <a:pt x="43" y="58"/>
                </a:cubicBezTo>
                <a:cubicBezTo>
                  <a:pt x="44" y="57"/>
                  <a:pt x="46" y="58"/>
                  <a:pt x="46" y="57"/>
                </a:cubicBezTo>
                <a:cubicBezTo>
                  <a:pt x="47" y="57"/>
                  <a:pt x="48" y="53"/>
                  <a:pt x="49" y="53"/>
                </a:cubicBezTo>
                <a:cubicBezTo>
                  <a:pt x="50" y="52"/>
                  <a:pt x="51" y="53"/>
                  <a:pt x="52" y="53"/>
                </a:cubicBezTo>
                <a:cubicBezTo>
                  <a:pt x="53" y="53"/>
                  <a:pt x="54" y="54"/>
                  <a:pt x="55" y="53"/>
                </a:cubicBezTo>
                <a:cubicBezTo>
                  <a:pt x="56" y="52"/>
                  <a:pt x="56" y="51"/>
                  <a:pt x="55" y="50"/>
                </a:cubicBezTo>
                <a:cubicBezTo>
                  <a:pt x="55" y="49"/>
                  <a:pt x="55" y="48"/>
                  <a:pt x="56" y="47"/>
                </a:cubicBezTo>
                <a:cubicBezTo>
                  <a:pt x="57" y="46"/>
                  <a:pt x="58" y="46"/>
                  <a:pt x="59" y="46"/>
                </a:cubicBezTo>
                <a:cubicBezTo>
                  <a:pt x="60" y="46"/>
                  <a:pt x="60" y="46"/>
                  <a:pt x="60" y="45"/>
                </a:cubicBezTo>
                <a:cubicBezTo>
                  <a:pt x="60" y="44"/>
                  <a:pt x="62" y="42"/>
                  <a:pt x="62" y="42"/>
                </a:cubicBezTo>
                <a:cubicBezTo>
                  <a:pt x="63" y="41"/>
                  <a:pt x="62" y="40"/>
                  <a:pt x="63" y="39"/>
                </a:cubicBezTo>
                <a:cubicBezTo>
                  <a:pt x="63" y="38"/>
                  <a:pt x="63" y="38"/>
                  <a:pt x="64" y="37"/>
                </a:cubicBezTo>
                <a:cubicBezTo>
                  <a:pt x="65" y="36"/>
                  <a:pt x="66" y="36"/>
                  <a:pt x="67" y="35"/>
                </a:cubicBezTo>
                <a:cubicBezTo>
                  <a:pt x="67" y="34"/>
                  <a:pt x="66" y="31"/>
                  <a:pt x="66" y="30"/>
                </a:cubicBezTo>
                <a:cubicBezTo>
                  <a:pt x="66" y="29"/>
                  <a:pt x="66" y="27"/>
                  <a:pt x="66" y="26"/>
                </a:cubicBezTo>
                <a:cubicBezTo>
                  <a:pt x="66" y="25"/>
                  <a:pt x="66" y="25"/>
                  <a:pt x="67" y="25"/>
                </a:cubicBezTo>
                <a:cubicBezTo>
                  <a:pt x="68" y="25"/>
                  <a:pt x="68" y="26"/>
                  <a:pt x="69" y="26"/>
                </a:cubicBezTo>
                <a:cubicBezTo>
                  <a:pt x="71" y="26"/>
                  <a:pt x="72" y="25"/>
                  <a:pt x="72" y="25"/>
                </a:cubicBezTo>
                <a:cubicBezTo>
                  <a:pt x="72" y="24"/>
                  <a:pt x="71" y="23"/>
                  <a:pt x="71" y="23"/>
                </a:cubicBezTo>
                <a:cubicBezTo>
                  <a:pt x="70" y="23"/>
                  <a:pt x="69" y="22"/>
                  <a:pt x="69" y="21"/>
                </a:cubicBezTo>
                <a:cubicBezTo>
                  <a:pt x="69" y="21"/>
                  <a:pt x="71" y="20"/>
                  <a:pt x="71" y="20"/>
                </a:cubicBezTo>
                <a:cubicBezTo>
                  <a:pt x="71" y="21"/>
                  <a:pt x="72" y="22"/>
                  <a:pt x="72" y="22"/>
                </a:cubicBezTo>
                <a:cubicBezTo>
                  <a:pt x="73" y="22"/>
                  <a:pt x="75" y="22"/>
                  <a:pt x="75" y="22"/>
                </a:cubicBezTo>
                <a:cubicBezTo>
                  <a:pt x="76" y="21"/>
                  <a:pt x="76" y="20"/>
                  <a:pt x="75" y="20"/>
                </a:cubicBezTo>
                <a:cubicBezTo>
                  <a:pt x="75" y="19"/>
                  <a:pt x="75" y="18"/>
                  <a:pt x="76" y="17"/>
                </a:cubicBezTo>
                <a:cubicBezTo>
                  <a:pt x="76" y="17"/>
                  <a:pt x="77" y="16"/>
                  <a:pt x="77" y="15"/>
                </a:cubicBezTo>
                <a:cubicBezTo>
                  <a:pt x="77" y="15"/>
                  <a:pt x="78" y="14"/>
                  <a:pt x="78" y="13"/>
                </a:cubicBezTo>
                <a:cubicBezTo>
                  <a:pt x="77" y="13"/>
                  <a:pt x="77" y="13"/>
                  <a:pt x="77" y="13"/>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0" name="Mozambique"/>
          <p:cNvSpPr>
            <a:spLocks/>
          </p:cNvSpPr>
          <p:nvPr/>
        </p:nvSpPr>
        <p:spPr bwMode="auto">
          <a:xfrm>
            <a:off x="6983384" y="4426572"/>
            <a:ext cx="313572" cy="509555"/>
          </a:xfrm>
          <a:custGeom>
            <a:avLst/>
            <a:gdLst>
              <a:gd name="T0" fmla="*/ 44 w 153"/>
              <a:gd name="T1" fmla="*/ 248 h 248"/>
              <a:gd name="T2" fmla="*/ 39 w 153"/>
              <a:gd name="T3" fmla="*/ 246 h 248"/>
              <a:gd name="T4" fmla="*/ 30 w 153"/>
              <a:gd name="T5" fmla="*/ 238 h 248"/>
              <a:gd name="T6" fmla="*/ 33 w 153"/>
              <a:gd name="T7" fmla="*/ 234 h 248"/>
              <a:gd name="T8" fmla="*/ 33 w 153"/>
              <a:gd name="T9" fmla="*/ 224 h 248"/>
              <a:gd name="T10" fmla="*/ 35 w 153"/>
              <a:gd name="T11" fmla="*/ 215 h 248"/>
              <a:gd name="T12" fmla="*/ 31 w 153"/>
              <a:gd name="T13" fmla="*/ 208 h 248"/>
              <a:gd name="T14" fmla="*/ 27 w 153"/>
              <a:gd name="T15" fmla="*/ 198 h 248"/>
              <a:gd name="T16" fmla="*/ 27 w 153"/>
              <a:gd name="T17" fmla="*/ 187 h 248"/>
              <a:gd name="T18" fmla="*/ 30 w 153"/>
              <a:gd name="T19" fmla="*/ 175 h 248"/>
              <a:gd name="T20" fmla="*/ 37 w 153"/>
              <a:gd name="T21" fmla="*/ 166 h 248"/>
              <a:gd name="T22" fmla="*/ 42 w 153"/>
              <a:gd name="T23" fmla="*/ 149 h 248"/>
              <a:gd name="T24" fmla="*/ 43 w 153"/>
              <a:gd name="T25" fmla="*/ 136 h 248"/>
              <a:gd name="T26" fmla="*/ 46 w 153"/>
              <a:gd name="T27" fmla="*/ 121 h 248"/>
              <a:gd name="T28" fmla="*/ 45 w 153"/>
              <a:gd name="T29" fmla="*/ 100 h 248"/>
              <a:gd name="T30" fmla="*/ 38 w 153"/>
              <a:gd name="T31" fmla="*/ 90 h 248"/>
              <a:gd name="T32" fmla="*/ 31 w 153"/>
              <a:gd name="T33" fmla="*/ 89 h 248"/>
              <a:gd name="T34" fmla="*/ 22 w 153"/>
              <a:gd name="T35" fmla="*/ 80 h 248"/>
              <a:gd name="T36" fmla="*/ 10 w 153"/>
              <a:gd name="T37" fmla="*/ 78 h 248"/>
              <a:gd name="T38" fmla="*/ 1 w 153"/>
              <a:gd name="T39" fmla="*/ 75 h 248"/>
              <a:gd name="T40" fmla="*/ 19 w 153"/>
              <a:gd name="T41" fmla="*/ 62 h 248"/>
              <a:gd name="T42" fmla="*/ 32 w 153"/>
              <a:gd name="T43" fmla="*/ 55 h 248"/>
              <a:gd name="T44" fmla="*/ 45 w 153"/>
              <a:gd name="T45" fmla="*/ 50 h 248"/>
              <a:gd name="T46" fmla="*/ 58 w 153"/>
              <a:gd name="T47" fmla="*/ 57 h 248"/>
              <a:gd name="T48" fmla="*/ 66 w 153"/>
              <a:gd name="T49" fmla="*/ 80 h 248"/>
              <a:gd name="T50" fmla="*/ 80 w 153"/>
              <a:gd name="T51" fmla="*/ 101 h 248"/>
              <a:gd name="T52" fmla="*/ 82 w 153"/>
              <a:gd name="T53" fmla="*/ 89 h 248"/>
              <a:gd name="T54" fmla="*/ 90 w 153"/>
              <a:gd name="T55" fmla="*/ 66 h 248"/>
              <a:gd name="T56" fmla="*/ 85 w 153"/>
              <a:gd name="T57" fmla="*/ 54 h 248"/>
              <a:gd name="T58" fmla="*/ 78 w 153"/>
              <a:gd name="T59" fmla="*/ 28 h 248"/>
              <a:gd name="T60" fmla="*/ 81 w 153"/>
              <a:gd name="T61" fmla="*/ 8 h 248"/>
              <a:gd name="T62" fmla="*/ 98 w 153"/>
              <a:gd name="T63" fmla="*/ 12 h 248"/>
              <a:gd name="T64" fmla="*/ 116 w 153"/>
              <a:gd name="T65" fmla="*/ 15 h 248"/>
              <a:gd name="T66" fmla="*/ 130 w 153"/>
              <a:gd name="T67" fmla="*/ 10 h 248"/>
              <a:gd name="T68" fmla="*/ 142 w 153"/>
              <a:gd name="T69" fmla="*/ 4 h 248"/>
              <a:gd name="T70" fmla="*/ 149 w 153"/>
              <a:gd name="T71" fmla="*/ 1 h 248"/>
              <a:gd name="T72" fmla="*/ 150 w 153"/>
              <a:gd name="T73" fmla="*/ 11 h 248"/>
              <a:gd name="T74" fmla="*/ 150 w 153"/>
              <a:gd name="T75" fmla="*/ 20 h 248"/>
              <a:gd name="T76" fmla="*/ 151 w 153"/>
              <a:gd name="T77" fmla="*/ 28 h 248"/>
              <a:gd name="T78" fmla="*/ 151 w 153"/>
              <a:gd name="T79" fmla="*/ 34 h 248"/>
              <a:gd name="T80" fmla="*/ 151 w 153"/>
              <a:gd name="T81" fmla="*/ 43 h 248"/>
              <a:gd name="T82" fmla="*/ 151 w 153"/>
              <a:gd name="T83" fmla="*/ 50 h 248"/>
              <a:gd name="T84" fmla="*/ 153 w 153"/>
              <a:gd name="T85" fmla="*/ 54 h 248"/>
              <a:gd name="T86" fmla="*/ 153 w 153"/>
              <a:gd name="T87" fmla="*/ 59 h 248"/>
              <a:gd name="T88" fmla="*/ 141 w 153"/>
              <a:gd name="T89" fmla="*/ 85 h 248"/>
              <a:gd name="T90" fmla="*/ 126 w 153"/>
              <a:gd name="T91" fmla="*/ 98 h 248"/>
              <a:gd name="T92" fmla="*/ 113 w 153"/>
              <a:gd name="T93" fmla="*/ 102 h 248"/>
              <a:gd name="T94" fmla="*/ 96 w 153"/>
              <a:gd name="T95" fmla="*/ 119 h 248"/>
              <a:gd name="T96" fmla="*/ 87 w 153"/>
              <a:gd name="T97" fmla="*/ 129 h 248"/>
              <a:gd name="T98" fmla="*/ 77 w 153"/>
              <a:gd name="T99" fmla="*/ 138 h 248"/>
              <a:gd name="T100" fmla="*/ 73 w 153"/>
              <a:gd name="T101" fmla="*/ 143 h 248"/>
              <a:gd name="T102" fmla="*/ 70 w 153"/>
              <a:gd name="T103" fmla="*/ 150 h 248"/>
              <a:gd name="T104" fmla="*/ 76 w 153"/>
              <a:gd name="T105" fmla="*/ 161 h 248"/>
              <a:gd name="T106" fmla="*/ 78 w 153"/>
              <a:gd name="T107" fmla="*/ 179 h 248"/>
              <a:gd name="T108" fmla="*/ 82 w 153"/>
              <a:gd name="T109" fmla="*/ 192 h 248"/>
              <a:gd name="T110" fmla="*/ 79 w 153"/>
              <a:gd name="T111" fmla="*/ 214 h 248"/>
              <a:gd name="T112" fmla="*/ 48 w 153"/>
              <a:gd name="T113" fmla="*/ 229 h 248"/>
              <a:gd name="T114" fmla="*/ 46 w 153"/>
              <a:gd name="T115" fmla="*/ 24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48">
                <a:moveTo>
                  <a:pt x="46" y="247"/>
                </a:moveTo>
                <a:cubicBezTo>
                  <a:pt x="46" y="247"/>
                  <a:pt x="45" y="246"/>
                  <a:pt x="45" y="246"/>
                </a:cubicBezTo>
                <a:cubicBezTo>
                  <a:pt x="44" y="246"/>
                  <a:pt x="45" y="248"/>
                  <a:pt x="44" y="248"/>
                </a:cubicBezTo>
                <a:cubicBezTo>
                  <a:pt x="43" y="248"/>
                  <a:pt x="42" y="248"/>
                  <a:pt x="42" y="248"/>
                </a:cubicBezTo>
                <a:cubicBezTo>
                  <a:pt x="41" y="247"/>
                  <a:pt x="39" y="246"/>
                  <a:pt x="39" y="246"/>
                </a:cubicBezTo>
                <a:cubicBezTo>
                  <a:pt x="39" y="246"/>
                  <a:pt x="39" y="246"/>
                  <a:pt x="39" y="246"/>
                </a:cubicBezTo>
                <a:cubicBezTo>
                  <a:pt x="39" y="246"/>
                  <a:pt x="38" y="246"/>
                  <a:pt x="37" y="246"/>
                </a:cubicBezTo>
                <a:cubicBezTo>
                  <a:pt x="36" y="246"/>
                  <a:pt x="35" y="244"/>
                  <a:pt x="33" y="242"/>
                </a:cubicBezTo>
                <a:cubicBezTo>
                  <a:pt x="31" y="241"/>
                  <a:pt x="30" y="238"/>
                  <a:pt x="30" y="238"/>
                </a:cubicBezTo>
                <a:cubicBezTo>
                  <a:pt x="30" y="238"/>
                  <a:pt x="31" y="238"/>
                  <a:pt x="32" y="237"/>
                </a:cubicBezTo>
                <a:cubicBezTo>
                  <a:pt x="32" y="237"/>
                  <a:pt x="32" y="237"/>
                  <a:pt x="32" y="236"/>
                </a:cubicBezTo>
                <a:cubicBezTo>
                  <a:pt x="32" y="235"/>
                  <a:pt x="33" y="234"/>
                  <a:pt x="33" y="234"/>
                </a:cubicBezTo>
                <a:cubicBezTo>
                  <a:pt x="33" y="234"/>
                  <a:pt x="33" y="231"/>
                  <a:pt x="33" y="231"/>
                </a:cubicBezTo>
                <a:cubicBezTo>
                  <a:pt x="32" y="230"/>
                  <a:pt x="33" y="229"/>
                  <a:pt x="33" y="229"/>
                </a:cubicBezTo>
                <a:cubicBezTo>
                  <a:pt x="33" y="228"/>
                  <a:pt x="33" y="224"/>
                  <a:pt x="33" y="224"/>
                </a:cubicBezTo>
                <a:cubicBezTo>
                  <a:pt x="33" y="223"/>
                  <a:pt x="33" y="221"/>
                  <a:pt x="34" y="221"/>
                </a:cubicBezTo>
                <a:cubicBezTo>
                  <a:pt x="34" y="220"/>
                  <a:pt x="34" y="219"/>
                  <a:pt x="34" y="219"/>
                </a:cubicBezTo>
                <a:cubicBezTo>
                  <a:pt x="35" y="218"/>
                  <a:pt x="35" y="215"/>
                  <a:pt x="35" y="215"/>
                </a:cubicBezTo>
                <a:cubicBezTo>
                  <a:pt x="35" y="215"/>
                  <a:pt x="33" y="213"/>
                  <a:pt x="33" y="212"/>
                </a:cubicBezTo>
                <a:cubicBezTo>
                  <a:pt x="32" y="212"/>
                  <a:pt x="33" y="211"/>
                  <a:pt x="33" y="211"/>
                </a:cubicBezTo>
                <a:cubicBezTo>
                  <a:pt x="33" y="210"/>
                  <a:pt x="31" y="208"/>
                  <a:pt x="31" y="208"/>
                </a:cubicBezTo>
                <a:cubicBezTo>
                  <a:pt x="31" y="207"/>
                  <a:pt x="29" y="205"/>
                  <a:pt x="29" y="205"/>
                </a:cubicBezTo>
                <a:cubicBezTo>
                  <a:pt x="29" y="205"/>
                  <a:pt x="28" y="203"/>
                  <a:pt x="27" y="203"/>
                </a:cubicBezTo>
                <a:cubicBezTo>
                  <a:pt x="27" y="202"/>
                  <a:pt x="27" y="199"/>
                  <a:pt x="27" y="198"/>
                </a:cubicBezTo>
                <a:cubicBezTo>
                  <a:pt x="26" y="197"/>
                  <a:pt x="26" y="195"/>
                  <a:pt x="26" y="194"/>
                </a:cubicBezTo>
                <a:cubicBezTo>
                  <a:pt x="26" y="194"/>
                  <a:pt x="27" y="190"/>
                  <a:pt x="27" y="190"/>
                </a:cubicBezTo>
                <a:cubicBezTo>
                  <a:pt x="27" y="187"/>
                  <a:pt x="27" y="187"/>
                  <a:pt x="27" y="187"/>
                </a:cubicBezTo>
                <a:cubicBezTo>
                  <a:pt x="27" y="187"/>
                  <a:pt x="26" y="185"/>
                  <a:pt x="26" y="185"/>
                </a:cubicBezTo>
                <a:cubicBezTo>
                  <a:pt x="26" y="185"/>
                  <a:pt x="25" y="181"/>
                  <a:pt x="27" y="179"/>
                </a:cubicBezTo>
                <a:cubicBezTo>
                  <a:pt x="29" y="177"/>
                  <a:pt x="30" y="176"/>
                  <a:pt x="30" y="175"/>
                </a:cubicBezTo>
                <a:cubicBezTo>
                  <a:pt x="30" y="174"/>
                  <a:pt x="31" y="173"/>
                  <a:pt x="31" y="172"/>
                </a:cubicBezTo>
                <a:cubicBezTo>
                  <a:pt x="32" y="172"/>
                  <a:pt x="35" y="171"/>
                  <a:pt x="36" y="170"/>
                </a:cubicBezTo>
                <a:cubicBezTo>
                  <a:pt x="37" y="169"/>
                  <a:pt x="37" y="167"/>
                  <a:pt x="37" y="166"/>
                </a:cubicBezTo>
                <a:cubicBezTo>
                  <a:pt x="37" y="165"/>
                  <a:pt x="38" y="163"/>
                  <a:pt x="39" y="162"/>
                </a:cubicBezTo>
                <a:cubicBezTo>
                  <a:pt x="40" y="161"/>
                  <a:pt x="39" y="157"/>
                  <a:pt x="40" y="154"/>
                </a:cubicBezTo>
                <a:cubicBezTo>
                  <a:pt x="42" y="151"/>
                  <a:pt x="39" y="150"/>
                  <a:pt x="42" y="149"/>
                </a:cubicBezTo>
                <a:cubicBezTo>
                  <a:pt x="45" y="148"/>
                  <a:pt x="46" y="146"/>
                  <a:pt x="47" y="144"/>
                </a:cubicBezTo>
                <a:cubicBezTo>
                  <a:pt x="47" y="141"/>
                  <a:pt x="45" y="138"/>
                  <a:pt x="44" y="138"/>
                </a:cubicBezTo>
                <a:cubicBezTo>
                  <a:pt x="43" y="138"/>
                  <a:pt x="43" y="138"/>
                  <a:pt x="43" y="136"/>
                </a:cubicBezTo>
                <a:cubicBezTo>
                  <a:pt x="43" y="134"/>
                  <a:pt x="41" y="129"/>
                  <a:pt x="41" y="127"/>
                </a:cubicBezTo>
                <a:cubicBezTo>
                  <a:pt x="40" y="125"/>
                  <a:pt x="40" y="123"/>
                  <a:pt x="41" y="123"/>
                </a:cubicBezTo>
                <a:cubicBezTo>
                  <a:pt x="43" y="123"/>
                  <a:pt x="46" y="123"/>
                  <a:pt x="46" y="121"/>
                </a:cubicBezTo>
                <a:cubicBezTo>
                  <a:pt x="46" y="118"/>
                  <a:pt x="44" y="113"/>
                  <a:pt x="44" y="110"/>
                </a:cubicBezTo>
                <a:cubicBezTo>
                  <a:pt x="44" y="107"/>
                  <a:pt x="44" y="105"/>
                  <a:pt x="45" y="105"/>
                </a:cubicBezTo>
                <a:cubicBezTo>
                  <a:pt x="46" y="104"/>
                  <a:pt x="46" y="100"/>
                  <a:pt x="45" y="100"/>
                </a:cubicBezTo>
                <a:cubicBezTo>
                  <a:pt x="44" y="99"/>
                  <a:pt x="43" y="98"/>
                  <a:pt x="43" y="96"/>
                </a:cubicBezTo>
                <a:cubicBezTo>
                  <a:pt x="43" y="94"/>
                  <a:pt x="42" y="92"/>
                  <a:pt x="41" y="91"/>
                </a:cubicBezTo>
                <a:cubicBezTo>
                  <a:pt x="39" y="90"/>
                  <a:pt x="38" y="90"/>
                  <a:pt x="38" y="90"/>
                </a:cubicBezTo>
                <a:cubicBezTo>
                  <a:pt x="38" y="90"/>
                  <a:pt x="37" y="90"/>
                  <a:pt x="36" y="89"/>
                </a:cubicBezTo>
                <a:cubicBezTo>
                  <a:pt x="35" y="89"/>
                  <a:pt x="35" y="89"/>
                  <a:pt x="34" y="89"/>
                </a:cubicBezTo>
                <a:cubicBezTo>
                  <a:pt x="34" y="89"/>
                  <a:pt x="31" y="89"/>
                  <a:pt x="31" y="89"/>
                </a:cubicBezTo>
                <a:cubicBezTo>
                  <a:pt x="30" y="88"/>
                  <a:pt x="27" y="86"/>
                  <a:pt x="27" y="84"/>
                </a:cubicBezTo>
                <a:cubicBezTo>
                  <a:pt x="26" y="81"/>
                  <a:pt x="25" y="80"/>
                  <a:pt x="24" y="80"/>
                </a:cubicBezTo>
                <a:cubicBezTo>
                  <a:pt x="23" y="80"/>
                  <a:pt x="22" y="80"/>
                  <a:pt x="22" y="80"/>
                </a:cubicBezTo>
                <a:cubicBezTo>
                  <a:pt x="22" y="80"/>
                  <a:pt x="20" y="77"/>
                  <a:pt x="19" y="78"/>
                </a:cubicBezTo>
                <a:cubicBezTo>
                  <a:pt x="18" y="79"/>
                  <a:pt x="15" y="81"/>
                  <a:pt x="14" y="80"/>
                </a:cubicBezTo>
                <a:cubicBezTo>
                  <a:pt x="12" y="79"/>
                  <a:pt x="10" y="78"/>
                  <a:pt x="10" y="78"/>
                </a:cubicBezTo>
                <a:cubicBezTo>
                  <a:pt x="10" y="78"/>
                  <a:pt x="10" y="77"/>
                  <a:pt x="11" y="76"/>
                </a:cubicBezTo>
                <a:cubicBezTo>
                  <a:pt x="11" y="75"/>
                  <a:pt x="9" y="73"/>
                  <a:pt x="9" y="73"/>
                </a:cubicBezTo>
                <a:cubicBezTo>
                  <a:pt x="8" y="73"/>
                  <a:pt x="1" y="75"/>
                  <a:pt x="1" y="75"/>
                </a:cubicBezTo>
                <a:cubicBezTo>
                  <a:pt x="0" y="74"/>
                  <a:pt x="1" y="70"/>
                  <a:pt x="4" y="68"/>
                </a:cubicBezTo>
                <a:cubicBezTo>
                  <a:pt x="7" y="66"/>
                  <a:pt x="8" y="67"/>
                  <a:pt x="10" y="66"/>
                </a:cubicBezTo>
                <a:cubicBezTo>
                  <a:pt x="12" y="65"/>
                  <a:pt x="18" y="63"/>
                  <a:pt x="19" y="62"/>
                </a:cubicBezTo>
                <a:cubicBezTo>
                  <a:pt x="21" y="61"/>
                  <a:pt x="22" y="59"/>
                  <a:pt x="24" y="59"/>
                </a:cubicBezTo>
                <a:cubicBezTo>
                  <a:pt x="26" y="59"/>
                  <a:pt x="28" y="58"/>
                  <a:pt x="28" y="57"/>
                </a:cubicBezTo>
                <a:cubicBezTo>
                  <a:pt x="29" y="56"/>
                  <a:pt x="31" y="57"/>
                  <a:pt x="32" y="55"/>
                </a:cubicBezTo>
                <a:cubicBezTo>
                  <a:pt x="33" y="54"/>
                  <a:pt x="37" y="54"/>
                  <a:pt x="37" y="54"/>
                </a:cubicBezTo>
                <a:cubicBezTo>
                  <a:pt x="37" y="54"/>
                  <a:pt x="39" y="53"/>
                  <a:pt x="40" y="51"/>
                </a:cubicBezTo>
                <a:cubicBezTo>
                  <a:pt x="40" y="50"/>
                  <a:pt x="43" y="51"/>
                  <a:pt x="45" y="50"/>
                </a:cubicBezTo>
                <a:cubicBezTo>
                  <a:pt x="46" y="49"/>
                  <a:pt x="47" y="48"/>
                  <a:pt x="47" y="48"/>
                </a:cubicBezTo>
                <a:cubicBezTo>
                  <a:pt x="53" y="51"/>
                  <a:pt x="53" y="51"/>
                  <a:pt x="53" y="51"/>
                </a:cubicBezTo>
                <a:cubicBezTo>
                  <a:pt x="53" y="51"/>
                  <a:pt x="57" y="53"/>
                  <a:pt x="58" y="57"/>
                </a:cubicBezTo>
                <a:cubicBezTo>
                  <a:pt x="58" y="61"/>
                  <a:pt x="58" y="67"/>
                  <a:pt x="58" y="67"/>
                </a:cubicBezTo>
                <a:cubicBezTo>
                  <a:pt x="58" y="67"/>
                  <a:pt x="59" y="71"/>
                  <a:pt x="59" y="71"/>
                </a:cubicBezTo>
                <a:cubicBezTo>
                  <a:pt x="59" y="71"/>
                  <a:pt x="64" y="75"/>
                  <a:pt x="66" y="80"/>
                </a:cubicBezTo>
                <a:cubicBezTo>
                  <a:pt x="67" y="84"/>
                  <a:pt x="69" y="90"/>
                  <a:pt x="71" y="93"/>
                </a:cubicBezTo>
                <a:cubicBezTo>
                  <a:pt x="73" y="95"/>
                  <a:pt x="75" y="97"/>
                  <a:pt x="76" y="98"/>
                </a:cubicBezTo>
                <a:cubicBezTo>
                  <a:pt x="78" y="99"/>
                  <a:pt x="80" y="101"/>
                  <a:pt x="80" y="101"/>
                </a:cubicBezTo>
                <a:cubicBezTo>
                  <a:pt x="80" y="101"/>
                  <a:pt x="82" y="98"/>
                  <a:pt x="82" y="97"/>
                </a:cubicBezTo>
                <a:cubicBezTo>
                  <a:pt x="82" y="96"/>
                  <a:pt x="82" y="91"/>
                  <a:pt x="82" y="91"/>
                </a:cubicBezTo>
                <a:cubicBezTo>
                  <a:pt x="82" y="89"/>
                  <a:pt x="82" y="89"/>
                  <a:pt x="82" y="89"/>
                </a:cubicBezTo>
                <a:cubicBezTo>
                  <a:pt x="82" y="89"/>
                  <a:pt x="87" y="86"/>
                  <a:pt x="88" y="84"/>
                </a:cubicBezTo>
                <a:cubicBezTo>
                  <a:pt x="89" y="81"/>
                  <a:pt x="91" y="73"/>
                  <a:pt x="91" y="71"/>
                </a:cubicBezTo>
                <a:cubicBezTo>
                  <a:pt x="91" y="69"/>
                  <a:pt x="90" y="66"/>
                  <a:pt x="90" y="66"/>
                </a:cubicBezTo>
                <a:cubicBezTo>
                  <a:pt x="88" y="66"/>
                  <a:pt x="88" y="66"/>
                  <a:pt x="88" y="66"/>
                </a:cubicBezTo>
                <a:cubicBezTo>
                  <a:pt x="86" y="64"/>
                  <a:pt x="86" y="64"/>
                  <a:pt x="86" y="64"/>
                </a:cubicBezTo>
                <a:cubicBezTo>
                  <a:pt x="86" y="64"/>
                  <a:pt x="87" y="56"/>
                  <a:pt x="85" y="54"/>
                </a:cubicBezTo>
                <a:cubicBezTo>
                  <a:pt x="83" y="52"/>
                  <a:pt x="81" y="50"/>
                  <a:pt x="80" y="47"/>
                </a:cubicBezTo>
                <a:cubicBezTo>
                  <a:pt x="79" y="43"/>
                  <a:pt x="79" y="36"/>
                  <a:pt x="79" y="36"/>
                </a:cubicBezTo>
                <a:cubicBezTo>
                  <a:pt x="79" y="36"/>
                  <a:pt x="79" y="30"/>
                  <a:pt x="78" y="28"/>
                </a:cubicBezTo>
                <a:cubicBezTo>
                  <a:pt x="78" y="26"/>
                  <a:pt x="78" y="25"/>
                  <a:pt x="79" y="23"/>
                </a:cubicBezTo>
                <a:cubicBezTo>
                  <a:pt x="80" y="21"/>
                  <a:pt x="81" y="19"/>
                  <a:pt x="81" y="17"/>
                </a:cubicBezTo>
                <a:cubicBezTo>
                  <a:pt x="81" y="16"/>
                  <a:pt x="81" y="8"/>
                  <a:pt x="81" y="8"/>
                </a:cubicBezTo>
                <a:cubicBezTo>
                  <a:pt x="81" y="8"/>
                  <a:pt x="83" y="8"/>
                  <a:pt x="86" y="10"/>
                </a:cubicBezTo>
                <a:cubicBezTo>
                  <a:pt x="89" y="11"/>
                  <a:pt x="90" y="11"/>
                  <a:pt x="92" y="11"/>
                </a:cubicBezTo>
                <a:cubicBezTo>
                  <a:pt x="94" y="10"/>
                  <a:pt x="96" y="10"/>
                  <a:pt x="98" y="12"/>
                </a:cubicBezTo>
                <a:cubicBezTo>
                  <a:pt x="100" y="15"/>
                  <a:pt x="106" y="14"/>
                  <a:pt x="106" y="13"/>
                </a:cubicBezTo>
                <a:cubicBezTo>
                  <a:pt x="107" y="13"/>
                  <a:pt x="111" y="12"/>
                  <a:pt x="111" y="12"/>
                </a:cubicBezTo>
                <a:cubicBezTo>
                  <a:pt x="111" y="12"/>
                  <a:pt x="113" y="16"/>
                  <a:pt x="116" y="15"/>
                </a:cubicBezTo>
                <a:cubicBezTo>
                  <a:pt x="118" y="14"/>
                  <a:pt x="120" y="13"/>
                  <a:pt x="120" y="11"/>
                </a:cubicBezTo>
                <a:cubicBezTo>
                  <a:pt x="121" y="10"/>
                  <a:pt x="124" y="7"/>
                  <a:pt x="125" y="8"/>
                </a:cubicBezTo>
                <a:cubicBezTo>
                  <a:pt x="127" y="9"/>
                  <a:pt x="128" y="11"/>
                  <a:pt x="130" y="10"/>
                </a:cubicBezTo>
                <a:cubicBezTo>
                  <a:pt x="132" y="8"/>
                  <a:pt x="131" y="7"/>
                  <a:pt x="135" y="7"/>
                </a:cubicBezTo>
                <a:cubicBezTo>
                  <a:pt x="138" y="8"/>
                  <a:pt x="139" y="5"/>
                  <a:pt x="139" y="5"/>
                </a:cubicBezTo>
                <a:cubicBezTo>
                  <a:pt x="139" y="5"/>
                  <a:pt x="140" y="3"/>
                  <a:pt x="142" y="4"/>
                </a:cubicBezTo>
                <a:cubicBezTo>
                  <a:pt x="143" y="4"/>
                  <a:pt x="146" y="3"/>
                  <a:pt x="146" y="2"/>
                </a:cubicBezTo>
                <a:cubicBezTo>
                  <a:pt x="147" y="1"/>
                  <a:pt x="148" y="0"/>
                  <a:pt x="149" y="0"/>
                </a:cubicBezTo>
                <a:cubicBezTo>
                  <a:pt x="149" y="0"/>
                  <a:pt x="149" y="1"/>
                  <a:pt x="149" y="1"/>
                </a:cubicBezTo>
                <a:cubicBezTo>
                  <a:pt x="150" y="2"/>
                  <a:pt x="150" y="3"/>
                  <a:pt x="149" y="4"/>
                </a:cubicBezTo>
                <a:cubicBezTo>
                  <a:pt x="148" y="5"/>
                  <a:pt x="147" y="7"/>
                  <a:pt x="148" y="8"/>
                </a:cubicBezTo>
                <a:cubicBezTo>
                  <a:pt x="149" y="9"/>
                  <a:pt x="150" y="9"/>
                  <a:pt x="150" y="11"/>
                </a:cubicBezTo>
                <a:cubicBezTo>
                  <a:pt x="149" y="12"/>
                  <a:pt x="149" y="15"/>
                  <a:pt x="150" y="15"/>
                </a:cubicBezTo>
                <a:cubicBezTo>
                  <a:pt x="151" y="16"/>
                  <a:pt x="151" y="17"/>
                  <a:pt x="150" y="18"/>
                </a:cubicBezTo>
                <a:cubicBezTo>
                  <a:pt x="150" y="18"/>
                  <a:pt x="149" y="19"/>
                  <a:pt x="150" y="20"/>
                </a:cubicBezTo>
                <a:cubicBezTo>
                  <a:pt x="151" y="21"/>
                  <a:pt x="150" y="22"/>
                  <a:pt x="149" y="23"/>
                </a:cubicBezTo>
                <a:cubicBezTo>
                  <a:pt x="149" y="23"/>
                  <a:pt x="148" y="25"/>
                  <a:pt x="149" y="25"/>
                </a:cubicBezTo>
                <a:cubicBezTo>
                  <a:pt x="149" y="25"/>
                  <a:pt x="151" y="27"/>
                  <a:pt x="151" y="28"/>
                </a:cubicBezTo>
                <a:cubicBezTo>
                  <a:pt x="151" y="28"/>
                  <a:pt x="152" y="30"/>
                  <a:pt x="150" y="30"/>
                </a:cubicBezTo>
                <a:cubicBezTo>
                  <a:pt x="149" y="30"/>
                  <a:pt x="149" y="32"/>
                  <a:pt x="149" y="32"/>
                </a:cubicBezTo>
                <a:cubicBezTo>
                  <a:pt x="150" y="32"/>
                  <a:pt x="151" y="33"/>
                  <a:pt x="151" y="34"/>
                </a:cubicBezTo>
                <a:cubicBezTo>
                  <a:pt x="150" y="36"/>
                  <a:pt x="151" y="36"/>
                  <a:pt x="151" y="36"/>
                </a:cubicBezTo>
                <a:cubicBezTo>
                  <a:pt x="151" y="36"/>
                  <a:pt x="153" y="37"/>
                  <a:pt x="151" y="38"/>
                </a:cubicBezTo>
                <a:cubicBezTo>
                  <a:pt x="149" y="40"/>
                  <a:pt x="150" y="42"/>
                  <a:pt x="151" y="43"/>
                </a:cubicBezTo>
                <a:cubicBezTo>
                  <a:pt x="151" y="44"/>
                  <a:pt x="150" y="45"/>
                  <a:pt x="150" y="46"/>
                </a:cubicBezTo>
                <a:cubicBezTo>
                  <a:pt x="150" y="47"/>
                  <a:pt x="151" y="47"/>
                  <a:pt x="151" y="47"/>
                </a:cubicBezTo>
                <a:cubicBezTo>
                  <a:pt x="152" y="48"/>
                  <a:pt x="152" y="49"/>
                  <a:pt x="151" y="50"/>
                </a:cubicBezTo>
                <a:cubicBezTo>
                  <a:pt x="151" y="50"/>
                  <a:pt x="150" y="50"/>
                  <a:pt x="150" y="51"/>
                </a:cubicBezTo>
                <a:cubicBezTo>
                  <a:pt x="149" y="52"/>
                  <a:pt x="151" y="53"/>
                  <a:pt x="151" y="53"/>
                </a:cubicBezTo>
                <a:cubicBezTo>
                  <a:pt x="151" y="53"/>
                  <a:pt x="153" y="53"/>
                  <a:pt x="153" y="54"/>
                </a:cubicBezTo>
                <a:cubicBezTo>
                  <a:pt x="153" y="55"/>
                  <a:pt x="152" y="55"/>
                  <a:pt x="151" y="56"/>
                </a:cubicBezTo>
                <a:cubicBezTo>
                  <a:pt x="149" y="57"/>
                  <a:pt x="150" y="57"/>
                  <a:pt x="151" y="57"/>
                </a:cubicBezTo>
                <a:cubicBezTo>
                  <a:pt x="153" y="57"/>
                  <a:pt x="153" y="58"/>
                  <a:pt x="153" y="59"/>
                </a:cubicBezTo>
                <a:cubicBezTo>
                  <a:pt x="153" y="60"/>
                  <a:pt x="152" y="66"/>
                  <a:pt x="152" y="67"/>
                </a:cubicBezTo>
                <a:cubicBezTo>
                  <a:pt x="151" y="68"/>
                  <a:pt x="149" y="73"/>
                  <a:pt x="147" y="75"/>
                </a:cubicBezTo>
                <a:cubicBezTo>
                  <a:pt x="146" y="77"/>
                  <a:pt x="142" y="83"/>
                  <a:pt x="141" y="85"/>
                </a:cubicBezTo>
                <a:cubicBezTo>
                  <a:pt x="140" y="86"/>
                  <a:pt x="137" y="89"/>
                  <a:pt x="136" y="89"/>
                </a:cubicBezTo>
                <a:cubicBezTo>
                  <a:pt x="135" y="90"/>
                  <a:pt x="134" y="91"/>
                  <a:pt x="132" y="92"/>
                </a:cubicBezTo>
                <a:cubicBezTo>
                  <a:pt x="131" y="93"/>
                  <a:pt x="128" y="97"/>
                  <a:pt x="126" y="98"/>
                </a:cubicBezTo>
                <a:cubicBezTo>
                  <a:pt x="125" y="99"/>
                  <a:pt x="123" y="98"/>
                  <a:pt x="122" y="97"/>
                </a:cubicBezTo>
                <a:cubicBezTo>
                  <a:pt x="122" y="97"/>
                  <a:pt x="117" y="100"/>
                  <a:pt x="117" y="100"/>
                </a:cubicBezTo>
                <a:cubicBezTo>
                  <a:pt x="117" y="100"/>
                  <a:pt x="115" y="102"/>
                  <a:pt x="113" y="102"/>
                </a:cubicBezTo>
                <a:cubicBezTo>
                  <a:pt x="112" y="102"/>
                  <a:pt x="110" y="105"/>
                  <a:pt x="109" y="106"/>
                </a:cubicBezTo>
                <a:cubicBezTo>
                  <a:pt x="108" y="107"/>
                  <a:pt x="105" y="110"/>
                  <a:pt x="103" y="111"/>
                </a:cubicBezTo>
                <a:cubicBezTo>
                  <a:pt x="101" y="112"/>
                  <a:pt x="96" y="119"/>
                  <a:pt x="96" y="119"/>
                </a:cubicBezTo>
                <a:cubicBezTo>
                  <a:pt x="96" y="119"/>
                  <a:pt x="93" y="124"/>
                  <a:pt x="93" y="125"/>
                </a:cubicBezTo>
                <a:cubicBezTo>
                  <a:pt x="92" y="125"/>
                  <a:pt x="90" y="127"/>
                  <a:pt x="88" y="127"/>
                </a:cubicBezTo>
                <a:cubicBezTo>
                  <a:pt x="87" y="127"/>
                  <a:pt x="87" y="128"/>
                  <a:pt x="87" y="129"/>
                </a:cubicBezTo>
                <a:cubicBezTo>
                  <a:pt x="87" y="130"/>
                  <a:pt x="85" y="131"/>
                  <a:pt x="84" y="132"/>
                </a:cubicBezTo>
                <a:cubicBezTo>
                  <a:pt x="83" y="132"/>
                  <a:pt x="81" y="135"/>
                  <a:pt x="80" y="137"/>
                </a:cubicBezTo>
                <a:cubicBezTo>
                  <a:pt x="79" y="138"/>
                  <a:pt x="78" y="138"/>
                  <a:pt x="77" y="138"/>
                </a:cubicBezTo>
                <a:cubicBezTo>
                  <a:pt x="76" y="139"/>
                  <a:pt x="76" y="141"/>
                  <a:pt x="76" y="142"/>
                </a:cubicBezTo>
                <a:cubicBezTo>
                  <a:pt x="76" y="142"/>
                  <a:pt x="75" y="143"/>
                  <a:pt x="75" y="142"/>
                </a:cubicBezTo>
                <a:cubicBezTo>
                  <a:pt x="74" y="142"/>
                  <a:pt x="73" y="142"/>
                  <a:pt x="73" y="143"/>
                </a:cubicBezTo>
                <a:cubicBezTo>
                  <a:pt x="73" y="144"/>
                  <a:pt x="72" y="144"/>
                  <a:pt x="71" y="145"/>
                </a:cubicBezTo>
                <a:cubicBezTo>
                  <a:pt x="70" y="146"/>
                  <a:pt x="70" y="147"/>
                  <a:pt x="70" y="147"/>
                </a:cubicBezTo>
                <a:cubicBezTo>
                  <a:pt x="71" y="148"/>
                  <a:pt x="71" y="148"/>
                  <a:pt x="70" y="150"/>
                </a:cubicBezTo>
                <a:cubicBezTo>
                  <a:pt x="70" y="152"/>
                  <a:pt x="71" y="151"/>
                  <a:pt x="73" y="152"/>
                </a:cubicBezTo>
                <a:cubicBezTo>
                  <a:pt x="74" y="153"/>
                  <a:pt x="74" y="156"/>
                  <a:pt x="75" y="156"/>
                </a:cubicBezTo>
                <a:cubicBezTo>
                  <a:pt x="75" y="157"/>
                  <a:pt x="76" y="160"/>
                  <a:pt x="76" y="161"/>
                </a:cubicBezTo>
                <a:cubicBezTo>
                  <a:pt x="76" y="162"/>
                  <a:pt x="75" y="165"/>
                  <a:pt x="76" y="166"/>
                </a:cubicBezTo>
                <a:cubicBezTo>
                  <a:pt x="77" y="167"/>
                  <a:pt x="77" y="168"/>
                  <a:pt x="77" y="170"/>
                </a:cubicBezTo>
                <a:cubicBezTo>
                  <a:pt x="77" y="172"/>
                  <a:pt x="78" y="177"/>
                  <a:pt x="78" y="179"/>
                </a:cubicBezTo>
                <a:cubicBezTo>
                  <a:pt x="78" y="181"/>
                  <a:pt x="79" y="180"/>
                  <a:pt x="80" y="180"/>
                </a:cubicBezTo>
                <a:cubicBezTo>
                  <a:pt x="82" y="179"/>
                  <a:pt x="81" y="182"/>
                  <a:pt x="82" y="183"/>
                </a:cubicBezTo>
                <a:cubicBezTo>
                  <a:pt x="82" y="185"/>
                  <a:pt x="81" y="189"/>
                  <a:pt x="82" y="192"/>
                </a:cubicBezTo>
                <a:cubicBezTo>
                  <a:pt x="82" y="194"/>
                  <a:pt x="80" y="194"/>
                  <a:pt x="79" y="195"/>
                </a:cubicBezTo>
                <a:cubicBezTo>
                  <a:pt x="79" y="197"/>
                  <a:pt x="80" y="204"/>
                  <a:pt x="80" y="205"/>
                </a:cubicBezTo>
                <a:cubicBezTo>
                  <a:pt x="80" y="206"/>
                  <a:pt x="80" y="212"/>
                  <a:pt x="79" y="214"/>
                </a:cubicBezTo>
                <a:cubicBezTo>
                  <a:pt x="77" y="216"/>
                  <a:pt x="74" y="218"/>
                  <a:pt x="70" y="220"/>
                </a:cubicBezTo>
                <a:cubicBezTo>
                  <a:pt x="66" y="223"/>
                  <a:pt x="60" y="225"/>
                  <a:pt x="58" y="226"/>
                </a:cubicBezTo>
                <a:cubicBezTo>
                  <a:pt x="56" y="226"/>
                  <a:pt x="50" y="227"/>
                  <a:pt x="48" y="229"/>
                </a:cubicBezTo>
                <a:cubicBezTo>
                  <a:pt x="45" y="231"/>
                  <a:pt x="43" y="233"/>
                  <a:pt x="42" y="237"/>
                </a:cubicBezTo>
                <a:cubicBezTo>
                  <a:pt x="42" y="242"/>
                  <a:pt x="43" y="241"/>
                  <a:pt x="44" y="241"/>
                </a:cubicBezTo>
                <a:cubicBezTo>
                  <a:pt x="46" y="241"/>
                  <a:pt x="46" y="243"/>
                  <a:pt x="46" y="245"/>
                </a:cubicBezTo>
                <a:cubicBezTo>
                  <a:pt x="46" y="245"/>
                  <a:pt x="46" y="246"/>
                  <a:pt x="46" y="247"/>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1" name="Namibia"/>
          <p:cNvSpPr>
            <a:spLocks/>
          </p:cNvSpPr>
          <p:nvPr/>
        </p:nvSpPr>
        <p:spPr bwMode="auto">
          <a:xfrm>
            <a:off x="6509759" y="4627458"/>
            <a:ext cx="369100" cy="396865"/>
          </a:xfrm>
          <a:custGeom>
            <a:avLst/>
            <a:gdLst>
              <a:gd name="T0" fmla="*/ 1 w 180"/>
              <a:gd name="T1" fmla="*/ 15 h 193"/>
              <a:gd name="T2" fmla="*/ 12 w 180"/>
              <a:gd name="T3" fmla="*/ 37 h 193"/>
              <a:gd name="T4" fmla="*/ 18 w 180"/>
              <a:gd name="T5" fmla="*/ 49 h 193"/>
              <a:gd name="T6" fmla="*/ 21 w 180"/>
              <a:gd name="T7" fmla="*/ 60 h 193"/>
              <a:gd name="T8" fmla="*/ 22 w 180"/>
              <a:gd name="T9" fmla="*/ 61 h 193"/>
              <a:gd name="T10" fmla="*/ 35 w 180"/>
              <a:gd name="T11" fmla="*/ 83 h 193"/>
              <a:gd name="T12" fmla="*/ 35 w 180"/>
              <a:gd name="T13" fmla="*/ 101 h 193"/>
              <a:gd name="T14" fmla="*/ 36 w 180"/>
              <a:gd name="T15" fmla="*/ 111 h 193"/>
              <a:gd name="T16" fmla="*/ 41 w 180"/>
              <a:gd name="T17" fmla="*/ 128 h 193"/>
              <a:gd name="T18" fmla="*/ 43 w 180"/>
              <a:gd name="T19" fmla="*/ 149 h 193"/>
              <a:gd name="T20" fmla="*/ 52 w 180"/>
              <a:gd name="T21" fmla="*/ 175 h 193"/>
              <a:gd name="T22" fmla="*/ 60 w 180"/>
              <a:gd name="T23" fmla="*/ 187 h 193"/>
              <a:gd name="T24" fmla="*/ 64 w 180"/>
              <a:gd name="T25" fmla="*/ 187 h 193"/>
              <a:gd name="T26" fmla="*/ 69 w 180"/>
              <a:gd name="T27" fmla="*/ 184 h 193"/>
              <a:gd name="T28" fmla="*/ 70 w 180"/>
              <a:gd name="T29" fmla="*/ 182 h 193"/>
              <a:gd name="T30" fmla="*/ 74 w 180"/>
              <a:gd name="T31" fmla="*/ 180 h 193"/>
              <a:gd name="T32" fmla="*/ 78 w 180"/>
              <a:gd name="T33" fmla="*/ 186 h 193"/>
              <a:gd name="T34" fmla="*/ 83 w 180"/>
              <a:gd name="T35" fmla="*/ 190 h 193"/>
              <a:gd name="T36" fmla="*/ 94 w 180"/>
              <a:gd name="T37" fmla="*/ 193 h 193"/>
              <a:gd name="T38" fmla="*/ 104 w 180"/>
              <a:gd name="T39" fmla="*/ 189 h 193"/>
              <a:gd name="T40" fmla="*/ 109 w 180"/>
              <a:gd name="T41" fmla="*/ 180 h 193"/>
              <a:gd name="T42" fmla="*/ 109 w 180"/>
              <a:gd name="T43" fmla="*/ 167 h 193"/>
              <a:gd name="T44" fmla="*/ 108 w 180"/>
              <a:gd name="T45" fmla="*/ 158 h 193"/>
              <a:gd name="T46" fmla="*/ 108 w 180"/>
              <a:gd name="T47" fmla="*/ 139 h 193"/>
              <a:gd name="T48" fmla="*/ 108 w 180"/>
              <a:gd name="T49" fmla="*/ 105 h 193"/>
              <a:gd name="T50" fmla="*/ 111 w 180"/>
              <a:gd name="T51" fmla="*/ 80 h 193"/>
              <a:gd name="T52" fmla="*/ 122 w 180"/>
              <a:gd name="T53" fmla="*/ 77 h 193"/>
              <a:gd name="T54" fmla="*/ 122 w 180"/>
              <a:gd name="T55" fmla="*/ 34 h 193"/>
              <a:gd name="T56" fmla="*/ 123 w 180"/>
              <a:gd name="T57" fmla="*/ 23 h 193"/>
              <a:gd name="T58" fmla="*/ 130 w 180"/>
              <a:gd name="T59" fmla="*/ 21 h 193"/>
              <a:gd name="T60" fmla="*/ 140 w 180"/>
              <a:gd name="T61" fmla="*/ 18 h 193"/>
              <a:gd name="T62" fmla="*/ 154 w 180"/>
              <a:gd name="T63" fmla="*/ 16 h 193"/>
              <a:gd name="T64" fmla="*/ 161 w 180"/>
              <a:gd name="T65" fmla="*/ 24 h 193"/>
              <a:gd name="T66" fmla="*/ 174 w 180"/>
              <a:gd name="T67" fmla="*/ 17 h 193"/>
              <a:gd name="T68" fmla="*/ 176 w 180"/>
              <a:gd name="T69" fmla="*/ 12 h 193"/>
              <a:gd name="T70" fmla="*/ 169 w 180"/>
              <a:gd name="T71" fmla="*/ 12 h 193"/>
              <a:gd name="T72" fmla="*/ 161 w 180"/>
              <a:gd name="T73" fmla="*/ 11 h 193"/>
              <a:gd name="T74" fmla="*/ 155 w 180"/>
              <a:gd name="T75" fmla="*/ 10 h 193"/>
              <a:gd name="T76" fmla="*/ 146 w 180"/>
              <a:gd name="T77" fmla="*/ 12 h 193"/>
              <a:gd name="T78" fmla="*/ 135 w 180"/>
              <a:gd name="T79" fmla="*/ 16 h 193"/>
              <a:gd name="T80" fmla="*/ 126 w 180"/>
              <a:gd name="T81" fmla="*/ 16 h 193"/>
              <a:gd name="T82" fmla="*/ 115 w 180"/>
              <a:gd name="T83" fmla="*/ 14 h 193"/>
              <a:gd name="T84" fmla="*/ 110 w 180"/>
              <a:gd name="T85" fmla="*/ 14 h 193"/>
              <a:gd name="T86" fmla="*/ 97 w 180"/>
              <a:gd name="T87" fmla="*/ 11 h 193"/>
              <a:gd name="T88" fmla="*/ 93 w 180"/>
              <a:gd name="T89" fmla="*/ 6 h 193"/>
              <a:gd name="T90" fmla="*/ 83 w 180"/>
              <a:gd name="T91" fmla="*/ 5 h 193"/>
              <a:gd name="T92" fmla="*/ 70 w 180"/>
              <a:gd name="T93" fmla="*/ 5 h 193"/>
              <a:gd name="T94" fmla="*/ 55 w 180"/>
              <a:gd name="T95" fmla="*/ 4 h 193"/>
              <a:gd name="T96" fmla="*/ 46 w 180"/>
              <a:gd name="T97" fmla="*/ 6 h 193"/>
              <a:gd name="T98" fmla="*/ 38 w 180"/>
              <a:gd name="T99" fmla="*/ 6 h 193"/>
              <a:gd name="T100" fmla="*/ 30 w 180"/>
              <a:gd name="T101" fmla="*/ 2 h 193"/>
              <a:gd name="T102" fmla="*/ 20 w 180"/>
              <a:gd name="T103" fmla="*/ 1 h 193"/>
              <a:gd name="T104" fmla="*/ 13 w 180"/>
              <a:gd name="T105" fmla="*/ 4 h 193"/>
              <a:gd name="T106" fmla="*/ 4 w 180"/>
              <a:gd name="T107" fmla="*/ 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93">
                <a:moveTo>
                  <a:pt x="1" y="4"/>
                </a:moveTo>
                <a:cubicBezTo>
                  <a:pt x="1" y="5"/>
                  <a:pt x="0" y="5"/>
                  <a:pt x="0" y="6"/>
                </a:cubicBezTo>
                <a:cubicBezTo>
                  <a:pt x="0" y="8"/>
                  <a:pt x="1" y="13"/>
                  <a:pt x="1" y="15"/>
                </a:cubicBezTo>
                <a:cubicBezTo>
                  <a:pt x="1" y="16"/>
                  <a:pt x="2" y="18"/>
                  <a:pt x="3" y="20"/>
                </a:cubicBezTo>
                <a:cubicBezTo>
                  <a:pt x="5" y="21"/>
                  <a:pt x="7" y="27"/>
                  <a:pt x="8" y="29"/>
                </a:cubicBezTo>
                <a:cubicBezTo>
                  <a:pt x="9" y="31"/>
                  <a:pt x="12" y="37"/>
                  <a:pt x="12" y="37"/>
                </a:cubicBezTo>
                <a:cubicBezTo>
                  <a:pt x="17" y="47"/>
                  <a:pt x="17" y="47"/>
                  <a:pt x="17" y="47"/>
                </a:cubicBezTo>
                <a:cubicBezTo>
                  <a:pt x="17" y="47"/>
                  <a:pt x="17" y="47"/>
                  <a:pt x="17" y="47"/>
                </a:cubicBezTo>
                <a:cubicBezTo>
                  <a:pt x="18" y="49"/>
                  <a:pt x="18" y="49"/>
                  <a:pt x="18" y="49"/>
                </a:cubicBezTo>
                <a:cubicBezTo>
                  <a:pt x="18" y="49"/>
                  <a:pt x="21" y="53"/>
                  <a:pt x="21" y="55"/>
                </a:cubicBezTo>
                <a:cubicBezTo>
                  <a:pt x="21" y="56"/>
                  <a:pt x="21" y="58"/>
                  <a:pt x="21" y="60"/>
                </a:cubicBezTo>
                <a:cubicBezTo>
                  <a:pt x="21" y="60"/>
                  <a:pt x="21" y="60"/>
                  <a:pt x="21" y="60"/>
                </a:cubicBezTo>
                <a:cubicBezTo>
                  <a:pt x="21" y="60"/>
                  <a:pt x="21" y="61"/>
                  <a:pt x="22" y="61"/>
                </a:cubicBezTo>
                <a:cubicBezTo>
                  <a:pt x="22" y="61"/>
                  <a:pt x="22" y="61"/>
                  <a:pt x="22" y="61"/>
                </a:cubicBezTo>
                <a:cubicBezTo>
                  <a:pt x="22" y="61"/>
                  <a:pt x="22" y="61"/>
                  <a:pt x="22" y="61"/>
                </a:cubicBezTo>
                <a:cubicBezTo>
                  <a:pt x="22" y="63"/>
                  <a:pt x="24" y="67"/>
                  <a:pt x="24" y="68"/>
                </a:cubicBezTo>
                <a:cubicBezTo>
                  <a:pt x="25" y="69"/>
                  <a:pt x="27" y="73"/>
                  <a:pt x="29" y="76"/>
                </a:cubicBezTo>
                <a:cubicBezTo>
                  <a:pt x="32" y="79"/>
                  <a:pt x="34" y="82"/>
                  <a:pt x="35" y="83"/>
                </a:cubicBezTo>
                <a:cubicBezTo>
                  <a:pt x="36" y="84"/>
                  <a:pt x="37" y="88"/>
                  <a:pt x="37" y="89"/>
                </a:cubicBezTo>
                <a:cubicBezTo>
                  <a:pt x="37" y="90"/>
                  <a:pt x="37" y="93"/>
                  <a:pt x="36" y="94"/>
                </a:cubicBezTo>
                <a:cubicBezTo>
                  <a:pt x="35" y="95"/>
                  <a:pt x="35" y="100"/>
                  <a:pt x="35" y="101"/>
                </a:cubicBezTo>
                <a:cubicBezTo>
                  <a:pt x="35" y="102"/>
                  <a:pt x="35" y="104"/>
                  <a:pt x="36" y="106"/>
                </a:cubicBezTo>
                <a:cubicBezTo>
                  <a:pt x="36" y="106"/>
                  <a:pt x="36" y="106"/>
                  <a:pt x="36" y="106"/>
                </a:cubicBezTo>
                <a:cubicBezTo>
                  <a:pt x="36" y="108"/>
                  <a:pt x="36" y="110"/>
                  <a:pt x="36" y="111"/>
                </a:cubicBezTo>
                <a:cubicBezTo>
                  <a:pt x="36" y="112"/>
                  <a:pt x="36" y="116"/>
                  <a:pt x="37" y="117"/>
                </a:cubicBezTo>
                <a:cubicBezTo>
                  <a:pt x="38" y="118"/>
                  <a:pt x="39" y="120"/>
                  <a:pt x="39" y="122"/>
                </a:cubicBezTo>
                <a:cubicBezTo>
                  <a:pt x="40" y="124"/>
                  <a:pt x="41" y="127"/>
                  <a:pt x="41" y="128"/>
                </a:cubicBezTo>
                <a:cubicBezTo>
                  <a:pt x="41" y="130"/>
                  <a:pt x="40" y="132"/>
                  <a:pt x="41" y="134"/>
                </a:cubicBezTo>
                <a:cubicBezTo>
                  <a:pt x="41" y="136"/>
                  <a:pt x="40" y="138"/>
                  <a:pt x="41" y="141"/>
                </a:cubicBezTo>
                <a:cubicBezTo>
                  <a:pt x="42" y="143"/>
                  <a:pt x="43" y="147"/>
                  <a:pt x="43" y="149"/>
                </a:cubicBezTo>
                <a:cubicBezTo>
                  <a:pt x="44" y="151"/>
                  <a:pt x="46" y="156"/>
                  <a:pt x="46" y="159"/>
                </a:cubicBezTo>
                <a:cubicBezTo>
                  <a:pt x="46" y="162"/>
                  <a:pt x="47" y="165"/>
                  <a:pt x="48" y="167"/>
                </a:cubicBezTo>
                <a:cubicBezTo>
                  <a:pt x="49" y="169"/>
                  <a:pt x="51" y="173"/>
                  <a:pt x="52" y="175"/>
                </a:cubicBezTo>
                <a:cubicBezTo>
                  <a:pt x="54" y="178"/>
                  <a:pt x="55" y="180"/>
                  <a:pt x="56" y="181"/>
                </a:cubicBezTo>
                <a:cubicBezTo>
                  <a:pt x="57" y="181"/>
                  <a:pt x="58" y="182"/>
                  <a:pt x="59" y="184"/>
                </a:cubicBezTo>
                <a:cubicBezTo>
                  <a:pt x="59" y="185"/>
                  <a:pt x="60" y="186"/>
                  <a:pt x="60" y="187"/>
                </a:cubicBezTo>
                <a:cubicBezTo>
                  <a:pt x="61" y="187"/>
                  <a:pt x="61" y="187"/>
                  <a:pt x="61" y="187"/>
                </a:cubicBezTo>
                <a:cubicBezTo>
                  <a:pt x="61" y="187"/>
                  <a:pt x="61" y="187"/>
                  <a:pt x="62" y="187"/>
                </a:cubicBezTo>
                <a:cubicBezTo>
                  <a:pt x="63" y="187"/>
                  <a:pt x="63" y="187"/>
                  <a:pt x="64" y="187"/>
                </a:cubicBezTo>
                <a:cubicBezTo>
                  <a:pt x="64" y="187"/>
                  <a:pt x="66" y="186"/>
                  <a:pt x="67" y="186"/>
                </a:cubicBezTo>
                <a:cubicBezTo>
                  <a:pt x="67" y="186"/>
                  <a:pt x="68" y="186"/>
                  <a:pt x="69" y="186"/>
                </a:cubicBezTo>
                <a:cubicBezTo>
                  <a:pt x="69" y="185"/>
                  <a:pt x="69" y="185"/>
                  <a:pt x="69" y="184"/>
                </a:cubicBezTo>
                <a:cubicBezTo>
                  <a:pt x="70" y="184"/>
                  <a:pt x="70" y="183"/>
                  <a:pt x="70" y="182"/>
                </a:cubicBezTo>
                <a:cubicBezTo>
                  <a:pt x="70" y="182"/>
                  <a:pt x="70" y="182"/>
                  <a:pt x="70" y="182"/>
                </a:cubicBezTo>
                <a:cubicBezTo>
                  <a:pt x="70" y="182"/>
                  <a:pt x="70" y="182"/>
                  <a:pt x="70" y="182"/>
                </a:cubicBezTo>
                <a:cubicBezTo>
                  <a:pt x="70" y="182"/>
                  <a:pt x="70" y="180"/>
                  <a:pt x="71" y="180"/>
                </a:cubicBezTo>
                <a:cubicBezTo>
                  <a:pt x="71" y="179"/>
                  <a:pt x="71" y="179"/>
                  <a:pt x="72" y="179"/>
                </a:cubicBezTo>
                <a:cubicBezTo>
                  <a:pt x="73" y="179"/>
                  <a:pt x="73" y="179"/>
                  <a:pt x="74" y="180"/>
                </a:cubicBezTo>
                <a:cubicBezTo>
                  <a:pt x="74" y="180"/>
                  <a:pt x="75" y="180"/>
                  <a:pt x="75" y="180"/>
                </a:cubicBezTo>
                <a:cubicBezTo>
                  <a:pt x="77" y="181"/>
                  <a:pt x="77" y="183"/>
                  <a:pt x="77" y="184"/>
                </a:cubicBezTo>
                <a:cubicBezTo>
                  <a:pt x="77" y="184"/>
                  <a:pt x="78" y="186"/>
                  <a:pt x="78" y="186"/>
                </a:cubicBezTo>
                <a:cubicBezTo>
                  <a:pt x="78" y="186"/>
                  <a:pt x="79" y="186"/>
                  <a:pt x="79" y="187"/>
                </a:cubicBezTo>
                <a:cubicBezTo>
                  <a:pt x="80" y="188"/>
                  <a:pt x="80" y="189"/>
                  <a:pt x="81" y="189"/>
                </a:cubicBezTo>
                <a:cubicBezTo>
                  <a:pt x="81" y="190"/>
                  <a:pt x="83" y="190"/>
                  <a:pt x="83" y="190"/>
                </a:cubicBezTo>
                <a:cubicBezTo>
                  <a:pt x="84" y="190"/>
                  <a:pt x="86" y="191"/>
                  <a:pt x="87" y="191"/>
                </a:cubicBezTo>
                <a:cubicBezTo>
                  <a:pt x="88" y="192"/>
                  <a:pt x="89" y="192"/>
                  <a:pt x="90" y="192"/>
                </a:cubicBezTo>
                <a:cubicBezTo>
                  <a:pt x="91" y="193"/>
                  <a:pt x="93" y="193"/>
                  <a:pt x="94" y="193"/>
                </a:cubicBezTo>
                <a:cubicBezTo>
                  <a:pt x="95" y="193"/>
                  <a:pt x="97" y="193"/>
                  <a:pt x="98" y="193"/>
                </a:cubicBezTo>
                <a:cubicBezTo>
                  <a:pt x="99" y="192"/>
                  <a:pt x="101" y="192"/>
                  <a:pt x="102" y="192"/>
                </a:cubicBezTo>
                <a:cubicBezTo>
                  <a:pt x="102" y="191"/>
                  <a:pt x="103" y="190"/>
                  <a:pt x="104" y="189"/>
                </a:cubicBezTo>
                <a:cubicBezTo>
                  <a:pt x="104" y="188"/>
                  <a:pt x="106" y="187"/>
                  <a:pt x="107" y="186"/>
                </a:cubicBezTo>
                <a:cubicBezTo>
                  <a:pt x="107" y="186"/>
                  <a:pt x="108" y="185"/>
                  <a:pt x="109" y="184"/>
                </a:cubicBezTo>
                <a:cubicBezTo>
                  <a:pt x="109" y="183"/>
                  <a:pt x="109" y="181"/>
                  <a:pt x="109" y="180"/>
                </a:cubicBezTo>
                <a:cubicBezTo>
                  <a:pt x="109" y="179"/>
                  <a:pt x="109" y="177"/>
                  <a:pt x="109" y="176"/>
                </a:cubicBezTo>
                <a:cubicBezTo>
                  <a:pt x="109" y="175"/>
                  <a:pt x="109" y="173"/>
                  <a:pt x="109" y="172"/>
                </a:cubicBezTo>
                <a:cubicBezTo>
                  <a:pt x="109" y="171"/>
                  <a:pt x="109" y="168"/>
                  <a:pt x="109" y="167"/>
                </a:cubicBezTo>
                <a:cubicBezTo>
                  <a:pt x="109" y="166"/>
                  <a:pt x="108" y="161"/>
                  <a:pt x="108" y="159"/>
                </a:cubicBezTo>
                <a:cubicBezTo>
                  <a:pt x="108" y="159"/>
                  <a:pt x="108" y="159"/>
                  <a:pt x="108" y="159"/>
                </a:cubicBezTo>
                <a:cubicBezTo>
                  <a:pt x="108" y="158"/>
                  <a:pt x="108" y="158"/>
                  <a:pt x="108" y="158"/>
                </a:cubicBezTo>
                <a:cubicBezTo>
                  <a:pt x="108" y="158"/>
                  <a:pt x="109" y="153"/>
                  <a:pt x="109" y="153"/>
                </a:cubicBezTo>
                <a:cubicBezTo>
                  <a:pt x="109" y="152"/>
                  <a:pt x="108" y="149"/>
                  <a:pt x="108" y="148"/>
                </a:cubicBezTo>
                <a:cubicBezTo>
                  <a:pt x="108" y="147"/>
                  <a:pt x="108" y="140"/>
                  <a:pt x="108" y="139"/>
                </a:cubicBezTo>
                <a:cubicBezTo>
                  <a:pt x="108" y="139"/>
                  <a:pt x="108" y="129"/>
                  <a:pt x="108" y="129"/>
                </a:cubicBezTo>
                <a:cubicBezTo>
                  <a:pt x="108" y="123"/>
                  <a:pt x="108" y="123"/>
                  <a:pt x="108" y="123"/>
                </a:cubicBezTo>
                <a:cubicBezTo>
                  <a:pt x="108" y="105"/>
                  <a:pt x="108" y="105"/>
                  <a:pt x="108" y="105"/>
                </a:cubicBezTo>
                <a:cubicBezTo>
                  <a:pt x="108" y="95"/>
                  <a:pt x="108" y="95"/>
                  <a:pt x="108" y="95"/>
                </a:cubicBezTo>
                <a:cubicBezTo>
                  <a:pt x="108" y="95"/>
                  <a:pt x="108" y="84"/>
                  <a:pt x="109" y="83"/>
                </a:cubicBezTo>
                <a:cubicBezTo>
                  <a:pt x="109" y="82"/>
                  <a:pt x="111" y="81"/>
                  <a:pt x="111" y="80"/>
                </a:cubicBezTo>
                <a:cubicBezTo>
                  <a:pt x="113" y="80"/>
                  <a:pt x="115" y="80"/>
                  <a:pt x="116" y="80"/>
                </a:cubicBezTo>
                <a:cubicBezTo>
                  <a:pt x="118" y="80"/>
                  <a:pt x="120" y="80"/>
                  <a:pt x="120" y="80"/>
                </a:cubicBezTo>
                <a:cubicBezTo>
                  <a:pt x="121" y="79"/>
                  <a:pt x="122" y="78"/>
                  <a:pt x="122" y="77"/>
                </a:cubicBezTo>
                <a:cubicBezTo>
                  <a:pt x="122" y="77"/>
                  <a:pt x="122" y="68"/>
                  <a:pt x="122" y="68"/>
                </a:cubicBezTo>
                <a:cubicBezTo>
                  <a:pt x="122" y="52"/>
                  <a:pt x="122" y="52"/>
                  <a:pt x="122" y="52"/>
                </a:cubicBezTo>
                <a:cubicBezTo>
                  <a:pt x="122" y="34"/>
                  <a:pt x="122" y="34"/>
                  <a:pt x="122" y="34"/>
                </a:cubicBezTo>
                <a:cubicBezTo>
                  <a:pt x="122" y="34"/>
                  <a:pt x="122" y="31"/>
                  <a:pt x="123" y="30"/>
                </a:cubicBezTo>
                <a:cubicBezTo>
                  <a:pt x="123" y="30"/>
                  <a:pt x="122" y="27"/>
                  <a:pt x="122" y="27"/>
                </a:cubicBezTo>
                <a:cubicBezTo>
                  <a:pt x="123" y="23"/>
                  <a:pt x="123" y="23"/>
                  <a:pt x="123" y="23"/>
                </a:cubicBezTo>
                <a:cubicBezTo>
                  <a:pt x="126" y="22"/>
                  <a:pt x="126" y="22"/>
                  <a:pt x="126" y="22"/>
                </a:cubicBezTo>
                <a:cubicBezTo>
                  <a:pt x="128" y="21"/>
                  <a:pt x="128" y="21"/>
                  <a:pt x="128" y="21"/>
                </a:cubicBezTo>
                <a:cubicBezTo>
                  <a:pt x="130" y="21"/>
                  <a:pt x="130" y="21"/>
                  <a:pt x="130" y="21"/>
                </a:cubicBezTo>
                <a:cubicBezTo>
                  <a:pt x="132" y="20"/>
                  <a:pt x="132" y="20"/>
                  <a:pt x="132" y="20"/>
                </a:cubicBezTo>
                <a:cubicBezTo>
                  <a:pt x="137" y="20"/>
                  <a:pt x="137" y="20"/>
                  <a:pt x="137" y="20"/>
                </a:cubicBezTo>
                <a:cubicBezTo>
                  <a:pt x="140" y="18"/>
                  <a:pt x="140" y="18"/>
                  <a:pt x="140" y="18"/>
                </a:cubicBezTo>
                <a:cubicBezTo>
                  <a:pt x="140" y="18"/>
                  <a:pt x="145" y="18"/>
                  <a:pt x="146" y="18"/>
                </a:cubicBezTo>
                <a:cubicBezTo>
                  <a:pt x="147" y="18"/>
                  <a:pt x="150" y="16"/>
                  <a:pt x="150" y="16"/>
                </a:cubicBezTo>
                <a:cubicBezTo>
                  <a:pt x="154" y="16"/>
                  <a:pt x="154" y="16"/>
                  <a:pt x="154" y="16"/>
                </a:cubicBezTo>
                <a:cubicBezTo>
                  <a:pt x="157" y="17"/>
                  <a:pt x="157" y="17"/>
                  <a:pt x="157" y="17"/>
                </a:cubicBezTo>
                <a:cubicBezTo>
                  <a:pt x="157" y="17"/>
                  <a:pt x="159" y="21"/>
                  <a:pt x="159" y="21"/>
                </a:cubicBezTo>
                <a:cubicBezTo>
                  <a:pt x="159" y="22"/>
                  <a:pt x="161" y="24"/>
                  <a:pt x="161" y="24"/>
                </a:cubicBezTo>
                <a:cubicBezTo>
                  <a:pt x="162" y="23"/>
                  <a:pt x="164" y="22"/>
                  <a:pt x="165" y="22"/>
                </a:cubicBezTo>
                <a:cubicBezTo>
                  <a:pt x="166" y="21"/>
                  <a:pt x="168" y="19"/>
                  <a:pt x="169" y="19"/>
                </a:cubicBezTo>
                <a:cubicBezTo>
                  <a:pt x="170" y="18"/>
                  <a:pt x="170" y="17"/>
                  <a:pt x="174" y="17"/>
                </a:cubicBezTo>
                <a:cubicBezTo>
                  <a:pt x="177" y="18"/>
                  <a:pt x="180" y="16"/>
                  <a:pt x="180" y="16"/>
                </a:cubicBezTo>
                <a:cubicBezTo>
                  <a:pt x="180" y="16"/>
                  <a:pt x="179" y="14"/>
                  <a:pt x="179" y="13"/>
                </a:cubicBezTo>
                <a:cubicBezTo>
                  <a:pt x="178" y="12"/>
                  <a:pt x="177" y="12"/>
                  <a:pt x="176" y="12"/>
                </a:cubicBezTo>
                <a:cubicBezTo>
                  <a:pt x="175" y="12"/>
                  <a:pt x="173" y="12"/>
                  <a:pt x="173" y="12"/>
                </a:cubicBezTo>
                <a:cubicBezTo>
                  <a:pt x="171" y="11"/>
                  <a:pt x="171" y="11"/>
                  <a:pt x="171" y="11"/>
                </a:cubicBezTo>
                <a:cubicBezTo>
                  <a:pt x="169" y="12"/>
                  <a:pt x="169" y="12"/>
                  <a:pt x="169" y="12"/>
                </a:cubicBezTo>
                <a:cubicBezTo>
                  <a:pt x="167" y="11"/>
                  <a:pt x="167" y="11"/>
                  <a:pt x="167" y="11"/>
                </a:cubicBezTo>
                <a:cubicBezTo>
                  <a:pt x="164" y="11"/>
                  <a:pt x="164" y="11"/>
                  <a:pt x="164" y="11"/>
                </a:cubicBezTo>
                <a:cubicBezTo>
                  <a:pt x="161" y="11"/>
                  <a:pt x="161" y="11"/>
                  <a:pt x="161" y="11"/>
                </a:cubicBezTo>
                <a:cubicBezTo>
                  <a:pt x="159" y="10"/>
                  <a:pt x="159" y="10"/>
                  <a:pt x="159" y="10"/>
                </a:cubicBezTo>
                <a:cubicBezTo>
                  <a:pt x="158" y="10"/>
                  <a:pt x="158" y="10"/>
                  <a:pt x="158" y="10"/>
                </a:cubicBezTo>
                <a:cubicBezTo>
                  <a:pt x="155" y="10"/>
                  <a:pt x="155" y="10"/>
                  <a:pt x="155" y="10"/>
                </a:cubicBezTo>
                <a:cubicBezTo>
                  <a:pt x="152" y="10"/>
                  <a:pt x="152" y="10"/>
                  <a:pt x="152" y="10"/>
                </a:cubicBezTo>
                <a:cubicBezTo>
                  <a:pt x="149" y="12"/>
                  <a:pt x="149" y="12"/>
                  <a:pt x="149" y="12"/>
                </a:cubicBezTo>
                <a:cubicBezTo>
                  <a:pt x="146" y="12"/>
                  <a:pt x="146" y="12"/>
                  <a:pt x="146" y="12"/>
                </a:cubicBezTo>
                <a:cubicBezTo>
                  <a:pt x="141" y="14"/>
                  <a:pt x="141" y="14"/>
                  <a:pt x="141" y="14"/>
                </a:cubicBezTo>
                <a:cubicBezTo>
                  <a:pt x="139" y="15"/>
                  <a:pt x="139" y="15"/>
                  <a:pt x="139" y="15"/>
                </a:cubicBezTo>
                <a:cubicBezTo>
                  <a:pt x="135" y="16"/>
                  <a:pt x="135" y="16"/>
                  <a:pt x="135" y="16"/>
                </a:cubicBezTo>
                <a:cubicBezTo>
                  <a:pt x="132" y="16"/>
                  <a:pt x="132" y="16"/>
                  <a:pt x="132" y="16"/>
                </a:cubicBezTo>
                <a:cubicBezTo>
                  <a:pt x="132" y="16"/>
                  <a:pt x="130" y="16"/>
                  <a:pt x="130" y="16"/>
                </a:cubicBezTo>
                <a:cubicBezTo>
                  <a:pt x="129" y="16"/>
                  <a:pt x="126" y="16"/>
                  <a:pt x="126" y="16"/>
                </a:cubicBezTo>
                <a:cubicBezTo>
                  <a:pt x="126" y="16"/>
                  <a:pt x="122" y="16"/>
                  <a:pt x="121" y="16"/>
                </a:cubicBezTo>
                <a:cubicBezTo>
                  <a:pt x="120" y="16"/>
                  <a:pt x="118" y="15"/>
                  <a:pt x="118" y="15"/>
                </a:cubicBezTo>
                <a:cubicBezTo>
                  <a:pt x="117" y="15"/>
                  <a:pt x="115" y="14"/>
                  <a:pt x="115" y="14"/>
                </a:cubicBezTo>
                <a:cubicBezTo>
                  <a:pt x="114" y="14"/>
                  <a:pt x="113" y="13"/>
                  <a:pt x="113" y="13"/>
                </a:cubicBezTo>
                <a:cubicBezTo>
                  <a:pt x="111" y="13"/>
                  <a:pt x="111" y="13"/>
                  <a:pt x="111" y="13"/>
                </a:cubicBezTo>
                <a:cubicBezTo>
                  <a:pt x="110" y="14"/>
                  <a:pt x="110" y="14"/>
                  <a:pt x="110" y="14"/>
                </a:cubicBezTo>
                <a:cubicBezTo>
                  <a:pt x="110" y="14"/>
                  <a:pt x="108" y="14"/>
                  <a:pt x="107" y="14"/>
                </a:cubicBezTo>
                <a:cubicBezTo>
                  <a:pt x="106" y="14"/>
                  <a:pt x="103" y="14"/>
                  <a:pt x="103" y="14"/>
                </a:cubicBezTo>
                <a:cubicBezTo>
                  <a:pt x="103" y="14"/>
                  <a:pt x="98" y="11"/>
                  <a:pt x="97" y="11"/>
                </a:cubicBezTo>
                <a:cubicBezTo>
                  <a:pt x="96" y="11"/>
                  <a:pt x="96" y="11"/>
                  <a:pt x="96" y="10"/>
                </a:cubicBezTo>
                <a:cubicBezTo>
                  <a:pt x="95" y="10"/>
                  <a:pt x="94" y="9"/>
                  <a:pt x="94" y="8"/>
                </a:cubicBezTo>
                <a:cubicBezTo>
                  <a:pt x="94" y="8"/>
                  <a:pt x="93" y="6"/>
                  <a:pt x="93" y="6"/>
                </a:cubicBezTo>
                <a:cubicBezTo>
                  <a:pt x="89" y="4"/>
                  <a:pt x="89" y="4"/>
                  <a:pt x="89" y="4"/>
                </a:cubicBezTo>
                <a:cubicBezTo>
                  <a:pt x="89" y="4"/>
                  <a:pt x="87" y="4"/>
                  <a:pt x="86" y="5"/>
                </a:cubicBezTo>
                <a:cubicBezTo>
                  <a:pt x="85" y="5"/>
                  <a:pt x="84" y="6"/>
                  <a:pt x="83" y="5"/>
                </a:cubicBezTo>
                <a:cubicBezTo>
                  <a:pt x="82" y="5"/>
                  <a:pt x="80" y="5"/>
                  <a:pt x="79" y="5"/>
                </a:cubicBezTo>
                <a:cubicBezTo>
                  <a:pt x="78" y="5"/>
                  <a:pt x="75" y="5"/>
                  <a:pt x="74" y="5"/>
                </a:cubicBezTo>
                <a:cubicBezTo>
                  <a:pt x="73" y="5"/>
                  <a:pt x="70" y="5"/>
                  <a:pt x="70" y="5"/>
                </a:cubicBezTo>
                <a:cubicBezTo>
                  <a:pt x="70" y="5"/>
                  <a:pt x="66" y="5"/>
                  <a:pt x="65" y="5"/>
                </a:cubicBezTo>
                <a:cubicBezTo>
                  <a:pt x="65" y="5"/>
                  <a:pt x="60" y="4"/>
                  <a:pt x="60" y="4"/>
                </a:cubicBezTo>
                <a:cubicBezTo>
                  <a:pt x="59" y="4"/>
                  <a:pt x="56" y="4"/>
                  <a:pt x="55" y="4"/>
                </a:cubicBezTo>
                <a:cubicBezTo>
                  <a:pt x="54" y="4"/>
                  <a:pt x="51" y="4"/>
                  <a:pt x="51" y="5"/>
                </a:cubicBezTo>
                <a:cubicBezTo>
                  <a:pt x="50" y="5"/>
                  <a:pt x="49" y="5"/>
                  <a:pt x="48" y="5"/>
                </a:cubicBezTo>
                <a:cubicBezTo>
                  <a:pt x="47" y="6"/>
                  <a:pt x="46" y="6"/>
                  <a:pt x="46" y="6"/>
                </a:cubicBezTo>
                <a:cubicBezTo>
                  <a:pt x="46" y="6"/>
                  <a:pt x="45" y="6"/>
                  <a:pt x="44" y="5"/>
                </a:cubicBezTo>
                <a:cubicBezTo>
                  <a:pt x="43" y="5"/>
                  <a:pt x="43" y="5"/>
                  <a:pt x="42" y="5"/>
                </a:cubicBezTo>
                <a:cubicBezTo>
                  <a:pt x="42" y="6"/>
                  <a:pt x="39" y="6"/>
                  <a:pt x="38" y="6"/>
                </a:cubicBezTo>
                <a:cubicBezTo>
                  <a:pt x="37" y="6"/>
                  <a:pt x="35" y="6"/>
                  <a:pt x="34" y="6"/>
                </a:cubicBezTo>
                <a:cubicBezTo>
                  <a:pt x="33" y="6"/>
                  <a:pt x="32" y="6"/>
                  <a:pt x="31" y="5"/>
                </a:cubicBezTo>
                <a:cubicBezTo>
                  <a:pt x="31" y="4"/>
                  <a:pt x="31" y="3"/>
                  <a:pt x="30" y="2"/>
                </a:cubicBezTo>
                <a:cubicBezTo>
                  <a:pt x="30" y="2"/>
                  <a:pt x="28" y="1"/>
                  <a:pt x="27" y="0"/>
                </a:cubicBezTo>
                <a:cubicBezTo>
                  <a:pt x="26" y="0"/>
                  <a:pt x="25" y="0"/>
                  <a:pt x="24" y="0"/>
                </a:cubicBezTo>
                <a:cubicBezTo>
                  <a:pt x="23" y="1"/>
                  <a:pt x="21" y="0"/>
                  <a:pt x="20" y="1"/>
                </a:cubicBezTo>
                <a:cubicBezTo>
                  <a:pt x="19" y="2"/>
                  <a:pt x="18" y="3"/>
                  <a:pt x="17" y="3"/>
                </a:cubicBezTo>
                <a:cubicBezTo>
                  <a:pt x="16" y="3"/>
                  <a:pt x="16" y="4"/>
                  <a:pt x="16" y="4"/>
                </a:cubicBezTo>
                <a:cubicBezTo>
                  <a:pt x="16" y="4"/>
                  <a:pt x="14" y="4"/>
                  <a:pt x="13" y="4"/>
                </a:cubicBezTo>
                <a:cubicBezTo>
                  <a:pt x="12" y="4"/>
                  <a:pt x="10" y="3"/>
                  <a:pt x="9" y="4"/>
                </a:cubicBezTo>
                <a:cubicBezTo>
                  <a:pt x="8" y="4"/>
                  <a:pt x="7" y="4"/>
                  <a:pt x="7" y="5"/>
                </a:cubicBezTo>
                <a:cubicBezTo>
                  <a:pt x="6" y="5"/>
                  <a:pt x="4" y="6"/>
                  <a:pt x="4" y="5"/>
                </a:cubicBezTo>
                <a:cubicBezTo>
                  <a:pt x="3" y="5"/>
                  <a:pt x="1" y="4"/>
                  <a:pt x="1" y="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2" name="Botswana"/>
          <p:cNvSpPr>
            <a:spLocks/>
          </p:cNvSpPr>
          <p:nvPr/>
        </p:nvSpPr>
        <p:spPr bwMode="auto">
          <a:xfrm>
            <a:off x="6730240" y="4660120"/>
            <a:ext cx="246613" cy="285808"/>
          </a:xfrm>
          <a:custGeom>
            <a:avLst/>
            <a:gdLst>
              <a:gd name="T0" fmla="*/ 66 w 120"/>
              <a:gd name="T1" fmla="*/ 1 h 139"/>
              <a:gd name="T2" fmla="*/ 57 w 120"/>
              <a:gd name="T3" fmla="*/ 6 h 139"/>
              <a:gd name="T4" fmla="*/ 51 w 120"/>
              <a:gd name="T5" fmla="*/ 5 h 139"/>
              <a:gd name="T6" fmla="*/ 46 w 120"/>
              <a:gd name="T7" fmla="*/ 0 h 139"/>
              <a:gd name="T8" fmla="*/ 38 w 120"/>
              <a:gd name="T9" fmla="*/ 2 h 139"/>
              <a:gd name="T10" fmla="*/ 29 w 120"/>
              <a:gd name="T11" fmla="*/ 4 h 139"/>
              <a:gd name="T12" fmla="*/ 22 w 120"/>
              <a:gd name="T13" fmla="*/ 5 h 139"/>
              <a:gd name="T14" fmla="*/ 18 w 120"/>
              <a:gd name="T15" fmla="*/ 6 h 139"/>
              <a:gd name="T16" fmla="*/ 14 w 120"/>
              <a:gd name="T17" fmla="*/ 11 h 139"/>
              <a:gd name="T18" fmla="*/ 14 w 120"/>
              <a:gd name="T19" fmla="*/ 18 h 139"/>
              <a:gd name="T20" fmla="*/ 14 w 120"/>
              <a:gd name="T21" fmla="*/ 52 h 139"/>
              <a:gd name="T22" fmla="*/ 12 w 120"/>
              <a:gd name="T23" fmla="*/ 64 h 139"/>
              <a:gd name="T24" fmla="*/ 3 w 120"/>
              <a:gd name="T25" fmla="*/ 64 h 139"/>
              <a:gd name="T26" fmla="*/ 0 w 120"/>
              <a:gd name="T27" fmla="*/ 79 h 139"/>
              <a:gd name="T28" fmla="*/ 0 w 120"/>
              <a:gd name="T29" fmla="*/ 107 h 139"/>
              <a:gd name="T30" fmla="*/ 6 w 120"/>
              <a:gd name="T31" fmla="*/ 108 h 139"/>
              <a:gd name="T32" fmla="*/ 7 w 120"/>
              <a:gd name="T33" fmla="*/ 113 h 139"/>
              <a:gd name="T34" fmla="*/ 10 w 120"/>
              <a:gd name="T35" fmla="*/ 122 h 139"/>
              <a:gd name="T36" fmla="*/ 11 w 120"/>
              <a:gd name="T37" fmla="*/ 125 h 139"/>
              <a:gd name="T38" fmla="*/ 12 w 120"/>
              <a:gd name="T39" fmla="*/ 129 h 139"/>
              <a:gd name="T40" fmla="*/ 12 w 120"/>
              <a:gd name="T41" fmla="*/ 134 h 139"/>
              <a:gd name="T42" fmla="*/ 22 w 120"/>
              <a:gd name="T43" fmla="*/ 139 h 139"/>
              <a:gd name="T44" fmla="*/ 27 w 120"/>
              <a:gd name="T45" fmla="*/ 135 h 139"/>
              <a:gd name="T46" fmla="*/ 32 w 120"/>
              <a:gd name="T47" fmla="*/ 134 h 139"/>
              <a:gd name="T48" fmla="*/ 37 w 120"/>
              <a:gd name="T49" fmla="*/ 131 h 139"/>
              <a:gd name="T50" fmla="*/ 39 w 120"/>
              <a:gd name="T51" fmla="*/ 126 h 139"/>
              <a:gd name="T52" fmla="*/ 40 w 120"/>
              <a:gd name="T53" fmla="*/ 117 h 139"/>
              <a:gd name="T54" fmla="*/ 46 w 120"/>
              <a:gd name="T55" fmla="*/ 113 h 139"/>
              <a:gd name="T56" fmla="*/ 53 w 120"/>
              <a:gd name="T57" fmla="*/ 117 h 139"/>
              <a:gd name="T58" fmla="*/ 58 w 120"/>
              <a:gd name="T59" fmla="*/ 123 h 139"/>
              <a:gd name="T60" fmla="*/ 65 w 120"/>
              <a:gd name="T61" fmla="*/ 122 h 139"/>
              <a:gd name="T62" fmla="*/ 72 w 120"/>
              <a:gd name="T63" fmla="*/ 119 h 139"/>
              <a:gd name="T64" fmla="*/ 78 w 120"/>
              <a:gd name="T65" fmla="*/ 117 h 139"/>
              <a:gd name="T66" fmla="*/ 81 w 120"/>
              <a:gd name="T67" fmla="*/ 110 h 139"/>
              <a:gd name="T68" fmla="*/ 83 w 120"/>
              <a:gd name="T69" fmla="*/ 106 h 139"/>
              <a:gd name="T70" fmla="*/ 89 w 120"/>
              <a:gd name="T71" fmla="*/ 98 h 139"/>
              <a:gd name="T72" fmla="*/ 93 w 120"/>
              <a:gd name="T73" fmla="*/ 89 h 139"/>
              <a:gd name="T74" fmla="*/ 96 w 120"/>
              <a:gd name="T75" fmla="*/ 83 h 139"/>
              <a:gd name="T76" fmla="*/ 101 w 120"/>
              <a:gd name="T77" fmla="*/ 81 h 139"/>
              <a:gd name="T78" fmla="*/ 105 w 120"/>
              <a:gd name="T79" fmla="*/ 75 h 139"/>
              <a:gd name="T80" fmla="*/ 109 w 120"/>
              <a:gd name="T81" fmla="*/ 70 h 139"/>
              <a:gd name="T82" fmla="*/ 114 w 120"/>
              <a:gd name="T83" fmla="*/ 68 h 139"/>
              <a:gd name="T84" fmla="*/ 118 w 120"/>
              <a:gd name="T85" fmla="*/ 62 h 139"/>
              <a:gd name="T86" fmla="*/ 120 w 120"/>
              <a:gd name="T87" fmla="*/ 61 h 139"/>
              <a:gd name="T88" fmla="*/ 114 w 120"/>
              <a:gd name="T89" fmla="*/ 57 h 139"/>
              <a:gd name="T90" fmla="*/ 107 w 120"/>
              <a:gd name="T91" fmla="*/ 55 h 139"/>
              <a:gd name="T92" fmla="*/ 104 w 120"/>
              <a:gd name="T93" fmla="*/ 45 h 139"/>
              <a:gd name="T94" fmla="*/ 101 w 120"/>
              <a:gd name="T95" fmla="*/ 38 h 139"/>
              <a:gd name="T96" fmla="*/ 98 w 120"/>
              <a:gd name="T97" fmla="*/ 35 h 139"/>
              <a:gd name="T98" fmla="*/ 90 w 120"/>
              <a:gd name="T99" fmla="*/ 28 h 139"/>
              <a:gd name="T100" fmla="*/ 85 w 120"/>
              <a:gd name="T101" fmla="*/ 19 h 139"/>
              <a:gd name="T102" fmla="*/ 83 w 120"/>
              <a:gd name="T103" fmla="*/ 15 h 139"/>
              <a:gd name="T104" fmla="*/ 79 w 120"/>
              <a:gd name="T105" fmla="*/ 7 h 139"/>
              <a:gd name="T106" fmla="*/ 73 w 120"/>
              <a:gd name="T10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39">
                <a:moveTo>
                  <a:pt x="72" y="0"/>
                </a:moveTo>
                <a:cubicBezTo>
                  <a:pt x="72" y="0"/>
                  <a:pt x="69" y="2"/>
                  <a:pt x="66" y="1"/>
                </a:cubicBezTo>
                <a:cubicBezTo>
                  <a:pt x="62" y="1"/>
                  <a:pt x="62" y="2"/>
                  <a:pt x="61" y="3"/>
                </a:cubicBezTo>
                <a:cubicBezTo>
                  <a:pt x="60" y="3"/>
                  <a:pt x="58" y="5"/>
                  <a:pt x="57" y="6"/>
                </a:cubicBezTo>
                <a:cubicBezTo>
                  <a:pt x="56" y="6"/>
                  <a:pt x="54" y="7"/>
                  <a:pt x="53" y="8"/>
                </a:cubicBezTo>
                <a:cubicBezTo>
                  <a:pt x="53" y="8"/>
                  <a:pt x="51" y="6"/>
                  <a:pt x="51" y="5"/>
                </a:cubicBezTo>
                <a:cubicBezTo>
                  <a:pt x="51" y="5"/>
                  <a:pt x="49" y="1"/>
                  <a:pt x="49" y="1"/>
                </a:cubicBezTo>
                <a:cubicBezTo>
                  <a:pt x="46" y="0"/>
                  <a:pt x="46" y="0"/>
                  <a:pt x="46" y="0"/>
                </a:cubicBezTo>
                <a:cubicBezTo>
                  <a:pt x="42" y="0"/>
                  <a:pt x="42" y="0"/>
                  <a:pt x="42" y="0"/>
                </a:cubicBezTo>
                <a:cubicBezTo>
                  <a:pt x="42" y="0"/>
                  <a:pt x="39" y="2"/>
                  <a:pt x="38" y="2"/>
                </a:cubicBezTo>
                <a:cubicBezTo>
                  <a:pt x="37" y="2"/>
                  <a:pt x="32" y="2"/>
                  <a:pt x="32" y="2"/>
                </a:cubicBezTo>
                <a:cubicBezTo>
                  <a:pt x="29" y="4"/>
                  <a:pt x="29" y="4"/>
                  <a:pt x="29" y="4"/>
                </a:cubicBezTo>
                <a:cubicBezTo>
                  <a:pt x="24" y="4"/>
                  <a:pt x="24" y="4"/>
                  <a:pt x="24" y="4"/>
                </a:cubicBezTo>
                <a:cubicBezTo>
                  <a:pt x="22" y="5"/>
                  <a:pt x="22" y="5"/>
                  <a:pt x="22" y="5"/>
                </a:cubicBezTo>
                <a:cubicBezTo>
                  <a:pt x="20" y="5"/>
                  <a:pt x="20" y="5"/>
                  <a:pt x="20" y="5"/>
                </a:cubicBezTo>
                <a:cubicBezTo>
                  <a:pt x="18" y="6"/>
                  <a:pt x="18" y="6"/>
                  <a:pt x="18" y="6"/>
                </a:cubicBezTo>
                <a:cubicBezTo>
                  <a:pt x="15" y="7"/>
                  <a:pt x="15" y="7"/>
                  <a:pt x="15" y="7"/>
                </a:cubicBezTo>
                <a:cubicBezTo>
                  <a:pt x="14" y="11"/>
                  <a:pt x="14" y="11"/>
                  <a:pt x="14" y="11"/>
                </a:cubicBezTo>
                <a:cubicBezTo>
                  <a:pt x="14" y="11"/>
                  <a:pt x="15" y="14"/>
                  <a:pt x="15" y="14"/>
                </a:cubicBezTo>
                <a:cubicBezTo>
                  <a:pt x="14" y="15"/>
                  <a:pt x="14" y="18"/>
                  <a:pt x="14" y="18"/>
                </a:cubicBezTo>
                <a:cubicBezTo>
                  <a:pt x="14" y="36"/>
                  <a:pt x="14" y="36"/>
                  <a:pt x="14" y="36"/>
                </a:cubicBezTo>
                <a:cubicBezTo>
                  <a:pt x="14" y="52"/>
                  <a:pt x="14" y="52"/>
                  <a:pt x="14" y="52"/>
                </a:cubicBezTo>
                <a:cubicBezTo>
                  <a:pt x="14" y="52"/>
                  <a:pt x="14" y="61"/>
                  <a:pt x="14" y="61"/>
                </a:cubicBezTo>
                <a:cubicBezTo>
                  <a:pt x="14" y="62"/>
                  <a:pt x="13" y="63"/>
                  <a:pt x="12" y="64"/>
                </a:cubicBezTo>
                <a:cubicBezTo>
                  <a:pt x="12" y="64"/>
                  <a:pt x="10" y="64"/>
                  <a:pt x="8" y="64"/>
                </a:cubicBezTo>
                <a:cubicBezTo>
                  <a:pt x="7" y="64"/>
                  <a:pt x="5" y="64"/>
                  <a:pt x="3" y="64"/>
                </a:cubicBezTo>
                <a:cubicBezTo>
                  <a:pt x="3" y="65"/>
                  <a:pt x="1" y="66"/>
                  <a:pt x="1" y="67"/>
                </a:cubicBezTo>
                <a:cubicBezTo>
                  <a:pt x="0" y="68"/>
                  <a:pt x="0" y="79"/>
                  <a:pt x="0" y="79"/>
                </a:cubicBezTo>
                <a:cubicBezTo>
                  <a:pt x="0" y="89"/>
                  <a:pt x="0" y="89"/>
                  <a:pt x="0" y="89"/>
                </a:cubicBezTo>
                <a:cubicBezTo>
                  <a:pt x="0" y="107"/>
                  <a:pt x="0" y="107"/>
                  <a:pt x="0" y="107"/>
                </a:cubicBezTo>
                <a:cubicBezTo>
                  <a:pt x="0" y="107"/>
                  <a:pt x="2" y="107"/>
                  <a:pt x="2" y="108"/>
                </a:cubicBezTo>
                <a:cubicBezTo>
                  <a:pt x="3" y="108"/>
                  <a:pt x="6" y="108"/>
                  <a:pt x="6" y="108"/>
                </a:cubicBezTo>
                <a:cubicBezTo>
                  <a:pt x="6" y="108"/>
                  <a:pt x="7" y="111"/>
                  <a:pt x="7" y="111"/>
                </a:cubicBezTo>
                <a:cubicBezTo>
                  <a:pt x="7" y="112"/>
                  <a:pt x="7" y="113"/>
                  <a:pt x="7" y="113"/>
                </a:cubicBezTo>
                <a:cubicBezTo>
                  <a:pt x="8" y="117"/>
                  <a:pt x="8" y="117"/>
                  <a:pt x="8" y="117"/>
                </a:cubicBezTo>
                <a:cubicBezTo>
                  <a:pt x="10" y="122"/>
                  <a:pt x="10" y="122"/>
                  <a:pt x="10" y="122"/>
                </a:cubicBezTo>
                <a:cubicBezTo>
                  <a:pt x="10" y="122"/>
                  <a:pt x="10" y="122"/>
                  <a:pt x="10" y="122"/>
                </a:cubicBezTo>
                <a:cubicBezTo>
                  <a:pt x="11" y="123"/>
                  <a:pt x="11" y="125"/>
                  <a:pt x="11" y="125"/>
                </a:cubicBezTo>
                <a:cubicBezTo>
                  <a:pt x="11" y="125"/>
                  <a:pt x="10" y="127"/>
                  <a:pt x="11" y="128"/>
                </a:cubicBezTo>
                <a:cubicBezTo>
                  <a:pt x="11" y="128"/>
                  <a:pt x="12" y="129"/>
                  <a:pt x="12" y="129"/>
                </a:cubicBezTo>
                <a:cubicBezTo>
                  <a:pt x="12" y="131"/>
                  <a:pt x="12" y="131"/>
                  <a:pt x="12" y="131"/>
                </a:cubicBezTo>
                <a:cubicBezTo>
                  <a:pt x="12" y="131"/>
                  <a:pt x="12" y="133"/>
                  <a:pt x="12" y="134"/>
                </a:cubicBezTo>
                <a:cubicBezTo>
                  <a:pt x="12" y="135"/>
                  <a:pt x="14" y="138"/>
                  <a:pt x="16" y="138"/>
                </a:cubicBezTo>
                <a:cubicBezTo>
                  <a:pt x="17" y="139"/>
                  <a:pt x="21" y="139"/>
                  <a:pt x="22" y="139"/>
                </a:cubicBezTo>
                <a:cubicBezTo>
                  <a:pt x="23" y="139"/>
                  <a:pt x="26" y="137"/>
                  <a:pt x="26" y="137"/>
                </a:cubicBezTo>
                <a:cubicBezTo>
                  <a:pt x="26" y="136"/>
                  <a:pt x="27" y="136"/>
                  <a:pt x="27" y="135"/>
                </a:cubicBezTo>
                <a:cubicBezTo>
                  <a:pt x="28" y="135"/>
                  <a:pt x="29" y="135"/>
                  <a:pt x="30" y="134"/>
                </a:cubicBezTo>
                <a:cubicBezTo>
                  <a:pt x="31" y="134"/>
                  <a:pt x="31" y="134"/>
                  <a:pt x="32" y="134"/>
                </a:cubicBezTo>
                <a:cubicBezTo>
                  <a:pt x="33" y="134"/>
                  <a:pt x="35" y="134"/>
                  <a:pt x="35" y="133"/>
                </a:cubicBezTo>
                <a:cubicBezTo>
                  <a:pt x="36" y="132"/>
                  <a:pt x="37" y="132"/>
                  <a:pt x="37" y="131"/>
                </a:cubicBezTo>
                <a:cubicBezTo>
                  <a:pt x="37" y="131"/>
                  <a:pt x="38" y="130"/>
                  <a:pt x="38" y="129"/>
                </a:cubicBezTo>
                <a:cubicBezTo>
                  <a:pt x="38" y="129"/>
                  <a:pt x="39" y="127"/>
                  <a:pt x="39" y="126"/>
                </a:cubicBezTo>
                <a:cubicBezTo>
                  <a:pt x="39" y="126"/>
                  <a:pt x="39" y="122"/>
                  <a:pt x="39" y="121"/>
                </a:cubicBezTo>
                <a:cubicBezTo>
                  <a:pt x="39" y="121"/>
                  <a:pt x="40" y="117"/>
                  <a:pt x="40" y="117"/>
                </a:cubicBezTo>
                <a:cubicBezTo>
                  <a:pt x="41" y="115"/>
                  <a:pt x="42" y="115"/>
                  <a:pt x="43" y="114"/>
                </a:cubicBezTo>
                <a:cubicBezTo>
                  <a:pt x="43" y="114"/>
                  <a:pt x="45" y="113"/>
                  <a:pt x="46" y="113"/>
                </a:cubicBezTo>
                <a:cubicBezTo>
                  <a:pt x="48" y="113"/>
                  <a:pt x="49" y="113"/>
                  <a:pt x="50" y="113"/>
                </a:cubicBezTo>
                <a:cubicBezTo>
                  <a:pt x="51" y="114"/>
                  <a:pt x="53" y="117"/>
                  <a:pt x="53" y="117"/>
                </a:cubicBezTo>
                <a:cubicBezTo>
                  <a:pt x="53" y="117"/>
                  <a:pt x="56" y="121"/>
                  <a:pt x="56" y="121"/>
                </a:cubicBezTo>
                <a:cubicBezTo>
                  <a:pt x="56" y="121"/>
                  <a:pt x="57" y="122"/>
                  <a:pt x="58" y="123"/>
                </a:cubicBezTo>
                <a:cubicBezTo>
                  <a:pt x="60" y="123"/>
                  <a:pt x="62" y="124"/>
                  <a:pt x="62" y="124"/>
                </a:cubicBezTo>
                <a:cubicBezTo>
                  <a:pt x="63" y="123"/>
                  <a:pt x="65" y="122"/>
                  <a:pt x="65" y="122"/>
                </a:cubicBezTo>
                <a:cubicBezTo>
                  <a:pt x="65" y="121"/>
                  <a:pt x="68" y="120"/>
                  <a:pt x="69" y="119"/>
                </a:cubicBezTo>
                <a:cubicBezTo>
                  <a:pt x="70" y="119"/>
                  <a:pt x="72" y="119"/>
                  <a:pt x="72" y="119"/>
                </a:cubicBezTo>
                <a:cubicBezTo>
                  <a:pt x="73" y="119"/>
                  <a:pt x="73" y="119"/>
                  <a:pt x="75" y="119"/>
                </a:cubicBezTo>
                <a:cubicBezTo>
                  <a:pt x="76" y="119"/>
                  <a:pt x="78" y="118"/>
                  <a:pt x="78" y="117"/>
                </a:cubicBezTo>
                <a:cubicBezTo>
                  <a:pt x="79" y="117"/>
                  <a:pt x="79" y="116"/>
                  <a:pt x="79" y="115"/>
                </a:cubicBezTo>
                <a:cubicBezTo>
                  <a:pt x="79" y="115"/>
                  <a:pt x="80" y="111"/>
                  <a:pt x="81" y="110"/>
                </a:cubicBezTo>
                <a:cubicBezTo>
                  <a:pt x="81" y="110"/>
                  <a:pt x="80" y="107"/>
                  <a:pt x="81" y="106"/>
                </a:cubicBezTo>
                <a:cubicBezTo>
                  <a:pt x="81" y="106"/>
                  <a:pt x="83" y="106"/>
                  <a:pt x="83" y="106"/>
                </a:cubicBezTo>
                <a:cubicBezTo>
                  <a:pt x="83" y="106"/>
                  <a:pt x="84" y="103"/>
                  <a:pt x="85" y="103"/>
                </a:cubicBezTo>
                <a:cubicBezTo>
                  <a:pt x="86" y="102"/>
                  <a:pt x="88" y="98"/>
                  <a:pt x="89" y="98"/>
                </a:cubicBezTo>
                <a:cubicBezTo>
                  <a:pt x="89" y="97"/>
                  <a:pt x="90" y="94"/>
                  <a:pt x="90" y="94"/>
                </a:cubicBezTo>
                <a:cubicBezTo>
                  <a:pt x="90" y="94"/>
                  <a:pt x="93" y="89"/>
                  <a:pt x="93" y="89"/>
                </a:cubicBezTo>
                <a:cubicBezTo>
                  <a:pt x="94" y="88"/>
                  <a:pt x="95" y="87"/>
                  <a:pt x="95" y="87"/>
                </a:cubicBezTo>
                <a:cubicBezTo>
                  <a:pt x="95" y="86"/>
                  <a:pt x="96" y="84"/>
                  <a:pt x="96" y="83"/>
                </a:cubicBezTo>
                <a:cubicBezTo>
                  <a:pt x="96" y="83"/>
                  <a:pt x="97" y="82"/>
                  <a:pt x="98" y="82"/>
                </a:cubicBezTo>
                <a:cubicBezTo>
                  <a:pt x="98" y="81"/>
                  <a:pt x="100" y="81"/>
                  <a:pt x="101" y="81"/>
                </a:cubicBezTo>
                <a:cubicBezTo>
                  <a:pt x="101" y="80"/>
                  <a:pt x="103" y="80"/>
                  <a:pt x="103" y="79"/>
                </a:cubicBezTo>
                <a:cubicBezTo>
                  <a:pt x="104" y="78"/>
                  <a:pt x="105" y="76"/>
                  <a:pt x="105" y="75"/>
                </a:cubicBezTo>
                <a:cubicBezTo>
                  <a:pt x="105" y="75"/>
                  <a:pt x="106" y="74"/>
                  <a:pt x="107" y="73"/>
                </a:cubicBezTo>
                <a:cubicBezTo>
                  <a:pt x="107" y="73"/>
                  <a:pt x="109" y="71"/>
                  <a:pt x="109" y="70"/>
                </a:cubicBezTo>
                <a:cubicBezTo>
                  <a:pt x="109" y="70"/>
                  <a:pt x="111" y="69"/>
                  <a:pt x="112" y="69"/>
                </a:cubicBezTo>
                <a:cubicBezTo>
                  <a:pt x="113" y="69"/>
                  <a:pt x="114" y="68"/>
                  <a:pt x="114" y="68"/>
                </a:cubicBezTo>
                <a:cubicBezTo>
                  <a:pt x="114" y="68"/>
                  <a:pt x="117" y="65"/>
                  <a:pt x="117" y="64"/>
                </a:cubicBezTo>
                <a:cubicBezTo>
                  <a:pt x="118" y="63"/>
                  <a:pt x="118" y="62"/>
                  <a:pt x="118" y="62"/>
                </a:cubicBezTo>
                <a:cubicBezTo>
                  <a:pt x="120" y="62"/>
                  <a:pt x="120" y="62"/>
                  <a:pt x="120" y="62"/>
                </a:cubicBezTo>
                <a:cubicBezTo>
                  <a:pt x="120" y="61"/>
                  <a:pt x="120" y="61"/>
                  <a:pt x="120" y="61"/>
                </a:cubicBezTo>
                <a:cubicBezTo>
                  <a:pt x="117" y="57"/>
                  <a:pt x="117" y="57"/>
                  <a:pt x="117" y="57"/>
                </a:cubicBezTo>
                <a:cubicBezTo>
                  <a:pt x="117" y="57"/>
                  <a:pt x="115" y="57"/>
                  <a:pt x="114" y="57"/>
                </a:cubicBezTo>
                <a:cubicBezTo>
                  <a:pt x="114" y="57"/>
                  <a:pt x="111" y="57"/>
                  <a:pt x="110" y="57"/>
                </a:cubicBezTo>
                <a:cubicBezTo>
                  <a:pt x="109" y="56"/>
                  <a:pt x="107" y="55"/>
                  <a:pt x="107" y="55"/>
                </a:cubicBezTo>
                <a:cubicBezTo>
                  <a:pt x="106" y="54"/>
                  <a:pt x="105" y="51"/>
                  <a:pt x="105" y="51"/>
                </a:cubicBezTo>
                <a:cubicBezTo>
                  <a:pt x="105" y="50"/>
                  <a:pt x="104" y="45"/>
                  <a:pt x="104" y="45"/>
                </a:cubicBezTo>
                <a:cubicBezTo>
                  <a:pt x="104" y="45"/>
                  <a:pt x="103" y="42"/>
                  <a:pt x="103" y="41"/>
                </a:cubicBezTo>
                <a:cubicBezTo>
                  <a:pt x="103" y="41"/>
                  <a:pt x="101" y="39"/>
                  <a:pt x="101" y="38"/>
                </a:cubicBezTo>
                <a:cubicBezTo>
                  <a:pt x="100" y="38"/>
                  <a:pt x="98" y="38"/>
                  <a:pt x="98" y="37"/>
                </a:cubicBezTo>
                <a:cubicBezTo>
                  <a:pt x="98" y="36"/>
                  <a:pt x="98" y="35"/>
                  <a:pt x="98" y="35"/>
                </a:cubicBezTo>
                <a:cubicBezTo>
                  <a:pt x="94" y="31"/>
                  <a:pt x="94" y="31"/>
                  <a:pt x="94" y="31"/>
                </a:cubicBezTo>
                <a:cubicBezTo>
                  <a:pt x="90" y="28"/>
                  <a:pt x="90" y="28"/>
                  <a:pt x="90" y="28"/>
                </a:cubicBezTo>
                <a:cubicBezTo>
                  <a:pt x="90" y="28"/>
                  <a:pt x="88" y="26"/>
                  <a:pt x="88" y="25"/>
                </a:cubicBezTo>
                <a:cubicBezTo>
                  <a:pt x="87" y="24"/>
                  <a:pt x="85" y="20"/>
                  <a:pt x="85" y="19"/>
                </a:cubicBezTo>
                <a:cubicBezTo>
                  <a:pt x="85" y="19"/>
                  <a:pt x="84" y="17"/>
                  <a:pt x="84" y="17"/>
                </a:cubicBezTo>
                <a:cubicBezTo>
                  <a:pt x="83" y="15"/>
                  <a:pt x="83" y="15"/>
                  <a:pt x="83" y="15"/>
                </a:cubicBezTo>
                <a:cubicBezTo>
                  <a:pt x="81" y="12"/>
                  <a:pt x="81" y="12"/>
                  <a:pt x="81" y="12"/>
                </a:cubicBezTo>
                <a:cubicBezTo>
                  <a:pt x="81" y="12"/>
                  <a:pt x="79" y="7"/>
                  <a:pt x="79" y="7"/>
                </a:cubicBezTo>
                <a:cubicBezTo>
                  <a:pt x="79" y="7"/>
                  <a:pt x="77" y="4"/>
                  <a:pt x="76" y="3"/>
                </a:cubicBezTo>
                <a:cubicBezTo>
                  <a:pt x="75" y="2"/>
                  <a:pt x="73" y="0"/>
                  <a:pt x="73" y="0"/>
                </a:cubicBezTo>
                <a:lnTo>
                  <a:pt x="72" y="0"/>
                </a:ln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3" name="Zimbabwe"/>
          <p:cNvSpPr>
            <a:spLocks/>
          </p:cNvSpPr>
          <p:nvPr/>
        </p:nvSpPr>
        <p:spPr bwMode="auto">
          <a:xfrm>
            <a:off x="6877227" y="4576826"/>
            <a:ext cx="202516" cy="228647"/>
          </a:xfrm>
          <a:custGeom>
            <a:avLst/>
            <a:gdLst>
              <a:gd name="T0" fmla="*/ 4 w 99"/>
              <a:gd name="T1" fmla="*/ 37 h 112"/>
              <a:gd name="T2" fmla="*/ 17 w 99"/>
              <a:gd name="T3" fmla="*/ 39 h 112"/>
              <a:gd name="T4" fmla="*/ 25 w 99"/>
              <a:gd name="T5" fmla="*/ 34 h 112"/>
              <a:gd name="T6" fmla="*/ 33 w 99"/>
              <a:gd name="T7" fmla="*/ 26 h 112"/>
              <a:gd name="T8" fmla="*/ 44 w 99"/>
              <a:gd name="T9" fmla="*/ 20 h 112"/>
              <a:gd name="T10" fmla="*/ 49 w 99"/>
              <a:gd name="T11" fmla="*/ 15 h 112"/>
              <a:gd name="T12" fmla="*/ 51 w 99"/>
              <a:gd name="T13" fmla="*/ 3 h 112"/>
              <a:gd name="T14" fmla="*/ 61 w 99"/>
              <a:gd name="T15" fmla="*/ 0 h 112"/>
              <a:gd name="T16" fmla="*/ 62 w 99"/>
              <a:gd name="T17" fmla="*/ 5 h 112"/>
              <a:gd name="T18" fmla="*/ 71 w 99"/>
              <a:gd name="T19" fmla="*/ 5 h 112"/>
              <a:gd name="T20" fmla="*/ 76 w 99"/>
              <a:gd name="T21" fmla="*/ 7 h 112"/>
              <a:gd name="T22" fmla="*/ 83 w 99"/>
              <a:gd name="T23" fmla="*/ 16 h 112"/>
              <a:gd name="T24" fmla="*/ 88 w 99"/>
              <a:gd name="T25" fmla="*/ 16 h 112"/>
              <a:gd name="T26" fmla="*/ 93 w 99"/>
              <a:gd name="T27" fmla="*/ 18 h 112"/>
              <a:gd name="T28" fmla="*/ 97 w 99"/>
              <a:gd name="T29" fmla="*/ 27 h 112"/>
              <a:gd name="T30" fmla="*/ 96 w 99"/>
              <a:gd name="T31" fmla="*/ 37 h 112"/>
              <a:gd name="T32" fmla="*/ 93 w 99"/>
              <a:gd name="T33" fmla="*/ 50 h 112"/>
              <a:gd name="T34" fmla="*/ 95 w 99"/>
              <a:gd name="T35" fmla="*/ 63 h 112"/>
              <a:gd name="T36" fmla="*/ 99 w 99"/>
              <a:gd name="T37" fmla="*/ 71 h 112"/>
              <a:gd name="T38" fmla="*/ 92 w 99"/>
              <a:gd name="T39" fmla="*/ 81 h 112"/>
              <a:gd name="T40" fmla="*/ 89 w 99"/>
              <a:gd name="T41" fmla="*/ 93 h 112"/>
              <a:gd name="T42" fmla="*/ 83 w 99"/>
              <a:gd name="T43" fmla="*/ 99 h 112"/>
              <a:gd name="T44" fmla="*/ 79 w 99"/>
              <a:gd name="T45" fmla="*/ 106 h 112"/>
              <a:gd name="T46" fmla="*/ 75 w 99"/>
              <a:gd name="T47" fmla="*/ 111 h 112"/>
              <a:gd name="T48" fmla="*/ 70 w 99"/>
              <a:gd name="T49" fmla="*/ 110 h 112"/>
              <a:gd name="T50" fmla="*/ 66 w 99"/>
              <a:gd name="T51" fmla="*/ 110 h 112"/>
              <a:gd name="T52" fmla="*/ 59 w 99"/>
              <a:gd name="T53" fmla="*/ 109 h 112"/>
              <a:gd name="T54" fmla="*/ 54 w 99"/>
              <a:gd name="T55" fmla="*/ 108 h 112"/>
              <a:gd name="T56" fmla="*/ 50 w 99"/>
              <a:gd name="T57" fmla="*/ 105 h 112"/>
              <a:gd name="T58" fmla="*/ 49 w 99"/>
              <a:gd name="T59" fmla="*/ 102 h 112"/>
              <a:gd name="T60" fmla="*/ 43 w 99"/>
              <a:gd name="T61" fmla="*/ 98 h 112"/>
              <a:gd name="T62" fmla="*/ 36 w 99"/>
              <a:gd name="T63" fmla="*/ 96 h 112"/>
              <a:gd name="T64" fmla="*/ 33 w 99"/>
              <a:gd name="T65" fmla="*/ 86 h 112"/>
              <a:gd name="T66" fmla="*/ 30 w 99"/>
              <a:gd name="T67" fmla="*/ 79 h 112"/>
              <a:gd name="T68" fmla="*/ 27 w 99"/>
              <a:gd name="T69" fmla="*/ 76 h 112"/>
              <a:gd name="T70" fmla="*/ 19 w 99"/>
              <a:gd name="T71" fmla="*/ 69 h 112"/>
              <a:gd name="T72" fmla="*/ 14 w 99"/>
              <a:gd name="T73" fmla="*/ 60 h 112"/>
              <a:gd name="T74" fmla="*/ 12 w 99"/>
              <a:gd name="T75" fmla="*/ 56 h 112"/>
              <a:gd name="T76" fmla="*/ 8 w 99"/>
              <a:gd name="T77" fmla="*/ 48 h 112"/>
              <a:gd name="T78" fmla="*/ 2 w 99"/>
              <a:gd name="T79" fmla="*/ 41 h 112"/>
              <a:gd name="T80" fmla="*/ 0 w 99"/>
              <a:gd name="T81" fmla="*/ 3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112">
                <a:moveTo>
                  <a:pt x="0" y="38"/>
                </a:moveTo>
                <a:cubicBezTo>
                  <a:pt x="0" y="38"/>
                  <a:pt x="2" y="36"/>
                  <a:pt x="4" y="37"/>
                </a:cubicBezTo>
                <a:cubicBezTo>
                  <a:pt x="6" y="37"/>
                  <a:pt x="11" y="38"/>
                  <a:pt x="13" y="39"/>
                </a:cubicBezTo>
                <a:cubicBezTo>
                  <a:pt x="15" y="40"/>
                  <a:pt x="17" y="39"/>
                  <a:pt x="17" y="39"/>
                </a:cubicBezTo>
                <a:cubicBezTo>
                  <a:pt x="17" y="39"/>
                  <a:pt x="21" y="38"/>
                  <a:pt x="22" y="37"/>
                </a:cubicBezTo>
                <a:cubicBezTo>
                  <a:pt x="22" y="36"/>
                  <a:pt x="25" y="34"/>
                  <a:pt x="25" y="34"/>
                </a:cubicBezTo>
                <a:cubicBezTo>
                  <a:pt x="25" y="34"/>
                  <a:pt x="27" y="33"/>
                  <a:pt x="28" y="31"/>
                </a:cubicBezTo>
                <a:cubicBezTo>
                  <a:pt x="29" y="30"/>
                  <a:pt x="31" y="28"/>
                  <a:pt x="33" y="26"/>
                </a:cubicBezTo>
                <a:cubicBezTo>
                  <a:pt x="35" y="25"/>
                  <a:pt x="36" y="23"/>
                  <a:pt x="37" y="23"/>
                </a:cubicBezTo>
                <a:cubicBezTo>
                  <a:pt x="38" y="22"/>
                  <a:pt x="44" y="20"/>
                  <a:pt x="44" y="20"/>
                </a:cubicBezTo>
                <a:cubicBezTo>
                  <a:pt x="44" y="20"/>
                  <a:pt x="46" y="20"/>
                  <a:pt x="46" y="19"/>
                </a:cubicBezTo>
                <a:cubicBezTo>
                  <a:pt x="47" y="17"/>
                  <a:pt x="48" y="16"/>
                  <a:pt x="49" y="15"/>
                </a:cubicBezTo>
                <a:cubicBezTo>
                  <a:pt x="49" y="14"/>
                  <a:pt x="50" y="10"/>
                  <a:pt x="50" y="9"/>
                </a:cubicBezTo>
                <a:cubicBezTo>
                  <a:pt x="50" y="7"/>
                  <a:pt x="50" y="4"/>
                  <a:pt x="51" y="3"/>
                </a:cubicBezTo>
                <a:cubicBezTo>
                  <a:pt x="52" y="2"/>
                  <a:pt x="53" y="2"/>
                  <a:pt x="53" y="2"/>
                </a:cubicBezTo>
                <a:cubicBezTo>
                  <a:pt x="53" y="2"/>
                  <a:pt x="60" y="0"/>
                  <a:pt x="61" y="0"/>
                </a:cubicBezTo>
                <a:cubicBezTo>
                  <a:pt x="61" y="0"/>
                  <a:pt x="63" y="2"/>
                  <a:pt x="63" y="3"/>
                </a:cubicBezTo>
                <a:cubicBezTo>
                  <a:pt x="62" y="4"/>
                  <a:pt x="62" y="5"/>
                  <a:pt x="62" y="5"/>
                </a:cubicBezTo>
                <a:cubicBezTo>
                  <a:pt x="62" y="5"/>
                  <a:pt x="64" y="6"/>
                  <a:pt x="66" y="7"/>
                </a:cubicBezTo>
                <a:cubicBezTo>
                  <a:pt x="67" y="8"/>
                  <a:pt x="70" y="6"/>
                  <a:pt x="71" y="5"/>
                </a:cubicBezTo>
                <a:cubicBezTo>
                  <a:pt x="72" y="4"/>
                  <a:pt x="74" y="7"/>
                  <a:pt x="74" y="7"/>
                </a:cubicBezTo>
                <a:cubicBezTo>
                  <a:pt x="74" y="7"/>
                  <a:pt x="75" y="7"/>
                  <a:pt x="76" y="7"/>
                </a:cubicBezTo>
                <a:cubicBezTo>
                  <a:pt x="77" y="7"/>
                  <a:pt x="78" y="8"/>
                  <a:pt x="79" y="11"/>
                </a:cubicBezTo>
                <a:cubicBezTo>
                  <a:pt x="79" y="13"/>
                  <a:pt x="82" y="15"/>
                  <a:pt x="83" y="16"/>
                </a:cubicBezTo>
                <a:cubicBezTo>
                  <a:pt x="83" y="16"/>
                  <a:pt x="86" y="16"/>
                  <a:pt x="86" y="16"/>
                </a:cubicBezTo>
                <a:cubicBezTo>
                  <a:pt x="87" y="16"/>
                  <a:pt x="87" y="16"/>
                  <a:pt x="88" y="16"/>
                </a:cubicBezTo>
                <a:cubicBezTo>
                  <a:pt x="89" y="17"/>
                  <a:pt x="90" y="17"/>
                  <a:pt x="90" y="17"/>
                </a:cubicBezTo>
                <a:cubicBezTo>
                  <a:pt x="90" y="17"/>
                  <a:pt x="91" y="17"/>
                  <a:pt x="93" y="18"/>
                </a:cubicBezTo>
                <a:cubicBezTo>
                  <a:pt x="94" y="19"/>
                  <a:pt x="95" y="21"/>
                  <a:pt x="95" y="23"/>
                </a:cubicBezTo>
                <a:cubicBezTo>
                  <a:pt x="95" y="25"/>
                  <a:pt x="96" y="26"/>
                  <a:pt x="97" y="27"/>
                </a:cubicBezTo>
                <a:cubicBezTo>
                  <a:pt x="98" y="27"/>
                  <a:pt x="98" y="31"/>
                  <a:pt x="97" y="32"/>
                </a:cubicBezTo>
                <a:cubicBezTo>
                  <a:pt x="96" y="32"/>
                  <a:pt x="96" y="34"/>
                  <a:pt x="96" y="37"/>
                </a:cubicBezTo>
                <a:cubicBezTo>
                  <a:pt x="96" y="40"/>
                  <a:pt x="98" y="45"/>
                  <a:pt x="98" y="48"/>
                </a:cubicBezTo>
                <a:cubicBezTo>
                  <a:pt x="98" y="50"/>
                  <a:pt x="95" y="50"/>
                  <a:pt x="93" y="50"/>
                </a:cubicBezTo>
                <a:cubicBezTo>
                  <a:pt x="92" y="50"/>
                  <a:pt x="92" y="52"/>
                  <a:pt x="93" y="54"/>
                </a:cubicBezTo>
                <a:cubicBezTo>
                  <a:pt x="93" y="56"/>
                  <a:pt x="95" y="61"/>
                  <a:pt x="95" y="63"/>
                </a:cubicBezTo>
                <a:cubicBezTo>
                  <a:pt x="95" y="65"/>
                  <a:pt x="95" y="65"/>
                  <a:pt x="96" y="65"/>
                </a:cubicBezTo>
                <a:cubicBezTo>
                  <a:pt x="97" y="65"/>
                  <a:pt x="99" y="68"/>
                  <a:pt x="99" y="71"/>
                </a:cubicBezTo>
                <a:cubicBezTo>
                  <a:pt x="98" y="73"/>
                  <a:pt x="97" y="75"/>
                  <a:pt x="94" y="76"/>
                </a:cubicBezTo>
                <a:cubicBezTo>
                  <a:pt x="91" y="77"/>
                  <a:pt x="94" y="78"/>
                  <a:pt x="92" y="81"/>
                </a:cubicBezTo>
                <a:cubicBezTo>
                  <a:pt x="91" y="84"/>
                  <a:pt x="92" y="88"/>
                  <a:pt x="91" y="89"/>
                </a:cubicBezTo>
                <a:cubicBezTo>
                  <a:pt x="90" y="90"/>
                  <a:pt x="89" y="92"/>
                  <a:pt x="89" y="93"/>
                </a:cubicBezTo>
                <a:cubicBezTo>
                  <a:pt x="89" y="94"/>
                  <a:pt x="89" y="96"/>
                  <a:pt x="88" y="97"/>
                </a:cubicBezTo>
                <a:cubicBezTo>
                  <a:pt x="87" y="98"/>
                  <a:pt x="84" y="99"/>
                  <a:pt x="83" y="99"/>
                </a:cubicBezTo>
                <a:cubicBezTo>
                  <a:pt x="83" y="100"/>
                  <a:pt x="82" y="101"/>
                  <a:pt x="82" y="102"/>
                </a:cubicBezTo>
                <a:cubicBezTo>
                  <a:pt x="82" y="103"/>
                  <a:pt x="81" y="104"/>
                  <a:pt x="79" y="106"/>
                </a:cubicBezTo>
                <a:cubicBezTo>
                  <a:pt x="77" y="108"/>
                  <a:pt x="78" y="112"/>
                  <a:pt x="78" y="112"/>
                </a:cubicBezTo>
                <a:cubicBezTo>
                  <a:pt x="77" y="112"/>
                  <a:pt x="76" y="111"/>
                  <a:pt x="75" y="111"/>
                </a:cubicBezTo>
                <a:cubicBezTo>
                  <a:pt x="74" y="111"/>
                  <a:pt x="74" y="111"/>
                  <a:pt x="73" y="111"/>
                </a:cubicBezTo>
                <a:cubicBezTo>
                  <a:pt x="72" y="111"/>
                  <a:pt x="70" y="111"/>
                  <a:pt x="70" y="110"/>
                </a:cubicBezTo>
                <a:cubicBezTo>
                  <a:pt x="70" y="110"/>
                  <a:pt x="70" y="110"/>
                  <a:pt x="68" y="110"/>
                </a:cubicBezTo>
                <a:cubicBezTo>
                  <a:pt x="67" y="109"/>
                  <a:pt x="66" y="110"/>
                  <a:pt x="66" y="110"/>
                </a:cubicBezTo>
                <a:cubicBezTo>
                  <a:pt x="65" y="110"/>
                  <a:pt x="62" y="110"/>
                  <a:pt x="61" y="110"/>
                </a:cubicBezTo>
                <a:cubicBezTo>
                  <a:pt x="61" y="110"/>
                  <a:pt x="59" y="109"/>
                  <a:pt x="59" y="109"/>
                </a:cubicBezTo>
                <a:cubicBezTo>
                  <a:pt x="59" y="108"/>
                  <a:pt x="58" y="107"/>
                  <a:pt x="57" y="107"/>
                </a:cubicBezTo>
                <a:cubicBezTo>
                  <a:pt x="56" y="107"/>
                  <a:pt x="55" y="108"/>
                  <a:pt x="54" y="108"/>
                </a:cubicBezTo>
                <a:cubicBezTo>
                  <a:pt x="54" y="108"/>
                  <a:pt x="53" y="107"/>
                  <a:pt x="52" y="106"/>
                </a:cubicBezTo>
                <a:cubicBezTo>
                  <a:pt x="51" y="106"/>
                  <a:pt x="51" y="105"/>
                  <a:pt x="50" y="105"/>
                </a:cubicBezTo>
                <a:cubicBezTo>
                  <a:pt x="50" y="105"/>
                  <a:pt x="49" y="103"/>
                  <a:pt x="49" y="103"/>
                </a:cubicBezTo>
                <a:cubicBezTo>
                  <a:pt x="49" y="102"/>
                  <a:pt x="49" y="102"/>
                  <a:pt x="49" y="102"/>
                </a:cubicBezTo>
                <a:cubicBezTo>
                  <a:pt x="46" y="98"/>
                  <a:pt x="46" y="98"/>
                  <a:pt x="46" y="98"/>
                </a:cubicBezTo>
                <a:cubicBezTo>
                  <a:pt x="46" y="98"/>
                  <a:pt x="44" y="98"/>
                  <a:pt x="43" y="98"/>
                </a:cubicBezTo>
                <a:cubicBezTo>
                  <a:pt x="43" y="98"/>
                  <a:pt x="40" y="98"/>
                  <a:pt x="39" y="98"/>
                </a:cubicBezTo>
                <a:cubicBezTo>
                  <a:pt x="38" y="97"/>
                  <a:pt x="36" y="96"/>
                  <a:pt x="36" y="96"/>
                </a:cubicBezTo>
                <a:cubicBezTo>
                  <a:pt x="35" y="95"/>
                  <a:pt x="34" y="92"/>
                  <a:pt x="34" y="92"/>
                </a:cubicBezTo>
                <a:cubicBezTo>
                  <a:pt x="34" y="91"/>
                  <a:pt x="33" y="86"/>
                  <a:pt x="33" y="86"/>
                </a:cubicBezTo>
                <a:cubicBezTo>
                  <a:pt x="33" y="86"/>
                  <a:pt x="32" y="83"/>
                  <a:pt x="32" y="82"/>
                </a:cubicBezTo>
                <a:cubicBezTo>
                  <a:pt x="32" y="82"/>
                  <a:pt x="30" y="80"/>
                  <a:pt x="30" y="79"/>
                </a:cubicBezTo>
                <a:cubicBezTo>
                  <a:pt x="29" y="79"/>
                  <a:pt x="27" y="79"/>
                  <a:pt x="27" y="78"/>
                </a:cubicBezTo>
                <a:cubicBezTo>
                  <a:pt x="27" y="77"/>
                  <a:pt x="27" y="76"/>
                  <a:pt x="27" y="76"/>
                </a:cubicBezTo>
                <a:cubicBezTo>
                  <a:pt x="23" y="72"/>
                  <a:pt x="23" y="72"/>
                  <a:pt x="23" y="72"/>
                </a:cubicBezTo>
                <a:cubicBezTo>
                  <a:pt x="19" y="69"/>
                  <a:pt x="19" y="69"/>
                  <a:pt x="19" y="69"/>
                </a:cubicBezTo>
                <a:cubicBezTo>
                  <a:pt x="19" y="69"/>
                  <a:pt x="17" y="67"/>
                  <a:pt x="17" y="66"/>
                </a:cubicBezTo>
                <a:cubicBezTo>
                  <a:pt x="16" y="65"/>
                  <a:pt x="14" y="61"/>
                  <a:pt x="14" y="60"/>
                </a:cubicBezTo>
                <a:cubicBezTo>
                  <a:pt x="14" y="60"/>
                  <a:pt x="13" y="58"/>
                  <a:pt x="13" y="58"/>
                </a:cubicBezTo>
                <a:cubicBezTo>
                  <a:pt x="12" y="56"/>
                  <a:pt x="12" y="56"/>
                  <a:pt x="12" y="56"/>
                </a:cubicBezTo>
                <a:cubicBezTo>
                  <a:pt x="10" y="53"/>
                  <a:pt x="10" y="53"/>
                  <a:pt x="10" y="53"/>
                </a:cubicBezTo>
                <a:cubicBezTo>
                  <a:pt x="10" y="53"/>
                  <a:pt x="8" y="48"/>
                  <a:pt x="8" y="48"/>
                </a:cubicBezTo>
                <a:cubicBezTo>
                  <a:pt x="8" y="48"/>
                  <a:pt x="6" y="45"/>
                  <a:pt x="5" y="44"/>
                </a:cubicBezTo>
                <a:cubicBezTo>
                  <a:pt x="4" y="43"/>
                  <a:pt x="2" y="41"/>
                  <a:pt x="2" y="41"/>
                </a:cubicBezTo>
                <a:cubicBezTo>
                  <a:pt x="1" y="41"/>
                  <a:pt x="1" y="41"/>
                  <a:pt x="1" y="41"/>
                </a:cubicBezTo>
                <a:cubicBezTo>
                  <a:pt x="1" y="41"/>
                  <a:pt x="0" y="39"/>
                  <a:pt x="0" y="38"/>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4" name="Angolo"/>
          <p:cNvSpPr>
            <a:spLocks/>
          </p:cNvSpPr>
          <p:nvPr/>
        </p:nvSpPr>
        <p:spPr bwMode="auto">
          <a:xfrm>
            <a:off x="6508826" y="4205610"/>
            <a:ext cx="332469" cy="454510"/>
          </a:xfrm>
          <a:custGeom>
            <a:avLst/>
            <a:gdLst>
              <a:gd name="connsiteX0" fmla="*/ 52962 w 323168"/>
              <a:gd name="connsiteY0" fmla="*/ 54444 h 441794"/>
              <a:gd name="connsiteX1" fmla="*/ 58923 w 323168"/>
              <a:gd name="connsiteY1" fmla="*/ 58438 h 441794"/>
              <a:gd name="connsiteX2" fmla="*/ 70843 w 323168"/>
              <a:gd name="connsiteY2" fmla="*/ 60434 h 441794"/>
              <a:gd name="connsiteX3" fmla="*/ 76804 w 323168"/>
              <a:gd name="connsiteY3" fmla="*/ 60434 h 441794"/>
              <a:gd name="connsiteX4" fmla="*/ 82764 w 323168"/>
              <a:gd name="connsiteY4" fmla="*/ 60434 h 441794"/>
              <a:gd name="connsiteX5" fmla="*/ 92698 w 323168"/>
              <a:gd name="connsiteY5" fmla="*/ 60434 h 441794"/>
              <a:gd name="connsiteX6" fmla="*/ 98659 w 323168"/>
              <a:gd name="connsiteY6" fmla="*/ 62431 h 441794"/>
              <a:gd name="connsiteX7" fmla="*/ 104619 w 323168"/>
              <a:gd name="connsiteY7" fmla="*/ 58438 h 441794"/>
              <a:gd name="connsiteX8" fmla="*/ 108593 w 323168"/>
              <a:gd name="connsiteY8" fmla="*/ 60434 h 441794"/>
              <a:gd name="connsiteX9" fmla="*/ 116540 w 323168"/>
              <a:gd name="connsiteY9" fmla="*/ 60434 h 441794"/>
              <a:gd name="connsiteX10" fmla="*/ 122500 w 323168"/>
              <a:gd name="connsiteY10" fmla="*/ 58438 h 441794"/>
              <a:gd name="connsiteX11" fmla="*/ 132434 w 323168"/>
              <a:gd name="connsiteY11" fmla="*/ 62431 h 441794"/>
              <a:gd name="connsiteX12" fmla="*/ 134421 w 323168"/>
              <a:gd name="connsiteY12" fmla="*/ 70417 h 441794"/>
              <a:gd name="connsiteX13" fmla="*/ 136408 w 323168"/>
              <a:gd name="connsiteY13" fmla="*/ 80401 h 441794"/>
              <a:gd name="connsiteX14" fmla="*/ 138395 w 323168"/>
              <a:gd name="connsiteY14" fmla="*/ 90384 h 441794"/>
              <a:gd name="connsiteX15" fmla="*/ 142369 w 323168"/>
              <a:gd name="connsiteY15" fmla="*/ 96374 h 441794"/>
              <a:gd name="connsiteX16" fmla="*/ 144355 w 323168"/>
              <a:gd name="connsiteY16" fmla="*/ 102364 h 441794"/>
              <a:gd name="connsiteX17" fmla="*/ 146342 w 323168"/>
              <a:gd name="connsiteY17" fmla="*/ 110350 h 441794"/>
              <a:gd name="connsiteX18" fmla="*/ 156276 w 323168"/>
              <a:gd name="connsiteY18" fmla="*/ 124327 h 441794"/>
              <a:gd name="connsiteX19" fmla="*/ 164223 w 323168"/>
              <a:gd name="connsiteY19" fmla="*/ 130317 h 441794"/>
              <a:gd name="connsiteX20" fmla="*/ 172171 w 323168"/>
              <a:gd name="connsiteY20" fmla="*/ 130317 h 441794"/>
              <a:gd name="connsiteX21" fmla="*/ 176144 w 323168"/>
              <a:gd name="connsiteY21" fmla="*/ 130317 h 441794"/>
              <a:gd name="connsiteX22" fmla="*/ 182105 w 323168"/>
              <a:gd name="connsiteY22" fmla="*/ 128320 h 441794"/>
              <a:gd name="connsiteX23" fmla="*/ 184092 w 323168"/>
              <a:gd name="connsiteY23" fmla="*/ 128320 h 441794"/>
              <a:gd name="connsiteX24" fmla="*/ 188065 w 323168"/>
              <a:gd name="connsiteY24" fmla="*/ 128320 h 441794"/>
              <a:gd name="connsiteX25" fmla="*/ 192039 w 323168"/>
              <a:gd name="connsiteY25" fmla="*/ 126324 h 441794"/>
              <a:gd name="connsiteX26" fmla="*/ 196012 w 323168"/>
              <a:gd name="connsiteY26" fmla="*/ 126324 h 441794"/>
              <a:gd name="connsiteX27" fmla="*/ 201973 w 323168"/>
              <a:gd name="connsiteY27" fmla="*/ 130317 h 441794"/>
              <a:gd name="connsiteX28" fmla="*/ 203960 w 323168"/>
              <a:gd name="connsiteY28" fmla="*/ 130317 h 441794"/>
              <a:gd name="connsiteX29" fmla="*/ 205946 w 323168"/>
              <a:gd name="connsiteY29" fmla="*/ 124327 h 441794"/>
              <a:gd name="connsiteX30" fmla="*/ 209920 w 323168"/>
              <a:gd name="connsiteY30" fmla="*/ 120334 h 441794"/>
              <a:gd name="connsiteX31" fmla="*/ 211907 w 323168"/>
              <a:gd name="connsiteY31" fmla="*/ 116340 h 441794"/>
              <a:gd name="connsiteX32" fmla="*/ 213894 w 323168"/>
              <a:gd name="connsiteY32" fmla="*/ 112347 h 441794"/>
              <a:gd name="connsiteX33" fmla="*/ 213894 w 323168"/>
              <a:gd name="connsiteY33" fmla="*/ 108354 h 441794"/>
              <a:gd name="connsiteX34" fmla="*/ 209920 w 323168"/>
              <a:gd name="connsiteY34" fmla="*/ 104360 h 441794"/>
              <a:gd name="connsiteX35" fmla="*/ 211907 w 323168"/>
              <a:gd name="connsiteY35" fmla="*/ 100367 h 441794"/>
              <a:gd name="connsiteX36" fmla="*/ 217867 w 323168"/>
              <a:gd name="connsiteY36" fmla="*/ 100367 h 441794"/>
              <a:gd name="connsiteX37" fmla="*/ 219854 w 323168"/>
              <a:gd name="connsiteY37" fmla="*/ 96374 h 441794"/>
              <a:gd name="connsiteX38" fmla="*/ 223828 w 323168"/>
              <a:gd name="connsiteY38" fmla="*/ 98371 h 441794"/>
              <a:gd name="connsiteX39" fmla="*/ 225815 w 323168"/>
              <a:gd name="connsiteY39" fmla="*/ 96374 h 441794"/>
              <a:gd name="connsiteX40" fmla="*/ 229788 w 323168"/>
              <a:gd name="connsiteY40" fmla="*/ 94377 h 441794"/>
              <a:gd name="connsiteX41" fmla="*/ 231775 w 323168"/>
              <a:gd name="connsiteY41" fmla="*/ 92381 h 441794"/>
              <a:gd name="connsiteX42" fmla="*/ 235749 w 323168"/>
              <a:gd name="connsiteY42" fmla="*/ 98371 h 441794"/>
              <a:gd name="connsiteX43" fmla="*/ 237735 w 323168"/>
              <a:gd name="connsiteY43" fmla="*/ 102364 h 441794"/>
              <a:gd name="connsiteX44" fmla="*/ 243696 w 323168"/>
              <a:gd name="connsiteY44" fmla="*/ 100367 h 441794"/>
              <a:gd name="connsiteX45" fmla="*/ 247669 w 323168"/>
              <a:gd name="connsiteY45" fmla="*/ 102364 h 441794"/>
              <a:gd name="connsiteX46" fmla="*/ 251643 w 323168"/>
              <a:gd name="connsiteY46" fmla="*/ 100367 h 441794"/>
              <a:gd name="connsiteX47" fmla="*/ 255617 w 323168"/>
              <a:gd name="connsiteY47" fmla="*/ 102364 h 441794"/>
              <a:gd name="connsiteX48" fmla="*/ 259590 w 323168"/>
              <a:gd name="connsiteY48" fmla="*/ 100367 h 441794"/>
              <a:gd name="connsiteX49" fmla="*/ 263564 w 323168"/>
              <a:gd name="connsiteY49" fmla="*/ 102364 h 441794"/>
              <a:gd name="connsiteX50" fmla="*/ 267538 w 323168"/>
              <a:gd name="connsiteY50" fmla="*/ 104360 h 441794"/>
              <a:gd name="connsiteX51" fmla="*/ 267538 w 323168"/>
              <a:gd name="connsiteY51" fmla="*/ 110350 h 441794"/>
              <a:gd name="connsiteX52" fmla="*/ 269524 w 323168"/>
              <a:gd name="connsiteY52" fmla="*/ 114344 h 441794"/>
              <a:gd name="connsiteX53" fmla="*/ 269524 w 323168"/>
              <a:gd name="connsiteY53" fmla="*/ 120334 h 441794"/>
              <a:gd name="connsiteX54" fmla="*/ 269524 w 323168"/>
              <a:gd name="connsiteY54" fmla="*/ 128320 h 441794"/>
              <a:gd name="connsiteX55" fmla="*/ 271511 w 323168"/>
              <a:gd name="connsiteY55" fmla="*/ 138304 h 441794"/>
              <a:gd name="connsiteX56" fmla="*/ 271511 w 323168"/>
              <a:gd name="connsiteY56" fmla="*/ 142297 h 441794"/>
              <a:gd name="connsiteX57" fmla="*/ 271511 w 323168"/>
              <a:gd name="connsiteY57" fmla="*/ 152280 h 441794"/>
              <a:gd name="connsiteX58" fmla="*/ 269524 w 323168"/>
              <a:gd name="connsiteY58" fmla="*/ 160267 h 441794"/>
              <a:gd name="connsiteX59" fmla="*/ 269524 w 323168"/>
              <a:gd name="connsiteY59" fmla="*/ 174243 h 441794"/>
              <a:gd name="connsiteX60" fmla="*/ 271511 w 323168"/>
              <a:gd name="connsiteY60" fmla="*/ 186223 h 441794"/>
              <a:gd name="connsiteX61" fmla="*/ 277472 w 323168"/>
              <a:gd name="connsiteY61" fmla="*/ 196206 h 441794"/>
              <a:gd name="connsiteX62" fmla="*/ 279458 w 323168"/>
              <a:gd name="connsiteY62" fmla="*/ 202196 h 441794"/>
              <a:gd name="connsiteX63" fmla="*/ 279458 w 323168"/>
              <a:gd name="connsiteY63" fmla="*/ 210183 h 441794"/>
              <a:gd name="connsiteX64" fmla="*/ 277472 w 323168"/>
              <a:gd name="connsiteY64" fmla="*/ 220166 h 441794"/>
              <a:gd name="connsiteX65" fmla="*/ 277472 w 323168"/>
              <a:gd name="connsiteY65" fmla="*/ 228153 h 441794"/>
              <a:gd name="connsiteX66" fmla="*/ 281445 w 323168"/>
              <a:gd name="connsiteY66" fmla="*/ 228153 h 441794"/>
              <a:gd name="connsiteX67" fmla="*/ 287406 w 323168"/>
              <a:gd name="connsiteY67" fmla="*/ 226156 h 441794"/>
              <a:gd name="connsiteX68" fmla="*/ 293366 w 323168"/>
              <a:gd name="connsiteY68" fmla="*/ 224159 h 441794"/>
              <a:gd name="connsiteX69" fmla="*/ 297340 w 323168"/>
              <a:gd name="connsiteY69" fmla="*/ 224159 h 441794"/>
              <a:gd name="connsiteX70" fmla="*/ 301313 w 323168"/>
              <a:gd name="connsiteY70" fmla="*/ 222163 h 441794"/>
              <a:gd name="connsiteX71" fmla="*/ 305287 w 323168"/>
              <a:gd name="connsiteY71" fmla="*/ 220166 h 441794"/>
              <a:gd name="connsiteX72" fmla="*/ 311247 w 323168"/>
              <a:gd name="connsiteY72" fmla="*/ 220166 h 441794"/>
              <a:gd name="connsiteX73" fmla="*/ 313234 w 323168"/>
              <a:gd name="connsiteY73" fmla="*/ 222163 h 441794"/>
              <a:gd name="connsiteX74" fmla="*/ 315221 w 323168"/>
              <a:gd name="connsiteY74" fmla="*/ 222163 h 441794"/>
              <a:gd name="connsiteX75" fmla="*/ 323168 w 323168"/>
              <a:gd name="connsiteY75" fmla="*/ 224159 h 441794"/>
              <a:gd name="connsiteX76" fmla="*/ 323168 w 323168"/>
              <a:gd name="connsiteY76" fmla="*/ 230149 h 441794"/>
              <a:gd name="connsiteX77" fmla="*/ 323168 w 323168"/>
              <a:gd name="connsiteY77" fmla="*/ 234143 h 441794"/>
              <a:gd name="connsiteX78" fmla="*/ 321181 w 323168"/>
              <a:gd name="connsiteY78" fmla="*/ 244126 h 441794"/>
              <a:gd name="connsiteX79" fmla="*/ 321181 w 323168"/>
              <a:gd name="connsiteY79" fmla="*/ 248119 h 441794"/>
              <a:gd name="connsiteX80" fmla="*/ 321181 w 323168"/>
              <a:gd name="connsiteY80" fmla="*/ 254109 h 441794"/>
              <a:gd name="connsiteX81" fmla="*/ 321181 w 323168"/>
              <a:gd name="connsiteY81" fmla="*/ 262096 h 441794"/>
              <a:gd name="connsiteX82" fmla="*/ 319195 w 323168"/>
              <a:gd name="connsiteY82" fmla="*/ 270082 h 441794"/>
              <a:gd name="connsiteX83" fmla="*/ 321181 w 323168"/>
              <a:gd name="connsiteY83" fmla="*/ 274076 h 441794"/>
              <a:gd name="connsiteX84" fmla="*/ 321181 w 323168"/>
              <a:gd name="connsiteY84" fmla="*/ 280066 h 441794"/>
              <a:gd name="connsiteX85" fmla="*/ 313234 w 323168"/>
              <a:gd name="connsiteY85" fmla="*/ 280066 h 441794"/>
              <a:gd name="connsiteX86" fmla="*/ 309261 w 323168"/>
              <a:gd name="connsiteY86" fmla="*/ 282062 h 441794"/>
              <a:gd name="connsiteX87" fmla="*/ 301313 w 323168"/>
              <a:gd name="connsiteY87" fmla="*/ 282062 h 441794"/>
              <a:gd name="connsiteX88" fmla="*/ 295353 w 323168"/>
              <a:gd name="connsiteY88" fmla="*/ 282062 h 441794"/>
              <a:gd name="connsiteX89" fmla="*/ 289392 w 323168"/>
              <a:gd name="connsiteY89" fmla="*/ 282062 h 441794"/>
              <a:gd name="connsiteX90" fmla="*/ 285419 w 323168"/>
              <a:gd name="connsiteY90" fmla="*/ 284059 h 441794"/>
              <a:gd name="connsiteX91" fmla="*/ 277472 w 323168"/>
              <a:gd name="connsiteY91" fmla="*/ 282062 h 441794"/>
              <a:gd name="connsiteX92" fmla="*/ 273498 w 323168"/>
              <a:gd name="connsiteY92" fmla="*/ 284059 h 441794"/>
              <a:gd name="connsiteX93" fmla="*/ 269524 w 323168"/>
              <a:gd name="connsiteY93" fmla="*/ 290049 h 441794"/>
              <a:gd name="connsiteX94" fmla="*/ 269524 w 323168"/>
              <a:gd name="connsiteY94" fmla="*/ 300032 h 441794"/>
              <a:gd name="connsiteX95" fmla="*/ 269524 w 323168"/>
              <a:gd name="connsiteY95" fmla="*/ 310015 h 441794"/>
              <a:gd name="connsiteX96" fmla="*/ 271511 w 323168"/>
              <a:gd name="connsiteY96" fmla="*/ 319999 h 441794"/>
              <a:gd name="connsiteX97" fmla="*/ 269524 w 323168"/>
              <a:gd name="connsiteY97" fmla="*/ 327985 h 441794"/>
              <a:gd name="connsiteX98" fmla="*/ 269524 w 323168"/>
              <a:gd name="connsiteY98" fmla="*/ 335972 h 441794"/>
              <a:gd name="connsiteX99" fmla="*/ 267538 w 323168"/>
              <a:gd name="connsiteY99" fmla="*/ 339965 h 441794"/>
              <a:gd name="connsiteX100" fmla="*/ 267538 w 323168"/>
              <a:gd name="connsiteY100" fmla="*/ 355938 h 441794"/>
              <a:gd name="connsiteX101" fmla="*/ 269524 w 323168"/>
              <a:gd name="connsiteY101" fmla="*/ 363925 h 441794"/>
              <a:gd name="connsiteX102" fmla="*/ 269524 w 323168"/>
              <a:gd name="connsiteY102" fmla="*/ 373908 h 441794"/>
              <a:gd name="connsiteX103" fmla="*/ 271511 w 323168"/>
              <a:gd name="connsiteY103" fmla="*/ 379898 h 441794"/>
              <a:gd name="connsiteX104" fmla="*/ 277472 w 323168"/>
              <a:gd name="connsiteY104" fmla="*/ 379898 h 441794"/>
              <a:gd name="connsiteX105" fmla="*/ 283432 w 323168"/>
              <a:gd name="connsiteY105" fmla="*/ 377901 h 441794"/>
              <a:gd name="connsiteX106" fmla="*/ 285419 w 323168"/>
              <a:gd name="connsiteY106" fmla="*/ 375905 h 441794"/>
              <a:gd name="connsiteX107" fmla="*/ 289392 w 323168"/>
              <a:gd name="connsiteY107" fmla="*/ 375905 h 441794"/>
              <a:gd name="connsiteX108" fmla="*/ 291379 w 323168"/>
              <a:gd name="connsiteY108" fmla="*/ 379898 h 441794"/>
              <a:gd name="connsiteX109" fmla="*/ 287406 w 323168"/>
              <a:gd name="connsiteY109" fmla="*/ 385888 h 441794"/>
              <a:gd name="connsiteX110" fmla="*/ 287406 w 323168"/>
              <a:gd name="connsiteY110" fmla="*/ 387885 h 441794"/>
              <a:gd name="connsiteX111" fmla="*/ 291379 w 323168"/>
              <a:gd name="connsiteY111" fmla="*/ 389881 h 441794"/>
              <a:gd name="connsiteX112" fmla="*/ 293366 w 323168"/>
              <a:gd name="connsiteY112" fmla="*/ 391878 h 441794"/>
              <a:gd name="connsiteX113" fmla="*/ 293366 w 323168"/>
              <a:gd name="connsiteY113" fmla="*/ 399865 h 441794"/>
              <a:gd name="connsiteX114" fmla="*/ 297340 w 323168"/>
              <a:gd name="connsiteY114" fmla="*/ 399865 h 441794"/>
              <a:gd name="connsiteX115" fmla="*/ 297340 w 323168"/>
              <a:gd name="connsiteY115" fmla="*/ 401861 h 441794"/>
              <a:gd name="connsiteX116" fmla="*/ 303300 w 323168"/>
              <a:gd name="connsiteY116" fmla="*/ 405855 h 441794"/>
              <a:gd name="connsiteX117" fmla="*/ 307274 w 323168"/>
              <a:gd name="connsiteY117" fmla="*/ 409848 h 441794"/>
              <a:gd name="connsiteX118" fmla="*/ 307274 w 323168"/>
              <a:gd name="connsiteY118" fmla="*/ 413841 h 441794"/>
              <a:gd name="connsiteX119" fmla="*/ 309261 w 323168"/>
              <a:gd name="connsiteY119" fmla="*/ 417834 h 441794"/>
              <a:gd name="connsiteX120" fmla="*/ 309261 w 323168"/>
              <a:gd name="connsiteY120" fmla="*/ 421828 h 441794"/>
              <a:gd name="connsiteX121" fmla="*/ 311247 w 323168"/>
              <a:gd name="connsiteY121" fmla="*/ 421828 h 441794"/>
              <a:gd name="connsiteX122" fmla="*/ 313234 w 323168"/>
              <a:gd name="connsiteY122" fmla="*/ 421828 h 441794"/>
              <a:gd name="connsiteX123" fmla="*/ 313234 w 323168"/>
              <a:gd name="connsiteY123" fmla="*/ 425821 h 441794"/>
              <a:gd name="connsiteX124" fmla="*/ 315221 w 323168"/>
              <a:gd name="connsiteY124" fmla="*/ 429814 h 441794"/>
              <a:gd name="connsiteX125" fmla="*/ 309261 w 323168"/>
              <a:gd name="connsiteY125" fmla="*/ 429814 h 441794"/>
              <a:gd name="connsiteX126" fmla="*/ 303300 w 323168"/>
              <a:gd name="connsiteY126" fmla="*/ 429814 h 441794"/>
              <a:gd name="connsiteX127" fmla="*/ 297340 w 323168"/>
              <a:gd name="connsiteY127" fmla="*/ 433808 h 441794"/>
              <a:gd name="connsiteX128" fmla="*/ 291379 w 323168"/>
              <a:gd name="connsiteY128" fmla="*/ 433808 h 441794"/>
              <a:gd name="connsiteX129" fmla="*/ 281445 w 323168"/>
              <a:gd name="connsiteY129" fmla="*/ 437801 h 441794"/>
              <a:gd name="connsiteX130" fmla="*/ 277472 w 323168"/>
              <a:gd name="connsiteY130" fmla="*/ 439798 h 441794"/>
              <a:gd name="connsiteX131" fmla="*/ 269524 w 323168"/>
              <a:gd name="connsiteY131" fmla="*/ 441794 h 441794"/>
              <a:gd name="connsiteX132" fmla="*/ 263564 w 323168"/>
              <a:gd name="connsiteY132" fmla="*/ 441794 h 441794"/>
              <a:gd name="connsiteX133" fmla="*/ 259590 w 323168"/>
              <a:gd name="connsiteY133" fmla="*/ 441794 h 441794"/>
              <a:gd name="connsiteX134" fmla="*/ 251643 w 323168"/>
              <a:gd name="connsiteY134" fmla="*/ 441794 h 441794"/>
              <a:gd name="connsiteX135" fmla="*/ 241709 w 323168"/>
              <a:gd name="connsiteY135" fmla="*/ 441794 h 441794"/>
              <a:gd name="connsiteX136" fmla="*/ 235749 w 323168"/>
              <a:gd name="connsiteY136" fmla="*/ 439798 h 441794"/>
              <a:gd name="connsiteX137" fmla="*/ 229788 w 323168"/>
              <a:gd name="connsiteY137" fmla="*/ 437801 h 441794"/>
              <a:gd name="connsiteX138" fmla="*/ 225815 w 323168"/>
              <a:gd name="connsiteY138" fmla="*/ 435804 h 441794"/>
              <a:gd name="connsiteX139" fmla="*/ 221841 w 323168"/>
              <a:gd name="connsiteY139" fmla="*/ 435804 h 441794"/>
              <a:gd name="connsiteX140" fmla="*/ 219854 w 323168"/>
              <a:gd name="connsiteY140" fmla="*/ 437801 h 441794"/>
              <a:gd name="connsiteX141" fmla="*/ 213894 w 323168"/>
              <a:gd name="connsiteY141" fmla="*/ 437801 h 441794"/>
              <a:gd name="connsiteX142" fmla="*/ 205946 w 323168"/>
              <a:gd name="connsiteY142" fmla="*/ 437801 h 441794"/>
              <a:gd name="connsiteX143" fmla="*/ 194026 w 323168"/>
              <a:gd name="connsiteY143" fmla="*/ 431811 h 441794"/>
              <a:gd name="connsiteX144" fmla="*/ 192039 w 323168"/>
              <a:gd name="connsiteY144" fmla="*/ 429814 h 441794"/>
              <a:gd name="connsiteX145" fmla="*/ 188065 w 323168"/>
              <a:gd name="connsiteY145" fmla="*/ 425821 h 441794"/>
              <a:gd name="connsiteX146" fmla="*/ 186078 w 323168"/>
              <a:gd name="connsiteY146" fmla="*/ 421828 h 441794"/>
              <a:gd name="connsiteX147" fmla="*/ 178131 w 323168"/>
              <a:gd name="connsiteY147" fmla="*/ 417834 h 441794"/>
              <a:gd name="connsiteX148" fmla="*/ 172171 w 323168"/>
              <a:gd name="connsiteY148" fmla="*/ 419831 h 441794"/>
              <a:gd name="connsiteX149" fmla="*/ 166210 w 323168"/>
              <a:gd name="connsiteY149" fmla="*/ 419831 h 441794"/>
              <a:gd name="connsiteX150" fmla="*/ 158263 w 323168"/>
              <a:gd name="connsiteY150" fmla="*/ 419831 h 441794"/>
              <a:gd name="connsiteX151" fmla="*/ 148329 w 323168"/>
              <a:gd name="connsiteY151" fmla="*/ 419831 h 441794"/>
              <a:gd name="connsiteX152" fmla="*/ 140382 w 323168"/>
              <a:gd name="connsiteY152" fmla="*/ 419831 h 441794"/>
              <a:gd name="connsiteX153" fmla="*/ 130448 w 323168"/>
              <a:gd name="connsiteY153" fmla="*/ 419831 h 441794"/>
              <a:gd name="connsiteX154" fmla="*/ 120514 w 323168"/>
              <a:gd name="connsiteY154" fmla="*/ 417834 h 441794"/>
              <a:gd name="connsiteX155" fmla="*/ 110580 w 323168"/>
              <a:gd name="connsiteY155" fmla="*/ 417834 h 441794"/>
              <a:gd name="connsiteX156" fmla="*/ 102632 w 323168"/>
              <a:gd name="connsiteY156" fmla="*/ 419831 h 441794"/>
              <a:gd name="connsiteX157" fmla="*/ 96672 w 323168"/>
              <a:gd name="connsiteY157" fmla="*/ 419831 h 441794"/>
              <a:gd name="connsiteX158" fmla="*/ 92698 w 323168"/>
              <a:gd name="connsiteY158" fmla="*/ 421828 h 441794"/>
              <a:gd name="connsiteX159" fmla="*/ 88725 w 323168"/>
              <a:gd name="connsiteY159" fmla="*/ 419831 h 441794"/>
              <a:gd name="connsiteX160" fmla="*/ 84751 w 323168"/>
              <a:gd name="connsiteY160" fmla="*/ 419831 h 441794"/>
              <a:gd name="connsiteX161" fmla="*/ 76804 w 323168"/>
              <a:gd name="connsiteY161" fmla="*/ 421828 h 441794"/>
              <a:gd name="connsiteX162" fmla="*/ 68857 w 323168"/>
              <a:gd name="connsiteY162" fmla="*/ 421828 h 441794"/>
              <a:gd name="connsiteX163" fmla="*/ 62896 w 323168"/>
              <a:gd name="connsiteY163" fmla="*/ 419831 h 441794"/>
              <a:gd name="connsiteX164" fmla="*/ 60909 w 323168"/>
              <a:gd name="connsiteY164" fmla="*/ 413841 h 441794"/>
              <a:gd name="connsiteX165" fmla="*/ 54949 w 323168"/>
              <a:gd name="connsiteY165" fmla="*/ 409848 h 441794"/>
              <a:gd name="connsiteX166" fmla="*/ 48988 w 323168"/>
              <a:gd name="connsiteY166" fmla="*/ 409848 h 441794"/>
              <a:gd name="connsiteX167" fmla="*/ 41041 w 323168"/>
              <a:gd name="connsiteY167" fmla="*/ 411844 h 441794"/>
              <a:gd name="connsiteX168" fmla="*/ 35081 w 323168"/>
              <a:gd name="connsiteY168" fmla="*/ 415838 h 441794"/>
              <a:gd name="connsiteX169" fmla="*/ 33094 w 323168"/>
              <a:gd name="connsiteY169" fmla="*/ 417834 h 441794"/>
              <a:gd name="connsiteX170" fmla="*/ 27134 w 323168"/>
              <a:gd name="connsiteY170" fmla="*/ 417834 h 441794"/>
              <a:gd name="connsiteX171" fmla="*/ 19186 w 323168"/>
              <a:gd name="connsiteY171" fmla="*/ 417834 h 441794"/>
              <a:gd name="connsiteX172" fmla="*/ 15213 w 323168"/>
              <a:gd name="connsiteY172" fmla="*/ 419831 h 441794"/>
              <a:gd name="connsiteX173" fmla="*/ 9252 w 323168"/>
              <a:gd name="connsiteY173" fmla="*/ 419831 h 441794"/>
              <a:gd name="connsiteX174" fmla="*/ 3291 w 323168"/>
              <a:gd name="connsiteY174" fmla="*/ 417834 h 441794"/>
              <a:gd name="connsiteX175" fmla="*/ 7265 w 323168"/>
              <a:gd name="connsiteY175" fmla="*/ 407851 h 441794"/>
              <a:gd name="connsiteX176" fmla="*/ 3291 w 323168"/>
              <a:gd name="connsiteY176" fmla="*/ 401861 h 441794"/>
              <a:gd name="connsiteX177" fmla="*/ 1305 w 323168"/>
              <a:gd name="connsiteY177" fmla="*/ 395871 h 441794"/>
              <a:gd name="connsiteX178" fmla="*/ 5278 w 323168"/>
              <a:gd name="connsiteY178" fmla="*/ 395871 h 441794"/>
              <a:gd name="connsiteX179" fmla="*/ 7265 w 323168"/>
              <a:gd name="connsiteY179" fmla="*/ 391878 h 441794"/>
              <a:gd name="connsiteX180" fmla="*/ 5278 w 323168"/>
              <a:gd name="connsiteY180" fmla="*/ 385888 h 441794"/>
              <a:gd name="connsiteX181" fmla="*/ 3291 w 323168"/>
              <a:gd name="connsiteY181" fmla="*/ 381895 h 441794"/>
              <a:gd name="connsiteX182" fmla="*/ 3291 w 323168"/>
              <a:gd name="connsiteY182" fmla="*/ 375905 h 441794"/>
              <a:gd name="connsiteX183" fmla="*/ 3291 w 323168"/>
              <a:gd name="connsiteY183" fmla="*/ 369915 h 441794"/>
              <a:gd name="connsiteX184" fmla="*/ 7265 w 323168"/>
              <a:gd name="connsiteY184" fmla="*/ 363925 h 441794"/>
              <a:gd name="connsiteX185" fmla="*/ 7265 w 323168"/>
              <a:gd name="connsiteY185" fmla="*/ 355938 h 441794"/>
              <a:gd name="connsiteX186" fmla="*/ 13226 w 323168"/>
              <a:gd name="connsiteY186" fmla="*/ 347952 h 441794"/>
              <a:gd name="connsiteX187" fmla="*/ 15213 w 323168"/>
              <a:gd name="connsiteY187" fmla="*/ 341962 h 441794"/>
              <a:gd name="connsiteX188" fmla="*/ 17200 w 323168"/>
              <a:gd name="connsiteY188" fmla="*/ 337968 h 441794"/>
              <a:gd name="connsiteX189" fmla="*/ 21173 w 323168"/>
              <a:gd name="connsiteY189" fmla="*/ 329982 h 441794"/>
              <a:gd name="connsiteX190" fmla="*/ 21173 w 323168"/>
              <a:gd name="connsiteY190" fmla="*/ 316005 h 441794"/>
              <a:gd name="connsiteX191" fmla="*/ 27134 w 323168"/>
              <a:gd name="connsiteY191" fmla="*/ 304025 h 441794"/>
              <a:gd name="connsiteX192" fmla="*/ 31107 w 323168"/>
              <a:gd name="connsiteY192" fmla="*/ 292046 h 441794"/>
              <a:gd name="connsiteX193" fmla="*/ 33094 w 323168"/>
              <a:gd name="connsiteY193" fmla="*/ 282062 h 441794"/>
              <a:gd name="connsiteX194" fmla="*/ 35081 w 323168"/>
              <a:gd name="connsiteY194" fmla="*/ 276072 h 441794"/>
              <a:gd name="connsiteX195" fmla="*/ 37068 w 323168"/>
              <a:gd name="connsiteY195" fmla="*/ 272079 h 441794"/>
              <a:gd name="connsiteX196" fmla="*/ 41041 w 323168"/>
              <a:gd name="connsiteY196" fmla="*/ 270082 h 441794"/>
              <a:gd name="connsiteX197" fmla="*/ 47002 w 323168"/>
              <a:gd name="connsiteY197" fmla="*/ 262096 h 441794"/>
              <a:gd name="connsiteX198" fmla="*/ 48988 w 323168"/>
              <a:gd name="connsiteY198" fmla="*/ 252113 h 441794"/>
              <a:gd name="connsiteX199" fmla="*/ 50975 w 323168"/>
              <a:gd name="connsiteY199" fmla="*/ 248119 h 441794"/>
              <a:gd name="connsiteX200" fmla="*/ 54949 w 323168"/>
              <a:gd name="connsiteY200" fmla="*/ 238136 h 441794"/>
              <a:gd name="connsiteX201" fmla="*/ 58923 w 323168"/>
              <a:gd name="connsiteY201" fmla="*/ 220166 h 441794"/>
              <a:gd name="connsiteX202" fmla="*/ 52962 w 323168"/>
              <a:gd name="connsiteY202" fmla="*/ 214176 h 441794"/>
              <a:gd name="connsiteX203" fmla="*/ 52962 w 323168"/>
              <a:gd name="connsiteY203" fmla="*/ 202196 h 441794"/>
              <a:gd name="connsiteX204" fmla="*/ 48988 w 323168"/>
              <a:gd name="connsiteY204" fmla="*/ 194210 h 441794"/>
              <a:gd name="connsiteX205" fmla="*/ 45015 w 323168"/>
              <a:gd name="connsiteY205" fmla="*/ 188220 h 441794"/>
              <a:gd name="connsiteX206" fmla="*/ 45015 w 323168"/>
              <a:gd name="connsiteY206" fmla="*/ 180233 h 441794"/>
              <a:gd name="connsiteX207" fmla="*/ 43028 w 323168"/>
              <a:gd name="connsiteY207" fmla="*/ 168253 h 441794"/>
              <a:gd name="connsiteX208" fmla="*/ 41041 w 323168"/>
              <a:gd name="connsiteY208" fmla="*/ 162263 h 441794"/>
              <a:gd name="connsiteX209" fmla="*/ 35081 w 323168"/>
              <a:gd name="connsiteY209" fmla="*/ 152280 h 441794"/>
              <a:gd name="connsiteX210" fmla="*/ 45015 w 323168"/>
              <a:gd name="connsiteY210" fmla="*/ 148287 h 441794"/>
              <a:gd name="connsiteX211" fmla="*/ 43028 w 323168"/>
              <a:gd name="connsiteY211" fmla="*/ 140300 h 441794"/>
              <a:gd name="connsiteX212" fmla="*/ 41041 w 323168"/>
              <a:gd name="connsiteY212" fmla="*/ 134310 h 441794"/>
              <a:gd name="connsiteX213" fmla="*/ 47002 w 323168"/>
              <a:gd name="connsiteY213" fmla="*/ 128320 h 441794"/>
              <a:gd name="connsiteX214" fmla="*/ 41041 w 323168"/>
              <a:gd name="connsiteY214" fmla="*/ 118337 h 441794"/>
              <a:gd name="connsiteX215" fmla="*/ 39054 w 323168"/>
              <a:gd name="connsiteY215" fmla="*/ 112347 h 441794"/>
              <a:gd name="connsiteX216" fmla="*/ 37068 w 323168"/>
              <a:gd name="connsiteY216" fmla="*/ 108354 h 441794"/>
              <a:gd name="connsiteX217" fmla="*/ 35081 w 323168"/>
              <a:gd name="connsiteY217" fmla="*/ 102364 h 441794"/>
              <a:gd name="connsiteX218" fmla="*/ 33094 w 323168"/>
              <a:gd name="connsiteY218" fmla="*/ 98371 h 441794"/>
              <a:gd name="connsiteX219" fmla="*/ 31107 w 323168"/>
              <a:gd name="connsiteY219" fmla="*/ 94377 h 441794"/>
              <a:gd name="connsiteX220" fmla="*/ 31107 w 323168"/>
              <a:gd name="connsiteY220" fmla="*/ 90384 h 441794"/>
              <a:gd name="connsiteX221" fmla="*/ 29120 w 323168"/>
              <a:gd name="connsiteY221" fmla="*/ 84394 h 441794"/>
              <a:gd name="connsiteX222" fmla="*/ 27134 w 323168"/>
              <a:gd name="connsiteY222" fmla="*/ 82397 h 441794"/>
              <a:gd name="connsiteX223" fmla="*/ 25147 w 323168"/>
              <a:gd name="connsiteY223" fmla="*/ 76407 h 441794"/>
              <a:gd name="connsiteX224" fmla="*/ 23160 w 323168"/>
              <a:gd name="connsiteY224" fmla="*/ 70417 h 441794"/>
              <a:gd name="connsiteX225" fmla="*/ 23160 w 323168"/>
              <a:gd name="connsiteY225" fmla="*/ 68421 h 441794"/>
              <a:gd name="connsiteX226" fmla="*/ 21173 w 323168"/>
              <a:gd name="connsiteY226" fmla="*/ 64427 h 441794"/>
              <a:gd name="connsiteX227" fmla="*/ 23160 w 323168"/>
              <a:gd name="connsiteY227" fmla="*/ 60434 h 441794"/>
              <a:gd name="connsiteX228" fmla="*/ 29120 w 323168"/>
              <a:gd name="connsiteY228" fmla="*/ 60434 h 441794"/>
              <a:gd name="connsiteX229" fmla="*/ 35081 w 323168"/>
              <a:gd name="connsiteY229" fmla="*/ 58438 h 441794"/>
              <a:gd name="connsiteX230" fmla="*/ 37068 w 323168"/>
              <a:gd name="connsiteY230" fmla="*/ 58438 h 441794"/>
              <a:gd name="connsiteX231" fmla="*/ 43028 w 323168"/>
              <a:gd name="connsiteY231" fmla="*/ 60434 h 441794"/>
              <a:gd name="connsiteX232" fmla="*/ 47002 w 323168"/>
              <a:gd name="connsiteY232" fmla="*/ 56441 h 441794"/>
              <a:gd name="connsiteX233" fmla="*/ 52962 w 323168"/>
              <a:gd name="connsiteY233" fmla="*/ 54444 h 441794"/>
              <a:gd name="connsiteX234" fmla="*/ 24401 w 323168"/>
              <a:gd name="connsiteY234" fmla="*/ 896 h 441794"/>
              <a:gd name="connsiteX235" fmla="*/ 30116 w 323168"/>
              <a:gd name="connsiteY235" fmla="*/ 896 h 441794"/>
              <a:gd name="connsiteX236" fmla="*/ 33926 w 323168"/>
              <a:gd name="connsiteY236" fmla="*/ 4926 h 441794"/>
              <a:gd name="connsiteX237" fmla="*/ 35831 w 323168"/>
              <a:gd name="connsiteY237" fmla="*/ 8956 h 441794"/>
              <a:gd name="connsiteX238" fmla="*/ 32021 w 323168"/>
              <a:gd name="connsiteY238" fmla="*/ 12985 h 441794"/>
              <a:gd name="connsiteX239" fmla="*/ 32021 w 323168"/>
              <a:gd name="connsiteY239" fmla="*/ 19030 h 441794"/>
              <a:gd name="connsiteX240" fmla="*/ 30116 w 323168"/>
              <a:gd name="connsiteY240" fmla="*/ 25075 h 441794"/>
              <a:gd name="connsiteX241" fmla="*/ 28211 w 323168"/>
              <a:gd name="connsiteY241" fmla="*/ 31119 h 441794"/>
              <a:gd name="connsiteX242" fmla="*/ 26306 w 323168"/>
              <a:gd name="connsiteY242" fmla="*/ 35149 h 441794"/>
              <a:gd name="connsiteX243" fmla="*/ 28211 w 323168"/>
              <a:gd name="connsiteY243" fmla="*/ 39179 h 441794"/>
              <a:gd name="connsiteX244" fmla="*/ 26306 w 323168"/>
              <a:gd name="connsiteY244" fmla="*/ 43209 h 441794"/>
              <a:gd name="connsiteX245" fmla="*/ 24401 w 323168"/>
              <a:gd name="connsiteY245" fmla="*/ 47238 h 441794"/>
              <a:gd name="connsiteX246" fmla="*/ 16781 w 323168"/>
              <a:gd name="connsiteY246" fmla="*/ 49253 h 441794"/>
              <a:gd name="connsiteX247" fmla="*/ 14876 w 323168"/>
              <a:gd name="connsiteY247" fmla="*/ 49253 h 441794"/>
              <a:gd name="connsiteX248" fmla="*/ 16781 w 323168"/>
              <a:gd name="connsiteY248" fmla="*/ 41194 h 441794"/>
              <a:gd name="connsiteX249" fmla="*/ 14876 w 323168"/>
              <a:gd name="connsiteY249" fmla="*/ 37164 h 441794"/>
              <a:gd name="connsiteX250" fmla="*/ 12971 w 323168"/>
              <a:gd name="connsiteY250" fmla="*/ 31119 h 441794"/>
              <a:gd name="connsiteX251" fmla="*/ 7256 w 323168"/>
              <a:gd name="connsiteY251" fmla="*/ 27090 h 441794"/>
              <a:gd name="connsiteX252" fmla="*/ 7256 w 323168"/>
              <a:gd name="connsiteY252" fmla="*/ 21045 h 441794"/>
              <a:gd name="connsiteX253" fmla="*/ 14876 w 323168"/>
              <a:gd name="connsiteY253" fmla="*/ 12985 h 441794"/>
              <a:gd name="connsiteX254" fmla="*/ 22496 w 323168"/>
              <a:gd name="connsiteY254" fmla="*/ 2911 h 441794"/>
              <a:gd name="connsiteX255" fmla="*/ 24401 w 323168"/>
              <a:gd name="connsiteY255" fmla="*/ 896 h 4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23168" h="441794">
                <a:moveTo>
                  <a:pt x="52962" y="54444"/>
                </a:moveTo>
                <a:cubicBezTo>
                  <a:pt x="54949" y="56441"/>
                  <a:pt x="56936" y="58438"/>
                  <a:pt x="58923" y="58438"/>
                </a:cubicBezTo>
                <a:cubicBezTo>
                  <a:pt x="60909" y="58438"/>
                  <a:pt x="66870" y="60434"/>
                  <a:pt x="70843" y="60434"/>
                </a:cubicBezTo>
                <a:cubicBezTo>
                  <a:pt x="72830" y="60434"/>
                  <a:pt x="74817" y="60434"/>
                  <a:pt x="76804" y="60434"/>
                </a:cubicBezTo>
                <a:cubicBezTo>
                  <a:pt x="78791" y="58438"/>
                  <a:pt x="82764" y="58438"/>
                  <a:pt x="82764" y="60434"/>
                </a:cubicBezTo>
                <a:cubicBezTo>
                  <a:pt x="86738" y="60434"/>
                  <a:pt x="88725" y="60434"/>
                  <a:pt x="92698" y="60434"/>
                </a:cubicBezTo>
                <a:cubicBezTo>
                  <a:pt x="94685" y="60434"/>
                  <a:pt x="96672" y="62431"/>
                  <a:pt x="98659" y="62431"/>
                </a:cubicBezTo>
                <a:cubicBezTo>
                  <a:pt x="98659" y="62431"/>
                  <a:pt x="102632" y="60434"/>
                  <a:pt x="104619" y="58438"/>
                </a:cubicBezTo>
                <a:cubicBezTo>
                  <a:pt x="104619" y="58438"/>
                  <a:pt x="108593" y="60434"/>
                  <a:pt x="108593" y="60434"/>
                </a:cubicBezTo>
                <a:cubicBezTo>
                  <a:pt x="110580" y="60434"/>
                  <a:pt x="112566" y="60434"/>
                  <a:pt x="116540" y="60434"/>
                </a:cubicBezTo>
                <a:cubicBezTo>
                  <a:pt x="116540" y="60434"/>
                  <a:pt x="120514" y="58438"/>
                  <a:pt x="122500" y="58438"/>
                </a:cubicBezTo>
                <a:cubicBezTo>
                  <a:pt x="124487" y="60434"/>
                  <a:pt x="132434" y="60434"/>
                  <a:pt x="132434" y="62431"/>
                </a:cubicBezTo>
                <a:cubicBezTo>
                  <a:pt x="134421" y="62431"/>
                  <a:pt x="134421" y="68421"/>
                  <a:pt x="134421" y="70417"/>
                </a:cubicBezTo>
                <a:cubicBezTo>
                  <a:pt x="134421" y="72414"/>
                  <a:pt x="136408" y="78404"/>
                  <a:pt x="136408" y="80401"/>
                </a:cubicBezTo>
                <a:cubicBezTo>
                  <a:pt x="138395" y="82397"/>
                  <a:pt x="138395" y="90384"/>
                  <a:pt x="138395" y="90384"/>
                </a:cubicBezTo>
                <a:cubicBezTo>
                  <a:pt x="140382" y="92381"/>
                  <a:pt x="140382" y="94377"/>
                  <a:pt x="142369" y="96374"/>
                </a:cubicBezTo>
                <a:cubicBezTo>
                  <a:pt x="142369" y="96374"/>
                  <a:pt x="144355" y="100367"/>
                  <a:pt x="144355" y="102364"/>
                </a:cubicBezTo>
                <a:cubicBezTo>
                  <a:pt x="144355" y="102364"/>
                  <a:pt x="146342" y="110350"/>
                  <a:pt x="146342" y="110350"/>
                </a:cubicBezTo>
                <a:cubicBezTo>
                  <a:pt x="148329" y="112347"/>
                  <a:pt x="156276" y="124327"/>
                  <a:pt x="156276" y="124327"/>
                </a:cubicBezTo>
                <a:cubicBezTo>
                  <a:pt x="156276" y="124327"/>
                  <a:pt x="162237" y="130317"/>
                  <a:pt x="164223" y="130317"/>
                </a:cubicBezTo>
                <a:cubicBezTo>
                  <a:pt x="166210" y="130317"/>
                  <a:pt x="170184" y="130317"/>
                  <a:pt x="172171" y="130317"/>
                </a:cubicBezTo>
                <a:cubicBezTo>
                  <a:pt x="172171" y="130317"/>
                  <a:pt x="176144" y="132314"/>
                  <a:pt x="176144" y="130317"/>
                </a:cubicBezTo>
                <a:cubicBezTo>
                  <a:pt x="178131" y="130317"/>
                  <a:pt x="182105" y="128320"/>
                  <a:pt x="182105" y="128320"/>
                </a:cubicBezTo>
                <a:cubicBezTo>
                  <a:pt x="182105" y="128320"/>
                  <a:pt x="184092" y="128320"/>
                  <a:pt x="184092" y="128320"/>
                </a:cubicBezTo>
                <a:cubicBezTo>
                  <a:pt x="186078" y="128320"/>
                  <a:pt x="186078" y="128320"/>
                  <a:pt x="188065" y="128320"/>
                </a:cubicBezTo>
                <a:cubicBezTo>
                  <a:pt x="188065" y="126324"/>
                  <a:pt x="190052" y="126324"/>
                  <a:pt x="192039" y="126324"/>
                </a:cubicBezTo>
                <a:cubicBezTo>
                  <a:pt x="192039" y="126324"/>
                  <a:pt x="194026" y="126324"/>
                  <a:pt x="196012" y="126324"/>
                </a:cubicBezTo>
                <a:cubicBezTo>
                  <a:pt x="197999" y="128320"/>
                  <a:pt x="201973" y="128320"/>
                  <a:pt x="201973" y="130317"/>
                </a:cubicBezTo>
                <a:cubicBezTo>
                  <a:pt x="201973" y="130317"/>
                  <a:pt x="203960" y="130317"/>
                  <a:pt x="203960" y="130317"/>
                </a:cubicBezTo>
                <a:cubicBezTo>
                  <a:pt x="205946" y="128320"/>
                  <a:pt x="205946" y="126324"/>
                  <a:pt x="205946" y="124327"/>
                </a:cubicBezTo>
                <a:cubicBezTo>
                  <a:pt x="205946" y="122330"/>
                  <a:pt x="207933" y="122330"/>
                  <a:pt x="209920" y="120334"/>
                </a:cubicBezTo>
                <a:cubicBezTo>
                  <a:pt x="209920" y="120334"/>
                  <a:pt x="211907" y="118337"/>
                  <a:pt x="211907" y="116340"/>
                </a:cubicBezTo>
                <a:cubicBezTo>
                  <a:pt x="213894" y="116340"/>
                  <a:pt x="213894" y="112347"/>
                  <a:pt x="213894" y="112347"/>
                </a:cubicBezTo>
                <a:cubicBezTo>
                  <a:pt x="213894" y="110350"/>
                  <a:pt x="213894" y="108354"/>
                  <a:pt x="213894" y="108354"/>
                </a:cubicBezTo>
                <a:cubicBezTo>
                  <a:pt x="211907" y="106357"/>
                  <a:pt x="209920" y="106357"/>
                  <a:pt x="209920" y="104360"/>
                </a:cubicBezTo>
                <a:cubicBezTo>
                  <a:pt x="209920" y="104360"/>
                  <a:pt x="209920" y="100367"/>
                  <a:pt x="211907" y="100367"/>
                </a:cubicBezTo>
                <a:cubicBezTo>
                  <a:pt x="211907" y="100367"/>
                  <a:pt x="215881" y="100367"/>
                  <a:pt x="217867" y="100367"/>
                </a:cubicBezTo>
                <a:cubicBezTo>
                  <a:pt x="217867" y="100367"/>
                  <a:pt x="219854" y="96374"/>
                  <a:pt x="219854" y="96374"/>
                </a:cubicBezTo>
                <a:cubicBezTo>
                  <a:pt x="219854" y="96374"/>
                  <a:pt x="221841" y="98371"/>
                  <a:pt x="223828" y="98371"/>
                </a:cubicBezTo>
                <a:cubicBezTo>
                  <a:pt x="225815" y="96374"/>
                  <a:pt x="225815" y="96374"/>
                  <a:pt x="225815" y="96374"/>
                </a:cubicBezTo>
                <a:cubicBezTo>
                  <a:pt x="225815" y="94377"/>
                  <a:pt x="227801" y="94377"/>
                  <a:pt x="229788" y="94377"/>
                </a:cubicBezTo>
                <a:cubicBezTo>
                  <a:pt x="229788" y="92381"/>
                  <a:pt x="231775" y="92381"/>
                  <a:pt x="231775" y="92381"/>
                </a:cubicBezTo>
                <a:cubicBezTo>
                  <a:pt x="231775" y="92381"/>
                  <a:pt x="235749" y="98371"/>
                  <a:pt x="235749" y="98371"/>
                </a:cubicBezTo>
                <a:cubicBezTo>
                  <a:pt x="235749" y="98371"/>
                  <a:pt x="237735" y="102364"/>
                  <a:pt x="237735" y="102364"/>
                </a:cubicBezTo>
                <a:cubicBezTo>
                  <a:pt x="239722" y="102364"/>
                  <a:pt x="241709" y="100367"/>
                  <a:pt x="243696" y="100367"/>
                </a:cubicBezTo>
                <a:cubicBezTo>
                  <a:pt x="243696" y="102364"/>
                  <a:pt x="247669" y="102364"/>
                  <a:pt x="247669" y="102364"/>
                </a:cubicBezTo>
                <a:cubicBezTo>
                  <a:pt x="249656" y="102364"/>
                  <a:pt x="249656" y="100367"/>
                  <a:pt x="251643" y="100367"/>
                </a:cubicBezTo>
                <a:cubicBezTo>
                  <a:pt x="251643" y="100367"/>
                  <a:pt x="253630" y="102364"/>
                  <a:pt x="255617" y="102364"/>
                </a:cubicBezTo>
                <a:cubicBezTo>
                  <a:pt x="255617" y="102364"/>
                  <a:pt x="257604" y="100367"/>
                  <a:pt x="259590" y="100367"/>
                </a:cubicBezTo>
                <a:cubicBezTo>
                  <a:pt x="259590" y="100367"/>
                  <a:pt x="263564" y="100367"/>
                  <a:pt x="263564" y="102364"/>
                </a:cubicBezTo>
                <a:cubicBezTo>
                  <a:pt x="265551" y="102364"/>
                  <a:pt x="267538" y="102364"/>
                  <a:pt x="267538" y="104360"/>
                </a:cubicBezTo>
                <a:cubicBezTo>
                  <a:pt x="267538" y="104360"/>
                  <a:pt x="267538" y="110350"/>
                  <a:pt x="267538" y="110350"/>
                </a:cubicBezTo>
                <a:cubicBezTo>
                  <a:pt x="269524" y="112347"/>
                  <a:pt x="269524" y="114344"/>
                  <a:pt x="269524" y="114344"/>
                </a:cubicBezTo>
                <a:cubicBezTo>
                  <a:pt x="269524" y="116340"/>
                  <a:pt x="269524" y="118337"/>
                  <a:pt x="269524" y="120334"/>
                </a:cubicBezTo>
                <a:cubicBezTo>
                  <a:pt x="269524" y="120334"/>
                  <a:pt x="269524" y="128320"/>
                  <a:pt x="269524" y="128320"/>
                </a:cubicBezTo>
                <a:cubicBezTo>
                  <a:pt x="269524" y="130317"/>
                  <a:pt x="271511" y="136307"/>
                  <a:pt x="271511" y="138304"/>
                </a:cubicBezTo>
                <a:cubicBezTo>
                  <a:pt x="271511" y="140300"/>
                  <a:pt x="271511" y="140300"/>
                  <a:pt x="271511" y="142297"/>
                </a:cubicBezTo>
                <a:cubicBezTo>
                  <a:pt x="269524" y="144293"/>
                  <a:pt x="271511" y="150283"/>
                  <a:pt x="271511" y="152280"/>
                </a:cubicBezTo>
                <a:cubicBezTo>
                  <a:pt x="271511" y="154277"/>
                  <a:pt x="269524" y="158270"/>
                  <a:pt x="269524" y="160267"/>
                </a:cubicBezTo>
                <a:cubicBezTo>
                  <a:pt x="269524" y="162263"/>
                  <a:pt x="269524" y="174243"/>
                  <a:pt x="269524" y="174243"/>
                </a:cubicBezTo>
                <a:cubicBezTo>
                  <a:pt x="269524" y="176240"/>
                  <a:pt x="269524" y="184226"/>
                  <a:pt x="271511" y="186223"/>
                </a:cubicBezTo>
                <a:cubicBezTo>
                  <a:pt x="271511" y="188220"/>
                  <a:pt x="277472" y="194210"/>
                  <a:pt x="277472" y="196206"/>
                </a:cubicBezTo>
                <a:cubicBezTo>
                  <a:pt x="277472" y="196206"/>
                  <a:pt x="277472" y="202196"/>
                  <a:pt x="279458" y="202196"/>
                </a:cubicBezTo>
                <a:cubicBezTo>
                  <a:pt x="279458" y="204193"/>
                  <a:pt x="279458" y="210183"/>
                  <a:pt x="279458" y="210183"/>
                </a:cubicBezTo>
                <a:cubicBezTo>
                  <a:pt x="279458" y="210183"/>
                  <a:pt x="277472" y="220166"/>
                  <a:pt x="277472" y="220166"/>
                </a:cubicBezTo>
                <a:cubicBezTo>
                  <a:pt x="277472" y="220166"/>
                  <a:pt x="277472" y="226156"/>
                  <a:pt x="277472" y="228153"/>
                </a:cubicBezTo>
                <a:cubicBezTo>
                  <a:pt x="279458" y="230149"/>
                  <a:pt x="281445" y="228153"/>
                  <a:pt x="281445" y="228153"/>
                </a:cubicBezTo>
                <a:cubicBezTo>
                  <a:pt x="283432" y="228153"/>
                  <a:pt x="287406" y="226156"/>
                  <a:pt x="287406" y="226156"/>
                </a:cubicBezTo>
                <a:cubicBezTo>
                  <a:pt x="289392" y="226156"/>
                  <a:pt x="291379" y="224159"/>
                  <a:pt x="293366" y="224159"/>
                </a:cubicBezTo>
                <a:cubicBezTo>
                  <a:pt x="293366" y="224159"/>
                  <a:pt x="297340" y="224159"/>
                  <a:pt x="297340" y="224159"/>
                </a:cubicBezTo>
                <a:cubicBezTo>
                  <a:pt x="299327" y="224159"/>
                  <a:pt x="299327" y="224159"/>
                  <a:pt x="301313" y="222163"/>
                </a:cubicBezTo>
                <a:cubicBezTo>
                  <a:pt x="301313" y="222163"/>
                  <a:pt x="305287" y="220166"/>
                  <a:pt x="305287" y="220166"/>
                </a:cubicBezTo>
                <a:cubicBezTo>
                  <a:pt x="305287" y="220166"/>
                  <a:pt x="309261" y="220166"/>
                  <a:pt x="311247" y="220166"/>
                </a:cubicBezTo>
                <a:cubicBezTo>
                  <a:pt x="311247" y="220166"/>
                  <a:pt x="313234" y="220166"/>
                  <a:pt x="313234" y="222163"/>
                </a:cubicBezTo>
                <a:cubicBezTo>
                  <a:pt x="313234" y="222163"/>
                  <a:pt x="315221" y="222163"/>
                  <a:pt x="315221" y="222163"/>
                </a:cubicBezTo>
                <a:cubicBezTo>
                  <a:pt x="317208" y="222163"/>
                  <a:pt x="321181" y="224159"/>
                  <a:pt x="323168" y="224159"/>
                </a:cubicBezTo>
                <a:cubicBezTo>
                  <a:pt x="323168" y="226156"/>
                  <a:pt x="323168" y="228153"/>
                  <a:pt x="323168" y="230149"/>
                </a:cubicBezTo>
                <a:cubicBezTo>
                  <a:pt x="323168" y="230149"/>
                  <a:pt x="323168" y="234143"/>
                  <a:pt x="323168" y="234143"/>
                </a:cubicBezTo>
                <a:cubicBezTo>
                  <a:pt x="323168" y="236139"/>
                  <a:pt x="321181" y="244126"/>
                  <a:pt x="321181" y="244126"/>
                </a:cubicBezTo>
                <a:cubicBezTo>
                  <a:pt x="319195" y="246123"/>
                  <a:pt x="321181" y="248119"/>
                  <a:pt x="321181" y="248119"/>
                </a:cubicBezTo>
                <a:cubicBezTo>
                  <a:pt x="321181" y="248119"/>
                  <a:pt x="321181" y="252113"/>
                  <a:pt x="321181" y="254109"/>
                </a:cubicBezTo>
                <a:cubicBezTo>
                  <a:pt x="321181" y="254109"/>
                  <a:pt x="321181" y="260099"/>
                  <a:pt x="321181" y="262096"/>
                </a:cubicBezTo>
                <a:cubicBezTo>
                  <a:pt x="321181" y="264092"/>
                  <a:pt x="319195" y="270082"/>
                  <a:pt x="319195" y="270082"/>
                </a:cubicBezTo>
                <a:cubicBezTo>
                  <a:pt x="319195" y="272079"/>
                  <a:pt x="319195" y="274076"/>
                  <a:pt x="321181" y="274076"/>
                </a:cubicBezTo>
                <a:cubicBezTo>
                  <a:pt x="321181" y="274076"/>
                  <a:pt x="321181" y="280066"/>
                  <a:pt x="321181" y="280066"/>
                </a:cubicBezTo>
                <a:cubicBezTo>
                  <a:pt x="321181" y="280066"/>
                  <a:pt x="315221" y="280066"/>
                  <a:pt x="313234" y="280066"/>
                </a:cubicBezTo>
                <a:cubicBezTo>
                  <a:pt x="313234" y="280066"/>
                  <a:pt x="311247" y="282062"/>
                  <a:pt x="309261" y="282062"/>
                </a:cubicBezTo>
                <a:cubicBezTo>
                  <a:pt x="307274" y="284059"/>
                  <a:pt x="303300" y="280066"/>
                  <a:pt x="301313" y="282062"/>
                </a:cubicBezTo>
                <a:cubicBezTo>
                  <a:pt x="299327" y="282062"/>
                  <a:pt x="297340" y="282062"/>
                  <a:pt x="295353" y="282062"/>
                </a:cubicBezTo>
                <a:cubicBezTo>
                  <a:pt x="293366" y="284059"/>
                  <a:pt x="293366" y="282062"/>
                  <a:pt x="289392" y="282062"/>
                </a:cubicBezTo>
                <a:cubicBezTo>
                  <a:pt x="287406" y="282062"/>
                  <a:pt x="285419" y="282062"/>
                  <a:pt x="285419" y="284059"/>
                </a:cubicBezTo>
                <a:cubicBezTo>
                  <a:pt x="283432" y="284059"/>
                  <a:pt x="277472" y="282062"/>
                  <a:pt x="277472" y="282062"/>
                </a:cubicBezTo>
                <a:cubicBezTo>
                  <a:pt x="277472" y="282062"/>
                  <a:pt x="275485" y="284059"/>
                  <a:pt x="273498" y="284059"/>
                </a:cubicBezTo>
                <a:cubicBezTo>
                  <a:pt x="271511" y="286056"/>
                  <a:pt x="269524" y="288052"/>
                  <a:pt x="269524" y="290049"/>
                </a:cubicBezTo>
                <a:cubicBezTo>
                  <a:pt x="269524" y="294042"/>
                  <a:pt x="267538" y="298035"/>
                  <a:pt x="269524" y="300032"/>
                </a:cubicBezTo>
                <a:cubicBezTo>
                  <a:pt x="269524" y="300032"/>
                  <a:pt x="269524" y="308019"/>
                  <a:pt x="269524" y="310015"/>
                </a:cubicBezTo>
                <a:cubicBezTo>
                  <a:pt x="269524" y="310015"/>
                  <a:pt x="271511" y="316005"/>
                  <a:pt x="271511" y="319999"/>
                </a:cubicBezTo>
                <a:cubicBezTo>
                  <a:pt x="271511" y="321995"/>
                  <a:pt x="269524" y="325989"/>
                  <a:pt x="269524" y="327985"/>
                </a:cubicBezTo>
                <a:cubicBezTo>
                  <a:pt x="269524" y="327985"/>
                  <a:pt x="269524" y="335972"/>
                  <a:pt x="269524" y="335972"/>
                </a:cubicBezTo>
                <a:cubicBezTo>
                  <a:pt x="269524" y="337968"/>
                  <a:pt x="267538" y="337968"/>
                  <a:pt x="267538" y="339965"/>
                </a:cubicBezTo>
                <a:cubicBezTo>
                  <a:pt x="267538" y="341962"/>
                  <a:pt x="267538" y="355938"/>
                  <a:pt x="267538" y="355938"/>
                </a:cubicBezTo>
                <a:cubicBezTo>
                  <a:pt x="267538" y="355938"/>
                  <a:pt x="269524" y="363925"/>
                  <a:pt x="269524" y="363925"/>
                </a:cubicBezTo>
                <a:cubicBezTo>
                  <a:pt x="269524" y="365922"/>
                  <a:pt x="269524" y="371912"/>
                  <a:pt x="269524" y="373908"/>
                </a:cubicBezTo>
                <a:cubicBezTo>
                  <a:pt x="269524" y="373908"/>
                  <a:pt x="271511" y="379898"/>
                  <a:pt x="271511" y="379898"/>
                </a:cubicBezTo>
                <a:cubicBezTo>
                  <a:pt x="273498" y="381895"/>
                  <a:pt x="277472" y="381895"/>
                  <a:pt x="277472" y="379898"/>
                </a:cubicBezTo>
                <a:cubicBezTo>
                  <a:pt x="279458" y="379898"/>
                  <a:pt x="281445" y="379898"/>
                  <a:pt x="283432" y="377901"/>
                </a:cubicBezTo>
                <a:cubicBezTo>
                  <a:pt x="283432" y="377901"/>
                  <a:pt x="285419" y="375905"/>
                  <a:pt x="285419" y="375905"/>
                </a:cubicBezTo>
                <a:cubicBezTo>
                  <a:pt x="287406" y="373908"/>
                  <a:pt x="289392" y="375905"/>
                  <a:pt x="289392" y="375905"/>
                </a:cubicBezTo>
                <a:cubicBezTo>
                  <a:pt x="291379" y="377901"/>
                  <a:pt x="291379" y="379898"/>
                  <a:pt x="291379" y="379898"/>
                </a:cubicBezTo>
                <a:cubicBezTo>
                  <a:pt x="289392" y="381895"/>
                  <a:pt x="287406" y="383891"/>
                  <a:pt x="287406" y="385888"/>
                </a:cubicBezTo>
                <a:cubicBezTo>
                  <a:pt x="287406" y="385888"/>
                  <a:pt x="285419" y="387885"/>
                  <a:pt x="287406" y="387885"/>
                </a:cubicBezTo>
                <a:cubicBezTo>
                  <a:pt x="287406" y="387885"/>
                  <a:pt x="289392" y="389881"/>
                  <a:pt x="291379" y="389881"/>
                </a:cubicBezTo>
                <a:cubicBezTo>
                  <a:pt x="291379" y="389881"/>
                  <a:pt x="293366" y="391878"/>
                  <a:pt x="293366" y="391878"/>
                </a:cubicBezTo>
                <a:cubicBezTo>
                  <a:pt x="293366" y="393875"/>
                  <a:pt x="293366" y="399865"/>
                  <a:pt x="293366" y="399865"/>
                </a:cubicBezTo>
                <a:cubicBezTo>
                  <a:pt x="293366" y="399865"/>
                  <a:pt x="293366" y="399865"/>
                  <a:pt x="297340" y="399865"/>
                </a:cubicBezTo>
                <a:cubicBezTo>
                  <a:pt x="297340" y="399865"/>
                  <a:pt x="297340" y="401861"/>
                  <a:pt x="297340" y="401861"/>
                </a:cubicBezTo>
                <a:cubicBezTo>
                  <a:pt x="299327" y="401861"/>
                  <a:pt x="301313" y="405855"/>
                  <a:pt x="303300" y="405855"/>
                </a:cubicBezTo>
                <a:cubicBezTo>
                  <a:pt x="303300" y="405855"/>
                  <a:pt x="307274" y="409848"/>
                  <a:pt x="307274" y="409848"/>
                </a:cubicBezTo>
                <a:cubicBezTo>
                  <a:pt x="307274" y="409848"/>
                  <a:pt x="307274" y="411844"/>
                  <a:pt x="307274" y="413841"/>
                </a:cubicBezTo>
                <a:cubicBezTo>
                  <a:pt x="307274" y="413841"/>
                  <a:pt x="309261" y="415838"/>
                  <a:pt x="309261" y="417834"/>
                </a:cubicBezTo>
                <a:cubicBezTo>
                  <a:pt x="309261" y="417834"/>
                  <a:pt x="309261" y="417834"/>
                  <a:pt x="309261" y="421828"/>
                </a:cubicBezTo>
                <a:cubicBezTo>
                  <a:pt x="309261" y="421828"/>
                  <a:pt x="309261" y="421828"/>
                  <a:pt x="311247" y="421828"/>
                </a:cubicBezTo>
                <a:cubicBezTo>
                  <a:pt x="311247" y="421828"/>
                  <a:pt x="311247" y="421828"/>
                  <a:pt x="313234" y="421828"/>
                </a:cubicBezTo>
                <a:cubicBezTo>
                  <a:pt x="313234" y="421828"/>
                  <a:pt x="313234" y="421828"/>
                  <a:pt x="313234" y="425821"/>
                </a:cubicBezTo>
                <a:cubicBezTo>
                  <a:pt x="313234" y="425821"/>
                  <a:pt x="313234" y="425821"/>
                  <a:pt x="315221" y="429814"/>
                </a:cubicBezTo>
                <a:cubicBezTo>
                  <a:pt x="315221" y="429814"/>
                  <a:pt x="315221" y="429814"/>
                  <a:pt x="309261" y="429814"/>
                </a:cubicBezTo>
                <a:cubicBezTo>
                  <a:pt x="309261" y="429814"/>
                  <a:pt x="309261" y="429814"/>
                  <a:pt x="303300" y="429814"/>
                </a:cubicBezTo>
                <a:cubicBezTo>
                  <a:pt x="303300" y="429814"/>
                  <a:pt x="303300" y="429814"/>
                  <a:pt x="297340" y="433808"/>
                </a:cubicBezTo>
                <a:cubicBezTo>
                  <a:pt x="297340" y="433808"/>
                  <a:pt x="297340" y="433808"/>
                  <a:pt x="291379" y="433808"/>
                </a:cubicBezTo>
                <a:cubicBezTo>
                  <a:pt x="291379" y="433808"/>
                  <a:pt x="291379" y="433808"/>
                  <a:pt x="281445" y="437801"/>
                </a:cubicBezTo>
                <a:cubicBezTo>
                  <a:pt x="281445" y="437801"/>
                  <a:pt x="281445" y="437801"/>
                  <a:pt x="277472" y="439798"/>
                </a:cubicBezTo>
                <a:cubicBezTo>
                  <a:pt x="277472" y="439798"/>
                  <a:pt x="277472" y="439798"/>
                  <a:pt x="269524" y="441794"/>
                </a:cubicBezTo>
                <a:cubicBezTo>
                  <a:pt x="269524" y="441794"/>
                  <a:pt x="269524" y="441794"/>
                  <a:pt x="263564" y="441794"/>
                </a:cubicBezTo>
                <a:cubicBezTo>
                  <a:pt x="263564" y="441794"/>
                  <a:pt x="259590" y="441794"/>
                  <a:pt x="259590" y="441794"/>
                </a:cubicBezTo>
                <a:cubicBezTo>
                  <a:pt x="257604" y="441794"/>
                  <a:pt x="251643" y="441794"/>
                  <a:pt x="251643" y="441794"/>
                </a:cubicBezTo>
                <a:cubicBezTo>
                  <a:pt x="251643" y="441794"/>
                  <a:pt x="243696" y="441794"/>
                  <a:pt x="241709" y="441794"/>
                </a:cubicBezTo>
                <a:cubicBezTo>
                  <a:pt x="239722" y="441794"/>
                  <a:pt x="235749" y="439798"/>
                  <a:pt x="235749" y="439798"/>
                </a:cubicBezTo>
                <a:cubicBezTo>
                  <a:pt x="233762" y="439798"/>
                  <a:pt x="229788" y="437801"/>
                  <a:pt x="229788" y="437801"/>
                </a:cubicBezTo>
                <a:cubicBezTo>
                  <a:pt x="227801" y="437801"/>
                  <a:pt x="225815" y="435804"/>
                  <a:pt x="225815" y="435804"/>
                </a:cubicBezTo>
                <a:cubicBezTo>
                  <a:pt x="225815" y="435804"/>
                  <a:pt x="225815" y="435804"/>
                  <a:pt x="221841" y="435804"/>
                </a:cubicBezTo>
                <a:cubicBezTo>
                  <a:pt x="221841" y="435804"/>
                  <a:pt x="221841" y="435804"/>
                  <a:pt x="219854" y="437801"/>
                </a:cubicBezTo>
                <a:cubicBezTo>
                  <a:pt x="219854" y="437801"/>
                  <a:pt x="215881" y="437801"/>
                  <a:pt x="213894" y="437801"/>
                </a:cubicBezTo>
                <a:cubicBezTo>
                  <a:pt x="211907" y="437801"/>
                  <a:pt x="205946" y="437801"/>
                  <a:pt x="205946" y="437801"/>
                </a:cubicBezTo>
                <a:cubicBezTo>
                  <a:pt x="205946" y="437801"/>
                  <a:pt x="196012" y="431811"/>
                  <a:pt x="194026" y="431811"/>
                </a:cubicBezTo>
                <a:cubicBezTo>
                  <a:pt x="192039" y="431811"/>
                  <a:pt x="192039" y="431811"/>
                  <a:pt x="192039" y="429814"/>
                </a:cubicBezTo>
                <a:cubicBezTo>
                  <a:pt x="190052" y="429814"/>
                  <a:pt x="188065" y="427818"/>
                  <a:pt x="188065" y="425821"/>
                </a:cubicBezTo>
                <a:cubicBezTo>
                  <a:pt x="188065" y="425821"/>
                  <a:pt x="186078" y="421828"/>
                  <a:pt x="186078" y="421828"/>
                </a:cubicBezTo>
                <a:cubicBezTo>
                  <a:pt x="186078" y="421828"/>
                  <a:pt x="186078" y="421828"/>
                  <a:pt x="178131" y="417834"/>
                </a:cubicBezTo>
                <a:cubicBezTo>
                  <a:pt x="178131" y="417834"/>
                  <a:pt x="174158" y="417834"/>
                  <a:pt x="172171" y="419831"/>
                </a:cubicBezTo>
                <a:cubicBezTo>
                  <a:pt x="170184" y="419831"/>
                  <a:pt x="168197" y="421828"/>
                  <a:pt x="166210" y="419831"/>
                </a:cubicBezTo>
                <a:cubicBezTo>
                  <a:pt x="164223" y="419831"/>
                  <a:pt x="160250" y="419831"/>
                  <a:pt x="158263" y="419831"/>
                </a:cubicBezTo>
                <a:cubicBezTo>
                  <a:pt x="156276" y="419831"/>
                  <a:pt x="150316" y="419831"/>
                  <a:pt x="148329" y="419831"/>
                </a:cubicBezTo>
                <a:cubicBezTo>
                  <a:pt x="146342" y="419831"/>
                  <a:pt x="140382" y="419831"/>
                  <a:pt x="140382" y="419831"/>
                </a:cubicBezTo>
                <a:cubicBezTo>
                  <a:pt x="140382" y="419831"/>
                  <a:pt x="132434" y="419831"/>
                  <a:pt x="130448" y="419831"/>
                </a:cubicBezTo>
                <a:cubicBezTo>
                  <a:pt x="130448" y="419831"/>
                  <a:pt x="120514" y="417834"/>
                  <a:pt x="120514" y="417834"/>
                </a:cubicBezTo>
                <a:cubicBezTo>
                  <a:pt x="118527" y="417834"/>
                  <a:pt x="112566" y="417834"/>
                  <a:pt x="110580" y="417834"/>
                </a:cubicBezTo>
                <a:cubicBezTo>
                  <a:pt x="108593" y="417834"/>
                  <a:pt x="102632" y="417834"/>
                  <a:pt x="102632" y="419831"/>
                </a:cubicBezTo>
                <a:cubicBezTo>
                  <a:pt x="100646" y="419831"/>
                  <a:pt x="98659" y="419831"/>
                  <a:pt x="96672" y="419831"/>
                </a:cubicBezTo>
                <a:cubicBezTo>
                  <a:pt x="94685" y="421828"/>
                  <a:pt x="92698" y="421828"/>
                  <a:pt x="92698" y="421828"/>
                </a:cubicBezTo>
                <a:cubicBezTo>
                  <a:pt x="92698" y="421828"/>
                  <a:pt x="90711" y="421828"/>
                  <a:pt x="88725" y="419831"/>
                </a:cubicBezTo>
                <a:cubicBezTo>
                  <a:pt x="86738" y="419831"/>
                  <a:pt x="86738" y="419831"/>
                  <a:pt x="84751" y="419831"/>
                </a:cubicBezTo>
                <a:cubicBezTo>
                  <a:pt x="84751" y="421828"/>
                  <a:pt x="78791" y="421828"/>
                  <a:pt x="76804" y="421828"/>
                </a:cubicBezTo>
                <a:cubicBezTo>
                  <a:pt x="74817" y="421828"/>
                  <a:pt x="70843" y="421828"/>
                  <a:pt x="68857" y="421828"/>
                </a:cubicBezTo>
                <a:cubicBezTo>
                  <a:pt x="66870" y="421828"/>
                  <a:pt x="64883" y="421828"/>
                  <a:pt x="62896" y="419831"/>
                </a:cubicBezTo>
                <a:cubicBezTo>
                  <a:pt x="62896" y="417834"/>
                  <a:pt x="62896" y="415838"/>
                  <a:pt x="60909" y="413841"/>
                </a:cubicBezTo>
                <a:cubicBezTo>
                  <a:pt x="60909" y="413841"/>
                  <a:pt x="56936" y="411844"/>
                  <a:pt x="54949" y="409848"/>
                </a:cubicBezTo>
                <a:cubicBezTo>
                  <a:pt x="52962" y="409848"/>
                  <a:pt x="50975" y="409848"/>
                  <a:pt x="48988" y="409848"/>
                </a:cubicBezTo>
                <a:cubicBezTo>
                  <a:pt x="47002" y="411844"/>
                  <a:pt x="43028" y="409848"/>
                  <a:pt x="41041" y="411844"/>
                </a:cubicBezTo>
                <a:cubicBezTo>
                  <a:pt x="39054" y="413841"/>
                  <a:pt x="37068" y="415838"/>
                  <a:pt x="35081" y="415838"/>
                </a:cubicBezTo>
                <a:cubicBezTo>
                  <a:pt x="33094" y="415838"/>
                  <a:pt x="33094" y="417834"/>
                  <a:pt x="33094" y="417834"/>
                </a:cubicBezTo>
                <a:cubicBezTo>
                  <a:pt x="33094" y="417834"/>
                  <a:pt x="29120" y="417834"/>
                  <a:pt x="27134" y="417834"/>
                </a:cubicBezTo>
                <a:cubicBezTo>
                  <a:pt x="25147" y="417834"/>
                  <a:pt x="21173" y="415838"/>
                  <a:pt x="19186" y="417834"/>
                </a:cubicBezTo>
                <a:cubicBezTo>
                  <a:pt x="17200" y="417834"/>
                  <a:pt x="15213" y="417834"/>
                  <a:pt x="15213" y="419831"/>
                </a:cubicBezTo>
                <a:cubicBezTo>
                  <a:pt x="13226" y="419831"/>
                  <a:pt x="9252" y="421828"/>
                  <a:pt x="9252" y="419831"/>
                </a:cubicBezTo>
                <a:cubicBezTo>
                  <a:pt x="7265" y="419831"/>
                  <a:pt x="3291" y="417834"/>
                  <a:pt x="3291" y="417834"/>
                </a:cubicBezTo>
                <a:cubicBezTo>
                  <a:pt x="3291" y="413841"/>
                  <a:pt x="5278" y="411844"/>
                  <a:pt x="7265" y="407851"/>
                </a:cubicBezTo>
                <a:cubicBezTo>
                  <a:pt x="7265" y="405855"/>
                  <a:pt x="5278" y="403858"/>
                  <a:pt x="3291" y="401861"/>
                </a:cubicBezTo>
                <a:cubicBezTo>
                  <a:pt x="-682" y="399865"/>
                  <a:pt x="-682" y="399865"/>
                  <a:pt x="1305" y="395871"/>
                </a:cubicBezTo>
                <a:cubicBezTo>
                  <a:pt x="1305" y="391878"/>
                  <a:pt x="3291" y="395871"/>
                  <a:pt x="5278" y="395871"/>
                </a:cubicBezTo>
                <a:cubicBezTo>
                  <a:pt x="9252" y="395871"/>
                  <a:pt x="9252" y="393875"/>
                  <a:pt x="7265" y="391878"/>
                </a:cubicBezTo>
                <a:cubicBezTo>
                  <a:pt x="3291" y="389881"/>
                  <a:pt x="5278" y="385888"/>
                  <a:pt x="5278" y="385888"/>
                </a:cubicBezTo>
                <a:cubicBezTo>
                  <a:pt x="5278" y="385888"/>
                  <a:pt x="7265" y="383891"/>
                  <a:pt x="3291" y="381895"/>
                </a:cubicBezTo>
                <a:cubicBezTo>
                  <a:pt x="1305" y="379898"/>
                  <a:pt x="3291" y="377901"/>
                  <a:pt x="3291" y="375905"/>
                </a:cubicBezTo>
                <a:cubicBezTo>
                  <a:pt x="5278" y="373908"/>
                  <a:pt x="5278" y="373908"/>
                  <a:pt x="3291" y="369915"/>
                </a:cubicBezTo>
                <a:cubicBezTo>
                  <a:pt x="1305" y="365922"/>
                  <a:pt x="3291" y="363925"/>
                  <a:pt x="7265" y="363925"/>
                </a:cubicBezTo>
                <a:cubicBezTo>
                  <a:pt x="9252" y="363925"/>
                  <a:pt x="9252" y="359932"/>
                  <a:pt x="7265" y="355938"/>
                </a:cubicBezTo>
                <a:cubicBezTo>
                  <a:pt x="7265" y="353942"/>
                  <a:pt x="9252" y="349948"/>
                  <a:pt x="13226" y="347952"/>
                </a:cubicBezTo>
                <a:cubicBezTo>
                  <a:pt x="17200" y="345955"/>
                  <a:pt x="15213" y="343958"/>
                  <a:pt x="15213" y="341962"/>
                </a:cubicBezTo>
                <a:cubicBezTo>
                  <a:pt x="15213" y="339965"/>
                  <a:pt x="15213" y="335972"/>
                  <a:pt x="17200" y="337968"/>
                </a:cubicBezTo>
                <a:cubicBezTo>
                  <a:pt x="19186" y="337968"/>
                  <a:pt x="19186" y="333975"/>
                  <a:pt x="21173" y="329982"/>
                </a:cubicBezTo>
                <a:cubicBezTo>
                  <a:pt x="21173" y="325989"/>
                  <a:pt x="21173" y="323992"/>
                  <a:pt x="21173" y="316005"/>
                </a:cubicBezTo>
                <a:cubicBezTo>
                  <a:pt x="21173" y="310015"/>
                  <a:pt x="25147" y="310015"/>
                  <a:pt x="27134" y="304025"/>
                </a:cubicBezTo>
                <a:cubicBezTo>
                  <a:pt x="27134" y="294042"/>
                  <a:pt x="29120" y="294042"/>
                  <a:pt x="31107" y="292046"/>
                </a:cubicBezTo>
                <a:cubicBezTo>
                  <a:pt x="35081" y="290049"/>
                  <a:pt x="33094" y="286056"/>
                  <a:pt x="33094" y="282062"/>
                </a:cubicBezTo>
                <a:cubicBezTo>
                  <a:pt x="33094" y="280066"/>
                  <a:pt x="33094" y="280066"/>
                  <a:pt x="35081" y="276072"/>
                </a:cubicBezTo>
                <a:cubicBezTo>
                  <a:pt x="37068" y="274076"/>
                  <a:pt x="37068" y="272079"/>
                  <a:pt x="37068" y="272079"/>
                </a:cubicBezTo>
                <a:cubicBezTo>
                  <a:pt x="37068" y="272079"/>
                  <a:pt x="41041" y="272079"/>
                  <a:pt x="41041" y="270082"/>
                </a:cubicBezTo>
                <a:cubicBezTo>
                  <a:pt x="41041" y="266089"/>
                  <a:pt x="45015" y="264092"/>
                  <a:pt x="47002" y="262096"/>
                </a:cubicBezTo>
                <a:cubicBezTo>
                  <a:pt x="50975" y="260099"/>
                  <a:pt x="48988" y="256106"/>
                  <a:pt x="48988" y="252113"/>
                </a:cubicBezTo>
                <a:cubicBezTo>
                  <a:pt x="48988" y="248119"/>
                  <a:pt x="50975" y="248119"/>
                  <a:pt x="50975" y="248119"/>
                </a:cubicBezTo>
                <a:cubicBezTo>
                  <a:pt x="52962" y="246123"/>
                  <a:pt x="54949" y="238136"/>
                  <a:pt x="54949" y="238136"/>
                </a:cubicBezTo>
                <a:cubicBezTo>
                  <a:pt x="54949" y="238136"/>
                  <a:pt x="58923" y="224159"/>
                  <a:pt x="58923" y="220166"/>
                </a:cubicBezTo>
                <a:cubicBezTo>
                  <a:pt x="58923" y="216173"/>
                  <a:pt x="56936" y="218169"/>
                  <a:pt x="52962" y="214176"/>
                </a:cubicBezTo>
                <a:cubicBezTo>
                  <a:pt x="50975" y="208186"/>
                  <a:pt x="52962" y="206190"/>
                  <a:pt x="52962" y="202196"/>
                </a:cubicBezTo>
                <a:cubicBezTo>
                  <a:pt x="52962" y="198203"/>
                  <a:pt x="50975" y="198203"/>
                  <a:pt x="48988" y="194210"/>
                </a:cubicBezTo>
                <a:cubicBezTo>
                  <a:pt x="47002" y="192213"/>
                  <a:pt x="45015" y="188220"/>
                  <a:pt x="45015" y="188220"/>
                </a:cubicBezTo>
                <a:cubicBezTo>
                  <a:pt x="45015" y="188220"/>
                  <a:pt x="47002" y="184226"/>
                  <a:pt x="45015" y="180233"/>
                </a:cubicBezTo>
                <a:cubicBezTo>
                  <a:pt x="41041" y="174243"/>
                  <a:pt x="43028" y="172247"/>
                  <a:pt x="43028" y="168253"/>
                </a:cubicBezTo>
                <a:cubicBezTo>
                  <a:pt x="43028" y="166257"/>
                  <a:pt x="43028" y="162263"/>
                  <a:pt x="41041" y="162263"/>
                </a:cubicBezTo>
                <a:cubicBezTo>
                  <a:pt x="41041" y="160267"/>
                  <a:pt x="37068" y="156273"/>
                  <a:pt x="35081" y="152280"/>
                </a:cubicBezTo>
                <a:cubicBezTo>
                  <a:pt x="33094" y="150283"/>
                  <a:pt x="41041" y="148287"/>
                  <a:pt x="45015" y="148287"/>
                </a:cubicBezTo>
                <a:cubicBezTo>
                  <a:pt x="47002" y="146290"/>
                  <a:pt x="43028" y="140300"/>
                  <a:pt x="43028" y="140300"/>
                </a:cubicBezTo>
                <a:cubicBezTo>
                  <a:pt x="43028" y="140300"/>
                  <a:pt x="39054" y="136307"/>
                  <a:pt x="41041" y="134310"/>
                </a:cubicBezTo>
                <a:cubicBezTo>
                  <a:pt x="41041" y="130317"/>
                  <a:pt x="47002" y="132314"/>
                  <a:pt x="47002" y="128320"/>
                </a:cubicBezTo>
                <a:cubicBezTo>
                  <a:pt x="48988" y="124327"/>
                  <a:pt x="43028" y="120334"/>
                  <a:pt x="41041" y="118337"/>
                </a:cubicBezTo>
                <a:cubicBezTo>
                  <a:pt x="39054" y="116340"/>
                  <a:pt x="39054" y="114344"/>
                  <a:pt x="39054" y="112347"/>
                </a:cubicBezTo>
                <a:cubicBezTo>
                  <a:pt x="39054" y="108354"/>
                  <a:pt x="37068" y="108354"/>
                  <a:pt x="37068" y="108354"/>
                </a:cubicBezTo>
                <a:cubicBezTo>
                  <a:pt x="35081" y="108354"/>
                  <a:pt x="35081" y="104360"/>
                  <a:pt x="35081" y="102364"/>
                </a:cubicBezTo>
                <a:cubicBezTo>
                  <a:pt x="35081" y="100367"/>
                  <a:pt x="35081" y="100367"/>
                  <a:pt x="33094" y="98371"/>
                </a:cubicBezTo>
                <a:cubicBezTo>
                  <a:pt x="31107" y="96374"/>
                  <a:pt x="31107" y="96374"/>
                  <a:pt x="31107" y="94377"/>
                </a:cubicBezTo>
                <a:cubicBezTo>
                  <a:pt x="33094" y="92381"/>
                  <a:pt x="31107" y="90384"/>
                  <a:pt x="31107" y="90384"/>
                </a:cubicBezTo>
                <a:cubicBezTo>
                  <a:pt x="29120" y="90384"/>
                  <a:pt x="29120" y="86391"/>
                  <a:pt x="29120" y="84394"/>
                </a:cubicBezTo>
                <a:cubicBezTo>
                  <a:pt x="29120" y="82397"/>
                  <a:pt x="29120" y="82397"/>
                  <a:pt x="27134" y="82397"/>
                </a:cubicBezTo>
                <a:cubicBezTo>
                  <a:pt x="25147" y="82397"/>
                  <a:pt x="25147" y="76407"/>
                  <a:pt x="25147" y="76407"/>
                </a:cubicBezTo>
                <a:cubicBezTo>
                  <a:pt x="25147" y="76407"/>
                  <a:pt x="23160" y="72414"/>
                  <a:pt x="23160" y="70417"/>
                </a:cubicBezTo>
                <a:cubicBezTo>
                  <a:pt x="25147" y="70417"/>
                  <a:pt x="23160" y="68421"/>
                  <a:pt x="23160" y="68421"/>
                </a:cubicBezTo>
                <a:cubicBezTo>
                  <a:pt x="23160" y="68421"/>
                  <a:pt x="21173" y="70417"/>
                  <a:pt x="21173" y="64427"/>
                </a:cubicBezTo>
                <a:cubicBezTo>
                  <a:pt x="19186" y="60434"/>
                  <a:pt x="23160" y="60434"/>
                  <a:pt x="23160" y="60434"/>
                </a:cubicBezTo>
                <a:cubicBezTo>
                  <a:pt x="23160" y="60434"/>
                  <a:pt x="27134" y="60434"/>
                  <a:pt x="29120" y="60434"/>
                </a:cubicBezTo>
                <a:cubicBezTo>
                  <a:pt x="33094" y="62431"/>
                  <a:pt x="35081" y="60434"/>
                  <a:pt x="35081" y="58438"/>
                </a:cubicBezTo>
                <a:cubicBezTo>
                  <a:pt x="35081" y="58438"/>
                  <a:pt x="35081" y="58438"/>
                  <a:pt x="37068" y="58438"/>
                </a:cubicBezTo>
                <a:cubicBezTo>
                  <a:pt x="37068" y="58438"/>
                  <a:pt x="43028" y="60434"/>
                  <a:pt x="43028" y="60434"/>
                </a:cubicBezTo>
                <a:cubicBezTo>
                  <a:pt x="45015" y="62431"/>
                  <a:pt x="45015" y="56441"/>
                  <a:pt x="47002" y="56441"/>
                </a:cubicBezTo>
                <a:cubicBezTo>
                  <a:pt x="48988" y="54444"/>
                  <a:pt x="50975" y="54444"/>
                  <a:pt x="52962" y="54444"/>
                </a:cubicBezTo>
                <a:close/>
                <a:moveTo>
                  <a:pt x="24401" y="896"/>
                </a:moveTo>
                <a:cubicBezTo>
                  <a:pt x="26306" y="896"/>
                  <a:pt x="28211" y="-1119"/>
                  <a:pt x="30116" y="896"/>
                </a:cubicBezTo>
                <a:cubicBezTo>
                  <a:pt x="30116" y="896"/>
                  <a:pt x="33926" y="2911"/>
                  <a:pt x="33926" y="4926"/>
                </a:cubicBezTo>
                <a:cubicBezTo>
                  <a:pt x="35831" y="4926"/>
                  <a:pt x="35831" y="8956"/>
                  <a:pt x="35831" y="8956"/>
                </a:cubicBezTo>
                <a:cubicBezTo>
                  <a:pt x="33926" y="10971"/>
                  <a:pt x="32021" y="10971"/>
                  <a:pt x="32021" y="12985"/>
                </a:cubicBezTo>
                <a:cubicBezTo>
                  <a:pt x="32021" y="15000"/>
                  <a:pt x="32021" y="19030"/>
                  <a:pt x="32021" y="19030"/>
                </a:cubicBezTo>
                <a:cubicBezTo>
                  <a:pt x="32021" y="21045"/>
                  <a:pt x="30116" y="23060"/>
                  <a:pt x="30116" y="25075"/>
                </a:cubicBezTo>
                <a:cubicBezTo>
                  <a:pt x="30116" y="27090"/>
                  <a:pt x="28211" y="29105"/>
                  <a:pt x="28211" y="31119"/>
                </a:cubicBezTo>
                <a:cubicBezTo>
                  <a:pt x="26306" y="31119"/>
                  <a:pt x="26306" y="33134"/>
                  <a:pt x="26306" y="35149"/>
                </a:cubicBezTo>
                <a:cubicBezTo>
                  <a:pt x="26306" y="37164"/>
                  <a:pt x="28211" y="37164"/>
                  <a:pt x="28211" y="39179"/>
                </a:cubicBezTo>
                <a:cubicBezTo>
                  <a:pt x="28211" y="39179"/>
                  <a:pt x="26306" y="41194"/>
                  <a:pt x="26306" y="43209"/>
                </a:cubicBezTo>
                <a:cubicBezTo>
                  <a:pt x="26306" y="45224"/>
                  <a:pt x="24401" y="47238"/>
                  <a:pt x="24401" y="47238"/>
                </a:cubicBezTo>
                <a:cubicBezTo>
                  <a:pt x="22496" y="47238"/>
                  <a:pt x="18686" y="49253"/>
                  <a:pt x="16781" y="49253"/>
                </a:cubicBezTo>
                <a:cubicBezTo>
                  <a:pt x="16781" y="51268"/>
                  <a:pt x="14876" y="49253"/>
                  <a:pt x="14876" y="49253"/>
                </a:cubicBezTo>
                <a:cubicBezTo>
                  <a:pt x="14876" y="47238"/>
                  <a:pt x="16781" y="43209"/>
                  <a:pt x="16781" y="41194"/>
                </a:cubicBezTo>
                <a:cubicBezTo>
                  <a:pt x="18686" y="39179"/>
                  <a:pt x="16781" y="37164"/>
                  <a:pt x="14876" y="37164"/>
                </a:cubicBezTo>
                <a:cubicBezTo>
                  <a:pt x="12971" y="37164"/>
                  <a:pt x="14876" y="33134"/>
                  <a:pt x="12971" y="31119"/>
                </a:cubicBezTo>
                <a:cubicBezTo>
                  <a:pt x="11066" y="29105"/>
                  <a:pt x="7256" y="27090"/>
                  <a:pt x="7256" y="27090"/>
                </a:cubicBezTo>
                <a:cubicBezTo>
                  <a:pt x="7256" y="27090"/>
                  <a:pt x="7256" y="21045"/>
                  <a:pt x="7256" y="21045"/>
                </a:cubicBezTo>
                <a:cubicBezTo>
                  <a:pt x="7256" y="19030"/>
                  <a:pt x="14876" y="12985"/>
                  <a:pt x="14876" y="12985"/>
                </a:cubicBezTo>
                <a:cubicBezTo>
                  <a:pt x="14876" y="12985"/>
                  <a:pt x="22496" y="4926"/>
                  <a:pt x="22496" y="2911"/>
                </a:cubicBezTo>
                <a:cubicBezTo>
                  <a:pt x="22496" y="2911"/>
                  <a:pt x="24401" y="896"/>
                  <a:pt x="24401" y="896"/>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5" name="Zambia"/>
          <p:cNvSpPr>
            <a:spLocks/>
          </p:cNvSpPr>
          <p:nvPr/>
        </p:nvSpPr>
        <p:spPr bwMode="auto">
          <a:xfrm>
            <a:off x="6784135" y="4340013"/>
            <a:ext cx="328272" cy="320105"/>
          </a:xfrm>
          <a:custGeom>
            <a:avLst/>
            <a:gdLst>
              <a:gd name="T0" fmla="*/ 32 w 160"/>
              <a:gd name="T1" fmla="*/ 46 h 156"/>
              <a:gd name="T2" fmla="*/ 36 w 160"/>
              <a:gd name="T3" fmla="*/ 49 h 156"/>
              <a:gd name="T4" fmla="*/ 41 w 160"/>
              <a:gd name="T5" fmla="*/ 48 h 156"/>
              <a:gd name="T6" fmla="*/ 47 w 160"/>
              <a:gd name="T7" fmla="*/ 53 h 156"/>
              <a:gd name="T8" fmla="*/ 60 w 160"/>
              <a:gd name="T9" fmla="*/ 59 h 156"/>
              <a:gd name="T10" fmla="*/ 70 w 160"/>
              <a:gd name="T11" fmla="*/ 59 h 156"/>
              <a:gd name="T12" fmla="*/ 83 w 160"/>
              <a:gd name="T13" fmla="*/ 71 h 156"/>
              <a:gd name="T14" fmla="*/ 102 w 160"/>
              <a:gd name="T15" fmla="*/ 74 h 156"/>
              <a:gd name="T16" fmla="*/ 99 w 160"/>
              <a:gd name="T17" fmla="*/ 63 h 156"/>
              <a:gd name="T18" fmla="*/ 91 w 160"/>
              <a:gd name="T19" fmla="*/ 63 h 156"/>
              <a:gd name="T20" fmla="*/ 85 w 160"/>
              <a:gd name="T21" fmla="*/ 49 h 156"/>
              <a:gd name="T22" fmla="*/ 89 w 160"/>
              <a:gd name="T23" fmla="*/ 35 h 156"/>
              <a:gd name="T24" fmla="*/ 90 w 160"/>
              <a:gd name="T25" fmla="*/ 19 h 156"/>
              <a:gd name="T26" fmla="*/ 87 w 160"/>
              <a:gd name="T27" fmla="*/ 11 h 156"/>
              <a:gd name="T28" fmla="*/ 96 w 160"/>
              <a:gd name="T29" fmla="*/ 1 h 156"/>
              <a:gd name="T30" fmla="*/ 107 w 160"/>
              <a:gd name="T31" fmla="*/ 0 h 156"/>
              <a:gd name="T32" fmla="*/ 118 w 160"/>
              <a:gd name="T33" fmla="*/ 4 h 156"/>
              <a:gd name="T34" fmla="*/ 127 w 160"/>
              <a:gd name="T35" fmla="*/ 10 h 156"/>
              <a:gd name="T36" fmla="*/ 134 w 160"/>
              <a:gd name="T37" fmla="*/ 12 h 156"/>
              <a:gd name="T38" fmla="*/ 152 w 160"/>
              <a:gd name="T39" fmla="*/ 20 h 156"/>
              <a:gd name="T40" fmla="*/ 157 w 160"/>
              <a:gd name="T41" fmla="*/ 36 h 156"/>
              <a:gd name="T42" fmla="*/ 154 w 160"/>
              <a:gd name="T43" fmla="*/ 69 h 156"/>
              <a:gd name="T44" fmla="*/ 146 w 160"/>
              <a:gd name="T45" fmla="*/ 88 h 156"/>
              <a:gd name="T46" fmla="*/ 142 w 160"/>
              <a:gd name="T47" fmla="*/ 92 h 156"/>
              <a:gd name="T48" fmla="*/ 129 w 160"/>
              <a:gd name="T49" fmla="*/ 97 h 156"/>
              <a:gd name="T50" fmla="*/ 116 w 160"/>
              <a:gd name="T51" fmla="*/ 104 h 156"/>
              <a:gd name="T52" fmla="*/ 98 w 160"/>
              <a:gd name="T53" fmla="*/ 117 h 156"/>
              <a:gd name="T54" fmla="*/ 94 w 160"/>
              <a:gd name="T55" fmla="*/ 130 h 156"/>
              <a:gd name="T56" fmla="*/ 82 w 160"/>
              <a:gd name="T57" fmla="*/ 138 h 156"/>
              <a:gd name="T58" fmla="*/ 70 w 160"/>
              <a:gd name="T59" fmla="*/ 149 h 156"/>
              <a:gd name="T60" fmla="*/ 58 w 160"/>
              <a:gd name="T61" fmla="*/ 154 h 156"/>
              <a:gd name="T62" fmla="*/ 46 w 160"/>
              <a:gd name="T63" fmla="*/ 156 h 156"/>
              <a:gd name="T64" fmla="*/ 39 w 160"/>
              <a:gd name="T65" fmla="*/ 152 h 156"/>
              <a:gd name="T66" fmla="*/ 33 w 160"/>
              <a:gd name="T67" fmla="*/ 151 h 156"/>
              <a:gd name="T68" fmla="*/ 25 w 160"/>
              <a:gd name="T69" fmla="*/ 150 h 156"/>
              <a:gd name="T70" fmla="*/ 23 w 160"/>
              <a:gd name="T71" fmla="*/ 148 h 156"/>
              <a:gd name="T72" fmla="*/ 21 w 160"/>
              <a:gd name="T73" fmla="*/ 146 h 156"/>
              <a:gd name="T74" fmla="*/ 20 w 160"/>
              <a:gd name="T75" fmla="*/ 140 h 156"/>
              <a:gd name="T76" fmla="*/ 15 w 160"/>
              <a:gd name="T77" fmla="*/ 135 h 156"/>
              <a:gd name="T78" fmla="*/ 12 w 160"/>
              <a:gd name="T79" fmla="*/ 130 h 156"/>
              <a:gd name="T80" fmla="*/ 12 w 160"/>
              <a:gd name="T81" fmla="*/ 125 h 156"/>
              <a:gd name="T82" fmla="*/ 8 w 160"/>
              <a:gd name="T83" fmla="*/ 124 h 156"/>
              <a:gd name="T84" fmla="*/ 1 w 160"/>
              <a:gd name="T85" fmla="*/ 122 h 156"/>
              <a:gd name="T86" fmla="*/ 0 w 160"/>
              <a:gd name="T87" fmla="*/ 105 h 156"/>
              <a:gd name="T88" fmla="*/ 2 w 160"/>
              <a:gd name="T89" fmla="*/ 95 h 156"/>
              <a:gd name="T90" fmla="*/ 1 w 160"/>
              <a:gd name="T91" fmla="*/ 80 h 156"/>
              <a:gd name="T92" fmla="*/ 9 w 160"/>
              <a:gd name="T93" fmla="*/ 77 h 156"/>
              <a:gd name="T94" fmla="*/ 17 w 160"/>
              <a:gd name="T95" fmla="*/ 76 h 156"/>
              <a:gd name="T96" fmla="*/ 27 w 160"/>
              <a:gd name="T97" fmla="*/ 75 h 156"/>
              <a:gd name="T98" fmla="*/ 27 w 160"/>
              <a:gd name="T99" fmla="*/ 66 h 156"/>
              <a:gd name="T100" fmla="*/ 27 w 160"/>
              <a:gd name="T101" fmla="*/ 57 h 156"/>
              <a:gd name="T102" fmla="*/ 28 w 160"/>
              <a:gd name="T103"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56">
                <a:moveTo>
                  <a:pt x="28" y="47"/>
                </a:moveTo>
                <a:cubicBezTo>
                  <a:pt x="28" y="47"/>
                  <a:pt x="29" y="45"/>
                  <a:pt x="29" y="45"/>
                </a:cubicBezTo>
                <a:cubicBezTo>
                  <a:pt x="30" y="46"/>
                  <a:pt x="31" y="46"/>
                  <a:pt x="32" y="46"/>
                </a:cubicBezTo>
                <a:cubicBezTo>
                  <a:pt x="32" y="46"/>
                  <a:pt x="33" y="47"/>
                  <a:pt x="33" y="48"/>
                </a:cubicBezTo>
                <a:cubicBezTo>
                  <a:pt x="34" y="49"/>
                  <a:pt x="34" y="50"/>
                  <a:pt x="35" y="50"/>
                </a:cubicBezTo>
                <a:cubicBezTo>
                  <a:pt x="36" y="50"/>
                  <a:pt x="36" y="49"/>
                  <a:pt x="36" y="49"/>
                </a:cubicBezTo>
                <a:cubicBezTo>
                  <a:pt x="36" y="48"/>
                  <a:pt x="36" y="48"/>
                  <a:pt x="37" y="48"/>
                </a:cubicBezTo>
                <a:cubicBezTo>
                  <a:pt x="39" y="48"/>
                  <a:pt x="39" y="48"/>
                  <a:pt x="39" y="49"/>
                </a:cubicBezTo>
                <a:cubicBezTo>
                  <a:pt x="39" y="49"/>
                  <a:pt x="41" y="49"/>
                  <a:pt x="41" y="48"/>
                </a:cubicBezTo>
                <a:cubicBezTo>
                  <a:pt x="41" y="48"/>
                  <a:pt x="43" y="48"/>
                  <a:pt x="44" y="48"/>
                </a:cubicBezTo>
                <a:cubicBezTo>
                  <a:pt x="46" y="48"/>
                  <a:pt x="46" y="48"/>
                  <a:pt x="46" y="50"/>
                </a:cubicBezTo>
                <a:cubicBezTo>
                  <a:pt x="45" y="51"/>
                  <a:pt x="46" y="52"/>
                  <a:pt x="47" y="53"/>
                </a:cubicBezTo>
                <a:cubicBezTo>
                  <a:pt x="47" y="54"/>
                  <a:pt x="48" y="53"/>
                  <a:pt x="50" y="55"/>
                </a:cubicBezTo>
                <a:cubicBezTo>
                  <a:pt x="52" y="57"/>
                  <a:pt x="54" y="57"/>
                  <a:pt x="56" y="57"/>
                </a:cubicBezTo>
                <a:cubicBezTo>
                  <a:pt x="58" y="58"/>
                  <a:pt x="60" y="58"/>
                  <a:pt x="60" y="59"/>
                </a:cubicBezTo>
                <a:cubicBezTo>
                  <a:pt x="60" y="60"/>
                  <a:pt x="63" y="57"/>
                  <a:pt x="64" y="56"/>
                </a:cubicBezTo>
                <a:cubicBezTo>
                  <a:pt x="64" y="56"/>
                  <a:pt x="64" y="54"/>
                  <a:pt x="66" y="55"/>
                </a:cubicBezTo>
                <a:cubicBezTo>
                  <a:pt x="68" y="57"/>
                  <a:pt x="68" y="58"/>
                  <a:pt x="70" y="59"/>
                </a:cubicBezTo>
                <a:cubicBezTo>
                  <a:pt x="71" y="60"/>
                  <a:pt x="72" y="62"/>
                  <a:pt x="72" y="64"/>
                </a:cubicBezTo>
                <a:cubicBezTo>
                  <a:pt x="72" y="66"/>
                  <a:pt x="71" y="67"/>
                  <a:pt x="72" y="67"/>
                </a:cubicBezTo>
                <a:cubicBezTo>
                  <a:pt x="74" y="68"/>
                  <a:pt x="81" y="69"/>
                  <a:pt x="83" y="71"/>
                </a:cubicBezTo>
                <a:cubicBezTo>
                  <a:pt x="86" y="72"/>
                  <a:pt x="89" y="78"/>
                  <a:pt x="91" y="80"/>
                </a:cubicBezTo>
                <a:cubicBezTo>
                  <a:pt x="92" y="83"/>
                  <a:pt x="97" y="85"/>
                  <a:pt x="98" y="83"/>
                </a:cubicBezTo>
                <a:cubicBezTo>
                  <a:pt x="100" y="82"/>
                  <a:pt x="102" y="76"/>
                  <a:pt x="102" y="74"/>
                </a:cubicBezTo>
                <a:cubicBezTo>
                  <a:pt x="102" y="72"/>
                  <a:pt x="102" y="68"/>
                  <a:pt x="102" y="67"/>
                </a:cubicBezTo>
                <a:cubicBezTo>
                  <a:pt x="102" y="65"/>
                  <a:pt x="101" y="62"/>
                  <a:pt x="100" y="62"/>
                </a:cubicBezTo>
                <a:cubicBezTo>
                  <a:pt x="100" y="61"/>
                  <a:pt x="99" y="62"/>
                  <a:pt x="99" y="63"/>
                </a:cubicBezTo>
                <a:cubicBezTo>
                  <a:pt x="99" y="65"/>
                  <a:pt x="98" y="66"/>
                  <a:pt x="96" y="65"/>
                </a:cubicBezTo>
                <a:cubicBezTo>
                  <a:pt x="95" y="64"/>
                  <a:pt x="92" y="64"/>
                  <a:pt x="92" y="64"/>
                </a:cubicBezTo>
                <a:cubicBezTo>
                  <a:pt x="92" y="64"/>
                  <a:pt x="90" y="64"/>
                  <a:pt x="91" y="63"/>
                </a:cubicBezTo>
                <a:cubicBezTo>
                  <a:pt x="92" y="62"/>
                  <a:pt x="90" y="61"/>
                  <a:pt x="89" y="59"/>
                </a:cubicBezTo>
                <a:cubicBezTo>
                  <a:pt x="88" y="57"/>
                  <a:pt x="87" y="56"/>
                  <a:pt x="87" y="54"/>
                </a:cubicBezTo>
                <a:cubicBezTo>
                  <a:pt x="86" y="51"/>
                  <a:pt x="86" y="50"/>
                  <a:pt x="85" y="49"/>
                </a:cubicBezTo>
                <a:cubicBezTo>
                  <a:pt x="85" y="47"/>
                  <a:pt x="85" y="45"/>
                  <a:pt x="85" y="44"/>
                </a:cubicBezTo>
                <a:cubicBezTo>
                  <a:pt x="86" y="42"/>
                  <a:pt x="86" y="41"/>
                  <a:pt x="87" y="40"/>
                </a:cubicBezTo>
                <a:cubicBezTo>
                  <a:pt x="88" y="40"/>
                  <a:pt x="89" y="39"/>
                  <a:pt x="89" y="35"/>
                </a:cubicBezTo>
                <a:cubicBezTo>
                  <a:pt x="89" y="31"/>
                  <a:pt x="89" y="29"/>
                  <a:pt x="89" y="28"/>
                </a:cubicBezTo>
                <a:cubicBezTo>
                  <a:pt x="88" y="26"/>
                  <a:pt x="88" y="24"/>
                  <a:pt x="89" y="23"/>
                </a:cubicBezTo>
                <a:cubicBezTo>
                  <a:pt x="90" y="22"/>
                  <a:pt x="90" y="21"/>
                  <a:pt x="90" y="19"/>
                </a:cubicBezTo>
                <a:cubicBezTo>
                  <a:pt x="90" y="17"/>
                  <a:pt x="89" y="16"/>
                  <a:pt x="88" y="16"/>
                </a:cubicBezTo>
                <a:cubicBezTo>
                  <a:pt x="86" y="16"/>
                  <a:pt x="85" y="16"/>
                  <a:pt x="85" y="14"/>
                </a:cubicBezTo>
                <a:cubicBezTo>
                  <a:pt x="85" y="12"/>
                  <a:pt x="86" y="12"/>
                  <a:pt x="87" y="11"/>
                </a:cubicBezTo>
                <a:cubicBezTo>
                  <a:pt x="88" y="10"/>
                  <a:pt x="89" y="8"/>
                  <a:pt x="89" y="6"/>
                </a:cubicBezTo>
                <a:cubicBezTo>
                  <a:pt x="90" y="5"/>
                  <a:pt x="91" y="3"/>
                  <a:pt x="92" y="2"/>
                </a:cubicBezTo>
                <a:cubicBezTo>
                  <a:pt x="94" y="2"/>
                  <a:pt x="96" y="2"/>
                  <a:pt x="96" y="1"/>
                </a:cubicBezTo>
                <a:cubicBezTo>
                  <a:pt x="97" y="0"/>
                  <a:pt x="98" y="0"/>
                  <a:pt x="99" y="1"/>
                </a:cubicBezTo>
                <a:cubicBezTo>
                  <a:pt x="100" y="1"/>
                  <a:pt x="100" y="1"/>
                  <a:pt x="102" y="1"/>
                </a:cubicBezTo>
                <a:cubicBezTo>
                  <a:pt x="103" y="0"/>
                  <a:pt x="106" y="0"/>
                  <a:pt x="107" y="0"/>
                </a:cubicBezTo>
                <a:cubicBezTo>
                  <a:pt x="108" y="0"/>
                  <a:pt x="111" y="0"/>
                  <a:pt x="113" y="1"/>
                </a:cubicBezTo>
                <a:cubicBezTo>
                  <a:pt x="115" y="2"/>
                  <a:pt x="116" y="2"/>
                  <a:pt x="117" y="2"/>
                </a:cubicBezTo>
                <a:cubicBezTo>
                  <a:pt x="117" y="2"/>
                  <a:pt x="118" y="4"/>
                  <a:pt x="118" y="4"/>
                </a:cubicBezTo>
                <a:cubicBezTo>
                  <a:pt x="118" y="4"/>
                  <a:pt x="120" y="6"/>
                  <a:pt x="121" y="6"/>
                </a:cubicBezTo>
                <a:cubicBezTo>
                  <a:pt x="121" y="6"/>
                  <a:pt x="121" y="7"/>
                  <a:pt x="123" y="8"/>
                </a:cubicBezTo>
                <a:cubicBezTo>
                  <a:pt x="124" y="8"/>
                  <a:pt x="125" y="8"/>
                  <a:pt x="127" y="10"/>
                </a:cubicBezTo>
                <a:cubicBezTo>
                  <a:pt x="128" y="12"/>
                  <a:pt x="130" y="13"/>
                  <a:pt x="130" y="13"/>
                </a:cubicBezTo>
                <a:cubicBezTo>
                  <a:pt x="131" y="13"/>
                  <a:pt x="132" y="14"/>
                  <a:pt x="133" y="13"/>
                </a:cubicBezTo>
                <a:cubicBezTo>
                  <a:pt x="133" y="12"/>
                  <a:pt x="134" y="12"/>
                  <a:pt x="134" y="12"/>
                </a:cubicBezTo>
                <a:cubicBezTo>
                  <a:pt x="138" y="13"/>
                  <a:pt x="138" y="13"/>
                  <a:pt x="138" y="13"/>
                </a:cubicBezTo>
                <a:cubicBezTo>
                  <a:pt x="138" y="13"/>
                  <a:pt x="137" y="15"/>
                  <a:pt x="143" y="18"/>
                </a:cubicBezTo>
                <a:cubicBezTo>
                  <a:pt x="149" y="21"/>
                  <a:pt x="152" y="20"/>
                  <a:pt x="152" y="20"/>
                </a:cubicBezTo>
                <a:cubicBezTo>
                  <a:pt x="156" y="21"/>
                  <a:pt x="156" y="21"/>
                  <a:pt x="156" y="21"/>
                </a:cubicBezTo>
                <a:cubicBezTo>
                  <a:pt x="156" y="21"/>
                  <a:pt x="154" y="25"/>
                  <a:pt x="155" y="29"/>
                </a:cubicBezTo>
                <a:cubicBezTo>
                  <a:pt x="155" y="32"/>
                  <a:pt x="156" y="34"/>
                  <a:pt x="157" y="36"/>
                </a:cubicBezTo>
                <a:cubicBezTo>
                  <a:pt x="158" y="38"/>
                  <a:pt x="160" y="42"/>
                  <a:pt x="158" y="45"/>
                </a:cubicBezTo>
                <a:cubicBezTo>
                  <a:pt x="156" y="48"/>
                  <a:pt x="156" y="51"/>
                  <a:pt x="157" y="56"/>
                </a:cubicBezTo>
                <a:cubicBezTo>
                  <a:pt x="157" y="60"/>
                  <a:pt x="157" y="64"/>
                  <a:pt x="154" y="69"/>
                </a:cubicBezTo>
                <a:cubicBezTo>
                  <a:pt x="151" y="74"/>
                  <a:pt x="151" y="76"/>
                  <a:pt x="152" y="78"/>
                </a:cubicBezTo>
                <a:cubicBezTo>
                  <a:pt x="153" y="81"/>
                  <a:pt x="153" y="82"/>
                  <a:pt x="153" y="83"/>
                </a:cubicBezTo>
                <a:cubicBezTo>
                  <a:pt x="151" y="84"/>
                  <a:pt x="147" y="87"/>
                  <a:pt x="146" y="88"/>
                </a:cubicBezTo>
                <a:cubicBezTo>
                  <a:pt x="145" y="90"/>
                  <a:pt x="144" y="91"/>
                  <a:pt x="144" y="91"/>
                </a:cubicBezTo>
                <a:cubicBezTo>
                  <a:pt x="144" y="90"/>
                  <a:pt x="144" y="90"/>
                  <a:pt x="144" y="90"/>
                </a:cubicBezTo>
                <a:cubicBezTo>
                  <a:pt x="144" y="90"/>
                  <a:pt x="143" y="91"/>
                  <a:pt x="142" y="92"/>
                </a:cubicBezTo>
                <a:cubicBezTo>
                  <a:pt x="140" y="93"/>
                  <a:pt x="137" y="92"/>
                  <a:pt x="137" y="93"/>
                </a:cubicBezTo>
                <a:cubicBezTo>
                  <a:pt x="136" y="95"/>
                  <a:pt x="134" y="96"/>
                  <a:pt x="134" y="96"/>
                </a:cubicBezTo>
                <a:cubicBezTo>
                  <a:pt x="134" y="96"/>
                  <a:pt x="130" y="96"/>
                  <a:pt x="129" y="97"/>
                </a:cubicBezTo>
                <a:cubicBezTo>
                  <a:pt x="128" y="99"/>
                  <a:pt x="126" y="98"/>
                  <a:pt x="125" y="99"/>
                </a:cubicBezTo>
                <a:cubicBezTo>
                  <a:pt x="125" y="100"/>
                  <a:pt x="123" y="101"/>
                  <a:pt x="121" y="101"/>
                </a:cubicBezTo>
                <a:cubicBezTo>
                  <a:pt x="119" y="101"/>
                  <a:pt x="118" y="103"/>
                  <a:pt x="116" y="104"/>
                </a:cubicBezTo>
                <a:cubicBezTo>
                  <a:pt x="115" y="105"/>
                  <a:pt x="109" y="107"/>
                  <a:pt x="107" y="108"/>
                </a:cubicBezTo>
                <a:cubicBezTo>
                  <a:pt x="105" y="109"/>
                  <a:pt x="104" y="108"/>
                  <a:pt x="101" y="110"/>
                </a:cubicBezTo>
                <a:cubicBezTo>
                  <a:pt x="98" y="112"/>
                  <a:pt x="97" y="116"/>
                  <a:pt x="98" y="117"/>
                </a:cubicBezTo>
                <a:cubicBezTo>
                  <a:pt x="98" y="117"/>
                  <a:pt x="97" y="117"/>
                  <a:pt x="96" y="118"/>
                </a:cubicBezTo>
                <a:cubicBezTo>
                  <a:pt x="95" y="119"/>
                  <a:pt x="95" y="122"/>
                  <a:pt x="95" y="124"/>
                </a:cubicBezTo>
                <a:cubicBezTo>
                  <a:pt x="95" y="125"/>
                  <a:pt x="94" y="129"/>
                  <a:pt x="94" y="130"/>
                </a:cubicBezTo>
                <a:cubicBezTo>
                  <a:pt x="93" y="131"/>
                  <a:pt x="92" y="132"/>
                  <a:pt x="91" y="134"/>
                </a:cubicBezTo>
                <a:cubicBezTo>
                  <a:pt x="91" y="135"/>
                  <a:pt x="89" y="135"/>
                  <a:pt x="89" y="135"/>
                </a:cubicBezTo>
                <a:cubicBezTo>
                  <a:pt x="89" y="135"/>
                  <a:pt x="83" y="137"/>
                  <a:pt x="82" y="138"/>
                </a:cubicBezTo>
                <a:cubicBezTo>
                  <a:pt x="81" y="138"/>
                  <a:pt x="80" y="140"/>
                  <a:pt x="78" y="141"/>
                </a:cubicBezTo>
                <a:cubicBezTo>
                  <a:pt x="76" y="143"/>
                  <a:pt x="74" y="145"/>
                  <a:pt x="73" y="146"/>
                </a:cubicBezTo>
                <a:cubicBezTo>
                  <a:pt x="72" y="148"/>
                  <a:pt x="70" y="149"/>
                  <a:pt x="70" y="149"/>
                </a:cubicBezTo>
                <a:cubicBezTo>
                  <a:pt x="70" y="149"/>
                  <a:pt x="67" y="151"/>
                  <a:pt x="67" y="152"/>
                </a:cubicBezTo>
                <a:cubicBezTo>
                  <a:pt x="66" y="153"/>
                  <a:pt x="62" y="154"/>
                  <a:pt x="62" y="154"/>
                </a:cubicBezTo>
                <a:cubicBezTo>
                  <a:pt x="62" y="154"/>
                  <a:pt x="60" y="155"/>
                  <a:pt x="58" y="154"/>
                </a:cubicBezTo>
                <a:cubicBezTo>
                  <a:pt x="56" y="153"/>
                  <a:pt x="51" y="152"/>
                  <a:pt x="49" y="152"/>
                </a:cubicBezTo>
                <a:cubicBezTo>
                  <a:pt x="47" y="151"/>
                  <a:pt x="45" y="153"/>
                  <a:pt x="45" y="153"/>
                </a:cubicBezTo>
                <a:cubicBezTo>
                  <a:pt x="45" y="154"/>
                  <a:pt x="46" y="156"/>
                  <a:pt x="46" y="156"/>
                </a:cubicBezTo>
                <a:cubicBezTo>
                  <a:pt x="46" y="156"/>
                  <a:pt x="45" y="154"/>
                  <a:pt x="45" y="153"/>
                </a:cubicBezTo>
                <a:cubicBezTo>
                  <a:pt x="44" y="152"/>
                  <a:pt x="43" y="152"/>
                  <a:pt x="42" y="152"/>
                </a:cubicBezTo>
                <a:cubicBezTo>
                  <a:pt x="41" y="152"/>
                  <a:pt x="39" y="152"/>
                  <a:pt x="39" y="152"/>
                </a:cubicBezTo>
                <a:cubicBezTo>
                  <a:pt x="37" y="151"/>
                  <a:pt x="37" y="151"/>
                  <a:pt x="37" y="151"/>
                </a:cubicBezTo>
                <a:cubicBezTo>
                  <a:pt x="35" y="152"/>
                  <a:pt x="35" y="152"/>
                  <a:pt x="35" y="152"/>
                </a:cubicBezTo>
                <a:cubicBezTo>
                  <a:pt x="33" y="151"/>
                  <a:pt x="33" y="151"/>
                  <a:pt x="33" y="151"/>
                </a:cubicBezTo>
                <a:cubicBezTo>
                  <a:pt x="30" y="151"/>
                  <a:pt x="30" y="151"/>
                  <a:pt x="30" y="151"/>
                </a:cubicBezTo>
                <a:cubicBezTo>
                  <a:pt x="27" y="151"/>
                  <a:pt x="27" y="151"/>
                  <a:pt x="27" y="151"/>
                </a:cubicBezTo>
                <a:cubicBezTo>
                  <a:pt x="25" y="150"/>
                  <a:pt x="25" y="150"/>
                  <a:pt x="25" y="150"/>
                </a:cubicBezTo>
                <a:cubicBezTo>
                  <a:pt x="24" y="150"/>
                  <a:pt x="24" y="150"/>
                  <a:pt x="24" y="150"/>
                </a:cubicBezTo>
                <a:cubicBezTo>
                  <a:pt x="24" y="150"/>
                  <a:pt x="24" y="150"/>
                  <a:pt x="24" y="150"/>
                </a:cubicBezTo>
                <a:cubicBezTo>
                  <a:pt x="23" y="148"/>
                  <a:pt x="23" y="148"/>
                  <a:pt x="23" y="148"/>
                </a:cubicBezTo>
                <a:cubicBezTo>
                  <a:pt x="23" y="146"/>
                  <a:pt x="23" y="146"/>
                  <a:pt x="23" y="146"/>
                </a:cubicBezTo>
                <a:cubicBezTo>
                  <a:pt x="22" y="146"/>
                  <a:pt x="22" y="146"/>
                  <a:pt x="22" y="146"/>
                </a:cubicBezTo>
                <a:cubicBezTo>
                  <a:pt x="21" y="146"/>
                  <a:pt x="21" y="146"/>
                  <a:pt x="21" y="146"/>
                </a:cubicBezTo>
                <a:cubicBezTo>
                  <a:pt x="21" y="144"/>
                  <a:pt x="21" y="144"/>
                  <a:pt x="21" y="144"/>
                </a:cubicBezTo>
                <a:cubicBezTo>
                  <a:pt x="21" y="143"/>
                  <a:pt x="20" y="142"/>
                  <a:pt x="20" y="142"/>
                </a:cubicBezTo>
                <a:cubicBezTo>
                  <a:pt x="20" y="141"/>
                  <a:pt x="20" y="140"/>
                  <a:pt x="20" y="140"/>
                </a:cubicBezTo>
                <a:cubicBezTo>
                  <a:pt x="20" y="140"/>
                  <a:pt x="18" y="138"/>
                  <a:pt x="18" y="138"/>
                </a:cubicBezTo>
                <a:cubicBezTo>
                  <a:pt x="17" y="138"/>
                  <a:pt x="16" y="136"/>
                  <a:pt x="15" y="136"/>
                </a:cubicBezTo>
                <a:cubicBezTo>
                  <a:pt x="15" y="136"/>
                  <a:pt x="15" y="135"/>
                  <a:pt x="15" y="135"/>
                </a:cubicBezTo>
                <a:cubicBezTo>
                  <a:pt x="13" y="135"/>
                  <a:pt x="13" y="135"/>
                  <a:pt x="13" y="135"/>
                </a:cubicBezTo>
                <a:cubicBezTo>
                  <a:pt x="13" y="135"/>
                  <a:pt x="13" y="132"/>
                  <a:pt x="13" y="131"/>
                </a:cubicBezTo>
                <a:cubicBezTo>
                  <a:pt x="13" y="131"/>
                  <a:pt x="12" y="130"/>
                  <a:pt x="12" y="130"/>
                </a:cubicBezTo>
                <a:cubicBezTo>
                  <a:pt x="11" y="130"/>
                  <a:pt x="10" y="129"/>
                  <a:pt x="10" y="129"/>
                </a:cubicBezTo>
                <a:cubicBezTo>
                  <a:pt x="9" y="129"/>
                  <a:pt x="10" y="128"/>
                  <a:pt x="10" y="128"/>
                </a:cubicBezTo>
                <a:cubicBezTo>
                  <a:pt x="10" y="127"/>
                  <a:pt x="11" y="126"/>
                  <a:pt x="12" y="125"/>
                </a:cubicBezTo>
                <a:cubicBezTo>
                  <a:pt x="12" y="125"/>
                  <a:pt x="12" y="124"/>
                  <a:pt x="11" y="123"/>
                </a:cubicBezTo>
                <a:cubicBezTo>
                  <a:pt x="11" y="123"/>
                  <a:pt x="10" y="122"/>
                  <a:pt x="9" y="123"/>
                </a:cubicBezTo>
                <a:cubicBezTo>
                  <a:pt x="9" y="123"/>
                  <a:pt x="8" y="124"/>
                  <a:pt x="8" y="124"/>
                </a:cubicBezTo>
                <a:cubicBezTo>
                  <a:pt x="7" y="125"/>
                  <a:pt x="6" y="125"/>
                  <a:pt x="5" y="125"/>
                </a:cubicBezTo>
                <a:cubicBezTo>
                  <a:pt x="5" y="126"/>
                  <a:pt x="3" y="126"/>
                  <a:pt x="2" y="125"/>
                </a:cubicBezTo>
                <a:cubicBezTo>
                  <a:pt x="2" y="125"/>
                  <a:pt x="1" y="122"/>
                  <a:pt x="1" y="122"/>
                </a:cubicBezTo>
                <a:cubicBezTo>
                  <a:pt x="1" y="121"/>
                  <a:pt x="1" y="118"/>
                  <a:pt x="1" y="117"/>
                </a:cubicBezTo>
                <a:cubicBezTo>
                  <a:pt x="1" y="117"/>
                  <a:pt x="0" y="113"/>
                  <a:pt x="0" y="113"/>
                </a:cubicBezTo>
                <a:cubicBezTo>
                  <a:pt x="0" y="113"/>
                  <a:pt x="0" y="106"/>
                  <a:pt x="0" y="105"/>
                </a:cubicBezTo>
                <a:cubicBezTo>
                  <a:pt x="0" y="104"/>
                  <a:pt x="1" y="104"/>
                  <a:pt x="1" y="103"/>
                </a:cubicBezTo>
                <a:cubicBezTo>
                  <a:pt x="1" y="103"/>
                  <a:pt x="1" y="99"/>
                  <a:pt x="1" y="99"/>
                </a:cubicBezTo>
                <a:cubicBezTo>
                  <a:pt x="1" y="98"/>
                  <a:pt x="2" y="96"/>
                  <a:pt x="2" y="95"/>
                </a:cubicBezTo>
                <a:cubicBezTo>
                  <a:pt x="2" y="93"/>
                  <a:pt x="1" y="90"/>
                  <a:pt x="1" y="90"/>
                </a:cubicBezTo>
                <a:cubicBezTo>
                  <a:pt x="1" y="89"/>
                  <a:pt x="1" y="85"/>
                  <a:pt x="1" y="85"/>
                </a:cubicBezTo>
                <a:cubicBezTo>
                  <a:pt x="0" y="84"/>
                  <a:pt x="1" y="82"/>
                  <a:pt x="1" y="80"/>
                </a:cubicBezTo>
                <a:cubicBezTo>
                  <a:pt x="1" y="79"/>
                  <a:pt x="2" y="78"/>
                  <a:pt x="3" y="77"/>
                </a:cubicBezTo>
                <a:cubicBezTo>
                  <a:pt x="4" y="77"/>
                  <a:pt x="5" y="76"/>
                  <a:pt x="5" y="76"/>
                </a:cubicBezTo>
                <a:cubicBezTo>
                  <a:pt x="5" y="76"/>
                  <a:pt x="8" y="77"/>
                  <a:pt x="9" y="77"/>
                </a:cubicBezTo>
                <a:cubicBezTo>
                  <a:pt x="9" y="76"/>
                  <a:pt x="10" y="76"/>
                  <a:pt x="11" y="76"/>
                </a:cubicBezTo>
                <a:cubicBezTo>
                  <a:pt x="13" y="76"/>
                  <a:pt x="13" y="77"/>
                  <a:pt x="14" y="76"/>
                </a:cubicBezTo>
                <a:cubicBezTo>
                  <a:pt x="15" y="76"/>
                  <a:pt x="16" y="76"/>
                  <a:pt x="17" y="76"/>
                </a:cubicBezTo>
                <a:cubicBezTo>
                  <a:pt x="18" y="75"/>
                  <a:pt x="20" y="77"/>
                  <a:pt x="21" y="76"/>
                </a:cubicBezTo>
                <a:cubicBezTo>
                  <a:pt x="22" y="76"/>
                  <a:pt x="23" y="75"/>
                  <a:pt x="23" y="75"/>
                </a:cubicBezTo>
                <a:cubicBezTo>
                  <a:pt x="24" y="75"/>
                  <a:pt x="27" y="75"/>
                  <a:pt x="27" y="75"/>
                </a:cubicBezTo>
                <a:cubicBezTo>
                  <a:pt x="27" y="75"/>
                  <a:pt x="27" y="72"/>
                  <a:pt x="27" y="72"/>
                </a:cubicBezTo>
                <a:cubicBezTo>
                  <a:pt x="26" y="72"/>
                  <a:pt x="26" y="71"/>
                  <a:pt x="26" y="70"/>
                </a:cubicBezTo>
                <a:cubicBezTo>
                  <a:pt x="26" y="70"/>
                  <a:pt x="27" y="67"/>
                  <a:pt x="27" y="66"/>
                </a:cubicBezTo>
                <a:cubicBezTo>
                  <a:pt x="27" y="65"/>
                  <a:pt x="27" y="62"/>
                  <a:pt x="27" y="62"/>
                </a:cubicBezTo>
                <a:cubicBezTo>
                  <a:pt x="27" y="61"/>
                  <a:pt x="27" y="59"/>
                  <a:pt x="27" y="59"/>
                </a:cubicBezTo>
                <a:cubicBezTo>
                  <a:pt x="27" y="59"/>
                  <a:pt x="26" y="58"/>
                  <a:pt x="27" y="57"/>
                </a:cubicBezTo>
                <a:cubicBezTo>
                  <a:pt x="27" y="57"/>
                  <a:pt x="28" y="53"/>
                  <a:pt x="28" y="52"/>
                </a:cubicBezTo>
                <a:cubicBezTo>
                  <a:pt x="28" y="52"/>
                  <a:pt x="28" y="50"/>
                  <a:pt x="28" y="50"/>
                </a:cubicBezTo>
                <a:cubicBezTo>
                  <a:pt x="28" y="49"/>
                  <a:pt x="28" y="48"/>
                  <a:pt x="28" y="47"/>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6" name="Malawi"/>
          <p:cNvSpPr>
            <a:spLocks/>
          </p:cNvSpPr>
          <p:nvPr/>
        </p:nvSpPr>
        <p:spPr bwMode="auto">
          <a:xfrm>
            <a:off x="7079743" y="4384109"/>
            <a:ext cx="89826" cy="249877"/>
          </a:xfrm>
          <a:custGeom>
            <a:avLst/>
            <a:gdLst>
              <a:gd name="T0" fmla="*/ 34 w 44"/>
              <a:gd name="T1" fmla="*/ 29 h 122"/>
              <a:gd name="T2" fmla="*/ 32 w 44"/>
              <a:gd name="T3" fmla="*/ 29 h 122"/>
              <a:gd name="T4" fmla="*/ 30 w 44"/>
              <a:gd name="T5" fmla="*/ 24 h 122"/>
              <a:gd name="T6" fmla="*/ 27 w 44"/>
              <a:gd name="T7" fmla="*/ 16 h 122"/>
              <a:gd name="T8" fmla="*/ 19 w 44"/>
              <a:gd name="T9" fmla="*/ 5 h 122"/>
              <a:gd name="T10" fmla="*/ 12 w 44"/>
              <a:gd name="T11" fmla="*/ 1 h 122"/>
              <a:gd name="T12" fmla="*/ 11 w 44"/>
              <a:gd name="T13" fmla="*/ 8 h 122"/>
              <a:gd name="T14" fmla="*/ 13 w 44"/>
              <a:gd name="T15" fmla="*/ 15 h 122"/>
              <a:gd name="T16" fmla="*/ 14 w 44"/>
              <a:gd name="T17" fmla="*/ 24 h 122"/>
              <a:gd name="T18" fmla="*/ 13 w 44"/>
              <a:gd name="T19" fmla="*/ 35 h 122"/>
              <a:gd name="T20" fmla="*/ 10 w 44"/>
              <a:gd name="T21" fmla="*/ 48 h 122"/>
              <a:gd name="T22" fmla="*/ 8 w 44"/>
              <a:gd name="T23" fmla="*/ 57 h 122"/>
              <a:gd name="T24" fmla="*/ 9 w 44"/>
              <a:gd name="T25" fmla="*/ 62 h 122"/>
              <a:gd name="T26" fmla="*/ 2 w 44"/>
              <a:gd name="T27" fmla="*/ 67 h 122"/>
              <a:gd name="T28" fmla="*/ 0 w 44"/>
              <a:gd name="T29" fmla="*/ 70 h 122"/>
              <a:gd name="T30" fmla="*/ 6 w 44"/>
              <a:gd name="T31" fmla="*/ 72 h 122"/>
              <a:gd name="T32" fmla="*/ 11 w 44"/>
              <a:gd name="T33" fmla="*/ 78 h 122"/>
              <a:gd name="T34" fmla="*/ 11 w 44"/>
              <a:gd name="T35" fmla="*/ 88 h 122"/>
              <a:gd name="T36" fmla="*/ 12 w 44"/>
              <a:gd name="T37" fmla="*/ 92 h 122"/>
              <a:gd name="T38" fmla="*/ 19 w 44"/>
              <a:gd name="T39" fmla="*/ 101 h 122"/>
              <a:gd name="T40" fmla="*/ 24 w 44"/>
              <a:gd name="T41" fmla="*/ 114 h 122"/>
              <a:gd name="T42" fmla="*/ 29 w 44"/>
              <a:gd name="T43" fmla="*/ 119 h 122"/>
              <a:gd name="T44" fmla="*/ 33 w 44"/>
              <a:gd name="T45" fmla="*/ 122 h 122"/>
              <a:gd name="T46" fmla="*/ 35 w 44"/>
              <a:gd name="T47" fmla="*/ 118 h 122"/>
              <a:gd name="T48" fmla="*/ 35 w 44"/>
              <a:gd name="T49" fmla="*/ 112 h 122"/>
              <a:gd name="T50" fmla="*/ 35 w 44"/>
              <a:gd name="T51" fmla="*/ 110 h 122"/>
              <a:gd name="T52" fmla="*/ 41 w 44"/>
              <a:gd name="T53" fmla="*/ 105 h 122"/>
              <a:gd name="T54" fmla="*/ 44 w 44"/>
              <a:gd name="T55" fmla="*/ 92 h 122"/>
              <a:gd name="T56" fmla="*/ 43 w 44"/>
              <a:gd name="T57" fmla="*/ 87 h 122"/>
              <a:gd name="T58" fmla="*/ 41 w 44"/>
              <a:gd name="T59" fmla="*/ 87 h 122"/>
              <a:gd name="T60" fmla="*/ 39 w 44"/>
              <a:gd name="T61" fmla="*/ 85 h 122"/>
              <a:gd name="T62" fmla="*/ 38 w 44"/>
              <a:gd name="T63" fmla="*/ 75 h 122"/>
              <a:gd name="T64" fmla="*/ 33 w 44"/>
              <a:gd name="T65" fmla="*/ 68 h 122"/>
              <a:gd name="T66" fmla="*/ 32 w 44"/>
              <a:gd name="T67" fmla="*/ 57 h 122"/>
              <a:gd name="T68" fmla="*/ 31 w 44"/>
              <a:gd name="T69" fmla="*/ 49 h 122"/>
              <a:gd name="T70" fmla="*/ 32 w 44"/>
              <a:gd name="T71" fmla="*/ 44 h 122"/>
              <a:gd name="T72" fmla="*/ 34 w 44"/>
              <a:gd name="T73" fmla="*/ 38 h 122"/>
              <a:gd name="T74" fmla="*/ 34 w 44"/>
              <a:gd name="T75" fmla="*/ 2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122">
                <a:moveTo>
                  <a:pt x="34" y="29"/>
                </a:moveTo>
                <a:cubicBezTo>
                  <a:pt x="32" y="29"/>
                  <a:pt x="32" y="29"/>
                  <a:pt x="32" y="29"/>
                </a:cubicBezTo>
                <a:cubicBezTo>
                  <a:pt x="30" y="24"/>
                  <a:pt x="30" y="24"/>
                  <a:pt x="30" y="24"/>
                </a:cubicBezTo>
                <a:cubicBezTo>
                  <a:pt x="30" y="24"/>
                  <a:pt x="29" y="21"/>
                  <a:pt x="27" y="16"/>
                </a:cubicBezTo>
                <a:cubicBezTo>
                  <a:pt x="24" y="11"/>
                  <a:pt x="22" y="8"/>
                  <a:pt x="19" y="5"/>
                </a:cubicBezTo>
                <a:cubicBezTo>
                  <a:pt x="17" y="1"/>
                  <a:pt x="12" y="1"/>
                  <a:pt x="12" y="1"/>
                </a:cubicBezTo>
                <a:cubicBezTo>
                  <a:pt x="12" y="0"/>
                  <a:pt x="10" y="4"/>
                  <a:pt x="11" y="8"/>
                </a:cubicBezTo>
                <a:cubicBezTo>
                  <a:pt x="11" y="11"/>
                  <a:pt x="12" y="13"/>
                  <a:pt x="13" y="15"/>
                </a:cubicBezTo>
                <a:cubicBezTo>
                  <a:pt x="14" y="17"/>
                  <a:pt x="16" y="21"/>
                  <a:pt x="14" y="24"/>
                </a:cubicBezTo>
                <a:cubicBezTo>
                  <a:pt x="12" y="27"/>
                  <a:pt x="12" y="30"/>
                  <a:pt x="13" y="35"/>
                </a:cubicBezTo>
                <a:cubicBezTo>
                  <a:pt x="13" y="39"/>
                  <a:pt x="13" y="43"/>
                  <a:pt x="10" y="48"/>
                </a:cubicBezTo>
                <a:cubicBezTo>
                  <a:pt x="7" y="53"/>
                  <a:pt x="7" y="55"/>
                  <a:pt x="8" y="57"/>
                </a:cubicBezTo>
                <a:cubicBezTo>
                  <a:pt x="9" y="60"/>
                  <a:pt x="9" y="61"/>
                  <a:pt x="9" y="62"/>
                </a:cubicBezTo>
                <a:cubicBezTo>
                  <a:pt x="7" y="63"/>
                  <a:pt x="3" y="66"/>
                  <a:pt x="2" y="67"/>
                </a:cubicBezTo>
                <a:cubicBezTo>
                  <a:pt x="1" y="69"/>
                  <a:pt x="0" y="70"/>
                  <a:pt x="0" y="70"/>
                </a:cubicBezTo>
                <a:cubicBezTo>
                  <a:pt x="6" y="72"/>
                  <a:pt x="6" y="72"/>
                  <a:pt x="6" y="72"/>
                </a:cubicBezTo>
                <a:cubicBezTo>
                  <a:pt x="6" y="72"/>
                  <a:pt x="10" y="74"/>
                  <a:pt x="11" y="78"/>
                </a:cubicBezTo>
                <a:cubicBezTo>
                  <a:pt x="11" y="82"/>
                  <a:pt x="11" y="88"/>
                  <a:pt x="11" y="88"/>
                </a:cubicBezTo>
                <a:cubicBezTo>
                  <a:pt x="11" y="88"/>
                  <a:pt x="12" y="92"/>
                  <a:pt x="12" y="92"/>
                </a:cubicBezTo>
                <a:cubicBezTo>
                  <a:pt x="12" y="92"/>
                  <a:pt x="17" y="96"/>
                  <a:pt x="19" y="101"/>
                </a:cubicBezTo>
                <a:cubicBezTo>
                  <a:pt x="20" y="105"/>
                  <a:pt x="22" y="111"/>
                  <a:pt x="24" y="114"/>
                </a:cubicBezTo>
                <a:cubicBezTo>
                  <a:pt x="26" y="116"/>
                  <a:pt x="28" y="118"/>
                  <a:pt x="29" y="119"/>
                </a:cubicBezTo>
                <a:cubicBezTo>
                  <a:pt x="31" y="120"/>
                  <a:pt x="33" y="122"/>
                  <a:pt x="33" y="122"/>
                </a:cubicBezTo>
                <a:cubicBezTo>
                  <a:pt x="33" y="122"/>
                  <a:pt x="35" y="119"/>
                  <a:pt x="35" y="118"/>
                </a:cubicBezTo>
                <a:cubicBezTo>
                  <a:pt x="35" y="117"/>
                  <a:pt x="35" y="112"/>
                  <a:pt x="35" y="112"/>
                </a:cubicBezTo>
                <a:cubicBezTo>
                  <a:pt x="35" y="110"/>
                  <a:pt x="35" y="110"/>
                  <a:pt x="35" y="110"/>
                </a:cubicBezTo>
                <a:cubicBezTo>
                  <a:pt x="35" y="110"/>
                  <a:pt x="40" y="107"/>
                  <a:pt x="41" y="105"/>
                </a:cubicBezTo>
                <a:cubicBezTo>
                  <a:pt x="42" y="102"/>
                  <a:pt x="44" y="94"/>
                  <a:pt x="44" y="92"/>
                </a:cubicBezTo>
                <a:cubicBezTo>
                  <a:pt x="44" y="90"/>
                  <a:pt x="43" y="87"/>
                  <a:pt x="43" y="87"/>
                </a:cubicBezTo>
                <a:cubicBezTo>
                  <a:pt x="41" y="87"/>
                  <a:pt x="41" y="87"/>
                  <a:pt x="41" y="87"/>
                </a:cubicBezTo>
                <a:cubicBezTo>
                  <a:pt x="39" y="85"/>
                  <a:pt x="39" y="85"/>
                  <a:pt x="39" y="85"/>
                </a:cubicBezTo>
                <a:cubicBezTo>
                  <a:pt x="39" y="85"/>
                  <a:pt x="40" y="77"/>
                  <a:pt x="38" y="75"/>
                </a:cubicBezTo>
                <a:cubicBezTo>
                  <a:pt x="36" y="73"/>
                  <a:pt x="34" y="71"/>
                  <a:pt x="33" y="68"/>
                </a:cubicBezTo>
                <a:cubicBezTo>
                  <a:pt x="32" y="64"/>
                  <a:pt x="32" y="57"/>
                  <a:pt x="32" y="57"/>
                </a:cubicBezTo>
                <a:cubicBezTo>
                  <a:pt x="32" y="57"/>
                  <a:pt x="32" y="51"/>
                  <a:pt x="31" y="49"/>
                </a:cubicBezTo>
                <a:cubicBezTo>
                  <a:pt x="31" y="47"/>
                  <a:pt x="31" y="46"/>
                  <a:pt x="32" y="44"/>
                </a:cubicBezTo>
                <a:cubicBezTo>
                  <a:pt x="33" y="42"/>
                  <a:pt x="34" y="40"/>
                  <a:pt x="34" y="38"/>
                </a:cubicBezTo>
                <a:cubicBezTo>
                  <a:pt x="34" y="37"/>
                  <a:pt x="34" y="29"/>
                  <a:pt x="34" y="2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7" name="Dem. Rep. of Congo"/>
          <p:cNvSpPr>
            <a:spLocks/>
          </p:cNvSpPr>
          <p:nvPr/>
        </p:nvSpPr>
        <p:spPr bwMode="auto">
          <a:xfrm>
            <a:off x="6524459" y="3920282"/>
            <a:ext cx="535686" cy="594482"/>
          </a:xfrm>
          <a:custGeom>
            <a:avLst/>
            <a:gdLst>
              <a:gd name="T0" fmla="*/ 6 w 261"/>
              <a:gd name="T1" fmla="*/ 161 h 290"/>
              <a:gd name="T2" fmla="*/ 8 w 261"/>
              <a:gd name="T3" fmla="*/ 152 h 290"/>
              <a:gd name="T4" fmla="*/ 11 w 261"/>
              <a:gd name="T5" fmla="*/ 143 h 290"/>
              <a:gd name="T6" fmla="*/ 32 w 261"/>
              <a:gd name="T7" fmla="*/ 157 h 290"/>
              <a:gd name="T8" fmla="*/ 46 w 261"/>
              <a:gd name="T9" fmla="*/ 147 h 290"/>
              <a:gd name="T10" fmla="*/ 62 w 261"/>
              <a:gd name="T11" fmla="*/ 124 h 290"/>
              <a:gd name="T12" fmla="*/ 70 w 261"/>
              <a:gd name="T13" fmla="*/ 99 h 290"/>
              <a:gd name="T14" fmla="*/ 83 w 261"/>
              <a:gd name="T15" fmla="*/ 66 h 290"/>
              <a:gd name="T16" fmla="*/ 97 w 261"/>
              <a:gd name="T17" fmla="*/ 20 h 290"/>
              <a:gd name="T18" fmla="*/ 116 w 261"/>
              <a:gd name="T19" fmla="*/ 8 h 290"/>
              <a:gd name="T20" fmla="*/ 140 w 261"/>
              <a:gd name="T21" fmla="*/ 17 h 290"/>
              <a:gd name="T22" fmla="*/ 163 w 261"/>
              <a:gd name="T23" fmla="*/ 8 h 290"/>
              <a:gd name="T24" fmla="*/ 193 w 261"/>
              <a:gd name="T25" fmla="*/ 3 h 290"/>
              <a:gd name="T26" fmla="*/ 220 w 261"/>
              <a:gd name="T27" fmla="*/ 12 h 290"/>
              <a:gd name="T28" fmla="*/ 242 w 261"/>
              <a:gd name="T29" fmla="*/ 12 h 290"/>
              <a:gd name="T30" fmla="*/ 254 w 261"/>
              <a:gd name="T31" fmla="*/ 25 h 290"/>
              <a:gd name="T32" fmla="*/ 253 w 261"/>
              <a:gd name="T33" fmla="*/ 48 h 290"/>
              <a:gd name="T34" fmla="*/ 259 w 261"/>
              <a:gd name="T35" fmla="*/ 58 h 290"/>
              <a:gd name="T36" fmla="*/ 240 w 261"/>
              <a:gd name="T37" fmla="*/ 91 h 290"/>
              <a:gd name="T38" fmla="*/ 235 w 261"/>
              <a:gd name="T39" fmla="*/ 106 h 290"/>
              <a:gd name="T40" fmla="*/ 231 w 261"/>
              <a:gd name="T41" fmla="*/ 124 h 290"/>
              <a:gd name="T42" fmla="*/ 239 w 261"/>
              <a:gd name="T43" fmla="*/ 143 h 290"/>
              <a:gd name="T44" fmla="*/ 240 w 261"/>
              <a:gd name="T45" fmla="*/ 156 h 290"/>
              <a:gd name="T46" fmla="*/ 246 w 261"/>
              <a:gd name="T47" fmla="*/ 181 h 290"/>
              <a:gd name="T48" fmla="*/ 254 w 261"/>
              <a:gd name="T49" fmla="*/ 200 h 290"/>
              <a:gd name="T50" fmla="*/ 259 w 261"/>
              <a:gd name="T51" fmla="*/ 215 h 290"/>
              <a:gd name="T52" fmla="*/ 254 w 261"/>
              <a:gd name="T53" fmla="*/ 215 h 290"/>
              <a:gd name="T54" fmla="*/ 244 w 261"/>
              <a:gd name="T55" fmla="*/ 207 h 290"/>
              <a:gd name="T56" fmla="*/ 226 w 261"/>
              <a:gd name="T57" fmla="*/ 206 h 290"/>
              <a:gd name="T58" fmla="*/ 214 w 261"/>
              <a:gd name="T59" fmla="*/ 216 h 290"/>
              <a:gd name="T60" fmla="*/ 216 w 261"/>
              <a:gd name="T61" fmla="*/ 228 h 290"/>
              <a:gd name="T62" fmla="*/ 212 w 261"/>
              <a:gd name="T63" fmla="*/ 249 h 290"/>
              <a:gd name="T64" fmla="*/ 218 w 261"/>
              <a:gd name="T65" fmla="*/ 268 h 290"/>
              <a:gd name="T66" fmla="*/ 227 w 261"/>
              <a:gd name="T67" fmla="*/ 267 h 290"/>
              <a:gd name="T68" fmla="*/ 218 w 261"/>
              <a:gd name="T69" fmla="*/ 285 h 290"/>
              <a:gd name="T70" fmla="*/ 197 w 261"/>
              <a:gd name="T71" fmla="*/ 264 h 290"/>
              <a:gd name="T72" fmla="*/ 183 w 261"/>
              <a:gd name="T73" fmla="*/ 262 h 290"/>
              <a:gd name="T74" fmla="*/ 171 w 261"/>
              <a:gd name="T75" fmla="*/ 253 h 290"/>
              <a:gd name="T76" fmla="*/ 163 w 261"/>
              <a:gd name="T77" fmla="*/ 254 h 290"/>
              <a:gd name="T78" fmla="*/ 156 w 261"/>
              <a:gd name="T79" fmla="*/ 250 h 290"/>
              <a:gd name="T80" fmla="*/ 151 w 261"/>
              <a:gd name="T81" fmla="*/ 251 h 290"/>
              <a:gd name="T82" fmla="*/ 144 w 261"/>
              <a:gd name="T83" fmla="*/ 251 h 290"/>
              <a:gd name="T84" fmla="*/ 134 w 261"/>
              <a:gd name="T85" fmla="*/ 254 h 290"/>
              <a:gd name="T86" fmla="*/ 133 w 261"/>
              <a:gd name="T87" fmla="*/ 241 h 290"/>
              <a:gd name="T88" fmla="*/ 128 w 261"/>
              <a:gd name="T89" fmla="*/ 220 h 290"/>
              <a:gd name="T90" fmla="*/ 128 w 261"/>
              <a:gd name="T91" fmla="*/ 204 h 290"/>
              <a:gd name="T92" fmla="*/ 127 w 261"/>
              <a:gd name="T93" fmla="*/ 192 h 290"/>
              <a:gd name="T94" fmla="*/ 119 w 261"/>
              <a:gd name="T95" fmla="*/ 190 h 290"/>
              <a:gd name="T96" fmla="*/ 111 w 261"/>
              <a:gd name="T97" fmla="*/ 189 h 290"/>
              <a:gd name="T98" fmla="*/ 105 w 261"/>
              <a:gd name="T99" fmla="*/ 189 h 290"/>
              <a:gd name="T100" fmla="*/ 98 w 261"/>
              <a:gd name="T101" fmla="*/ 192 h 290"/>
              <a:gd name="T102" fmla="*/ 98 w 261"/>
              <a:gd name="T103" fmla="*/ 200 h 290"/>
              <a:gd name="T104" fmla="*/ 91 w 261"/>
              <a:gd name="T105" fmla="*/ 203 h 290"/>
              <a:gd name="T106" fmla="*/ 84 w 261"/>
              <a:gd name="T107" fmla="*/ 204 h 290"/>
              <a:gd name="T108" fmla="*/ 71 w 261"/>
              <a:gd name="T109" fmla="*/ 202 h 290"/>
              <a:gd name="T110" fmla="*/ 62 w 261"/>
              <a:gd name="T111" fmla="*/ 185 h 290"/>
              <a:gd name="T112" fmla="*/ 54 w 261"/>
              <a:gd name="T113" fmla="*/ 169 h 290"/>
              <a:gd name="T114" fmla="*/ 42 w 261"/>
              <a:gd name="T115" fmla="*/ 171 h 290"/>
              <a:gd name="T116" fmla="*/ 28 w 261"/>
              <a:gd name="T117" fmla="*/ 170 h 290"/>
              <a:gd name="T118" fmla="*/ 14 w 261"/>
              <a:gd name="T119" fmla="*/ 170 h 290"/>
              <a:gd name="T120" fmla="*/ 1 w 261"/>
              <a:gd name="T121" fmla="*/ 16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 h="290">
                <a:moveTo>
                  <a:pt x="0" y="164"/>
                </a:moveTo>
                <a:cubicBezTo>
                  <a:pt x="0" y="164"/>
                  <a:pt x="1" y="165"/>
                  <a:pt x="1" y="164"/>
                </a:cubicBezTo>
                <a:cubicBezTo>
                  <a:pt x="2" y="164"/>
                  <a:pt x="4" y="163"/>
                  <a:pt x="5" y="163"/>
                </a:cubicBezTo>
                <a:cubicBezTo>
                  <a:pt x="5" y="163"/>
                  <a:pt x="6" y="162"/>
                  <a:pt x="6" y="161"/>
                </a:cubicBezTo>
                <a:cubicBezTo>
                  <a:pt x="6" y="160"/>
                  <a:pt x="7" y="159"/>
                  <a:pt x="7" y="159"/>
                </a:cubicBezTo>
                <a:cubicBezTo>
                  <a:pt x="7" y="158"/>
                  <a:pt x="6" y="158"/>
                  <a:pt x="6" y="157"/>
                </a:cubicBezTo>
                <a:cubicBezTo>
                  <a:pt x="6" y="156"/>
                  <a:pt x="6" y="155"/>
                  <a:pt x="7" y="155"/>
                </a:cubicBezTo>
                <a:cubicBezTo>
                  <a:pt x="7" y="154"/>
                  <a:pt x="8" y="153"/>
                  <a:pt x="8" y="152"/>
                </a:cubicBezTo>
                <a:cubicBezTo>
                  <a:pt x="8" y="151"/>
                  <a:pt x="9" y="150"/>
                  <a:pt x="9" y="149"/>
                </a:cubicBezTo>
                <a:cubicBezTo>
                  <a:pt x="9" y="149"/>
                  <a:pt x="9" y="147"/>
                  <a:pt x="9" y="146"/>
                </a:cubicBezTo>
                <a:cubicBezTo>
                  <a:pt x="9" y="145"/>
                  <a:pt x="10" y="145"/>
                  <a:pt x="11" y="144"/>
                </a:cubicBezTo>
                <a:cubicBezTo>
                  <a:pt x="11" y="144"/>
                  <a:pt x="11" y="144"/>
                  <a:pt x="11" y="143"/>
                </a:cubicBezTo>
                <a:cubicBezTo>
                  <a:pt x="11" y="143"/>
                  <a:pt x="16" y="147"/>
                  <a:pt x="16" y="149"/>
                </a:cubicBezTo>
                <a:cubicBezTo>
                  <a:pt x="17" y="151"/>
                  <a:pt x="22" y="156"/>
                  <a:pt x="23" y="156"/>
                </a:cubicBezTo>
                <a:cubicBezTo>
                  <a:pt x="25" y="157"/>
                  <a:pt x="28" y="158"/>
                  <a:pt x="28" y="158"/>
                </a:cubicBezTo>
                <a:cubicBezTo>
                  <a:pt x="28" y="158"/>
                  <a:pt x="31" y="158"/>
                  <a:pt x="32" y="157"/>
                </a:cubicBezTo>
                <a:cubicBezTo>
                  <a:pt x="33" y="156"/>
                  <a:pt x="34" y="154"/>
                  <a:pt x="34" y="154"/>
                </a:cubicBezTo>
                <a:cubicBezTo>
                  <a:pt x="34" y="154"/>
                  <a:pt x="37" y="153"/>
                  <a:pt x="39" y="153"/>
                </a:cubicBezTo>
                <a:cubicBezTo>
                  <a:pt x="40" y="153"/>
                  <a:pt x="43" y="150"/>
                  <a:pt x="43" y="150"/>
                </a:cubicBezTo>
                <a:cubicBezTo>
                  <a:pt x="43" y="150"/>
                  <a:pt x="44" y="147"/>
                  <a:pt x="46" y="147"/>
                </a:cubicBezTo>
                <a:cubicBezTo>
                  <a:pt x="48" y="145"/>
                  <a:pt x="50" y="143"/>
                  <a:pt x="50" y="143"/>
                </a:cubicBezTo>
                <a:cubicBezTo>
                  <a:pt x="50" y="143"/>
                  <a:pt x="52" y="138"/>
                  <a:pt x="54" y="138"/>
                </a:cubicBezTo>
                <a:cubicBezTo>
                  <a:pt x="56" y="138"/>
                  <a:pt x="59" y="138"/>
                  <a:pt x="60" y="136"/>
                </a:cubicBezTo>
                <a:cubicBezTo>
                  <a:pt x="60" y="133"/>
                  <a:pt x="62" y="124"/>
                  <a:pt x="62" y="124"/>
                </a:cubicBezTo>
                <a:cubicBezTo>
                  <a:pt x="62" y="124"/>
                  <a:pt x="62" y="121"/>
                  <a:pt x="63" y="118"/>
                </a:cubicBezTo>
                <a:cubicBezTo>
                  <a:pt x="65" y="116"/>
                  <a:pt x="63" y="112"/>
                  <a:pt x="63" y="112"/>
                </a:cubicBezTo>
                <a:cubicBezTo>
                  <a:pt x="64" y="108"/>
                  <a:pt x="64" y="108"/>
                  <a:pt x="64" y="108"/>
                </a:cubicBezTo>
                <a:cubicBezTo>
                  <a:pt x="64" y="108"/>
                  <a:pt x="70" y="101"/>
                  <a:pt x="70" y="99"/>
                </a:cubicBezTo>
                <a:cubicBezTo>
                  <a:pt x="70" y="96"/>
                  <a:pt x="73" y="95"/>
                  <a:pt x="73" y="95"/>
                </a:cubicBezTo>
                <a:cubicBezTo>
                  <a:pt x="73" y="95"/>
                  <a:pt x="73" y="92"/>
                  <a:pt x="74" y="88"/>
                </a:cubicBezTo>
                <a:cubicBezTo>
                  <a:pt x="74" y="84"/>
                  <a:pt x="75" y="77"/>
                  <a:pt x="78" y="76"/>
                </a:cubicBezTo>
                <a:cubicBezTo>
                  <a:pt x="81" y="75"/>
                  <a:pt x="83" y="66"/>
                  <a:pt x="83" y="66"/>
                </a:cubicBezTo>
                <a:cubicBezTo>
                  <a:pt x="83" y="66"/>
                  <a:pt x="85" y="59"/>
                  <a:pt x="87" y="59"/>
                </a:cubicBezTo>
                <a:cubicBezTo>
                  <a:pt x="89" y="59"/>
                  <a:pt x="91" y="49"/>
                  <a:pt x="92" y="44"/>
                </a:cubicBezTo>
                <a:cubicBezTo>
                  <a:pt x="93" y="39"/>
                  <a:pt x="95" y="34"/>
                  <a:pt x="97" y="32"/>
                </a:cubicBezTo>
                <a:cubicBezTo>
                  <a:pt x="99" y="30"/>
                  <a:pt x="97" y="20"/>
                  <a:pt x="97" y="20"/>
                </a:cubicBezTo>
                <a:cubicBezTo>
                  <a:pt x="97" y="20"/>
                  <a:pt x="99" y="20"/>
                  <a:pt x="99" y="16"/>
                </a:cubicBezTo>
                <a:cubicBezTo>
                  <a:pt x="99" y="12"/>
                  <a:pt x="99" y="10"/>
                  <a:pt x="102" y="7"/>
                </a:cubicBezTo>
                <a:cubicBezTo>
                  <a:pt x="106" y="5"/>
                  <a:pt x="112" y="2"/>
                  <a:pt x="113" y="5"/>
                </a:cubicBezTo>
                <a:cubicBezTo>
                  <a:pt x="115" y="7"/>
                  <a:pt x="114" y="8"/>
                  <a:pt x="116" y="8"/>
                </a:cubicBezTo>
                <a:cubicBezTo>
                  <a:pt x="118" y="8"/>
                  <a:pt x="120" y="11"/>
                  <a:pt x="120" y="12"/>
                </a:cubicBezTo>
                <a:cubicBezTo>
                  <a:pt x="121" y="13"/>
                  <a:pt x="121" y="15"/>
                  <a:pt x="125" y="15"/>
                </a:cubicBezTo>
                <a:cubicBezTo>
                  <a:pt x="128" y="15"/>
                  <a:pt x="130" y="16"/>
                  <a:pt x="132" y="16"/>
                </a:cubicBezTo>
                <a:cubicBezTo>
                  <a:pt x="135" y="16"/>
                  <a:pt x="140" y="17"/>
                  <a:pt x="140" y="17"/>
                </a:cubicBezTo>
                <a:cubicBezTo>
                  <a:pt x="140" y="17"/>
                  <a:pt x="147" y="18"/>
                  <a:pt x="148" y="14"/>
                </a:cubicBezTo>
                <a:cubicBezTo>
                  <a:pt x="150" y="10"/>
                  <a:pt x="152" y="10"/>
                  <a:pt x="154" y="10"/>
                </a:cubicBezTo>
                <a:cubicBezTo>
                  <a:pt x="155" y="11"/>
                  <a:pt x="158" y="10"/>
                  <a:pt x="158" y="10"/>
                </a:cubicBezTo>
                <a:cubicBezTo>
                  <a:pt x="158" y="10"/>
                  <a:pt x="161" y="8"/>
                  <a:pt x="163" y="8"/>
                </a:cubicBezTo>
                <a:cubicBezTo>
                  <a:pt x="165" y="8"/>
                  <a:pt x="172" y="7"/>
                  <a:pt x="172" y="6"/>
                </a:cubicBezTo>
                <a:cubicBezTo>
                  <a:pt x="172" y="5"/>
                  <a:pt x="175" y="3"/>
                  <a:pt x="177" y="4"/>
                </a:cubicBezTo>
                <a:cubicBezTo>
                  <a:pt x="179" y="6"/>
                  <a:pt x="183" y="5"/>
                  <a:pt x="185" y="3"/>
                </a:cubicBezTo>
                <a:cubicBezTo>
                  <a:pt x="186" y="0"/>
                  <a:pt x="192" y="1"/>
                  <a:pt x="193" y="3"/>
                </a:cubicBezTo>
                <a:cubicBezTo>
                  <a:pt x="193" y="5"/>
                  <a:pt x="197" y="6"/>
                  <a:pt x="201" y="4"/>
                </a:cubicBezTo>
                <a:cubicBezTo>
                  <a:pt x="204" y="1"/>
                  <a:pt x="206" y="1"/>
                  <a:pt x="208" y="3"/>
                </a:cubicBezTo>
                <a:cubicBezTo>
                  <a:pt x="210" y="5"/>
                  <a:pt x="213" y="8"/>
                  <a:pt x="215" y="9"/>
                </a:cubicBezTo>
                <a:cubicBezTo>
                  <a:pt x="217" y="11"/>
                  <a:pt x="220" y="12"/>
                  <a:pt x="220" y="12"/>
                </a:cubicBezTo>
                <a:cubicBezTo>
                  <a:pt x="225" y="12"/>
                  <a:pt x="225" y="12"/>
                  <a:pt x="225" y="12"/>
                </a:cubicBezTo>
                <a:cubicBezTo>
                  <a:pt x="225" y="12"/>
                  <a:pt x="229" y="11"/>
                  <a:pt x="231" y="12"/>
                </a:cubicBezTo>
                <a:cubicBezTo>
                  <a:pt x="232" y="13"/>
                  <a:pt x="234" y="12"/>
                  <a:pt x="235" y="11"/>
                </a:cubicBezTo>
                <a:cubicBezTo>
                  <a:pt x="237" y="9"/>
                  <a:pt x="242" y="12"/>
                  <a:pt x="242" y="12"/>
                </a:cubicBezTo>
                <a:cubicBezTo>
                  <a:pt x="242" y="12"/>
                  <a:pt x="243" y="13"/>
                  <a:pt x="244" y="16"/>
                </a:cubicBezTo>
                <a:cubicBezTo>
                  <a:pt x="245" y="19"/>
                  <a:pt x="247" y="23"/>
                  <a:pt x="247" y="23"/>
                </a:cubicBezTo>
                <a:cubicBezTo>
                  <a:pt x="247" y="23"/>
                  <a:pt x="247" y="24"/>
                  <a:pt x="249" y="24"/>
                </a:cubicBezTo>
                <a:cubicBezTo>
                  <a:pt x="251" y="24"/>
                  <a:pt x="252" y="24"/>
                  <a:pt x="254" y="25"/>
                </a:cubicBezTo>
                <a:cubicBezTo>
                  <a:pt x="253" y="25"/>
                  <a:pt x="253" y="25"/>
                  <a:pt x="254" y="26"/>
                </a:cubicBezTo>
                <a:cubicBezTo>
                  <a:pt x="254" y="28"/>
                  <a:pt x="255" y="29"/>
                  <a:pt x="256" y="32"/>
                </a:cubicBezTo>
                <a:cubicBezTo>
                  <a:pt x="256" y="35"/>
                  <a:pt x="256" y="41"/>
                  <a:pt x="255" y="42"/>
                </a:cubicBezTo>
                <a:cubicBezTo>
                  <a:pt x="254" y="44"/>
                  <a:pt x="253" y="48"/>
                  <a:pt x="253" y="48"/>
                </a:cubicBezTo>
                <a:cubicBezTo>
                  <a:pt x="253" y="48"/>
                  <a:pt x="255" y="50"/>
                  <a:pt x="255" y="52"/>
                </a:cubicBezTo>
                <a:cubicBezTo>
                  <a:pt x="255" y="53"/>
                  <a:pt x="256" y="55"/>
                  <a:pt x="256" y="55"/>
                </a:cubicBezTo>
                <a:cubicBezTo>
                  <a:pt x="260" y="54"/>
                  <a:pt x="260" y="54"/>
                  <a:pt x="260" y="54"/>
                </a:cubicBezTo>
                <a:cubicBezTo>
                  <a:pt x="260" y="54"/>
                  <a:pt x="260" y="56"/>
                  <a:pt x="259" y="58"/>
                </a:cubicBezTo>
                <a:cubicBezTo>
                  <a:pt x="257" y="60"/>
                  <a:pt x="253" y="63"/>
                  <a:pt x="250" y="63"/>
                </a:cubicBezTo>
                <a:cubicBezTo>
                  <a:pt x="248" y="63"/>
                  <a:pt x="244" y="65"/>
                  <a:pt x="244" y="68"/>
                </a:cubicBezTo>
                <a:cubicBezTo>
                  <a:pt x="244" y="70"/>
                  <a:pt x="244" y="83"/>
                  <a:pt x="243" y="85"/>
                </a:cubicBezTo>
                <a:cubicBezTo>
                  <a:pt x="242" y="86"/>
                  <a:pt x="240" y="88"/>
                  <a:pt x="240" y="91"/>
                </a:cubicBezTo>
                <a:cubicBezTo>
                  <a:pt x="239" y="94"/>
                  <a:pt x="237" y="95"/>
                  <a:pt x="237" y="95"/>
                </a:cubicBezTo>
                <a:cubicBezTo>
                  <a:pt x="237" y="95"/>
                  <a:pt x="235" y="96"/>
                  <a:pt x="235" y="97"/>
                </a:cubicBezTo>
                <a:cubicBezTo>
                  <a:pt x="235" y="99"/>
                  <a:pt x="235" y="101"/>
                  <a:pt x="235" y="101"/>
                </a:cubicBezTo>
                <a:cubicBezTo>
                  <a:pt x="235" y="101"/>
                  <a:pt x="236" y="104"/>
                  <a:pt x="235" y="106"/>
                </a:cubicBezTo>
                <a:cubicBezTo>
                  <a:pt x="235" y="108"/>
                  <a:pt x="234" y="108"/>
                  <a:pt x="234" y="110"/>
                </a:cubicBezTo>
                <a:cubicBezTo>
                  <a:pt x="234" y="111"/>
                  <a:pt x="234" y="114"/>
                  <a:pt x="231" y="115"/>
                </a:cubicBezTo>
                <a:cubicBezTo>
                  <a:pt x="229" y="117"/>
                  <a:pt x="229" y="119"/>
                  <a:pt x="230" y="121"/>
                </a:cubicBezTo>
                <a:cubicBezTo>
                  <a:pt x="231" y="122"/>
                  <a:pt x="231" y="124"/>
                  <a:pt x="231" y="124"/>
                </a:cubicBezTo>
                <a:cubicBezTo>
                  <a:pt x="231" y="124"/>
                  <a:pt x="234" y="123"/>
                  <a:pt x="235" y="124"/>
                </a:cubicBezTo>
                <a:cubicBezTo>
                  <a:pt x="235" y="124"/>
                  <a:pt x="235" y="124"/>
                  <a:pt x="235" y="124"/>
                </a:cubicBezTo>
                <a:cubicBezTo>
                  <a:pt x="235" y="124"/>
                  <a:pt x="232" y="128"/>
                  <a:pt x="234" y="133"/>
                </a:cubicBezTo>
                <a:cubicBezTo>
                  <a:pt x="236" y="138"/>
                  <a:pt x="238" y="139"/>
                  <a:pt x="239" y="143"/>
                </a:cubicBezTo>
                <a:cubicBezTo>
                  <a:pt x="240" y="147"/>
                  <a:pt x="238" y="148"/>
                  <a:pt x="239" y="150"/>
                </a:cubicBezTo>
                <a:cubicBezTo>
                  <a:pt x="240" y="153"/>
                  <a:pt x="242" y="153"/>
                  <a:pt x="241" y="155"/>
                </a:cubicBezTo>
                <a:cubicBezTo>
                  <a:pt x="242" y="155"/>
                  <a:pt x="242" y="155"/>
                  <a:pt x="242" y="155"/>
                </a:cubicBezTo>
                <a:cubicBezTo>
                  <a:pt x="241" y="155"/>
                  <a:pt x="240" y="156"/>
                  <a:pt x="240" y="156"/>
                </a:cubicBezTo>
                <a:cubicBezTo>
                  <a:pt x="239" y="158"/>
                  <a:pt x="241" y="160"/>
                  <a:pt x="241" y="162"/>
                </a:cubicBezTo>
                <a:cubicBezTo>
                  <a:pt x="242" y="164"/>
                  <a:pt x="241" y="169"/>
                  <a:pt x="241" y="171"/>
                </a:cubicBezTo>
                <a:cubicBezTo>
                  <a:pt x="241" y="173"/>
                  <a:pt x="243" y="175"/>
                  <a:pt x="245" y="176"/>
                </a:cubicBezTo>
                <a:cubicBezTo>
                  <a:pt x="246" y="177"/>
                  <a:pt x="246" y="179"/>
                  <a:pt x="246" y="181"/>
                </a:cubicBezTo>
                <a:cubicBezTo>
                  <a:pt x="246" y="183"/>
                  <a:pt x="246" y="183"/>
                  <a:pt x="248" y="186"/>
                </a:cubicBezTo>
                <a:cubicBezTo>
                  <a:pt x="250" y="188"/>
                  <a:pt x="250" y="189"/>
                  <a:pt x="250" y="189"/>
                </a:cubicBezTo>
                <a:cubicBezTo>
                  <a:pt x="250" y="189"/>
                  <a:pt x="251" y="193"/>
                  <a:pt x="251" y="195"/>
                </a:cubicBezTo>
                <a:cubicBezTo>
                  <a:pt x="251" y="196"/>
                  <a:pt x="252" y="199"/>
                  <a:pt x="254" y="200"/>
                </a:cubicBezTo>
                <a:cubicBezTo>
                  <a:pt x="256" y="202"/>
                  <a:pt x="255" y="206"/>
                  <a:pt x="256" y="207"/>
                </a:cubicBezTo>
                <a:cubicBezTo>
                  <a:pt x="256" y="208"/>
                  <a:pt x="257" y="209"/>
                  <a:pt x="257" y="209"/>
                </a:cubicBezTo>
                <a:cubicBezTo>
                  <a:pt x="257" y="210"/>
                  <a:pt x="256" y="211"/>
                  <a:pt x="258" y="213"/>
                </a:cubicBezTo>
                <a:cubicBezTo>
                  <a:pt x="261" y="214"/>
                  <a:pt x="259" y="214"/>
                  <a:pt x="259" y="215"/>
                </a:cubicBezTo>
                <a:cubicBezTo>
                  <a:pt x="259" y="215"/>
                  <a:pt x="259" y="217"/>
                  <a:pt x="259" y="218"/>
                </a:cubicBezTo>
                <a:cubicBezTo>
                  <a:pt x="260" y="218"/>
                  <a:pt x="260" y="218"/>
                  <a:pt x="260" y="218"/>
                </a:cubicBezTo>
                <a:cubicBezTo>
                  <a:pt x="259" y="219"/>
                  <a:pt x="258" y="218"/>
                  <a:pt x="257" y="218"/>
                </a:cubicBezTo>
                <a:cubicBezTo>
                  <a:pt x="257" y="218"/>
                  <a:pt x="255" y="217"/>
                  <a:pt x="254" y="215"/>
                </a:cubicBezTo>
                <a:cubicBezTo>
                  <a:pt x="252" y="213"/>
                  <a:pt x="251" y="213"/>
                  <a:pt x="250" y="213"/>
                </a:cubicBezTo>
                <a:cubicBezTo>
                  <a:pt x="248" y="212"/>
                  <a:pt x="248" y="211"/>
                  <a:pt x="248" y="211"/>
                </a:cubicBezTo>
                <a:cubicBezTo>
                  <a:pt x="247" y="211"/>
                  <a:pt x="245" y="209"/>
                  <a:pt x="245" y="209"/>
                </a:cubicBezTo>
                <a:cubicBezTo>
                  <a:pt x="245" y="209"/>
                  <a:pt x="244" y="207"/>
                  <a:pt x="244" y="207"/>
                </a:cubicBezTo>
                <a:cubicBezTo>
                  <a:pt x="243" y="207"/>
                  <a:pt x="242" y="207"/>
                  <a:pt x="240" y="206"/>
                </a:cubicBezTo>
                <a:cubicBezTo>
                  <a:pt x="238" y="205"/>
                  <a:pt x="235" y="205"/>
                  <a:pt x="234" y="205"/>
                </a:cubicBezTo>
                <a:cubicBezTo>
                  <a:pt x="233" y="205"/>
                  <a:pt x="230" y="205"/>
                  <a:pt x="229" y="206"/>
                </a:cubicBezTo>
                <a:cubicBezTo>
                  <a:pt x="227" y="206"/>
                  <a:pt x="227" y="206"/>
                  <a:pt x="226" y="206"/>
                </a:cubicBezTo>
                <a:cubicBezTo>
                  <a:pt x="225" y="205"/>
                  <a:pt x="224" y="205"/>
                  <a:pt x="223" y="206"/>
                </a:cubicBezTo>
                <a:cubicBezTo>
                  <a:pt x="223" y="207"/>
                  <a:pt x="221" y="207"/>
                  <a:pt x="219" y="207"/>
                </a:cubicBezTo>
                <a:cubicBezTo>
                  <a:pt x="218" y="208"/>
                  <a:pt x="217" y="210"/>
                  <a:pt x="216" y="211"/>
                </a:cubicBezTo>
                <a:cubicBezTo>
                  <a:pt x="216" y="213"/>
                  <a:pt x="215" y="215"/>
                  <a:pt x="214" y="216"/>
                </a:cubicBezTo>
                <a:cubicBezTo>
                  <a:pt x="213" y="217"/>
                  <a:pt x="212" y="217"/>
                  <a:pt x="212" y="219"/>
                </a:cubicBezTo>
                <a:cubicBezTo>
                  <a:pt x="212" y="221"/>
                  <a:pt x="213" y="221"/>
                  <a:pt x="215" y="221"/>
                </a:cubicBezTo>
                <a:cubicBezTo>
                  <a:pt x="216" y="221"/>
                  <a:pt x="217" y="222"/>
                  <a:pt x="217" y="224"/>
                </a:cubicBezTo>
                <a:cubicBezTo>
                  <a:pt x="217" y="226"/>
                  <a:pt x="217" y="227"/>
                  <a:pt x="216" y="228"/>
                </a:cubicBezTo>
                <a:cubicBezTo>
                  <a:pt x="215" y="229"/>
                  <a:pt x="215" y="231"/>
                  <a:pt x="216" y="233"/>
                </a:cubicBezTo>
                <a:cubicBezTo>
                  <a:pt x="216" y="234"/>
                  <a:pt x="216" y="236"/>
                  <a:pt x="216" y="240"/>
                </a:cubicBezTo>
                <a:cubicBezTo>
                  <a:pt x="216" y="244"/>
                  <a:pt x="215" y="245"/>
                  <a:pt x="214" y="245"/>
                </a:cubicBezTo>
                <a:cubicBezTo>
                  <a:pt x="213" y="246"/>
                  <a:pt x="213" y="247"/>
                  <a:pt x="212" y="249"/>
                </a:cubicBezTo>
                <a:cubicBezTo>
                  <a:pt x="212" y="250"/>
                  <a:pt x="212" y="252"/>
                  <a:pt x="212" y="254"/>
                </a:cubicBezTo>
                <a:cubicBezTo>
                  <a:pt x="213" y="255"/>
                  <a:pt x="213" y="256"/>
                  <a:pt x="214" y="259"/>
                </a:cubicBezTo>
                <a:cubicBezTo>
                  <a:pt x="214" y="261"/>
                  <a:pt x="215" y="262"/>
                  <a:pt x="216" y="264"/>
                </a:cubicBezTo>
                <a:cubicBezTo>
                  <a:pt x="217" y="266"/>
                  <a:pt x="219" y="267"/>
                  <a:pt x="218" y="268"/>
                </a:cubicBezTo>
                <a:cubicBezTo>
                  <a:pt x="217" y="269"/>
                  <a:pt x="219" y="269"/>
                  <a:pt x="219" y="269"/>
                </a:cubicBezTo>
                <a:cubicBezTo>
                  <a:pt x="219" y="269"/>
                  <a:pt x="222" y="269"/>
                  <a:pt x="223" y="270"/>
                </a:cubicBezTo>
                <a:cubicBezTo>
                  <a:pt x="225" y="271"/>
                  <a:pt x="226" y="270"/>
                  <a:pt x="226" y="268"/>
                </a:cubicBezTo>
                <a:cubicBezTo>
                  <a:pt x="226" y="267"/>
                  <a:pt x="227" y="266"/>
                  <a:pt x="227" y="267"/>
                </a:cubicBezTo>
                <a:cubicBezTo>
                  <a:pt x="228" y="267"/>
                  <a:pt x="229" y="270"/>
                  <a:pt x="229" y="272"/>
                </a:cubicBezTo>
                <a:cubicBezTo>
                  <a:pt x="229" y="273"/>
                  <a:pt x="229" y="277"/>
                  <a:pt x="229" y="279"/>
                </a:cubicBezTo>
                <a:cubicBezTo>
                  <a:pt x="229" y="281"/>
                  <a:pt x="227" y="287"/>
                  <a:pt x="225" y="288"/>
                </a:cubicBezTo>
                <a:cubicBezTo>
                  <a:pt x="224" y="290"/>
                  <a:pt x="219" y="288"/>
                  <a:pt x="218" y="285"/>
                </a:cubicBezTo>
                <a:cubicBezTo>
                  <a:pt x="216" y="283"/>
                  <a:pt x="213" y="277"/>
                  <a:pt x="210" y="276"/>
                </a:cubicBezTo>
                <a:cubicBezTo>
                  <a:pt x="208" y="274"/>
                  <a:pt x="201" y="273"/>
                  <a:pt x="199" y="272"/>
                </a:cubicBezTo>
                <a:cubicBezTo>
                  <a:pt x="198" y="272"/>
                  <a:pt x="199" y="271"/>
                  <a:pt x="199" y="269"/>
                </a:cubicBezTo>
                <a:cubicBezTo>
                  <a:pt x="199" y="267"/>
                  <a:pt x="198" y="265"/>
                  <a:pt x="197" y="264"/>
                </a:cubicBezTo>
                <a:cubicBezTo>
                  <a:pt x="195" y="263"/>
                  <a:pt x="195" y="262"/>
                  <a:pt x="193" y="260"/>
                </a:cubicBezTo>
                <a:cubicBezTo>
                  <a:pt x="191" y="259"/>
                  <a:pt x="191" y="261"/>
                  <a:pt x="191" y="261"/>
                </a:cubicBezTo>
                <a:cubicBezTo>
                  <a:pt x="190" y="262"/>
                  <a:pt x="187" y="265"/>
                  <a:pt x="187" y="264"/>
                </a:cubicBezTo>
                <a:cubicBezTo>
                  <a:pt x="187" y="263"/>
                  <a:pt x="185" y="263"/>
                  <a:pt x="183" y="262"/>
                </a:cubicBezTo>
                <a:cubicBezTo>
                  <a:pt x="181" y="262"/>
                  <a:pt x="179" y="262"/>
                  <a:pt x="177" y="260"/>
                </a:cubicBezTo>
                <a:cubicBezTo>
                  <a:pt x="175" y="258"/>
                  <a:pt x="174" y="259"/>
                  <a:pt x="174" y="258"/>
                </a:cubicBezTo>
                <a:cubicBezTo>
                  <a:pt x="173" y="257"/>
                  <a:pt x="172" y="256"/>
                  <a:pt x="173" y="255"/>
                </a:cubicBezTo>
                <a:cubicBezTo>
                  <a:pt x="173" y="253"/>
                  <a:pt x="173" y="253"/>
                  <a:pt x="171" y="253"/>
                </a:cubicBezTo>
                <a:cubicBezTo>
                  <a:pt x="170" y="253"/>
                  <a:pt x="168" y="253"/>
                  <a:pt x="168" y="253"/>
                </a:cubicBezTo>
                <a:cubicBezTo>
                  <a:pt x="168" y="254"/>
                  <a:pt x="166" y="254"/>
                  <a:pt x="166" y="254"/>
                </a:cubicBezTo>
                <a:cubicBezTo>
                  <a:pt x="166" y="253"/>
                  <a:pt x="166" y="253"/>
                  <a:pt x="164" y="253"/>
                </a:cubicBezTo>
                <a:cubicBezTo>
                  <a:pt x="163" y="253"/>
                  <a:pt x="163" y="253"/>
                  <a:pt x="163" y="254"/>
                </a:cubicBezTo>
                <a:cubicBezTo>
                  <a:pt x="163" y="254"/>
                  <a:pt x="163" y="255"/>
                  <a:pt x="162" y="255"/>
                </a:cubicBezTo>
                <a:cubicBezTo>
                  <a:pt x="161" y="255"/>
                  <a:pt x="161" y="254"/>
                  <a:pt x="160" y="253"/>
                </a:cubicBezTo>
                <a:cubicBezTo>
                  <a:pt x="160" y="252"/>
                  <a:pt x="159" y="251"/>
                  <a:pt x="159" y="251"/>
                </a:cubicBezTo>
                <a:cubicBezTo>
                  <a:pt x="158" y="251"/>
                  <a:pt x="157" y="251"/>
                  <a:pt x="156" y="250"/>
                </a:cubicBezTo>
                <a:cubicBezTo>
                  <a:pt x="156" y="250"/>
                  <a:pt x="155" y="252"/>
                  <a:pt x="155" y="252"/>
                </a:cubicBezTo>
                <a:cubicBezTo>
                  <a:pt x="155" y="252"/>
                  <a:pt x="155" y="253"/>
                  <a:pt x="155" y="253"/>
                </a:cubicBezTo>
                <a:cubicBezTo>
                  <a:pt x="155" y="253"/>
                  <a:pt x="155" y="252"/>
                  <a:pt x="155" y="252"/>
                </a:cubicBezTo>
                <a:cubicBezTo>
                  <a:pt x="154" y="252"/>
                  <a:pt x="152" y="251"/>
                  <a:pt x="151" y="251"/>
                </a:cubicBezTo>
                <a:cubicBezTo>
                  <a:pt x="151" y="251"/>
                  <a:pt x="150" y="251"/>
                  <a:pt x="150" y="251"/>
                </a:cubicBezTo>
                <a:cubicBezTo>
                  <a:pt x="150" y="250"/>
                  <a:pt x="149" y="250"/>
                  <a:pt x="149" y="250"/>
                </a:cubicBezTo>
                <a:cubicBezTo>
                  <a:pt x="148" y="250"/>
                  <a:pt x="146" y="250"/>
                  <a:pt x="146" y="250"/>
                </a:cubicBezTo>
                <a:cubicBezTo>
                  <a:pt x="146" y="250"/>
                  <a:pt x="144" y="251"/>
                  <a:pt x="144" y="251"/>
                </a:cubicBezTo>
                <a:cubicBezTo>
                  <a:pt x="143" y="252"/>
                  <a:pt x="143" y="252"/>
                  <a:pt x="142" y="252"/>
                </a:cubicBezTo>
                <a:cubicBezTo>
                  <a:pt x="142" y="252"/>
                  <a:pt x="140" y="252"/>
                  <a:pt x="140" y="252"/>
                </a:cubicBezTo>
                <a:cubicBezTo>
                  <a:pt x="139" y="252"/>
                  <a:pt x="138" y="253"/>
                  <a:pt x="137" y="253"/>
                </a:cubicBezTo>
                <a:cubicBezTo>
                  <a:pt x="137" y="253"/>
                  <a:pt x="135" y="254"/>
                  <a:pt x="134" y="254"/>
                </a:cubicBezTo>
                <a:cubicBezTo>
                  <a:pt x="134" y="254"/>
                  <a:pt x="133" y="255"/>
                  <a:pt x="132" y="254"/>
                </a:cubicBezTo>
                <a:cubicBezTo>
                  <a:pt x="132" y="253"/>
                  <a:pt x="132" y="250"/>
                  <a:pt x="132" y="250"/>
                </a:cubicBezTo>
                <a:cubicBezTo>
                  <a:pt x="132" y="250"/>
                  <a:pt x="133" y="245"/>
                  <a:pt x="133" y="245"/>
                </a:cubicBezTo>
                <a:cubicBezTo>
                  <a:pt x="133" y="245"/>
                  <a:pt x="133" y="242"/>
                  <a:pt x="133" y="241"/>
                </a:cubicBezTo>
                <a:cubicBezTo>
                  <a:pt x="132" y="241"/>
                  <a:pt x="132" y="238"/>
                  <a:pt x="132" y="238"/>
                </a:cubicBezTo>
                <a:cubicBezTo>
                  <a:pt x="132" y="237"/>
                  <a:pt x="129" y="234"/>
                  <a:pt x="129" y="233"/>
                </a:cubicBezTo>
                <a:cubicBezTo>
                  <a:pt x="128" y="232"/>
                  <a:pt x="128" y="228"/>
                  <a:pt x="128" y="227"/>
                </a:cubicBezTo>
                <a:cubicBezTo>
                  <a:pt x="128" y="227"/>
                  <a:pt x="128" y="221"/>
                  <a:pt x="128" y="220"/>
                </a:cubicBezTo>
                <a:cubicBezTo>
                  <a:pt x="128" y="219"/>
                  <a:pt x="129" y="217"/>
                  <a:pt x="129" y="216"/>
                </a:cubicBezTo>
                <a:cubicBezTo>
                  <a:pt x="129" y="215"/>
                  <a:pt x="128" y="212"/>
                  <a:pt x="129" y="211"/>
                </a:cubicBezTo>
                <a:cubicBezTo>
                  <a:pt x="129" y="210"/>
                  <a:pt x="129" y="210"/>
                  <a:pt x="129" y="209"/>
                </a:cubicBezTo>
                <a:cubicBezTo>
                  <a:pt x="129" y="208"/>
                  <a:pt x="128" y="205"/>
                  <a:pt x="128" y="204"/>
                </a:cubicBezTo>
                <a:cubicBezTo>
                  <a:pt x="128" y="204"/>
                  <a:pt x="128" y="200"/>
                  <a:pt x="128" y="200"/>
                </a:cubicBezTo>
                <a:cubicBezTo>
                  <a:pt x="128" y="199"/>
                  <a:pt x="128" y="198"/>
                  <a:pt x="128" y="197"/>
                </a:cubicBezTo>
                <a:cubicBezTo>
                  <a:pt x="128" y="197"/>
                  <a:pt x="128" y="196"/>
                  <a:pt x="127" y="195"/>
                </a:cubicBezTo>
                <a:cubicBezTo>
                  <a:pt x="127" y="195"/>
                  <a:pt x="127" y="192"/>
                  <a:pt x="127" y="192"/>
                </a:cubicBezTo>
                <a:cubicBezTo>
                  <a:pt x="127" y="191"/>
                  <a:pt x="126" y="191"/>
                  <a:pt x="125" y="191"/>
                </a:cubicBezTo>
                <a:cubicBezTo>
                  <a:pt x="125" y="190"/>
                  <a:pt x="123" y="190"/>
                  <a:pt x="123" y="190"/>
                </a:cubicBezTo>
                <a:cubicBezTo>
                  <a:pt x="122" y="190"/>
                  <a:pt x="121" y="191"/>
                  <a:pt x="121" y="191"/>
                </a:cubicBezTo>
                <a:cubicBezTo>
                  <a:pt x="120" y="191"/>
                  <a:pt x="119" y="190"/>
                  <a:pt x="119" y="190"/>
                </a:cubicBezTo>
                <a:cubicBezTo>
                  <a:pt x="118" y="190"/>
                  <a:pt x="118" y="191"/>
                  <a:pt x="117" y="191"/>
                </a:cubicBezTo>
                <a:cubicBezTo>
                  <a:pt x="117" y="191"/>
                  <a:pt x="115" y="191"/>
                  <a:pt x="115" y="190"/>
                </a:cubicBezTo>
                <a:cubicBezTo>
                  <a:pt x="114" y="190"/>
                  <a:pt x="113" y="191"/>
                  <a:pt x="112" y="191"/>
                </a:cubicBezTo>
                <a:cubicBezTo>
                  <a:pt x="112" y="191"/>
                  <a:pt x="111" y="189"/>
                  <a:pt x="111" y="189"/>
                </a:cubicBezTo>
                <a:cubicBezTo>
                  <a:pt x="111" y="189"/>
                  <a:pt x="109" y="186"/>
                  <a:pt x="109" y="186"/>
                </a:cubicBezTo>
                <a:cubicBezTo>
                  <a:pt x="109" y="186"/>
                  <a:pt x="108" y="186"/>
                  <a:pt x="108" y="187"/>
                </a:cubicBezTo>
                <a:cubicBezTo>
                  <a:pt x="107" y="187"/>
                  <a:pt x="106" y="187"/>
                  <a:pt x="106" y="188"/>
                </a:cubicBezTo>
                <a:cubicBezTo>
                  <a:pt x="106" y="188"/>
                  <a:pt x="106" y="188"/>
                  <a:pt x="105" y="189"/>
                </a:cubicBezTo>
                <a:cubicBezTo>
                  <a:pt x="104" y="189"/>
                  <a:pt x="103" y="188"/>
                  <a:pt x="103" y="188"/>
                </a:cubicBezTo>
                <a:cubicBezTo>
                  <a:pt x="103" y="188"/>
                  <a:pt x="102" y="190"/>
                  <a:pt x="102" y="190"/>
                </a:cubicBezTo>
                <a:cubicBezTo>
                  <a:pt x="101" y="190"/>
                  <a:pt x="99" y="190"/>
                  <a:pt x="99" y="190"/>
                </a:cubicBezTo>
                <a:cubicBezTo>
                  <a:pt x="98" y="190"/>
                  <a:pt x="98" y="192"/>
                  <a:pt x="98" y="192"/>
                </a:cubicBezTo>
                <a:cubicBezTo>
                  <a:pt x="98" y="193"/>
                  <a:pt x="99" y="193"/>
                  <a:pt x="100" y="194"/>
                </a:cubicBezTo>
                <a:cubicBezTo>
                  <a:pt x="100" y="194"/>
                  <a:pt x="100" y="195"/>
                  <a:pt x="100" y="196"/>
                </a:cubicBezTo>
                <a:cubicBezTo>
                  <a:pt x="100" y="196"/>
                  <a:pt x="100" y="198"/>
                  <a:pt x="99" y="198"/>
                </a:cubicBezTo>
                <a:cubicBezTo>
                  <a:pt x="99" y="199"/>
                  <a:pt x="98" y="200"/>
                  <a:pt x="98" y="200"/>
                </a:cubicBezTo>
                <a:cubicBezTo>
                  <a:pt x="97" y="201"/>
                  <a:pt x="96" y="201"/>
                  <a:pt x="96" y="202"/>
                </a:cubicBezTo>
                <a:cubicBezTo>
                  <a:pt x="96" y="203"/>
                  <a:pt x="96" y="204"/>
                  <a:pt x="95" y="205"/>
                </a:cubicBezTo>
                <a:cubicBezTo>
                  <a:pt x="95" y="205"/>
                  <a:pt x="94" y="205"/>
                  <a:pt x="94" y="205"/>
                </a:cubicBezTo>
                <a:cubicBezTo>
                  <a:pt x="94" y="204"/>
                  <a:pt x="92" y="204"/>
                  <a:pt x="91" y="203"/>
                </a:cubicBezTo>
                <a:cubicBezTo>
                  <a:pt x="90" y="203"/>
                  <a:pt x="89" y="203"/>
                  <a:pt x="89" y="203"/>
                </a:cubicBezTo>
                <a:cubicBezTo>
                  <a:pt x="88" y="203"/>
                  <a:pt x="87" y="203"/>
                  <a:pt x="87" y="204"/>
                </a:cubicBezTo>
                <a:cubicBezTo>
                  <a:pt x="86" y="204"/>
                  <a:pt x="86" y="204"/>
                  <a:pt x="85" y="204"/>
                </a:cubicBezTo>
                <a:cubicBezTo>
                  <a:pt x="85" y="204"/>
                  <a:pt x="84" y="204"/>
                  <a:pt x="84" y="204"/>
                </a:cubicBezTo>
                <a:cubicBezTo>
                  <a:pt x="84" y="204"/>
                  <a:pt x="82" y="205"/>
                  <a:pt x="81" y="205"/>
                </a:cubicBezTo>
                <a:cubicBezTo>
                  <a:pt x="81" y="206"/>
                  <a:pt x="79" y="205"/>
                  <a:pt x="79" y="205"/>
                </a:cubicBezTo>
                <a:cubicBezTo>
                  <a:pt x="78" y="205"/>
                  <a:pt x="76" y="205"/>
                  <a:pt x="75" y="205"/>
                </a:cubicBezTo>
                <a:cubicBezTo>
                  <a:pt x="74" y="205"/>
                  <a:pt x="71" y="202"/>
                  <a:pt x="71" y="202"/>
                </a:cubicBezTo>
                <a:cubicBezTo>
                  <a:pt x="71" y="202"/>
                  <a:pt x="67" y="196"/>
                  <a:pt x="66" y="195"/>
                </a:cubicBezTo>
                <a:cubicBezTo>
                  <a:pt x="66" y="195"/>
                  <a:pt x="65" y="191"/>
                  <a:pt x="65" y="191"/>
                </a:cubicBezTo>
                <a:cubicBezTo>
                  <a:pt x="65" y="190"/>
                  <a:pt x="64" y="188"/>
                  <a:pt x="64" y="188"/>
                </a:cubicBezTo>
                <a:cubicBezTo>
                  <a:pt x="63" y="187"/>
                  <a:pt x="63" y="186"/>
                  <a:pt x="62" y="185"/>
                </a:cubicBezTo>
                <a:cubicBezTo>
                  <a:pt x="62" y="185"/>
                  <a:pt x="62" y="181"/>
                  <a:pt x="61" y="180"/>
                </a:cubicBezTo>
                <a:cubicBezTo>
                  <a:pt x="61" y="179"/>
                  <a:pt x="60" y="176"/>
                  <a:pt x="60" y="175"/>
                </a:cubicBezTo>
                <a:cubicBezTo>
                  <a:pt x="60" y="174"/>
                  <a:pt x="60" y="171"/>
                  <a:pt x="59" y="171"/>
                </a:cubicBezTo>
                <a:cubicBezTo>
                  <a:pt x="59" y="170"/>
                  <a:pt x="55" y="170"/>
                  <a:pt x="54" y="169"/>
                </a:cubicBezTo>
                <a:cubicBezTo>
                  <a:pt x="53" y="169"/>
                  <a:pt x="51" y="170"/>
                  <a:pt x="51" y="170"/>
                </a:cubicBezTo>
                <a:cubicBezTo>
                  <a:pt x="49" y="170"/>
                  <a:pt x="48" y="170"/>
                  <a:pt x="47" y="170"/>
                </a:cubicBezTo>
                <a:cubicBezTo>
                  <a:pt x="47" y="170"/>
                  <a:pt x="45" y="169"/>
                  <a:pt x="45" y="169"/>
                </a:cubicBezTo>
                <a:cubicBezTo>
                  <a:pt x="44" y="170"/>
                  <a:pt x="42" y="171"/>
                  <a:pt x="42" y="171"/>
                </a:cubicBezTo>
                <a:cubicBezTo>
                  <a:pt x="41" y="171"/>
                  <a:pt x="40" y="170"/>
                  <a:pt x="39" y="170"/>
                </a:cubicBezTo>
                <a:cubicBezTo>
                  <a:pt x="37" y="170"/>
                  <a:pt x="36" y="170"/>
                  <a:pt x="34" y="170"/>
                </a:cubicBezTo>
                <a:cubicBezTo>
                  <a:pt x="34" y="169"/>
                  <a:pt x="32" y="169"/>
                  <a:pt x="31" y="170"/>
                </a:cubicBezTo>
                <a:cubicBezTo>
                  <a:pt x="30" y="170"/>
                  <a:pt x="29" y="170"/>
                  <a:pt x="28" y="170"/>
                </a:cubicBezTo>
                <a:cubicBezTo>
                  <a:pt x="26" y="170"/>
                  <a:pt x="23" y="169"/>
                  <a:pt x="22" y="169"/>
                </a:cubicBezTo>
                <a:cubicBezTo>
                  <a:pt x="21" y="169"/>
                  <a:pt x="20" y="168"/>
                  <a:pt x="19" y="167"/>
                </a:cubicBezTo>
                <a:cubicBezTo>
                  <a:pt x="18" y="167"/>
                  <a:pt x="17" y="167"/>
                  <a:pt x="16" y="168"/>
                </a:cubicBezTo>
                <a:cubicBezTo>
                  <a:pt x="15" y="168"/>
                  <a:pt x="15" y="171"/>
                  <a:pt x="14" y="170"/>
                </a:cubicBezTo>
                <a:cubicBezTo>
                  <a:pt x="14" y="170"/>
                  <a:pt x="11" y="169"/>
                  <a:pt x="11" y="169"/>
                </a:cubicBezTo>
                <a:cubicBezTo>
                  <a:pt x="11" y="168"/>
                  <a:pt x="11" y="167"/>
                  <a:pt x="10" y="167"/>
                </a:cubicBezTo>
                <a:cubicBezTo>
                  <a:pt x="9" y="167"/>
                  <a:pt x="9" y="166"/>
                  <a:pt x="5" y="167"/>
                </a:cubicBezTo>
                <a:cubicBezTo>
                  <a:pt x="2" y="168"/>
                  <a:pt x="1" y="167"/>
                  <a:pt x="1" y="166"/>
                </a:cubicBezTo>
                <a:cubicBezTo>
                  <a:pt x="0" y="166"/>
                  <a:pt x="0" y="165"/>
                  <a:pt x="0" y="16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8" name="Burundi"/>
          <p:cNvSpPr>
            <a:spLocks/>
          </p:cNvSpPr>
          <p:nvPr/>
        </p:nvSpPr>
        <p:spPr bwMode="auto">
          <a:xfrm>
            <a:off x="6999716" y="4163630"/>
            <a:ext cx="86560" cy="78393"/>
          </a:xfrm>
          <a:custGeom>
            <a:avLst/>
            <a:gdLst>
              <a:gd name="T0" fmla="*/ 3 w 42"/>
              <a:gd name="T1" fmla="*/ 5 h 38"/>
              <a:gd name="T2" fmla="*/ 2 w 42"/>
              <a:gd name="T3" fmla="*/ 14 h 38"/>
              <a:gd name="T4" fmla="*/ 7 w 42"/>
              <a:gd name="T5" fmla="*/ 24 h 38"/>
              <a:gd name="T6" fmla="*/ 7 w 42"/>
              <a:gd name="T7" fmla="*/ 31 h 38"/>
              <a:gd name="T8" fmla="*/ 9 w 42"/>
              <a:gd name="T9" fmla="*/ 36 h 38"/>
              <a:gd name="T10" fmla="*/ 10 w 42"/>
              <a:gd name="T11" fmla="*/ 36 h 38"/>
              <a:gd name="T12" fmla="*/ 16 w 42"/>
              <a:gd name="T13" fmla="*/ 35 h 38"/>
              <a:gd name="T14" fmla="*/ 21 w 42"/>
              <a:gd name="T15" fmla="*/ 31 h 38"/>
              <a:gd name="T16" fmla="*/ 24 w 42"/>
              <a:gd name="T17" fmla="*/ 28 h 38"/>
              <a:gd name="T18" fmla="*/ 28 w 42"/>
              <a:gd name="T19" fmla="*/ 25 h 38"/>
              <a:gd name="T20" fmla="*/ 32 w 42"/>
              <a:gd name="T21" fmla="*/ 22 h 38"/>
              <a:gd name="T22" fmla="*/ 37 w 42"/>
              <a:gd name="T23" fmla="*/ 16 h 38"/>
              <a:gd name="T24" fmla="*/ 41 w 42"/>
              <a:gd name="T25" fmla="*/ 11 h 38"/>
              <a:gd name="T26" fmla="*/ 41 w 42"/>
              <a:gd name="T27" fmla="*/ 9 h 38"/>
              <a:gd name="T28" fmla="*/ 35 w 42"/>
              <a:gd name="T29" fmla="*/ 4 h 38"/>
              <a:gd name="T30" fmla="*/ 34 w 42"/>
              <a:gd name="T31" fmla="*/ 2 h 38"/>
              <a:gd name="T32" fmla="*/ 32 w 42"/>
              <a:gd name="T33" fmla="*/ 2 h 38"/>
              <a:gd name="T34" fmla="*/ 31 w 42"/>
              <a:gd name="T35" fmla="*/ 5 h 38"/>
              <a:gd name="T36" fmla="*/ 27 w 42"/>
              <a:gd name="T37" fmla="*/ 6 h 38"/>
              <a:gd name="T38" fmla="*/ 23 w 42"/>
              <a:gd name="T39" fmla="*/ 8 h 38"/>
              <a:gd name="T40" fmla="*/ 20 w 42"/>
              <a:gd name="T41" fmla="*/ 8 h 38"/>
              <a:gd name="T42" fmla="*/ 19 w 42"/>
              <a:gd name="T43" fmla="*/ 6 h 38"/>
              <a:gd name="T44" fmla="*/ 14 w 42"/>
              <a:gd name="T45" fmla="*/ 2 h 38"/>
              <a:gd name="T46" fmla="*/ 8 w 42"/>
              <a:gd name="T47" fmla="*/ 6 h 38"/>
              <a:gd name="T48" fmla="*/ 6 w 42"/>
              <a:gd name="T49" fmla="*/ 6 h 38"/>
              <a:gd name="T50" fmla="*/ 3 w 42"/>
              <a:gd name="T5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8">
                <a:moveTo>
                  <a:pt x="3" y="5"/>
                </a:moveTo>
                <a:cubicBezTo>
                  <a:pt x="3" y="5"/>
                  <a:pt x="0" y="8"/>
                  <a:pt x="2" y="14"/>
                </a:cubicBezTo>
                <a:cubicBezTo>
                  <a:pt x="4" y="19"/>
                  <a:pt x="6" y="20"/>
                  <a:pt x="7" y="24"/>
                </a:cubicBezTo>
                <a:cubicBezTo>
                  <a:pt x="8" y="28"/>
                  <a:pt x="6" y="29"/>
                  <a:pt x="7" y="31"/>
                </a:cubicBezTo>
                <a:cubicBezTo>
                  <a:pt x="8" y="34"/>
                  <a:pt x="10" y="34"/>
                  <a:pt x="9" y="36"/>
                </a:cubicBezTo>
                <a:cubicBezTo>
                  <a:pt x="10" y="36"/>
                  <a:pt x="10" y="36"/>
                  <a:pt x="10" y="36"/>
                </a:cubicBezTo>
                <a:cubicBezTo>
                  <a:pt x="11" y="37"/>
                  <a:pt x="14" y="38"/>
                  <a:pt x="16" y="35"/>
                </a:cubicBezTo>
                <a:cubicBezTo>
                  <a:pt x="18" y="31"/>
                  <a:pt x="20" y="31"/>
                  <a:pt x="21" y="31"/>
                </a:cubicBezTo>
                <a:cubicBezTo>
                  <a:pt x="21" y="31"/>
                  <a:pt x="24" y="28"/>
                  <a:pt x="24" y="28"/>
                </a:cubicBezTo>
                <a:cubicBezTo>
                  <a:pt x="24" y="28"/>
                  <a:pt x="26" y="26"/>
                  <a:pt x="28" y="25"/>
                </a:cubicBezTo>
                <a:cubicBezTo>
                  <a:pt x="30" y="25"/>
                  <a:pt x="32" y="23"/>
                  <a:pt x="32" y="22"/>
                </a:cubicBezTo>
                <a:cubicBezTo>
                  <a:pt x="33" y="21"/>
                  <a:pt x="35" y="18"/>
                  <a:pt x="37" y="16"/>
                </a:cubicBezTo>
                <a:cubicBezTo>
                  <a:pt x="39" y="15"/>
                  <a:pt x="41" y="12"/>
                  <a:pt x="41" y="11"/>
                </a:cubicBezTo>
                <a:cubicBezTo>
                  <a:pt x="42" y="9"/>
                  <a:pt x="42" y="8"/>
                  <a:pt x="41" y="9"/>
                </a:cubicBezTo>
                <a:cubicBezTo>
                  <a:pt x="40" y="9"/>
                  <a:pt x="36" y="6"/>
                  <a:pt x="35" y="4"/>
                </a:cubicBezTo>
                <a:cubicBezTo>
                  <a:pt x="34" y="3"/>
                  <a:pt x="34" y="2"/>
                  <a:pt x="34" y="2"/>
                </a:cubicBezTo>
                <a:cubicBezTo>
                  <a:pt x="32" y="2"/>
                  <a:pt x="32" y="2"/>
                  <a:pt x="32" y="2"/>
                </a:cubicBezTo>
                <a:cubicBezTo>
                  <a:pt x="32" y="2"/>
                  <a:pt x="31" y="3"/>
                  <a:pt x="31" y="5"/>
                </a:cubicBezTo>
                <a:cubicBezTo>
                  <a:pt x="31" y="6"/>
                  <a:pt x="30" y="6"/>
                  <a:pt x="27" y="6"/>
                </a:cubicBezTo>
                <a:cubicBezTo>
                  <a:pt x="25" y="6"/>
                  <a:pt x="23" y="8"/>
                  <a:pt x="23" y="8"/>
                </a:cubicBezTo>
                <a:cubicBezTo>
                  <a:pt x="23" y="8"/>
                  <a:pt x="21" y="8"/>
                  <a:pt x="20" y="8"/>
                </a:cubicBezTo>
                <a:cubicBezTo>
                  <a:pt x="20" y="8"/>
                  <a:pt x="19" y="7"/>
                  <a:pt x="19" y="6"/>
                </a:cubicBezTo>
                <a:cubicBezTo>
                  <a:pt x="19" y="5"/>
                  <a:pt x="18" y="3"/>
                  <a:pt x="14" y="2"/>
                </a:cubicBezTo>
                <a:cubicBezTo>
                  <a:pt x="10" y="0"/>
                  <a:pt x="8" y="6"/>
                  <a:pt x="8" y="6"/>
                </a:cubicBezTo>
                <a:cubicBezTo>
                  <a:pt x="8" y="6"/>
                  <a:pt x="7" y="6"/>
                  <a:pt x="6" y="6"/>
                </a:cubicBezTo>
                <a:cubicBezTo>
                  <a:pt x="5" y="6"/>
                  <a:pt x="4" y="6"/>
                  <a:pt x="3" y="5"/>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49" name="Rawanda"/>
          <p:cNvSpPr>
            <a:spLocks/>
          </p:cNvSpPr>
          <p:nvPr/>
        </p:nvSpPr>
        <p:spPr bwMode="auto">
          <a:xfrm>
            <a:off x="6993183" y="4117900"/>
            <a:ext cx="83293" cy="62061"/>
          </a:xfrm>
          <a:custGeom>
            <a:avLst/>
            <a:gdLst>
              <a:gd name="T0" fmla="*/ 37 w 40"/>
              <a:gd name="T1" fmla="*/ 24 h 30"/>
              <a:gd name="T2" fmla="*/ 35 w 40"/>
              <a:gd name="T3" fmla="*/ 24 h 30"/>
              <a:gd name="T4" fmla="*/ 34 w 40"/>
              <a:gd name="T5" fmla="*/ 27 h 30"/>
              <a:gd name="T6" fmla="*/ 30 w 40"/>
              <a:gd name="T7" fmla="*/ 28 h 30"/>
              <a:gd name="T8" fmla="*/ 26 w 40"/>
              <a:gd name="T9" fmla="*/ 30 h 30"/>
              <a:gd name="T10" fmla="*/ 23 w 40"/>
              <a:gd name="T11" fmla="*/ 30 h 30"/>
              <a:gd name="T12" fmla="*/ 22 w 40"/>
              <a:gd name="T13" fmla="*/ 28 h 30"/>
              <a:gd name="T14" fmla="*/ 17 w 40"/>
              <a:gd name="T15" fmla="*/ 24 h 30"/>
              <a:gd name="T16" fmla="*/ 11 w 40"/>
              <a:gd name="T17" fmla="*/ 28 h 30"/>
              <a:gd name="T18" fmla="*/ 9 w 40"/>
              <a:gd name="T19" fmla="*/ 28 h 30"/>
              <a:gd name="T20" fmla="*/ 6 w 40"/>
              <a:gd name="T21" fmla="*/ 27 h 30"/>
              <a:gd name="T22" fmla="*/ 2 w 40"/>
              <a:gd name="T23" fmla="*/ 27 h 30"/>
              <a:gd name="T24" fmla="*/ 1 w 40"/>
              <a:gd name="T25" fmla="*/ 24 h 30"/>
              <a:gd name="T26" fmla="*/ 2 w 40"/>
              <a:gd name="T27" fmla="*/ 18 h 30"/>
              <a:gd name="T28" fmla="*/ 5 w 40"/>
              <a:gd name="T29" fmla="*/ 13 h 30"/>
              <a:gd name="T30" fmla="*/ 6 w 40"/>
              <a:gd name="T31" fmla="*/ 9 h 30"/>
              <a:gd name="T32" fmla="*/ 6 w 40"/>
              <a:gd name="T33" fmla="*/ 4 h 30"/>
              <a:gd name="T34" fmla="*/ 12 w 40"/>
              <a:gd name="T35" fmla="*/ 5 h 30"/>
              <a:gd name="T36" fmla="*/ 22 w 40"/>
              <a:gd name="T37" fmla="*/ 2 h 30"/>
              <a:gd name="T38" fmla="*/ 30 w 40"/>
              <a:gd name="T39" fmla="*/ 0 h 30"/>
              <a:gd name="T40" fmla="*/ 37 w 40"/>
              <a:gd name="T41" fmla="*/ 1 h 30"/>
              <a:gd name="T42" fmla="*/ 39 w 40"/>
              <a:gd name="T43" fmla="*/ 10 h 30"/>
              <a:gd name="T44" fmla="*/ 40 w 40"/>
              <a:gd name="T45" fmla="*/ 22 h 30"/>
              <a:gd name="T46" fmla="*/ 37 w 40"/>
              <a:gd name="T4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30">
                <a:moveTo>
                  <a:pt x="37" y="24"/>
                </a:moveTo>
                <a:cubicBezTo>
                  <a:pt x="35" y="24"/>
                  <a:pt x="35" y="24"/>
                  <a:pt x="35" y="24"/>
                </a:cubicBezTo>
                <a:cubicBezTo>
                  <a:pt x="35" y="24"/>
                  <a:pt x="34" y="25"/>
                  <a:pt x="34" y="27"/>
                </a:cubicBezTo>
                <a:cubicBezTo>
                  <a:pt x="34" y="28"/>
                  <a:pt x="33" y="28"/>
                  <a:pt x="30" y="28"/>
                </a:cubicBezTo>
                <a:cubicBezTo>
                  <a:pt x="28" y="28"/>
                  <a:pt x="26" y="30"/>
                  <a:pt x="26" y="30"/>
                </a:cubicBezTo>
                <a:cubicBezTo>
                  <a:pt x="26" y="30"/>
                  <a:pt x="24" y="30"/>
                  <a:pt x="23" y="30"/>
                </a:cubicBezTo>
                <a:cubicBezTo>
                  <a:pt x="23" y="30"/>
                  <a:pt x="22" y="29"/>
                  <a:pt x="22" y="28"/>
                </a:cubicBezTo>
                <a:cubicBezTo>
                  <a:pt x="22" y="27"/>
                  <a:pt x="21" y="25"/>
                  <a:pt x="17" y="24"/>
                </a:cubicBezTo>
                <a:cubicBezTo>
                  <a:pt x="13" y="22"/>
                  <a:pt x="11" y="28"/>
                  <a:pt x="11" y="28"/>
                </a:cubicBezTo>
                <a:cubicBezTo>
                  <a:pt x="11" y="28"/>
                  <a:pt x="10" y="28"/>
                  <a:pt x="9" y="28"/>
                </a:cubicBezTo>
                <a:cubicBezTo>
                  <a:pt x="8" y="28"/>
                  <a:pt x="7" y="28"/>
                  <a:pt x="6" y="27"/>
                </a:cubicBezTo>
                <a:cubicBezTo>
                  <a:pt x="5" y="26"/>
                  <a:pt x="2" y="27"/>
                  <a:pt x="2" y="27"/>
                </a:cubicBezTo>
                <a:cubicBezTo>
                  <a:pt x="2" y="27"/>
                  <a:pt x="2" y="25"/>
                  <a:pt x="1" y="24"/>
                </a:cubicBezTo>
                <a:cubicBezTo>
                  <a:pt x="0" y="22"/>
                  <a:pt x="0" y="20"/>
                  <a:pt x="2" y="18"/>
                </a:cubicBezTo>
                <a:cubicBezTo>
                  <a:pt x="5" y="17"/>
                  <a:pt x="5" y="14"/>
                  <a:pt x="5" y="13"/>
                </a:cubicBezTo>
                <a:cubicBezTo>
                  <a:pt x="5" y="11"/>
                  <a:pt x="6" y="11"/>
                  <a:pt x="6" y="9"/>
                </a:cubicBezTo>
                <a:cubicBezTo>
                  <a:pt x="7" y="7"/>
                  <a:pt x="6" y="4"/>
                  <a:pt x="6" y="4"/>
                </a:cubicBezTo>
                <a:cubicBezTo>
                  <a:pt x="6" y="4"/>
                  <a:pt x="10" y="5"/>
                  <a:pt x="12" y="5"/>
                </a:cubicBezTo>
                <a:cubicBezTo>
                  <a:pt x="14" y="5"/>
                  <a:pt x="20" y="3"/>
                  <a:pt x="22" y="2"/>
                </a:cubicBezTo>
                <a:cubicBezTo>
                  <a:pt x="24" y="2"/>
                  <a:pt x="28" y="0"/>
                  <a:pt x="30" y="0"/>
                </a:cubicBezTo>
                <a:cubicBezTo>
                  <a:pt x="32" y="0"/>
                  <a:pt x="37" y="1"/>
                  <a:pt x="37" y="1"/>
                </a:cubicBezTo>
                <a:cubicBezTo>
                  <a:pt x="37" y="1"/>
                  <a:pt x="38" y="6"/>
                  <a:pt x="39" y="10"/>
                </a:cubicBezTo>
                <a:cubicBezTo>
                  <a:pt x="39" y="14"/>
                  <a:pt x="40" y="22"/>
                  <a:pt x="40" y="22"/>
                </a:cubicBezTo>
                <a:lnTo>
                  <a:pt x="37" y="24"/>
                </a:ln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0" name="Tanzania"/>
          <p:cNvSpPr>
            <a:spLocks/>
          </p:cNvSpPr>
          <p:nvPr/>
        </p:nvSpPr>
        <p:spPr bwMode="auto">
          <a:xfrm>
            <a:off x="7015890" y="4121167"/>
            <a:ext cx="281069" cy="336350"/>
          </a:xfrm>
          <a:custGeom>
            <a:avLst/>
            <a:gdLst>
              <a:gd name="connsiteX0" fmla="*/ 255027 w 273205"/>
              <a:gd name="connsiteY0" fmla="*/ 192740 h 326940"/>
              <a:gd name="connsiteX1" fmla="*/ 253836 w 273205"/>
              <a:gd name="connsiteY1" fmla="*/ 197077 h 326940"/>
              <a:gd name="connsiteX2" fmla="*/ 246216 w 273205"/>
              <a:gd name="connsiteY2" fmla="*/ 199118 h 326940"/>
              <a:gd name="connsiteX3" fmla="*/ 251931 w 273205"/>
              <a:gd name="connsiteY3" fmla="*/ 192995 h 326940"/>
              <a:gd name="connsiteX4" fmla="*/ 255027 w 273205"/>
              <a:gd name="connsiteY4" fmla="*/ 192740 h 326940"/>
              <a:gd name="connsiteX5" fmla="*/ 241008 w 273205"/>
              <a:gd name="connsiteY5" fmla="*/ 133461 h 326940"/>
              <a:gd name="connsiteX6" fmla="*/ 242248 w 273205"/>
              <a:gd name="connsiteY6" fmla="*/ 133703 h 326940"/>
              <a:gd name="connsiteX7" fmla="*/ 246217 w 273205"/>
              <a:gd name="connsiteY7" fmla="*/ 145345 h 326940"/>
              <a:gd name="connsiteX8" fmla="*/ 240264 w 273205"/>
              <a:gd name="connsiteY8" fmla="*/ 149225 h 326940"/>
              <a:gd name="connsiteX9" fmla="*/ 238279 w 273205"/>
              <a:gd name="connsiteY9" fmla="*/ 137584 h 326940"/>
              <a:gd name="connsiteX10" fmla="*/ 241008 w 273205"/>
              <a:gd name="connsiteY10" fmla="*/ 133461 h 326940"/>
              <a:gd name="connsiteX11" fmla="*/ 52300 w 273205"/>
              <a:gd name="connsiteY11" fmla="*/ 0 h 326940"/>
              <a:gd name="connsiteX12" fmla="*/ 102054 w 273205"/>
              <a:gd name="connsiteY12" fmla="*/ 0 h 326940"/>
              <a:gd name="connsiteX13" fmla="*/ 139866 w 273205"/>
              <a:gd name="connsiteY13" fmla="*/ 15932 h 326940"/>
              <a:gd name="connsiteX14" fmla="*/ 181659 w 273205"/>
              <a:gd name="connsiteY14" fmla="*/ 47798 h 326940"/>
              <a:gd name="connsiteX15" fmla="*/ 203550 w 273205"/>
              <a:gd name="connsiteY15" fmla="*/ 65722 h 326940"/>
              <a:gd name="connsiteX16" fmla="*/ 203550 w 273205"/>
              <a:gd name="connsiteY16" fmla="*/ 101571 h 326940"/>
              <a:gd name="connsiteX17" fmla="*/ 227432 w 273205"/>
              <a:gd name="connsiteY17" fmla="*/ 125470 h 326940"/>
              <a:gd name="connsiteX18" fmla="*/ 227432 w 273205"/>
              <a:gd name="connsiteY18" fmla="*/ 127461 h 326940"/>
              <a:gd name="connsiteX19" fmla="*/ 227432 w 273205"/>
              <a:gd name="connsiteY19" fmla="*/ 137420 h 326940"/>
              <a:gd name="connsiteX20" fmla="*/ 227432 w 273205"/>
              <a:gd name="connsiteY20" fmla="*/ 145386 h 326940"/>
              <a:gd name="connsiteX21" fmla="*/ 231412 w 273205"/>
              <a:gd name="connsiteY21" fmla="*/ 151361 h 326940"/>
              <a:gd name="connsiteX22" fmla="*/ 239373 w 273205"/>
              <a:gd name="connsiteY22" fmla="*/ 155344 h 326940"/>
              <a:gd name="connsiteX23" fmla="*/ 239373 w 273205"/>
              <a:gd name="connsiteY23" fmla="*/ 161319 h 326940"/>
              <a:gd name="connsiteX24" fmla="*/ 247334 w 273205"/>
              <a:gd name="connsiteY24" fmla="*/ 167294 h 326940"/>
              <a:gd name="connsiteX25" fmla="*/ 243353 w 273205"/>
              <a:gd name="connsiteY25" fmla="*/ 175260 h 326940"/>
              <a:gd name="connsiteX26" fmla="*/ 241363 w 273205"/>
              <a:gd name="connsiteY26" fmla="*/ 181235 h 326940"/>
              <a:gd name="connsiteX27" fmla="*/ 237382 w 273205"/>
              <a:gd name="connsiteY27" fmla="*/ 189201 h 326940"/>
              <a:gd name="connsiteX28" fmla="*/ 239373 w 273205"/>
              <a:gd name="connsiteY28" fmla="*/ 195176 h 326940"/>
              <a:gd name="connsiteX29" fmla="*/ 243353 w 273205"/>
              <a:gd name="connsiteY29" fmla="*/ 201151 h 326940"/>
              <a:gd name="connsiteX30" fmla="*/ 239373 w 273205"/>
              <a:gd name="connsiteY30" fmla="*/ 207125 h 326940"/>
              <a:gd name="connsiteX31" fmla="*/ 239373 w 273205"/>
              <a:gd name="connsiteY31" fmla="*/ 213100 h 326940"/>
              <a:gd name="connsiteX32" fmla="*/ 239373 w 273205"/>
              <a:gd name="connsiteY32" fmla="*/ 219075 h 326940"/>
              <a:gd name="connsiteX33" fmla="*/ 243353 w 273205"/>
              <a:gd name="connsiteY33" fmla="*/ 225050 h 326940"/>
              <a:gd name="connsiteX34" fmla="*/ 249324 w 273205"/>
              <a:gd name="connsiteY34" fmla="*/ 229033 h 326940"/>
              <a:gd name="connsiteX35" fmla="*/ 249324 w 273205"/>
              <a:gd name="connsiteY35" fmla="*/ 233016 h 326940"/>
              <a:gd name="connsiteX36" fmla="*/ 243353 w 273205"/>
              <a:gd name="connsiteY36" fmla="*/ 233016 h 326940"/>
              <a:gd name="connsiteX37" fmla="*/ 241363 w 273205"/>
              <a:gd name="connsiteY37" fmla="*/ 242974 h 326940"/>
              <a:gd name="connsiteX38" fmla="*/ 247334 w 273205"/>
              <a:gd name="connsiteY38" fmla="*/ 238991 h 326940"/>
              <a:gd name="connsiteX39" fmla="*/ 251314 w 273205"/>
              <a:gd name="connsiteY39" fmla="*/ 240982 h 326940"/>
              <a:gd name="connsiteX40" fmla="*/ 247334 w 273205"/>
              <a:gd name="connsiteY40" fmla="*/ 248949 h 326940"/>
              <a:gd name="connsiteX41" fmla="*/ 249324 w 273205"/>
              <a:gd name="connsiteY41" fmla="*/ 252932 h 326940"/>
              <a:gd name="connsiteX42" fmla="*/ 251314 w 273205"/>
              <a:gd name="connsiteY42" fmla="*/ 260898 h 326940"/>
              <a:gd name="connsiteX43" fmla="*/ 255294 w 273205"/>
              <a:gd name="connsiteY43" fmla="*/ 264881 h 326940"/>
              <a:gd name="connsiteX44" fmla="*/ 261264 w 273205"/>
              <a:gd name="connsiteY44" fmla="*/ 268865 h 326940"/>
              <a:gd name="connsiteX45" fmla="*/ 265245 w 273205"/>
              <a:gd name="connsiteY45" fmla="*/ 270856 h 326940"/>
              <a:gd name="connsiteX46" fmla="*/ 273205 w 273205"/>
              <a:gd name="connsiteY46" fmla="*/ 280814 h 326940"/>
              <a:gd name="connsiteX47" fmla="*/ 267235 w 273205"/>
              <a:gd name="connsiteY47" fmla="*/ 288780 h 326940"/>
              <a:gd name="connsiteX48" fmla="*/ 265245 w 273205"/>
              <a:gd name="connsiteY48" fmla="*/ 296747 h 326940"/>
              <a:gd name="connsiteX49" fmla="*/ 259274 w 273205"/>
              <a:gd name="connsiteY49" fmla="*/ 300730 h 326940"/>
              <a:gd name="connsiteX50" fmla="*/ 251314 w 273205"/>
              <a:gd name="connsiteY50" fmla="*/ 304713 h 326940"/>
              <a:gd name="connsiteX51" fmla="*/ 245343 w 273205"/>
              <a:gd name="connsiteY51" fmla="*/ 306705 h 326940"/>
              <a:gd name="connsiteX52" fmla="*/ 237382 w 273205"/>
              <a:gd name="connsiteY52" fmla="*/ 310688 h 326940"/>
              <a:gd name="connsiteX53" fmla="*/ 227432 w 273205"/>
              <a:gd name="connsiteY53" fmla="*/ 316663 h 326940"/>
              <a:gd name="connsiteX54" fmla="*/ 217481 w 273205"/>
              <a:gd name="connsiteY54" fmla="*/ 312680 h 326940"/>
              <a:gd name="connsiteX55" fmla="*/ 207530 w 273205"/>
              <a:gd name="connsiteY55" fmla="*/ 318654 h 326940"/>
              <a:gd name="connsiteX56" fmla="*/ 199570 w 273205"/>
              <a:gd name="connsiteY56" fmla="*/ 326621 h 326940"/>
              <a:gd name="connsiteX57" fmla="*/ 189619 w 273205"/>
              <a:gd name="connsiteY57" fmla="*/ 320646 h 326940"/>
              <a:gd name="connsiteX58" fmla="*/ 179669 w 273205"/>
              <a:gd name="connsiteY58" fmla="*/ 322637 h 326940"/>
              <a:gd name="connsiteX59" fmla="*/ 163748 w 273205"/>
              <a:gd name="connsiteY59" fmla="*/ 320646 h 326940"/>
              <a:gd name="connsiteX60" fmla="*/ 151807 w 273205"/>
              <a:gd name="connsiteY60" fmla="*/ 318654 h 326940"/>
              <a:gd name="connsiteX61" fmla="*/ 139866 w 273205"/>
              <a:gd name="connsiteY61" fmla="*/ 316663 h 326940"/>
              <a:gd name="connsiteX62" fmla="*/ 129915 w 273205"/>
              <a:gd name="connsiteY62" fmla="*/ 312680 h 326940"/>
              <a:gd name="connsiteX63" fmla="*/ 125935 w 273205"/>
              <a:gd name="connsiteY63" fmla="*/ 312680 h 326940"/>
              <a:gd name="connsiteX64" fmla="*/ 121955 w 273205"/>
              <a:gd name="connsiteY64" fmla="*/ 302722 h 326940"/>
              <a:gd name="connsiteX65" fmla="*/ 115984 w 273205"/>
              <a:gd name="connsiteY65" fmla="*/ 286789 h 326940"/>
              <a:gd name="connsiteX66" fmla="*/ 100063 w 273205"/>
              <a:gd name="connsiteY66" fmla="*/ 264881 h 326940"/>
              <a:gd name="connsiteX67" fmla="*/ 86132 w 273205"/>
              <a:gd name="connsiteY67" fmla="*/ 256915 h 326940"/>
              <a:gd name="connsiteX68" fmla="*/ 86132 w 273205"/>
              <a:gd name="connsiteY68" fmla="*/ 254923 h 326940"/>
              <a:gd name="connsiteX69" fmla="*/ 78172 w 273205"/>
              <a:gd name="connsiteY69" fmla="*/ 252932 h 326940"/>
              <a:gd name="connsiteX70" fmla="*/ 60261 w 273205"/>
              <a:gd name="connsiteY70" fmla="*/ 248949 h 326940"/>
              <a:gd name="connsiteX71" fmla="*/ 50310 w 273205"/>
              <a:gd name="connsiteY71" fmla="*/ 238991 h 326940"/>
              <a:gd name="connsiteX72" fmla="*/ 42350 w 273205"/>
              <a:gd name="connsiteY72" fmla="*/ 236999 h 326940"/>
              <a:gd name="connsiteX73" fmla="*/ 40359 w 273205"/>
              <a:gd name="connsiteY73" fmla="*/ 238991 h 326940"/>
              <a:gd name="connsiteX74" fmla="*/ 38369 w 273205"/>
              <a:gd name="connsiteY74" fmla="*/ 238991 h 326940"/>
              <a:gd name="connsiteX75" fmla="*/ 38369 w 273205"/>
              <a:gd name="connsiteY75" fmla="*/ 233016 h 326940"/>
              <a:gd name="connsiteX76" fmla="*/ 36379 w 273205"/>
              <a:gd name="connsiteY76" fmla="*/ 229033 h 326940"/>
              <a:gd name="connsiteX77" fmla="*/ 34389 w 273205"/>
              <a:gd name="connsiteY77" fmla="*/ 221066 h 326940"/>
              <a:gd name="connsiteX78" fmla="*/ 32399 w 273205"/>
              <a:gd name="connsiteY78" fmla="*/ 217083 h 326940"/>
              <a:gd name="connsiteX79" fmla="*/ 28419 w 273205"/>
              <a:gd name="connsiteY79" fmla="*/ 203142 h 326940"/>
              <a:gd name="connsiteX80" fmla="*/ 22448 w 273205"/>
              <a:gd name="connsiteY80" fmla="*/ 193184 h 326940"/>
              <a:gd name="connsiteX81" fmla="*/ 20458 w 273205"/>
              <a:gd name="connsiteY81" fmla="*/ 181235 h 326940"/>
              <a:gd name="connsiteX82" fmla="*/ 16478 w 273205"/>
              <a:gd name="connsiteY82" fmla="*/ 175260 h 326940"/>
              <a:gd name="connsiteX83" fmla="*/ 12498 w 273205"/>
              <a:gd name="connsiteY83" fmla="*/ 165302 h 326940"/>
              <a:gd name="connsiteX84" fmla="*/ 10508 w 273205"/>
              <a:gd name="connsiteY84" fmla="*/ 155344 h 326940"/>
              <a:gd name="connsiteX85" fmla="*/ 2547 w 273205"/>
              <a:gd name="connsiteY85" fmla="*/ 145386 h 326940"/>
              <a:gd name="connsiteX86" fmla="*/ 2547 w 273205"/>
              <a:gd name="connsiteY86" fmla="*/ 127461 h 326940"/>
              <a:gd name="connsiteX87" fmla="*/ 557 w 273205"/>
              <a:gd name="connsiteY87" fmla="*/ 115512 h 326940"/>
              <a:gd name="connsiteX88" fmla="*/ 4537 w 273205"/>
              <a:gd name="connsiteY88" fmla="*/ 113520 h 326940"/>
              <a:gd name="connsiteX89" fmla="*/ 16478 w 273205"/>
              <a:gd name="connsiteY89" fmla="*/ 111529 h 326940"/>
              <a:gd name="connsiteX90" fmla="*/ 26429 w 273205"/>
              <a:gd name="connsiteY90" fmla="*/ 103562 h 326940"/>
              <a:gd name="connsiteX91" fmla="*/ 32399 w 273205"/>
              <a:gd name="connsiteY91" fmla="*/ 97588 h 326940"/>
              <a:gd name="connsiteX92" fmla="*/ 40359 w 273205"/>
              <a:gd name="connsiteY92" fmla="*/ 91613 h 326940"/>
              <a:gd name="connsiteX93" fmla="*/ 48320 w 273205"/>
              <a:gd name="connsiteY93" fmla="*/ 85638 h 326940"/>
              <a:gd name="connsiteX94" fmla="*/ 58271 w 273205"/>
              <a:gd name="connsiteY94" fmla="*/ 73689 h 326940"/>
              <a:gd name="connsiteX95" fmla="*/ 66231 w 273205"/>
              <a:gd name="connsiteY95" fmla="*/ 63731 h 326940"/>
              <a:gd name="connsiteX96" fmla="*/ 66231 w 273205"/>
              <a:gd name="connsiteY96" fmla="*/ 59747 h 326940"/>
              <a:gd name="connsiteX97" fmla="*/ 54290 w 273205"/>
              <a:gd name="connsiteY97" fmla="*/ 49789 h 326940"/>
              <a:gd name="connsiteX98" fmla="*/ 52300 w 273205"/>
              <a:gd name="connsiteY98" fmla="*/ 45806 h 326940"/>
              <a:gd name="connsiteX99" fmla="*/ 58271 w 273205"/>
              <a:gd name="connsiteY99" fmla="*/ 41823 h 326940"/>
              <a:gd name="connsiteX100" fmla="*/ 56281 w 273205"/>
              <a:gd name="connsiteY100" fmla="*/ 17924 h 326940"/>
              <a:gd name="connsiteX101" fmla="*/ 52300 w 273205"/>
              <a:gd name="connsiteY101" fmla="*/ 0 h 32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73205" h="326940">
                <a:moveTo>
                  <a:pt x="255027" y="192740"/>
                </a:moveTo>
                <a:cubicBezTo>
                  <a:pt x="255265" y="194016"/>
                  <a:pt x="254789" y="196057"/>
                  <a:pt x="253836" y="197077"/>
                </a:cubicBezTo>
                <a:cubicBezTo>
                  <a:pt x="253836" y="201159"/>
                  <a:pt x="246216" y="203200"/>
                  <a:pt x="246216" y="199118"/>
                </a:cubicBezTo>
                <a:cubicBezTo>
                  <a:pt x="246216" y="195036"/>
                  <a:pt x="251931" y="192995"/>
                  <a:pt x="251931" y="192995"/>
                </a:cubicBezTo>
                <a:cubicBezTo>
                  <a:pt x="253836" y="190954"/>
                  <a:pt x="254789" y="191465"/>
                  <a:pt x="255027" y="192740"/>
                </a:cubicBezTo>
                <a:close/>
                <a:moveTo>
                  <a:pt x="241008" y="133461"/>
                </a:moveTo>
                <a:cubicBezTo>
                  <a:pt x="241752" y="133218"/>
                  <a:pt x="242248" y="133703"/>
                  <a:pt x="242248" y="133703"/>
                </a:cubicBezTo>
                <a:cubicBezTo>
                  <a:pt x="246217" y="133703"/>
                  <a:pt x="246217" y="141464"/>
                  <a:pt x="246217" y="145345"/>
                </a:cubicBezTo>
                <a:cubicBezTo>
                  <a:pt x="246217" y="147285"/>
                  <a:pt x="242248" y="149225"/>
                  <a:pt x="240264" y="149225"/>
                </a:cubicBezTo>
                <a:cubicBezTo>
                  <a:pt x="240264" y="149225"/>
                  <a:pt x="238279" y="141464"/>
                  <a:pt x="238279" y="137584"/>
                </a:cubicBezTo>
                <a:cubicBezTo>
                  <a:pt x="239272" y="134674"/>
                  <a:pt x="240264" y="133703"/>
                  <a:pt x="241008" y="133461"/>
                </a:cubicBezTo>
                <a:close/>
                <a:moveTo>
                  <a:pt x="52300" y="0"/>
                </a:moveTo>
                <a:cubicBezTo>
                  <a:pt x="52300" y="0"/>
                  <a:pt x="88123" y="0"/>
                  <a:pt x="102054" y="0"/>
                </a:cubicBezTo>
                <a:cubicBezTo>
                  <a:pt x="113994" y="1991"/>
                  <a:pt x="131905" y="7966"/>
                  <a:pt x="139866" y="15932"/>
                </a:cubicBezTo>
                <a:cubicBezTo>
                  <a:pt x="149817" y="21907"/>
                  <a:pt x="177678" y="45806"/>
                  <a:pt x="181659" y="47798"/>
                </a:cubicBezTo>
                <a:cubicBezTo>
                  <a:pt x="185639" y="51781"/>
                  <a:pt x="203550" y="63731"/>
                  <a:pt x="203550" y="65722"/>
                </a:cubicBezTo>
                <a:cubicBezTo>
                  <a:pt x="203550" y="67714"/>
                  <a:pt x="201560" y="97588"/>
                  <a:pt x="203550" y="101571"/>
                </a:cubicBezTo>
                <a:cubicBezTo>
                  <a:pt x="203550" y="107545"/>
                  <a:pt x="217481" y="125470"/>
                  <a:pt x="227432" y="125470"/>
                </a:cubicBezTo>
                <a:cubicBezTo>
                  <a:pt x="227432" y="127461"/>
                  <a:pt x="227432" y="127461"/>
                  <a:pt x="227432" y="127461"/>
                </a:cubicBezTo>
                <a:cubicBezTo>
                  <a:pt x="227432" y="127461"/>
                  <a:pt x="229422" y="135428"/>
                  <a:pt x="227432" y="137420"/>
                </a:cubicBezTo>
                <a:cubicBezTo>
                  <a:pt x="225442" y="137420"/>
                  <a:pt x="225442" y="141403"/>
                  <a:pt x="227432" y="145386"/>
                </a:cubicBezTo>
                <a:cubicBezTo>
                  <a:pt x="227432" y="151361"/>
                  <a:pt x="227432" y="151361"/>
                  <a:pt x="231412" y="151361"/>
                </a:cubicBezTo>
                <a:cubicBezTo>
                  <a:pt x="237382" y="151361"/>
                  <a:pt x="239373" y="153353"/>
                  <a:pt x="239373" y="155344"/>
                </a:cubicBezTo>
                <a:cubicBezTo>
                  <a:pt x="239373" y="157336"/>
                  <a:pt x="239373" y="161319"/>
                  <a:pt x="239373" y="161319"/>
                </a:cubicBezTo>
                <a:cubicBezTo>
                  <a:pt x="241363" y="161319"/>
                  <a:pt x="247334" y="163310"/>
                  <a:pt x="247334" y="167294"/>
                </a:cubicBezTo>
                <a:cubicBezTo>
                  <a:pt x="247334" y="171277"/>
                  <a:pt x="245343" y="173268"/>
                  <a:pt x="243353" y="175260"/>
                </a:cubicBezTo>
                <a:cubicBezTo>
                  <a:pt x="243353" y="175260"/>
                  <a:pt x="241363" y="179243"/>
                  <a:pt x="241363" y="181235"/>
                </a:cubicBezTo>
                <a:cubicBezTo>
                  <a:pt x="239373" y="183226"/>
                  <a:pt x="239373" y="185218"/>
                  <a:pt x="237382" y="189201"/>
                </a:cubicBezTo>
                <a:cubicBezTo>
                  <a:pt x="235392" y="191193"/>
                  <a:pt x="239373" y="195176"/>
                  <a:pt x="239373" y="195176"/>
                </a:cubicBezTo>
                <a:cubicBezTo>
                  <a:pt x="239373" y="195176"/>
                  <a:pt x="243353" y="197167"/>
                  <a:pt x="243353" y="201151"/>
                </a:cubicBezTo>
                <a:cubicBezTo>
                  <a:pt x="241363" y="203142"/>
                  <a:pt x="239373" y="205134"/>
                  <a:pt x="239373" y="207125"/>
                </a:cubicBezTo>
                <a:cubicBezTo>
                  <a:pt x="237382" y="207125"/>
                  <a:pt x="237382" y="211109"/>
                  <a:pt x="239373" y="213100"/>
                </a:cubicBezTo>
                <a:cubicBezTo>
                  <a:pt x="239373" y="215092"/>
                  <a:pt x="239373" y="217083"/>
                  <a:pt x="239373" y="219075"/>
                </a:cubicBezTo>
                <a:cubicBezTo>
                  <a:pt x="239373" y="221066"/>
                  <a:pt x="239373" y="223058"/>
                  <a:pt x="243353" y="225050"/>
                </a:cubicBezTo>
                <a:cubicBezTo>
                  <a:pt x="245343" y="229033"/>
                  <a:pt x="247334" y="229033"/>
                  <a:pt x="249324" y="229033"/>
                </a:cubicBezTo>
                <a:cubicBezTo>
                  <a:pt x="249324" y="231024"/>
                  <a:pt x="249324" y="233016"/>
                  <a:pt x="249324" y="233016"/>
                </a:cubicBezTo>
                <a:cubicBezTo>
                  <a:pt x="247334" y="235008"/>
                  <a:pt x="245343" y="233016"/>
                  <a:pt x="243353" y="233016"/>
                </a:cubicBezTo>
                <a:cubicBezTo>
                  <a:pt x="241363" y="235008"/>
                  <a:pt x="239373" y="240982"/>
                  <a:pt x="241363" y="242974"/>
                </a:cubicBezTo>
                <a:cubicBezTo>
                  <a:pt x="241363" y="244966"/>
                  <a:pt x="245343" y="240982"/>
                  <a:pt x="247334" y="238991"/>
                </a:cubicBezTo>
                <a:cubicBezTo>
                  <a:pt x="247334" y="236999"/>
                  <a:pt x="251314" y="236999"/>
                  <a:pt x="251314" y="240982"/>
                </a:cubicBezTo>
                <a:cubicBezTo>
                  <a:pt x="251314" y="242974"/>
                  <a:pt x="251314" y="244966"/>
                  <a:pt x="247334" y="248949"/>
                </a:cubicBezTo>
                <a:cubicBezTo>
                  <a:pt x="243353" y="250940"/>
                  <a:pt x="249324" y="252932"/>
                  <a:pt x="249324" y="252932"/>
                </a:cubicBezTo>
                <a:cubicBezTo>
                  <a:pt x="251314" y="252932"/>
                  <a:pt x="251314" y="256915"/>
                  <a:pt x="251314" y="260898"/>
                </a:cubicBezTo>
                <a:cubicBezTo>
                  <a:pt x="251314" y="262890"/>
                  <a:pt x="253304" y="264881"/>
                  <a:pt x="255294" y="264881"/>
                </a:cubicBezTo>
                <a:cubicBezTo>
                  <a:pt x="257284" y="264881"/>
                  <a:pt x="259274" y="266873"/>
                  <a:pt x="261264" y="268865"/>
                </a:cubicBezTo>
                <a:cubicBezTo>
                  <a:pt x="261264" y="270856"/>
                  <a:pt x="263255" y="270856"/>
                  <a:pt x="265245" y="270856"/>
                </a:cubicBezTo>
                <a:cubicBezTo>
                  <a:pt x="265245" y="270856"/>
                  <a:pt x="271215" y="278823"/>
                  <a:pt x="273205" y="280814"/>
                </a:cubicBezTo>
                <a:cubicBezTo>
                  <a:pt x="273205" y="284797"/>
                  <a:pt x="269225" y="286789"/>
                  <a:pt x="267235" y="288780"/>
                </a:cubicBezTo>
                <a:cubicBezTo>
                  <a:pt x="267235" y="290772"/>
                  <a:pt x="263255" y="294755"/>
                  <a:pt x="265245" y="296747"/>
                </a:cubicBezTo>
                <a:cubicBezTo>
                  <a:pt x="263255" y="296747"/>
                  <a:pt x="261264" y="298738"/>
                  <a:pt x="259274" y="300730"/>
                </a:cubicBezTo>
                <a:cubicBezTo>
                  <a:pt x="259274" y="302722"/>
                  <a:pt x="253304" y="304713"/>
                  <a:pt x="251314" y="304713"/>
                </a:cubicBezTo>
                <a:cubicBezTo>
                  <a:pt x="247334" y="302722"/>
                  <a:pt x="245343" y="306705"/>
                  <a:pt x="245343" y="306705"/>
                </a:cubicBezTo>
                <a:cubicBezTo>
                  <a:pt x="245343" y="306705"/>
                  <a:pt x="243353" y="312680"/>
                  <a:pt x="237382" y="310688"/>
                </a:cubicBezTo>
                <a:cubicBezTo>
                  <a:pt x="229422" y="310688"/>
                  <a:pt x="231412" y="312680"/>
                  <a:pt x="227432" y="316663"/>
                </a:cubicBezTo>
                <a:cubicBezTo>
                  <a:pt x="223451" y="318654"/>
                  <a:pt x="221461" y="314671"/>
                  <a:pt x="217481" y="312680"/>
                </a:cubicBezTo>
                <a:cubicBezTo>
                  <a:pt x="215491" y="310688"/>
                  <a:pt x="209521" y="316663"/>
                  <a:pt x="207530" y="318654"/>
                </a:cubicBezTo>
                <a:cubicBezTo>
                  <a:pt x="207530" y="322637"/>
                  <a:pt x="203550" y="324629"/>
                  <a:pt x="199570" y="326621"/>
                </a:cubicBezTo>
                <a:cubicBezTo>
                  <a:pt x="193600" y="328612"/>
                  <a:pt x="189619" y="320646"/>
                  <a:pt x="189619" y="320646"/>
                </a:cubicBezTo>
                <a:cubicBezTo>
                  <a:pt x="189619" y="320646"/>
                  <a:pt x="181659" y="322637"/>
                  <a:pt x="179669" y="322637"/>
                </a:cubicBezTo>
                <a:cubicBezTo>
                  <a:pt x="179669" y="324629"/>
                  <a:pt x="167728" y="326621"/>
                  <a:pt x="163748" y="320646"/>
                </a:cubicBezTo>
                <a:cubicBezTo>
                  <a:pt x="159767" y="316663"/>
                  <a:pt x="155787" y="316663"/>
                  <a:pt x="151807" y="318654"/>
                </a:cubicBezTo>
                <a:cubicBezTo>
                  <a:pt x="147827" y="318654"/>
                  <a:pt x="145836" y="318654"/>
                  <a:pt x="139866" y="316663"/>
                </a:cubicBezTo>
                <a:cubicBezTo>
                  <a:pt x="133896" y="312680"/>
                  <a:pt x="129915" y="312680"/>
                  <a:pt x="129915" y="312680"/>
                </a:cubicBezTo>
                <a:cubicBezTo>
                  <a:pt x="129915" y="312680"/>
                  <a:pt x="129915" y="312680"/>
                  <a:pt x="125935" y="312680"/>
                </a:cubicBezTo>
                <a:cubicBezTo>
                  <a:pt x="125935" y="312680"/>
                  <a:pt x="125935" y="312680"/>
                  <a:pt x="121955" y="302722"/>
                </a:cubicBezTo>
                <a:cubicBezTo>
                  <a:pt x="121955" y="302722"/>
                  <a:pt x="119965" y="296747"/>
                  <a:pt x="115984" y="286789"/>
                </a:cubicBezTo>
                <a:cubicBezTo>
                  <a:pt x="110014" y="276831"/>
                  <a:pt x="106034" y="270856"/>
                  <a:pt x="100063" y="264881"/>
                </a:cubicBezTo>
                <a:cubicBezTo>
                  <a:pt x="96083" y="256915"/>
                  <a:pt x="86132" y="256915"/>
                  <a:pt x="86132" y="256915"/>
                </a:cubicBezTo>
                <a:cubicBezTo>
                  <a:pt x="86132" y="254923"/>
                  <a:pt x="86132" y="254923"/>
                  <a:pt x="86132" y="254923"/>
                </a:cubicBezTo>
                <a:cubicBezTo>
                  <a:pt x="86132" y="254923"/>
                  <a:pt x="86132" y="254923"/>
                  <a:pt x="78172" y="252932"/>
                </a:cubicBezTo>
                <a:cubicBezTo>
                  <a:pt x="78172" y="252932"/>
                  <a:pt x="72202" y="254923"/>
                  <a:pt x="60261" y="248949"/>
                </a:cubicBezTo>
                <a:cubicBezTo>
                  <a:pt x="48320" y="242974"/>
                  <a:pt x="50310" y="238991"/>
                  <a:pt x="50310" y="238991"/>
                </a:cubicBezTo>
                <a:cubicBezTo>
                  <a:pt x="50310" y="238991"/>
                  <a:pt x="50310" y="238991"/>
                  <a:pt x="42350" y="236999"/>
                </a:cubicBezTo>
                <a:cubicBezTo>
                  <a:pt x="42350" y="236999"/>
                  <a:pt x="40359" y="236999"/>
                  <a:pt x="40359" y="238991"/>
                </a:cubicBezTo>
                <a:cubicBezTo>
                  <a:pt x="40359" y="238991"/>
                  <a:pt x="40359" y="238991"/>
                  <a:pt x="38369" y="238991"/>
                </a:cubicBezTo>
                <a:cubicBezTo>
                  <a:pt x="38369" y="236999"/>
                  <a:pt x="38369" y="233016"/>
                  <a:pt x="38369" y="233016"/>
                </a:cubicBezTo>
                <a:cubicBezTo>
                  <a:pt x="38369" y="231024"/>
                  <a:pt x="42350" y="231024"/>
                  <a:pt x="36379" y="229033"/>
                </a:cubicBezTo>
                <a:cubicBezTo>
                  <a:pt x="32399" y="225050"/>
                  <a:pt x="34389" y="223058"/>
                  <a:pt x="34389" y="221066"/>
                </a:cubicBezTo>
                <a:cubicBezTo>
                  <a:pt x="34389" y="221066"/>
                  <a:pt x="32399" y="219075"/>
                  <a:pt x="32399" y="217083"/>
                </a:cubicBezTo>
                <a:cubicBezTo>
                  <a:pt x="30409" y="215092"/>
                  <a:pt x="32399" y="207125"/>
                  <a:pt x="28419" y="203142"/>
                </a:cubicBezTo>
                <a:cubicBezTo>
                  <a:pt x="24438" y="201151"/>
                  <a:pt x="22448" y="195176"/>
                  <a:pt x="22448" y="193184"/>
                </a:cubicBezTo>
                <a:cubicBezTo>
                  <a:pt x="22448" y="189201"/>
                  <a:pt x="20458" y="181235"/>
                  <a:pt x="20458" y="181235"/>
                </a:cubicBezTo>
                <a:cubicBezTo>
                  <a:pt x="20458" y="181235"/>
                  <a:pt x="20458" y="179243"/>
                  <a:pt x="16478" y="175260"/>
                </a:cubicBezTo>
                <a:cubicBezTo>
                  <a:pt x="12498" y="169285"/>
                  <a:pt x="12498" y="169285"/>
                  <a:pt x="12498" y="165302"/>
                </a:cubicBezTo>
                <a:cubicBezTo>
                  <a:pt x="12498" y="161319"/>
                  <a:pt x="12498" y="157336"/>
                  <a:pt x="10508" y="155344"/>
                </a:cubicBezTo>
                <a:cubicBezTo>
                  <a:pt x="6527" y="153353"/>
                  <a:pt x="2547" y="149369"/>
                  <a:pt x="2547" y="145386"/>
                </a:cubicBezTo>
                <a:cubicBezTo>
                  <a:pt x="2547" y="141403"/>
                  <a:pt x="4537" y="131445"/>
                  <a:pt x="2547" y="127461"/>
                </a:cubicBezTo>
                <a:cubicBezTo>
                  <a:pt x="2547" y="123478"/>
                  <a:pt x="-1433" y="119495"/>
                  <a:pt x="557" y="115512"/>
                </a:cubicBezTo>
                <a:cubicBezTo>
                  <a:pt x="557" y="115512"/>
                  <a:pt x="2547" y="113520"/>
                  <a:pt x="4537" y="113520"/>
                </a:cubicBezTo>
                <a:cubicBezTo>
                  <a:pt x="6527" y="115512"/>
                  <a:pt x="12498" y="117503"/>
                  <a:pt x="16478" y="111529"/>
                </a:cubicBezTo>
                <a:cubicBezTo>
                  <a:pt x="20458" y="103562"/>
                  <a:pt x="24438" y="103562"/>
                  <a:pt x="26429" y="103562"/>
                </a:cubicBezTo>
                <a:cubicBezTo>
                  <a:pt x="26429" y="103562"/>
                  <a:pt x="32399" y="97588"/>
                  <a:pt x="32399" y="97588"/>
                </a:cubicBezTo>
                <a:cubicBezTo>
                  <a:pt x="32399" y="97588"/>
                  <a:pt x="36379" y="93604"/>
                  <a:pt x="40359" y="91613"/>
                </a:cubicBezTo>
                <a:cubicBezTo>
                  <a:pt x="44340" y="91613"/>
                  <a:pt x="48320" y="87630"/>
                  <a:pt x="48320" y="85638"/>
                </a:cubicBezTo>
                <a:cubicBezTo>
                  <a:pt x="50310" y="83646"/>
                  <a:pt x="54290" y="77672"/>
                  <a:pt x="58271" y="73689"/>
                </a:cubicBezTo>
                <a:cubicBezTo>
                  <a:pt x="62251" y="71697"/>
                  <a:pt x="66231" y="65722"/>
                  <a:pt x="66231" y="63731"/>
                </a:cubicBezTo>
                <a:cubicBezTo>
                  <a:pt x="68221" y="59747"/>
                  <a:pt x="68221" y="57756"/>
                  <a:pt x="66231" y="59747"/>
                </a:cubicBezTo>
                <a:cubicBezTo>
                  <a:pt x="64241" y="59747"/>
                  <a:pt x="56281" y="53773"/>
                  <a:pt x="54290" y="49789"/>
                </a:cubicBezTo>
                <a:cubicBezTo>
                  <a:pt x="52300" y="47798"/>
                  <a:pt x="52300" y="45806"/>
                  <a:pt x="52300" y="45806"/>
                </a:cubicBezTo>
                <a:cubicBezTo>
                  <a:pt x="52300" y="45806"/>
                  <a:pt x="52300" y="45806"/>
                  <a:pt x="58271" y="41823"/>
                </a:cubicBezTo>
                <a:cubicBezTo>
                  <a:pt x="58271" y="41823"/>
                  <a:pt x="56281" y="25890"/>
                  <a:pt x="56281" y="17924"/>
                </a:cubicBezTo>
                <a:cubicBezTo>
                  <a:pt x="54290" y="9958"/>
                  <a:pt x="52300" y="0"/>
                  <a:pt x="52300" y="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1" name="Kenya"/>
          <p:cNvSpPr>
            <a:spLocks/>
          </p:cNvSpPr>
          <p:nvPr/>
        </p:nvSpPr>
        <p:spPr bwMode="auto">
          <a:xfrm>
            <a:off x="7125471" y="3941518"/>
            <a:ext cx="215581" cy="308673"/>
          </a:xfrm>
          <a:custGeom>
            <a:avLst/>
            <a:gdLst>
              <a:gd name="T0" fmla="*/ 62 w 105"/>
              <a:gd name="T1" fmla="*/ 147 h 150"/>
              <a:gd name="T2" fmla="*/ 66 w 105"/>
              <a:gd name="T3" fmla="*/ 140 h 150"/>
              <a:gd name="T4" fmla="*/ 67 w 105"/>
              <a:gd name="T5" fmla="*/ 136 h 150"/>
              <a:gd name="T6" fmla="*/ 72 w 105"/>
              <a:gd name="T7" fmla="*/ 126 h 150"/>
              <a:gd name="T8" fmla="*/ 76 w 105"/>
              <a:gd name="T9" fmla="*/ 116 h 150"/>
              <a:gd name="T10" fmla="*/ 77 w 105"/>
              <a:gd name="T11" fmla="*/ 109 h 150"/>
              <a:gd name="T12" fmla="*/ 84 w 105"/>
              <a:gd name="T13" fmla="*/ 103 h 150"/>
              <a:gd name="T14" fmla="*/ 87 w 105"/>
              <a:gd name="T15" fmla="*/ 96 h 150"/>
              <a:gd name="T16" fmla="*/ 92 w 105"/>
              <a:gd name="T17" fmla="*/ 92 h 150"/>
              <a:gd name="T18" fmla="*/ 97 w 105"/>
              <a:gd name="T19" fmla="*/ 90 h 150"/>
              <a:gd name="T20" fmla="*/ 98 w 105"/>
              <a:gd name="T21" fmla="*/ 87 h 150"/>
              <a:gd name="T22" fmla="*/ 98 w 105"/>
              <a:gd name="T23" fmla="*/ 87 h 150"/>
              <a:gd name="T24" fmla="*/ 98 w 105"/>
              <a:gd name="T25" fmla="*/ 87 h 150"/>
              <a:gd name="T26" fmla="*/ 98 w 105"/>
              <a:gd name="T27" fmla="*/ 87 h 150"/>
              <a:gd name="T28" fmla="*/ 93 w 105"/>
              <a:gd name="T29" fmla="*/ 79 h 150"/>
              <a:gd name="T30" fmla="*/ 95 w 105"/>
              <a:gd name="T31" fmla="*/ 44 h 150"/>
              <a:gd name="T32" fmla="*/ 98 w 105"/>
              <a:gd name="T33" fmla="*/ 24 h 150"/>
              <a:gd name="T34" fmla="*/ 104 w 105"/>
              <a:gd name="T35" fmla="*/ 10 h 150"/>
              <a:gd name="T36" fmla="*/ 98 w 105"/>
              <a:gd name="T37" fmla="*/ 12 h 150"/>
              <a:gd name="T38" fmla="*/ 90 w 105"/>
              <a:gd name="T39" fmla="*/ 7 h 150"/>
              <a:gd name="T40" fmla="*/ 76 w 105"/>
              <a:gd name="T41" fmla="*/ 11 h 150"/>
              <a:gd name="T42" fmla="*/ 63 w 105"/>
              <a:gd name="T43" fmla="*/ 19 h 150"/>
              <a:gd name="T44" fmla="*/ 55 w 105"/>
              <a:gd name="T45" fmla="*/ 15 h 150"/>
              <a:gd name="T46" fmla="*/ 23 w 105"/>
              <a:gd name="T47" fmla="*/ 1 h 150"/>
              <a:gd name="T48" fmla="*/ 3 w 105"/>
              <a:gd name="T49" fmla="*/ 5 h 150"/>
              <a:gd name="T50" fmla="*/ 4 w 105"/>
              <a:gd name="T51" fmla="*/ 11 h 150"/>
              <a:gd name="T52" fmla="*/ 12 w 105"/>
              <a:gd name="T53" fmla="*/ 24 h 150"/>
              <a:gd name="T54" fmla="*/ 13 w 105"/>
              <a:gd name="T55" fmla="*/ 38 h 150"/>
              <a:gd name="T56" fmla="*/ 4 w 105"/>
              <a:gd name="T57" fmla="*/ 54 h 150"/>
              <a:gd name="T58" fmla="*/ 2 w 105"/>
              <a:gd name="T59" fmla="*/ 70 h 150"/>
              <a:gd name="T60" fmla="*/ 0 w 105"/>
              <a:gd name="T61" fmla="*/ 88 h 150"/>
              <a:gd name="T62" fmla="*/ 38 w 105"/>
              <a:gd name="T63" fmla="*/ 111 h 150"/>
              <a:gd name="T64" fmla="*/ 49 w 105"/>
              <a:gd name="T65"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50">
                <a:moveTo>
                  <a:pt x="61" y="150"/>
                </a:moveTo>
                <a:cubicBezTo>
                  <a:pt x="61" y="149"/>
                  <a:pt x="62" y="147"/>
                  <a:pt x="62" y="147"/>
                </a:cubicBezTo>
                <a:cubicBezTo>
                  <a:pt x="63" y="146"/>
                  <a:pt x="65" y="144"/>
                  <a:pt x="64" y="142"/>
                </a:cubicBezTo>
                <a:cubicBezTo>
                  <a:pt x="64" y="141"/>
                  <a:pt x="65" y="140"/>
                  <a:pt x="66" y="140"/>
                </a:cubicBezTo>
                <a:cubicBezTo>
                  <a:pt x="66" y="140"/>
                  <a:pt x="67" y="140"/>
                  <a:pt x="67" y="138"/>
                </a:cubicBezTo>
                <a:cubicBezTo>
                  <a:pt x="66" y="136"/>
                  <a:pt x="66" y="136"/>
                  <a:pt x="67" y="136"/>
                </a:cubicBezTo>
                <a:cubicBezTo>
                  <a:pt x="69" y="135"/>
                  <a:pt x="69" y="132"/>
                  <a:pt x="69" y="132"/>
                </a:cubicBezTo>
                <a:cubicBezTo>
                  <a:pt x="69" y="132"/>
                  <a:pt x="71" y="127"/>
                  <a:pt x="72" y="126"/>
                </a:cubicBezTo>
                <a:cubicBezTo>
                  <a:pt x="73" y="124"/>
                  <a:pt x="74" y="122"/>
                  <a:pt x="74" y="120"/>
                </a:cubicBezTo>
                <a:cubicBezTo>
                  <a:pt x="74" y="119"/>
                  <a:pt x="74" y="116"/>
                  <a:pt x="76" y="116"/>
                </a:cubicBezTo>
                <a:cubicBezTo>
                  <a:pt x="77" y="116"/>
                  <a:pt x="78" y="114"/>
                  <a:pt x="78" y="113"/>
                </a:cubicBezTo>
                <a:cubicBezTo>
                  <a:pt x="78" y="111"/>
                  <a:pt x="78" y="110"/>
                  <a:pt x="77" y="109"/>
                </a:cubicBezTo>
                <a:cubicBezTo>
                  <a:pt x="76" y="109"/>
                  <a:pt x="77" y="107"/>
                  <a:pt x="78" y="106"/>
                </a:cubicBezTo>
                <a:cubicBezTo>
                  <a:pt x="78" y="105"/>
                  <a:pt x="83" y="104"/>
                  <a:pt x="84" y="103"/>
                </a:cubicBezTo>
                <a:cubicBezTo>
                  <a:pt x="85" y="102"/>
                  <a:pt x="84" y="99"/>
                  <a:pt x="85" y="98"/>
                </a:cubicBezTo>
                <a:cubicBezTo>
                  <a:pt x="86" y="97"/>
                  <a:pt x="87" y="98"/>
                  <a:pt x="87" y="96"/>
                </a:cubicBezTo>
                <a:cubicBezTo>
                  <a:pt x="87" y="93"/>
                  <a:pt x="89" y="94"/>
                  <a:pt x="89" y="94"/>
                </a:cubicBezTo>
                <a:cubicBezTo>
                  <a:pt x="91" y="94"/>
                  <a:pt x="92" y="93"/>
                  <a:pt x="92" y="92"/>
                </a:cubicBezTo>
                <a:cubicBezTo>
                  <a:pt x="92" y="92"/>
                  <a:pt x="93" y="92"/>
                  <a:pt x="94" y="91"/>
                </a:cubicBezTo>
                <a:cubicBezTo>
                  <a:pt x="95" y="91"/>
                  <a:pt x="97" y="90"/>
                  <a:pt x="97" y="90"/>
                </a:cubicBezTo>
                <a:cubicBezTo>
                  <a:pt x="97" y="89"/>
                  <a:pt x="97" y="90"/>
                  <a:pt x="98" y="89"/>
                </a:cubicBezTo>
                <a:cubicBezTo>
                  <a:pt x="99" y="88"/>
                  <a:pt x="98" y="88"/>
                  <a:pt x="98" y="87"/>
                </a:cubicBezTo>
                <a:cubicBezTo>
                  <a:pt x="98" y="87"/>
                  <a:pt x="98" y="87"/>
                  <a:pt x="98" y="87"/>
                </a:cubicBezTo>
                <a:cubicBezTo>
                  <a:pt x="98" y="87"/>
                  <a:pt x="98" y="87"/>
                  <a:pt x="98" y="87"/>
                </a:cubicBezTo>
                <a:cubicBezTo>
                  <a:pt x="98" y="87"/>
                  <a:pt x="98" y="87"/>
                  <a:pt x="98" y="87"/>
                </a:cubicBezTo>
                <a:cubicBezTo>
                  <a:pt x="98" y="87"/>
                  <a:pt x="98" y="87"/>
                  <a:pt x="98" y="87"/>
                </a:cubicBezTo>
                <a:cubicBezTo>
                  <a:pt x="98" y="87"/>
                  <a:pt x="98" y="87"/>
                  <a:pt x="98" y="87"/>
                </a:cubicBezTo>
                <a:cubicBezTo>
                  <a:pt x="98" y="87"/>
                  <a:pt x="98" y="87"/>
                  <a:pt x="98" y="87"/>
                </a:cubicBezTo>
                <a:cubicBezTo>
                  <a:pt x="97" y="87"/>
                  <a:pt x="96" y="87"/>
                  <a:pt x="95" y="87"/>
                </a:cubicBezTo>
                <a:cubicBezTo>
                  <a:pt x="93" y="86"/>
                  <a:pt x="93" y="81"/>
                  <a:pt x="93" y="79"/>
                </a:cubicBezTo>
                <a:cubicBezTo>
                  <a:pt x="93" y="77"/>
                  <a:pt x="93" y="57"/>
                  <a:pt x="94" y="55"/>
                </a:cubicBezTo>
                <a:cubicBezTo>
                  <a:pt x="94" y="53"/>
                  <a:pt x="94" y="46"/>
                  <a:pt x="95" y="44"/>
                </a:cubicBezTo>
                <a:cubicBezTo>
                  <a:pt x="95" y="41"/>
                  <a:pt x="95" y="29"/>
                  <a:pt x="95" y="29"/>
                </a:cubicBezTo>
                <a:cubicBezTo>
                  <a:pt x="98" y="24"/>
                  <a:pt x="98" y="24"/>
                  <a:pt x="98" y="24"/>
                </a:cubicBezTo>
                <a:cubicBezTo>
                  <a:pt x="98" y="24"/>
                  <a:pt x="102" y="18"/>
                  <a:pt x="104" y="15"/>
                </a:cubicBezTo>
                <a:cubicBezTo>
                  <a:pt x="105" y="14"/>
                  <a:pt x="105" y="11"/>
                  <a:pt x="104" y="10"/>
                </a:cubicBezTo>
                <a:cubicBezTo>
                  <a:pt x="103" y="10"/>
                  <a:pt x="103" y="10"/>
                  <a:pt x="103" y="10"/>
                </a:cubicBezTo>
                <a:cubicBezTo>
                  <a:pt x="102" y="10"/>
                  <a:pt x="99" y="11"/>
                  <a:pt x="98" y="12"/>
                </a:cubicBezTo>
                <a:cubicBezTo>
                  <a:pt x="96" y="12"/>
                  <a:pt x="93" y="12"/>
                  <a:pt x="93" y="10"/>
                </a:cubicBezTo>
                <a:cubicBezTo>
                  <a:pt x="92" y="8"/>
                  <a:pt x="91" y="7"/>
                  <a:pt x="90" y="7"/>
                </a:cubicBezTo>
                <a:cubicBezTo>
                  <a:pt x="89" y="7"/>
                  <a:pt x="84" y="5"/>
                  <a:pt x="81" y="6"/>
                </a:cubicBezTo>
                <a:cubicBezTo>
                  <a:pt x="78" y="7"/>
                  <a:pt x="78" y="9"/>
                  <a:pt x="76" y="11"/>
                </a:cubicBezTo>
                <a:cubicBezTo>
                  <a:pt x="74" y="14"/>
                  <a:pt x="75" y="14"/>
                  <a:pt x="73" y="16"/>
                </a:cubicBezTo>
                <a:cubicBezTo>
                  <a:pt x="71" y="18"/>
                  <a:pt x="63" y="19"/>
                  <a:pt x="63" y="19"/>
                </a:cubicBezTo>
                <a:cubicBezTo>
                  <a:pt x="61" y="18"/>
                  <a:pt x="61" y="18"/>
                  <a:pt x="61" y="18"/>
                </a:cubicBezTo>
                <a:cubicBezTo>
                  <a:pt x="61" y="18"/>
                  <a:pt x="57" y="16"/>
                  <a:pt x="55" y="15"/>
                </a:cubicBezTo>
                <a:cubicBezTo>
                  <a:pt x="52" y="14"/>
                  <a:pt x="50" y="13"/>
                  <a:pt x="46" y="7"/>
                </a:cubicBezTo>
                <a:cubicBezTo>
                  <a:pt x="41" y="0"/>
                  <a:pt x="24" y="1"/>
                  <a:pt x="23" y="1"/>
                </a:cubicBezTo>
                <a:cubicBezTo>
                  <a:pt x="21" y="1"/>
                  <a:pt x="10" y="1"/>
                  <a:pt x="7" y="1"/>
                </a:cubicBezTo>
                <a:cubicBezTo>
                  <a:pt x="3" y="1"/>
                  <a:pt x="3" y="4"/>
                  <a:pt x="3" y="5"/>
                </a:cubicBezTo>
                <a:cubicBezTo>
                  <a:pt x="4" y="7"/>
                  <a:pt x="3" y="7"/>
                  <a:pt x="2" y="9"/>
                </a:cubicBezTo>
                <a:cubicBezTo>
                  <a:pt x="2" y="11"/>
                  <a:pt x="3" y="11"/>
                  <a:pt x="4" y="11"/>
                </a:cubicBezTo>
                <a:cubicBezTo>
                  <a:pt x="5" y="11"/>
                  <a:pt x="8" y="14"/>
                  <a:pt x="9" y="17"/>
                </a:cubicBezTo>
                <a:cubicBezTo>
                  <a:pt x="10" y="19"/>
                  <a:pt x="12" y="22"/>
                  <a:pt x="12" y="24"/>
                </a:cubicBezTo>
                <a:cubicBezTo>
                  <a:pt x="12" y="25"/>
                  <a:pt x="12" y="26"/>
                  <a:pt x="14" y="31"/>
                </a:cubicBezTo>
                <a:cubicBezTo>
                  <a:pt x="15" y="35"/>
                  <a:pt x="15" y="37"/>
                  <a:pt x="13" y="38"/>
                </a:cubicBezTo>
                <a:cubicBezTo>
                  <a:pt x="12" y="40"/>
                  <a:pt x="13" y="42"/>
                  <a:pt x="11" y="45"/>
                </a:cubicBezTo>
                <a:cubicBezTo>
                  <a:pt x="10" y="49"/>
                  <a:pt x="6" y="50"/>
                  <a:pt x="4" y="54"/>
                </a:cubicBezTo>
                <a:cubicBezTo>
                  <a:pt x="2" y="57"/>
                  <a:pt x="3" y="61"/>
                  <a:pt x="3" y="61"/>
                </a:cubicBezTo>
                <a:cubicBezTo>
                  <a:pt x="3" y="61"/>
                  <a:pt x="3" y="67"/>
                  <a:pt x="2" y="70"/>
                </a:cubicBezTo>
                <a:cubicBezTo>
                  <a:pt x="2" y="73"/>
                  <a:pt x="2" y="76"/>
                  <a:pt x="2" y="78"/>
                </a:cubicBezTo>
                <a:cubicBezTo>
                  <a:pt x="2" y="80"/>
                  <a:pt x="0" y="87"/>
                  <a:pt x="0" y="88"/>
                </a:cubicBezTo>
                <a:cubicBezTo>
                  <a:pt x="6" y="88"/>
                  <a:pt x="13" y="92"/>
                  <a:pt x="17" y="95"/>
                </a:cubicBezTo>
                <a:cubicBezTo>
                  <a:pt x="22" y="98"/>
                  <a:pt x="36" y="110"/>
                  <a:pt x="38" y="111"/>
                </a:cubicBezTo>
                <a:cubicBezTo>
                  <a:pt x="40" y="113"/>
                  <a:pt x="49" y="119"/>
                  <a:pt x="49" y="120"/>
                </a:cubicBezTo>
                <a:cubicBezTo>
                  <a:pt x="49" y="121"/>
                  <a:pt x="48" y="136"/>
                  <a:pt x="49" y="138"/>
                </a:cubicBezTo>
                <a:cubicBezTo>
                  <a:pt x="49" y="141"/>
                  <a:pt x="56" y="150"/>
                  <a:pt x="61" y="15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2" name="Rep. of the Congo"/>
          <p:cNvSpPr>
            <a:spLocks/>
          </p:cNvSpPr>
          <p:nvPr/>
        </p:nvSpPr>
        <p:spPr bwMode="auto">
          <a:xfrm>
            <a:off x="6488528" y="3936615"/>
            <a:ext cx="238446" cy="307039"/>
          </a:xfrm>
          <a:custGeom>
            <a:avLst/>
            <a:gdLst>
              <a:gd name="T0" fmla="*/ 17 w 116"/>
              <a:gd name="T1" fmla="*/ 138 h 150"/>
              <a:gd name="T2" fmla="*/ 22 w 116"/>
              <a:gd name="T3" fmla="*/ 132 h 150"/>
              <a:gd name="T4" fmla="*/ 27 w 116"/>
              <a:gd name="T5" fmla="*/ 134 h 150"/>
              <a:gd name="T6" fmla="*/ 28 w 116"/>
              <a:gd name="T7" fmla="*/ 135 h 150"/>
              <a:gd name="T8" fmla="*/ 40 w 116"/>
              <a:gd name="T9" fmla="*/ 148 h 150"/>
              <a:gd name="T10" fmla="*/ 49 w 116"/>
              <a:gd name="T11" fmla="*/ 149 h 150"/>
              <a:gd name="T12" fmla="*/ 56 w 116"/>
              <a:gd name="T13" fmla="*/ 145 h 150"/>
              <a:gd name="T14" fmla="*/ 63 w 116"/>
              <a:gd name="T15" fmla="*/ 139 h 150"/>
              <a:gd name="T16" fmla="*/ 71 w 116"/>
              <a:gd name="T17" fmla="*/ 130 h 150"/>
              <a:gd name="T18" fmla="*/ 79 w 116"/>
              <a:gd name="T19" fmla="*/ 116 h 150"/>
              <a:gd name="T20" fmla="*/ 80 w 116"/>
              <a:gd name="T21" fmla="*/ 104 h 150"/>
              <a:gd name="T22" fmla="*/ 87 w 116"/>
              <a:gd name="T23" fmla="*/ 91 h 150"/>
              <a:gd name="T24" fmla="*/ 91 w 116"/>
              <a:gd name="T25" fmla="*/ 80 h 150"/>
              <a:gd name="T26" fmla="*/ 100 w 116"/>
              <a:gd name="T27" fmla="*/ 58 h 150"/>
              <a:gd name="T28" fmla="*/ 109 w 116"/>
              <a:gd name="T29" fmla="*/ 36 h 150"/>
              <a:gd name="T30" fmla="*/ 114 w 116"/>
              <a:gd name="T31" fmla="*/ 12 h 150"/>
              <a:gd name="T32" fmla="*/ 104 w 116"/>
              <a:gd name="T33" fmla="*/ 8 h 150"/>
              <a:gd name="T34" fmla="*/ 87 w 116"/>
              <a:gd name="T35" fmla="*/ 4 h 150"/>
              <a:gd name="T36" fmla="*/ 79 w 116"/>
              <a:gd name="T37" fmla="*/ 1 h 150"/>
              <a:gd name="T38" fmla="*/ 73 w 116"/>
              <a:gd name="T39" fmla="*/ 4 h 150"/>
              <a:gd name="T40" fmla="*/ 70 w 116"/>
              <a:gd name="T41" fmla="*/ 10 h 150"/>
              <a:gd name="T42" fmla="*/ 67 w 116"/>
              <a:gd name="T43" fmla="*/ 20 h 150"/>
              <a:gd name="T44" fmla="*/ 62 w 116"/>
              <a:gd name="T45" fmla="*/ 32 h 150"/>
              <a:gd name="T46" fmla="*/ 51 w 116"/>
              <a:gd name="T47" fmla="*/ 28 h 150"/>
              <a:gd name="T48" fmla="*/ 40 w 116"/>
              <a:gd name="T49" fmla="*/ 26 h 150"/>
              <a:gd name="T50" fmla="*/ 28 w 116"/>
              <a:gd name="T51" fmla="*/ 32 h 150"/>
              <a:gd name="T52" fmla="*/ 41 w 116"/>
              <a:gd name="T53" fmla="*/ 41 h 150"/>
              <a:gd name="T54" fmla="*/ 38 w 116"/>
              <a:gd name="T55" fmla="*/ 53 h 150"/>
              <a:gd name="T56" fmla="*/ 38 w 116"/>
              <a:gd name="T57" fmla="*/ 67 h 150"/>
              <a:gd name="T58" fmla="*/ 40 w 116"/>
              <a:gd name="T59" fmla="*/ 77 h 150"/>
              <a:gd name="T60" fmla="*/ 38 w 116"/>
              <a:gd name="T61" fmla="*/ 95 h 150"/>
              <a:gd name="T62" fmla="*/ 30 w 116"/>
              <a:gd name="T63" fmla="*/ 95 h 150"/>
              <a:gd name="T64" fmla="*/ 19 w 116"/>
              <a:gd name="T65" fmla="*/ 91 h 150"/>
              <a:gd name="T66" fmla="*/ 14 w 116"/>
              <a:gd name="T67" fmla="*/ 98 h 150"/>
              <a:gd name="T68" fmla="*/ 5 w 116"/>
              <a:gd name="T69" fmla="*/ 104 h 150"/>
              <a:gd name="T70" fmla="*/ 6 w 116"/>
              <a:gd name="T71" fmla="*/ 115 h 150"/>
              <a:gd name="T72" fmla="*/ 0 w 116"/>
              <a:gd name="T73" fmla="*/ 125 h 150"/>
              <a:gd name="T74" fmla="*/ 12 w 116"/>
              <a:gd name="T75" fmla="*/ 137 h 150"/>
              <a:gd name="T76" fmla="*/ 13 w 116"/>
              <a:gd name="T77" fmla="*/ 14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150">
                <a:moveTo>
                  <a:pt x="13" y="142"/>
                </a:moveTo>
                <a:cubicBezTo>
                  <a:pt x="13" y="141"/>
                  <a:pt x="17" y="138"/>
                  <a:pt x="17" y="138"/>
                </a:cubicBezTo>
                <a:cubicBezTo>
                  <a:pt x="17" y="138"/>
                  <a:pt x="21" y="134"/>
                  <a:pt x="21" y="133"/>
                </a:cubicBezTo>
                <a:cubicBezTo>
                  <a:pt x="21" y="133"/>
                  <a:pt x="22" y="132"/>
                  <a:pt x="22" y="132"/>
                </a:cubicBezTo>
                <a:cubicBezTo>
                  <a:pt x="23" y="132"/>
                  <a:pt x="24" y="131"/>
                  <a:pt x="25" y="132"/>
                </a:cubicBezTo>
                <a:cubicBezTo>
                  <a:pt x="25" y="132"/>
                  <a:pt x="27" y="133"/>
                  <a:pt x="27" y="134"/>
                </a:cubicBezTo>
                <a:cubicBezTo>
                  <a:pt x="28" y="134"/>
                  <a:pt x="28" y="135"/>
                  <a:pt x="28" y="135"/>
                </a:cubicBezTo>
                <a:cubicBezTo>
                  <a:pt x="28" y="135"/>
                  <a:pt x="28" y="135"/>
                  <a:pt x="28" y="135"/>
                </a:cubicBezTo>
                <a:cubicBezTo>
                  <a:pt x="28" y="135"/>
                  <a:pt x="33" y="139"/>
                  <a:pt x="33" y="141"/>
                </a:cubicBezTo>
                <a:cubicBezTo>
                  <a:pt x="34" y="143"/>
                  <a:pt x="39" y="148"/>
                  <a:pt x="40" y="148"/>
                </a:cubicBezTo>
                <a:cubicBezTo>
                  <a:pt x="42" y="149"/>
                  <a:pt x="45" y="150"/>
                  <a:pt x="45" y="150"/>
                </a:cubicBezTo>
                <a:cubicBezTo>
                  <a:pt x="45" y="150"/>
                  <a:pt x="48" y="150"/>
                  <a:pt x="49" y="149"/>
                </a:cubicBezTo>
                <a:cubicBezTo>
                  <a:pt x="50" y="148"/>
                  <a:pt x="51" y="146"/>
                  <a:pt x="51" y="146"/>
                </a:cubicBezTo>
                <a:cubicBezTo>
                  <a:pt x="51" y="146"/>
                  <a:pt x="54" y="145"/>
                  <a:pt x="56" y="145"/>
                </a:cubicBezTo>
                <a:cubicBezTo>
                  <a:pt x="57" y="145"/>
                  <a:pt x="60" y="142"/>
                  <a:pt x="60" y="142"/>
                </a:cubicBezTo>
                <a:cubicBezTo>
                  <a:pt x="60" y="142"/>
                  <a:pt x="61" y="139"/>
                  <a:pt x="63" y="139"/>
                </a:cubicBezTo>
                <a:cubicBezTo>
                  <a:pt x="65" y="137"/>
                  <a:pt x="67" y="135"/>
                  <a:pt x="67" y="135"/>
                </a:cubicBezTo>
                <a:cubicBezTo>
                  <a:pt x="67" y="135"/>
                  <a:pt x="69" y="130"/>
                  <a:pt x="71" y="130"/>
                </a:cubicBezTo>
                <a:cubicBezTo>
                  <a:pt x="73" y="130"/>
                  <a:pt x="76" y="130"/>
                  <a:pt x="77" y="128"/>
                </a:cubicBezTo>
                <a:cubicBezTo>
                  <a:pt x="77" y="125"/>
                  <a:pt x="79" y="116"/>
                  <a:pt x="79" y="116"/>
                </a:cubicBezTo>
                <a:cubicBezTo>
                  <a:pt x="79" y="116"/>
                  <a:pt x="79" y="113"/>
                  <a:pt x="80" y="110"/>
                </a:cubicBezTo>
                <a:cubicBezTo>
                  <a:pt x="82" y="108"/>
                  <a:pt x="80" y="104"/>
                  <a:pt x="80" y="104"/>
                </a:cubicBezTo>
                <a:cubicBezTo>
                  <a:pt x="81" y="100"/>
                  <a:pt x="81" y="100"/>
                  <a:pt x="81" y="100"/>
                </a:cubicBezTo>
                <a:cubicBezTo>
                  <a:pt x="81" y="100"/>
                  <a:pt x="87" y="93"/>
                  <a:pt x="87" y="91"/>
                </a:cubicBezTo>
                <a:cubicBezTo>
                  <a:pt x="87" y="88"/>
                  <a:pt x="90" y="87"/>
                  <a:pt x="90" y="87"/>
                </a:cubicBezTo>
                <a:cubicBezTo>
                  <a:pt x="90" y="87"/>
                  <a:pt x="90" y="84"/>
                  <a:pt x="91" y="80"/>
                </a:cubicBezTo>
                <a:cubicBezTo>
                  <a:pt x="91" y="76"/>
                  <a:pt x="92" y="69"/>
                  <a:pt x="95" y="68"/>
                </a:cubicBezTo>
                <a:cubicBezTo>
                  <a:pt x="98" y="67"/>
                  <a:pt x="100" y="58"/>
                  <a:pt x="100" y="58"/>
                </a:cubicBezTo>
                <a:cubicBezTo>
                  <a:pt x="100" y="58"/>
                  <a:pt x="102" y="51"/>
                  <a:pt x="104" y="51"/>
                </a:cubicBezTo>
                <a:cubicBezTo>
                  <a:pt x="106" y="51"/>
                  <a:pt x="108" y="41"/>
                  <a:pt x="109" y="36"/>
                </a:cubicBezTo>
                <a:cubicBezTo>
                  <a:pt x="110" y="31"/>
                  <a:pt x="112" y="26"/>
                  <a:pt x="114" y="24"/>
                </a:cubicBezTo>
                <a:cubicBezTo>
                  <a:pt x="116" y="22"/>
                  <a:pt x="114" y="12"/>
                  <a:pt x="114" y="12"/>
                </a:cubicBezTo>
                <a:cubicBezTo>
                  <a:pt x="110" y="12"/>
                  <a:pt x="109" y="10"/>
                  <a:pt x="109" y="10"/>
                </a:cubicBezTo>
                <a:cubicBezTo>
                  <a:pt x="109" y="10"/>
                  <a:pt x="107" y="8"/>
                  <a:pt x="104" y="8"/>
                </a:cubicBezTo>
                <a:cubicBezTo>
                  <a:pt x="100" y="9"/>
                  <a:pt x="98" y="6"/>
                  <a:pt x="97" y="5"/>
                </a:cubicBezTo>
                <a:cubicBezTo>
                  <a:pt x="96" y="4"/>
                  <a:pt x="91" y="3"/>
                  <a:pt x="87" y="4"/>
                </a:cubicBezTo>
                <a:cubicBezTo>
                  <a:pt x="83" y="4"/>
                  <a:pt x="82" y="0"/>
                  <a:pt x="82" y="0"/>
                </a:cubicBezTo>
                <a:cubicBezTo>
                  <a:pt x="79" y="1"/>
                  <a:pt x="79" y="1"/>
                  <a:pt x="79" y="1"/>
                </a:cubicBezTo>
                <a:cubicBezTo>
                  <a:pt x="75" y="4"/>
                  <a:pt x="75" y="4"/>
                  <a:pt x="75" y="4"/>
                </a:cubicBezTo>
                <a:cubicBezTo>
                  <a:pt x="73" y="4"/>
                  <a:pt x="73" y="4"/>
                  <a:pt x="73" y="4"/>
                </a:cubicBezTo>
                <a:cubicBezTo>
                  <a:pt x="73" y="4"/>
                  <a:pt x="71" y="4"/>
                  <a:pt x="70" y="6"/>
                </a:cubicBezTo>
                <a:cubicBezTo>
                  <a:pt x="69" y="9"/>
                  <a:pt x="70" y="10"/>
                  <a:pt x="70" y="10"/>
                </a:cubicBezTo>
                <a:cubicBezTo>
                  <a:pt x="70" y="10"/>
                  <a:pt x="68" y="12"/>
                  <a:pt x="70" y="15"/>
                </a:cubicBezTo>
                <a:cubicBezTo>
                  <a:pt x="71" y="17"/>
                  <a:pt x="69" y="20"/>
                  <a:pt x="67" y="20"/>
                </a:cubicBezTo>
                <a:cubicBezTo>
                  <a:pt x="65" y="20"/>
                  <a:pt x="64" y="23"/>
                  <a:pt x="64" y="25"/>
                </a:cubicBezTo>
                <a:cubicBezTo>
                  <a:pt x="64" y="27"/>
                  <a:pt x="63" y="29"/>
                  <a:pt x="62" y="32"/>
                </a:cubicBezTo>
                <a:cubicBezTo>
                  <a:pt x="61" y="35"/>
                  <a:pt x="58" y="32"/>
                  <a:pt x="57" y="30"/>
                </a:cubicBezTo>
                <a:cubicBezTo>
                  <a:pt x="56" y="29"/>
                  <a:pt x="51" y="29"/>
                  <a:pt x="51" y="28"/>
                </a:cubicBezTo>
                <a:cubicBezTo>
                  <a:pt x="51" y="27"/>
                  <a:pt x="50" y="28"/>
                  <a:pt x="48" y="26"/>
                </a:cubicBezTo>
                <a:cubicBezTo>
                  <a:pt x="46" y="24"/>
                  <a:pt x="40" y="26"/>
                  <a:pt x="40" y="26"/>
                </a:cubicBezTo>
                <a:cubicBezTo>
                  <a:pt x="30" y="27"/>
                  <a:pt x="30" y="27"/>
                  <a:pt x="30" y="27"/>
                </a:cubicBezTo>
                <a:cubicBezTo>
                  <a:pt x="30" y="27"/>
                  <a:pt x="29" y="28"/>
                  <a:pt x="28" y="32"/>
                </a:cubicBezTo>
                <a:cubicBezTo>
                  <a:pt x="26" y="36"/>
                  <a:pt x="26" y="38"/>
                  <a:pt x="28" y="40"/>
                </a:cubicBezTo>
                <a:cubicBezTo>
                  <a:pt x="30" y="42"/>
                  <a:pt x="41" y="41"/>
                  <a:pt x="41" y="41"/>
                </a:cubicBezTo>
                <a:cubicBezTo>
                  <a:pt x="41" y="41"/>
                  <a:pt x="43" y="43"/>
                  <a:pt x="43" y="46"/>
                </a:cubicBezTo>
                <a:cubicBezTo>
                  <a:pt x="44" y="49"/>
                  <a:pt x="40" y="51"/>
                  <a:pt x="38" y="53"/>
                </a:cubicBezTo>
                <a:cubicBezTo>
                  <a:pt x="35" y="56"/>
                  <a:pt x="35" y="67"/>
                  <a:pt x="35" y="67"/>
                </a:cubicBezTo>
                <a:cubicBezTo>
                  <a:pt x="35" y="67"/>
                  <a:pt x="35" y="67"/>
                  <a:pt x="38" y="67"/>
                </a:cubicBezTo>
                <a:cubicBezTo>
                  <a:pt x="40" y="67"/>
                  <a:pt x="42" y="70"/>
                  <a:pt x="42" y="70"/>
                </a:cubicBezTo>
                <a:cubicBezTo>
                  <a:pt x="42" y="70"/>
                  <a:pt x="41" y="74"/>
                  <a:pt x="40" y="77"/>
                </a:cubicBezTo>
                <a:cubicBezTo>
                  <a:pt x="38" y="79"/>
                  <a:pt x="38" y="82"/>
                  <a:pt x="39" y="86"/>
                </a:cubicBezTo>
                <a:cubicBezTo>
                  <a:pt x="40" y="89"/>
                  <a:pt x="38" y="93"/>
                  <a:pt x="38" y="95"/>
                </a:cubicBezTo>
                <a:cubicBezTo>
                  <a:pt x="37" y="96"/>
                  <a:pt x="36" y="99"/>
                  <a:pt x="34" y="97"/>
                </a:cubicBezTo>
                <a:cubicBezTo>
                  <a:pt x="32" y="95"/>
                  <a:pt x="30" y="95"/>
                  <a:pt x="30" y="95"/>
                </a:cubicBezTo>
                <a:cubicBezTo>
                  <a:pt x="30" y="95"/>
                  <a:pt x="25" y="98"/>
                  <a:pt x="22" y="97"/>
                </a:cubicBezTo>
                <a:cubicBezTo>
                  <a:pt x="20" y="95"/>
                  <a:pt x="22" y="92"/>
                  <a:pt x="19" y="91"/>
                </a:cubicBezTo>
                <a:cubicBezTo>
                  <a:pt x="15" y="91"/>
                  <a:pt x="16" y="93"/>
                  <a:pt x="16" y="94"/>
                </a:cubicBezTo>
                <a:cubicBezTo>
                  <a:pt x="16" y="95"/>
                  <a:pt x="16" y="98"/>
                  <a:pt x="14" y="98"/>
                </a:cubicBezTo>
                <a:cubicBezTo>
                  <a:pt x="13" y="97"/>
                  <a:pt x="7" y="98"/>
                  <a:pt x="4" y="99"/>
                </a:cubicBezTo>
                <a:cubicBezTo>
                  <a:pt x="2" y="99"/>
                  <a:pt x="2" y="102"/>
                  <a:pt x="5" y="104"/>
                </a:cubicBezTo>
                <a:cubicBezTo>
                  <a:pt x="9" y="106"/>
                  <a:pt x="11" y="110"/>
                  <a:pt x="11" y="112"/>
                </a:cubicBezTo>
                <a:cubicBezTo>
                  <a:pt x="10" y="115"/>
                  <a:pt x="8" y="116"/>
                  <a:pt x="6" y="115"/>
                </a:cubicBezTo>
                <a:cubicBezTo>
                  <a:pt x="5" y="115"/>
                  <a:pt x="3" y="117"/>
                  <a:pt x="3" y="118"/>
                </a:cubicBezTo>
                <a:cubicBezTo>
                  <a:pt x="3" y="119"/>
                  <a:pt x="0" y="125"/>
                  <a:pt x="0" y="125"/>
                </a:cubicBezTo>
                <a:cubicBezTo>
                  <a:pt x="1" y="127"/>
                  <a:pt x="3" y="129"/>
                  <a:pt x="5" y="131"/>
                </a:cubicBezTo>
                <a:cubicBezTo>
                  <a:pt x="5" y="131"/>
                  <a:pt x="11" y="136"/>
                  <a:pt x="12" y="137"/>
                </a:cubicBezTo>
                <a:cubicBezTo>
                  <a:pt x="12" y="139"/>
                  <a:pt x="12" y="141"/>
                  <a:pt x="13" y="141"/>
                </a:cubicBezTo>
                <a:cubicBezTo>
                  <a:pt x="13" y="141"/>
                  <a:pt x="13" y="141"/>
                  <a:pt x="13" y="142"/>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3" name="Gabon"/>
          <p:cNvSpPr>
            <a:spLocks/>
          </p:cNvSpPr>
          <p:nvPr/>
        </p:nvSpPr>
        <p:spPr bwMode="auto">
          <a:xfrm>
            <a:off x="6436267" y="3988877"/>
            <a:ext cx="143721" cy="204148"/>
          </a:xfrm>
          <a:custGeom>
            <a:avLst/>
            <a:gdLst>
              <a:gd name="T0" fmla="*/ 26 w 70"/>
              <a:gd name="T1" fmla="*/ 99 h 99"/>
              <a:gd name="T2" fmla="*/ 29 w 70"/>
              <a:gd name="T3" fmla="*/ 92 h 99"/>
              <a:gd name="T4" fmla="*/ 32 w 70"/>
              <a:gd name="T5" fmla="*/ 89 h 99"/>
              <a:gd name="T6" fmla="*/ 37 w 70"/>
              <a:gd name="T7" fmla="*/ 86 h 99"/>
              <a:gd name="T8" fmla="*/ 31 w 70"/>
              <a:gd name="T9" fmla="*/ 78 h 99"/>
              <a:gd name="T10" fmla="*/ 30 w 70"/>
              <a:gd name="T11" fmla="*/ 73 h 99"/>
              <a:gd name="T12" fmla="*/ 40 w 70"/>
              <a:gd name="T13" fmla="*/ 72 h 99"/>
              <a:gd name="T14" fmla="*/ 42 w 70"/>
              <a:gd name="T15" fmla="*/ 68 h 99"/>
              <a:gd name="T16" fmla="*/ 45 w 70"/>
              <a:gd name="T17" fmla="*/ 65 h 99"/>
              <a:gd name="T18" fmla="*/ 48 w 70"/>
              <a:gd name="T19" fmla="*/ 71 h 99"/>
              <a:gd name="T20" fmla="*/ 56 w 70"/>
              <a:gd name="T21" fmla="*/ 69 h 99"/>
              <a:gd name="T22" fmla="*/ 60 w 70"/>
              <a:gd name="T23" fmla="*/ 71 h 99"/>
              <a:gd name="T24" fmla="*/ 64 w 70"/>
              <a:gd name="T25" fmla="*/ 69 h 99"/>
              <a:gd name="T26" fmla="*/ 65 w 70"/>
              <a:gd name="T27" fmla="*/ 60 h 99"/>
              <a:gd name="T28" fmla="*/ 66 w 70"/>
              <a:gd name="T29" fmla="*/ 51 h 99"/>
              <a:gd name="T30" fmla="*/ 68 w 70"/>
              <a:gd name="T31" fmla="*/ 44 h 99"/>
              <a:gd name="T32" fmla="*/ 64 w 70"/>
              <a:gd name="T33" fmla="*/ 41 h 99"/>
              <a:gd name="T34" fmla="*/ 61 w 70"/>
              <a:gd name="T35" fmla="*/ 41 h 99"/>
              <a:gd name="T36" fmla="*/ 64 w 70"/>
              <a:gd name="T37" fmla="*/ 27 h 99"/>
              <a:gd name="T38" fmla="*/ 69 w 70"/>
              <a:gd name="T39" fmla="*/ 20 h 99"/>
              <a:gd name="T40" fmla="*/ 67 w 70"/>
              <a:gd name="T41" fmla="*/ 15 h 99"/>
              <a:gd name="T42" fmla="*/ 54 w 70"/>
              <a:gd name="T43" fmla="*/ 14 h 99"/>
              <a:gd name="T44" fmla="*/ 54 w 70"/>
              <a:gd name="T45" fmla="*/ 6 h 99"/>
              <a:gd name="T46" fmla="*/ 56 w 70"/>
              <a:gd name="T47" fmla="*/ 1 h 99"/>
              <a:gd name="T48" fmla="*/ 44 w 70"/>
              <a:gd name="T49" fmla="*/ 1 h 99"/>
              <a:gd name="T50" fmla="*/ 34 w 70"/>
              <a:gd name="T51" fmla="*/ 0 h 99"/>
              <a:gd name="T52" fmla="*/ 28 w 70"/>
              <a:gd name="T53" fmla="*/ 2 h 99"/>
              <a:gd name="T54" fmla="*/ 29 w 70"/>
              <a:gd name="T55" fmla="*/ 9 h 99"/>
              <a:gd name="T56" fmla="*/ 28 w 70"/>
              <a:gd name="T57" fmla="*/ 18 h 99"/>
              <a:gd name="T58" fmla="*/ 18 w 70"/>
              <a:gd name="T59" fmla="*/ 19 h 99"/>
              <a:gd name="T60" fmla="*/ 9 w 70"/>
              <a:gd name="T61" fmla="*/ 19 h 99"/>
              <a:gd name="T62" fmla="*/ 9 w 70"/>
              <a:gd name="T63" fmla="*/ 22 h 99"/>
              <a:gd name="T64" fmla="*/ 10 w 70"/>
              <a:gd name="T65" fmla="*/ 31 h 99"/>
              <a:gd name="T66" fmla="*/ 7 w 70"/>
              <a:gd name="T67" fmla="*/ 36 h 99"/>
              <a:gd name="T68" fmla="*/ 6 w 70"/>
              <a:gd name="T69" fmla="*/ 38 h 99"/>
              <a:gd name="T70" fmla="*/ 5 w 70"/>
              <a:gd name="T71" fmla="*/ 43 h 99"/>
              <a:gd name="T72" fmla="*/ 5 w 70"/>
              <a:gd name="T73" fmla="*/ 47 h 99"/>
              <a:gd name="T74" fmla="*/ 3 w 70"/>
              <a:gd name="T75" fmla="*/ 52 h 99"/>
              <a:gd name="T76" fmla="*/ 1 w 70"/>
              <a:gd name="T77" fmla="*/ 58 h 99"/>
              <a:gd name="T78" fmla="*/ 5 w 70"/>
              <a:gd name="T79" fmla="*/ 66 h 99"/>
              <a:gd name="T80" fmla="*/ 7 w 70"/>
              <a:gd name="T81" fmla="*/ 67 h 99"/>
              <a:gd name="T82" fmla="*/ 7 w 70"/>
              <a:gd name="T83" fmla="*/ 69 h 99"/>
              <a:gd name="T84" fmla="*/ 7 w 70"/>
              <a:gd name="T85" fmla="*/ 72 h 99"/>
              <a:gd name="T86" fmla="*/ 8 w 70"/>
              <a:gd name="T87" fmla="*/ 73 h 99"/>
              <a:gd name="T88" fmla="*/ 7 w 70"/>
              <a:gd name="T89" fmla="*/ 76 h 99"/>
              <a:gd name="T90" fmla="*/ 11 w 70"/>
              <a:gd name="T91" fmla="*/ 78 h 99"/>
              <a:gd name="T92" fmla="*/ 13 w 70"/>
              <a:gd name="T93" fmla="*/ 79 h 99"/>
              <a:gd name="T94" fmla="*/ 12 w 70"/>
              <a:gd name="T95" fmla="*/ 82 h 99"/>
              <a:gd name="T96" fmla="*/ 16 w 70"/>
              <a:gd name="T97" fmla="*/ 84 h 99"/>
              <a:gd name="T98" fmla="*/ 21 w 70"/>
              <a:gd name="T99" fmla="*/ 93 h 99"/>
              <a:gd name="T100" fmla="*/ 26 w 70"/>
              <a:gd name="T10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 h="99">
                <a:moveTo>
                  <a:pt x="26" y="99"/>
                </a:moveTo>
                <a:cubicBezTo>
                  <a:pt x="26" y="99"/>
                  <a:pt x="29" y="93"/>
                  <a:pt x="29" y="92"/>
                </a:cubicBezTo>
                <a:cubicBezTo>
                  <a:pt x="29" y="91"/>
                  <a:pt x="31" y="89"/>
                  <a:pt x="32" y="89"/>
                </a:cubicBezTo>
                <a:cubicBezTo>
                  <a:pt x="34" y="90"/>
                  <a:pt x="36" y="89"/>
                  <a:pt x="37" y="86"/>
                </a:cubicBezTo>
                <a:cubicBezTo>
                  <a:pt x="37" y="84"/>
                  <a:pt x="35" y="80"/>
                  <a:pt x="31" y="78"/>
                </a:cubicBezTo>
                <a:cubicBezTo>
                  <a:pt x="28" y="76"/>
                  <a:pt x="28" y="73"/>
                  <a:pt x="30" y="73"/>
                </a:cubicBezTo>
                <a:cubicBezTo>
                  <a:pt x="33" y="72"/>
                  <a:pt x="39" y="71"/>
                  <a:pt x="40" y="72"/>
                </a:cubicBezTo>
                <a:cubicBezTo>
                  <a:pt x="42" y="72"/>
                  <a:pt x="42" y="69"/>
                  <a:pt x="42" y="68"/>
                </a:cubicBezTo>
                <a:cubicBezTo>
                  <a:pt x="42" y="67"/>
                  <a:pt x="41" y="65"/>
                  <a:pt x="45" y="65"/>
                </a:cubicBezTo>
                <a:cubicBezTo>
                  <a:pt x="48" y="66"/>
                  <a:pt x="46" y="69"/>
                  <a:pt x="48" y="71"/>
                </a:cubicBezTo>
                <a:cubicBezTo>
                  <a:pt x="51" y="72"/>
                  <a:pt x="56" y="69"/>
                  <a:pt x="56" y="69"/>
                </a:cubicBezTo>
                <a:cubicBezTo>
                  <a:pt x="56" y="69"/>
                  <a:pt x="58" y="69"/>
                  <a:pt x="60" y="71"/>
                </a:cubicBezTo>
                <a:cubicBezTo>
                  <a:pt x="62" y="73"/>
                  <a:pt x="63" y="70"/>
                  <a:pt x="64" y="69"/>
                </a:cubicBezTo>
                <a:cubicBezTo>
                  <a:pt x="64" y="67"/>
                  <a:pt x="66" y="63"/>
                  <a:pt x="65" y="60"/>
                </a:cubicBezTo>
                <a:cubicBezTo>
                  <a:pt x="64" y="56"/>
                  <a:pt x="64" y="53"/>
                  <a:pt x="66" y="51"/>
                </a:cubicBezTo>
                <a:cubicBezTo>
                  <a:pt x="67" y="48"/>
                  <a:pt x="68" y="44"/>
                  <a:pt x="68" y="44"/>
                </a:cubicBezTo>
                <a:cubicBezTo>
                  <a:pt x="68" y="44"/>
                  <a:pt x="66" y="41"/>
                  <a:pt x="64" y="41"/>
                </a:cubicBezTo>
                <a:cubicBezTo>
                  <a:pt x="61" y="41"/>
                  <a:pt x="61" y="41"/>
                  <a:pt x="61" y="41"/>
                </a:cubicBezTo>
                <a:cubicBezTo>
                  <a:pt x="61" y="41"/>
                  <a:pt x="61" y="30"/>
                  <a:pt x="64" y="27"/>
                </a:cubicBezTo>
                <a:cubicBezTo>
                  <a:pt x="66" y="25"/>
                  <a:pt x="70" y="23"/>
                  <a:pt x="69" y="20"/>
                </a:cubicBezTo>
                <a:cubicBezTo>
                  <a:pt x="69" y="17"/>
                  <a:pt x="67" y="15"/>
                  <a:pt x="67" y="15"/>
                </a:cubicBezTo>
                <a:cubicBezTo>
                  <a:pt x="67" y="15"/>
                  <a:pt x="56" y="16"/>
                  <a:pt x="54" y="14"/>
                </a:cubicBezTo>
                <a:cubicBezTo>
                  <a:pt x="52" y="12"/>
                  <a:pt x="52" y="10"/>
                  <a:pt x="54" y="6"/>
                </a:cubicBezTo>
                <a:cubicBezTo>
                  <a:pt x="55" y="2"/>
                  <a:pt x="56" y="1"/>
                  <a:pt x="56" y="1"/>
                </a:cubicBezTo>
                <a:cubicBezTo>
                  <a:pt x="55" y="0"/>
                  <a:pt x="49" y="1"/>
                  <a:pt x="44" y="1"/>
                </a:cubicBezTo>
                <a:cubicBezTo>
                  <a:pt x="40" y="2"/>
                  <a:pt x="35" y="1"/>
                  <a:pt x="34" y="0"/>
                </a:cubicBezTo>
                <a:cubicBezTo>
                  <a:pt x="32" y="0"/>
                  <a:pt x="30" y="1"/>
                  <a:pt x="28" y="2"/>
                </a:cubicBezTo>
                <a:cubicBezTo>
                  <a:pt x="29" y="2"/>
                  <a:pt x="29" y="7"/>
                  <a:pt x="29" y="9"/>
                </a:cubicBezTo>
                <a:cubicBezTo>
                  <a:pt x="29" y="12"/>
                  <a:pt x="29" y="16"/>
                  <a:pt x="28" y="18"/>
                </a:cubicBezTo>
                <a:cubicBezTo>
                  <a:pt x="27" y="20"/>
                  <a:pt x="21" y="19"/>
                  <a:pt x="18" y="19"/>
                </a:cubicBezTo>
                <a:cubicBezTo>
                  <a:pt x="14" y="18"/>
                  <a:pt x="9" y="19"/>
                  <a:pt x="9" y="19"/>
                </a:cubicBezTo>
                <a:cubicBezTo>
                  <a:pt x="9" y="21"/>
                  <a:pt x="8" y="22"/>
                  <a:pt x="9" y="22"/>
                </a:cubicBezTo>
                <a:cubicBezTo>
                  <a:pt x="9" y="24"/>
                  <a:pt x="10" y="27"/>
                  <a:pt x="10" y="31"/>
                </a:cubicBezTo>
                <a:cubicBezTo>
                  <a:pt x="9" y="35"/>
                  <a:pt x="7" y="36"/>
                  <a:pt x="7" y="36"/>
                </a:cubicBezTo>
                <a:cubicBezTo>
                  <a:pt x="7" y="36"/>
                  <a:pt x="6" y="37"/>
                  <a:pt x="6" y="38"/>
                </a:cubicBezTo>
                <a:cubicBezTo>
                  <a:pt x="6" y="40"/>
                  <a:pt x="5" y="43"/>
                  <a:pt x="5" y="43"/>
                </a:cubicBezTo>
                <a:cubicBezTo>
                  <a:pt x="5" y="43"/>
                  <a:pt x="5" y="46"/>
                  <a:pt x="5" y="47"/>
                </a:cubicBezTo>
                <a:cubicBezTo>
                  <a:pt x="4" y="48"/>
                  <a:pt x="5" y="50"/>
                  <a:pt x="3" y="52"/>
                </a:cubicBezTo>
                <a:cubicBezTo>
                  <a:pt x="2" y="54"/>
                  <a:pt x="0" y="55"/>
                  <a:pt x="1" y="58"/>
                </a:cubicBezTo>
                <a:cubicBezTo>
                  <a:pt x="1" y="61"/>
                  <a:pt x="3" y="65"/>
                  <a:pt x="5" y="66"/>
                </a:cubicBezTo>
                <a:cubicBezTo>
                  <a:pt x="7" y="67"/>
                  <a:pt x="7" y="65"/>
                  <a:pt x="7" y="67"/>
                </a:cubicBezTo>
                <a:cubicBezTo>
                  <a:pt x="8" y="68"/>
                  <a:pt x="7" y="69"/>
                  <a:pt x="7" y="69"/>
                </a:cubicBezTo>
                <a:cubicBezTo>
                  <a:pt x="7" y="69"/>
                  <a:pt x="5" y="71"/>
                  <a:pt x="7" y="72"/>
                </a:cubicBezTo>
                <a:cubicBezTo>
                  <a:pt x="8" y="72"/>
                  <a:pt x="9" y="72"/>
                  <a:pt x="8" y="73"/>
                </a:cubicBezTo>
                <a:cubicBezTo>
                  <a:pt x="6" y="74"/>
                  <a:pt x="7" y="75"/>
                  <a:pt x="7" y="76"/>
                </a:cubicBezTo>
                <a:cubicBezTo>
                  <a:pt x="8" y="76"/>
                  <a:pt x="10" y="78"/>
                  <a:pt x="11" y="78"/>
                </a:cubicBezTo>
                <a:cubicBezTo>
                  <a:pt x="12" y="78"/>
                  <a:pt x="13" y="78"/>
                  <a:pt x="13" y="79"/>
                </a:cubicBezTo>
                <a:cubicBezTo>
                  <a:pt x="12" y="80"/>
                  <a:pt x="11" y="82"/>
                  <a:pt x="12" y="82"/>
                </a:cubicBezTo>
                <a:cubicBezTo>
                  <a:pt x="14" y="83"/>
                  <a:pt x="15" y="82"/>
                  <a:pt x="16" y="84"/>
                </a:cubicBezTo>
                <a:cubicBezTo>
                  <a:pt x="18" y="86"/>
                  <a:pt x="20" y="90"/>
                  <a:pt x="21" y="93"/>
                </a:cubicBezTo>
                <a:cubicBezTo>
                  <a:pt x="22" y="94"/>
                  <a:pt x="24" y="97"/>
                  <a:pt x="26" y="9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4" name="Equatorial Guinea"/>
          <p:cNvSpPr>
            <a:spLocks/>
          </p:cNvSpPr>
          <p:nvPr/>
        </p:nvSpPr>
        <p:spPr bwMode="auto">
          <a:xfrm>
            <a:off x="6412440" y="3957032"/>
            <a:ext cx="82621" cy="71181"/>
          </a:xfrm>
          <a:custGeom>
            <a:avLst/>
            <a:gdLst>
              <a:gd name="connsiteX0" fmla="*/ 62451 w 80310"/>
              <a:gd name="connsiteY0" fmla="*/ 35719 h 69189"/>
              <a:gd name="connsiteX1" fmla="*/ 78326 w 80310"/>
              <a:gd name="connsiteY1" fmla="*/ 35719 h 69189"/>
              <a:gd name="connsiteX2" fmla="*/ 80310 w 80310"/>
              <a:gd name="connsiteY2" fmla="*/ 49301 h 69189"/>
              <a:gd name="connsiteX3" fmla="*/ 78326 w 80310"/>
              <a:gd name="connsiteY3" fmla="*/ 66764 h 69189"/>
              <a:gd name="connsiteX4" fmla="*/ 58482 w 80310"/>
              <a:gd name="connsiteY4" fmla="*/ 68704 h 69189"/>
              <a:gd name="connsiteX5" fmla="*/ 40622 w 80310"/>
              <a:gd name="connsiteY5" fmla="*/ 68704 h 69189"/>
              <a:gd name="connsiteX6" fmla="*/ 42607 w 80310"/>
              <a:gd name="connsiteY6" fmla="*/ 60943 h 69189"/>
              <a:gd name="connsiteX7" fmla="*/ 46575 w 80310"/>
              <a:gd name="connsiteY7" fmla="*/ 41540 h 69189"/>
              <a:gd name="connsiteX8" fmla="*/ 46575 w 80310"/>
              <a:gd name="connsiteY8" fmla="*/ 37660 h 69189"/>
              <a:gd name="connsiteX9" fmla="*/ 62451 w 80310"/>
              <a:gd name="connsiteY9" fmla="*/ 35719 h 69189"/>
              <a:gd name="connsiteX10" fmla="*/ 3156 w 80310"/>
              <a:gd name="connsiteY10" fmla="*/ 0 h 69189"/>
              <a:gd name="connsiteX11" fmla="*/ 8871 w 80310"/>
              <a:gd name="connsiteY11" fmla="*/ 2116 h 69189"/>
              <a:gd name="connsiteX12" fmla="*/ 5061 w 80310"/>
              <a:gd name="connsiteY12" fmla="*/ 12700 h 69189"/>
              <a:gd name="connsiteX13" fmla="*/ 1251 w 80310"/>
              <a:gd name="connsiteY13" fmla="*/ 10583 h 69189"/>
              <a:gd name="connsiteX14" fmla="*/ 3156 w 80310"/>
              <a:gd name="connsiteY14" fmla="*/ 0 h 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310" h="69189">
                <a:moveTo>
                  <a:pt x="62451" y="35719"/>
                </a:moveTo>
                <a:cubicBezTo>
                  <a:pt x="66419" y="37660"/>
                  <a:pt x="74357" y="37660"/>
                  <a:pt x="78326" y="35719"/>
                </a:cubicBezTo>
                <a:cubicBezTo>
                  <a:pt x="80310" y="35719"/>
                  <a:pt x="80310" y="45421"/>
                  <a:pt x="80310" y="49301"/>
                </a:cubicBezTo>
                <a:cubicBezTo>
                  <a:pt x="80310" y="55122"/>
                  <a:pt x="80310" y="62883"/>
                  <a:pt x="78326" y="66764"/>
                </a:cubicBezTo>
                <a:cubicBezTo>
                  <a:pt x="76341" y="70644"/>
                  <a:pt x="64435" y="68704"/>
                  <a:pt x="58482" y="68704"/>
                </a:cubicBezTo>
                <a:cubicBezTo>
                  <a:pt x="50544" y="66764"/>
                  <a:pt x="40622" y="68704"/>
                  <a:pt x="40622" y="68704"/>
                </a:cubicBezTo>
                <a:cubicBezTo>
                  <a:pt x="40622" y="66764"/>
                  <a:pt x="42607" y="62883"/>
                  <a:pt x="42607" y="60943"/>
                </a:cubicBezTo>
                <a:cubicBezTo>
                  <a:pt x="44591" y="57062"/>
                  <a:pt x="44591" y="45421"/>
                  <a:pt x="46575" y="41540"/>
                </a:cubicBezTo>
                <a:cubicBezTo>
                  <a:pt x="46575" y="41540"/>
                  <a:pt x="46575" y="39600"/>
                  <a:pt x="46575" y="37660"/>
                </a:cubicBezTo>
                <a:cubicBezTo>
                  <a:pt x="46575" y="37660"/>
                  <a:pt x="58482" y="35719"/>
                  <a:pt x="62451" y="35719"/>
                </a:cubicBezTo>
                <a:close/>
                <a:moveTo>
                  <a:pt x="3156" y="0"/>
                </a:moveTo>
                <a:cubicBezTo>
                  <a:pt x="5061" y="0"/>
                  <a:pt x="6966" y="0"/>
                  <a:pt x="8871" y="2116"/>
                </a:cubicBezTo>
                <a:cubicBezTo>
                  <a:pt x="8871" y="4233"/>
                  <a:pt x="6966" y="10583"/>
                  <a:pt x="5061" y="12700"/>
                </a:cubicBezTo>
                <a:cubicBezTo>
                  <a:pt x="3156" y="12700"/>
                  <a:pt x="1251" y="12700"/>
                  <a:pt x="1251" y="10583"/>
                </a:cubicBezTo>
                <a:cubicBezTo>
                  <a:pt x="-654" y="6350"/>
                  <a:pt x="-654" y="2116"/>
                  <a:pt x="3156" y="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5" name="Sao Tome and Principe"/>
          <p:cNvSpPr>
            <a:spLocks/>
          </p:cNvSpPr>
          <p:nvPr/>
        </p:nvSpPr>
        <p:spPr bwMode="auto">
          <a:xfrm>
            <a:off x="6367672" y="4012283"/>
            <a:ext cx="35113" cy="28038"/>
          </a:xfrm>
          <a:custGeom>
            <a:avLst/>
            <a:gdLst>
              <a:gd name="connsiteX0" fmla="*/ 3969 w 34130"/>
              <a:gd name="connsiteY0" fmla="*/ 23021 h 27254"/>
              <a:gd name="connsiteX1" fmla="*/ 7938 w 34130"/>
              <a:gd name="connsiteY1" fmla="*/ 23021 h 27254"/>
              <a:gd name="connsiteX2" fmla="*/ 7938 w 34130"/>
              <a:gd name="connsiteY2" fmla="*/ 25138 h 27254"/>
              <a:gd name="connsiteX3" fmla="*/ 5954 w 34130"/>
              <a:gd name="connsiteY3" fmla="*/ 27254 h 27254"/>
              <a:gd name="connsiteX4" fmla="*/ 1985 w 34130"/>
              <a:gd name="connsiteY4" fmla="*/ 27254 h 27254"/>
              <a:gd name="connsiteX5" fmla="*/ 0 w 34130"/>
              <a:gd name="connsiteY5" fmla="*/ 25138 h 27254"/>
              <a:gd name="connsiteX6" fmla="*/ 3969 w 34130"/>
              <a:gd name="connsiteY6" fmla="*/ 23021 h 27254"/>
              <a:gd name="connsiteX7" fmla="*/ 30161 w 34130"/>
              <a:gd name="connsiteY7" fmla="*/ 1587 h 27254"/>
              <a:gd name="connsiteX8" fmla="*/ 34130 w 34130"/>
              <a:gd name="connsiteY8" fmla="*/ 1587 h 27254"/>
              <a:gd name="connsiteX9" fmla="*/ 34130 w 34130"/>
              <a:gd name="connsiteY9" fmla="*/ 3704 h 27254"/>
              <a:gd name="connsiteX10" fmla="*/ 32146 w 34130"/>
              <a:gd name="connsiteY10" fmla="*/ 5821 h 27254"/>
              <a:gd name="connsiteX11" fmla="*/ 28177 w 34130"/>
              <a:gd name="connsiteY11" fmla="*/ 5821 h 27254"/>
              <a:gd name="connsiteX12" fmla="*/ 26192 w 34130"/>
              <a:gd name="connsiteY12" fmla="*/ 3704 h 27254"/>
              <a:gd name="connsiteX13" fmla="*/ 30161 w 34130"/>
              <a:gd name="connsiteY13" fmla="*/ 1587 h 2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30" h="27254">
                <a:moveTo>
                  <a:pt x="3969" y="23021"/>
                </a:moveTo>
                <a:cubicBezTo>
                  <a:pt x="5954" y="20904"/>
                  <a:pt x="5954" y="20904"/>
                  <a:pt x="7938" y="23021"/>
                </a:cubicBezTo>
                <a:cubicBezTo>
                  <a:pt x="7938" y="23021"/>
                  <a:pt x="7938" y="25138"/>
                  <a:pt x="7938" y="25138"/>
                </a:cubicBezTo>
                <a:cubicBezTo>
                  <a:pt x="7938" y="25138"/>
                  <a:pt x="5954" y="25138"/>
                  <a:pt x="5954" y="27254"/>
                </a:cubicBezTo>
                <a:cubicBezTo>
                  <a:pt x="5954" y="27254"/>
                  <a:pt x="3969" y="27254"/>
                  <a:pt x="1985" y="27254"/>
                </a:cubicBezTo>
                <a:cubicBezTo>
                  <a:pt x="1985" y="25138"/>
                  <a:pt x="0" y="25138"/>
                  <a:pt x="0" y="25138"/>
                </a:cubicBezTo>
                <a:cubicBezTo>
                  <a:pt x="1985" y="23021"/>
                  <a:pt x="1985" y="23021"/>
                  <a:pt x="3969" y="23021"/>
                </a:cubicBezTo>
                <a:close/>
                <a:moveTo>
                  <a:pt x="30161" y="1587"/>
                </a:moveTo>
                <a:cubicBezTo>
                  <a:pt x="32146" y="-529"/>
                  <a:pt x="32146" y="-529"/>
                  <a:pt x="34130" y="1587"/>
                </a:cubicBezTo>
                <a:cubicBezTo>
                  <a:pt x="34130" y="1587"/>
                  <a:pt x="34130" y="3704"/>
                  <a:pt x="34130" y="3704"/>
                </a:cubicBezTo>
                <a:cubicBezTo>
                  <a:pt x="34130" y="3704"/>
                  <a:pt x="32146" y="3704"/>
                  <a:pt x="32146" y="5821"/>
                </a:cubicBezTo>
                <a:cubicBezTo>
                  <a:pt x="32146" y="5821"/>
                  <a:pt x="30161" y="5821"/>
                  <a:pt x="28177" y="5821"/>
                </a:cubicBezTo>
                <a:cubicBezTo>
                  <a:pt x="28177" y="3704"/>
                  <a:pt x="26192" y="3704"/>
                  <a:pt x="26192" y="3704"/>
                </a:cubicBezTo>
                <a:cubicBezTo>
                  <a:pt x="28177" y="1587"/>
                  <a:pt x="28177" y="1587"/>
                  <a:pt x="30161" y="1587"/>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6" name="Somalia"/>
          <p:cNvSpPr>
            <a:spLocks/>
          </p:cNvSpPr>
          <p:nvPr/>
        </p:nvSpPr>
        <p:spPr bwMode="auto">
          <a:xfrm>
            <a:off x="7316555" y="3691638"/>
            <a:ext cx="269477" cy="429528"/>
          </a:xfrm>
          <a:custGeom>
            <a:avLst/>
            <a:gdLst>
              <a:gd name="T0" fmla="*/ 0 w 132"/>
              <a:gd name="T1" fmla="*/ 201 h 209"/>
              <a:gd name="T2" fmla="*/ 2 w 132"/>
              <a:gd name="T3" fmla="*/ 151 h 209"/>
              <a:gd name="T4" fmla="*/ 11 w 132"/>
              <a:gd name="T5" fmla="*/ 132 h 209"/>
              <a:gd name="T6" fmla="*/ 35 w 132"/>
              <a:gd name="T7" fmla="*/ 118 h 209"/>
              <a:gd name="T8" fmla="*/ 58 w 132"/>
              <a:gd name="T9" fmla="*/ 105 h 209"/>
              <a:gd name="T10" fmla="*/ 75 w 132"/>
              <a:gd name="T11" fmla="*/ 83 h 209"/>
              <a:gd name="T12" fmla="*/ 68 w 132"/>
              <a:gd name="T13" fmla="*/ 65 h 209"/>
              <a:gd name="T14" fmla="*/ 29 w 132"/>
              <a:gd name="T15" fmla="*/ 46 h 209"/>
              <a:gd name="T16" fmla="*/ 20 w 132"/>
              <a:gd name="T17" fmla="*/ 22 h 209"/>
              <a:gd name="T18" fmla="*/ 26 w 132"/>
              <a:gd name="T19" fmla="*/ 21 h 209"/>
              <a:gd name="T20" fmla="*/ 29 w 132"/>
              <a:gd name="T21" fmla="*/ 15 h 209"/>
              <a:gd name="T22" fmla="*/ 31 w 132"/>
              <a:gd name="T23" fmla="*/ 17 h 209"/>
              <a:gd name="T24" fmla="*/ 32 w 132"/>
              <a:gd name="T25" fmla="*/ 18 h 209"/>
              <a:gd name="T26" fmla="*/ 37 w 132"/>
              <a:gd name="T27" fmla="*/ 21 h 209"/>
              <a:gd name="T28" fmla="*/ 45 w 132"/>
              <a:gd name="T29" fmla="*/ 21 h 209"/>
              <a:gd name="T30" fmla="*/ 55 w 132"/>
              <a:gd name="T31" fmla="*/ 17 h 209"/>
              <a:gd name="T32" fmla="*/ 65 w 132"/>
              <a:gd name="T33" fmla="*/ 19 h 209"/>
              <a:gd name="T34" fmla="*/ 76 w 132"/>
              <a:gd name="T35" fmla="*/ 12 h 209"/>
              <a:gd name="T36" fmla="*/ 93 w 132"/>
              <a:gd name="T37" fmla="*/ 10 h 209"/>
              <a:gd name="T38" fmla="*/ 107 w 132"/>
              <a:gd name="T39" fmla="*/ 9 h 209"/>
              <a:gd name="T40" fmla="*/ 116 w 132"/>
              <a:gd name="T41" fmla="*/ 7 h 209"/>
              <a:gd name="T42" fmla="*/ 126 w 132"/>
              <a:gd name="T43" fmla="*/ 8 h 209"/>
              <a:gd name="T44" fmla="*/ 128 w 132"/>
              <a:gd name="T45" fmla="*/ 15 h 209"/>
              <a:gd name="T46" fmla="*/ 132 w 132"/>
              <a:gd name="T47" fmla="*/ 21 h 209"/>
              <a:gd name="T48" fmla="*/ 127 w 132"/>
              <a:gd name="T49" fmla="*/ 22 h 209"/>
              <a:gd name="T50" fmla="*/ 124 w 132"/>
              <a:gd name="T51" fmla="*/ 29 h 209"/>
              <a:gd name="T52" fmla="*/ 121 w 132"/>
              <a:gd name="T53" fmla="*/ 42 h 209"/>
              <a:gd name="T54" fmla="*/ 116 w 132"/>
              <a:gd name="T55" fmla="*/ 57 h 209"/>
              <a:gd name="T56" fmla="*/ 111 w 132"/>
              <a:gd name="T57" fmla="*/ 67 h 209"/>
              <a:gd name="T58" fmla="*/ 108 w 132"/>
              <a:gd name="T59" fmla="*/ 73 h 209"/>
              <a:gd name="T60" fmla="*/ 105 w 132"/>
              <a:gd name="T61" fmla="*/ 83 h 209"/>
              <a:gd name="T62" fmla="*/ 100 w 132"/>
              <a:gd name="T63" fmla="*/ 94 h 209"/>
              <a:gd name="T64" fmla="*/ 90 w 132"/>
              <a:gd name="T65" fmla="*/ 112 h 209"/>
              <a:gd name="T66" fmla="*/ 85 w 132"/>
              <a:gd name="T67" fmla="*/ 123 h 209"/>
              <a:gd name="T68" fmla="*/ 75 w 132"/>
              <a:gd name="T69" fmla="*/ 136 h 209"/>
              <a:gd name="T70" fmla="*/ 65 w 132"/>
              <a:gd name="T71" fmla="*/ 148 h 209"/>
              <a:gd name="T72" fmla="*/ 51 w 132"/>
              <a:gd name="T73" fmla="*/ 158 h 209"/>
              <a:gd name="T74" fmla="*/ 37 w 132"/>
              <a:gd name="T75" fmla="*/ 170 h 209"/>
              <a:gd name="T76" fmla="*/ 27 w 132"/>
              <a:gd name="T77" fmla="*/ 180 h 209"/>
              <a:gd name="T78" fmla="*/ 19 w 132"/>
              <a:gd name="T79" fmla="*/ 188 h 209"/>
              <a:gd name="T80" fmla="*/ 13 w 132"/>
              <a:gd name="T81" fmla="*/ 196 h 209"/>
              <a:gd name="T82" fmla="*/ 6 w 132"/>
              <a:gd name="T83" fmla="*/ 205 h 209"/>
              <a:gd name="T84" fmla="*/ 5 w 132"/>
              <a:gd name="T8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209">
                <a:moveTo>
                  <a:pt x="5" y="209"/>
                </a:moveTo>
                <a:cubicBezTo>
                  <a:pt x="4" y="209"/>
                  <a:pt x="3" y="209"/>
                  <a:pt x="2" y="209"/>
                </a:cubicBezTo>
                <a:cubicBezTo>
                  <a:pt x="0" y="208"/>
                  <a:pt x="0" y="203"/>
                  <a:pt x="0" y="201"/>
                </a:cubicBezTo>
                <a:cubicBezTo>
                  <a:pt x="0" y="199"/>
                  <a:pt x="0" y="179"/>
                  <a:pt x="1" y="177"/>
                </a:cubicBezTo>
                <a:cubicBezTo>
                  <a:pt x="1" y="175"/>
                  <a:pt x="1" y="168"/>
                  <a:pt x="2" y="166"/>
                </a:cubicBezTo>
                <a:cubicBezTo>
                  <a:pt x="2" y="163"/>
                  <a:pt x="2" y="151"/>
                  <a:pt x="2" y="151"/>
                </a:cubicBezTo>
                <a:cubicBezTo>
                  <a:pt x="5" y="146"/>
                  <a:pt x="5" y="146"/>
                  <a:pt x="5" y="146"/>
                </a:cubicBezTo>
                <a:cubicBezTo>
                  <a:pt x="5" y="146"/>
                  <a:pt x="9" y="140"/>
                  <a:pt x="11" y="137"/>
                </a:cubicBezTo>
                <a:cubicBezTo>
                  <a:pt x="12" y="136"/>
                  <a:pt x="12" y="133"/>
                  <a:pt x="11" y="132"/>
                </a:cubicBezTo>
                <a:cubicBezTo>
                  <a:pt x="12" y="131"/>
                  <a:pt x="12" y="131"/>
                  <a:pt x="12" y="131"/>
                </a:cubicBezTo>
                <a:cubicBezTo>
                  <a:pt x="12" y="131"/>
                  <a:pt x="15" y="129"/>
                  <a:pt x="20" y="125"/>
                </a:cubicBezTo>
                <a:cubicBezTo>
                  <a:pt x="25" y="122"/>
                  <a:pt x="28" y="119"/>
                  <a:pt x="35" y="118"/>
                </a:cubicBezTo>
                <a:cubicBezTo>
                  <a:pt x="42" y="117"/>
                  <a:pt x="44" y="117"/>
                  <a:pt x="47" y="117"/>
                </a:cubicBezTo>
                <a:cubicBezTo>
                  <a:pt x="50" y="117"/>
                  <a:pt x="51" y="115"/>
                  <a:pt x="51" y="115"/>
                </a:cubicBezTo>
                <a:cubicBezTo>
                  <a:pt x="51" y="115"/>
                  <a:pt x="57" y="108"/>
                  <a:pt x="58" y="105"/>
                </a:cubicBezTo>
                <a:cubicBezTo>
                  <a:pt x="60" y="102"/>
                  <a:pt x="60" y="100"/>
                  <a:pt x="65" y="98"/>
                </a:cubicBezTo>
                <a:cubicBezTo>
                  <a:pt x="70" y="97"/>
                  <a:pt x="70" y="92"/>
                  <a:pt x="70" y="92"/>
                </a:cubicBezTo>
                <a:cubicBezTo>
                  <a:pt x="70" y="92"/>
                  <a:pt x="71" y="86"/>
                  <a:pt x="75" y="83"/>
                </a:cubicBezTo>
                <a:cubicBezTo>
                  <a:pt x="79" y="80"/>
                  <a:pt x="85" y="74"/>
                  <a:pt x="86" y="71"/>
                </a:cubicBezTo>
                <a:cubicBezTo>
                  <a:pt x="87" y="68"/>
                  <a:pt x="85" y="68"/>
                  <a:pt x="82" y="69"/>
                </a:cubicBezTo>
                <a:cubicBezTo>
                  <a:pt x="80" y="69"/>
                  <a:pt x="72" y="66"/>
                  <a:pt x="68" y="65"/>
                </a:cubicBezTo>
                <a:cubicBezTo>
                  <a:pt x="64" y="64"/>
                  <a:pt x="55" y="60"/>
                  <a:pt x="50" y="59"/>
                </a:cubicBezTo>
                <a:cubicBezTo>
                  <a:pt x="46" y="58"/>
                  <a:pt x="42" y="58"/>
                  <a:pt x="40" y="56"/>
                </a:cubicBezTo>
                <a:cubicBezTo>
                  <a:pt x="38" y="55"/>
                  <a:pt x="33" y="51"/>
                  <a:pt x="29" y="46"/>
                </a:cubicBezTo>
                <a:cubicBezTo>
                  <a:pt x="27" y="41"/>
                  <a:pt x="21" y="36"/>
                  <a:pt x="19" y="33"/>
                </a:cubicBezTo>
                <a:cubicBezTo>
                  <a:pt x="18" y="29"/>
                  <a:pt x="19" y="27"/>
                  <a:pt x="20" y="25"/>
                </a:cubicBezTo>
                <a:cubicBezTo>
                  <a:pt x="21" y="24"/>
                  <a:pt x="20" y="23"/>
                  <a:pt x="20" y="22"/>
                </a:cubicBezTo>
                <a:cubicBezTo>
                  <a:pt x="20" y="22"/>
                  <a:pt x="20" y="21"/>
                  <a:pt x="20" y="21"/>
                </a:cubicBezTo>
                <a:cubicBezTo>
                  <a:pt x="20" y="21"/>
                  <a:pt x="22" y="21"/>
                  <a:pt x="23" y="21"/>
                </a:cubicBezTo>
                <a:cubicBezTo>
                  <a:pt x="24" y="22"/>
                  <a:pt x="26" y="22"/>
                  <a:pt x="26" y="21"/>
                </a:cubicBezTo>
                <a:cubicBezTo>
                  <a:pt x="26" y="19"/>
                  <a:pt x="26" y="18"/>
                  <a:pt x="27" y="17"/>
                </a:cubicBezTo>
                <a:cubicBezTo>
                  <a:pt x="27" y="16"/>
                  <a:pt x="29" y="15"/>
                  <a:pt x="29" y="15"/>
                </a:cubicBezTo>
                <a:cubicBezTo>
                  <a:pt x="29" y="15"/>
                  <a:pt x="29" y="15"/>
                  <a:pt x="29" y="15"/>
                </a:cubicBezTo>
                <a:cubicBezTo>
                  <a:pt x="29" y="15"/>
                  <a:pt x="29" y="15"/>
                  <a:pt x="29" y="15"/>
                </a:cubicBezTo>
                <a:cubicBezTo>
                  <a:pt x="29" y="15"/>
                  <a:pt x="30" y="15"/>
                  <a:pt x="30" y="15"/>
                </a:cubicBezTo>
                <a:cubicBezTo>
                  <a:pt x="31" y="15"/>
                  <a:pt x="32" y="16"/>
                  <a:pt x="31" y="17"/>
                </a:cubicBezTo>
                <a:cubicBezTo>
                  <a:pt x="31" y="17"/>
                  <a:pt x="31" y="17"/>
                  <a:pt x="31" y="18"/>
                </a:cubicBezTo>
                <a:cubicBezTo>
                  <a:pt x="31" y="18"/>
                  <a:pt x="31" y="18"/>
                  <a:pt x="31" y="18"/>
                </a:cubicBezTo>
                <a:cubicBezTo>
                  <a:pt x="31" y="18"/>
                  <a:pt x="32" y="18"/>
                  <a:pt x="32" y="18"/>
                </a:cubicBezTo>
                <a:cubicBezTo>
                  <a:pt x="33" y="18"/>
                  <a:pt x="33" y="19"/>
                  <a:pt x="33" y="20"/>
                </a:cubicBezTo>
                <a:cubicBezTo>
                  <a:pt x="33" y="21"/>
                  <a:pt x="35" y="21"/>
                  <a:pt x="35" y="21"/>
                </a:cubicBezTo>
                <a:cubicBezTo>
                  <a:pt x="35" y="21"/>
                  <a:pt x="36" y="20"/>
                  <a:pt x="37" y="21"/>
                </a:cubicBezTo>
                <a:cubicBezTo>
                  <a:pt x="37" y="21"/>
                  <a:pt x="38" y="22"/>
                  <a:pt x="39" y="21"/>
                </a:cubicBezTo>
                <a:cubicBezTo>
                  <a:pt x="40" y="21"/>
                  <a:pt x="41" y="21"/>
                  <a:pt x="42" y="21"/>
                </a:cubicBezTo>
                <a:cubicBezTo>
                  <a:pt x="42" y="22"/>
                  <a:pt x="43" y="21"/>
                  <a:pt x="45" y="21"/>
                </a:cubicBezTo>
                <a:cubicBezTo>
                  <a:pt x="47" y="21"/>
                  <a:pt x="50" y="20"/>
                  <a:pt x="50" y="20"/>
                </a:cubicBezTo>
                <a:cubicBezTo>
                  <a:pt x="50" y="20"/>
                  <a:pt x="50" y="18"/>
                  <a:pt x="51" y="18"/>
                </a:cubicBezTo>
                <a:cubicBezTo>
                  <a:pt x="52" y="18"/>
                  <a:pt x="54" y="18"/>
                  <a:pt x="55" y="17"/>
                </a:cubicBezTo>
                <a:cubicBezTo>
                  <a:pt x="57" y="16"/>
                  <a:pt x="59" y="17"/>
                  <a:pt x="59" y="18"/>
                </a:cubicBezTo>
                <a:cubicBezTo>
                  <a:pt x="59" y="18"/>
                  <a:pt x="61" y="18"/>
                  <a:pt x="62" y="18"/>
                </a:cubicBezTo>
                <a:cubicBezTo>
                  <a:pt x="63" y="18"/>
                  <a:pt x="64" y="19"/>
                  <a:pt x="65" y="19"/>
                </a:cubicBezTo>
                <a:cubicBezTo>
                  <a:pt x="67" y="20"/>
                  <a:pt x="67" y="19"/>
                  <a:pt x="68" y="18"/>
                </a:cubicBezTo>
                <a:cubicBezTo>
                  <a:pt x="68" y="18"/>
                  <a:pt x="70" y="17"/>
                  <a:pt x="71" y="16"/>
                </a:cubicBezTo>
                <a:cubicBezTo>
                  <a:pt x="72" y="15"/>
                  <a:pt x="74" y="13"/>
                  <a:pt x="76" y="12"/>
                </a:cubicBezTo>
                <a:cubicBezTo>
                  <a:pt x="77" y="11"/>
                  <a:pt x="80" y="10"/>
                  <a:pt x="80" y="11"/>
                </a:cubicBezTo>
                <a:cubicBezTo>
                  <a:pt x="80" y="12"/>
                  <a:pt x="83" y="12"/>
                  <a:pt x="87" y="12"/>
                </a:cubicBezTo>
                <a:cubicBezTo>
                  <a:pt x="90" y="11"/>
                  <a:pt x="92" y="11"/>
                  <a:pt x="93" y="10"/>
                </a:cubicBezTo>
                <a:cubicBezTo>
                  <a:pt x="94" y="9"/>
                  <a:pt x="96" y="9"/>
                  <a:pt x="97" y="10"/>
                </a:cubicBezTo>
                <a:cubicBezTo>
                  <a:pt x="99" y="12"/>
                  <a:pt x="100" y="11"/>
                  <a:pt x="101" y="10"/>
                </a:cubicBezTo>
                <a:cubicBezTo>
                  <a:pt x="103" y="9"/>
                  <a:pt x="105" y="9"/>
                  <a:pt x="107" y="9"/>
                </a:cubicBezTo>
                <a:cubicBezTo>
                  <a:pt x="108" y="9"/>
                  <a:pt x="109" y="8"/>
                  <a:pt x="111" y="7"/>
                </a:cubicBezTo>
                <a:cubicBezTo>
                  <a:pt x="113" y="6"/>
                  <a:pt x="113" y="7"/>
                  <a:pt x="114" y="8"/>
                </a:cubicBezTo>
                <a:cubicBezTo>
                  <a:pt x="115" y="9"/>
                  <a:pt x="116" y="8"/>
                  <a:pt x="116" y="7"/>
                </a:cubicBezTo>
                <a:cubicBezTo>
                  <a:pt x="117" y="6"/>
                  <a:pt x="119" y="3"/>
                  <a:pt x="120" y="2"/>
                </a:cubicBezTo>
                <a:cubicBezTo>
                  <a:pt x="120" y="0"/>
                  <a:pt x="124" y="0"/>
                  <a:pt x="125" y="2"/>
                </a:cubicBezTo>
                <a:cubicBezTo>
                  <a:pt x="127" y="3"/>
                  <a:pt x="127" y="6"/>
                  <a:pt x="126" y="8"/>
                </a:cubicBezTo>
                <a:cubicBezTo>
                  <a:pt x="125" y="9"/>
                  <a:pt x="127" y="10"/>
                  <a:pt x="128" y="10"/>
                </a:cubicBezTo>
                <a:cubicBezTo>
                  <a:pt x="129" y="10"/>
                  <a:pt x="129" y="12"/>
                  <a:pt x="129" y="12"/>
                </a:cubicBezTo>
                <a:cubicBezTo>
                  <a:pt x="128" y="13"/>
                  <a:pt x="126" y="14"/>
                  <a:pt x="128" y="15"/>
                </a:cubicBezTo>
                <a:cubicBezTo>
                  <a:pt x="129" y="16"/>
                  <a:pt x="128" y="18"/>
                  <a:pt x="128" y="19"/>
                </a:cubicBezTo>
                <a:cubicBezTo>
                  <a:pt x="129" y="20"/>
                  <a:pt x="129" y="21"/>
                  <a:pt x="130" y="21"/>
                </a:cubicBezTo>
                <a:cubicBezTo>
                  <a:pt x="131" y="21"/>
                  <a:pt x="132" y="21"/>
                  <a:pt x="132" y="21"/>
                </a:cubicBezTo>
                <a:cubicBezTo>
                  <a:pt x="132" y="22"/>
                  <a:pt x="131" y="23"/>
                  <a:pt x="131" y="23"/>
                </a:cubicBezTo>
                <a:cubicBezTo>
                  <a:pt x="131" y="23"/>
                  <a:pt x="130" y="23"/>
                  <a:pt x="130" y="22"/>
                </a:cubicBezTo>
                <a:cubicBezTo>
                  <a:pt x="129" y="21"/>
                  <a:pt x="127" y="22"/>
                  <a:pt x="127" y="22"/>
                </a:cubicBezTo>
                <a:cubicBezTo>
                  <a:pt x="127" y="22"/>
                  <a:pt x="127" y="23"/>
                  <a:pt x="125" y="23"/>
                </a:cubicBezTo>
                <a:cubicBezTo>
                  <a:pt x="123" y="24"/>
                  <a:pt x="125" y="25"/>
                  <a:pt x="125" y="26"/>
                </a:cubicBezTo>
                <a:cubicBezTo>
                  <a:pt x="125" y="27"/>
                  <a:pt x="123" y="28"/>
                  <a:pt x="124" y="29"/>
                </a:cubicBezTo>
                <a:cubicBezTo>
                  <a:pt x="124" y="30"/>
                  <a:pt x="125" y="32"/>
                  <a:pt x="124" y="33"/>
                </a:cubicBezTo>
                <a:cubicBezTo>
                  <a:pt x="123" y="33"/>
                  <a:pt x="122" y="36"/>
                  <a:pt x="123" y="38"/>
                </a:cubicBezTo>
                <a:cubicBezTo>
                  <a:pt x="123" y="39"/>
                  <a:pt x="122" y="41"/>
                  <a:pt x="121" y="42"/>
                </a:cubicBezTo>
                <a:cubicBezTo>
                  <a:pt x="119" y="44"/>
                  <a:pt x="120" y="46"/>
                  <a:pt x="120" y="47"/>
                </a:cubicBezTo>
                <a:cubicBezTo>
                  <a:pt x="120" y="49"/>
                  <a:pt x="119" y="51"/>
                  <a:pt x="118" y="51"/>
                </a:cubicBezTo>
                <a:cubicBezTo>
                  <a:pt x="118" y="52"/>
                  <a:pt x="116" y="54"/>
                  <a:pt x="116" y="57"/>
                </a:cubicBezTo>
                <a:cubicBezTo>
                  <a:pt x="116" y="59"/>
                  <a:pt x="112" y="61"/>
                  <a:pt x="112" y="61"/>
                </a:cubicBezTo>
                <a:cubicBezTo>
                  <a:pt x="111" y="61"/>
                  <a:pt x="110" y="62"/>
                  <a:pt x="110" y="64"/>
                </a:cubicBezTo>
                <a:cubicBezTo>
                  <a:pt x="110" y="65"/>
                  <a:pt x="111" y="66"/>
                  <a:pt x="111" y="67"/>
                </a:cubicBezTo>
                <a:cubicBezTo>
                  <a:pt x="111" y="67"/>
                  <a:pt x="111" y="69"/>
                  <a:pt x="110" y="69"/>
                </a:cubicBezTo>
                <a:cubicBezTo>
                  <a:pt x="110" y="69"/>
                  <a:pt x="109" y="70"/>
                  <a:pt x="109" y="71"/>
                </a:cubicBezTo>
                <a:cubicBezTo>
                  <a:pt x="109" y="71"/>
                  <a:pt x="108" y="73"/>
                  <a:pt x="108" y="73"/>
                </a:cubicBezTo>
                <a:cubicBezTo>
                  <a:pt x="107" y="74"/>
                  <a:pt x="106" y="76"/>
                  <a:pt x="107" y="77"/>
                </a:cubicBezTo>
                <a:cubicBezTo>
                  <a:pt x="107" y="78"/>
                  <a:pt x="106" y="78"/>
                  <a:pt x="105" y="79"/>
                </a:cubicBezTo>
                <a:cubicBezTo>
                  <a:pt x="104" y="81"/>
                  <a:pt x="104" y="82"/>
                  <a:pt x="105" y="83"/>
                </a:cubicBezTo>
                <a:cubicBezTo>
                  <a:pt x="105" y="84"/>
                  <a:pt x="104" y="85"/>
                  <a:pt x="103" y="85"/>
                </a:cubicBezTo>
                <a:cubicBezTo>
                  <a:pt x="102" y="86"/>
                  <a:pt x="102" y="88"/>
                  <a:pt x="102" y="89"/>
                </a:cubicBezTo>
                <a:cubicBezTo>
                  <a:pt x="102" y="91"/>
                  <a:pt x="101" y="93"/>
                  <a:pt x="100" y="94"/>
                </a:cubicBezTo>
                <a:cubicBezTo>
                  <a:pt x="99" y="95"/>
                  <a:pt x="98" y="98"/>
                  <a:pt x="97" y="100"/>
                </a:cubicBezTo>
                <a:cubicBezTo>
                  <a:pt x="96" y="102"/>
                  <a:pt x="93" y="107"/>
                  <a:pt x="92" y="107"/>
                </a:cubicBezTo>
                <a:cubicBezTo>
                  <a:pt x="91" y="108"/>
                  <a:pt x="90" y="110"/>
                  <a:pt x="90" y="112"/>
                </a:cubicBezTo>
                <a:cubicBezTo>
                  <a:pt x="90" y="114"/>
                  <a:pt x="89" y="115"/>
                  <a:pt x="88" y="115"/>
                </a:cubicBezTo>
                <a:cubicBezTo>
                  <a:pt x="87" y="115"/>
                  <a:pt x="87" y="117"/>
                  <a:pt x="87" y="119"/>
                </a:cubicBezTo>
                <a:cubicBezTo>
                  <a:pt x="87" y="120"/>
                  <a:pt x="85" y="122"/>
                  <a:pt x="85" y="123"/>
                </a:cubicBezTo>
                <a:cubicBezTo>
                  <a:pt x="84" y="123"/>
                  <a:pt x="81" y="125"/>
                  <a:pt x="81" y="126"/>
                </a:cubicBezTo>
                <a:cubicBezTo>
                  <a:pt x="81" y="127"/>
                  <a:pt x="78" y="131"/>
                  <a:pt x="77" y="131"/>
                </a:cubicBezTo>
                <a:cubicBezTo>
                  <a:pt x="76" y="132"/>
                  <a:pt x="75" y="134"/>
                  <a:pt x="75" y="136"/>
                </a:cubicBezTo>
                <a:cubicBezTo>
                  <a:pt x="75" y="137"/>
                  <a:pt x="73" y="140"/>
                  <a:pt x="70" y="141"/>
                </a:cubicBezTo>
                <a:cubicBezTo>
                  <a:pt x="67" y="143"/>
                  <a:pt x="67" y="144"/>
                  <a:pt x="67" y="145"/>
                </a:cubicBezTo>
                <a:cubicBezTo>
                  <a:pt x="67" y="145"/>
                  <a:pt x="66" y="147"/>
                  <a:pt x="65" y="148"/>
                </a:cubicBezTo>
                <a:cubicBezTo>
                  <a:pt x="63" y="150"/>
                  <a:pt x="60" y="152"/>
                  <a:pt x="60" y="152"/>
                </a:cubicBezTo>
                <a:cubicBezTo>
                  <a:pt x="60" y="152"/>
                  <a:pt x="56" y="156"/>
                  <a:pt x="54" y="156"/>
                </a:cubicBezTo>
                <a:cubicBezTo>
                  <a:pt x="53" y="156"/>
                  <a:pt x="52" y="157"/>
                  <a:pt x="51" y="158"/>
                </a:cubicBezTo>
                <a:cubicBezTo>
                  <a:pt x="51" y="159"/>
                  <a:pt x="49" y="160"/>
                  <a:pt x="48" y="160"/>
                </a:cubicBezTo>
                <a:cubicBezTo>
                  <a:pt x="46" y="160"/>
                  <a:pt x="44" y="162"/>
                  <a:pt x="42" y="163"/>
                </a:cubicBezTo>
                <a:cubicBezTo>
                  <a:pt x="40" y="165"/>
                  <a:pt x="38" y="168"/>
                  <a:pt x="37" y="170"/>
                </a:cubicBezTo>
                <a:cubicBezTo>
                  <a:pt x="36" y="171"/>
                  <a:pt x="33" y="174"/>
                  <a:pt x="32" y="174"/>
                </a:cubicBezTo>
                <a:cubicBezTo>
                  <a:pt x="30" y="174"/>
                  <a:pt x="29" y="177"/>
                  <a:pt x="29" y="178"/>
                </a:cubicBezTo>
                <a:cubicBezTo>
                  <a:pt x="29" y="178"/>
                  <a:pt x="27" y="180"/>
                  <a:pt x="27" y="180"/>
                </a:cubicBezTo>
                <a:cubicBezTo>
                  <a:pt x="24" y="184"/>
                  <a:pt x="24" y="184"/>
                  <a:pt x="24" y="184"/>
                </a:cubicBezTo>
                <a:cubicBezTo>
                  <a:pt x="24" y="184"/>
                  <a:pt x="22" y="186"/>
                  <a:pt x="21" y="186"/>
                </a:cubicBezTo>
                <a:cubicBezTo>
                  <a:pt x="20" y="187"/>
                  <a:pt x="19" y="188"/>
                  <a:pt x="19" y="188"/>
                </a:cubicBezTo>
                <a:cubicBezTo>
                  <a:pt x="19" y="188"/>
                  <a:pt x="19" y="190"/>
                  <a:pt x="18" y="190"/>
                </a:cubicBezTo>
                <a:cubicBezTo>
                  <a:pt x="17" y="190"/>
                  <a:pt x="17" y="191"/>
                  <a:pt x="17" y="191"/>
                </a:cubicBezTo>
                <a:cubicBezTo>
                  <a:pt x="17" y="191"/>
                  <a:pt x="14" y="196"/>
                  <a:pt x="13" y="196"/>
                </a:cubicBezTo>
                <a:cubicBezTo>
                  <a:pt x="12" y="197"/>
                  <a:pt x="10" y="199"/>
                  <a:pt x="10" y="199"/>
                </a:cubicBezTo>
                <a:cubicBezTo>
                  <a:pt x="10" y="199"/>
                  <a:pt x="9" y="203"/>
                  <a:pt x="8" y="203"/>
                </a:cubicBezTo>
                <a:cubicBezTo>
                  <a:pt x="7" y="203"/>
                  <a:pt x="6" y="203"/>
                  <a:pt x="6" y="205"/>
                </a:cubicBezTo>
                <a:cubicBezTo>
                  <a:pt x="7" y="206"/>
                  <a:pt x="7" y="206"/>
                  <a:pt x="6" y="206"/>
                </a:cubicBezTo>
                <a:cubicBezTo>
                  <a:pt x="6" y="207"/>
                  <a:pt x="6" y="207"/>
                  <a:pt x="6" y="207"/>
                </a:cubicBezTo>
                <a:cubicBezTo>
                  <a:pt x="5" y="208"/>
                  <a:pt x="5" y="208"/>
                  <a:pt x="5" y="20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7" name="Djibouti"/>
          <p:cNvSpPr>
            <a:spLocks/>
          </p:cNvSpPr>
          <p:nvPr/>
        </p:nvSpPr>
        <p:spPr bwMode="auto">
          <a:xfrm>
            <a:off x="7329621" y="3676941"/>
            <a:ext cx="47363" cy="60428"/>
          </a:xfrm>
          <a:custGeom>
            <a:avLst/>
            <a:gdLst>
              <a:gd name="T0" fmla="*/ 16 w 23"/>
              <a:gd name="T1" fmla="*/ 28 h 29"/>
              <a:gd name="T2" fmla="*/ 19 w 23"/>
              <a:gd name="T3" fmla="*/ 28 h 29"/>
              <a:gd name="T4" fmla="*/ 20 w 23"/>
              <a:gd name="T5" fmla="*/ 24 h 29"/>
              <a:gd name="T6" fmla="*/ 22 w 23"/>
              <a:gd name="T7" fmla="*/ 22 h 29"/>
              <a:gd name="T8" fmla="*/ 22 w 23"/>
              <a:gd name="T9" fmla="*/ 22 h 29"/>
              <a:gd name="T10" fmla="*/ 22 w 23"/>
              <a:gd name="T11" fmla="*/ 20 h 29"/>
              <a:gd name="T12" fmla="*/ 21 w 23"/>
              <a:gd name="T13" fmla="*/ 17 h 29"/>
              <a:gd name="T14" fmla="*/ 18 w 23"/>
              <a:gd name="T15" fmla="*/ 16 h 29"/>
              <a:gd name="T16" fmla="*/ 14 w 23"/>
              <a:gd name="T17" fmla="*/ 13 h 29"/>
              <a:gd name="T18" fmla="*/ 9 w 23"/>
              <a:gd name="T19" fmla="*/ 14 h 29"/>
              <a:gd name="T20" fmla="*/ 8 w 23"/>
              <a:gd name="T21" fmla="*/ 15 h 29"/>
              <a:gd name="T22" fmla="*/ 7 w 23"/>
              <a:gd name="T23" fmla="*/ 16 h 29"/>
              <a:gd name="T24" fmla="*/ 5 w 23"/>
              <a:gd name="T25" fmla="*/ 14 h 29"/>
              <a:gd name="T26" fmla="*/ 9 w 23"/>
              <a:gd name="T27" fmla="*/ 12 h 29"/>
              <a:gd name="T28" fmla="*/ 12 w 23"/>
              <a:gd name="T29" fmla="*/ 10 h 29"/>
              <a:gd name="T30" fmla="*/ 16 w 23"/>
              <a:gd name="T31" fmla="*/ 8 h 29"/>
              <a:gd name="T32" fmla="*/ 18 w 23"/>
              <a:gd name="T33" fmla="*/ 7 h 29"/>
              <a:gd name="T34" fmla="*/ 20 w 23"/>
              <a:gd name="T35" fmla="*/ 3 h 29"/>
              <a:gd name="T36" fmla="*/ 18 w 23"/>
              <a:gd name="T37" fmla="*/ 1 h 29"/>
              <a:gd name="T38" fmla="*/ 16 w 23"/>
              <a:gd name="T39" fmla="*/ 0 h 29"/>
              <a:gd name="T40" fmla="*/ 9 w 23"/>
              <a:gd name="T41" fmla="*/ 1 h 29"/>
              <a:gd name="T42" fmla="*/ 7 w 23"/>
              <a:gd name="T43" fmla="*/ 3 h 29"/>
              <a:gd name="T44" fmla="*/ 7 w 23"/>
              <a:gd name="T45" fmla="*/ 4 h 29"/>
              <a:gd name="T46" fmla="*/ 5 w 23"/>
              <a:gd name="T47" fmla="*/ 8 h 29"/>
              <a:gd name="T48" fmla="*/ 4 w 23"/>
              <a:gd name="T49" fmla="*/ 12 h 29"/>
              <a:gd name="T50" fmla="*/ 3 w 23"/>
              <a:gd name="T51" fmla="*/ 16 h 29"/>
              <a:gd name="T52" fmla="*/ 1 w 23"/>
              <a:gd name="T53" fmla="*/ 21 h 29"/>
              <a:gd name="T54" fmla="*/ 2 w 23"/>
              <a:gd name="T55" fmla="*/ 28 h 29"/>
              <a:gd name="T56" fmla="*/ 8 w 23"/>
              <a:gd name="T57" fmla="*/ 29 h 29"/>
              <a:gd name="T58" fmla="*/ 13 w 23"/>
              <a:gd name="T59" fmla="*/ 28 h 29"/>
              <a:gd name="T60" fmla="*/ 13 w 23"/>
              <a:gd name="T61" fmla="*/ 28 h 29"/>
              <a:gd name="T62" fmla="*/ 16 w 23"/>
              <a:gd name="T63"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29">
                <a:moveTo>
                  <a:pt x="16" y="28"/>
                </a:moveTo>
                <a:cubicBezTo>
                  <a:pt x="17" y="29"/>
                  <a:pt x="19" y="29"/>
                  <a:pt x="19" y="28"/>
                </a:cubicBezTo>
                <a:cubicBezTo>
                  <a:pt x="19" y="26"/>
                  <a:pt x="19" y="25"/>
                  <a:pt x="20" y="24"/>
                </a:cubicBezTo>
                <a:cubicBezTo>
                  <a:pt x="20" y="23"/>
                  <a:pt x="22" y="22"/>
                  <a:pt x="22" y="22"/>
                </a:cubicBezTo>
                <a:cubicBezTo>
                  <a:pt x="22" y="22"/>
                  <a:pt x="22" y="22"/>
                  <a:pt x="22" y="22"/>
                </a:cubicBezTo>
                <a:cubicBezTo>
                  <a:pt x="22" y="22"/>
                  <a:pt x="22" y="21"/>
                  <a:pt x="22" y="20"/>
                </a:cubicBezTo>
                <a:cubicBezTo>
                  <a:pt x="23" y="19"/>
                  <a:pt x="21" y="17"/>
                  <a:pt x="21" y="17"/>
                </a:cubicBezTo>
                <a:cubicBezTo>
                  <a:pt x="20" y="17"/>
                  <a:pt x="19" y="17"/>
                  <a:pt x="18" y="16"/>
                </a:cubicBezTo>
                <a:cubicBezTo>
                  <a:pt x="17" y="16"/>
                  <a:pt x="17" y="14"/>
                  <a:pt x="14" y="13"/>
                </a:cubicBezTo>
                <a:cubicBezTo>
                  <a:pt x="12" y="13"/>
                  <a:pt x="10" y="13"/>
                  <a:pt x="9" y="14"/>
                </a:cubicBezTo>
                <a:cubicBezTo>
                  <a:pt x="8" y="15"/>
                  <a:pt x="8" y="14"/>
                  <a:pt x="8" y="15"/>
                </a:cubicBezTo>
                <a:cubicBezTo>
                  <a:pt x="8" y="16"/>
                  <a:pt x="7" y="17"/>
                  <a:pt x="7" y="16"/>
                </a:cubicBezTo>
                <a:cubicBezTo>
                  <a:pt x="6" y="16"/>
                  <a:pt x="4" y="14"/>
                  <a:pt x="5" y="14"/>
                </a:cubicBezTo>
                <a:cubicBezTo>
                  <a:pt x="6" y="13"/>
                  <a:pt x="8" y="14"/>
                  <a:pt x="9" y="12"/>
                </a:cubicBezTo>
                <a:cubicBezTo>
                  <a:pt x="10" y="11"/>
                  <a:pt x="10" y="9"/>
                  <a:pt x="12" y="10"/>
                </a:cubicBezTo>
                <a:cubicBezTo>
                  <a:pt x="13" y="10"/>
                  <a:pt x="16" y="9"/>
                  <a:pt x="16" y="8"/>
                </a:cubicBezTo>
                <a:cubicBezTo>
                  <a:pt x="16" y="7"/>
                  <a:pt x="17" y="7"/>
                  <a:pt x="18" y="7"/>
                </a:cubicBezTo>
                <a:cubicBezTo>
                  <a:pt x="19" y="7"/>
                  <a:pt x="20" y="5"/>
                  <a:pt x="20" y="3"/>
                </a:cubicBezTo>
                <a:cubicBezTo>
                  <a:pt x="20" y="2"/>
                  <a:pt x="19" y="2"/>
                  <a:pt x="18" y="1"/>
                </a:cubicBezTo>
                <a:cubicBezTo>
                  <a:pt x="17" y="1"/>
                  <a:pt x="16" y="1"/>
                  <a:pt x="16" y="0"/>
                </a:cubicBezTo>
                <a:cubicBezTo>
                  <a:pt x="16" y="0"/>
                  <a:pt x="11" y="1"/>
                  <a:pt x="9" y="1"/>
                </a:cubicBezTo>
                <a:cubicBezTo>
                  <a:pt x="8" y="1"/>
                  <a:pt x="8" y="3"/>
                  <a:pt x="7" y="3"/>
                </a:cubicBezTo>
                <a:cubicBezTo>
                  <a:pt x="7" y="4"/>
                  <a:pt x="7" y="4"/>
                  <a:pt x="7" y="4"/>
                </a:cubicBezTo>
                <a:cubicBezTo>
                  <a:pt x="7" y="5"/>
                  <a:pt x="6" y="6"/>
                  <a:pt x="5" y="8"/>
                </a:cubicBezTo>
                <a:cubicBezTo>
                  <a:pt x="5" y="9"/>
                  <a:pt x="4" y="11"/>
                  <a:pt x="4" y="12"/>
                </a:cubicBezTo>
                <a:cubicBezTo>
                  <a:pt x="5" y="13"/>
                  <a:pt x="4" y="14"/>
                  <a:pt x="3" y="16"/>
                </a:cubicBezTo>
                <a:cubicBezTo>
                  <a:pt x="2" y="17"/>
                  <a:pt x="1" y="18"/>
                  <a:pt x="1" y="21"/>
                </a:cubicBezTo>
                <a:cubicBezTo>
                  <a:pt x="0" y="25"/>
                  <a:pt x="1" y="26"/>
                  <a:pt x="2" y="28"/>
                </a:cubicBezTo>
                <a:cubicBezTo>
                  <a:pt x="4" y="29"/>
                  <a:pt x="8" y="29"/>
                  <a:pt x="8" y="29"/>
                </a:cubicBezTo>
                <a:cubicBezTo>
                  <a:pt x="9" y="29"/>
                  <a:pt x="12" y="28"/>
                  <a:pt x="13" y="28"/>
                </a:cubicBezTo>
                <a:cubicBezTo>
                  <a:pt x="13" y="28"/>
                  <a:pt x="13" y="28"/>
                  <a:pt x="13" y="28"/>
                </a:cubicBezTo>
                <a:cubicBezTo>
                  <a:pt x="13" y="28"/>
                  <a:pt x="15" y="28"/>
                  <a:pt x="16" y="28"/>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8" name="Ethiopia"/>
          <p:cNvSpPr>
            <a:spLocks/>
          </p:cNvSpPr>
          <p:nvPr/>
        </p:nvSpPr>
        <p:spPr bwMode="auto">
          <a:xfrm>
            <a:off x="7105874" y="3618143"/>
            <a:ext cx="388700" cy="362569"/>
          </a:xfrm>
          <a:custGeom>
            <a:avLst/>
            <a:gdLst>
              <a:gd name="T0" fmla="*/ 34 w 189"/>
              <a:gd name="T1" fmla="*/ 154 h 177"/>
              <a:gd name="T2" fmla="*/ 26 w 189"/>
              <a:gd name="T3" fmla="*/ 144 h 177"/>
              <a:gd name="T4" fmla="*/ 22 w 189"/>
              <a:gd name="T5" fmla="*/ 129 h 177"/>
              <a:gd name="T6" fmla="*/ 9 w 189"/>
              <a:gd name="T7" fmla="*/ 115 h 177"/>
              <a:gd name="T8" fmla="*/ 0 w 189"/>
              <a:gd name="T9" fmla="*/ 106 h 177"/>
              <a:gd name="T10" fmla="*/ 9 w 189"/>
              <a:gd name="T11" fmla="*/ 98 h 177"/>
              <a:gd name="T12" fmla="*/ 11 w 189"/>
              <a:gd name="T13" fmla="*/ 83 h 177"/>
              <a:gd name="T14" fmla="*/ 12 w 189"/>
              <a:gd name="T15" fmla="*/ 69 h 177"/>
              <a:gd name="T16" fmla="*/ 17 w 189"/>
              <a:gd name="T17" fmla="*/ 62 h 177"/>
              <a:gd name="T18" fmla="*/ 22 w 189"/>
              <a:gd name="T19" fmla="*/ 52 h 177"/>
              <a:gd name="T20" fmla="*/ 28 w 189"/>
              <a:gd name="T21" fmla="*/ 38 h 177"/>
              <a:gd name="T22" fmla="*/ 37 w 189"/>
              <a:gd name="T23" fmla="*/ 30 h 177"/>
              <a:gd name="T24" fmla="*/ 40 w 189"/>
              <a:gd name="T25" fmla="*/ 13 h 177"/>
              <a:gd name="T26" fmla="*/ 45 w 189"/>
              <a:gd name="T27" fmla="*/ 6 h 177"/>
              <a:gd name="T28" fmla="*/ 51 w 189"/>
              <a:gd name="T29" fmla="*/ 4 h 177"/>
              <a:gd name="T30" fmla="*/ 68 w 189"/>
              <a:gd name="T31" fmla="*/ 1 h 177"/>
              <a:gd name="T32" fmla="*/ 80 w 189"/>
              <a:gd name="T33" fmla="*/ 2 h 177"/>
              <a:gd name="T34" fmla="*/ 92 w 189"/>
              <a:gd name="T35" fmla="*/ 12 h 177"/>
              <a:gd name="T36" fmla="*/ 104 w 189"/>
              <a:gd name="T37" fmla="*/ 20 h 177"/>
              <a:gd name="T38" fmla="*/ 116 w 189"/>
              <a:gd name="T39" fmla="*/ 32 h 177"/>
              <a:gd name="T40" fmla="*/ 114 w 189"/>
              <a:gd name="T41" fmla="*/ 37 h 177"/>
              <a:gd name="T42" fmla="*/ 112 w 189"/>
              <a:gd name="T43" fmla="*/ 45 h 177"/>
              <a:gd name="T44" fmla="*/ 111 w 189"/>
              <a:gd name="T45" fmla="*/ 57 h 177"/>
              <a:gd name="T46" fmla="*/ 122 w 189"/>
              <a:gd name="T47" fmla="*/ 57 h 177"/>
              <a:gd name="T48" fmla="*/ 121 w 189"/>
              <a:gd name="T49" fmla="*/ 69 h 177"/>
              <a:gd name="T50" fmla="*/ 142 w 189"/>
              <a:gd name="T51" fmla="*/ 92 h 177"/>
              <a:gd name="T52" fmla="*/ 170 w 189"/>
              <a:gd name="T53" fmla="*/ 101 h 177"/>
              <a:gd name="T54" fmla="*/ 188 w 189"/>
              <a:gd name="T55" fmla="*/ 107 h 177"/>
              <a:gd name="T56" fmla="*/ 172 w 189"/>
              <a:gd name="T57" fmla="*/ 128 h 177"/>
              <a:gd name="T58" fmla="*/ 160 w 189"/>
              <a:gd name="T59" fmla="*/ 141 h 177"/>
              <a:gd name="T60" fmla="*/ 149 w 189"/>
              <a:gd name="T61" fmla="*/ 153 h 177"/>
              <a:gd name="T62" fmla="*/ 122 w 189"/>
              <a:gd name="T63" fmla="*/ 161 h 177"/>
              <a:gd name="T64" fmla="*/ 107 w 189"/>
              <a:gd name="T65" fmla="*/ 170 h 177"/>
              <a:gd name="T66" fmla="*/ 99 w 189"/>
              <a:gd name="T67" fmla="*/ 165 h 177"/>
              <a:gd name="T68" fmla="*/ 85 w 189"/>
              <a:gd name="T69" fmla="*/ 169 h 177"/>
              <a:gd name="T70" fmla="*/ 72 w 189"/>
              <a:gd name="T71" fmla="*/ 177 h 177"/>
              <a:gd name="T72" fmla="*/ 64 w 189"/>
              <a:gd name="T73" fmla="*/ 173 h 177"/>
              <a:gd name="T74" fmla="*/ 35 w 189"/>
              <a:gd name="T75" fmla="*/ 15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77">
                <a:moveTo>
                  <a:pt x="35" y="159"/>
                </a:moveTo>
                <a:cubicBezTo>
                  <a:pt x="35" y="159"/>
                  <a:pt x="33" y="156"/>
                  <a:pt x="34" y="154"/>
                </a:cubicBezTo>
                <a:cubicBezTo>
                  <a:pt x="34" y="152"/>
                  <a:pt x="34" y="149"/>
                  <a:pt x="34" y="148"/>
                </a:cubicBezTo>
                <a:cubicBezTo>
                  <a:pt x="33" y="146"/>
                  <a:pt x="26" y="144"/>
                  <a:pt x="26" y="144"/>
                </a:cubicBezTo>
                <a:cubicBezTo>
                  <a:pt x="26" y="144"/>
                  <a:pt x="25" y="143"/>
                  <a:pt x="25" y="140"/>
                </a:cubicBezTo>
                <a:cubicBezTo>
                  <a:pt x="25" y="137"/>
                  <a:pt x="23" y="130"/>
                  <a:pt x="22" y="129"/>
                </a:cubicBezTo>
                <a:cubicBezTo>
                  <a:pt x="21" y="127"/>
                  <a:pt x="19" y="125"/>
                  <a:pt x="16" y="123"/>
                </a:cubicBezTo>
                <a:cubicBezTo>
                  <a:pt x="13" y="120"/>
                  <a:pt x="10" y="118"/>
                  <a:pt x="9" y="115"/>
                </a:cubicBezTo>
                <a:cubicBezTo>
                  <a:pt x="9" y="113"/>
                  <a:pt x="7" y="112"/>
                  <a:pt x="6" y="111"/>
                </a:cubicBezTo>
                <a:cubicBezTo>
                  <a:pt x="4" y="110"/>
                  <a:pt x="0" y="106"/>
                  <a:pt x="0" y="106"/>
                </a:cubicBezTo>
                <a:cubicBezTo>
                  <a:pt x="0" y="100"/>
                  <a:pt x="0" y="100"/>
                  <a:pt x="0" y="100"/>
                </a:cubicBezTo>
                <a:cubicBezTo>
                  <a:pt x="9" y="98"/>
                  <a:pt x="9" y="98"/>
                  <a:pt x="9" y="98"/>
                </a:cubicBezTo>
                <a:cubicBezTo>
                  <a:pt x="12" y="91"/>
                  <a:pt x="12" y="91"/>
                  <a:pt x="12" y="91"/>
                </a:cubicBezTo>
                <a:cubicBezTo>
                  <a:pt x="12" y="91"/>
                  <a:pt x="12" y="87"/>
                  <a:pt x="11" y="83"/>
                </a:cubicBezTo>
                <a:cubicBezTo>
                  <a:pt x="9" y="78"/>
                  <a:pt x="10" y="75"/>
                  <a:pt x="11" y="73"/>
                </a:cubicBezTo>
                <a:cubicBezTo>
                  <a:pt x="11" y="72"/>
                  <a:pt x="13" y="70"/>
                  <a:pt x="12" y="69"/>
                </a:cubicBezTo>
                <a:cubicBezTo>
                  <a:pt x="11" y="68"/>
                  <a:pt x="12" y="66"/>
                  <a:pt x="12" y="64"/>
                </a:cubicBezTo>
                <a:cubicBezTo>
                  <a:pt x="12" y="61"/>
                  <a:pt x="15" y="61"/>
                  <a:pt x="17" y="62"/>
                </a:cubicBezTo>
                <a:cubicBezTo>
                  <a:pt x="18" y="64"/>
                  <a:pt x="21" y="62"/>
                  <a:pt x="22" y="61"/>
                </a:cubicBezTo>
                <a:cubicBezTo>
                  <a:pt x="22" y="59"/>
                  <a:pt x="22" y="52"/>
                  <a:pt x="22" y="52"/>
                </a:cubicBezTo>
                <a:cubicBezTo>
                  <a:pt x="22" y="52"/>
                  <a:pt x="23" y="45"/>
                  <a:pt x="24" y="44"/>
                </a:cubicBezTo>
                <a:cubicBezTo>
                  <a:pt x="25" y="43"/>
                  <a:pt x="27" y="39"/>
                  <a:pt x="28" y="38"/>
                </a:cubicBezTo>
                <a:cubicBezTo>
                  <a:pt x="29" y="36"/>
                  <a:pt x="30" y="32"/>
                  <a:pt x="30" y="32"/>
                </a:cubicBezTo>
                <a:cubicBezTo>
                  <a:pt x="37" y="30"/>
                  <a:pt x="37" y="30"/>
                  <a:pt x="37" y="30"/>
                </a:cubicBezTo>
                <a:cubicBezTo>
                  <a:pt x="37" y="23"/>
                  <a:pt x="37" y="23"/>
                  <a:pt x="37" y="23"/>
                </a:cubicBezTo>
                <a:cubicBezTo>
                  <a:pt x="40" y="13"/>
                  <a:pt x="40" y="13"/>
                  <a:pt x="40" y="13"/>
                </a:cubicBezTo>
                <a:cubicBezTo>
                  <a:pt x="42" y="5"/>
                  <a:pt x="42" y="5"/>
                  <a:pt x="42" y="5"/>
                </a:cubicBezTo>
                <a:cubicBezTo>
                  <a:pt x="42" y="5"/>
                  <a:pt x="43" y="5"/>
                  <a:pt x="45" y="6"/>
                </a:cubicBezTo>
                <a:cubicBezTo>
                  <a:pt x="46" y="6"/>
                  <a:pt x="47" y="5"/>
                  <a:pt x="47" y="5"/>
                </a:cubicBezTo>
                <a:cubicBezTo>
                  <a:pt x="47" y="5"/>
                  <a:pt x="50" y="5"/>
                  <a:pt x="51" y="4"/>
                </a:cubicBezTo>
                <a:cubicBezTo>
                  <a:pt x="51" y="2"/>
                  <a:pt x="54" y="1"/>
                  <a:pt x="54" y="1"/>
                </a:cubicBezTo>
                <a:cubicBezTo>
                  <a:pt x="54" y="1"/>
                  <a:pt x="66" y="0"/>
                  <a:pt x="68" y="1"/>
                </a:cubicBezTo>
                <a:cubicBezTo>
                  <a:pt x="69" y="2"/>
                  <a:pt x="72" y="2"/>
                  <a:pt x="73" y="2"/>
                </a:cubicBezTo>
                <a:cubicBezTo>
                  <a:pt x="74" y="2"/>
                  <a:pt x="80" y="2"/>
                  <a:pt x="80" y="2"/>
                </a:cubicBezTo>
                <a:cubicBezTo>
                  <a:pt x="80" y="2"/>
                  <a:pt x="85" y="6"/>
                  <a:pt x="86" y="7"/>
                </a:cubicBezTo>
                <a:cubicBezTo>
                  <a:pt x="87" y="9"/>
                  <a:pt x="92" y="12"/>
                  <a:pt x="92" y="12"/>
                </a:cubicBezTo>
                <a:cubicBezTo>
                  <a:pt x="100" y="16"/>
                  <a:pt x="100" y="16"/>
                  <a:pt x="100" y="16"/>
                </a:cubicBezTo>
                <a:cubicBezTo>
                  <a:pt x="100" y="16"/>
                  <a:pt x="104" y="18"/>
                  <a:pt x="104" y="20"/>
                </a:cubicBezTo>
                <a:cubicBezTo>
                  <a:pt x="105" y="22"/>
                  <a:pt x="108" y="25"/>
                  <a:pt x="110" y="28"/>
                </a:cubicBezTo>
                <a:cubicBezTo>
                  <a:pt x="112" y="30"/>
                  <a:pt x="116" y="32"/>
                  <a:pt x="116" y="32"/>
                </a:cubicBezTo>
                <a:cubicBezTo>
                  <a:pt x="116" y="33"/>
                  <a:pt x="116" y="33"/>
                  <a:pt x="116" y="33"/>
                </a:cubicBezTo>
                <a:cubicBezTo>
                  <a:pt x="116" y="34"/>
                  <a:pt x="115" y="35"/>
                  <a:pt x="114" y="37"/>
                </a:cubicBezTo>
                <a:cubicBezTo>
                  <a:pt x="114" y="38"/>
                  <a:pt x="113" y="40"/>
                  <a:pt x="113" y="41"/>
                </a:cubicBezTo>
                <a:cubicBezTo>
                  <a:pt x="114" y="42"/>
                  <a:pt x="113" y="43"/>
                  <a:pt x="112" y="45"/>
                </a:cubicBezTo>
                <a:cubicBezTo>
                  <a:pt x="111" y="46"/>
                  <a:pt x="110" y="47"/>
                  <a:pt x="110" y="50"/>
                </a:cubicBezTo>
                <a:cubicBezTo>
                  <a:pt x="109" y="54"/>
                  <a:pt x="110" y="55"/>
                  <a:pt x="111" y="57"/>
                </a:cubicBezTo>
                <a:cubicBezTo>
                  <a:pt x="113" y="58"/>
                  <a:pt x="117" y="58"/>
                  <a:pt x="117" y="58"/>
                </a:cubicBezTo>
                <a:cubicBezTo>
                  <a:pt x="118" y="58"/>
                  <a:pt x="121" y="57"/>
                  <a:pt x="122" y="57"/>
                </a:cubicBezTo>
                <a:cubicBezTo>
                  <a:pt x="122" y="58"/>
                  <a:pt x="123" y="60"/>
                  <a:pt x="122" y="61"/>
                </a:cubicBezTo>
                <a:cubicBezTo>
                  <a:pt x="121" y="63"/>
                  <a:pt x="120" y="65"/>
                  <a:pt x="121" y="69"/>
                </a:cubicBezTo>
                <a:cubicBezTo>
                  <a:pt x="123" y="72"/>
                  <a:pt x="129" y="77"/>
                  <a:pt x="131" y="82"/>
                </a:cubicBezTo>
                <a:cubicBezTo>
                  <a:pt x="135" y="87"/>
                  <a:pt x="140" y="91"/>
                  <a:pt x="142" y="92"/>
                </a:cubicBezTo>
                <a:cubicBezTo>
                  <a:pt x="144" y="94"/>
                  <a:pt x="148" y="94"/>
                  <a:pt x="152" y="95"/>
                </a:cubicBezTo>
                <a:cubicBezTo>
                  <a:pt x="157" y="96"/>
                  <a:pt x="166" y="100"/>
                  <a:pt x="170" y="101"/>
                </a:cubicBezTo>
                <a:cubicBezTo>
                  <a:pt x="174" y="102"/>
                  <a:pt x="182" y="105"/>
                  <a:pt x="184" y="105"/>
                </a:cubicBezTo>
                <a:cubicBezTo>
                  <a:pt x="187" y="104"/>
                  <a:pt x="189" y="104"/>
                  <a:pt x="188" y="107"/>
                </a:cubicBezTo>
                <a:cubicBezTo>
                  <a:pt x="187" y="110"/>
                  <a:pt x="181" y="116"/>
                  <a:pt x="177" y="119"/>
                </a:cubicBezTo>
                <a:cubicBezTo>
                  <a:pt x="173" y="122"/>
                  <a:pt x="172" y="128"/>
                  <a:pt x="172" y="128"/>
                </a:cubicBezTo>
                <a:cubicBezTo>
                  <a:pt x="172" y="128"/>
                  <a:pt x="172" y="133"/>
                  <a:pt x="167" y="134"/>
                </a:cubicBezTo>
                <a:cubicBezTo>
                  <a:pt x="162" y="136"/>
                  <a:pt x="162" y="138"/>
                  <a:pt x="160" y="141"/>
                </a:cubicBezTo>
                <a:cubicBezTo>
                  <a:pt x="159" y="144"/>
                  <a:pt x="153" y="151"/>
                  <a:pt x="153" y="151"/>
                </a:cubicBezTo>
                <a:cubicBezTo>
                  <a:pt x="153" y="151"/>
                  <a:pt x="152" y="153"/>
                  <a:pt x="149" y="153"/>
                </a:cubicBezTo>
                <a:cubicBezTo>
                  <a:pt x="146" y="153"/>
                  <a:pt x="144" y="153"/>
                  <a:pt x="137" y="154"/>
                </a:cubicBezTo>
                <a:cubicBezTo>
                  <a:pt x="130" y="155"/>
                  <a:pt x="127" y="158"/>
                  <a:pt x="122" y="161"/>
                </a:cubicBezTo>
                <a:cubicBezTo>
                  <a:pt x="117" y="165"/>
                  <a:pt x="114" y="167"/>
                  <a:pt x="114" y="167"/>
                </a:cubicBezTo>
                <a:cubicBezTo>
                  <a:pt x="114" y="167"/>
                  <a:pt x="109" y="169"/>
                  <a:pt x="107" y="170"/>
                </a:cubicBezTo>
                <a:cubicBezTo>
                  <a:pt x="105" y="170"/>
                  <a:pt x="102" y="170"/>
                  <a:pt x="102" y="168"/>
                </a:cubicBezTo>
                <a:cubicBezTo>
                  <a:pt x="101" y="166"/>
                  <a:pt x="100" y="165"/>
                  <a:pt x="99" y="165"/>
                </a:cubicBezTo>
                <a:cubicBezTo>
                  <a:pt x="98" y="165"/>
                  <a:pt x="93" y="163"/>
                  <a:pt x="90" y="164"/>
                </a:cubicBezTo>
                <a:cubicBezTo>
                  <a:pt x="87" y="165"/>
                  <a:pt x="87" y="167"/>
                  <a:pt x="85" y="169"/>
                </a:cubicBezTo>
                <a:cubicBezTo>
                  <a:pt x="83" y="172"/>
                  <a:pt x="84" y="172"/>
                  <a:pt x="82" y="174"/>
                </a:cubicBezTo>
                <a:cubicBezTo>
                  <a:pt x="80" y="176"/>
                  <a:pt x="72" y="177"/>
                  <a:pt x="72" y="177"/>
                </a:cubicBezTo>
                <a:cubicBezTo>
                  <a:pt x="70" y="176"/>
                  <a:pt x="70" y="176"/>
                  <a:pt x="70" y="176"/>
                </a:cubicBezTo>
                <a:cubicBezTo>
                  <a:pt x="70" y="176"/>
                  <a:pt x="66" y="174"/>
                  <a:pt x="64" y="173"/>
                </a:cubicBezTo>
                <a:cubicBezTo>
                  <a:pt x="61" y="172"/>
                  <a:pt x="59" y="171"/>
                  <a:pt x="55" y="165"/>
                </a:cubicBezTo>
                <a:cubicBezTo>
                  <a:pt x="51" y="159"/>
                  <a:pt x="41" y="159"/>
                  <a:pt x="35" y="15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59" name="South Sudan"/>
          <p:cNvSpPr>
            <a:spLocks/>
          </p:cNvSpPr>
          <p:nvPr/>
        </p:nvSpPr>
        <p:spPr bwMode="auto">
          <a:xfrm>
            <a:off x="6846197" y="3698170"/>
            <a:ext cx="331538" cy="276009"/>
          </a:xfrm>
          <a:custGeom>
            <a:avLst/>
            <a:gdLst>
              <a:gd name="T0" fmla="*/ 161 w 162"/>
              <a:gd name="T1" fmla="*/ 109 h 135"/>
              <a:gd name="T2" fmla="*/ 152 w 162"/>
              <a:gd name="T3" fmla="*/ 101 h 135"/>
              <a:gd name="T4" fmla="*/ 143 w 162"/>
              <a:gd name="T5" fmla="*/ 84 h 135"/>
              <a:gd name="T6" fmla="*/ 133 w 162"/>
              <a:gd name="T7" fmla="*/ 72 h 135"/>
              <a:gd name="T8" fmla="*/ 127 w 162"/>
              <a:gd name="T9" fmla="*/ 61 h 135"/>
              <a:gd name="T10" fmla="*/ 139 w 162"/>
              <a:gd name="T11" fmla="*/ 52 h 135"/>
              <a:gd name="T12" fmla="*/ 137 w 162"/>
              <a:gd name="T13" fmla="*/ 43 h 135"/>
              <a:gd name="T14" fmla="*/ 132 w 162"/>
              <a:gd name="T15" fmla="*/ 42 h 135"/>
              <a:gd name="T16" fmla="*/ 122 w 162"/>
              <a:gd name="T17" fmla="*/ 21 h 135"/>
              <a:gd name="T18" fmla="*/ 120 w 162"/>
              <a:gd name="T19" fmla="*/ 11 h 135"/>
              <a:gd name="T20" fmla="*/ 121 w 162"/>
              <a:gd name="T21" fmla="*/ 0 h 135"/>
              <a:gd name="T22" fmla="*/ 114 w 162"/>
              <a:gd name="T23" fmla="*/ 4 h 135"/>
              <a:gd name="T24" fmla="*/ 106 w 162"/>
              <a:gd name="T25" fmla="*/ 4 h 135"/>
              <a:gd name="T26" fmla="*/ 109 w 162"/>
              <a:gd name="T27" fmla="*/ 8 h 135"/>
              <a:gd name="T28" fmla="*/ 111 w 162"/>
              <a:gd name="T29" fmla="*/ 19 h 135"/>
              <a:gd name="T30" fmla="*/ 94 w 162"/>
              <a:gd name="T31" fmla="*/ 38 h 135"/>
              <a:gd name="T32" fmla="*/ 88 w 162"/>
              <a:gd name="T33" fmla="*/ 37 h 135"/>
              <a:gd name="T34" fmla="*/ 85 w 162"/>
              <a:gd name="T35" fmla="*/ 34 h 135"/>
              <a:gd name="T36" fmla="*/ 78 w 162"/>
              <a:gd name="T37" fmla="*/ 29 h 135"/>
              <a:gd name="T38" fmla="*/ 72 w 162"/>
              <a:gd name="T39" fmla="*/ 32 h 135"/>
              <a:gd name="T40" fmla="*/ 66 w 162"/>
              <a:gd name="T41" fmla="*/ 38 h 135"/>
              <a:gd name="T42" fmla="*/ 63 w 162"/>
              <a:gd name="T43" fmla="*/ 41 h 135"/>
              <a:gd name="T44" fmla="*/ 59 w 162"/>
              <a:gd name="T45" fmla="*/ 43 h 135"/>
              <a:gd name="T46" fmla="*/ 52 w 162"/>
              <a:gd name="T47" fmla="*/ 43 h 135"/>
              <a:gd name="T48" fmla="*/ 50 w 162"/>
              <a:gd name="T49" fmla="*/ 39 h 135"/>
              <a:gd name="T50" fmla="*/ 43 w 162"/>
              <a:gd name="T51" fmla="*/ 39 h 135"/>
              <a:gd name="T52" fmla="*/ 37 w 162"/>
              <a:gd name="T53" fmla="*/ 40 h 135"/>
              <a:gd name="T54" fmla="*/ 31 w 162"/>
              <a:gd name="T55" fmla="*/ 40 h 135"/>
              <a:gd name="T56" fmla="*/ 26 w 162"/>
              <a:gd name="T57" fmla="*/ 35 h 135"/>
              <a:gd name="T58" fmla="*/ 22 w 162"/>
              <a:gd name="T59" fmla="*/ 31 h 135"/>
              <a:gd name="T60" fmla="*/ 11 w 162"/>
              <a:gd name="T61" fmla="*/ 27 h 135"/>
              <a:gd name="T62" fmla="*/ 10 w 162"/>
              <a:gd name="T63" fmla="*/ 33 h 135"/>
              <a:gd name="T64" fmla="*/ 3 w 162"/>
              <a:gd name="T65" fmla="*/ 36 h 135"/>
              <a:gd name="T66" fmla="*/ 4 w 162"/>
              <a:gd name="T67" fmla="*/ 43 h 135"/>
              <a:gd name="T68" fmla="*/ 2 w 162"/>
              <a:gd name="T69" fmla="*/ 54 h 135"/>
              <a:gd name="T70" fmla="*/ 12 w 162"/>
              <a:gd name="T71" fmla="*/ 55 h 135"/>
              <a:gd name="T72" fmla="*/ 17 w 162"/>
              <a:gd name="T73" fmla="*/ 61 h 135"/>
              <a:gd name="T74" fmla="*/ 25 w 162"/>
              <a:gd name="T75" fmla="*/ 68 h 135"/>
              <a:gd name="T76" fmla="*/ 28 w 162"/>
              <a:gd name="T77" fmla="*/ 77 h 135"/>
              <a:gd name="T78" fmla="*/ 39 w 162"/>
              <a:gd name="T79" fmla="*/ 84 h 135"/>
              <a:gd name="T80" fmla="*/ 40 w 162"/>
              <a:gd name="T81" fmla="*/ 90 h 135"/>
              <a:gd name="T82" fmla="*/ 48 w 162"/>
              <a:gd name="T83" fmla="*/ 97 h 135"/>
              <a:gd name="T84" fmla="*/ 51 w 162"/>
              <a:gd name="T85" fmla="*/ 104 h 135"/>
              <a:gd name="T86" fmla="*/ 51 w 162"/>
              <a:gd name="T87" fmla="*/ 111 h 135"/>
              <a:gd name="T88" fmla="*/ 63 w 162"/>
              <a:gd name="T89" fmla="*/ 120 h 135"/>
              <a:gd name="T90" fmla="*/ 74 w 162"/>
              <a:gd name="T91" fmla="*/ 120 h 135"/>
              <a:gd name="T92" fmla="*/ 85 w 162"/>
              <a:gd name="T93" fmla="*/ 120 h 135"/>
              <a:gd name="T94" fmla="*/ 90 w 162"/>
              <a:gd name="T95" fmla="*/ 131 h 135"/>
              <a:gd name="T96" fmla="*/ 97 w 162"/>
              <a:gd name="T97" fmla="*/ 133 h 135"/>
              <a:gd name="T98" fmla="*/ 101 w 162"/>
              <a:gd name="T99" fmla="*/ 133 h 135"/>
              <a:gd name="T100" fmla="*/ 113 w 162"/>
              <a:gd name="T101" fmla="*/ 132 h 135"/>
              <a:gd name="T102" fmla="*/ 123 w 162"/>
              <a:gd name="T103" fmla="*/ 130 h 135"/>
              <a:gd name="T104" fmla="*/ 130 w 162"/>
              <a:gd name="T105" fmla="*/ 131 h 135"/>
              <a:gd name="T106" fmla="*/ 137 w 162"/>
              <a:gd name="T107" fmla="*/ 125 h 135"/>
              <a:gd name="T108" fmla="*/ 143 w 162"/>
              <a:gd name="T109" fmla="*/ 120 h 135"/>
              <a:gd name="T110" fmla="*/ 162 w 162"/>
              <a:gd name="T111" fmla="*/ 12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 h="135">
                <a:moveTo>
                  <a:pt x="161" y="115"/>
                </a:moveTo>
                <a:cubicBezTo>
                  <a:pt x="161" y="113"/>
                  <a:pt x="161" y="110"/>
                  <a:pt x="161" y="109"/>
                </a:cubicBezTo>
                <a:cubicBezTo>
                  <a:pt x="160" y="107"/>
                  <a:pt x="153" y="105"/>
                  <a:pt x="153" y="105"/>
                </a:cubicBezTo>
                <a:cubicBezTo>
                  <a:pt x="153" y="105"/>
                  <a:pt x="152" y="104"/>
                  <a:pt x="152" y="101"/>
                </a:cubicBezTo>
                <a:cubicBezTo>
                  <a:pt x="152" y="98"/>
                  <a:pt x="150" y="91"/>
                  <a:pt x="149" y="90"/>
                </a:cubicBezTo>
                <a:cubicBezTo>
                  <a:pt x="148" y="88"/>
                  <a:pt x="146" y="86"/>
                  <a:pt x="143" y="84"/>
                </a:cubicBezTo>
                <a:cubicBezTo>
                  <a:pt x="140" y="81"/>
                  <a:pt x="137" y="79"/>
                  <a:pt x="136" y="76"/>
                </a:cubicBezTo>
                <a:cubicBezTo>
                  <a:pt x="136" y="74"/>
                  <a:pt x="134" y="73"/>
                  <a:pt x="133" y="72"/>
                </a:cubicBezTo>
                <a:cubicBezTo>
                  <a:pt x="131" y="71"/>
                  <a:pt x="127" y="67"/>
                  <a:pt x="127" y="67"/>
                </a:cubicBezTo>
                <a:cubicBezTo>
                  <a:pt x="127" y="61"/>
                  <a:pt x="127" y="61"/>
                  <a:pt x="127" y="61"/>
                </a:cubicBezTo>
                <a:cubicBezTo>
                  <a:pt x="136" y="59"/>
                  <a:pt x="136" y="59"/>
                  <a:pt x="136" y="59"/>
                </a:cubicBezTo>
                <a:cubicBezTo>
                  <a:pt x="139" y="52"/>
                  <a:pt x="139" y="52"/>
                  <a:pt x="139" y="52"/>
                </a:cubicBezTo>
                <a:cubicBezTo>
                  <a:pt x="139" y="52"/>
                  <a:pt x="139" y="48"/>
                  <a:pt x="138" y="44"/>
                </a:cubicBezTo>
                <a:cubicBezTo>
                  <a:pt x="137" y="43"/>
                  <a:pt x="137" y="43"/>
                  <a:pt x="137" y="43"/>
                </a:cubicBezTo>
                <a:cubicBezTo>
                  <a:pt x="136" y="43"/>
                  <a:pt x="136" y="43"/>
                  <a:pt x="136" y="43"/>
                </a:cubicBezTo>
                <a:cubicBezTo>
                  <a:pt x="132" y="42"/>
                  <a:pt x="132" y="42"/>
                  <a:pt x="132" y="42"/>
                </a:cubicBezTo>
                <a:cubicBezTo>
                  <a:pt x="133" y="40"/>
                  <a:pt x="132" y="32"/>
                  <a:pt x="132" y="32"/>
                </a:cubicBezTo>
                <a:cubicBezTo>
                  <a:pt x="130" y="30"/>
                  <a:pt x="122" y="21"/>
                  <a:pt x="122" y="21"/>
                </a:cubicBezTo>
                <a:cubicBezTo>
                  <a:pt x="121" y="19"/>
                  <a:pt x="121" y="19"/>
                  <a:pt x="121" y="19"/>
                </a:cubicBezTo>
                <a:cubicBezTo>
                  <a:pt x="121" y="19"/>
                  <a:pt x="121" y="15"/>
                  <a:pt x="120" y="11"/>
                </a:cubicBezTo>
                <a:cubicBezTo>
                  <a:pt x="120" y="6"/>
                  <a:pt x="121" y="1"/>
                  <a:pt x="121" y="1"/>
                </a:cubicBezTo>
                <a:cubicBezTo>
                  <a:pt x="121" y="0"/>
                  <a:pt x="121" y="0"/>
                  <a:pt x="121" y="0"/>
                </a:cubicBezTo>
                <a:cubicBezTo>
                  <a:pt x="114" y="0"/>
                  <a:pt x="114" y="0"/>
                  <a:pt x="114" y="0"/>
                </a:cubicBezTo>
                <a:cubicBezTo>
                  <a:pt x="114" y="4"/>
                  <a:pt x="114" y="4"/>
                  <a:pt x="114" y="4"/>
                </a:cubicBezTo>
                <a:cubicBezTo>
                  <a:pt x="110" y="4"/>
                  <a:pt x="110" y="4"/>
                  <a:pt x="110" y="4"/>
                </a:cubicBezTo>
                <a:cubicBezTo>
                  <a:pt x="106" y="4"/>
                  <a:pt x="106" y="4"/>
                  <a:pt x="106" y="4"/>
                </a:cubicBezTo>
                <a:cubicBezTo>
                  <a:pt x="107" y="6"/>
                  <a:pt x="107" y="6"/>
                  <a:pt x="107" y="6"/>
                </a:cubicBezTo>
                <a:cubicBezTo>
                  <a:pt x="109" y="8"/>
                  <a:pt x="109" y="8"/>
                  <a:pt x="109" y="8"/>
                </a:cubicBezTo>
                <a:cubicBezTo>
                  <a:pt x="110" y="13"/>
                  <a:pt x="110" y="13"/>
                  <a:pt x="110" y="13"/>
                </a:cubicBezTo>
                <a:cubicBezTo>
                  <a:pt x="111" y="19"/>
                  <a:pt x="111" y="19"/>
                  <a:pt x="111" y="19"/>
                </a:cubicBezTo>
                <a:cubicBezTo>
                  <a:pt x="106" y="20"/>
                  <a:pt x="97" y="37"/>
                  <a:pt x="97" y="37"/>
                </a:cubicBezTo>
                <a:cubicBezTo>
                  <a:pt x="94" y="38"/>
                  <a:pt x="94" y="38"/>
                  <a:pt x="94" y="38"/>
                </a:cubicBezTo>
                <a:cubicBezTo>
                  <a:pt x="90" y="38"/>
                  <a:pt x="90" y="38"/>
                  <a:pt x="90" y="38"/>
                </a:cubicBezTo>
                <a:cubicBezTo>
                  <a:pt x="88" y="37"/>
                  <a:pt x="88" y="37"/>
                  <a:pt x="88" y="37"/>
                </a:cubicBezTo>
                <a:cubicBezTo>
                  <a:pt x="87" y="36"/>
                  <a:pt x="87" y="36"/>
                  <a:pt x="87" y="36"/>
                </a:cubicBezTo>
                <a:cubicBezTo>
                  <a:pt x="85" y="34"/>
                  <a:pt x="85" y="34"/>
                  <a:pt x="85" y="34"/>
                </a:cubicBezTo>
                <a:cubicBezTo>
                  <a:pt x="81" y="31"/>
                  <a:pt x="81" y="31"/>
                  <a:pt x="81" y="31"/>
                </a:cubicBezTo>
                <a:cubicBezTo>
                  <a:pt x="78" y="29"/>
                  <a:pt x="78" y="29"/>
                  <a:pt x="78" y="29"/>
                </a:cubicBezTo>
                <a:cubicBezTo>
                  <a:pt x="76" y="30"/>
                  <a:pt x="76" y="30"/>
                  <a:pt x="76" y="30"/>
                </a:cubicBezTo>
                <a:cubicBezTo>
                  <a:pt x="72" y="32"/>
                  <a:pt x="72" y="32"/>
                  <a:pt x="72" y="32"/>
                </a:cubicBezTo>
                <a:cubicBezTo>
                  <a:pt x="72" y="37"/>
                  <a:pt x="72" y="37"/>
                  <a:pt x="72" y="37"/>
                </a:cubicBezTo>
                <a:cubicBezTo>
                  <a:pt x="66" y="38"/>
                  <a:pt x="66" y="38"/>
                  <a:pt x="66" y="38"/>
                </a:cubicBezTo>
                <a:cubicBezTo>
                  <a:pt x="64" y="39"/>
                  <a:pt x="64" y="39"/>
                  <a:pt x="64" y="39"/>
                </a:cubicBezTo>
                <a:cubicBezTo>
                  <a:pt x="63" y="41"/>
                  <a:pt x="63" y="41"/>
                  <a:pt x="63" y="41"/>
                </a:cubicBezTo>
                <a:cubicBezTo>
                  <a:pt x="61" y="43"/>
                  <a:pt x="61" y="43"/>
                  <a:pt x="61" y="43"/>
                </a:cubicBezTo>
                <a:cubicBezTo>
                  <a:pt x="59" y="43"/>
                  <a:pt x="59" y="43"/>
                  <a:pt x="59" y="43"/>
                </a:cubicBezTo>
                <a:cubicBezTo>
                  <a:pt x="55" y="43"/>
                  <a:pt x="55" y="43"/>
                  <a:pt x="55" y="43"/>
                </a:cubicBezTo>
                <a:cubicBezTo>
                  <a:pt x="52" y="43"/>
                  <a:pt x="52" y="43"/>
                  <a:pt x="52" y="43"/>
                </a:cubicBezTo>
                <a:cubicBezTo>
                  <a:pt x="51" y="42"/>
                  <a:pt x="51" y="42"/>
                  <a:pt x="51" y="42"/>
                </a:cubicBezTo>
                <a:cubicBezTo>
                  <a:pt x="50" y="39"/>
                  <a:pt x="50" y="39"/>
                  <a:pt x="50" y="39"/>
                </a:cubicBezTo>
                <a:cubicBezTo>
                  <a:pt x="46" y="39"/>
                  <a:pt x="46" y="39"/>
                  <a:pt x="46" y="39"/>
                </a:cubicBezTo>
                <a:cubicBezTo>
                  <a:pt x="43" y="39"/>
                  <a:pt x="43" y="39"/>
                  <a:pt x="43" y="39"/>
                </a:cubicBezTo>
                <a:cubicBezTo>
                  <a:pt x="41" y="39"/>
                  <a:pt x="41" y="39"/>
                  <a:pt x="41" y="39"/>
                </a:cubicBezTo>
                <a:cubicBezTo>
                  <a:pt x="37" y="40"/>
                  <a:pt x="37" y="40"/>
                  <a:pt x="37" y="40"/>
                </a:cubicBezTo>
                <a:cubicBezTo>
                  <a:pt x="34" y="41"/>
                  <a:pt x="34" y="41"/>
                  <a:pt x="34" y="41"/>
                </a:cubicBezTo>
                <a:cubicBezTo>
                  <a:pt x="31" y="40"/>
                  <a:pt x="31" y="40"/>
                  <a:pt x="31" y="40"/>
                </a:cubicBezTo>
                <a:cubicBezTo>
                  <a:pt x="28" y="39"/>
                  <a:pt x="28" y="39"/>
                  <a:pt x="28" y="39"/>
                </a:cubicBezTo>
                <a:cubicBezTo>
                  <a:pt x="26" y="35"/>
                  <a:pt x="26" y="35"/>
                  <a:pt x="26" y="35"/>
                </a:cubicBezTo>
                <a:cubicBezTo>
                  <a:pt x="25" y="33"/>
                  <a:pt x="25" y="33"/>
                  <a:pt x="25" y="33"/>
                </a:cubicBezTo>
                <a:cubicBezTo>
                  <a:pt x="22" y="31"/>
                  <a:pt x="22" y="31"/>
                  <a:pt x="22" y="31"/>
                </a:cubicBezTo>
                <a:cubicBezTo>
                  <a:pt x="22" y="26"/>
                  <a:pt x="22" y="26"/>
                  <a:pt x="22" y="26"/>
                </a:cubicBezTo>
                <a:cubicBezTo>
                  <a:pt x="11" y="27"/>
                  <a:pt x="11" y="27"/>
                  <a:pt x="11" y="27"/>
                </a:cubicBezTo>
                <a:cubicBezTo>
                  <a:pt x="11" y="29"/>
                  <a:pt x="11" y="29"/>
                  <a:pt x="11" y="29"/>
                </a:cubicBezTo>
                <a:cubicBezTo>
                  <a:pt x="10" y="33"/>
                  <a:pt x="10" y="33"/>
                  <a:pt x="10" y="33"/>
                </a:cubicBezTo>
                <a:cubicBezTo>
                  <a:pt x="7" y="36"/>
                  <a:pt x="7" y="36"/>
                  <a:pt x="7" y="36"/>
                </a:cubicBezTo>
                <a:cubicBezTo>
                  <a:pt x="3" y="36"/>
                  <a:pt x="3" y="36"/>
                  <a:pt x="3" y="36"/>
                </a:cubicBezTo>
                <a:cubicBezTo>
                  <a:pt x="2" y="36"/>
                  <a:pt x="2" y="36"/>
                  <a:pt x="2" y="36"/>
                </a:cubicBezTo>
                <a:cubicBezTo>
                  <a:pt x="3" y="39"/>
                  <a:pt x="4" y="43"/>
                  <a:pt x="4" y="43"/>
                </a:cubicBezTo>
                <a:cubicBezTo>
                  <a:pt x="0" y="47"/>
                  <a:pt x="0" y="47"/>
                  <a:pt x="0" y="47"/>
                </a:cubicBezTo>
                <a:cubicBezTo>
                  <a:pt x="0" y="47"/>
                  <a:pt x="2" y="53"/>
                  <a:pt x="2" y="54"/>
                </a:cubicBezTo>
                <a:cubicBezTo>
                  <a:pt x="2" y="55"/>
                  <a:pt x="7" y="54"/>
                  <a:pt x="8" y="54"/>
                </a:cubicBezTo>
                <a:cubicBezTo>
                  <a:pt x="10" y="54"/>
                  <a:pt x="12" y="54"/>
                  <a:pt x="12" y="55"/>
                </a:cubicBezTo>
                <a:cubicBezTo>
                  <a:pt x="11" y="56"/>
                  <a:pt x="11" y="57"/>
                  <a:pt x="11" y="59"/>
                </a:cubicBezTo>
                <a:cubicBezTo>
                  <a:pt x="11" y="61"/>
                  <a:pt x="14" y="61"/>
                  <a:pt x="17" y="61"/>
                </a:cubicBezTo>
                <a:cubicBezTo>
                  <a:pt x="20" y="61"/>
                  <a:pt x="21" y="63"/>
                  <a:pt x="22" y="64"/>
                </a:cubicBezTo>
                <a:cubicBezTo>
                  <a:pt x="22" y="66"/>
                  <a:pt x="22" y="67"/>
                  <a:pt x="25" y="68"/>
                </a:cubicBezTo>
                <a:cubicBezTo>
                  <a:pt x="28" y="68"/>
                  <a:pt x="26" y="72"/>
                  <a:pt x="26" y="72"/>
                </a:cubicBezTo>
                <a:cubicBezTo>
                  <a:pt x="26" y="72"/>
                  <a:pt x="26" y="76"/>
                  <a:pt x="28" y="77"/>
                </a:cubicBezTo>
                <a:cubicBezTo>
                  <a:pt x="30" y="78"/>
                  <a:pt x="36" y="81"/>
                  <a:pt x="36" y="83"/>
                </a:cubicBezTo>
                <a:cubicBezTo>
                  <a:pt x="37" y="86"/>
                  <a:pt x="39" y="84"/>
                  <a:pt x="39" y="84"/>
                </a:cubicBezTo>
                <a:cubicBezTo>
                  <a:pt x="40" y="86"/>
                  <a:pt x="42" y="88"/>
                  <a:pt x="42" y="88"/>
                </a:cubicBezTo>
                <a:cubicBezTo>
                  <a:pt x="40" y="90"/>
                  <a:pt x="40" y="90"/>
                  <a:pt x="40" y="90"/>
                </a:cubicBezTo>
                <a:cubicBezTo>
                  <a:pt x="45" y="96"/>
                  <a:pt x="45" y="96"/>
                  <a:pt x="45" y="96"/>
                </a:cubicBezTo>
                <a:cubicBezTo>
                  <a:pt x="45" y="96"/>
                  <a:pt x="46" y="94"/>
                  <a:pt x="48" y="97"/>
                </a:cubicBezTo>
                <a:cubicBezTo>
                  <a:pt x="50" y="100"/>
                  <a:pt x="49" y="100"/>
                  <a:pt x="50" y="100"/>
                </a:cubicBezTo>
                <a:cubicBezTo>
                  <a:pt x="51" y="101"/>
                  <a:pt x="51" y="104"/>
                  <a:pt x="51" y="104"/>
                </a:cubicBezTo>
                <a:cubicBezTo>
                  <a:pt x="51" y="104"/>
                  <a:pt x="51" y="106"/>
                  <a:pt x="51" y="107"/>
                </a:cubicBezTo>
                <a:cubicBezTo>
                  <a:pt x="51" y="108"/>
                  <a:pt x="51" y="111"/>
                  <a:pt x="51" y="111"/>
                </a:cubicBezTo>
                <a:cubicBezTo>
                  <a:pt x="53" y="113"/>
                  <a:pt x="56" y="116"/>
                  <a:pt x="58" y="117"/>
                </a:cubicBezTo>
                <a:cubicBezTo>
                  <a:pt x="60" y="119"/>
                  <a:pt x="63" y="120"/>
                  <a:pt x="63" y="120"/>
                </a:cubicBezTo>
                <a:cubicBezTo>
                  <a:pt x="68" y="120"/>
                  <a:pt x="68" y="120"/>
                  <a:pt x="68" y="120"/>
                </a:cubicBezTo>
                <a:cubicBezTo>
                  <a:pt x="68" y="120"/>
                  <a:pt x="72" y="119"/>
                  <a:pt x="74" y="120"/>
                </a:cubicBezTo>
                <a:cubicBezTo>
                  <a:pt x="75" y="121"/>
                  <a:pt x="77" y="120"/>
                  <a:pt x="78" y="119"/>
                </a:cubicBezTo>
                <a:cubicBezTo>
                  <a:pt x="80" y="117"/>
                  <a:pt x="85" y="120"/>
                  <a:pt x="85" y="120"/>
                </a:cubicBezTo>
                <a:cubicBezTo>
                  <a:pt x="85" y="120"/>
                  <a:pt x="86" y="121"/>
                  <a:pt x="87" y="124"/>
                </a:cubicBezTo>
                <a:cubicBezTo>
                  <a:pt x="88" y="127"/>
                  <a:pt x="90" y="131"/>
                  <a:pt x="90" y="131"/>
                </a:cubicBezTo>
                <a:cubicBezTo>
                  <a:pt x="90" y="131"/>
                  <a:pt x="90" y="132"/>
                  <a:pt x="92" y="132"/>
                </a:cubicBezTo>
                <a:cubicBezTo>
                  <a:pt x="94" y="132"/>
                  <a:pt x="95" y="132"/>
                  <a:pt x="97" y="133"/>
                </a:cubicBezTo>
                <a:cubicBezTo>
                  <a:pt x="96" y="133"/>
                  <a:pt x="96" y="133"/>
                  <a:pt x="97" y="134"/>
                </a:cubicBezTo>
                <a:cubicBezTo>
                  <a:pt x="96" y="132"/>
                  <a:pt x="101" y="133"/>
                  <a:pt x="101" y="133"/>
                </a:cubicBezTo>
                <a:cubicBezTo>
                  <a:pt x="101" y="133"/>
                  <a:pt x="106" y="135"/>
                  <a:pt x="108" y="133"/>
                </a:cubicBezTo>
                <a:cubicBezTo>
                  <a:pt x="110" y="131"/>
                  <a:pt x="113" y="132"/>
                  <a:pt x="113" y="132"/>
                </a:cubicBezTo>
                <a:cubicBezTo>
                  <a:pt x="113" y="132"/>
                  <a:pt x="116" y="133"/>
                  <a:pt x="117" y="131"/>
                </a:cubicBezTo>
                <a:cubicBezTo>
                  <a:pt x="118" y="129"/>
                  <a:pt x="121" y="129"/>
                  <a:pt x="123" y="130"/>
                </a:cubicBezTo>
                <a:cubicBezTo>
                  <a:pt x="124" y="130"/>
                  <a:pt x="125" y="130"/>
                  <a:pt x="126" y="130"/>
                </a:cubicBezTo>
                <a:cubicBezTo>
                  <a:pt x="127" y="130"/>
                  <a:pt x="128" y="131"/>
                  <a:pt x="130" y="131"/>
                </a:cubicBezTo>
                <a:cubicBezTo>
                  <a:pt x="132" y="131"/>
                  <a:pt x="134" y="128"/>
                  <a:pt x="135" y="127"/>
                </a:cubicBezTo>
                <a:cubicBezTo>
                  <a:pt x="136" y="126"/>
                  <a:pt x="137" y="125"/>
                  <a:pt x="137" y="125"/>
                </a:cubicBezTo>
                <a:cubicBezTo>
                  <a:pt x="139" y="124"/>
                  <a:pt x="139" y="124"/>
                  <a:pt x="139" y="124"/>
                </a:cubicBezTo>
                <a:cubicBezTo>
                  <a:pt x="139" y="123"/>
                  <a:pt x="139" y="120"/>
                  <a:pt x="143" y="120"/>
                </a:cubicBezTo>
                <a:cubicBezTo>
                  <a:pt x="146" y="120"/>
                  <a:pt x="157" y="120"/>
                  <a:pt x="159" y="120"/>
                </a:cubicBezTo>
                <a:cubicBezTo>
                  <a:pt x="159" y="120"/>
                  <a:pt x="160" y="120"/>
                  <a:pt x="162" y="120"/>
                </a:cubicBezTo>
                <a:cubicBezTo>
                  <a:pt x="162" y="120"/>
                  <a:pt x="160" y="117"/>
                  <a:pt x="161" y="115"/>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0" name="Sudan"/>
          <p:cNvSpPr>
            <a:spLocks/>
          </p:cNvSpPr>
          <p:nvPr/>
        </p:nvSpPr>
        <p:spPr bwMode="auto">
          <a:xfrm>
            <a:off x="6761270" y="3338869"/>
            <a:ext cx="480158" cy="447494"/>
          </a:xfrm>
          <a:custGeom>
            <a:avLst/>
            <a:gdLst>
              <a:gd name="T0" fmla="*/ 229 w 234"/>
              <a:gd name="T1" fmla="*/ 75 h 218"/>
              <a:gd name="T2" fmla="*/ 222 w 234"/>
              <a:gd name="T3" fmla="*/ 71 h 218"/>
              <a:gd name="T4" fmla="*/ 217 w 234"/>
              <a:gd name="T5" fmla="*/ 67 h 218"/>
              <a:gd name="T6" fmla="*/ 213 w 234"/>
              <a:gd name="T7" fmla="*/ 64 h 218"/>
              <a:gd name="T8" fmla="*/ 211 w 234"/>
              <a:gd name="T9" fmla="*/ 57 h 218"/>
              <a:gd name="T10" fmla="*/ 209 w 234"/>
              <a:gd name="T11" fmla="*/ 47 h 218"/>
              <a:gd name="T12" fmla="*/ 209 w 234"/>
              <a:gd name="T13" fmla="*/ 38 h 218"/>
              <a:gd name="T14" fmla="*/ 207 w 234"/>
              <a:gd name="T15" fmla="*/ 26 h 218"/>
              <a:gd name="T16" fmla="*/ 205 w 234"/>
              <a:gd name="T17" fmla="*/ 18 h 218"/>
              <a:gd name="T18" fmla="*/ 202 w 234"/>
              <a:gd name="T19" fmla="*/ 8 h 218"/>
              <a:gd name="T20" fmla="*/ 196 w 234"/>
              <a:gd name="T21" fmla="*/ 1 h 218"/>
              <a:gd name="T22" fmla="*/ 185 w 234"/>
              <a:gd name="T23" fmla="*/ 11 h 218"/>
              <a:gd name="T24" fmla="*/ 175 w 234"/>
              <a:gd name="T25" fmla="*/ 18 h 218"/>
              <a:gd name="T26" fmla="*/ 143 w 234"/>
              <a:gd name="T27" fmla="*/ 23 h 218"/>
              <a:gd name="T28" fmla="*/ 37 w 234"/>
              <a:gd name="T29" fmla="*/ 24 h 218"/>
              <a:gd name="T30" fmla="*/ 27 w 234"/>
              <a:gd name="T31" fmla="*/ 43 h 218"/>
              <a:gd name="T32" fmla="*/ 27 w 234"/>
              <a:gd name="T33" fmla="*/ 90 h 218"/>
              <a:gd name="T34" fmla="*/ 24 w 234"/>
              <a:gd name="T35" fmla="*/ 108 h 218"/>
              <a:gd name="T36" fmla="*/ 11 w 234"/>
              <a:gd name="T37" fmla="*/ 121 h 218"/>
              <a:gd name="T38" fmla="*/ 7 w 234"/>
              <a:gd name="T39" fmla="*/ 135 h 218"/>
              <a:gd name="T40" fmla="*/ 3 w 234"/>
              <a:gd name="T41" fmla="*/ 149 h 218"/>
              <a:gd name="T42" fmla="*/ 7 w 234"/>
              <a:gd name="T43" fmla="*/ 162 h 218"/>
              <a:gd name="T44" fmla="*/ 11 w 234"/>
              <a:gd name="T45" fmla="*/ 174 h 218"/>
              <a:gd name="T46" fmla="*/ 14 w 234"/>
              <a:gd name="T47" fmla="*/ 182 h 218"/>
              <a:gd name="T48" fmla="*/ 24 w 234"/>
              <a:gd name="T49" fmla="*/ 192 h 218"/>
              <a:gd name="T50" fmla="*/ 43 w 234"/>
              <a:gd name="T51" fmla="*/ 208 h 218"/>
              <a:gd name="T52" fmla="*/ 44 w 234"/>
              <a:gd name="T53" fmla="*/ 211 h 218"/>
              <a:gd name="T54" fmla="*/ 52 w 234"/>
              <a:gd name="T55" fmla="*/ 204 h 218"/>
              <a:gd name="T56" fmla="*/ 63 w 234"/>
              <a:gd name="T57" fmla="*/ 206 h 218"/>
              <a:gd name="T58" fmla="*/ 69 w 234"/>
              <a:gd name="T59" fmla="*/ 214 h 218"/>
              <a:gd name="T60" fmla="*/ 78 w 234"/>
              <a:gd name="T61" fmla="*/ 215 h 218"/>
              <a:gd name="T62" fmla="*/ 87 w 234"/>
              <a:gd name="T63" fmla="*/ 214 h 218"/>
              <a:gd name="T64" fmla="*/ 93 w 234"/>
              <a:gd name="T65" fmla="*/ 218 h 218"/>
              <a:gd name="T66" fmla="*/ 102 w 234"/>
              <a:gd name="T67" fmla="*/ 218 h 218"/>
              <a:gd name="T68" fmla="*/ 107 w 234"/>
              <a:gd name="T69" fmla="*/ 213 h 218"/>
              <a:gd name="T70" fmla="*/ 117 w 234"/>
              <a:gd name="T71" fmla="*/ 205 h 218"/>
              <a:gd name="T72" fmla="*/ 126 w 234"/>
              <a:gd name="T73" fmla="*/ 209 h 218"/>
              <a:gd name="T74" fmla="*/ 131 w 234"/>
              <a:gd name="T75" fmla="*/ 213 h 218"/>
              <a:gd name="T76" fmla="*/ 152 w 234"/>
              <a:gd name="T77" fmla="*/ 194 h 218"/>
              <a:gd name="T78" fmla="*/ 148 w 234"/>
              <a:gd name="T79" fmla="*/ 181 h 218"/>
              <a:gd name="T80" fmla="*/ 155 w 234"/>
              <a:gd name="T81" fmla="*/ 179 h 218"/>
              <a:gd name="T82" fmla="*/ 162 w 234"/>
              <a:gd name="T83" fmla="*/ 176 h 218"/>
              <a:gd name="T84" fmla="*/ 163 w 234"/>
              <a:gd name="T85" fmla="*/ 196 h 218"/>
              <a:gd name="T86" fmla="*/ 177 w 234"/>
              <a:gd name="T87" fmla="*/ 218 h 218"/>
              <a:gd name="T88" fmla="*/ 180 w 234"/>
              <a:gd name="T89" fmla="*/ 205 h 218"/>
              <a:gd name="T90" fmla="*/ 190 w 234"/>
              <a:gd name="T91" fmla="*/ 197 h 218"/>
              <a:gd name="T92" fmla="*/ 196 w 234"/>
              <a:gd name="T93" fmla="*/ 174 h 218"/>
              <a:gd name="T94" fmla="*/ 205 w 234"/>
              <a:gd name="T95" fmla="*/ 159 h 218"/>
              <a:gd name="T96" fmla="*/ 209 w 234"/>
              <a:gd name="T97" fmla="*/ 136 h 218"/>
              <a:gd name="T98" fmla="*/ 213 w 234"/>
              <a:gd name="T99" fmla="*/ 113 h 218"/>
              <a:gd name="T100" fmla="*/ 226 w 234"/>
              <a:gd name="T101" fmla="*/ 91 h 218"/>
              <a:gd name="T102" fmla="*/ 231 w 234"/>
              <a:gd name="T103" fmla="*/ 8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218">
                <a:moveTo>
                  <a:pt x="231" y="81"/>
                </a:moveTo>
                <a:cubicBezTo>
                  <a:pt x="231" y="80"/>
                  <a:pt x="230" y="79"/>
                  <a:pt x="230" y="78"/>
                </a:cubicBezTo>
                <a:cubicBezTo>
                  <a:pt x="231" y="77"/>
                  <a:pt x="230" y="75"/>
                  <a:pt x="229" y="75"/>
                </a:cubicBezTo>
                <a:cubicBezTo>
                  <a:pt x="228" y="75"/>
                  <a:pt x="226" y="76"/>
                  <a:pt x="226" y="75"/>
                </a:cubicBezTo>
                <a:cubicBezTo>
                  <a:pt x="225" y="75"/>
                  <a:pt x="226" y="73"/>
                  <a:pt x="225" y="73"/>
                </a:cubicBezTo>
                <a:cubicBezTo>
                  <a:pt x="223" y="73"/>
                  <a:pt x="223" y="73"/>
                  <a:pt x="222" y="71"/>
                </a:cubicBezTo>
                <a:cubicBezTo>
                  <a:pt x="221" y="69"/>
                  <a:pt x="221" y="69"/>
                  <a:pt x="220" y="69"/>
                </a:cubicBezTo>
                <a:cubicBezTo>
                  <a:pt x="219" y="69"/>
                  <a:pt x="219" y="69"/>
                  <a:pt x="219" y="68"/>
                </a:cubicBezTo>
                <a:cubicBezTo>
                  <a:pt x="219" y="67"/>
                  <a:pt x="217" y="67"/>
                  <a:pt x="217" y="67"/>
                </a:cubicBezTo>
                <a:cubicBezTo>
                  <a:pt x="217" y="67"/>
                  <a:pt x="217" y="66"/>
                  <a:pt x="217" y="66"/>
                </a:cubicBezTo>
                <a:cubicBezTo>
                  <a:pt x="217" y="65"/>
                  <a:pt x="215" y="65"/>
                  <a:pt x="215" y="65"/>
                </a:cubicBezTo>
                <a:cubicBezTo>
                  <a:pt x="215" y="65"/>
                  <a:pt x="213" y="66"/>
                  <a:pt x="213" y="64"/>
                </a:cubicBezTo>
                <a:cubicBezTo>
                  <a:pt x="213" y="62"/>
                  <a:pt x="213" y="61"/>
                  <a:pt x="212" y="61"/>
                </a:cubicBezTo>
                <a:cubicBezTo>
                  <a:pt x="211" y="61"/>
                  <a:pt x="211" y="59"/>
                  <a:pt x="212" y="58"/>
                </a:cubicBezTo>
                <a:cubicBezTo>
                  <a:pt x="212" y="58"/>
                  <a:pt x="212" y="57"/>
                  <a:pt x="211" y="57"/>
                </a:cubicBezTo>
                <a:cubicBezTo>
                  <a:pt x="210" y="57"/>
                  <a:pt x="210" y="56"/>
                  <a:pt x="211" y="55"/>
                </a:cubicBezTo>
                <a:cubicBezTo>
                  <a:pt x="211" y="54"/>
                  <a:pt x="210" y="52"/>
                  <a:pt x="210" y="52"/>
                </a:cubicBezTo>
                <a:cubicBezTo>
                  <a:pt x="210" y="52"/>
                  <a:pt x="208" y="49"/>
                  <a:pt x="209" y="47"/>
                </a:cubicBezTo>
                <a:cubicBezTo>
                  <a:pt x="210" y="45"/>
                  <a:pt x="209" y="45"/>
                  <a:pt x="209" y="45"/>
                </a:cubicBezTo>
                <a:cubicBezTo>
                  <a:pt x="208" y="44"/>
                  <a:pt x="208" y="42"/>
                  <a:pt x="209" y="42"/>
                </a:cubicBezTo>
                <a:cubicBezTo>
                  <a:pt x="210" y="41"/>
                  <a:pt x="210" y="39"/>
                  <a:pt x="209" y="38"/>
                </a:cubicBezTo>
                <a:cubicBezTo>
                  <a:pt x="208" y="37"/>
                  <a:pt x="206" y="38"/>
                  <a:pt x="208" y="35"/>
                </a:cubicBezTo>
                <a:cubicBezTo>
                  <a:pt x="209" y="32"/>
                  <a:pt x="209" y="30"/>
                  <a:pt x="207" y="30"/>
                </a:cubicBezTo>
                <a:cubicBezTo>
                  <a:pt x="206" y="29"/>
                  <a:pt x="206" y="27"/>
                  <a:pt x="207" y="26"/>
                </a:cubicBezTo>
                <a:cubicBezTo>
                  <a:pt x="208" y="26"/>
                  <a:pt x="208" y="24"/>
                  <a:pt x="207" y="23"/>
                </a:cubicBezTo>
                <a:cubicBezTo>
                  <a:pt x="206" y="23"/>
                  <a:pt x="204" y="23"/>
                  <a:pt x="204" y="22"/>
                </a:cubicBezTo>
                <a:cubicBezTo>
                  <a:pt x="204" y="20"/>
                  <a:pt x="205" y="19"/>
                  <a:pt x="205" y="18"/>
                </a:cubicBezTo>
                <a:cubicBezTo>
                  <a:pt x="205" y="18"/>
                  <a:pt x="203" y="14"/>
                  <a:pt x="204" y="13"/>
                </a:cubicBezTo>
                <a:cubicBezTo>
                  <a:pt x="204" y="12"/>
                  <a:pt x="204" y="11"/>
                  <a:pt x="204" y="10"/>
                </a:cubicBezTo>
                <a:cubicBezTo>
                  <a:pt x="204" y="9"/>
                  <a:pt x="202" y="8"/>
                  <a:pt x="202" y="8"/>
                </a:cubicBezTo>
                <a:cubicBezTo>
                  <a:pt x="200" y="7"/>
                  <a:pt x="200" y="7"/>
                  <a:pt x="200" y="7"/>
                </a:cubicBezTo>
                <a:cubicBezTo>
                  <a:pt x="200" y="7"/>
                  <a:pt x="198" y="7"/>
                  <a:pt x="199" y="5"/>
                </a:cubicBezTo>
                <a:cubicBezTo>
                  <a:pt x="199" y="3"/>
                  <a:pt x="198" y="1"/>
                  <a:pt x="196" y="1"/>
                </a:cubicBezTo>
                <a:cubicBezTo>
                  <a:pt x="195" y="1"/>
                  <a:pt x="194" y="0"/>
                  <a:pt x="194" y="0"/>
                </a:cubicBezTo>
                <a:cubicBezTo>
                  <a:pt x="194" y="0"/>
                  <a:pt x="193" y="5"/>
                  <a:pt x="190" y="7"/>
                </a:cubicBezTo>
                <a:cubicBezTo>
                  <a:pt x="188" y="10"/>
                  <a:pt x="185" y="11"/>
                  <a:pt x="185" y="11"/>
                </a:cubicBezTo>
                <a:cubicBezTo>
                  <a:pt x="185" y="11"/>
                  <a:pt x="181" y="10"/>
                  <a:pt x="180" y="13"/>
                </a:cubicBezTo>
                <a:cubicBezTo>
                  <a:pt x="179" y="15"/>
                  <a:pt x="179" y="16"/>
                  <a:pt x="179" y="17"/>
                </a:cubicBezTo>
                <a:cubicBezTo>
                  <a:pt x="178" y="19"/>
                  <a:pt x="175" y="18"/>
                  <a:pt x="175" y="18"/>
                </a:cubicBezTo>
                <a:cubicBezTo>
                  <a:pt x="175" y="18"/>
                  <a:pt x="172" y="24"/>
                  <a:pt x="171" y="24"/>
                </a:cubicBezTo>
                <a:cubicBezTo>
                  <a:pt x="170" y="24"/>
                  <a:pt x="158" y="24"/>
                  <a:pt x="158" y="24"/>
                </a:cubicBezTo>
                <a:cubicBezTo>
                  <a:pt x="143" y="23"/>
                  <a:pt x="143" y="23"/>
                  <a:pt x="143" y="23"/>
                </a:cubicBezTo>
                <a:cubicBezTo>
                  <a:pt x="143" y="23"/>
                  <a:pt x="117" y="22"/>
                  <a:pt x="112" y="22"/>
                </a:cubicBezTo>
                <a:cubicBezTo>
                  <a:pt x="107" y="22"/>
                  <a:pt x="69" y="22"/>
                  <a:pt x="65" y="22"/>
                </a:cubicBezTo>
                <a:cubicBezTo>
                  <a:pt x="62" y="23"/>
                  <a:pt x="37" y="24"/>
                  <a:pt x="37" y="24"/>
                </a:cubicBezTo>
                <a:cubicBezTo>
                  <a:pt x="37" y="40"/>
                  <a:pt x="37" y="40"/>
                  <a:pt x="37" y="40"/>
                </a:cubicBezTo>
                <a:cubicBezTo>
                  <a:pt x="37" y="40"/>
                  <a:pt x="37" y="42"/>
                  <a:pt x="32" y="43"/>
                </a:cubicBezTo>
                <a:cubicBezTo>
                  <a:pt x="27" y="43"/>
                  <a:pt x="27" y="43"/>
                  <a:pt x="27" y="43"/>
                </a:cubicBezTo>
                <a:cubicBezTo>
                  <a:pt x="26" y="49"/>
                  <a:pt x="26" y="49"/>
                  <a:pt x="26" y="49"/>
                </a:cubicBezTo>
                <a:cubicBezTo>
                  <a:pt x="26" y="49"/>
                  <a:pt x="27" y="64"/>
                  <a:pt x="26" y="68"/>
                </a:cubicBezTo>
                <a:cubicBezTo>
                  <a:pt x="25" y="73"/>
                  <a:pt x="27" y="90"/>
                  <a:pt x="27" y="90"/>
                </a:cubicBezTo>
                <a:cubicBezTo>
                  <a:pt x="27" y="90"/>
                  <a:pt x="26" y="94"/>
                  <a:pt x="25" y="94"/>
                </a:cubicBezTo>
                <a:cubicBezTo>
                  <a:pt x="24" y="95"/>
                  <a:pt x="26" y="98"/>
                  <a:pt x="26" y="101"/>
                </a:cubicBezTo>
                <a:cubicBezTo>
                  <a:pt x="26" y="104"/>
                  <a:pt x="27" y="108"/>
                  <a:pt x="24" y="108"/>
                </a:cubicBezTo>
                <a:cubicBezTo>
                  <a:pt x="21" y="107"/>
                  <a:pt x="17" y="106"/>
                  <a:pt x="16" y="106"/>
                </a:cubicBezTo>
                <a:cubicBezTo>
                  <a:pt x="15" y="107"/>
                  <a:pt x="16" y="110"/>
                  <a:pt x="14" y="111"/>
                </a:cubicBezTo>
                <a:cubicBezTo>
                  <a:pt x="12" y="113"/>
                  <a:pt x="14" y="118"/>
                  <a:pt x="11" y="121"/>
                </a:cubicBezTo>
                <a:cubicBezTo>
                  <a:pt x="7" y="125"/>
                  <a:pt x="8" y="127"/>
                  <a:pt x="9" y="129"/>
                </a:cubicBezTo>
                <a:cubicBezTo>
                  <a:pt x="9" y="130"/>
                  <a:pt x="9" y="131"/>
                  <a:pt x="8" y="132"/>
                </a:cubicBezTo>
                <a:cubicBezTo>
                  <a:pt x="7" y="133"/>
                  <a:pt x="7" y="134"/>
                  <a:pt x="7" y="135"/>
                </a:cubicBezTo>
                <a:cubicBezTo>
                  <a:pt x="7" y="136"/>
                  <a:pt x="7" y="137"/>
                  <a:pt x="6" y="138"/>
                </a:cubicBezTo>
                <a:cubicBezTo>
                  <a:pt x="4" y="138"/>
                  <a:pt x="4" y="140"/>
                  <a:pt x="4" y="142"/>
                </a:cubicBezTo>
                <a:cubicBezTo>
                  <a:pt x="4" y="143"/>
                  <a:pt x="6" y="148"/>
                  <a:pt x="3" y="149"/>
                </a:cubicBezTo>
                <a:cubicBezTo>
                  <a:pt x="1" y="150"/>
                  <a:pt x="0" y="153"/>
                  <a:pt x="0" y="155"/>
                </a:cubicBezTo>
                <a:cubicBezTo>
                  <a:pt x="0" y="157"/>
                  <a:pt x="2" y="158"/>
                  <a:pt x="4" y="158"/>
                </a:cubicBezTo>
                <a:cubicBezTo>
                  <a:pt x="6" y="157"/>
                  <a:pt x="7" y="159"/>
                  <a:pt x="7" y="162"/>
                </a:cubicBezTo>
                <a:cubicBezTo>
                  <a:pt x="7" y="164"/>
                  <a:pt x="7" y="166"/>
                  <a:pt x="9" y="166"/>
                </a:cubicBezTo>
                <a:cubicBezTo>
                  <a:pt x="10" y="166"/>
                  <a:pt x="8" y="168"/>
                  <a:pt x="8" y="170"/>
                </a:cubicBezTo>
                <a:cubicBezTo>
                  <a:pt x="8" y="172"/>
                  <a:pt x="9" y="173"/>
                  <a:pt x="11" y="174"/>
                </a:cubicBezTo>
                <a:cubicBezTo>
                  <a:pt x="12" y="174"/>
                  <a:pt x="12" y="176"/>
                  <a:pt x="13" y="176"/>
                </a:cubicBezTo>
                <a:cubicBezTo>
                  <a:pt x="14" y="177"/>
                  <a:pt x="16" y="178"/>
                  <a:pt x="15" y="179"/>
                </a:cubicBezTo>
                <a:cubicBezTo>
                  <a:pt x="13" y="180"/>
                  <a:pt x="14" y="182"/>
                  <a:pt x="14" y="182"/>
                </a:cubicBezTo>
                <a:cubicBezTo>
                  <a:pt x="14" y="182"/>
                  <a:pt x="14" y="182"/>
                  <a:pt x="14" y="182"/>
                </a:cubicBezTo>
                <a:cubicBezTo>
                  <a:pt x="14" y="182"/>
                  <a:pt x="17" y="183"/>
                  <a:pt x="19" y="187"/>
                </a:cubicBezTo>
                <a:cubicBezTo>
                  <a:pt x="21" y="190"/>
                  <a:pt x="22" y="191"/>
                  <a:pt x="24" y="192"/>
                </a:cubicBezTo>
                <a:cubicBezTo>
                  <a:pt x="25" y="193"/>
                  <a:pt x="26" y="198"/>
                  <a:pt x="28" y="198"/>
                </a:cubicBezTo>
                <a:cubicBezTo>
                  <a:pt x="29" y="198"/>
                  <a:pt x="37" y="202"/>
                  <a:pt x="39" y="202"/>
                </a:cubicBezTo>
                <a:cubicBezTo>
                  <a:pt x="41" y="202"/>
                  <a:pt x="43" y="206"/>
                  <a:pt x="43" y="208"/>
                </a:cubicBezTo>
                <a:cubicBezTo>
                  <a:pt x="43" y="209"/>
                  <a:pt x="45" y="218"/>
                  <a:pt x="45" y="218"/>
                </a:cubicBezTo>
                <a:cubicBezTo>
                  <a:pt x="45" y="218"/>
                  <a:pt x="44" y="214"/>
                  <a:pt x="43" y="211"/>
                </a:cubicBezTo>
                <a:cubicBezTo>
                  <a:pt x="44" y="211"/>
                  <a:pt x="44" y="211"/>
                  <a:pt x="44" y="211"/>
                </a:cubicBezTo>
                <a:cubicBezTo>
                  <a:pt x="48" y="211"/>
                  <a:pt x="48" y="211"/>
                  <a:pt x="48" y="211"/>
                </a:cubicBezTo>
                <a:cubicBezTo>
                  <a:pt x="51" y="208"/>
                  <a:pt x="51" y="208"/>
                  <a:pt x="51" y="208"/>
                </a:cubicBezTo>
                <a:cubicBezTo>
                  <a:pt x="52" y="204"/>
                  <a:pt x="52" y="204"/>
                  <a:pt x="52" y="204"/>
                </a:cubicBezTo>
                <a:cubicBezTo>
                  <a:pt x="52" y="202"/>
                  <a:pt x="52" y="202"/>
                  <a:pt x="52" y="202"/>
                </a:cubicBezTo>
                <a:cubicBezTo>
                  <a:pt x="63" y="201"/>
                  <a:pt x="63" y="201"/>
                  <a:pt x="63" y="201"/>
                </a:cubicBezTo>
                <a:cubicBezTo>
                  <a:pt x="63" y="206"/>
                  <a:pt x="63" y="206"/>
                  <a:pt x="63" y="206"/>
                </a:cubicBezTo>
                <a:cubicBezTo>
                  <a:pt x="66" y="208"/>
                  <a:pt x="66" y="208"/>
                  <a:pt x="66" y="208"/>
                </a:cubicBezTo>
                <a:cubicBezTo>
                  <a:pt x="67" y="210"/>
                  <a:pt x="67" y="210"/>
                  <a:pt x="67" y="210"/>
                </a:cubicBezTo>
                <a:cubicBezTo>
                  <a:pt x="69" y="214"/>
                  <a:pt x="69" y="214"/>
                  <a:pt x="69" y="214"/>
                </a:cubicBezTo>
                <a:cubicBezTo>
                  <a:pt x="72" y="215"/>
                  <a:pt x="72" y="215"/>
                  <a:pt x="72" y="215"/>
                </a:cubicBezTo>
                <a:cubicBezTo>
                  <a:pt x="75" y="216"/>
                  <a:pt x="75" y="216"/>
                  <a:pt x="75" y="216"/>
                </a:cubicBezTo>
                <a:cubicBezTo>
                  <a:pt x="78" y="215"/>
                  <a:pt x="78" y="215"/>
                  <a:pt x="78" y="215"/>
                </a:cubicBezTo>
                <a:cubicBezTo>
                  <a:pt x="82" y="214"/>
                  <a:pt x="82" y="214"/>
                  <a:pt x="82" y="214"/>
                </a:cubicBezTo>
                <a:cubicBezTo>
                  <a:pt x="84" y="214"/>
                  <a:pt x="84" y="214"/>
                  <a:pt x="84" y="214"/>
                </a:cubicBezTo>
                <a:cubicBezTo>
                  <a:pt x="87" y="214"/>
                  <a:pt x="87" y="214"/>
                  <a:pt x="87" y="214"/>
                </a:cubicBezTo>
                <a:cubicBezTo>
                  <a:pt x="91" y="214"/>
                  <a:pt x="91" y="214"/>
                  <a:pt x="91" y="214"/>
                </a:cubicBezTo>
                <a:cubicBezTo>
                  <a:pt x="92" y="217"/>
                  <a:pt x="92" y="217"/>
                  <a:pt x="92" y="217"/>
                </a:cubicBezTo>
                <a:cubicBezTo>
                  <a:pt x="93" y="218"/>
                  <a:pt x="93" y="218"/>
                  <a:pt x="93" y="218"/>
                </a:cubicBezTo>
                <a:cubicBezTo>
                  <a:pt x="96" y="218"/>
                  <a:pt x="96" y="218"/>
                  <a:pt x="96" y="218"/>
                </a:cubicBezTo>
                <a:cubicBezTo>
                  <a:pt x="100" y="218"/>
                  <a:pt x="100" y="218"/>
                  <a:pt x="100" y="218"/>
                </a:cubicBezTo>
                <a:cubicBezTo>
                  <a:pt x="102" y="218"/>
                  <a:pt x="102" y="218"/>
                  <a:pt x="102" y="218"/>
                </a:cubicBezTo>
                <a:cubicBezTo>
                  <a:pt x="104" y="216"/>
                  <a:pt x="104" y="216"/>
                  <a:pt x="104" y="216"/>
                </a:cubicBezTo>
                <a:cubicBezTo>
                  <a:pt x="105" y="214"/>
                  <a:pt x="105" y="214"/>
                  <a:pt x="105" y="214"/>
                </a:cubicBezTo>
                <a:cubicBezTo>
                  <a:pt x="107" y="213"/>
                  <a:pt x="107" y="213"/>
                  <a:pt x="107" y="213"/>
                </a:cubicBezTo>
                <a:cubicBezTo>
                  <a:pt x="113" y="212"/>
                  <a:pt x="113" y="212"/>
                  <a:pt x="113" y="212"/>
                </a:cubicBezTo>
                <a:cubicBezTo>
                  <a:pt x="113" y="207"/>
                  <a:pt x="113" y="207"/>
                  <a:pt x="113" y="207"/>
                </a:cubicBezTo>
                <a:cubicBezTo>
                  <a:pt x="117" y="205"/>
                  <a:pt x="117" y="205"/>
                  <a:pt x="117" y="205"/>
                </a:cubicBezTo>
                <a:cubicBezTo>
                  <a:pt x="119" y="204"/>
                  <a:pt x="119" y="204"/>
                  <a:pt x="119" y="204"/>
                </a:cubicBezTo>
                <a:cubicBezTo>
                  <a:pt x="122" y="206"/>
                  <a:pt x="122" y="206"/>
                  <a:pt x="122" y="206"/>
                </a:cubicBezTo>
                <a:cubicBezTo>
                  <a:pt x="126" y="209"/>
                  <a:pt x="126" y="209"/>
                  <a:pt x="126" y="209"/>
                </a:cubicBezTo>
                <a:cubicBezTo>
                  <a:pt x="128" y="211"/>
                  <a:pt x="128" y="211"/>
                  <a:pt x="128" y="211"/>
                </a:cubicBezTo>
                <a:cubicBezTo>
                  <a:pt x="129" y="212"/>
                  <a:pt x="129" y="212"/>
                  <a:pt x="129" y="212"/>
                </a:cubicBezTo>
                <a:cubicBezTo>
                  <a:pt x="131" y="213"/>
                  <a:pt x="131" y="213"/>
                  <a:pt x="131" y="213"/>
                </a:cubicBezTo>
                <a:cubicBezTo>
                  <a:pt x="135" y="213"/>
                  <a:pt x="135" y="213"/>
                  <a:pt x="135" y="213"/>
                </a:cubicBezTo>
                <a:cubicBezTo>
                  <a:pt x="138" y="212"/>
                  <a:pt x="138" y="212"/>
                  <a:pt x="138" y="212"/>
                </a:cubicBezTo>
                <a:cubicBezTo>
                  <a:pt x="138" y="212"/>
                  <a:pt x="147" y="195"/>
                  <a:pt x="152" y="194"/>
                </a:cubicBezTo>
                <a:cubicBezTo>
                  <a:pt x="151" y="188"/>
                  <a:pt x="151" y="188"/>
                  <a:pt x="151" y="188"/>
                </a:cubicBezTo>
                <a:cubicBezTo>
                  <a:pt x="150" y="183"/>
                  <a:pt x="150" y="183"/>
                  <a:pt x="150" y="183"/>
                </a:cubicBezTo>
                <a:cubicBezTo>
                  <a:pt x="148" y="181"/>
                  <a:pt x="148" y="181"/>
                  <a:pt x="148" y="181"/>
                </a:cubicBezTo>
                <a:cubicBezTo>
                  <a:pt x="147" y="179"/>
                  <a:pt x="147" y="179"/>
                  <a:pt x="147" y="179"/>
                </a:cubicBezTo>
                <a:cubicBezTo>
                  <a:pt x="151" y="179"/>
                  <a:pt x="151" y="179"/>
                  <a:pt x="151" y="179"/>
                </a:cubicBezTo>
                <a:cubicBezTo>
                  <a:pt x="155" y="179"/>
                  <a:pt x="155" y="179"/>
                  <a:pt x="155" y="179"/>
                </a:cubicBezTo>
                <a:cubicBezTo>
                  <a:pt x="155" y="175"/>
                  <a:pt x="155" y="175"/>
                  <a:pt x="155" y="175"/>
                </a:cubicBezTo>
                <a:cubicBezTo>
                  <a:pt x="162" y="175"/>
                  <a:pt x="162" y="175"/>
                  <a:pt x="162" y="175"/>
                </a:cubicBezTo>
                <a:cubicBezTo>
                  <a:pt x="162" y="176"/>
                  <a:pt x="162" y="176"/>
                  <a:pt x="162" y="176"/>
                </a:cubicBezTo>
                <a:cubicBezTo>
                  <a:pt x="162" y="176"/>
                  <a:pt x="161" y="181"/>
                  <a:pt x="161" y="186"/>
                </a:cubicBezTo>
                <a:cubicBezTo>
                  <a:pt x="162" y="190"/>
                  <a:pt x="162" y="194"/>
                  <a:pt x="162" y="194"/>
                </a:cubicBezTo>
                <a:cubicBezTo>
                  <a:pt x="163" y="196"/>
                  <a:pt x="163" y="196"/>
                  <a:pt x="163" y="196"/>
                </a:cubicBezTo>
                <a:cubicBezTo>
                  <a:pt x="163" y="196"/>
                  <a:pt x="171" y="205"/>
                  <a:pt x="173" y="207"/>
                </a:cubicBezTo>
                <a:cubicBezTo>
                  <a:pt x="173" y="207"/>
                  <a:pt x="174" y="215"/>
                  <a:pt x="173" y="217"/>
                </a:cubicBezTo>
                <a:cubicBezTo>
                  <a:pt x="177" y="218"/>
                  <a:pt x="177" y="218"/>
                  <a:pt x="177" y="218"/>
                </a:cubicBezTo>
                <a:cubicBezTo>
                  <a:pt x="178" y="218"/>
                  <a:pt x="178" y="218"/>
                  <a:pt x="178" y="218"/>
                </a:cubicBezTo>
                <a:cubicBezTo>
                  <a:pt x="177" y="214"/>
                  <a:pt x="178" y="211"/>
                  <a:pt x="179" y="209"/>
                </a:cubicBezTo>
                <a:cubicBezTo>
                  <a:pt x="179" y="208"/>
                  <a:pt x="181" y="206"/>
                  <a:pt x="180" y="205"/>
                </a:cubicBezTo>
                <a:cubicBezTo>
                  <a:pt x="179" y="204"/>
                  <a:pt x="180" y="202"/>
                  <a:pt x="180" y="200"/>
                </a:cubicBezTo>
                <a:cubicBezTo>
                  <a:pt x="180" y="197"/>
                  <a:pt x="183" y="197"/>
                  <a:pt x="185" y="198"/>
                </a:cubicBezTo>
                <a:cubicBezTo>
                  <a:pt x="186" y="200"/>
                  <a:pt x="189" y="198"/>
                  <a:pt x="190" y="197"/>
                </a:cubicBezTo>
                <a:cubicBezTo>
                  <a:pt x="190" y="195"/>
                  <a:pt x="190" y="188"/>
                  <a:pt x="190" y="188"/>
                </a:cubicBezTo>
                <a:cubicBezTo>
                  <a:pt x="190" y="188"/>
                  <a:pt x="191" y="181"/>
                  <a:pt x="192" y="180"/>
                </a:cubicBezTo>
                <a:cubicBezTo>
                  <a:pt x="193" y="179"/>
                  <a:pt x="195" y="175"/>
                  <a:pt x="196" y="174"/>
                </a:cubicBezTo>
                <a:cubicBezTo>
                  <a:pt x="197" y="172"/>
                  <a:pt x="198" y="168"/>
                  <a:pt x="198" y="168"/>
                </a:cubicBezTo>
                <a:cubicBezTo>
                  <a:pt x="205" y="166"/>
                  <a:pt x="205" y="166"/>
                  <a:pt x="205" y="166"/>
                </a:cubicBezTo>
                <a:cubicBezTo>
                  <a:pt x="205" y="159"/>
                  <a:pt x="205" y="159"/>
                  <a:pt x="205" y="159"/>
                </a:cubicBezTo>
                <a:cubicBezTo>
                  <a:pt x="208" y="149"/>
                  <a:pt x="208" y="149"/>
                  <a:pt x="208" y="149"/>
                </a:cubicBezTo>
                <a:cubicBezTo>
                  <a:pt x="210" y="141"/>
                  <a:pt x="210" y="141"/>
                  <a:pt x="210" y="141"/>
                </a:cubicBezTo>
                <a:cubicBezTo>
                  <a:pt x="209" y="136"/>
                  <a:pt x="209" y="136"/>
                  <a:pt x="209" y="136"/>
                </a:cubicBezTo>
                <a:cubicBezTo>
                  <a:pt x="209" y="136"/>
                  <a:pt x="209" y="129"/>
                  <a:pt x="209" y="128"/>
                </a:cubicBezTo>
                <a:cubicBezTo>
                  <a:pt x="210" y="126"/>
                  <a:pt x="210" y="123"/>
                  <a:pt x="211" y="121"/>
                </a:cubicBezTo>
                <a:cubicBezTo>
                  <a:pt x="213" y="120"/>
                  <a:pt x="213" y="116"/>
                  <a:pt x="213" y="113"/>
                </a:cubicBezTo>
                <a:cubicBezTo>
                  <a:pt x="214" y="110"/>
                  <a:pt x="213" y="104"/>
                  <a:pt x="216" y="101"/>
                </a:cubicBezTo>
                <a:cubicBezTo>
                  <a:pt x="218" y="98"/>
                  <a:pt x="221" y="96"/>
                  <a:pt x="222" y="94"/>
                </a:cubicBezTo>
                <a:cubicBezTo>
                  <a:pt x="223" y="93"/>
                  <a:pt x="225" y="91"/>
                  <a:pt x="226" y="91"/>
                </a:cubicBezTo>
                <a:cubicBezTo>
                  <a:pt x="228" y="91"/>
                  <a:pt x="230" y="90"/>
                  <a:pt x="231" y="89"/>
                </a:cubicBezTo>
                <a:cubicBezTo>
                  <a:pt x="232" y="87"/>
                  <a:pt x="234" y="86"/>
                  <a:pt x="234" y="86"/>
                </a:cubicBezTo>
                <a:cubicBezTo>
                  <a:pt x="233" y="84"/>
                  <a:pt x="232" y="81"/>
                  <a:pt x="231" y="81"/>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1" name="Central African Republic"/>
          <p:cNvSpPr>
            <a:spLocks/>
          </p:cNvSpPr>
          <p:nvPr/>
        </p:nvSpPr>
        <p:spPr bwMode="auto">
          <a:xfrm>
            <a:off x="6575085" y="3712869"/>
            <a:ext cx="375634" cy="264577"/>
          </a:xfrm>
          <a:custGeom>
            <a:avLst/>
            <a:gdLst>
              <a:gd name="T0" fmla="*/ 25 w 183"/>
              <a:gd name="T1" fmla="*/ 127 h 129"/>
              <a:gd name="T2" fmla="*/ 22 w 183"/>
              <a:gd name="T3" fmla="*/ 124 h 129"/>
              <a:gd name="T4" fmla="*/ 14 w 183"/>
              <a:gd name="T5" fmla="*/ 119 h 129"/>
              <a:gd name="T6" fmla="*/ 11 w 183"/>
              <a:gd name="T7" fmla="*/ 106 h 129"/>
              <a:gd name="T8" fmla="*/ 4 w 183"/>
              <a:gd name="T9" fmla="*/ 94 h 129"/>
              <a:gd name="T10" fmla="*/ 3 w 183"/>
              <a:gd name="T11" fmla="*/ 82 h 129"/>
              <a:gd name="T12" fmla="*/ 6 w 183"/>
              <a:gd name="T13" fmla="*/ 71 h 129"/>
              <a:gd name="T14" fmla="*/ 12 w 183"/>
              <a:gd name="T15" fmla="*/ 64 h 129"/>
              <a:gd name="T16" fmla="*/ 14 w 183"/>
              <a:gd name="T17" fmla="*/ 52 h 129"/>
              <a:gd name="T18" fmla="*/ 26 w 183"/>
              <a:gd name="T19" fmla="*/ 48 h 129"/>
              <a:gd name="T20" fmla="*/ 37 w 183"/>
              <a:gd name="T21" fmla="*/ 50 h 129"/>
              <a:gd name="T22" fmla="*/ 47 w 183"/>
              <a:gd name="T23" fmla="*/ 46 h 129"/>
              <a:gd name="T24" fmla="*/ 56 w 183"/>
              <a:gd name="T25" fmla="*/ 39 h 129"/>
              <a:gd name="T26" fmla="*/ 61 w 183"/>
              <a:gd name="T27" fmla="*/ 30 h 129"/>
              <a:gd name="T28" fmla="*/ 74 w 183"/>
              <a:gd name="T29" fmla="*/ 28 h 129"/>
              <a:gd name="T30" fmla="*/ 77 w 183"/>
              <a:gd name="T31" fmla="*/ 25 h 129"/>
              <a:gd name="T32" fmla="*/ 87 w 183"/>
              <a:gd name="T33" fmla="*/ 14 h 129"/>
              <a:gd name="T34" fmla="*/ 92 w 183"/>
              <a:gd name="T35" fmla="*/ 6 h 129"/>
              <a:gd name="T36" fmla="*/ 100 w 183"/>
              <a:gd name="T37" fmla="*/ 1 h 129"/>
              <a:gd name="T38" fmla="*/ 105 w 183"/>
              <a:gd name="T39" fmla="*/ 0 h 129"/>
              <a:gd name="T40" fmla="*/ 110 w 183"/>
              <a:gd name="T41" fmla="*/ 5 h 129"/>
              <a:gd name="T42" fmla="*/ 119 w 183"/>
              <a:gd name="T43" fmla="*/ 16 h 129"/>
              <a:gd name="T44" fmla="*/ 134 w 183"/>
              <a:gd name="T45" fmla="*/ 26 h 129"/>
              <a:gd name="T46" fmla="*/ 132 w 183"/>
              <a:gd name="T47" fmla="*/ 40 h 129"/>
              <a:gd name="T48" fmla="*/ 140 w 183"/>
              <a:gd name="T49" fmla="*/ 47 h 129"/>
              <a:gd name="T50" fmla="*/ 143 w 183"/>
              <a:gd name="T51" fmla="*/ 52 h 129"/>
              <a:gd name="T52" fmla="*/ 154 w 183"/>
              <a:gd name="T53" fmla="*/ 57 h 129"/>
              <a:gd name="T54" fmla="*/ 158 w 183"/>
              <a:gd name="T55" fmla="*/ 65 h 129"/>
              <a:gd name="T56" fmla="*/ 168 w 183"/>
              <a:gd name="T57" fmla="*/ 76 h 129"/>
              <a:gd name="T58" fmla="*/ 174 w 183"/>
              <a:gd name="T59" fmla="*/ 81 h 129"/>
              <a:gd name="T60" fmla="*/ 177 w 183"/>
              <a:gd name="T61" fmla="*/ 89 h 129"/>
              <a:gd name="T62" fmla="*/ 182 w 183"/>
              <a:gd name="T63" fmla="*/ 93 h 129"/>
              <a:gd name="T64" fmla="*/ 183 w 183"/>
              <a:gd name="T65" fmla="*/ 100 h 129"/>
              <a:gd name="T66" fmla="*/ 183 w 183"/>
              <a:gd name="T67" fmla="*/ 104 h 129"/>
              <a:gd name="T68" fmla="*/ 168 w 183"/>
              <a:gd name="T69" fmla="*/ 104 h 129"/>
              <a:gd name="T70" fmla="*/ 152 w 183"/>
              <a:gd name="T71" fmla="*/ 105 h 129"/>
              <a:gd name="T72" fmla="*/ 138 w 183"/>
              <a:gd name="T73" fmla="*/ 109 h 129"/>
              <a:gd name="T74" fmla="*/ 129 w 183"/>
              <a:gd name="T75" fmla="*/ 111 h 129"/>
              <a:gd name="T76" fmla="*/ 115 w 183"/>
              <a:gd name="T77" fmla="*/ 118 h 129"/>
              <a:gd name="T78" fmla="*/ 100 w 183"/>
              <a:gd name="T79" fmla="*/ 116 h 129"/>
              <a:gd name="T80" fmla="*/ 91 w 183"/>
              <a:gd name="T81" fmla="*/ 109 h 129"/>
              <a:gd name="T82" fmla="*/ 77 w 183"/>
              <a:gd name="T83" fmla="*/ 108 h 129"/>
              <a:gd name="T84" fmla="*/ 72 w 183"/>
              <a:gd name="T85" fmla="*/ 121 h 129"/>
              <a:gd name="T86" fmla="*/ 62 w 183"/>
              <a:gd name="T87" fmla="*/ 117 h 129"/>
              <a:gd name="T88" fmla="*/ 45 w 183"/>
              <a:gd name="T89" fmla="*/ 113 h 129"/>
              <a:gd name="T90" fmla="*/ 37 w 183"/>
              <a:gd name="T91" fmla="*/ 110 h 129"/>
              <a:gd name="T92" fmla="*/ 31 w 183"/>
              <a:gd name="T93" fmla="*/ 113 h 129"/>
              <a:gd name="T94" fmla="*/ 28 w 183"/>
              <a:gd name="T95" fmla="*/ 119 h 129"/>
              <a:gd name="T96" fmla="*/ 25 w 183"/>
              <a:gd name="T9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 h="129">
                <a:moveTo>
                  <a:pt x="24" y="129"/>
                </a:moveTo>
                <a:cubicBezTo>
                  <a:pt x="24" y="129"/>
                  <a:pt x="24" y="128"/>
                  <a:pt x="25" y="127"/>
                </a:cubicBezTo>
                <a:cubicBezTo>
                  <a:pt x="25" y="126"/>
                  <a:pt x="25" y="124"/>
                  <a:pt x="24" y="125"/>
                </a:cubicBezTo>
                <a:cubicBezTo>
                  <a:pt x="23" y="125"/>
                  <a:pt x="23" y="125"/>
                  <a:pt x="22" y="124"/>
                </a:cubicBezTo>
                <a:cubicBezTo>
                  <a:pt x="21" y="122"/>
                  <a:pt x="18" y="123"/>
                  <a:pt x="18" y="123"/>
                </a:cubicBezTo>
                <a:cubicBezTo>
                  <a:pt x="18" y="123"/>
                  <a:pt x="15" y="123"/>
                  <a:pt x="14" y="119"/>
                </a:cubicBezTo>
                <a:cubicBezTo>
                  <a:pt x="13" y="116"/>
                  <a:pt x="14" y="115"/>
                  <a:pt x="13" y="112"/>
                </a:cubicBezTo>
                <a:cubicBezTo>
                  <a:pt x="12" y="109"/>
                  <a:pt x="10" y="110"/>
                  <a:pt x="11" y="106"/>
                </a:cubicBezTo>
                <a:cubicBezTo>
                  <a:pt x="11" y="102"/>
                  <a:pt x="6" y="102"/>
                  <a:pt x="5" y="101"/>
                </a:cubicBezTo>
                <a:cubicBezTo>
                  <a:pt x="4" y="100"/>
                  <a:pt x="4" y="97"/>
                  <a:pt x="4" y="94"/>
                </a:cubicBezTo>
                <a:cubicBezTo>
                  <a:pt x="5" y="91"/>
                  <a:pt x="2" y="92"/>
                  <a:pt x="3" y="88"/>
                </a:cubicBezTo>
                <a:cubicBezTo>
                  <a:pt x="3" y="85"/>
                  <a:pt x="4" y="84"/>
                  <a:pt x="3" y="82"/>
                </a:cubicBezTo>
                <a:cubicBezTo>
                  <a:pt x="2" y="80"/>
                  <a:pt x="0" y="78"/>
                  <a:pt x="3" y="76"/>
                </a:cubicBezTo>
                <a:cubicBezTo>
                  <a:pt x="5" y="75"/>
                  <a:pt x="6" y="74"/>
                  <a:pt x="6" y="71"/>
                </a:cubicBezTo>
                <a:cubicBezTo>
                  <a:pt x="6" y="68"/>
                  <a:pt x="7" y="66"/>
                  <a:pt x="9" y="66"/>
                </a:cubicBezTo>
                <a:cubicBezTo>
                  <a:pt x="11" y="67"/>
                  <a:pt x="12" y="67"/>
                  <a:pt x="12" y="64"/>
                </a:cubicBezTo>
                <a:cubicBezTo>
                  <a:pt x="11" y="61"/>
                  <a:pt x="10" y="58"/>
                  <a:pt x="11" y="55"/>
                </a:cubicBezTo>
                <a:cubicBezTo>
                  <a:pt x="13" y="52"/>
                  <a:pt x="13" y="52"/>
                  <a:pt x="14" y="52"/>
                </a:cubicBezTo>
                <a:cubicBezTo>
                  <a:pt x="16" y="53"/>
                  <a:pt x="21" y="51"/>
                  <a:pt x="21" y="51"/>
                </a:cubicBezTo>
                <a:cubicBezTo>
                  <a:pt x="21" y="51"/>
                  <a:pt x="24" y="48"/>
                  <a:pt x="26" y="48"/>
                </a:cubicBezTo>
                <a:cubicBezTo>
                  <a:pt x="28" y="49"/>
                  <a:pt x="29" y="52"/>
                  <a:pt x="32" y="52"/>
                </a:cubicBezTo>
                <a:cubicBezTo>
                  <a:pt x="34" y="52"/>
                  <a:pt x="36" y="51"/>
                  <a:pt x="37" y="50"/>
                </a:cubicBezTo>
                <a:cubicBezTo>
                  <a:pt x="38" y="48"/>
                  <a:pt x="40" y="47"/>
                  <a:pt x="42" y="46"/>
                </a:cubicBezTo>
                <a:cubicBezTo>
                  <a:pt x="45" y="46"/>
                  <a:pt x="47" y="46"/>
                  <a:pt x="47" y="46"/>
                </a:cubicBezTo>
                <a:cubicBezTo>
                  <a:pt x="47" y="46"/>
                  <a:pt x="50" y="47"/>
                  <a:pt x="51" y="44"/>
                </a:cubicBezTo>
                <a:cubicBezTo>
                  <a:pt x="52" y="41"/>
                  <a:pt x="56" y="41"/>
                  <a:pt x="56" y="39"/>
                </a:cubicBezTo>
                <a:cubicBezTo>
                  <a:pt x="56" y="37"/>
                  <a:pt x="53" y="34"/>
                  <a:pt x="56" y="32"/>
                </a:cubicBezTo>
                <a:cubicBezTo>
                  <a:pt x="58" y="31"/>
                  <a:pt x="58" y="30"/>
                  <a:pt x="61" y="30"/>
                </a:cubicBezTo>
                <a:cubicBezTo>
                  <a:pt x="64" y="30"/>
                  <a:pt x="65" y="29"/>
                  <a:pt x="68" y="29"/>
                </a:cubicBezTo>
                <a:cubicBezTo>
                  <a:pt x="70" y="29"/>
                  <a:pt x="74" y="28"/>
                  <a:pt x="74" y="28"/>
                </a:cubicBezTo>
                <a:cubicBezTo>
                  <a:pt x="74" y="27"/>
                  <a:pt x="74" y="27"/>
                  <a:pt x="74" y="27"/>
                </a:cubicBezTo>
                <a:cubicBezTo>
                  <a:pt x="74" y="27"/>
                  <a:pt x="75" y="26"/>
                  <a:pt x="77" y="25"/>
                </a:cubicBezTo>
                <a:cubicBezTo>
                  <a:pt x="79" y="24"/>
                  <a:pt x="81" y="18"/>
                  <a:pt x="83" y="17"/>
                </a:cubicBezTo>
                <a:cubicBezTo>
                  <a:pt x="86" y="16"/>
                  <a:pt x="86" y="16"/>
                  <a:pt x="87" y="14"/>
                </a:cubicBezTo>
                <a:cubicBezTo>
                  <a:pt x="87" y="13"/>
                  <a:pt x="88" y="12"/>
                  <a:pt x="89" y="12"/>
                </a:cubicBezTo>
                <a:cubicBezTo>
                  <a:pt x="90" y="11"/>
                  <a:pt x="92" y="8"/>
                  <a:pt x="92" y="6"/>
                </a:cubicBezTo>
                <a:cubicBezTo>
                  <a:pt x="92" y="4"/>
                  <a:pt x="94" y="3"/>
                  <a:pt x="96" y="3"/>
                </a:cubicBezTo>
                <a:cubicBezTo>
                  <a:pt x="98" y="2"/>
                  <a:pt x="100" y="1"/>
                  <a:pt x="100" y="1"/>
                </a:cubicBezTo>
                <a:cubicBezTo>
                  <a:pt x="103" y="1"/>
                  <a:pt x="103" y="1"/>
                  <a:pt x="103" y="1"/>
                </a:cubicBezTo>
                <a:cubicBezTo>
                  <a:pt x="105" y="0"/>
                  <a:pt x="105" y="0"/>
                  <a:pt x="105" y="0"/>
                </a:cubicBezTo>
                <a:cubicBezTo>
                  <a:pt x="105" y="0"/>
                  <a:pt x="105" y="0"/>
                  <a:pt x="105" y="0"/>
                </a:cubicBezTo>
                <a:cubicBezTo>
                  <a:pt x="105" y="0"/>
                  <a:pt x="108" y="1"/>
                  <a:pt x="110" y="5"/>
                </a:cubicBezTo>
                <a:cubicBezTo>
                  <a:pt x="112" y="8"/>
                  <a:pt x="113" y="9"/>
                  <a:pt x="115" y="10"/>
                </a:cubicBezTo>
                <a:cubicBezTo>
                  <a:pt x="116" y="11"/>
                  <a:pt x="117" y="16"/>
                  <a:pt x="119" y="16"/>
                </a:cubicBezTo>
                <a:cubicBezTo>
                  <a:pt x="120" y="16"/>
                  <a:pt x="128" y="20"/>
                  <a:pt x="130" y="20"/>
                </a:cubicBezTo>
                <a:cubicBezTo>
                  <a:pt x="132" y="20"/>
                  <a:pt x="134" y="24"/>
                  <a:pt x="134" y="26"/>
                </a:cubicBezTo>
                <a:cubicBezTo>
                  <a:pt x="134" y="27"/>
                  <a:pt x="136" y="36"/>
                  <a:pt x="136" y="36"/>
                </a:cubicBezTo>
                <a:cubicBezTo>
                  <a:pt x="132" y="40"/>
                  <a:pt x="132" y="40"/>
                  <a:pt x="132" y="40"/>
                </a:cubicBezTo>
                <a:cubicBezTo>
                  <a:pt x="132" y="40"/>
                  <a:pt x="134" y="46"/>
                  <a:pt x="134" y="47"/>
                </a:cubicBezTo>
                <a:cubicBezTo>
                  <a:pt x="134" y="48"/>
                  <a:pt x="139" y="47"/>
                  <a:pt x="140" y="47"/>
                </a:cubicBezTo>
                <a:cubicBezTo>
                  <a:pt x="142" y="47"/>
                  <a:pt x="144" y="47"/>
                  <a:pt x="144" y="48"/>
                </a:cubicBezTo>
                <a:cubicBezTo>
                  <a:pt x="143" y="49"/>
                  <a:pt x="143" y="50"/>
                  <a:pt x="143" y="52"/>
                </a:cubicBezTo>
                <a:cubicBezTo>
                  <a:pt x="143" y="54"/>
                  <a:pt x="146" y="54"/>
                  <a:pt x="149" y="54"/>
                </a:cubicBezTo>
                <a:cubicBezTo>
                  <a:pt x="152" y="54"/>
                  <a:pt x="153" y="56"/>
                  <a:pt x="154" y="57"/>
                </a:cubicBezTo>
                <a:cubicBezTo>
                  <a:pt x="154" y="59"/>
                  <a:pt x="154" y="60"/>
                  <a:pt x="157" y="61"/>
                </a:cubicBezTo>
                <a:cubicBezTo>
                  <a:pt x="160" y="61"/>
                  <a:pt x="158" y="65"/>
                  <a:pt x="158" y="65"/>
                </a:cubicBezTo>
                <a:cubicBezTo>
                  <a:pt x="158" y="65"/>
                  <a:pt x="158" y="69"/>
                  <a:pt x="160" y="70"/>
                </a:cubicBezTo>
                <a:cubicBezTo>
                  <a:pt x="162" y="71"/>
                  <a:pt x="168" y="74"/>
                  <a:pt x="168" y="76"/>
                </a:cubicBezTo>
                <a:cubicBezTo>
                  <a:pt x="169" y="79"/>
                  <a:pt x="171" y="77"/>
                  <a:pt x="171" y="77"/>
                </a:cubicBezTo>
                <a:cubicBezTo>
                  <a:pt x="172" y="79"/>
                  <a:pt x="174" y="81"/>
                  <a:pt x="174" y="81"/>
                </a:cubicBezTo>
                <a:cubicBezTo>
                  <a:pt x="172" y="83"/>
                  <a:pt x="172" y="83"/>
                  <a:pt x="172" y="83"/>
                </a:cubicBezTo>
                <a:cubicBezTo>
                  <a:pt x="177" y="89"/>
                  <a:pt x="177" y="89"/>
                  <a:pt x="177" y="89"/>
                </a:cubicBezTo>
                <a:cubicBezTo>
                  <a:pt x="177" y="89"/>
                  <a:pt x="178" y="87"/>
                  <a:pt x="180" y="90"/>
                </a:cubicBezTo>
                <a:cubicBezTo>
                  <a:pt x="182" y="93"/>
                  <a:pt x="181" y="93"/>
                  <a:pt x="182" y="93"/>
                </a:cubicBezTo>
                <a:cubicBezTo>
                  <a:pt x="183" y="94"/>
                  <a:pt x="183" y="97"/>
                  <a:pt x="183" y="97"/>
                </a:cubicBezTo>
                <a:cubicBezTo>
                  <a:pt x="183" y="97"/>
                  <a:pt x="183" y="99"/>
                  <a:pt x="183" y="100"/>
                </a:cubicBezTo>
                <a:cubicBezTo>
                  <a:pt x="183" y="102"/>
                  <a:pt x="183" y="104"/>
                  <a:pt x="183" y="104"/>
                </a:cubicBezTo>
                <a:cubicBezTo>
                  <a:pt x="183" y="104"/>
                  <a:pt x="183" y="104"/>
                  <a:pt x="183" y="104"/>
                </a:cubicBezTo>
                <a:cubicBezTo>
                  <a:pt x="181" y="102"/>
                  <a:pt x="179" y="102"/>
                  <a:pt x="176" y="105"/>
                </a:cubicBezTo>
                <a:cubicBezTo>
                  <a:pt x="172" y="107"/>
                  <a:pt x="168" y="106"/>
                  <a:pt x="168" y="104"/>
                </a:cubicBezTo>
                <a:cubicBezTo>
                  <a:pt x="167" y="102"/>
                  <a:pt x="161" y="101"/>
                  <a:pt x="160" y="104"/>
                </a:cubicBezTo>
                <a:cubicBezTo>
                  <a:pt x="158" y="106"/>
                  <a:pt x="154" y="107"/>
                  <a:pt x="152" y="105"/>
                </a:cubicBezTo>
                <a:cubicBezTo>
                  <a:pt x="150" y="104"/>
                  <a:pt x="147" y="106"/>
                  <a:pt x="147" y="107"/>
                </a:cubicBezTo>
                <a:cubicBezTo>
                  <a:pt x="147" y="108"/>
                  <a:pt x="140" y="109"/>
                  <a:pt x="138" y="109"/>
                </a:cubicBezTo>
                <a:cubicBezTo>
                  <a:pt x="136" y="109"/>
                  <a:pt x="133" y="111"/>
                  <a:pt x="133" y="111"/>
                </a:cubicBezTo>
                <a:cubicBezTo>
                  <a:pt x="133" y="111"/>
                  <a:pt x="130" y="112"/>
                  <a:pt x="129" y="111"/>
                </a:cubicBezTo>
                <a:cubicBezTo>
                  <a:pt x="127" y="111"/>
                  <a:pt x="125" y="111"/>
                  <a:pt x="123" y="115"/>
                </a:cubicBezTo>
                <a:cubicBezTo>
                  <a:pt x="122" y="119"/>
                  <a:pt x="115" y="118"/>
                  <a:pt x="115" y="118"/>
                </a:cubicBezTo>
                <a:cubicBezTo>
                  <a:pt x="115" y="118"/>
                  <a:pt x="110" y="117"/>
                  <a:pt x="107" y="117"/>
                </a:cubicBezTo>
                <a:cubicBezTo>
                  <a:pt x="105" y="117"/>
                  <a:pt x="103" y="116"/>
                  <a:pt x="100" y="116"/>
                </a:cubicBezTo>
                <a:cubicBezTo>
                  <a:pt x="96" y="116"/>
                  <a:pt x="96" y="114"/>
                  <a:pt x="95" y="113"/>
                </a:cubicBezTo>
                <a:cubicBezTo>
                  <a:pt x="95" y="112"/>
                  <a:pt x="93" y="109"/>
                  <a:pt x="91" y="109"/>
                </a:cubicBezTo>
                <a:cubicBezTo>
                  <a:pt x="89" y="109"/>
                  <a:pt x="90" y="108"/>
                  <a:pt x="88" y="106"/>
                </a:cubicBezTo>
                <a:cubicBezTo>
                  <a:pt x="87" y="103"/>
                  <a:pt x="81" y="106"/>
                  <a:pt x="77" y="108"/>
                </a:cubicBezTo>
                <a:cubicBezTo>
                  <a:pt x="74" y="111"/>
                  <a:pt x="74" y="113"/>
                  <a:pt x="74" y="117"/>
                </a:cubicBezTo>
                <a:cubicBezTo>
                  <a:pt x="74" y="121"/>
                  <a:pt x="72" y="121"/>
                  <a:pt x="72" y="121"/>
                </a:cubicBezTo>
                <a:cubicBezTo>
                  <a:pt x="68" y="121"/>
                  <a:pt x="67" y="119"/>
                  <a:pt x="67" y="119"/>
                </a:cubicBezTo>
                <a:cubicBezTo>
                  <a:pt x="67" y="119"/>
                  <a:pt x="65" y="117"/>
                  <a:pt x="62" y="117"/>
                </a:cubicBezTo>
                <a:cubicBezTo>
                  <a:pt x="58" y="118"/>
                  <a:pt x="56" y="115"/>
                  <a:pt x="55" y="114"/>
                </a:cubicBezTo>
                <a:cubicBezTo>
                  <a:pt x="54" y="113"/>
                  <a:pt x="49" y="112"/>
                  <a:pt x="45" y="113"/>
                </a:cubicBezTo>
                <a:cubicBezTo>
                  <a:pt x="41" y="113"/>
                  <a:pt x="40" y="109"/>
                  <a:pt x="40" y="109"/>
                </a:cubicBezTo>
                <a:cubicBezTo>
                  <a:pt x="37" y="110"/>
                  <a:pt x="37" y="110"/>
                  <a:pt x="37" y="110"/>
                </a:cubicBezTo>
                <a:cubicBezTo>
                  <a:pt x="33" y="113"/>
                  <a:pt x="33" y="113"/>
                  <a:pt x="33" y="113"/>
                </a:cubicBezTo>
                <a:cubicBezTo>
                  <a:pt x="31" y="113"/>
                  <a:pt x="31" y="113"/>
                  <a:pt x="31" y="113"/>
                </a:cubicBezTo>
                <a:cubicBezTo>
                  <a:pt x="31" y="113"/>
                  <a:pt x="29" y="113"/>
                  <a:pt x="28" y="115"/>
                </a:cubicBezTo>
                <a:cubicBezTo>
                  <a:pt x="27" y="118"/>
                  <a:pt x="28" y="119"/>
                  <a:pt x="28" y="119"/>
                </a:cubicBezTo>
                <a:cubicBezTo>
                  <a:pt x="28" y="119"/>
                  <a:pt x="26" y="121"/>
                  <a:pt x="28" y="124"/>
                </a:cubicBezTo>
                <a:cubicBezTo>
                  <a:pt x="29" y="126"/>
                  <a:pt x="27" y="129"/>
                  <a:pt x="25" y="129"/>
                </a:cubicBezTo>
                <a:cubicBezTo>
                  <a:pt x="24" y="129"/>
                  <a:pt x="24" y="129"/>
                  <a:pt x="24" y="12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2" name="Cameroon"/>
          <p:cNvSpPr>
            <a:spLocks/>
          </p:cNvSpPr>
          <p:nvPr/>
        </p:nvSpPr>
        <p:spPr bwMode="auto">
          <a:xfrm>
            <a:off x="6415033" y="3662239"/>
            <a:ext cx="210683" cy="346236"/>
          </a:xfrm>
          <a:custGeom>
            <a:avLst/>
            <a:gdLst>
              <a:gd name="T0" fmla="*/ 30 w 103"/>
              <a:gd name="T1" fmla="*/ 161 h 168"/>
              <a:gd name="T2" fmla="*/ 38 w 103"/>
              <a:gd name="T3" fmla="*/ 161 h 168"/>
              <a:gd name="T4" fmla="*/ 54 w 103"/>
              <a:gd name="T5" fmla="*/ 160 h 168"/>
              <a:gd name="T6" fmla="*/ 76 w 103"/>
              <a:gd name="T7" fmla="*/ 159 h 168"/>
              <a:gd name="T8" fmla="*/ 87 w 103"/>
              <a:gd name="T9" fmla="*/ 161 h 168"/>
              <a:gd name="T10" fmla="*/ 98 w 103"/>
              <a:gd name="T11" fmla="*/ 165 h 168"/>
              <a:gd name="T12" fmla="*/ 102 w 103"/>
              <a:gd name="T13" fmla="*/ 153 h 168"/>
              <a:gd name="T14" fmla="*/ 102 w 103"/>
              <a:gd name="T15" fmla="*/ 149 h 168"/>
              <a:gd name="T16" fmla="*/ 96 w 103"/>
              <a:gd name="T17" fmla="*/ 147 h 168"/>
              <a:gd name="T18" fmla="*/ 91 w 103"/>
              <a:gd name="T19" fmla="*/ 136 h 168"/>
              <a:gd name="T20" fmla="*/ 83 w 103"/>
              <a:gd name="T21" fmla="*/ 125 h 168"/>
              <a:gd name="T22" fmla="*/ 81 w 103"/>
              <a:gd name="T23" fmla="*/ 112 h 168"/>
              <a:gd name="T24" fmla="*/ 81 w 103"/>
              <a:gd name="T25" fmla="*/ 100 h 168"/>
              <a:gd name="T26" fmla="*/ 87 w 103"/>
              <a:gd name="T27" fmla="*/ 90 h 168"/>
              <a:gd name="T28" fmla="*/ 89 w 103"/>
              <a:gd name="T29" fmla="*/ 79 h 168"/>
              <a:gd name="T30" fmla="*/ 88 w 103"/>
              <a:gd name="T31" fmla="*/ 69 h 168"/>
              <a:gd name="T32" fmla="*/ 82 w 103"/>
              <a:gd name="T33" fmla="*/ 57 h 168"/>
              <a:gd name="T34" fmla="*/ 73 w 103"/>
              <a:gd name="T35" fmla="*/ 48 h 168"/>
              <a:gd name="T36" fmla="*/ 78 w 103"/>
              <a:gd name="T37" fmla="*/ 39 h 168"/>
              <a:gd name="T38" fmla="*/ 85 w 103"/>
              <a:gd name="T39" fmla="*/ 40 h 168"/>
              <a:gd name="T40" fmla="*/ 89 w 103"/>
              <a:gd name="T41" fmla="*/ 36 h 168"/>
              <a:gd name="T42" fmla="*/ 84 w 103"/>
              <a:gd name="T43" fmla="*/ 22 h 168"/>
              <a:gd name="T44" fmla="*/ 83 w 103"/>
              <a:gd name="T45" fmla="*/ 9 h 168"/>
              <a:gd name="T46" fmla="*/ 75 w 103"/>
              <a:gd name="T47" fmla="*/ 1 h 168"/>
              <a:gd name="T48" fmla="*/ 77 w 103"/>
              <a:gd name="T49" fmla="*/ 9 h 168"/>
              <a:gd name="T50" fmla="*/ 73 w 103"/>
              <a:gd name="T51" fmla="*/ 24 h 168"/>
              <a:gd name="T52" fmla="*/ 64 w 103"/>
              <a:gd name="T53" fmla="*/ 39 h 168"/>
              <a:gd name="T54" fmla="*/ 54 w 103"/>
              <a:gd name="T55" fmla="*/ 58 h 168"/>
              <a:gd name="T56" fmla="*/ 47 w 103"/>
              <a:gd name="T57" fmla="*/ 74 h 168"/>
              <a:gd name="T58" fmla="*/ 40 w 103"/>
              <a:gd name="T59" fmla="*/ 95 h 168"/>
              <a:gd name="T60" fmla="*/ 30 w 103"/>
              <a:gd name="T61" fmla="*/ 90 h 168"/>
              <a:gd name="T62" fmla="*/ 20 w 103"/>
              <a:gd name="T63" fmla="*/ 90 h 168"/>
              <a:gd name="T64" fmla="*/ 7 w 103"/>
              <a:gd name="T65" fmla="*/ 101 h 168"/>
              <a:gd name="T66" fmla="*/ 1 w 103"/>
              <a:gd name="T67" fmla="*/ 117 h 168"/>
              <a:gd name="T68" fmla="*/ 1 w 103"/>
              <a:gd name="T69" fmla="*/ 124 h 168"/>
              <a:gd name="T70" fmla="*/ 5 w 103"/>
              <a:gd name="T71" fmla="*/ 130 h 168"/>
              <a:gd name="T72" fmla="*/ 10 w 103"/>
              <a:gd name="T73" fmla="*/ 133 h 168"/>
              <a:gd name="T74" fmla="*/ 15 w 103"/>
              <a:gd name="T75" fmla="*/ 138 h 168"/>
              <a:gd name="T76" fmla="*/ 20 w 103"/>
              <a:gd name="T77" fmla="*/ 138 h 168"/>
              <a:gd name="T78" fmla="*/ 22 w 103"/>
              <a:gd name="T79" fmla="*/ 150 h 168"/>
              <a:gd name="T80" fmla="*/ 22 w 103"/>
              <a:gd name="T81" fmla="*/ 16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3" h="168">
                <a:moveTo>
                  <a:pt x="22" y="162"/>
                </a:moveTo>
                <a:cubicBezTo>
                  <a:pt x="22" y="162"/>
                  <a:pt x="28" y="161"/>
                  <a:pt x="30" y="161"/>
                </a:cubicBezTo>
                <a:cubicBezTo>
                  <a:pt x="32" y="162"/>
                  <a:pt x="36" y="162"/>
                  <a:pt x="38" y="161"/>
                </a:cubicBezTo>
                <a:cubicBezTo>
                  <a:pt x="38" y="161"/>
                  <a:pt x="38" y="161"/>
                  <a:pt x="38" y="161"/>
                </a:cubicBezTo>
                <a:cubicBezTo>
                  <a:pt x="40" y="160"/>
                  <a:pt x="42" y="159"/>
                  <a:pt x="44" y="159"/>
                </a:cubicBezTo>
                <a:cubicBezTo>
                  <a:pt x="45" y="160"/>
                  <a:pt x="50" y="161"/>
                  <a:pt x="54" y="160"/>
                </a:cubicBezTo>
                <a:cubicBezTo>
                  <a:pt x="59" y="160"/>
                  <a:pt x="65" y="159"/>
                  <a:pt x="66" y="160"/>
                </a:cubicBezTo>
                <a:cubicBezTo>
                  <a:pt x="76" y="159"/>
                  <a:pt x="76" y="159"/>
                  <a:pt x="76" y="159"/>
                </a:cubicBezTo>
                <a:cubicBezTo>
                  <a:pt x="76" y="159"/>
                  <a:pt x="82" y="157"/>
                  <a:pt x="84" y="159"/>
                </a:cubicBezTo>
                <a:cubicBezTo>
                  <a:pt x="86" y="161"/>
                  <a:pt x="87" y="160"/>
                  <a:pt x="87" y="161"/>
                </a:cubicBezTo>
                <a:cubicBezTo>
                  <a:pt x="87" y="162"/>
                  <a:pt x="92" y="162"/>
                  <a:pt x="93" y="163"/>
                </a:cubicBezTo>
                <a:cubicBezTo>
                  <a:pt x="94" y="165"/>
                  <a:pt x="97" y="168"/>
                  <a:pt x="98" y="165"/>
                </a:cubicBezTo>
                <a:cubicBezTo>
                  <a:pt x="99" y="162"/>
                  <a:pt x="100" y="160"/>
                  <a:pt x="100" y="158"/>
                </a:cubicBezTo>
                <a:cubicBezTo>
                  <a:pt x="100" y="156"/>
                  <a:pt x="101" y="154"/>
                  <a:pt x="102" y="153"/>
                </a:cubicBezTo>
                <a:cubicBezTo>
                  <a:pt x="102" y="153"/>
                  <a:pt x="102" y="152"/>
                  <a:pt x="103" y="151"/>
                </a:cubicBezTo>
                <a:cubicBezTo>
                  <a:pt x="103" y="150"/>
                  <a:pt x="103" y="148"/>
                  <a:pt x="102" y="149"/>
                </a:cubicBezTo>
                <a:cubicBezTo>
                  <a:pt x="101" y="149"/>
                  <a:pt x="101" y="149"/>
                  <a:pt x="100" y="148"/>
                </a:cubicBezTo>
                <a:cubicBezTo>
                  <a:pt x="99" y="146"/>
                  <a:pt x="96" y="147"/>
                  <a:pt x="96" y="147"/>
                </a:cubicBezTo>
                <a:cubicBezTo>
                  <a:pt x="96" y="147"/>
                  <a:pt x="93" y="147"/>
                  <a:pt x="92" y="143"/>
                </a:cubicBezTo>
                <a:cubicBezTo>
                  <a:pt x="91" y="140"/>
                  <a:pt x="92" y="139"/>
                  <a:pt x="91" y="136"/>
                </a:cubicBezTo>
                <a:cubicBezTo>
                  <a:pt x="90" y="133"/>
                  <a:pt x="88" y="134"/>
                  <a:pt x="89" y="130"/>
                </a:cubicBezTo>
                <a:cubicBezTo>
                  <a:pt x="89" y="126"/>
                  <a:pt x="84" y="126"/>
                  <a:pt x="83" y="125"/>
                </a:cubicBezTo>
                <a:cubicBezTo>
                  <a:pt x="82" y="124"/>
                  <a:pt x="82" y="121"/>
                  <a:pt x="82" y="118"/>
                </a:cubicBezTo>
                <a:cubicBezTo>
                  <a:pt x="83" y="115"/>
                  <a:pt x="80" y="116"/>
                  <a:pt x="81" y="112"/>
                </a:cubicBezTo>
                <a:cubicBezTo>
                  <a:pt x="81" y="109"/>
                  <a:pt x="82" y="108"/>
                  <a:pt x="81" y="106"/>
                </a:cubicBezTo>
                <a:cubicBezTo>
                  <a:pt x="80" y="104"/>
                  <a:pt x="78" y="102"/>
                  <a:pt x="81" y="100"/>
                </a:cubicBezTo>
                <a:cubicBezTo>
                  <a:pt x="83" y="99"/>
                  <a:pt x="84" y="98"/>
                  <a:pt x="84" y="95"/>
                </a:cubicBezTo>
                <a:cubicBezTo>
                  <a:pt x="84" y="92"/>
                  <a:pt x="85" y="90"/>
                  <a:pt x="87" y="90"/>
                </a:cubicBezTo>
                <a:cubicBezTo>
                  <a:pt x="89" y="91"/>
                  <a:pt x="90" y="91"/>
                  <a:pt x="90" y="88"/>
                </a:cubicBezTo>
                <a:cubicBezTo>
                  <a:pt x="89" y="85"/>
                  <a:pt x="88" y="82"/>
                  <a:pt x="89" y="79"/>
                </a:cubicBezTo>
                <a:cubicBezTo>
                  <a:pt x="90" y="77"/>
                  <a:pt x="91" y="76"/>
                  <a:pt x="91" y="76"/>
                </a:cubicBezTo>
                <a:cubicBezTo>
                  <a:pt x="87" y="73"/>
                  <a:pt x="88" y="73"/>
                  <a:pt x="88" y="69"/>
                </a:cubicBezTo>
                <a:cubicBezTo>
                  <a:pt x="88" y="64"/>
                  <a:pt x="85" y="62"/>
                  <a:pt x="85" y="61"/>
                </a:cubicBezTo>
                <a:cubicBezTo>
                  <a:pt x="84" y="60"/>
                  <a:pt x="84" y="58"/>
                  <a:pt x="82" y="57"/>
                </a:cubicBezTo>
                <a:cubicBezTo>
                  <a:pt x="80" y="56"/>
                  <a:pt x="81" y="55"/>
                  <a:pt x="80" y="54"/>
                </a:cubicBezTo>
                <a:cubicBezTo>
                  <a:pt x="79" y="52"/>
                  <a:pt x="77" y="51"/>
                  <a:pt x="73" y="48"/>
                </a:cubicBezTo>
                <a:cubicBezTo>
                  <a:pt x="70" y="46"/>
                  <a:pt x="71" y="42"/>
                  <a:pt x="72" y="40"/>
                </a:cubicBezTo>
                <a:cubicBezTo>
                  <a:pt x="72" y="39"/>
                  <a:pt x="77" y="37"/>
                  <a:pt x="78" y="39"/>
                </a:cubicBezTo>
                <a:cubicBezTo>
                  <a:pt x="79" y="41"/>
                  <a:pt x="80" y="40"/>
                  <a:pt x="81" y="40"/>
                </a:cubicBezTo>
                <a:cubicBezTo>
                  <a:pt x="82" y="39"/>
                  <a:pt x="84" y="40"/>
                  <a:pt x="85" y="40"/>
                </a:cubicBezTo>
                <a:cubicBezTo>
                  <a:pt x="86" y="40"/>
                  <a:pt x="88" y="41"/>
                  <a:pt x="90" y="41"/>
                </a:cubicBezTo>
                <a:cubicBezTo>
                  <a:pt x="92" y="41"/>
                  <a:pt x="93" y="39"/>
                  <a:pt x="89" y="36"/>
                </a:cubicBezTo>
                <a:cubicBezTo>
                  <a:pt x="86" y="33"/>
                  <a:pt x="85" y="31"/>
                  <a:pt x="86" y="29"/>
                </a:cubicBezTo>
                <a:cubicBezTo>
                  <a:pt x="86" y="26"/>
                  <a:pt x="85" y="23"/>
                  <a:pt x="84" y="22"/>
                </a:cubicBezTo>
                <a:cubicBezTo>
                  <a:pt x="83" y="21"/>
                  <a:pt x="83" y="19"/>
                  <a:pt x="84" y="15"/>
                </a:cubicBezTo>
                <a:cubicBezTo>
                  <a:pt x="84" y="11"/>
                  <a:pt x="83" y="9"/>
                  <a:pt x="83" y="9"/>
                </a:cubicBezTo>
                <a:cubicBezTo>
                  <a:pt x="83" y="9"/>
                  <a:pt x="81" y="4"/>
                  <a:pt x="80" y="2"/>
                </a:cubicBezTo>
                <a:cubicBezTo>
                  <a:pt x="80" y="0"/>
                  <a:pt x="76" y="1"/>
                  <a:pt x="75" y="1"/>
                </a:cubicBezTo>
                <a:cubicBezTo>
                  <a:pt x="74" y="2"/>
                  <a:pt x="74" y="4"/>
                  <a:pt x="74" y="6"/>
                </a:cubicBezTo>
                <a:cubicBezTo>
                  <a:pt x="74" y="8"/>
                  <a:pt x="77" y="9"/>
                  <a:pt x="77" y="9"/>
                </a:cubicBezTo>
                <a:cubicBezTo>
                  <a:pt x="77" y="9"/>
                  <a:pt x="79" y="14"/>
                  <a:pt x="79" y="18"/>
                </a:cubicBezTo>
                <a:cubicBezTo>
                  <a:pt x="79" y="22"/>
                  <a:pt x="75" y="23"/>
                  <a:pt x="73" y="24"/>
                </a:cubicBezTo>
                <a:cubicBezTo>
                  <a:pt x="71" y="24"/>
                  <a:pt x="66" y="31"/>
                  <a:pt x="66" y="33"/>
                </a:cubicBezTo>
                <a:cubicBezTo>
                  <a:pt x="66" y="35"/>
                  <a:pt x="64" y="39"/>
                  <a:pt x="64" y="39"/>
                </a:cubicBezTo>
                <a:cubicBezTo>
                  <a:pt x="64" y="39"/>
                  <a:pt x="60" y="49"/>
                  <a:pt x="59" y="49"/>
                </a:cubicBezTo>
                <a:cubicBezTo>
                  <a:pt x="58" y="50"/>
                  <a:pt x="56" y="54"/>
                  <a:pt x="54" y="58"/>
                </a:cubicBezTo>
                <a:cubicBezTo>
                  <a:pt x="53" y="62"/>
                  <a:pt x="51" y="66"/>
                  <a:pt x="50" y="67"/>
                </a:cubicBezTo>
                <a:cubicBezTo>
                  <a:pt x="49" y="69"/>
                  <a:pt x="48" y="72"/>
                  <a:pt x="47" y="74"/>
                </a:cubicBezTo>
                <a:cubicBezTo>
                  <a:pt x="47" y="76"/>
                  <a:pt x="45" y="83"/>
                  <a:pt x="45" y="83"/>
                </a:cubicBezTo>
                <a:cubicBezTo>
                  <a:pt x="45" y="83"/>
                  <a:pt x="42" y="91"/>
                  <a:pt x="40" y="95"/>
                </a:cubicBezTo>
                <a:cubicBezTo>
                  <a:pt x="39" y="99"/>
                  <a:pt x="34" y="96"/>
                  <a:pt x="34" y="96"/>
                </a:cubicBezTo>
                <a:cubicBezTo>
                  <a:pt x="34" y="96"/>
                  <a:pt x="31" y="92"/>
                  <a:pt x="30" y="90"/>
                </a:cubicBezTo>
                <a:cubicBezTo>
                  <a:pt x="30" y="88"/>
                  <a:pt x="28" y="86"/>
                  <a:pt x="26" y="88"/>
                </a:cubicBezTo>
                <a:cubicBezTo>
                  <a:pt x="24" y="91"/>
                  <a:pt x="23" y="89"/>
                  <a:pt x="20" y="90"/>
                </a:cubicBezTo>
                <a:cubicBezTo>
                  <a:pt x="17" y="90"/>
                  <a:pt x="14" y="94"/>
                  <a:pt x="13" y="96"/>
                </a:cubicBezTo>
                <a:cubicBezTo>
                  <a:pt x="11" y="98"/>
                  <a:pt x="8" y="100"/>
                  <a:pt x="7" y="101"/>
                </a:cubicBezTo>
                <a:cubicBezTo>
                  <a:pt x="6" y="102"/>
                  <a:pt x="4" y="108"/>
                  <a:pt x="4" y="108"/>
                </a:cubicBezTo>
                <a:cubicBezTo>
                  <a:pt x="4" y="108"/>
                  <a:pt x="3" y="113"/>
                  <a:pt x="1" y="117"/>
                </a:cubicBezTo>
                <a:cubicBezTo>
                  <a:pt x="0" y="121"/>
                  <a:pt x="0" y="124"/>
                  <a:pt x="0" y="124"/>
                </a:cubicBezTo>
                <a:cubicBezTo>
                  <a:pt x="1" y="124"/>
                  <a:pt x="1" y="124"/>
                  <a:pt x="1" y="124"/>
                </a:cubicBezTo>
                <a:cubicBezTo>
                  <a:pt x="3" y="126"/>
                  <a:pt x="3" y="126"/>
                  <a:pt x="3" y="127"/>
                </a:cubicBezTo>
                <a:cubicBezTo>
                  <a:pt x="3" y="128"/>
                  <a:pt x="5" y="130"/>
                  <a:pt x="5" y="130"/>
                </a:cubicBezTo>
                <a:cubicBezTo>
                  <a:pt x="6" y="130"/>
                  <a:pt x="9" y="130"/>
                  <a:pt x="9" y="130"/>
                </a:cubicBezTo>
                <a:cubicBezTo>
                  <a:pt x="10" y="130"/>
                  <a:pt x="10" y="131"/>
                  <a:pt x="10" y="133"/>
                </a:cubicBezTo>
                <a:cubicBezTo>
                  <a:pt x="10" y="135"/>
                  <a:pt x="12" y="136"/>
                  <a:pt x="12" y="136"/>
                </a:cubicBezTo>
                <a:cubicBezTo>
                  <a:pt x="12" y="136"/>
                  <a:pt x="14" y="137"/>
                  <a:pt x="15" y="138"/>
                </a:cubicBezTo>
                <a:cubicBezTo>
                  <a:pt x="15" y="139"/>
                  <a:pt x="17" y="140"/>
                  <a:pt x="17" y="139"/>
                </a:cubicBezTo>
                <a:cubicBezTo>
                  <a:pt x="18" y="138"/>
                  <a:pt x="19" y="137"/>
                  <a:pt x="20" y="138"/>
                </a:cubicBezTo>
                <a:cubicBezTo>
                  <a:pt x="20" y="139"/>
                  <a:pt x="20" y="144"/>
                  <a:pt x="20" y="146"/>
                </a:cubicBezTo>
                <a:cubicBezTo>
                  <a:pt x="21" y="148"/>
                  <a:pt x="22" y="150"/>
                  <a:pt x="22" y="150"/>
                </a:cubicBezTo>
                <a:cubicBezTo>
                  <a:pt x="22" y="150"/>
                  <a:pt x="23" y="154"/>
                  <a:pt x="22" y="157"/>
                </a:cubicBezTo>
                <a:cubicBezTo>
                  <a:pt x="22" y="159"/>
                  <a:pt x="22" y="160"/>
                  <a:pt x="22" y="162"/>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3" name="Eritrea"/>
          <p:cNvSpPr>
            <a:spLocks/>
          </p:cNvSpPr>
          <p:nvPr/>
        </p:nvSpPr>
        <p:spPr bwMode="auto">
          <a:xfrm>
            <a:off x="7190799" y="3515254"/>
            <a:ext cx="173118" cy="168218"/>
          </a:xfrm>
          <a:custGeom>
            <a:avLst/>
            <a:gdLst>
              <a:gd name="T0" fmla="*/ 84 w 84"/>
              <a:gd name="T1" fmla="*/ 79 h 82"/>
              <a:gd name="T2" fmla="*/ 77 w 84"/>
              <a:gd name="T3" fmla="*/ 80 h 82"/>
              <a:gd name="T4" fmla="*/ 75 w 84"/>
              <a:gd name="T5" fmla="*/ 82 h 82"/>
              <a:gd name="T6" fmla="*/ 69 w 84"/>
              <a:gd name="T7" fmla="*/ 78 h 82"/>
              <a:gd name="T8" fmla="*/ 63 w 84"/>
              <a:gd name="T9" fmla="*/ 70 h 82"/>
              <a:gd name="T10" fmla="*/ 59 w 84"/>
              <a:gd name="T11" fmla="*/ 66 h 82"/>
              <a:gd name="T12" fmla="*/ 51 w 84"/>
              <a:gd name="T13" fmla="*/ 62 h 82"/>
              <a:gd name="T14" fmla="*/ 45 w 84"/>
              <a:gd name="T15" fmla="*/ 57 h 82"/>
              <a:gd name="T16" fmla="*/ 39 w 84"/>
              <a:gd name="T17" fmla="*/ 52 h 82"/>
              <a:gd name="T18" fmla="*/ 32 w 84"/>
              <a:gd name="T19" fmla="*/ 52 h 82"/>
              <a:gd name="T20" fmla="*/ 27 w 84"/>
              <a:gd name="T21" fmla="*/ 51 h 82"/>
              <a:gd name="T22" fmla="*/ 13 w 84"/>
              <a:gd name="T23" fmla="*/ 51 h 82"/>
              <a:gd name="T24" fmla="*/ 10 w 84"/>
              <a:gd name="T25" fmla="*/ 54 h 82"/>
              <a:gd name="T26" fmla="*/ 6 w 84"/>
              <a:gd name="T27" fmla="*/ 55 h 82"/>
              <a:gd name="T28" fmla="*/ 4 w 84"/>
              <a:gd name="T29" fmla="*/ 56 h 82"/>
              <a:gd name="T30" fmla="*/ 1 w 84"/>
              <a:gd name="T31" fmla="*/ 55 h 82"/>
              <a:gd name="T32" fmla="*/ 0 w 84"/>
              <a:gd name="T33" fmla="*/ 50 h 82"/>
              <a:gd name="T34" fmla="*/ 0 w 84"/>
              <a:gd name="T35" fmla="*/ 42 h 82"/>
              <a:gd name="T36" fmla="*/ 2 w 84"/>
              <a:gd name="T37" fmla="*/ 35 h 82"/>
              <a:gd name="T38" fmla="*/ 4 w 84"/>
              <a:gd name="T39" fmla="*/ 27 h 82"/>
              <a:gd name="T40" fmla="*/ 7 w 84"/>
              <a:gd name="T41" fmla="*/ 15 h 82"/>
              <a:gd name="T42" fmla="*/ 13 w 84"/>
              <a:gd name="T43" fmla="*/ 8 h 82"/>
              <a:gd name="T44" fmla="*/ 17 w 84"/>
              <a:gd name="T45" fmla="*/ 5 h 82"/>
              <a:gd name="T46" fmla="*/ 22 w 84"/>
              <a:gd name="T47" fmla="*/ 3 h 82"/>
              <a:gd name="T48" fmla="*/ 25 w 84"/>
              <a:gd name="T49" fmla="*/ 0 h 82"/>
              <a:gd name="T50" fmla="*/ 25 w 84"/>
              <a:gd name="T51" fmla="*/ 2 h 82"/>
              <a:gd name="T52" fmla="*/ 27 w 84"/>
              <a:gd name="T53" fmla="*/ 6 h 82"/>
              <a:gd name="T54" fmla="*/ 27 w 84"/>
              <a:gd name="T55" fmla="*/ 10 h 82"/>
              <a:gd name="T56" fmla="*/ 29 w 84"/>
              <a:gd name="T57" fmla="*/ 14 h 82"/>
              <a:gd name="T58" fmla="*/ 29 w 84"/>
              <a:gd name="T59" fmla="*/ 16 h 82"/>
              <a:gd name="T60" fmla="*/ 30 w 84"/>
              <a:gd name="T61" fmla="*/ 19 h 82"/>
              <a:gd name="T62" fmla="*/ 30 w 84"/>
              <a:gd name="T63" fmla="*/ 22 h 82"/>
              <a:gd name="T64" fmla="*/ 33 w 84"/>
              <a:gd name="T65" fmla="*/ 26 h 82"/>
              <a:gd name="T66" fmla="*/ 34 w 84"/>
              <a:gd name="T67" fmla="*/ 29 h 82"/>
              <a:gd name="T68" fmla="*/ 36 w 84"/>
              <a:gd name="T69" fmla="*/ 32 h 82"/>
              <a:gd name="T70" fmla="*/ 38 w 84"/>
              <a:gd name="T71" fmla="*/ 34 h 82"/>
              <a:gd name="T72" fmla="*/ 39 w 84"/>
              <a:gd name="T73" fmla="*/ 36 h 82"/>
              <a:gd name="T74" fmla="*/ 44 w 84"/>
              <a:gd name="T75" fmla="*/ 37 h 82"/>
              <a:gd name="T76" fmla="*/ 48 w 84"/>
              <a:gd name="T77" fmla="*/ 37 h 82"/>
              <a:gd name="T78" fmla="*/ 50 w 84"/>
              <a:gd name="T79" fmla="*/ 39 h 82"/>
              <a:gd name="T80" fmla="*/ 51 w 84"/>
              <a:gd name="T81" fmla="*/ 40 h 82"/>
              <a:gd name="T82" fmla="*/ 54 w 84"/>
              <a:gd name="T83" fmla="*/ 41 h 82"/>
              <a:gd name="T84" fmla="*/ 56 w 84"/>
              <a:gd name="T85" fmla="*/ 43 h 82"/>
              <a:gd name="T86" fmla="*/ 59 w 84"/>
              <a:gd name="T87" fmla="*/ 45 h 82"/>
              <a:gd name="T88" fmla="*/ 61 w 84"/>
              <a:gd name="T89" fmla="*/ 51 h 82"/>
              <a:gd name="T90" fmla="*/ 63 w 84"/>
              <a:gd name="T91" fmla="*/ 54 h 82"/>
              <a:gd name="T92" fmla="*/ 70 w 84"/>
              <a:gd name="T93" fmla="*/ 59 h 82"/>
              <a:gd name="T94" fmla="*/ 72 w 84"/>
              <a:gd name="T95" fmla="*/ 63 h 82"/>
              <a:gd name="T96" fmla="*/ 75 w 84"/>
              <a:gd name="T97" fmla="*/ 64 h 82"/>
              <a:gd name="T98" fmla="*/ 76 w 84"/>
              <a:gd name="T99" fmla="*/ 67 h 82"/>
              <a:gd name="T100" fmla="*/ 77 w 84"/>
              <a:gd name="T101" fmla="*/ 71 h 82"/>
              <a:gd name="T102" fmla="*/ 78 w 84"/>
              <a:gd name="T103" fmla="*/ 72 h 82"/>
              <a:gd name="T104" fmla="*/ 81 w 84"/>
              <a:gd name="T105" fmla="*/ 73 h 82"/>
              <a:gd name="T106" fmla="*/ 81 w 84"/>
              <a:gd name="T107" fmla="*/ 76 h 82"/>
              <a:gd name="T108" fmla="*/ 83 w 84"/>
              <a:gd name="T109" fmla="*/ 78 h 82"/>
              <a:gd name="T110" fmla="*/ 84 w 84"/>
              <a:gd name="T111"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82">
                <a:moveTo>
                  <a:pt x="84" y="79"/>
                </a:moveTo>
                <a:cubicBezTo>
                  <a:pt x="84" y="79"/>
                  <a:pt x="79" y="80"/>
                  <a:pt x="77" y="80"/>
                </a:cubicBezTo>
                <a:cubicBezTo>
                  <a:pt x="76" y="80"/>
                  <a:pt x="76" y="82"/>
                  <a:pt x="75" y="82"/>
                </a:cubicBezTo>
                <a:cubicBezTo>
                  <a:pt x="75" y="82"/>
                  <a:pt x="71" y="80"/>
                  <a:pt x="69" y="78"/>
                </a:cubicBezTo>
                <a:cubicBezTo>
                  <a:pt x="67" y="75"/>
                  <a:pt x="64" y="72"/>
                  <a:pt x="63" y="70"/>
                </a:cubicBezTo>
                <a:cubicBezTo>
                  <a:pt x="63" y="68"/>
                  <a:pt x="59" y="66"/>
                  <a:pt x="59" y="66"/>
                </a:cubicBezTo>
                <a:cubicBezTo>
                  <a:pt x="51" y="62"/>
                  <a:pt x="51" y="62"/>
                  <a:pt x="51" y="62"/>
                </a:cubicBezTo>
                <a:cubicBezTo>
                  <a:pt x="51" y="62"/>
                  <a:pt x="46" y="59"/>
                  <a:pt x="45" y="57"/>
                </a:cubicBezTo>
                <a:cubicBezTo>
                  <a:pt x="44" y="56"/>
                  <a:pt x="39" y="52"/>
                  <a:pt x="39" y="52"/>
                </a:cubicBezTo>
                <a:cubicBezTo>
                  <a:pt x="39" y="52"/>
                  <a:pt x="33" y="52"/>
                  <a:pt x="32" y="52"/>
                </a:cubicBezTo>
                <a:cubicBezTo>
                  <a:pt x="31" y="52"/>
                  <a:pt x="28" y="52"/>
                  <a:pt x="27" y="51"/>
                </a:cubicBezTo>
                <a:cubicBezTo>
                  <a:pt x="25" y="50"/>
                  <a:pt x="13" y="51"/>
                  <a:pt x="13" y="51"/>
                </a:cubicBezTo>
                <a:cubicBezTo>
                  <a:pt x="13" y="51"/>
                  <a:pt x="10" y="52"/>
                  <a:pt x="10" y="54"/>
                </a:cubicBezTo>
                <a:cubicBezTo>
                  <a:pt x="9" y="55"/>
                  <a:pt x="6" y="55"/>
                  <a:pt x="6" y="55"/>
                </a:cubicBezTo>
                <a:cubicBezTo>
                  <a:pt x="6" y="55"/>
                  <a:pt x="5" y="56"/>
                  <a:pt x="4" y="56"/>
                </a:cubicBezTo>
                <a:cubicBezTo>
                  <a:pt x="2" y="55"/>
                  <a:pt x="1" y="55"/>
                  <a:pt x="1" y="55"/>
                </a:cubicBezTo>
                <a:cubicBezTo>
                  <a:pt x="0" y="50"/>
                  <a:pt x="0" y="50"/>
                  <a:pt x="0" y="50"/>
                </a:cubicBezTo>
                <a:cubicBezTo>
                  <a:pt x="0" y="50"/>
                  <a:pt x="0" y="43"/>
                  <a:pt x="0" y="42"/>
                </a:cubicBezTo>
                <a:cubicBezTo>
                  <a:pt x="1" y="40"/>
                  <a:pt x="1" y="37"/>
                  <a:pt x="2" y="35"/>
                </a:cubicBezTo>
                <a:cubicBezTo>
                  <a:pt x="4" y="34"/>
                  <a:pt x="4" y="30"/>
                  <a:pt x="4" y="27"/>
                </a:cubicBezTo>
                <a:cubicBezTo>
                  <a:pt x="5" y="24"/>
                  <a:pt x="4" y="18"/>
                  <a:pt x="7" y="15"/>
                </a:cubicBezTo>
                <a:cubicBezTo>
                  <a:pt x="9" y="12"/>
                  <a:pt x="12" y="10"/>
                  <a:pt x="13" y="8"/>
                </a:cubicBezTo>
                <a:cubicBezTo>
                  <a:pt x="14" y="7"/>
                  <a:pt x="16" y="5"/>
                  <a:pt x="17" y="5"/>
                </a:cubicBezTo>
                <a:cubicBezTo>
                  <a:pt x="19" y="5"/>
                  <a:pt x="21" y="4"/>
                  <a:pt x="22" y="3"/>
                </a:cubicBezTo>
                <a:cubicBezTo>
                  <a:pt x="23" y="1"/>
                  <a:pt x="25" y="0"/>
                  <a:pt x="25" y="0"/>
                </a:cubicBezTo>
                <a:cubicBezTo>
                  <a:pt x="25" y="1"/>
                  <a:pt x="25" y="2"/>
                  <a:pt x="25" y="2"/>
                </a:cubicBezTo>
                <a:cubicBezTo>
                  <a:pt x="27" y="6"/>
                  <a:pt x="27" y="6"/>
                  <a:pt x="27" y="6"/>
                </a:cubicBezTo>
                <a:cubicBezTo>
                  <a:pt x="27" y="6"/>
                  <a:pt x="27" y="9"/>
                  <a:pt x="27" y="10"/>
                </a:cubicBezTo>
                <a:cubicBezTo>
                  <a:pt x="28" y="10"/>
                  <a:pt x="29" y="13"/>
                  <a:pt x="29" y="14"/>
                </a:cubicBezTo>
                <a:cubicBezTo>
                  <a:pt x="28" y="14"/>
                  <a:pt x="29" y="16"/>
                  <a:pt x="29" y="16"/>
                </a:cubicBezTo>
                <a:cubicBezTo>
                  <a:pt x="29" y="16"/>
                  <a:pt x="30" y="18"/>
                  <a:pt x="30" y="19"/>
                </a:cubicBezTo>
                <a:cubicBezTo>
                  <a:pt x="30" y="20"/>
                  <a:pt x="30" y="22"/>
                  <a:pt x="30" y="22"/>
                </a:cubicBezTo>
                <a:cubicBezTo>
                  <a:pt x="30" y="22"/>
                  <a:pt x="31" y="25"/>
                  <a:pt x="33" y="26"/>
                </a:cubicBezTo>
                <a:cubicBezTo>
                  <a:pt x="34" y="27"/>
                  <a:pt x="34" y="29"/>
                  <a:pt x="34" y="29"/>
                </a:cubicBezTo>
                <a:cubicBezTo>
                  <a:pt x="36" y="32"/>
                  <a:pt x="36" y="32"/>
                  <a:pt x="36" y="32"/>
                </a:cubicBezTo>
                <a:cubicBezTo>
                  <a:pt x="36" y="32"/>
                  <a:pt x="38" y="34"/>
                  <a:pt x="38" y="34"/>
                </a:cubicBezTo>
                <a:cubicBezTo>
                  <a:pt x="38" y="35"/>
                  <a:pt x="39" y="36"/>
                  <a:pt x="39" y="36"/>
                </a:cubicBezTo>
                <a:cubicBezTo>
                  <a:pt x="39" y="36"/>
                  <a:pt x="44" y="37"/>
                  <a:pt x="44" y="37"/>
                </a:cubicBezTo>
                <a:cubicBezTo>
                  <a:pt x="45" y="37"/>
                  <a:pt x="47" y="36"/>
                  <a:pt x="48" y="37"/>
                </a:cubicBezTo>
                <a:cubicBezTo>
                  <a:pt x="48" y="38"/>
                  <a:pt x="49" y="39"/>
                  <a:pt x="50" y="39"/>
                </a:cubicBezTo>
                <a:cubicBezTo>
                  <a:pt x="50" y="39"/>
                  <a:pt x="51" y="39"/>
                  <a:pt x="51" y="40"/>
                </a:cubicBezTo>
                <a:cubicBezTo>
                  <a:pt x="52" y="41"/>
                  <a:pt x="53" y="41"/>
                  <a:pt x="54" y="41"/>
                </a:cubicBezTo>
                <a:cubicBezTo>
                  <a:pt x="54" y="42"/>
                  <a:pt x="56" y="43"/>
                  <a:pt x="56" y="43"/>
                </a:cubicBezTo>
                <a:cubicBezTo>
                  <a:pt x="56" y="43"/>
                  <a:pt x="58" y="44"/>
                  <a:pt x="59" y="45"/>
                </a:cubicBezTo>
                <a:cubicBezTo>
                  <a:pt x="60" y="46"/>
                  <a:pt x="61" y="50"/>
                  <a:pt x="61" y="51"/>
                </a:cubicBezTo>
                <a:cubicBezTo>
                  <a:pt x="61" y="53"/>
                  <a:pt x="62" y="54"/>
                  <a:pt x="63" y="54"/>
                </a:cubicBezTo>
                <a:cubicBezTo>
                  <a:pt x="65" y="54"/>
                  <a:pt x="67" y="59"/>
                  <a:pt x="70" y="59"/>
                </a:cubicBezTo>
                <a:cubicBezTo>
                  <a:pt x="71" y="59"/>
                  <a:pt x="72" y="62"/>
                  <a:pt x="72" y="63"/>
                </a:cubicBezTo>
                <a:cubicBezTo>
                  <a:pt x="72" y="64"/>
                  <a:pt x="74" y="63"/>
                  <a:pt x="75" y="64"/>
                </a:cubicBezTo>
                <a:cubicBezTo>
                  <a:pt x="76" y="65"/>
                  <a:pt x="75" y="67"/>
                  <a:pt x="76" y="67"/>
                </a:cubicBezTo>
                <a:cubicBezTo>
                  <a:pt x="76" y="67"/>
                  <a:pt x="77" y="69"/>
                  <a:pt x="77" y="71"/>
                </a:cubicBezTo>
                <a:cubicBezTo>
                  <a:pt x="77" y="71"/>
                  <a:pt x="77" y="72"/>
                  <a:pt x="78" y="72"/>
                </a:cubicBezTo>
                <a:cubicBezTo>
                  <a:pt x="79" y="72"/>
                  <a:pt x="80" y="72"/>
                  <a:pt x="81" y="73"/>
                </a:cubicBezTo>
                <a:cubicBezTo>
                  <a:pt x="82" y="73"/>
                  <a:pt x="81" y="75"/>
                  <a:pt x="81" y="76"/>
                </a:cubicBezTo>
                <a:cubicBezTo>
                  <a:pt x="82" y="78"/>
                  <a:pt x="83" y="78"/>
                  <a:pt x="83" y="78"/>
                </a:cubicBezTo>
                <a:cubicBezTo>
                  <a:pt x="83" y="78"/>
                  <a:pt x="84" y="79"/>
                  <a:pt x="84" y="7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4" name="Chad"/>
          <p:cNvSpPr>
            <a:spLocks/>
          </p:cNvSpPr>
          <p:nvPr/>
        </p:nvSpPr>
        <p:spPr bwMode="auto">
          <a:xfrm>
            <a:off x="6545689" y="3309472"/>
            <a:ext cx="271109" cy="511188"/>
          </a:xfrm>
          <a:custGeom>
            <a:avLst/>
            <a:gdLst>
              <a:gd name="T0" fmla="*/ 28 w 132"/>
              <a:gd name="T1" fmla="*/ 248 h 249"/>
              <a:gd name="T2" fmla="*/ 40 w 132"/>
              <a:gd name="T3" fmla="*/ 244 h 249"/>
              <a:gd name="T4" fmla="*/ 51 w 132"/>
              <a:gd name="T5" fmla="*/ 246 h 249"/>
              <a:gd name="T6" fmla="*/ 61 w 132"/>
              <a:gd name="T7" fmla="*/ 242 h 249"/>
              <a:gd name="T8" fmla="*/ 70 w 132"/>
              <a:gd name="T9" fmla="*/ 235 h 249"/>
              <a:gd name="T10" fmla="*/ 75 w 132"/>
              <a:gd name="T11" fmla="*/ 226 h 249"/>
              <a:gd name="T12" fmla="*/ 88 w 132"/>
              <a:gd name="T13" fmla="*/ 224 h 249"/>
              <a:gd name="T14" fmla="*/ 91 w 132"/>
              <a:gd name="T15" fmla="*/ 221 h 249"/>
              <a:gd name="T16" fmla="*/ 101 w 132"/>
              <a:gd name="T17" fmla="*/ 210 h 249"/>
              <a:gd name="T18" fmla="*/ 106 w 132"/>
              <a:gd name="T19" fmla="*/ 202 h 249"/>
              <a:gd name="T20" fmla="*/ 114 w 132"/>
              <a:gd name="T21" fmla="*/ 197 h 249"/>
              <a:gd name="T22" fmla="*/ 119 w 132"/>
              <a:gd name="T23" fmla="*/ 196 h 249"/>
              <a:gd name="T24" fmla="*/ 118 w 132"/>
              <a:gd name="T25" fmla="*/ 190 h 249"/>
              <a:gd name="T26" fmla="*/ 113 w 132"/>
              <a:gd name="T27" fmla="*/ 184 h 249"/>
              <a:gd name="T28" fmla="*/ 112 w 132"/>
              <a:gd name="T29" fmla="*/ 176 h 249"/>
              <a:gd name="T30" fmla="*/ 105 w 132"/>
              <a:gd name="T31" fmla="*/ 169 h 249"/>
              <a:gd name="T32" fmla="*/ 109 w 132"/>
              <a:gd name="T33" fmla="*/ 156 h 249"/>
              <a:gd name="T34" fmla="*/ 112 w 132"/>
              <a:gd name="T35" fmla="*/ 149 h 249"/>
              <a:gd name="T36" fmla="*/ 114 w 132"/>
              <a:gd name="T37" fmla="*/ 143 h 249"/>
              <a:gd name="T38" fmla="*/ 119 w 132"/>
              <a:gd name="T39" fmla="*/ 125 h 249"/>
              <a:gd name="T40" fmla="*/ 129 w 132"/>
              <a:gd name="T41" fmla="*/ 122 h 249"/>
              <a:gd name="T42" fmla="*/ 130 w 132"/>
              <a:gd name="T43" fmla="*/ 108 h 249"/>
              <a:gd name="T44" fmla="*/ 131 w 132"/>
              <a:gd name="T45" fmla="*/ 82 h 249"/>
              <a:gd name="T46" fmla="*/ 64 w 132"/>
              <a:gd name="T47" fmla="*/ 24 h 249"/>
              <a:gd name="T48" fmla="*/ 31 w 132"/>
              <a:gd name="T49" fmla="*/ 4 h 249"/>
              <a:gd name="T50" fmla="*/ 17 w 132"/>
              <a:gd name="T51" fmla="*/ 8 h 249"/>
              <a:gd name="T52" fmla="*/ 24 w 132"/>
              <a:gd name="T53" fmla="*/ 42 h 249"/>
              <a:gd name="T54" fmla="*/ 23 w 132"/>
              <a:gd name="T55" fmla="*/ 71 h 249"/>
              <a:gd name="T56" fmla="*/ 23 w 132"/>
              <a:gd name="T57" fmla="*/ 106 h 249"/>
              <a:gd name="T58" fmla="*/ 17 w 132"/>
              <a:gd name="T59" fmla="*/ 118 h 249"/>
              <a:gd name="T60" fmla="*/ 0 w 132"/>
              <a:gd name="T61" fmla="*/ 138 h 249"/>
              <a:gd name="T62" fmla="*/ 13 w 132"/>
              <a:gd name="T63" fmla="*/ 173 h 249"/>
              <a:gd name="T64" fmla="*/ 19 w 132"/>
              <a:gd name="T65" fmla="*/ 181 h 249"/>
              <a:gd name="T66" fmla="*/ 20 w 132"/>
              <a:gd name="T67" fmla="*/ 194 h 249"/>
              <a:gd name="T68" fmla="*/ 25 w 132"/>
              <a:gd name="T69" fmla="*/ 208 h 249"/>
              <a:gd name="T70" fmla="*/ 21 w 132"/>
              <a:gd name="T71" fmla="*/ 212 h 249"/>
              <a:gd name="T72" fmla="*/ 14 w 132"/>
              <a:gd name="T73" fmla="*/ 211 h 249"/>
              <a:gd name="T74" fmla="*/ 9 w 132"/>
              <a:gd name="T75" fmla="*/ 220 h 249"/>
              <a:gd name="T76" fmla="*/ 18 w 132"/>
              <a:gd name="T77" fmla="*/ 229 h 249"/>
              <a:gd name="T78" fmla="*/ 24 w 132"/>
              <a:gd name="T79" fmla="*/ 24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249">
                <a:moveTo>
                  <a:pt x="27" y="248"/>
                </a:moveTo>
                <a:cubicBezTo>
                  <a:pt x="28" y="248"/>
                  <a:pt x="28" y="248"/>
                  <a:pt x="28" y="248"/>
                </a:cubicBezTo>
                <a:cubicBezTo>
                  <a:pt x="30" y="249"/>
                  <a:pt x="35" y="247"/>
                  <a:pt x="35" y="247"/>
                </a:cubicBezTo>
                <a:cubicBezTo>
                  <a:pt x="35" y="247"/>
                  <a:pt x="38" y="244"/>
                  <a:pt x="40" y="244"/>
                </a:cubicBezTo>
                <a:cubicBezTo>
                  <a:pt x="42" y="245"/>
                  <a:pt x="43" y="248"/>
                  <a:pt x="46" y="248"/>
                </a:cubicBezTo>
                <a:cubicBezTo>
                  <a:pt x="48" y="248"/>
                  <a:pt x="50" y="247"/>
                  <a:pt x="51" y="246"/>
                </a:cubicBezTo>
                <a:cubicBezTo>
                  <a:pt x="52" y="244"/>
                  <a:pt x="54" y="243"/>
                  <a:pt x="56" y="242"/>
                </a:cubicBezTo>
                <a:cubicBezTo>
                  <a:pt x="59" y="242"/>
                  <a:pt x="61" y="242"/>
                  <a:pt x="61" y="242"/>
                </a:cubicBezTo>
                <a:cubicBezTo>
                  <a:pt x="61" y="242"/>
                  <a:pt x="64" y="243"/>
                  <a:pt x="65" y="240"/>
                </a:cubicBezTo>
                <a:cubicBezTo>
                  <a:pt x="66" y="237"/>
                  <a:pt x="70" y="237"/>
                  <a:pt x="70" y="235"/>
                </a:cubicBezTo>
                <a:cubicBezTo>
                  <a:pt x="70" y="233"/>
                  <a:pt x="67" y="230"/>
                  <a:pt x="70" y="228"/>
                </a:cubicBezTo>
                <a:cubicBezTo>
                  <a:pt x="72" y="227"/>
                  <a:pt x="72" y="226"/>
                  <a:pt x="75" y="226"/>
                </a:cubicBezTo>
                <a:cubicBezTo>
                  <a:pt x="78" y="226"/>
                  <a:pt x="79" y="225"/>
                  <a:pt x="82" y="225"/>
                </a:cubicBezTo>
                <a:cubicBezTo>
                  <a:pt x="84" y="225"/>
                  <a:pt x="88" y="224"/>
                  <a:pt x="88" y="224"/>
                </a:cubicBezTo>
                <a:cubicBezTo>
                  <a:pt x="88" y="223"/>
                  <a:pt x="88" y="223"/>
                  <a:pt x="88" y="223"/>
                </a:cubicBezTo>
                <a:cubicBezTo>
                  <a:pt x="88" y="223"/>
                  <a:pt x="89" y="222"/>
                  <a:pt x="91" y="221"/>
                </a:cubicBezTo>
                <a:cubicBezTo>
                  <a:pt x="93" y="220"/>
                  <a:pt x="95" y="214"/>
                  <a:pt x="97" y="213"/>
                </a:cubicBezTo>
                <a:cubicBezTo>
                  <a:pt x="100" y="212"/>
                  <a:pt x="100" y="212"/>
                  <a:pt x="101" y="210"/>
                </a:cubicBezTo>
                <a:cubicBezTo>
                  <a:pt x="101" y="209"/>
                  <a:pt x="102" y="208"/>
                  <a:pt x="103" y="208"/>
                </a:cubicBezTo>
                <a:cubicBezTo>
                  <a:pt x="104" y="207"/>
                  <a:pt x="106" y="204"/>
                  <a:pt x="106" y="202"/>
                </a:cubicBezTo>
                <a:cubicBezTo>
                  <a:pt x="106" y="200"/>
                  <a:pt x="108" y="199"/>
                  <a:pt x="110" y="199"/>
                </a:cubicBezTo>
                <a:cubicBezTo>
                  <a:pt x="112" y="198"/>
                  <a:pt x="114" y="197"/>
                  <a:pt x="114" y="197"/>
                </a:cubicBezTo>
                <a:cubicBezTo>
                  <a:pt x="117" y="197"/>
                  <a:pt x="117" y="197"/>
                  <a:pt x="117" y="197"/>
                </a:cubicBezTo>
                <a:cubicBezTo>
                  <a:pt x="119" y="196"/>
                  <a:pt x="119" y="196"/>
                  <a:pt x="119" y="196"/>
                </a:cubicBezTo>
                <a:cubicBezTo>
                  <a:pt x="119" y="196"/>
                  <a:pt x="118" y="194"/>
                  <a:pt x="120" y="193"/>
                </a:cubicBezTo>
                <a:cubicBezTo>
                  <a:pt x="121" y="192"/>
                  <a:pt x="119" y="191"/>
                  <a:pt x="118" y="190"/>
                </a:cubicBezTo>
                <a:cubicBezTo>
                  <a:pt x="117" y="190"/>
                  <a:pt x="117" y="188"/>
                  <a:pt x="116" y="188"/>
                </a:cubicBezTo>
                <a:cubicBezTo>
                  <a:pt x="114" y="187"/>
                  <a:pt x="113" y="186"/>
                  <a:pt x="113" y="184"/>
                </a:cubicBezTo>
                <a:cubicBezTo>
                  <a:pt x="113" y="182"/>
                  <a:pt x="115" y="180"/>
                  <a:pt x="114" y="180"/>
                </a:cubicBezTo>
                <a:cubicBezTo>
                  <a:pt x="112" y="180"/>
                  <a:pt x="112" y="178"/>
                  <a:pt x="112" y="176"/>
                </a:cubicBezTo>
                <a:cubicBezTo>
                  <a:pt x="112" y="173"/>
                  <a:pt x="111" y="171"/>
                  <a:pt x="109" y="172"/>
                </a:cubicBezTo>
                <a:cubicBezTo>
                  <a:pt x="107" y="172"/>
                  <a:pt x="105" y="171"/>
                  <a:pt x="105" y="169"/>
                </a:cubicBezTo>
                <a:cubicBezTo>
                  <a:pt x="105" y="167"/>
                  <a:pt x="106" y="164"/>
                  <a:pt x="108" y="163"/>
                </a:cubicBezTo>
                <a:cubicBezTo>
                  <a:pt x="111" y="162"/>
                  <a:pt x="109" y="157"/>
                  <a:pt x="109" y="156"/>
                </a:cubicBezTo>
                <a:cubicBezTo>
                  <a:pt x="109" y="154"/>
                  <a:pt x="109" y="152"/>
                  <a:pt x="111" y="152"/>
                </a:cubicBezTo>
                <a:cubicBezTo>
                  <a:pt x="112" y="151"/>
                  <a:pt x="112" y="150"/>
                  <a:pt x="112" y="149"/>
                </a:cubicBezTo>
                <a:cubicBezTo>
                  <a:pt x="112" y="148"/>
                  <a:pt x="112" y="147"/>
                  <a:pt x="113" y="146"/>
                </a:cubicBezTo>
                <a:cubicBezTo>
                  <a:pt x="114" y="145"/>
                  <a:pt x="114" y="144"/>
                  <a:pt x="114" y="143"/>
                </a:cubicBezTo>
                <a:cubicBezTo>
                  <a:pt x="113" y="141"/>
                  <a:pt x="112" y="139"/>
                  <a:pt x="116" y="135"/>
                </a:cubicBezTo>
                <a:cubicBezTo>
                  <a:pt x="119" y="132"/>
                  <a:pt x="117" y="127"/>
                  <a:pt x="119" y="125"/>
                </a:cubicBezTo>
                <a:cubicBezTo>
                  <a:pt x="121" y="124"/>
                  <a:pt x="120" y="121"/>
                  <a:pt x="121" y="120"/>
                </a:cubicBezTo>
                <a:cubicBezTo>
                  <a:pt x="122" y="120"/>
                  <a:pt x="126" y="121"/>
                  <a:pt x="129" y="122"/>
                </a:cubicBezTo>
                <a:cubicBezTo>
                  <a:pt x="132" y="122"/>
                  <a:pt x="131" y="118"/>
                  <a:pt x="131" y="115"/>
                </a:cubicBezTo>
                <a:cubicBezTo>
                  <a:pt x="131" y="112"/>
                  <a:pt x="129" y="109"/>
                  <a:pt x="130" y="108"/>
                </a:cubicBezTo>
                <a:cubicBezTo>
                  <a:pt x="131" y="108"/>
                  <a:pt x="132" y="104"/>
                  <a:pt x="132" y="104"/>
                </a:cubicBezTo>
                <a:cubicBezTo>
                  <a:pt x="132" y="104"/>
                  <a:pt x="130" y="87"/>
                  <a:pt x="131" y="82"/>
                </a:cubicBezTo>
                <a:cubicBezTo>
                  <a:pt x="132" y="78"/>
                  <a:pt x="131" y="63"/>
                  <a:pt x="131" y="63"/>
                </a:cubicBezTo>
                <a:cubicBezTo>
                  <a:pt x="64" y="24"/>
                  <a:pt x="64" y="24"/>
                  <a:pt x="64" y="24"/>
                </a:cubicBezTo>
                <a:cubicBezTo>
                  <a:pt x="35" y="9"/>
                  <a:pt x="35" y="9"/>
                  <a:pt x="35" y="9"/>
                </a:cubicBezTo>
                <a:cubicBezTo>
                  <a:pt x="35" y="9"/>
                  <a:pt x="32" y="6"/>
                  <a:pt x="31" y="4"/>
                </a:cubicBezTo>
                <a:cubicBezTo>
                  <a:pt x="30" y="2"/>
                  <a:pt x="25" y="0"/>
                  <a:pt x="22" y="2"/>
                </a:cubicBezTo>
                <a:cubicBezTo>
                  <a:pt x="20" y="3"/>
                  <a:pt x="17" y="8"/>
                  <a:pt x="17" y="8"/>
                </a:cubicBezTo>
                <a:cubicBezTo>
                  <a:pt x="17" y="8"/>
                  <a:pt x="20" y="15"/>
                  <a:pt x="21" y="22"/>
                </a:cubicBezTo>
                <a:cubicBezTo>
                  <a:pt x="22" y="28"/>
                  <a:pt x="23" y="40"/>
                  <a:pt x="24" y="42"/>
                </a:cubicBezTo>
                <a:cubicBezTo>
                  <a:pt x="25" y="45"/>
                  <a:pt x="30" y="53"/>
                  <a:pt x="29" y="56"/>
                </a:cubicBezTo>
                <a:cubicBezTo>
                  <a:pt x="28" y="59"/>
                  <a:pt x="23" y="71"/>
                  <a:pt x="23" y="71"/>
                </a:cubicBezTo>
                <a:cubicBezTo>
                  <a:pt x="23" y="71"/>
                  <a:pt x="23" y="84"/>
                  <a:pt x="23" y="91"/>
                </a:cubicBezTo>
                <a:cubicBezTo>
                  <a:pt x="23" y="97"/>
                  <a:pt x="22" y="103"/>
                  <a:pt x="23" y="106"/>
                </a:cubicBezTo>
                <a:cubicBezTo>
                  <a:pt x="24" y="108"/>
                  <a:pt x="21" y="112"/>
                  <a:pt x="21" y="112"/>
                </a:cubicBezTo>
                <a:cubicBezTo>
                  <a:pt x="17" y="118"/>
                  <a:pt x="17" y="118"/>
                  <a:pt x="17" y="118"/>
                </a:cubicBezTo>
                <a:cubicBezTo>
                  <a:pt x="8" y="128"/>
                  <a:pt x="8" y="128"/>
                  <a:pt x="8" y="128"/>
                </a:cubicBezTo>
                <a:cubicBezTo>
                  <a:pt x="0" y="138"/>
                  <a:pt x="0" y="138"/>
                  <a:pt x="0" y="138"/>
                </a:cubicBezTo>
                <a:cubicBezTo>
                  <a:pt x="0" y="138"/>
                  <a:pt x="2" y="142"/>
                  <a:pt x="2" y="145"/>
                </a:cubicBezTo>
                <a:cubicBezTo>
                  <a:pt x="1" y="148"/>
                  <a:pt x="13" y="173"/>
                  <a:pt x="13" y="173"/>
                </a:cubicBezTo>
                <a:cubicBezTo>
                  <a:pt x="15" y="173"/>
                  <a:pt x="16" y="173"/>
                  <a:pt x="16" y="174"/>
                </a:cubicBezTo>
                <a:cubicBezTo>
                  <a:pt x="17" y="176"/>
                  <a:pt x="19" y="181"/>
                  <a:pt x="19" y="181"/>
                </a:cubicBezTo>
                <a:cubicBezTo>
                  <a:pt x="19" y="181"/>
                  <a:pt x="20" y="183"/>
                  <a:pt x="20" y="187"/>
                </a:cubicBezTo>
                <a:cubicBezTo>
                  <a:pt x="19" y="191"/>
                  <a:pt x="19" y="193"/>
                  <a:pt x="20" y="194"/>
                </a:cubicBezTo>
                <a:cubicBezTo>
                  <a:pt x="21" y="195"/>
                  <a:pt x="22" y="198"/>
                  <a:pt x="22" y="201"/>
                </a:cubicBezTo>
                <a:cubicBezTo>
                  <a:pt x="21" y="203"/>
                  <a:pt x="22" y="205"/>
                  <a:pt x="25" y="208"/>
                </a:cubicBezTo>
                <a:cubicBezTo>
                  <a:pt x="29" y="211"/>
                  <a:pt x="28" y="213"/>
                  <a:pt x="26" y="213"/>
                </a:cubicBezTo>
                <a:cubicBezTo>
                  <a:pt x="24" y="213"/>
                  <a:pt x="22" y="212"/>
                  <a:pt x="21" y="212"/>
                </a:cubicBezTo>
                <a:cubicBezTo>
                  <a:pt x="20" y="212"/>
                  <a:pt x="18" y="211"/>
                  <a:pt x="17" y="212"/>
                </a:cubicBezTo>
                <a:cubicBezTo>
                  <a:pt x="16" y="212"/>
                  <a:pt x="15" y="213"/>
                  <a:pt x="14" y="211"/>
                </a:cubicBezTo>
                <a:cubicBezTo>
                  <a:pt x="13" y="209"/>
                  <a:pt x="8" y="211"/>
                  <a:pt x="8" y="212"/>
                </a:cubicBezTo>
                <a:cubicBezTo>
                  <a:pt x="7" y="214"/>
                  <a:pt x="6" y="218"/>
                  <a:pt x="9" y="220"/>
                </a:cubicBezTo>
                <a:cubicBezTo>
                  <a:pt x="13" y="223"/>
                  <a:pt x="15" y="224"/>
                  <a:pt x="16" y="226"/>
                </a:cubicBezTo>
                <a:cubicBezTo>
                  <a:pt x="17" y="227"/>
                  <a:pt x="16" y="228"/>
                  <a:pt x="18" y="229"/>
                </a:cubicBezTo>
                <a:cubicBezTo>
                  <a:pt x="20" y="230"/>
                  <a:pt x="20" y="232"/>
                  <a:pt x="21" y="233"/>
                </a:cubicBezTo>
                <a:cubicBezTo>
                  <a:pt x="21" y="234"/>
                  <a:pt x="24" y="236"/>
                  <a:pt x="24" y="241"/>
                </a:cubicBezTo>
                <a:cubicBezTo>
                  <a:pt x="24" y="245"/>
                  <a:pt x="23" y="245"/>
                  <a:pt x="27" y="248"/>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5" name="Nigeria"/>
          <p:cNvSpPr>
            <a:spLocks/>
          </p:cNvSpPr>
          <p:nvPr/>
        </p:nvSpPr>
        <p:spPr bwMode="auto">
          <a:xfrm>
            <a:off x="6256615" y="3621412"/>
            <a:ext cx="320105" cy="311939"/>
          </a:xfrm>
          <a:custGeom>
            <a:avLst/>
            <a:gdLst>
              <a:gd name="T0" fmla="*/ 4 w 156"/>
              <a:gd name="T1" fmla="*/ 122 h 152"/>
              <a:gd name="T2" fmla="*/ 3 w 156"/>
              <a:gd name="T3" fmla="*/ 112 h 152"/>
              <a:gd name="T4" fmla="*/ 1 w 156"/>
              <a:gd name="T5" fmla="*/ 100 h 152"/>
              <a:gd name="T6" fmla="*/ 1 w 156"/>
              <a:gd name="T7" fmla="*/ 86 h 152"/>
              <a:gd name="T8" fmla="*/ 1 w 156"/>
              <a:gd name="T9" fmla="*/ 77 h 152"/>
              <a:gd name="T10" fmla="*/ 9 w 156"/>
              <a:gd name="T11" fmla="*/ 66 h 152"/>
              <a:gd name="T12" fmla="*/ 15 w 156"/>
              <a:gd name="T13" fmla="*/ 53 h 152"/>
              <a:gd name="T14" fmla="*/ 11 w 156"/>
              <a:gd name="T15" fmla="*/ 42 h 152"/>
              <a:gd name="T16" fmla="*/ 13 w 156"/>
              <a:gd name="T17" fmla="*/ 34 h 152"/>
              <a:gd name="T18" fmla="*/ 14 w 156"/>
              <a:gd name="T19" fmla="*/ 27 h 152"/>
              <a:gd name="T20" fmla="*/ 18 w 156"/>
              <a:gd name="T21" fmla="*/ 16 h 152"/>
              <a:gd name="T22" fmla="*/ 26 w 156"/>
              <a:gd name="T23" fmla="*/ 4 h 152"/>
              <a:gd name="T24" fmla="*/ 54 w 156"/>
              <a:gd name="T25" fmla="*/ 13 h 152"/>
              <a:gd name="T26" fmla="*/ 67 w 156"/>
              <a:gd name="T27" fmla="*/ 11 h 152"/>
              <a:gd name="T28" fmla="*/ 86 w 156"/>
              <a:gd name="T29" fmla="*/ 20 h 152"/>
              <a:gd name="T30" fmla="*/ 102 w 156"/>
              <a:gd name="T31" fmla="*/ 11 h 152"/>
              <a:gd name="T32" fmla="*/ 124 w 156"/>
              <a:gd name="T33" fmla="*/ 13 h 152"/>
              <a:gd name="T34" fmla="*/ 142 w 156"/>
              <a:gd name="T35" fmla="*/ 2 h 152"/>
              <a:gd name="T36" fmla="*/ 154 w 156"/>
              <a:gd name="T37" fmla="*/ 21 h 152"/>
              <a:gd name="T38" fmla="*/ 151 w 156"/>
              <a:gd name="T39" fmla="*/ 26 h 152"/>
              <a:gd name="T40" fmla="*/ 156 w 156"/>
              <a:gd name="T41" fmla="*/ 38 h 152"/>
              <a:gd name="T42" fmla="*/ 143 w 156"/>
              <a:gd name="T43" fmla="*/ 53 h 152"/>
              <a:gd name="T44" fmla="*/ 136 w 156"/>
              <a:gd name="T45" fmla="*/ 69 h 152"/>
              <a:gd name="T46" fmla="*/ 127 w 156"/>
              <a:gd name="T47" fmla="*/ 87 h 152"/>
              <a:gd name="T48" fmla="*/ 122 w 156"/>
              <a:gd name="T49" fmla="*/ 103 h 152"/>
              <a:gd name="T50" fmla="*/ 111 w 156"/>
              <a:gd name="T51" fmla="*/ 116 h 152"/>
              <a:gd name="T52" fmla="*/ 103 w 156"/>
              <a:gd name="T53" fmla="*/ 108 h 152"/>
              <a:gd name="T54" fmla="*/ 90 w 156"/>
              <a:gd name="T55" fmla="*/ 116 h 152"/>
              <a:gd name="T56" fmla="*/ 81 w 156"/>
              <a:gd name="T57" fmla="*/ 128 h 152"/>
              <a:gd name="T58" fmla="*/ 77 w 156"/>
              <a:gd name="T59" fmla="*/ 144 h 152"/>
              <a:gd name="T60" fmla="*/ 79 w 156"/>
              <a:gd name="T61" fmla="*/ 149 h 152"/>
              <a:gd name="T62" fmla="*/ 70 w 156"/>
              <a:gd name="T63" fmla="*/ 151 h 152"/>
              <a:gd name="T64" fmla="*/ 48 w 156"/>
              <a:gd name="T65" fmla="*/ 152 h 152"/>
              <a:gd name="T66" fmla="*/ 42 w 156"/>
              <a:gd name="T67" fmla="*/ 149 h 152"/>
              <a:gd name="T68" fmla="*/ 40 w 156"/>
              <a:gd name="T69" fmla="*/ 143 h 152"/>
              <a:gd name="T70" fmla="*/ 38 w 156"/>
              <a:gd name="T71" fmla="*/ 135 h 152"/>
              <a:gd name="T72" fmla="*/ 36 w 156"/>
              <a:gd name="T73" fmla="*/ 129 h 152"/>
              <a:gd name="T74" fmla="*/ 32 w 156"/>
              <a:gd name="T75" fmla="*/ 124 h 152"/>
              <a:gd name="T76" fmla="*/ 23 w 156"/>
              <a:gd name="T77" fmla="*/ 120 h 152"/>
              <a:gd name="T78" fmla="*/ 16 w 156"/>
              <a:gd name="T79" fmla="*/ 119 h 152"/>
              <a:gd name="T80" fmla="*/ 4 w 156"/>
              <a:gd name="T81" fmla="*/ 12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152">
                <a:moveTo>
                  <a:pt x="4" y="122"/>
                </a:moveTo>
                <a:cubicBezTo>
                  <a:pt x="4" y="122"/>
                  <a:pt x="4" y="122"/>
                  <a:pt x="4" y="122"/>
                </a:cubicBezTo>
                <a:cubicBezTo>
                  <a:pt x="4" y="121"/>
                  <a:pt x="4" y="117"/>
                  <a:pt x="3" y="117"/>
                </a:cubicBezTo>
                <a:cubicBezTo>
                  <a:pt x="2" y="116"/>
                  <a:pt x="2" y="113"/>
                  <a:pt x="3" y="112"/>
                </a:cubicBezTo>
                <a:cubicBezTo>
                  <a:pt x="3" y="110"/>
                  <a:pt x="1" y="108"/>
                  <a:pt x="1" y="107"/>
                </a:cubicBezTo>
                <a:cubicBezTo>
                  <a:pt x="1" y="105"/>
                  <a:pt x="1" y="100"/>
                  <a:pt x="1" y="100"/>
                </a:cubicBezTo>
                <a:cubicBezTo>
                  <a:pt x="1" y="100"/>
                  <a:pt x="1" y="93"/>
                  <a:pt x="1" y="91"/>
                </a:cubicBezTo>
                <a:cubicBezTo>
                  <a:pt x="2" y="89"/>
                  <a:pt x="0" y="87"/>
                  <a:pt x="1" y="86"/>
                </a:cubicBezTo>
                <a:cubicBezTo>
                  <a:pt x="2" y="86"/>
                  <a:pt x="1" y="82"/>
                  <a:pt x="1" y="82"/>
                </a:cubicBezTo>
                <a:cubicBezTo>
                  <a:pt x="1" y="82"/>
                  <a:pt x="0" y="77"/>
                  <a:pt x="1" y="77"/>
                </a:cubicBezTo>
                <a:cubicBezTo>
                  <a:pt x="3" y="76"/>
                  <a:pt x="6" y="76"/>
                  <a:pt x="7" y="74"/>
                </a:cubicBezTo>
                <a:cubicBezTo>
                  <a:pt x="8" y="72"/>
                  <a:pt x="8" y="68"/>
                  <a:pt x="9" y="66"/>
                </a:cubicBezTo>
                <a:cubicBezTo>
                  <a:pt x="10" y="65"/>
                  <a:pt x="12" y="59"/>
                  <a:pt x="12" y="57"/>
                </a:cubicBezTo>
                <a:cubicBezTo>
                  <a:pt x="12" y="55"/>
                  <a:pt x="15" y="53"/>
                  <a:pt x="15" y="53"/>
                </a:cubicBezTo>
                <a:cubicBezTo>
                  <a:pt x="15" y="53"/>
                  <a:pt x="18" y="52"/>
                  <a:pt x="15" y="49"/>
                </a:cubicBezTo>
                <a:cubicBezTo>
                  <a:pt x="13" y="47"/>
                  <a:pt x="11" y="45"/>
                  <a:pt x="11" y="42"/>
                </a:cubicBezTo>
                <a:cubicBezTo>
                  <a:pt x="11" y="39"/>
                  <a:pt x="12" y="37"/>
                  <a:pt x="12" y="37"/>
                </a:cubicBezTo>
                <a:cubicBezTo>
                  <a:pt x="12" y="37"/>
                  <a:pt x="13" y="36"/>
                  <a:pt x="13" y="34"/>
                </a:cubicBezTo>
                <a:cubicBezTo>
                  <a:pt x="13" y="33"/>
                  <a:pt x="14" y="31"/>
                  <a:pt x="14" y="31"/>
                </a:cubicBezTo>
                <a:cubicBezTo>
                  <a:pt x="15" y="30"/>
                  <a:pt x="15" y="29"/>
                  <a:pt x="14" y="27"/>
                </a:cubicBezTo>
                <a:cubicBezTo>
                  <a:pt x="13" y="26"/>
                  <a:pt x="14" y="25"/>
                  <a:pt x="15" y="23"/>
                </a:cubicBezTo>
                <a:cubicBezTo>
                  <a:pt x="16" y="21"/>
                  <a:pt x="18" y="18"/>
                  <a:pt x="18" y="16"/>
                </a:cubicBezTo>
                <a:cubicBezTo>
                  <a:pt x="19" y="13"/>
                  <a:pt x="20" y="9"/>
                  <a:pt x="20" y="9"/>
                </a:cubicBezTo>
                <a:cubicBezTo>
                  <a:pt x="20" y="9"/>
                  <a:pt x="21" y="6"/>
                  <a:pt x="26" y="4"/>
                </a:cubicBezTo>
                <a:cubicBezTo>
                  <a:pt x="31" y="3"/>
                  <a:pt x="42" y="6"/>
                  <a:pt x="45" y="8"/>
                </a:cubicBezTo>
                <a:cubicBezTo>
                  <a:pt x="48" y="9"/>
                  <a:pt x="52" y="11"/>
                  <a:pt x="54" y="13"/>
                </a:cubicBezTo>
                <a:cubicBezTo>
                  <a:pt x="55" y="15"/>
                  <a:pt x="59" y="15"/>
                  <a:pt x="60" y="14"/>
                </a:cubicBezTo>
                <a:cubicBezTo>
                  <a:pt x="62" y="14"/>
                  <a:pt x="63" y="11"/>
                  <a:pt x="67" y="11"/>
                </a:cubicBezTo>
                <a:cubicBezTo>
                  <a:pt x="70" y="11"/>
                  <a:pt x="78" y="16"/>
                  <a:pt x="81" y="18"/>
                </a:cubicBezTo>
                <a:cubicBezTo>
                  <a:pt x="84" y="20"/>
                  <a:pt x="84" y="20"/>
                  <a:pt x="86" y="20"/>
                </a:cubicBezTo>
                <a:cubicBezTo>
                  <a:pt x="89" y="20"/>
                  <a:pt x="91" y="17"/>
                  <a:pt x="93" y="15"/>
                </a:cubicBezTo>
                <a:cubicBezTo>
                  <a:pt x="95" y="13"/>
                  <a:pt x="98" y="13"/>
                  <a:pt x="102" y="11"/>
                </a:cubicBezTo>
                <a:cubicBezTo>
                  <a:pt x="107" y="10"/>
                  <a:pt x="114" y="11"/>
                  <a:pt x="117" y="11"/>
                </a:cubicBezTo>
                <a:cubicBezTo>
                  <a:pt x="119" y="12"/>
                  <a:pt x="122" y="13"/>
                  <a:pt x="124" y="13"/>
                </a:cubicBezTo>
                <a:cubicBezTo>
                  <a:pt x="125" y="13"/>
                  <a:pt x="131" y="11"/>
                  <a:pt x="133" y="10"/>
                </a:cubicBezTo>
                <a:cubicBezTo>
                  <a:pt x="135" y="8"/>
                  <a:pt x="142" y="2"/>
                  <a:pt x="142" y="2"/>
                </a:cubicBezTo>
                <a:cubicBezTo>
                  <a:pt x="145" y="0"/>
                  <a:pt x="145" y="0"/>
                  <a:pt x="145" y="0"/>
                </a:cubicBezTo>
                <a:cubicBezTo>
                  <a:pt x="148" y="8"/>
                  <a:pt x="153" y="19"/>
                  <a:pt x="154" y="21"/>
                </a:cubicBezTo>
                <a:cubicBezTo>
                  <a:pt x="153" y="21"/>
                  <a:pt x="152" y="21"/>
                  <a:pt x="152" y="21"/>
                </a:cubicBezTo>
                <a:cubicBezTo>
                  <a:pt x="151" y="22"/>
                  <a:pt x="151" y="24"/>
                  <a:pt x="151" y="26"/>
                </a:cubicBezTo>
                <a:cubicBezTo>
                  <a:pt x="151" y="28"/>
                  <a:pt x="154" y="29"/>
                  <a:pt x="154" y="29"/>
                </a:cubicBezTo>
                <a:cubicBezTo>
                  <a:pt x="154" y="29"/>
                  <a:pt x="156" y="34"/>
                  <a:pt x="156" y="38"/>
                </a:cubicBezTo>
                <a:cubicBezTo>
                  <a:pt x="156" y="42"/>
                  <a:pt x="152" y="43"/>
                  <a:pt x="150" y="44"/>
                </a:cubicBezTo>
                <a:cubicBezTo>
                  <a:pt x="148" y="44"/>
                  <a:pt x="143" y="51"/>
                  <a:pt x="143" y="53"/>
                </a:cubicBezTo>
                <a:cubicBezTo>
                  <a:pt x="143" y="55"/>
                  <a:pt x="141" y="59"/>
                  <a:pt x="141" y="59"/>
                </a:cubicBezTo>
                <a:cubicBezTo>
                  <a:pt x="141" y="59"/>
                  <a:pt x="137" y="69"/>
                  <a:pt x="136" y="69"/>
                </a:cubicBezTo>
                <a:cubicBezTo>
                  <a:pt x="135" y="70"/>
                  <a:pt x="133" y="74"/>
                  <a:pt x="131" y="78"/>
                </a:cubicBezTo>
                <a:cubicBezTo>
                  <a:pt x="130" y="82"/>
                  <a:pt x="128" y="86"/>
                  <a:pt x="127" y="87"/>
                </a:cubicBezTo>
                <a:cubicBezTo>
                  <a:pt x="126" y="89"/>
                  <a:pt x="125" y="92"/>
                  <a:pt x="124" y="94"/>
                </a:cubicBezTo>
                <a:cubicBezTo>
                  <a:pt x="124" y="96"/>
                  <a:pt x="122" y="103"/>
                  <a:pt x="122" y="103"/>
                </a:cubicBezTo>
                <a:cubicBezTo>
                  <a:pt x="122" y="103"/>
                  <a:pt x="119" y="111"/>
                  <a:pt x="117" y="115"/>
                </a:cubicBezTo>
                <a:cubicBezTo>
                  <a:pt x="116" y="119"/>
                  <a:pt x="111" y="116"/>
                  <a:pt x="111" y="116"/>
                </a:cubicBezTo>
                <a:cubicBezTo>
                  <a:pt x="111" y="116"/>
                  <a:pt x="108" y="112"/>
                  <a:pt x="107" y="110"/>
                </a:cubicBezTo>
                <a:cubicBezTo>
                  <a:pt x="107" y="108"/>
                  <a:pt x="105" y="106"/>
                  <a:pt x="103" y="108"/>
                </a:cubicBezTo>
                <a:cubicBezTo>
                  <a:pt x="101" y="111"/>
                  <a:pt x="100" y="109"/>
                  <a:pt x="97" y="110"/>
                </a:cubicBezTo>
                <a:cubicBezTo>
                  <a:pt x="94" y="110"/>
                  <a:pt x="91" y="114"/>
                  <a:pt x="90" y="116"/>
                </a:cubicBezTo>
                <a:cubicBezTo>
                  <a:pt x="88" y="118"/>
                  <a:pt x="85" y="120"/>
                  <a:pt x="84" y="121"/>
                </a:cubicBezTo>
                <a:cubicBezTo>
                  <a:pt x="83" y="122"/>
                  <a:pt x="81" y="128"/>
                  <a:pt x="81" y="128"/>
                </a:cubicBezTo>
                <a:cubicBezTo>
                  <a:pt x="81" y="128"/>
                  <a:pt x="80" y="133"/>
                  <a:pt x="78" y="137"/>
                </a:cubicBezTo>
                <a:cubicBezTo>
                  <a:pt x="77" y="141"/>
                  <a:pt x="77" y="144"/>
                  <a:pt x="77" y="144"/>
                </a:cubicBezTo>
                <a:cubicBezTo>
                  <a:pt x="77" y="144"/>
                  <a:pt x="78" y="146"/>
                  <a:pt x="78" y="146"/>
                </a:cubicBezTo>
                <a:cubicBezTo>
                  <a:pt x="78" y="146"/>
                  <a:pt x="79" y="148"/>
                  <a:pt x="79" y="149"/>
                </a:cubicBezTo>
                <a:cubicBezTo>
                  <a:pt x="79" y="150"/>
                  <a:pt x="77" y="150"/>
                  <a:pt x="75" y="150"/>
                </a:cubicBezTo>
                <a:cubicBezTo>
                  <a:pt x="73" y="150"/>
                  <a:pt x="71" y="151"/>
                  <a:pt x="70" y="151"/>
                </a:cubicBezTo>
                <a:cubicBezTo>
                  <a:pt x="69" y="152"/>
                  <a:pt x="65" y="151"/>
                  <a:pt x="64" y="151"/>
                </a:cubicBezTo>
                <a:cubicBezTo>
                  <a:pt x="64" y="151"/>
                  <a:pt x="50" y="151"/>
                  <a:pt x="48" y="152"/>
                </a:cubicBezTo>
                <a:cubicBezTo>
                  <a:pt x="47" y="152"/>
                  <a:pt x="46" y="151"/>
                  <a:pt x="46" y="151"/>
                </a:cubicBezTo>
                <a:cubicBezTo>
                  <a:pt x="45" y="150"/>
                  <a:pt x="43" y="150"/>
                  <a:pt x="42" y="149"/>
                </a:cubicBezTo>
                <a:cubicBezTo>
                  <a:pt x="41" y="149"/>
                  <a:pt x="42" y="147"/>
                  <a:pt x="41" y="145"/>
                </a:cubicBezTo>
                <a:cubicBezTo>
                  <a:pt x="41" y="143"/>
                  <a:pt x="41" y="144"/>
                  <a:pt x="40" y="143"/>
                </a:cubicBezTo>
                <a:cubicBezTo>
                  <a:pt x="39" y="142"/>
                  <a:pt x="39" y="138"/>
                  <a:pt x="39" y="137"/>
                </a:cubicBezTo>
                <a:cubicBezTo>
                  <a:pt x="39" y="136"/>
                  <a:pt x="39" y="135"/>
                  <a:pt x="38" y="135"/>
                </a:cubicBezTo>
                <a:cubicBezTo>
                  <a:pt x="37" y="134"/>
                  <a:pt x="37" y="134"/>
                  <a:pt x="37" y="133"/>
                </a:cubicBezTo>
                <a:cubicBezTo>
                  <a:pt x="37" y="132"/>
                  <a:pt x="36" y="131"/>
                  <a:pt x="36" y="129"/>
                </a:cubicBezTo>
                <a:cubicBezTo>
                  <a:pt x="36" y="128"/>
                  <a:pt x="35" y="127"/>
                  <a:pt x="34" y="127"/>
                </a:cubicBezTo>
                <a:cubicBezTo>
                  <a:pt x="33" y="126"/>
                  <a:pt x="34" y="125"/>
                  <a:pt x="32" y="124"/>
                </a:cubicBezTo>
                <a:cubicBezTo>
                  <a:pt x="31" y="123"/>
                  <a:pt x="29" y="121"/>
                  <a:pt x="27" y="120"/>
                </a:cubicBezTo>
                <a:cubicBezTo>
                  <a:pt x="26" y="120"/>
                  <a:pt x="25" y="120"/>
                  <a:pt x="23" y="120"/>
                </a:cubicBezTo>
                <a:cubicBezTo>
                  <a:pt x="21" y="120"/>
                  <a:pt x="20" y="119"/>
                  <a:pt x="19" y="119"/>
                </a:cubicBezTo>
                <a:cubicBezTo>
                  <a:pt x="19" y="119"/>
                  <a:pt x="17" y="119"/>
                  <a:pt x="16" y="119"/>
                </a:cubicBezTo>
                <a:cubicBezTo>
                  <a:pt x="14" y="120"/>
                  <a:pt x="12" y="119"/>
                  <a:pt x="10" y="121"/>
                </a:cubicBezTo>
                <a:cubicBezTo>
                  <a:pt x="8" y="121"/>
                  <a:pt x="5" y="122"/>
                  <a:pt x="4" y="122"/>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6" name="Benin"/>
          <p:cNvSpPr>
            <a:spLocks/>
          </p:cNvSpPr>
          <p:nvPr/>
        </p:nvSpPr>
        <p:spPr bwMode="auto">
          <a:xfrm>
            <a:off x="6207620" y="3660607"/>
            <a:ext cx="86560" cy="215581"/>
          </a:xfrm>
          <a:custGeom>
            <a:avLst/>
            <a:gdLst>
              <a:gd name="T0" fmla="*/ 14 w 42"/>
              <a:gd name="T1" fmla="*/ 105 h 105"/>
              <a:gd name="T2" fmla="*/ 13 w 42"/>
              <a:gd name="T3" fmla="*/ 102 h 105"/>
              <a:gd name="T4" fmla="*/ 12 w 42"/>
              <a:gd name="T5" fmla="*/ 100 h 105"/>
              <a:gd name="T6" fmla="*/ 11 w 42"/>
              <a:gd name="T7" fmla="*/ 97 h 105"/>
              <a:gd name="T8" fmla="*/ 10 w 42"/>
              <a:gd name="T9" fmla="*/ 94 h 105"/>
              <a:gd name="T10" fmla="*/ 8 w 42"/>
              <a:gd name="T11" fmla="*/ 91 h 105"/>
              <a:gd name="T12" fmla="*/ 9 w 42"/>
              <a:gd name="T13" fmla="*/ 76 h 105"/>
              <a:gd name="T14" fmla="*/ 9 w 42"/>
              <a:gd name="T15" fmla="*/ 69 h 105"/>
              <a:gd name="T16" fmla="*/ 10 w 42"/>
              <a:gd name="T17" fmla="*/ 59 h 105"/>
              <a:gd name="T18" fmla="*/ 6 w 42"/>
              <a:gd name="T19" fmla="*/ 51 h 105"/>
              <a:gd name="T20" fmla="*/ 6 w 42"/>
              <a:gd name="T21" fmla="*/ 42 h 105"/>
              <a:gd name="T22" fmla="*/ 1 w 42"/>
              <a:gd name="T23" fmla="*/ 36 h 105"/>
              <a:gd name="T24" fmla="*/ 2 w 42"/>
              <a:gd name="T25" fmla="*/ 32 h 105"/>
              <a:gd name="T26" fmla="*/ 0 w 42"/>
              <a:gd name="T27" fmla="*/ 28 h 105"/>
              <a:gd name="T28" fmla="*/ 3 w 42"/>
              <a:gd name="T29" fmla="*/ 26 h 105"/>
              <a:gd name="T30" fmla="*/ 5 w 42"/>
              <a:gd name="T31" fmla="*/ 24 h 105"/>
              <a:gd name="T32" fmla="*/ 6 w 42"/>
              <a:gd name="T33" fmla="*/ 20 h 105"/>
              <a:gd name="T34" fmla="*/ 13 w 42"/>
              <a:gd name="T35" fmla="*/ 20 h 105"/>
              <a:gd name="T36" fmla="*/ 20 w 42"/>
              <a:gd name="T37" fmla="*/ 17 h 105"/>
              <a:gd name="T38" fmla="*/ 18 w 42"/>
              <a:gd name="T39" fmla="*/ 8 h 105"/>
              <a:gd name="T40" fmla="*/ 18 w 42"/>
              <a:gd name="T41" fmla="*/ 5 h 105"/>
              <a:gd name="T42" fmla="*/ 20 w 42"/>
              <a:gd name="T43" fmla="*/ 2 h 105"/>
              <a:gd name="T44" fmla="*/ 23 w 42"/>
              <a:gd name="T45" fmla="*/ 1 h 105"/>
              <a:gd name="T46" fmla="*/ 26 w 42"/>
              <a:gd name="T47" fmla="*/ 1 h 105"/>
              <a:gd name="T48" fmla="*/ 28 w 42"/>
              <a:gd name="T49" fmla="*/ 7 h 105"/>
              <a:gd name="T50" fmla="*/ 31 w 42"/>
              <a:gd name="T51" fmla="*/ 10 h 105"/>
              <a:gd name="T52" fmla="*/ 33 w 42"/>
              <a:gd name="T53" fmla="*/ 13 h 105"/>
              <a:gd name="T54" fmla="*/ 37 w 42"/>
              <a:gd name="T55" fmla="*/ 15 h 105"/>
              <a:gd name="T56" fmla="*/ 37 w 42"/>
              <a:gd name="T57" fmla="*/ 15 h 105"/>
              <a:gd name="T58" fmla="*/ 36 w 42"/>
              <a:gd name="T59" fmla="*/ 18 h 105"/>
              <a:gd name="T60" fmla="*/ 35 w 42"/>
              <a:gd name="T61" fmla="*/ 23 h 105"/>
              <a:gd name="T62" fmla="*/ 39 w 42"/>
              <a:gd name="T63" fmla="*/ 30 h 105"/>
              <a:gd name="T64" fmla="*/ 39 w 42"/>
              <a:gd name="T65" fmla="*/ 34 h 105"/>
              <a:gd name="T66" fmla="*/ 36 w 42"/>
              <a:gd name="T67" fmla="*/ 38 h 105"/>
              <a:gd name="T68" fmla="*/ 33 w 42"/>
              <a:gd name="T69" fmla="*/ 47 h 105"/>
              <a:gd name="T70" fmla="*/ 31 w 42"/>
              <a:gd name="T71" fmla="*/ 55 h 105"/>
              <a:gd name="T72" fmla="*/ 25 w 42"/>
              <a:gd name="T73" fmla="*/ 58 h 105"/>
              <a:gd name="T74" fmla="*/ 25 w 42"/>
              <a:gd name="T75" fmla="*/ 63 h 105"/>
              <a:gd name="T76" fmla="*/ 25 w 42"/>
              <a:gd name="T77" fmla="*/ 67 h 105"/>
              <a:gd name="T78" fmla="*/ 25 w 42"/>
              <a:gd name="T79" fmla="*/ 72 h 105"/>
              <a:gd name="T80" fmla="*/ 25 w 42"/>
              <a:gd name="T81" fmla="*/ 81 h 105"/>
              <a:gd name="T82" fmla="*/ 25 w 42"/>
              <a:gd name="T83" fmla="*/ 88 h 105"/>
              <a:gd name="T84" fmla="*/ 27 w 42"/>
              <a:gd name="T85" fmla="*/ 93 h 105"/>
              <a:gd name="T86" fmla="*/ 27 w 42"/>
              <a:gd name="T87" fmla="*/ 98 h 105"/>
              <a:gd name="T88" fmla="*/ 28 w 42"/>
              <a:gd name="T89" fmla="*/ 103 h 105"/>
              <a:gd name="T90" fmla="*/ 28 w 42"/>
              <a:gd name="T91" fmla="*/ 103 h 105"/>
              <a:gd name="T92" fmla="*/ 27 w 42"/>
              <a:gd name="T93" fmla="*/ 103 h 105"/>
              <a:gd name="T94" fmla="*/ 19 w 42"/>
              <a:gd name="T95" fmla="*/ 104 h 105"/>
              <a:gd name="T96" fmla="*/ 14 w 42"/>
              <a:gd name="T9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 h="105">
                <a:moveTo>
                  <a:pt x="14" y="105"/>
                </a:moveTo>
                <a:cubicBezTo>
                  <a:pt x="14" y="105"/>
                  <a:pt x="13" y="103"/>
                  <a:pt x="13" y="102"/>
                </a:cubicBezTo>
                <a:cubicBezTo>
                  <a:pt x="13" y="102"/>
                  <a:pt x="13" y="100"/>
                  <a:pt x="12" y="100"/>
                </a:cubicBezTo>
                <a:cubicBezTo>
                  <a:pt x="11" y="100"/>
                  <a:pt x="11" y="99"/>
                  <a:pt x="11" y="97"/>
                </a:cubicBezTo>
                <a:cubicBezTo>
                  <a:pt x="11" y="96"/>
                  <a:pt x="11" y="94"/>
                  <a:pt x="10" y="94"/>
                </a:cubicBezTo>
                <a:cubicBezTo>
                  <a:pt x="9" y="93"/>
                  <a:pt x="8" y="93"/>
                  <a:pt x="8" y="91"/>
                </a:cubicBezTo>
                <a:cubicBezTo>
                  <a:pt x="9" y="89"/>
                  <a:pt x="9" y="76"/>
                  <a:pt x="9" y="76"/>
                </a:cubicBezTo>
                <a:cubicBezTo>
                  <a:pt x="9" y="76"/>
                  <a:pt x="8" y="70"/>
                  <a:pt x="9" y="69"/>
                </a:cubicBezTo>
                <a:cubicBezTo>
                  <a:pt x="10" y="67"/>
                  <a:pt x="10" y="59"/>
                  <a:pt x="10" y="59"/>
                </a:cubicBezTo>
                <a:cubicBezTo>
                  <a:pt x="10" y="59"/>
                  <a:pt x="6" y="52"/>
                  <a:pt x="6" y="51"/>
                </a:cubicBezTo>
                <a:cubicBezTo>
                  <a:pt x="7" y="49"/>
                  <a:pt x="7" y="43"/>
                  <a:pt x="6" y="42"/>
                </a:cubicBezTo>
                <a:cubicBezTo>
                  <a:pt x="4" y="41"/>
                  <a:pt x="1" y="39"/>
                  <a:pt x="1" y="36"/>
                </a:cubicBezTo>
                <a:cubicBezTo>
                  <a:pt x="1" y="34"/>
                  <a:pt x="1" y="33"/>
                  <a:pt x="2" y="32"/>
                </a:cubicBezTo>
                <a:cubicBezTo>
                  <a:pt x="2" y="31"/>
                  <a:pt x="0" y="28"/>
                  <a:pt x="0" y="28"/>
                </a:cubicBezTo>
                <a:cubicBezTo>
                  <a:pt x="0" y="28"/>
                  <a:pt x="2" y="26"/>
                  <a:pt x="3" y="26"/>
                </a:cubicBezTo>
                <a:cubicBezTo>
                  <a:pt x="4" y="27"/>
                  <a:pt x="6" y="26"/>
                  <a:pt x="5" y="24"/>
                </a:cubicBezTo>
                <a:cubicBezTo>
                  <a:pt x="4" y="23"/>
                  <a:pt x="5" y="21"/>
                  <a:pt x="6" y="20"/>
                </a:cubicBezTo>
                <a:cubicBezTo>
                  <a:pt x="8" y="19"/>
                  <a:pt x="11" y="19"/>
                  <a:pt x="13" y="20"/>
                </a:cubicBezTo>
                <a:cubicBezTo>
                  <a:pt x="14" y="20"/>
                  <a:pt x="19" y="20"/>
                  <a:pt x="20" y="17"/>
                </a:cubicBezTo>
                <a:cubicBezTo>
                  <a:pt x="21" y="14"/>
                  <a:pt x="18" y="8"/>
                  <a:pt x="18" y="8"/>
                </a:cubicBezTo>
                <a:cubicBezTo>
                  <a:pt x="18" y="8"/>
                  <a:pt x="17" y="5"/>
                  <a:pt x="18" y="5"/>
                </a:cubicBezTo>
                <a:cubicBezTo>
                  <a:pt x="19" y="4"/>
                  <a:pt x="20" y="2"/>
                  <a:pt x="20" y="2"/>
                </a:cubicBezTo>
                <a:cubicBezTo>
                  <a:pt x="20" y="2"/>
                  <a:pt x="22" y="3"/>
                  <a:pt x="23" y="1"/>
                </a:cubicBezTo>
                <a:cubicBezTo>
                  <a:pt x="24" y="0"/>
                  <a:pt x="26" y="0"/>
                  <a:pt x="26" y="1"/>
                </a:cubicBezTo>
                <a:cubicBezTo>
                  <a:pt x="26" y="2"/>
                  <a:pt x="27" y="6"/>
                  <a:pt x="28" y="7"/>
                </a:cubicBezTo>
                <a:cubicBezTo>
                  <a:pt x="29" y="7"/>
                  <a:pt x="31" y="9"/>
                  <a:pt x="31" y="10"/>
                </a:cubicBezTo>
                <a:cubicBezTo>
                  <a:pt x="31" y="11"/>
                  <a:pt x="32" y="12"/>
                  <a:pt x="33" y="13"/>
                </a:cubicBezTo>
                <a:cubicBezTo>
                  <a:pt x="35" y="13"/>
                  <a:pt x="36" y="15"/>
                  <a:pt x="37" y="15"/>
                </a:cubicBezTo>
                <a:cubicBezTo>
                  <a:pt x="37" y="15"/>
                  <a:pt x="37" y="15"/>
                  <a:pt x="37" y="15"/>
                </a:cubicBezTo>
                <a:cubicBezTo>
                  <a:pt x="37" y="17"/>
                  <a:pt x="36" y="18"/>
                  <a:pt x="36" y="18"/>
                </a:cubicBezTo>
                <a:cubicBezTo>
                  <a:pt x="36" y="18"/>
                  <a:pt x="35" y="20"/>
                  <a:pt x="35" y="23"/>
                </a:cubicBezTo>
                <a:cubicBezTo>
                  <a:pt x="35" y="26"/>
                  <a:pt x="37" y="28"/>
                  <a:pt x="39" y="30"/>
                </a:cubicBezTo>
                <a:cubicBezTo>
                  <a:pt x="42" y="33"/>
                  <a:pt x="39" y="34"/>
                  <a:pt x="39" y="34"/>
                </a:cubicBezTo>
                <a:cubicBezTo>
                  <a:pt x="39" y="34"/>
                  <a:pt x="36" y="36"/>
                  <a:pt x="36" y="38"/>
                </a:cubicBezTo>
                <a:cubicBezTo>
                  <a:pt x="36" y="40"/>
                  <a:pt x="34" y="46"/>
                  <a:pt x="33" y="47"/>
                </a:cubicBezTo>
                <a:cubicBezTo>
                  <a:pt x="32" y="49"/>
                  <a:pt x="32" y="53"/>
                  <a:pt x="31" y="55"/>
                </a:cubicBezTo>
                <a:cubicBezTo>
                  <a:pt x="30" y="57"/>
                  <a:pt x="27" y="57"/>
                  <a:pt x="25" y="58"/>
                </a:cubicBezTo>
                <a:cubicBezTo>
                  <a:pt x="24" y="58"/>
                  <a:pt x="25" y="63"/>
                  <a:pt x="25" y="63"/>
                </a:cubicBezTo>
                <a:cubicBezTo>
                  <a:pt x="25" y="63"/>
                  <a:pt x="26" y="67"/>
                  <a:pt x="25" y="67"/>
                </a:cubicBezTo>
                <a:cubicBezTo>
                  <a:pt x="24" y="68"/>
                  <a:pt x="26" y="70"/>
                  <a:pt x="25" y="72"/>
                </a:cubicBezTo>
                <a:cubicBezTo>
                  <a:pt x="25" y="74"/>
                  <a:pt x="25" y="81"/>
                  <a:pt x="25" y="81"/>
                </a:cubicBezTo>
                <a:cubicBezTo>
                  <a:pt x="25" y="81"/>
                  <a:pt x="25" y="86"/>
                  <a:pt x="25" y="88"/>
                </a:cubicBezTo>
                <a:cubicBezTo>
                  <a:pt x="25" y="89"/>
                  <a:pt x="27" y="91"/>
                  <a:pt x="27" y="93"/>
                </a:cubicBezTo>
                <a:cubicBezTo>
                  <a:pt x="26" y="94"/>
                  <a:pt x="26" y="97"/>
                  <a:pt x="27" y="98"/>
                </a:cubicBezTo>
                <a:cubicBezTo>
                  <a:pt x="28" y="98"/>
                  <a:pt x="28" y="102"/>
                  <a:pt x="28" y="103"/>
                </a:cubicBezTo>
                <a:cubicBezTo>
                  <a:pt x="28" y="103"/>
                  <a:pt x="28" y="103"/>
                  <a:pt x="28" y="103"/>
                </a:cubicBezTo>
                <a:cubicBezTo>
                  <a:pt x="27" y="103"/>
                  <a:pt x="27" y="103"/>
                  <a:pt x="27" y="103"/>
                </a:cubicBezTo>
                <a:cubicBezTo>
                  <a:pt x="27" y="103"/>
                  <a:pt x="20" y="103"/>
                  <a:pt x="19" y="104"/>
                </a:cubicBezTo>
                <a:cubicBezTo>
                  <a:pt x="18" y="104"/>
                  <a:pt x="16" y="104"/>
                  <a:pt x="14" y="105"/>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7" name="Togo"/>
          <p:cNvSpPr>
            <a:spLocks/>
          </p:cNvSpPr>
          <p:nvPr/>
        </p:nvSpPr>
        <p:spPr bwMode="auto">
          <a:xfrm>
            <a:off x="6189654" y="3717770"/>
            <a:ext cx="47363" cy="166586"/>
          </a:xfrm>
          <a:custGeom>
            <a:avLst/>
            <a:gdLst>
              <a:gd name="T0" fmla="*/ 23 w 23"/>
              <a:gd name="T1" fmla="*/ 77 h 81"/>
              <a:gd name="T2" fmla="*/ 22 w 23"/>
              <a:gd name="T3" fmla="*/ 74 h 81"/>
              <a:gd name="T4" fmla="*/ 21 w 23"/>
              <a:gd name="T5" fmla="*/ 72 h 81"/>
              <a:gd name="T6" fmla="*/ 20 w 23"/>
              <a:gd name="T7" fmla="*/ 69 h 81"/>
              <a:gd name="T8" fmla="*/ 19 w 23"/>
              <a:gd name="T9" fmla="*/ 66 h 81"/>
              <a:gd name="T10" fmla="*/ 17 w 23"/>
              <a:gd name="T11" fmla="*/ 63 h 81"/>
              <a:gd name="T12" fmla="*/ 18 w 23"/>
              <a:gd name="T13" fmla="*/ 48 h 81"/>
              <a:gd name="T14" fmla="*/ 18 w 23"/>
              <a:gd name="T15" fmla="*/ 41 h 81"/>
              <a:gd name="T16" fmla="*/ 19 w 23"/>
              <a:gd name="T17" fmla="*/ 31 h 81"/>
              <a:gd name="T18" fmla="*/ 15 w 23"/>
              <a:gd name="T19" fmla="*/ 23 h 81"/>
              <a:gd name="T20" fmla="*/ 15 w 23"/>
              <a:gd name="T21" fmla="*/ 14 h 81"/>
              <a:gd name="T22" fmla="*/ 10 w 23"/>
              <a:gd name="T23" fmla="*/ 8 h 81"/>
              <a:gd name="T24" fmla="*/ 11 w 23"/>
              <a:gd name="T25" fmla="*/ 4 h 81"/>
              <a:gd name="T26" fmla="*/ 9 w 23"/>
              <a:gd name="T27" fmla="*/ 0 h 81"/>
              <a:gd name="T28" fmla="*/ 0 w 23"/>
              <a:gd name="T29" fmla="*/ 0 h 81"/>
              <a:gd name="T30" fmla="*/ 0 w 23"/>
              <a:gd name="T31" fmla="*/ 3 h 81"/>
              <a:gd name="T32" fmla="*/ 0 w 23"/>
              <a:gd name="T33" fmla="*/ 7 h 81"/>
              <a:gd name="T34" fmla="*/ 1 w 23"/>
              <a:gd name="T35" fmla="*/ 12 h 81"/>
              <a:gd name="T36" fmla="*/ 4 w 23"/>
              <a:gd name="T37" fmla="*/ 13 h 81"/>
              <a:gd name="T38" fmla="*/ 5 w 23"/>
              <a:gd name="T39" fmla="*/ 15 h 81"/>
              <a:gd name="T40" fmla="*/ 5 w 23"/>
              <a:gd name="T41" fmla="*/ 26 h 81"/>
              <a:gd name="T42" fmla="*/ 5 w 23"/>
              <a:gd name="T43" fmla="*/ 34 h 81"/>
              <a:gd name="T44" fmla="*/ 7 w 23"/>
              <a:gd name="T45" fmla="*/ 40 h 81"/>
              <a:gd name="T46" fmla="*/ 6 w 23"/>
              <a:gd name="T47" fmla="*/ 55 h 81"/>
              <a:gd name="T48" fmla="*/ 7 w 23"/>
              <a:gd name="T49" fmla="*/ 61 h 81"/>
              <a:gd name="T50" fmla="*/ 5 w 23"/>
              <a:gd name="T51" fmla="*/ 70 h 81"/>
              <a:gd name="T52" fmla="*/ 7 w 23"/>
              <a:gd name="T53" fmla="*/ 73 h 81"/>
              <a:gd name="T54" fmla="*/ 14 w 23"/>
              <a:gd name="T55" fmla="*/ 75 h 81"/>
              <a:gd name="T56" fmla="*/ 17 w 23"/>
              <a:gd name="T57" fmla="*/ 81 h 81"/>
              <a:gd name="T58" fmla="*/ 21 w 23"/>
              <a:gd name="T59" fmla="*/ 78 h 81"/>
              <a:gd name="T60" fmla="*/ 23 w 23"/>
              <a:gd name="T61"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81">
                <a:moveTo>
                  <a:pt x="23" y="77"/>
                </a:moveTo>
                <a:cubicBezTo>
                  <a:pt x="23" y="77"/>
                  <a:pt x="22" y="75"/>
                  <a:pt x="22" y="74"/>
                </a:cubicBezTo>
                <a:cubicBezTo>
                  <a:pt x="22" y="74"/>
                  <a:pt x="22" y="72"/>
                  <a:pt x="21" y="72"/>
                </a:cubicBezTo>
                <a:cubicBezTo>
                  <a:pt x="20" y="72"/>
                  <a:pt x="20" y="71"/>
                  <a:pt x="20" y="69"/>
                </a:cubicBezTo>
                <a:cubicBezTo>
                  <a:pt x="20" y="68"/>
                  <a:pt x="20" y="66"/>
                  <a:pt x="19" y="66"/>
                </a:cubicBezTo>
                <a:cubicBezTo>
                  <a:pt x="18" y="65"/>
                  <a:pt x="17" y="65"/>
                  <a:pt x="17" y="63"/>
                </a:cubicBezTo>
                <a:cubicBezTo>
                  <a:pt x="18" y="61"/>
                  <a:pt x="18" y="48"/>
                  <a:pt x="18" y="48"/>
                </a:cubicBezTo>
                <a:cubicBezTo>
                  <a:pt x="18" y="48"/>
                  <a:pt x="17" y="42"/>
                  <a:pt x="18" y="41"/>
                </a:cubicBezTo>
                <a:cubicBezTo>
                  <a:pt x="19" y="39"/>
                  <a:pt x="19" y="31"/>
                  <a:pt x="19" y="31"/>
                </a:cubicBezTo>
                <a:cubicBezTo>
                  <a:pt x="19" y="31"/>
                  <a:pt x="15" y="24"/>
                  <a:pt x="15" y="23"/>
                </a:cubicBezTo>
                <a:cubicBezTo>
                  <a:pt x="16" y="21"/>
                  <a:pt x="16" y="15"/>
                  <a:pt x="15" y="14"/>
                </a:cubicBezTo>
                <a:cubicBezTo>
                  <a:pt x="13" y="13"/>
                  <a:pt x="10" y="11"/>
                  <a:pt x="10" y="8"/>
                </a:cubicBezTo>
                <a:cubicBezTo>
                  <a:pt x="10" y="6"/>
                  <a:pt x="10" y="5"/>
                  <a:pt x="11" y="4"/>
                </a:cubicBezTo>
                <a:cubicBezTo>
                  <a:pt x="11" y="3"/>
                  <a:pt x="9" y="0"/>
                  <a:pt x="9" y="0"/>
                </a:cubicBezTo>
                <a:cubicBezTo>
                  <a:pt x="0" y="0"/>
                  <a:pt x="0" y="0"/>
                  <a:pt x="0" y="0"/>
                </a:cubicBezTo>
                <a:cubicBezTo>
                  <a:pt x="0" y="0"/>
                  <a:pt x="0" y="2"/>
                  <a:pt x="0" y="3"/>
                </a:cubicBezTo>
                <a:cubicBezTo>
                  <a:pt x="0" y="4"/>
                  <a:pt x="0" y="6"/>
                  <a:pt x="0" y="7"/>
                </a:cubicBezTo>
                <a:cubicBezTo>
                  <a:pt x="1" y="8"/>
                  <a:pt x="1" y="12"/>
                  <a:pt x="1" y="12"/>
                </a:cubicBezTo>
                <a:cubicBezTo>
                  <a:pt x="1" y="12"/>
                  <a:pt x="2" y="13"/>
                  <a:pt x="4" y="13"/>
                </a:cubicBezTo>
                <a:cubicBezTo>
                  <a:pt x="5" y="13"/>
                  <a:pt x="5" y="15"/>
                  <a:pt x="5" y="15"/>
                </a:cubicBezTo>
                <a:cubicBezTo>
                  <a:pt x="5" y="15"/>
                  <a:pt x="5" y="25"/>
                  <a:pt x="5" y="26"/>
                </a:cubicBezTo>
                <a:cubicBezTo>
                  <a:pt x="4" y="27"/>
                  <a:pt x="4" y="32"/>
                  <a:pt x="5" y="34"/>
                </a:cubicBezTo>
                <a:cubicBezTo>
                  <a:pt x="5" y="35"/>
                  <a:pt x="8" y="38"/>
                  <a:pt x="7" y="40"/>
                </a:cubicBezTo>
                <a:cubicBezTo>
                  <a:pt x="7" y="42"/>
                  <a:pt x="6" y="53"/>
                  <a:pt x="6" y="55"/>
                </a:cubicBezTo>
                <a:cubicBezTo>
                  <a:pt x="6" y="56"/>
                  <a:pt x="7" y="59"/>
                  <a:pt x="7" y="61"/>
                </a:cubicBezTo>
                <a:cubicBezTo>
                  <a:pt x="6" y="63"/>
                  <a:pt x="5" y="68"/>
                  <a:pt x="5" y="70"/>
                </a:cubicBezTo>
                <a:cubicBezTo>
                  <a:pt x="5" y="72"/>
                  <a:pt x="6" y="73"/>
                  <a:pt x="7" y="73"/>
                </a:cubicBezTo>
                <a:cubicBezTo>
                  <a:pt x="9" y="74"/>
                  <a:pt x="13" y="73"/>
                  <a:pt x="14" y="75"/>
                </a:cubicBezTo>
                <a:cubicBezTo>
                  <a:pt x="14" y="77"/>
                  <a:pt x="17" y="81"/>
                  <a:pt x="17" y="81"/>
                </a:cubicBezTo>
                <a:cubicBezTo>
                  <a:pt x="18" y="80"/>
                  <a:pt x="20" y="79"/>
                  <a:pt x="21" y="78"/>
                </a:cubicBezTo>
                <a:cubicBezTo>
                  <a:pt x="21" y="78"/>
                  <a:pt x="22" y="78"/>
                  <a:pt x="23" y="77"/>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8" name="Ghana"/>
          <p:cNvSpPr>
            <a:spLocks/>
          </p:cNvSpPr>
          <p:nvPr/>
        </p:nvSpPr>
        <p:spPr bwMode="auto">
          <a:xfrm>
            <a:off x="6103094" y="3712869"/>
            <a:ext cx="120857" cy="210681"/>
          </a:xfrm>
          <a:custGeom>
            <a:avLst/>
            <a:gdLst>
              <a:gd name="T0" fmla="*/ 59 w 59"/>
              <a:gd name="T1" fmla="*/ 84 h 103"/>
              <a:gd name="T2" fmla="*/ 56 w 59"/>
              <a:gd name="T3" fmla="*/ 78 h 103"/>
              <a:gd name="T4" fmla="*/ 49 w 59"/>
              <a:gd name="T5" fmla="*/ 76 h 103"/>
              <a:gd name="T6" fmla="*/ 47 w 59"/>
              <a:gd name="T7" fmla="*/ 73 h 103"/>
              <a:gd name="T8" fmla="*/ 49 w 59"/>
              <a:gd name="T9" fmla="*/ 64 h 103"/>
              <a:gd name="T10" fmla="*/ 48 w 59"/>
              <a:gd name="T11" fmla="*/ 58 h 103"/>
              <a:gd name="T12" fmla="*/ 49 w 59"/>
              <a:gd name="T13" fmla="*/ 43 h 103"/>
              <a:gd name="T14" fmla="*/ 47 w 59"/>
              <a:gd name="T15" fmla="*/ 37 h 103"/>
              <a:gd name="T16" fmla="*/ 47 w 59"/>
              <a:gd name="T17" fmla="*/ 29 h 103"/>
              <a:gd name="T18" fmla="*/ 47 w 59"/>
              <a:gd name="T19" fmla="*/ 18 h 103"/>
              <a:gd name="T20" fmla="*/ 46 w 59"/>
              <a:gd name="T21" fmla="*/ 16 h 103"/>
              <a:gd name="T22" fmla="*/ 43 w 59"/>
              <a:gd name="T23" fmla="*/ 15 h 103"/>
              <a:gd name="T24" fmla="*/ 42 w 59"/>
              <a:gd name="T25" fmla="*/ 10 h 103"/>
              <a:gd name="T26" fmla="*/ 42 w 59"/>
              <a:gd name="T27" fmla="*/ 6 h 103"/>
              <a:gd name="T28" fmla="*/ 42 w 59"/>
              <a:gd name="T29" fmla="*/ 3 h 103"/>
              <a:gd name="T30" fmla="*/ 41 w 59"/>
              <a:gd name="T31" fmla="*/ 0 h 103"/>
              <a:gd name="T32" fmla="*/ 37 w 59"/>
              <a:gd name="T33" fmla="*/ 0 h 103"/>
              <a:gd name="T34" fmla="*/ 34 w 59"/>
              <a:gd name="T35" fmla="*/ 1 h 103"/>
              <a:gd name="T36" fmla="*/ 29 w 59"/>
              <a:gd name="T37" fmla="*/ 0 h 103"/>
              <a:gd name="T38" fmla="*/ 25 w 59"/>
              <a:gd name="T39" fmla="*/ 1 h 103"/>
              <a:gd name="T40" fmla="*/ 17 w 59"/>
              <a:gd name="T41" fmla="*/ 1 h 103"/>
              <a:gd name="T42" fmla="*/ 13 w 59"/>
              <a:gd name="T43" fmla="*/ 2 h 103"/>
              <a:gd name="T44" fmla="*/ 3 w 59"/>
              <a:gd name="T45" fmla="*/ 3 h 103"/>
              <a:gd name="T46" fmla="*/ 4 w 59"/>
              <a:gd name="T47" fmla="*/ 7 h 103"/>
              <a:gd name="T48" fmla="*/ 7 w 59"/>
              <a:gd name="T49" fmla="*/ 7 h 103"/>
              <a:gd name="T50" fmla="*/ 5 w 59"/>
              <a:gd name="T51" fmla="*/ 9 h 103"/>
              <a:gd name="T52" fmla="*/ 3 w 59"/>
              <a:gd name="T53" fmla="*/ 8 h 103"/>
              <a:gd name="T54" fmla="*/ 5 w 59"/>
              <a:gd name="T55" fmla="*/ 11 h 103"/>
              <a:gd name="T56" fmla="*/ 4 w 59"/>
              <a:gd name="T57" fmla="*/ 15 h 103"/>
              <a:gd name="T58" fmla="*/ 4 w 59"/>
              <a:gd name="T59" fmla="*/ 18 h 103"/>
              <a:gd name="T60" fmla="*/ 4 w 59"/>
              <a:gd name="T61" fmla="*/ 21 h 103"/>
              <a:gd name="T62" fmla="*/ 7 w 59"/>
              <a:gd name="T63" fmla="*/ 29 h 103"/>
              <a:gd name="T64" fmla="*/ 6 w 59"/>
              <a:gd name="T65" fmla="*/ 36 h 103"/>
              <a:gd name="T66" fmla="*/ 6 w 59"/>
              <a:gd name="T67" fmla="*/ 39 h 103"/>
              <a:gd name="T68" fmla="*/ 8 w 59"/>
              <a:gd name="T69" fmla="*/ 43 h 103"/>
              <a:gd name="T70" fmla="*/ 6 w 59"/>
              <a:gd name="T71" fmla="*/ 50 h 103"/>
              <a:gd name="T72" fmla="*/ 6 w 59"/>
              <a:gd name="T73" fmla="*/ 56 h 103"/>
              <a:gd name="T74" fmla="*/ 6 w 59"/>
              <a:gd name="T75" fmla="*/ 60 h 103"/>
              <a:gd name="T76" fmla="*/ 0 w 59"/>
              <a:gd name="T77" fmla="*/ 68 h 103"/>
              <a:gd name="T78" fmla="*/ 2 w 59"/>
              <a:gd name="T79" fmla="*/ 79 h 103"/>
              <a:gd name="T80" fmla="*/ 6 w 59"/>
              <a:gd name="T81" fmla="*/ 87 h 103"/>
              <a:gd name="T82" fmla="*/ 4 w 59"/>
              <a:gd name="T83" fmla="*/ 95 h 103"/>
              <a:gd name="T84" fmla="*/ 5 w 59"/>
              <a:gd name="T85" fmla="*/ 95 h 103"/>
              <a:gd name="T86" fmla="*/ 8 w 59"/>
              <a:gd name="T87" fmla="*/ 100 h 103"/>
              <a:gd name="T88" fmla="*/ 18 w 59"/>
              <a:gd name="T89" fmla="*/ 102 h 103"/>
              <a:gd name="T90" fmla="*/ 26 w 59"/>
              <a:gd name="T91" fmla="*/ 97 h 103"/>
              <a:gd name="T92" fmla="*/ 37 w 59"/>
              <a:gd name="T93" fmla="*/ 92 h 103"/>
              <a:gd name="T94" fmla="*/ 41 w 59"/>
              <a:gd name="T95" fmla="*/ 90 h 103"/>
              <a:gd name="T96" fmla="*/ 47 w 59"/>
              <a:gd name="T97" fmla="*/ 87 h 103"/>
              <a:gd name="T98" fmla="*/ 48 w 59"/>
              <a:gd name="T99" fmla="*/ 88 h 103"/>
              <a:gd name="T100" fmla="*/ 53 w 59"/>
              <a:gd name="T101" fmla="*/ 86 h 103"/>
              <a:gd name="T102" fmla="*/ 59 w 59"/>
              <a:gd name="T103" fmla="*/ 8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3">
                <a:moveTo>
                  <a:pt x="59" y="84"/>
                </a:moveTo>
                <a:cubicBezTo>
                  <a:pt x="59" y="84"/>
                  <a:pt x="56" y="80"/>
                  <a:pt x="56" y="78"/>
                </a:cubicBezTo>
                <a:cubicBezTo>
                  <a:pt x="55" y="76"/>
                  <a:pt x="51" y="77"/>
                  <a:pt x="49" y="76"/>
                </a:cubicBezTo>
                <a:cubicBezTo>
                  <a:pt x="48" y="76"/>
                  <a:pt x="47" y="75"/>
                  <a:pt x="47" y="73"/>
                </a:cubicBezTo>
                <a:cubicBezTo>
                  <a:pt x="47" y="71"/>
                  <a:pt x="48" y="66"/>
                  <a:pt x="49" y="64"/>
                </a:cubicBezTo>
                <a:cubicBezTo>
                  <a:pt x="49" y="62"/>
                  <a:pt x="48" y="59"/>
                  <a:pt x="48" y="58"/>
                </a:cubicBezTo>
                <a:cubicBezTo>
                  <a:pt x="48" y="56"/>
                  <a:pt x="49" y="45"/>
                  <a:pt x="49" y="43"/>
                </a:cubicBezTo>
                <a:cubicBezTo>
                  <a:pt x="50" y="41"/>
                  <a:pt x="47" y="38"/>
                  <a:pt x="47" y="37"/>
                </a:cubicBezTo>
                <a:cubicBezTo>
                  <a:pt x="46" y="35"/>
                  <a:pt x="46" y="30"/>
                  <a:pt x="47" y="29"/>
                </a:cubicBezTo>
                <a:cubicBezTo>
                  <a:pt x="47" y="28"/>
                  <a:pt x="47" y="18"/>
                  <a:pt x="47" y="18"/>
                </a:cubicBezTo>
                <a:cubicBezTo>
                  <a:pt x="47" y="18"/>
                  <a:pt x="47" y="16"/>
                  <a:pt x="46" y="16"/>
                </a:cubicBezTo>
                <a:cubicBezTo>
                  <a:pt x="44" y="16"/>
                  <a:pt x="43" y="15"/>
                  <a:pt x="43" y="15"/>
                </a:cubicBezTo>
                <a:cubicBezTo>
                  <a:pt x="43" y="15"/>
                  <a:pt x="43" y="11"/>
                  <a:pt x="42" y="10"/>
                </a:cubicBezTo>
                <a:cubicBezTo>
                  <a:pt x="42" y="9"/>
                  <a:pt x="42" y="7"/>
                  <a:pt x="42" y="6"/>
                </a:cubicBezTo>
                <a:cubicBezTo>
                  <a:pt x="42" y="5"/>
                  <a:pt x="42" y="3"/>
                  <a:pt x="42" y="3"/>
                </a:cubicBezTo>
                <a:cubicBezTo>
                  <a:pt x="42" y="3"/>
                  <a:pt x="42" y="0"/>
                  <a:pt x="41" y="0"/>
                </a:cubicBezTo>
                <a:cubicBezTo>
                  <a:pt x="40" y="0"/>
                  <a:pt x="37" y="0"/>
                  <a:pt x="37" y="0"/>
                </a:cubicBezTo>
                <a:cubicBezTo>
                  <a:pt x="37" y="0"/>
                  <a:pt x="36" y="1"/>
                  <a:pt x="34" y="1"/>
                </a:cubicBezTo>
                <a:cubicBezTo>
                  <a:pt x="33" y="0"/>
                  <a:pt x="29" y="0"/>
                  <a:pt x="29" y="0"/>
                </a:cubicBezTo>
                <a:cubicBezTo>
                  <a:pt x="29" y="0"/>
                  <a:pt x="27" y="1"/>
                  <a:pt x="25" y="1"/>
                </a:cubicBezTo>
                <a:cubicBezTo>
                  <a:pt x="23" y="1"/>
                  <a:pt x="17" y="1"/>
                  <a:pt x="17" y="1"/>
                </a:cubicBezTo>
                <a:cubicBezTo>
                  <a:pt x="16" y="1"/>
                  <a:pt x="14" y="2"/>
                  <a:pt x="13" y="2"/>
                </a:cubicBezTo>
                <a:cubicBezTo>
                  <a:pt x="11" y="1"/>
                  <a:pt x="4" y="1"/>
                  <a:pt x="3" y="3"/>
                </a:cubicBezTo>
                <a:cubicBezTo>
                  <a:pt x="2" y="4"/>
                  <a:pt x="3" y="6"/>
                  <a:pt x="4" y="7"/>
                </a:cubicBezTo>
                <a:cubicBezTo>
                  <a:pt x="5" y="7"/>
                  <a:pt x="7" y="6"/>
                  <a:pt x="7" y="7"/>
                </a:cubicBezTo>
                <a:cubicBezTo>
                  <a:pt x="7" y="8"/>
                  <a:pt x="5" y="9"/>
                  <a:pt x="5" y="9"/>
                </a:cubicBezTo>
                <a:cubicBezTo>
                  <a:pt x="5" y="9"/>
                  <a:pt x="3" y="8"/>
                  <a:pt x="3" y="8"/>
                </a:cubicBezTo>
                <a:cubicBezTo>
                  <a:pt x="3" y="8"/>
                  <a:pt x="4" y="9"/>
                  <a:pt x="5" y="11"/>
                </a:cubicBezTo>
                <a:cubicBezTo>
                  <a:pt x="5" y="13"/>
                  <a:pt x="5" y="13"/>
                  <a:pt x="4" y="15"/>
                </a:cubicBezTo>
                <a:cubicBezTo>
                  <a:pt x="4" y="16"/>
                  <a:pt x="4" y="17"/>
                  <a:pt x="4" y="18"/>
                </a:cubicBezTo>
                <a:cubicBezTo>
                  <a:pt x="4" y="19"/>
                  <a:pt x="4" y="21"/>
                  <a:pt x="4" y="21"/>
                </a:cubicBezTo>
                <a:cubicBezTo>
                  <a:pt x="4" y="21"/>
                  <a:pt x="7" y="23"/>
                  <a:pt x="7" y="29"/>
                </a:cubicBezTo>
                <a:cubicBezTo>
                  <a:pt x="7" y="35"/>
                  <a:pt x="6" y="35"/>
                  <a:pt x="6" y="36"/>
                </a:cubicBezTo>
                <a:cubicBezTo>
                  <a:pt x="6" y="38"/>
                  <a:pt x="6" y="39"/>
                  <a:pt x="6" y="39"/>
                </a:cubicBezTo>
                <a:cubicBezTo>
                  <a:pt x="6" y="39"/>
                  <a:pt x="8" y="39"/>
                  <a:pt x="8" y="43"/>
                </a:cubicBezTo>
                <a:cubicBezTo>
                  <a:pt x="8" y="47"/>
                  <a:pt x="7" y="48"/>
                  <a:pt x="6" y="50"/>
                </a:cubicBezTo>
                <a:cubicBezTo>
                  <a:pt x="6" y="52"/>
                  <a:pt x="5" y="55"/>
                  <a:pt x="6" y="56"/>
                </a:cubicBezTo>
                <a:cubicBezTo>
                  <a:pt x="6" y="58"/>
                  <a:pt x="7" y="59"/>
                  <a:pt x="6" y="60"/>
                </a:cubicBezTo>
                <a:cubicBezTo>
                  <a:pt x="6" y="61"/>
                  <a:pt x="0" y="65"/>
                  <a:pt x="0" y="68"/>
                </a:cubicBezTo>
                <a:cubicBezTo>
                  <a:pt x="0" y="71"/>
                  <a:pt x="2" y="78"/>
                  <a:pt x="2" y="79"/>
                </a:cubicBezTo>
                <a:cubicBezTo>
                  <a:pt x="4" y="81"/>
                  <a:pt x="5" y="81"/>
                  <a:pt x="6" y="87"/>
                </a:cubicBezTo>
                <a:cubicBezTo>
                  <a:pt x="6" y="92"/>
                  <a:pt x="5" y="94"/>
                  <a:pt x="4" y="95"/>
                </a:cubicBezTo>
                <a:cubicBezTo>
                  <a:pt x="4" y="95"/>
                  <a:pt x="4" y="95"/>
                  <a:pt x="5" y="95"/>
                </a:cubicBezTo>
                <a:cubicBezTo>
                  <a:pt x="5" y="96"/>
                  <a:pt x="5" y="98"/>
                  <a:pt x="8" y="100"/>
                </a:cubicBezTo>
                <a:cubicBezTo>
                  <a:pt x="11" y="102"/>
                  <a:pt x="17" y="103"/>
                  <a:pt x="18" y="102"/>
                </a:cubicBezTo>
                <a:cubicBezTo>
                  <a:pt x="20" y="101"/>
                  <a:pt x="23" y="98"/>
                  <a:pt x="26" y="97"/>
                </a:cubicBezTo>
                <a:cubicBezTo>
                  <a:pt x="28" y="96"/>
                  <a:pt x="36" y="92"/>
                  <a:pt x="37" y="92"/>
                </a:cubicBezTo>
                <a:cubicBezTo>
                  <a:pt x="39" y="91"/>
                  <a:pt x="41" y="90"/>
                  <a:pt x="41" y="90"/>
                </a:cubicBezTo>
                <a:cubicBezTo>
                  <a:pt x="47" y="87"/>
                  <a:pt x="47" y="87"/>
                  <a:pt x="47" y="87"/>
                </a:cubicBezTo>
                <a:cubicBezTo>
                  <a:pt x="47" y="87"/>
                  <a:pt x="47" y="88"/>
                  <a:pt x="48" y="88"/>
                </a:cubicBezTo>
                <a:cubicBezTo>
                  <a:pt x="49" y="88"/>
                  <a:pt x="53" y="86"/>
                  <a:pt x="53" y="86"/>
                </a:cubicBezTo>
                <a:cubicBezTo>
                  <a:pt x="53" y="86"/>
                  <a:pt x="56" y="85"/>
                  <a:pt x="59" y="8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69" name="Cote D' Ivorie"/>
          <p:cNvSpPr>
            <a:spLocks/>
          </p:cNvSpPr>
          <p:nvPr/>
        </p:nvSpPr>
        <p:spPr bwMode="auto">
          <a:xfrm>
            <a:off x="5961006" y="3724300"/>
            <a:ext cx="158420" cy="212315"/>
          </a:xfrm>
          <a:custGeom>
            <a:avLst/>
            <a:gdLst>
              <a:gd name="T0" fmla="*/ 73 w 77"/>
              <a:gd name="T1" fmla="*/ 89 h 103"/>
              <a:gd name="T2" fmla="*/ 75 w 77"/>
              <a:gd name="T3" fmla="*/ 81 h 103"/>
              <a:gd name="T4" fmla="*/ 71 w 77"/>
              <a:gd name="T5" fmla="*/ 73 h 103"/>
              <a:gd name="T6" fmla="*/ 69 w 77"/>
              <a:gd name="T7" fmla="*/ 62 h 103"/>
              <a:gd name="T8" fmla="*/ 75 w 77"/>
              <a:gd name="T9" fmla="*/ 54 h 103"/>
              <a:gd name="T10" fmla="*/ 75 w 77"/>
              <a:gd name="T11" fmla="*/ 50 h 103"/>
              <a:gd name="T12" fmla="*/ 75 w 77"/>
              <a:gd name="T13" fmla="*/ 44 h 103"/>
              <a:gd name="T14" fmla="*/ 77 w 77"/>
              <a:gd name="T15" fmla="*/ 37 h 103"/>
              <a:gd name="T16" fmla="*/ 75 w 77"/>
              <a:gd name="T17" fmla="*/ 33 h 103"/>
              <a:gd name="T18" fmla="*/ 75 w 77"/>
              <a:gd name="T19" fmla="*/ 30 h 103"/>
              <a:gd name="T20" fmla="*/ 76 w 77"/>
              <a:gd name="T21" fmla="*/ 23 h 103"/>
              <a:gd name="T22" fmla="*/ 73 w 77"/>
              <a:gd name="T23" fmla="*/ 15 h 103"/>
              <a:gd name="T24" fmla="*/ 73 w 77"/>
              <a:gd name="T25" fmla="*/ 14 h 103"/>
              <a:gd name="T26" fmla="*/ 65 w 77"/>
              <a:gd name="T27" fmla="*/ 12 h 103"/>
              <a:gd name="T28" fmla="*/ 59 w 77"/>
              <a:gd name="T29" fmla="*/ 13 h 103"/>
              <a:gd name="T30" fmla="*/ 55 w 77"/>
              <a:gd name="T31" fmla="*/ 15 h 103"/>
              <a:gd name="T32" fmla="*/ 53 w 77"/>
              <a:gd name="T33" fmla="*/ 15 h 103"/>
              <a:gd name="T34" fmla="*/ 48 w 77"/>
              <a:gd name="T35" fmla="*/ 14 h 103"/>
              <a:gd name="T36" fmla="*/ 44 w 77"/>
              <a:gd name="T37" fmla="*/ 12 h 103"/>
              <a:gd name="T38" fmla="*/ 41 w 77"/>
              <a:gd name="T39" fmla="*/ 10 h 103"/>
              <a:gd name="T40" fmla="*/ 40 w 77"/>
              <a:gd name="T41" fmla="*/ 7 h 103"/>
              <a:gd name="T42" fmla="*/ 41 w 77"/>
              <a:gd name="T43" fmla="*/ 4 h 103"/>
              <a:gd name="T44" fmla="*/ 38 w 77"/>
              <a:gd name="T45" fmla="*/ 3 h 103"/>
              <a:gd name="T46" fmla="*/ 30 w 77"/>
              <a:gd name="T47" fmla="*/ 6 h 103"/>
              <a:gd name="T48" fmla="*/ 29 w 77"/>
              <a:gd name="T49" fmla="*/ 1 h 103"/>
              <a:gd name="T50" fmla="*/ 25 w 77"/>
              <a:gd name="T51" fmla="*/ 4 h 103"/>
              <a:gd name="T52" fmla="*/ 19 w 77"/>
              <a:gd name="T53" fmla="*/ 7 h 103"/>
              <a:gd name="T54" fmla="*/ 17 w 77"/>
              <a:gd name="T55" fmla="*/ 5 h 103"/>
              <a:gd name="T56" fmla="*/ 12 w 77"/>
              <a:gd name="T57" fmla="*/ 5 h 103"/>
              <a:gd name="T58" fmla="*/ 8 w 77"/>
              <a:gd name="T59" fmla="*/ 9 h 103"/>
              <a:gd name="T60" fmla="*/ 6 w 77"/>
              <a:gd name="T61" fmla="*/ 13 h 103"/>
              <a:gd name="T62" fmla="*/ 9 w 77"/>
              <a:gd name="T63" fmla="*/ 16 h 103"/>
              <a:gd name="T64" fmla="*/ 11 w 77"/>
              <a:gd name="T65" fmla="*/ 18 h 103"/>
              <a:gd name="T66" fmla="*/ 11 w 77"/>
              <a:gd name="T67" fmla="*/ 24 h 103"/>
              <a:gd name="T68" fmla="*/ 10 w 77"/>
              <a:gd name="T69" fmla="*/ 29 h 103"/>
              <a:gd name="T70" fmla="*/ 13 w 77"/>
              <a:gd name="T71" fmla="*/ 30 h 103"/>
              <a:gd name="T72" fmla="*/ 10 w 77"/>
              <a:gd name="T73" fmla="*/ 33 h 103"/>
              <a:gd name="T74" fmla="*/ 8 w 77"/>
              <a:gd name="T75" fmla="*/ 43 h 103"/>
              <a:gd name="T76" fmla="*/ 4 w 77"/>
              <a:gd name="T77" fmla="*/ 48 h 103"/>
              <a:gd name="T78" fmla="*/ 4 w 77"/>
              <a:gd name="T79" fmla="*/ 52 h 103"/>
              <a:gd name="T80" fmla="*/ 3 w 77"/>
              <a:gd name="T81" fmla="*/ 57 h 103"/>
              <a:gd name="T82" fmla="*/ 1 w 77"/>
              <a:gd name="T83" fmla="*/ 63 h 103"/>
              <a:gd name="T84" fmla="*/ 3 w 77"/>
              <a:gd name="T85" fmla="*/ 67 h 103"/>
              <a:gd name="T86" fmla="*/ 7 w 77"/>
              <a:gd name="T87" fmla="*/ 69 h 103"/>
              <a:gd name="T88" fmla="*/ 7 w 77"/>
              <a:gd name="T89" fmla="*/ 74 h 103"/>
              <a:gd name="T90" fmla="*/ 14 w 77"/>
              <a:gd name="T91" fmla="*/ 77 h 103"/>
              <a:gd name="T92" fmla="*/ 14 w 77"/>
              <a:gd name="T93" fmla="*/ 81 h 103"/>
              <a:gd name="T94" fmla="*/ 13 w 77"/>
              <a:gd name="T95" fmla="*/ 84 h 103"/>
              <a:gd name="T96" fmla="*/ 12 w 77"/>
              <a:gd name="T97" fmla="*/ 87 h 103"/>
              <a:gd name="T98" fmla="*/ 11 w 77"/>
              <a:gd name="T99" fmla="*/ 93 h 103"/>
              <a:gd name="T100" fmla="*/ 12 w 77"/>
              <a:gd name="T101" fmla="*/ 96 h 103"/>
              <a:gd name="T102" fmla="*/ 12 w 77"/>
              <a:gd name="T103" fmla="*/ 98 h 103"/>
              <a:gd name="T104" fmla="*/ 13 w 77"/>
              <a:gd name="T105" fmla="*/ 103 h 103"/>
              <a:gd name="T106" fmla="*/ 23 w 77"/>
              <a:gd name="T107" fmla="*/ 100 h 103"/>
              <a:gd name="T108" fmla="*/ 35 w 77"/>
              <a:gd name="T109" fmla="*/ 92 h 103"/>
              <a:gd name="T110" fmla="*/ 42 w 77"/>
              <a:gd name="T111" fmla="*/ 91 h 103"/>
              <a:gd name="T112" fmla="*/ 50 w 77"/>
              <a:gd name="T113" fmla="*/ 90 h 103"/>
              <a:gd name="T114" fmla="*/ 54 w 77"/>
              <a:gd name="T115" fmla="*/ 90 h 103"/>
              <a:gd name="T116" fmla="*/ 61 w 77"/>
              <a:gd name="T117" fmla="*/ 90 h 103"/>
              <a:gd name="T118" fmla="*/ 64 w 77"/>
              <a:gd name="T119" fmla="*/ 89 h 103"/>
              <a:gd name="T120" fmla="*/ 70 w 77"/>
              <a:gd name="T121" fmla="*/ 90 h 103"/>
              <a:gd name="T122" fmla="*/ 73 w 77"/>
              <a:gd name="T123"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103">
                <a:moveTo>
                  <a:pt x="73" y="89"/>
                </a:moveTo>
                <a:cubicBezTo>
                  <a:pt x="74" y="88"/>
                  <a:pt x="75" y="86"/>
                  <a:pt x="75" y="81"/>
                </a:cubicBezTo>
                <a:cubicBezTo>
                  <a:pt x="74" y="75"/>
                  <a:pt x="73" y="75"/>
                  <a:pt x="71" y="73"/>
                </a:cubicBezTo>
                <a:cubicBezTo>
                  <a:pt x="71" y="72"/>
                  <a:pt x="69" y="65"/>
                  <a:pt x="69" y="62"/>
                </a:cubicBezTo>
                <a:cubicBezTo>
                  <a:pt x="69" y="59"/>
                  <a:pt x="75" y="55"/>
                  <a:pt x="75" y="54"/>
                </a:cubicBezTo>
                <a:cubicBezTo>
                  <a:pt x="76" y="53"/>
                  <a:pt x="75" y="52"/>
                  <a:pt x="75" y="50"/>
                </a:cubicBezTo>
                <a:cubicBezTo>
                  <a:pt x="74" y="49"/>
                  <a:pt x="75" y="46"/>
                  <a:pt x="75" y="44"/>
                </a:cubicBezTo>
                <a:cubicBezTo>
                  <a:pt x="76" y="42"/>
                  <a:pt x="77" y="41"/>
                  <a:pt x="77" y="37"/>
                </a:cubicBezTo>
                <a:cubicBezTo>
                  <a:pt x="77" y="33"/>
                  <a:pt x="75" y="33"/>
                  <a:pt x="75" y="33"/>
                </a:cubicBezTo>
                <a:cubicBezTo>
                  <a:pt x="75" y="33"/>
                  <a:pt x="75" y="32"/>
                  <a:pt x="75" y="30"/>
                </a:cubicBezTo>
                <a:cubicBezTo>
                  <a:pt x="75" y="29"/>
                  <a:pt x="76" y="29"/>
                  <a:pt x="76" y="23"/>
                </a:cubicBezTo>
                <a:cubicBezTo>
                  <a:pt x="76" y="17"/>
                  <a:pt x="73" y="15"/>
                  <a:pt x="73" y="15"/>
                </a:cubicBezTo>
                <a:cubicBezTo>
                  <a:pt x="73" y="15"/>
                  <a:pt x="73" y="14"/>
                  <a:pt x="73" y="14"/>
                </a:cubicBezTo>
                <a:cubicBezTo>
                  <a:pt x="73" y="14"/>
                  <a:pt x="68" y="12"/>
                  <a:pt x="65" y="12"/>
                </a:cubicBezTo>
                <a:cubicBezTo>
                  <a:pt x="63" y="12"/>
                  <a:pt x="60" y="13"/>
                  <a:pt x="59" y="13"/>
                </a:cubicBezTo>
                <a:cubicBezTo>
                  <a:pt x="58" y="14"/>
                  <a:pt x="55" y="15"/>
                  <a:pt x="55" y="15"/>
                </a:cubicBezTo>
                <a:cubicBezTo>
                  <a:pt x="55" y="15"/>
                  <a:pt x="54" y="14"/>
                  <a:pt x="53" y="15"/>
                </a:cubicBezTo>
                <a:cubicBezTo>
                  <a:pt x="52" y="16"/>
                  <a:pt x="48" y="16"/>
                  <a:pt x="48" y="14"/>
                </a:cubicBezTo>
                <a:cubicBezTo>
                  <a:pt x="47" y="12"/>
                  <a:pt x="45" y="12"/>
                  <a:pt x="44" y="12"/>
                </a:cubicBezTo>
                <a:cubicBezTo>
                  <a:pt x="43" y="12"/>
                  <a:pt x="41" y="11"/>
                  <a:pt x="41" y="10"/>
                </a:cubicBezTo>
                <a:cubicBezTo>
                  <a:pt x="40" y="9"/>
                  <a:pt x="40" y="9"/>
                  <a:pt x="40" y="7"/>
                </a:cubicBezTo>
                <a:cubicBezTo>
                  <a:pt x="39" y="6"/>
                  <a:pt x="41" y="5"/>
                  <a:pt x="41" y="4"/>
                </a:cubicBezTo>
                <a:cubicBezTo>
                  <a:pt x="42" y="3"/>
                  <a:pt x="40" y="2"/>
                  <a:pt x="38" y="3"/>
                </a:cubicBezTo>
                <a:cubicBezTo>
                  <a:pt x="36" y="5"/>
                  <a:pt x="31" y="7"/>
                  <a:pt x="30" y="6"/>
                </a:cubicBezTo>
                <a:cubicBezTo>
                  <a:pt x="29" y="6"/>
                  <a:pt x="30" y="2"/>
                  <a:pt x="29" y="1"/>
                </a:cubicBezTo>
                <a:cubicBezTo>
                  <a:pt x="28" y="0"/>
                  <a:pt x="25" y="3"/>
                  <a:pt x="25" y="4"/>
                </a:cubicBezTo>
                <a:cubicBezTo>
                  <a:pt x="23" y="6"/>
                  <a:pt x="21" y="7"/>
                  <a:pt x="19" y="7"/>
                </a:cubicBezTo>
                <a:cubicBezTo>
                  <a:pt x="17" y="7"/>
                  <a:pt x="18" y="7"/>
                  <a:pt x="17" y="5"/>
                </a:cubicBezTo>
                <a:cubicBezTo>
                  <a:pt x="16" y="4"/>
                  <a:pt x="12" y="5"/>
                  <a:pt x="12" y="5"/>
                </a:cubicBezTo>
                <a:cubicBezTo>
                  <a:pt x="12" y="5"/>
                  <a:pt x="10" y="7"/>
                  <a:pt x="8" y="9"/>
                </a:cubicBezTo>
                <a:cubicBezTo>
                  <a:pt x="7" y="10"/>
                  <a:pt x="6" y="13"/>
                  <a:pt x="6" y="13"/>
                </a:cubicBezTo>
                <a:cubicBezTo>
                  <a:pt x="9" y="16"/>
                  <a:pt x="9" y="16"/>
                  <a:pt x="9" y="16"/>
                </a:cubicBezTo>
                <a:cubicBezTo>
                  <a:pt x="9" y="16"/>
                  <a:pt x="9" y="17"/>
                  <a:pt x="11" y="18"/>
                </a:cubicBezTo>
                <a:cubicBezTo>
                  <a:pt x="12" y="20"/>
                  <a:pt x="12" y="22"/>
                  <a:pt x="11" y="24"/>
                </a:cubicBezTo>
                <a:cubicBezTo>
                  <a:pt x="9" y="25"/>
                  <a:pt x="10" y="29"/>
                  <a:pt x="10" y="29"/>
                </a:cubicBezTo>
                <a:cubicBezTo>
                  <a:pt x="10" y="29"/>
                  <a:pt x="13" y="29"/>
                  <a:pt x="13" y="30"/>
                </a:cubicBezTo>
                <a:cubicBezTo>
                  <a:pt x="13" y="31"/>
                  <a:pt x="13" y="33"/>
                  <a:pt x="10" y="33"/>
                </a:cubicBezTo>
                <a:cubicBezTo>
                  <a:pt x="8" y="34"/>
                  <a:pt x="8" y="41"/>
                  <a:pt x="8" y="43"/>
                </a:cubicBezTo>
                <a:cubicBezTo>
                  <a:pt x="8" y="46"/>
                  <a:pt x="4" y="48"/>
                  <a:pt x="4" y="48"/>
                </a:cubicBezTo>
                <a:cubicBezTo>
                  <a:pt x="4" y="48"/>
                  <a:pt x="4" y="50"/>
                  <a:pt x="4" y="52"/>
                </a:cubicBezTo>
                <a:cubicBezTo>
                  <a:pt x="5" y="54"/>
                  <a:pt x="4" y="56"/>
                  <a:pt x="3" y="57"/>
                </a:cubicBezTo>
                <a:cubicBezTo>
                  <a:pt x="1" y="58"/>
                  <a:pt x="1" y="61"/>
                  <a:pt x="1" y="63"/>
                </a:cubicBezTo>
                <a:cubicBezTo>
                  <a:pt x="0" y="65"/>
                  <a:pt x="1" y="65"/>
                  <a:pt x="3" y="67"/>
                </a:cubicBezTo>
                <a:cubicBezTo>
                  <a:pt x="4" y="69"/>
                  <a:pt x="4" y="69"/>
                  <a:pt x="7" y="69"/>
                </a:cubicBezTo>
                <a:cubicBezTo>
                  <a:pt x="9" y="69"/>
                  <a:pt x="7" y="73"/>
                  <a:pt x="7" y="74"/>
                </a:cubicBezTo>
                <a:cubicBezTo>
                  <a:pt x="7" y="76"/>
                  <a:pt x="11" y="76"/>
                  <a:pt x="14" y="77"/>
                </a:cubicBezTo>
                <a:cubicBezTo>
                  <a:pt x="16" y="78"/>
                  <a:pt x="15" y="81"/>
                  <a:pt x="14" y="81"/>
                </a:cubicBezTo>
                <a:cubicBezTo>
                  <a:pt x="13" y="81"/>
                  <a:pt x="13" y="84"/>
                  <a:pt x="13" y="84"/>
                </a:cubicBezTo>
                <a:cubicBezTo>
                  <a:pt x="12" y="87"/>
                  <a:pt x="12" y="87"/>
                  <a:pt x="12" y="87"/>
                </a:cubicBezTo>
                <a:cubicBezTo>
                  <a:pt x="12" y="87"/>
                  <a:pt x="11" y="92"/>
                  <a:pt x="11" y="93"/>
                </a:cubicBezTo>
                <a:cubicBezTo>
                  <a:pt x="12" y="94"/>
                  <a:pt x="12" y="95"/>
                  <a:pt x="12" y="96"/>
                </a:cubicBezTo>
                <a:cubicBezTo>
                  <a:pt x="12" y="97"/>
                  <a:pt x="12" y="98"/>
                  <a:pt x="12" y="98"/>
                </a:cubicBezTo>
                <a:cubicBezTo>
                  <a:pt x="13" y="103"/>
                  <a:pt x="13" y="103"/>
                  <a:pt x="13" y="103"/>
                </a:cubicBezTo>
                <a:cubicBezTo>
                  <a:pt x="18" y="103"/>
                  <a:pt x="23" y="100"/>
                  <a:pt x="23" y="100"/>
                </a:cubicBezTo>
                <a:cubicBezTo>
                  <a:pt x="35" y="92"/>
                  <a:pt x="35" y="92"/>
                  <a:pt x="35" y="92"/>
                </a:cubicBezTo>
                <a:cubicBezTo>
                  <a:pt x="35" y="92"/>
                  <a:pt x="37" y="91"/>
                  <a:pt x="42" y="91"/>
                </a:cubicBezTo>
                <a:cubicBezTo>
                  <a:pt x="46" y="91"/>
                  <a:pt x="49" y="91"/>
                  <a:pt x="50" y="90"/>
                </a:cubicBezTo>
                <a:cubicBezTo>
                  <a:pt x="51" y="89"/>
                  <a:pt x="54" y="90"/>
                  <a:pt x="54" y="90"/>
                </a:cubicBezTo>
                <a:cubicBezTo>
                  <a:pt x="54" y="90"/>
                  <a:pt x="59" y="90"/>
                  <a:pt x="61" y="90"/>
                </a:cubicBezTo>
                <a:cubicBezTo>
                  <a:pt x="62" y="89"/>
                  <a:pt x="63" y="88"/>
                  <a:pt x="64" y="89"/>
                </a:cubicBezTo>
                <a:cubicBezTo>
                  <a:pt x="65" y="90"/>
                  <a:pt x="68" y="91"/>
                  <a:pt x="70" y="90"/>
                </a:cubicBezTo>
                <a:cubicBezTo>
                  <a:pt x="71" y="89"/>
                  <a:pt x="72" y="88"/>
                  <a:pt x="73" y="89"/>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0" name="Liberia"/>
          <p:cNvSpPr>
            <a:spLocks/>
          </p:cNvSpPr>
          <p:nvPr/>
        </p:nvSpPr>
        <p:spPr bwMode="auto">
          <a:xfrm>
            <a:off x="5884248" y="3789630"/>
            <a:ext cx="109424" cy="146988"/>
          </a:xfrm>
          <a:custGeom>
            <a:avLst/>
            <a:gdLst>
              <a:gd name="T0" fmla="*/ 51 w 54"/>
              <a:gd name="T1" fmla="*/ 71 h 71"/>
              <a:gd name="T2" fmla="*/ 50 w 54"/>
              <a:gd name="T3" fmla="*/ 66 h 71"/>
              <a:gd name="T4" fmla="*/ 50 w 54"/>
              <a:gd name="T5" fmla="*/ 64 h 71"/>
              <a:gd name="T6" fmla="*/ 49 w 54"/>
              <a:gd name="T7" fmla="*/ 61 h 71"/>
              <a:gd name="T8" fmla="*/ 50 w 54"/>
              <a:gd name="T9" fmla="*/ 55 h 71"/>
              <a:gd name="T10" fmla="*/ 51 w 54"/>
              <a:gd name="T11" fmla="*/ 52 h 71"/>
              <a:gd name="T12" fmla="*/ 52 w 54"/>
              <a:gd name="T13" fmla="*/ 49 h 71"/>
              <a:gd name="T14" fmla="*/ 52 w 54"/>
              <a:gd name="T15" fmla="*/ 45 h 71"/>
              <a:gd name="T16" fmla="*/ 45 w 54"/>
              <a:gd name="T17" fmla="*/ 42 h 71"/>
              <a:gd name="T18" fmla="*/ 45 w 54"/>
              <a:gd name="T19" fmla="*/ 37 h 71"/>
              <a:gd name="T20" fmla="*/ 41 w 54"/>
              <a:gd name="T21" fmla="*/ 35 h 71"/>
              <a:gd name="T22" fmla="*/ 39 w 54"/>
              <a:gd name="T23" fmla="*/ 31 h 71"/>
              <a:gd name="T24" fmla="*/ 41 w 54"/>
              <a:gd name="T25" fmla="*/ 25 h 71"/>
              <a:gd name="T26" fmla="*/ 42 w 54"/>
              <a:gd name="T27" fmla="*/ 20 h 71"/>
              <a:gd name="T28" fmla="*/ 42 w 54"/>
              <a:gd name="T29" fmla="*/ 16 h 71"/>
              <a:gd name="T30" fmla="*/ 40 w 54"/>
              <a:gd name="T31" fmla="*/ 15 h 71"/>
              <a:gd name="T32" fmla="*/ 35 w 54"/>
              <a:gd name="T33" fmla="*/ 17 h 71"/>
              <a:gd name="T34" fmla="*/ 34 w 54"/>
              <a:gd name="T35" fmla="*/ 22 h 71"/>
              <a:gd name="T36" fmla="*/ 28 w 54"/>
              <a:gd name="T37" fmla="*/ 24 h 71"/>
              <a:gd name="T38" fmla="*/ 28 w 54"/>
              <a:gd name="T39" fmla="*/ 21 h 71"/>
              <a:gd name="T40" fmla="*/ 28 w 54"/>
              <a:gd name="T41" fmla="*/ 16 h 71"/>
              <a:gd name="T42" fmla="*/ 29 w 54"/>
              <a:gd name="T43" fmla="*/ 11 h 71"/>
              <a:gd name="T44" fmla="*/ 28 w 54"/>
              <a:gd name="T45" fmla="*/ 8 h 71"/>
              <a:gd name="T46" fmla="*/ 28 w 54"/>
              <a:gd name="T47" fmla="*/ 5 h 71"/>
              <a:gd name="T48" fmla="*/ 28 w 54"/>
              <a:gd name="T49" fmla="*/ 3 h 71"/>
              <a:gd name="T50" fmla="*/ 26 w 54"/>
              <a:gd name="T51" fmla="*/ 1 h 71"/>
              <a:gd name="T52" fmla="*/ 22 w 54"/>
              <a:gd name="T53" fmla="*/ 1 h 71"/>
              <a:gd name="T54" fmla="*/ 18 w 54"/>
              <a:gd name="T55" fmla="*/ 0 h 71"/>
              <a:gd name="T56" fmla="*/ 16 w 54"/>
              <a:gd name="T57" fmla="*/ 2 h 71"/>
              <a:gd name="T58" fmla="*/ 14 w 54"/>
              <a:gd name="T59" fmla="*/ 4 h 71"/>
              <a:gd name="T60" fmla="*/ 14 w 54"/>
              <a:gd name="T61" fmla="*/ 6 h 71"/>
              <a:gd name="T62" fmla="*/ 13 w 54"/>
              <a:gd name="T63" fmla="*/ 8 h 71"/>
              <a:gd name="T64" fmla="*/ 14 w 54"/>
              <a:gd name="T65" fmla="*/ 11 h 71"/>
              <a:gd name="T66" fmla="*/ 13 w 54"/>
              <a:gd name="T67" fmla="*/ 13 h 71"/>
              <a:gd name="T68" fmla="*/ 8 w 54"/>
              <a:gd name="T69" fmla="*/ 18 h 71"/>
              <a:gd name="T70" fmla="*/ 5 w 54"/>
              <a:gd name="T71" fmla="*/ 22 h 71"/>
              <a:gd name="T72" fmla="*/ 4 w 54"/>
              <a:gd name="T73" fmla="*/ 24 h 71"/>
              <a:gd name="T74" fmla="*/ 0 w 54"/>
              <a:gd name="T75" fmla="*/ 28 h 71"/>
              <a:gd name="T76" fmla="*/ 0 w 54"/>
              <a:gd name="T77" fmla="*/ 28 h 71"/>
              <a:gd name="T78" fmla="*/ 3 w 54"/>
              <a:gd name="T79" fmla="*/ 32 h 71"/>
              <a:gd name="T80" fmla="*/ 5 w 54"/>
              <a:gd name="T81" fmla="*/ 35 h 71"/>
              <a:gd name="T82" fmla="*/ 10 w 54"/>
              <a:gd name="T83" fmla="*/ 38 h 71"/>
              <a:gd name="T84" fmla="*/ 14 w 54"/>
              <a:gd name="T85" fmla="*/ 43 h 71"/>
              <a:gd name="T86" fmla="*/ 20 w 54"/>
              <a:gd name="T87" fmla="*/ 46 h 71"/>
              <a:gd name="T88" fmla="*/ 24 w 54"/>
              <a:gd name="T89" fmla="*/ 51 h 71"/>
              <a:gd name="T90" fmla="*/ 27 w 54"/>
              <a:gd name="T91" fmla="*/ 55 h 71"/>
              <a:gd name="T92" fmla="*/ 32 w 54"/>
              <a:gd name="T93" fmla="*/ 63 h 71"/>
              <a:gd name="T94" fmla="*/ 39 w 54"/>
              <a:gd name="T95" fmla="*/ 65 h 71"/>
              <a:gd name="T96" fmla="*/ 49 w 54"/>
              <a:gd name="T97" fmla="*/ 70 h 71"/>
              <a:gd name="T98" fmla="*/ 51 w 54"/>
              <a:gd name="T9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71">
                <a:moveTo>
                  <a:pt x="51" y="71"/>
                </a:moveTo>
                <a:cubicBezTo>
                  <a:pt x="50" y="66"/>
                  <a:pt x="50" y="66"/>
                  <a:pt x="50" y="66"/>
                </a:cubicBezTo>
                <a:cubicBezTo>
                  <a:pt x="50" y="66"/>
                  <a:pt x="50" y="65"/>
                  <a:pt x="50" y="64"/>
                </a:cubicBezTo>
                <a:cubicBezTo>
                  <a:pt x="50" y="63"/>
                  <a:pt x="50" y="62"/>
                  <a:pt x="49" y="61"/>
                </a:cubicBezTo>
                <a:cubicBezTo>
                  <a:pt x="49" y="60"/>
                  <a:pt x="50" y="55"/>
                  <a:pt x="50" y="55"/>
                </a:cubicBezTo>
                <a:cubicBezTo>
                  <a:pt x="51" y="52"/>
                  <a:pt x="51" y="52"/>
                  <a:pt x="51" y="52"/>
                </a:cubicBezTo>
                <a:cubicBezTo>
                  <a:pt x="51" y="52"/>
                  <a:pt x="51" y="49"/>
                  <a:pt x="52" y="49"/>
                </a:cubicBezTo>
                <a:cubicBezTo>
                  <a:pt x="53" y="49"/>
                  <a:pt x="54" y="46"/>
                  <a:pt x="52" y="45"/>
                </a:cubicBezTo>
                <a:cubicBezTo>
                  <a:pt x="49" y="44"/>
                  <a:pt x="45" y="44"/>
                  <a:pt x="45" y="42"/>
                </a:cubicBezTo>
                <a:cubicBezTo>
                  <a:pt x="45" y="41"/>
                  <a:pt x="47" y="37"/>
                  <a:pt x="45" y="37"/>
                </a:cubicBezTo>
                <a:cubicBezTo>
                  <a:pt x="42" y="37"/>
                  <a:pt x="42" y="37"/>
                  <a:pt x="41" y="35"/>
                </a:cubicBezTo>
                <a:cubicBezTo>
                  <a:pt x="39" y="33"/>
                  <a:pt x="38" y="33"/>
                  <a:pt x="39" y="31"/>
                </a:cubicBezTo>
                <a:cubicBezTo>
                  <a:pt x="39" y="29"/>
                  <a:pt x="39" y="26"/>
                  <a:pt x="41" y="25"/>
                </a:cubicBezTo>
                <a:cubicBezTo>
                  <a:pt x="42" y="24"/>
                  <a:pt x="43" y="22"/>
                  <a:pt x="42" y="20"/>
                </a:cubicBezTo>
                <a:cubicBezTo>
                  <a:pt x="42" y="18"/>
                  <a:pt x="42" y="16"/>
                  <a:pt x="42" y="16"/>
                </a:cubicBezTo>
                <a:cubicBezTo>
                  <a:pt x="42" y="16"/>
                  <a:pt x="41" y="15"/>
                  <a:pt x="40" y="15"/>
                </a:cubicBezTo>
                <a:cubicBezTo>
                  <a:pt x="39" y="14"/>
                  <a:pt x="37" y="15"/>
                  <a:pt x="35" y="17"/>
                </a:cubicBezTo>
                <a:cubicBezTo>
                  <a:pt x="33" y="18"/>
                  <a:pt x="34" y="20"/>
                  <a:pt x="34" y="22"/>
                </a:cubicBezTo>
                <a:cubicBezTo>
                  <a:pt x="33" y="24"/>
                  <a:pt x="29" y="25"/>
                  <a:pt x="28" y="24"/>
                </a:cubicBezTo>
                <a:cubicBezTo>
                  <a:pt x="27" y="24"/>
                  <a:pt x="27" y="22"/>
                  <a:pt x="28" y="21"/>
                </a:cubicBezTo>
                <a:cubicBezTo>
                  <a:pt x="28" y="20"/>
                  <a:pt x="28" y="18"/>
                  <a:pt x="28" y="16"/>
                </a:cubicBezTo>
                <a:cubicBezTo>
                  <a:pt x="28" y="15"/>
                  <a:pt x="28" y="13"/>
                  <a:pt x="29" y="11"/>
                </a:cubicBezTo>
                <a:cubicBezTo>
                  <a:pt x="29" y="10"/>
                  <a:pt x="29" y="9"/>
                  <a:pt x="28" y="8"/>
                </a:cubicBezTo>
                <a:cubicBezTo>
                  <a:pt x="27" y="7"/>
                  <a:pt x="28" y="6"/>
                  <a:pt x="28" y="5"/>
                </a:cubicBezTo>
                <a:cubicBezTo>
                  <a:pt x="29" y="5"/>
                  <a:pt x="29" y="3"/>
                  <a:pt x="28" y="3"/>
                </a:cubicBezTo>
                <a:cubicBezTo>
                  <a:pt x="28" y="3"/>
                  <a:pt x="27" y="2"/>
                  <a:pt x="26" y="1"/>
                </a:cubicBezTo>
                <a:cubicBezTo>
                  <a:pt x="25" y="1"/>
                  <a:pt x="23" y="1"/>
                  <a:pt x="22" y="1"/>
                </a:cubicBezTo>
                <a:cubicBezTo>
                  <a:pt x="20" y="1"/>
                  <a:pt x="20" y="1"/>
                  <a:pt x="18" y="0"/>
                </a:cubicBezTo>
                <a:cubicBezTo>
                  <a:pt x="16" y="0"/>
                  <a:pt x="16" y="2"/>
                  <a:pt x="16" y="2"/>
                </a:cubicBezTo>
                <a:cubicBezTo>
                  <a:pt x="16" y="2"/>
                  <a:pt x="16" y="3"/>
                  <a:pt x="14" y="4"/>
                </a:cubicBezTo>
                <a:cubicBezTo>
                  <a:pt x="13" y="4"/>
                  <a:pt x="14" y="5"/>
                  <a:pt x="14" y="6"/>
                </a:cubicBezTo>
                <a:cubicBezTo>
                  <a:pt x="14" y="7"/>
                  <a:pt x="14" y="7"/>
                  <a:pt x="13" y="8"/>
                </a:cubicBezTo>
                <a:cubicBezTo>
                  <a:pt x="13" y="9"/>
                  <a:pt x="14" y="11"/>
                  <a:pt x="14" y="11"/>
                </a:cubicBezTo>
                <a:cubicBezTo>
                  <a:pt x="14" y="11"/>
                  <a:pt x="13" y="13"/>
                  <a:pt x="13" y="13"/>
                </a:cubicBezTo>
                <a:cubicBezTo>
                  <a:pt x="12" y="14"/>
                  <a:pt x="8" y="18"/>
                  <a:pt x="8" y="18"/>
                </a:cubicBezTo>
                <a:cubicBezTo>
                  <a:pt x="8" y="18"/>
                  <a:pt x="5" y="21"/>
                  <a:pt x="5" y="22"/>
                </a:cubicBezTo>
                <a:cubicBezTo>
                  <a:pt x="4" y="22"/>
                  <a:pt x="4" y="24"/>
                  <a:pt x="4" y="24"/>
                </a:cubicBezTo>
                <a:cubicBezTo>
                  <a:pt x="0" y="28"/>
                  <a:pt x="0" y="28"/>
                  <a:pt x="0" y="28"/>
                </a:cubicBezTo>
                <a:cubicBezTo>
                  <a:pt x="0" y="28"/>
                  <a:pt x="0" y="28"/>
                  <a:pt x="0" y="28"/>
                </a:cubicBezTo>
                <a:cubicBezTo>
                  <a:pt x="2" y="30"/>
                  <a:pt x="3" y="29"/>
                  <a:pt x="3" y="32"/>
                </a:cubicBezTo>
                <a:cubicBezTo>
                  <a:pt x="4" y="34"/>
                  <a:pt x="3" y="34"/>
                  <a:pt x="5" y="35"/>
                </a:cubicBezTo>
                <a:cubicBezTo>
                  <a:pt x="6" y="35"/>
                  <a:pt x="8" y="37"/>
                  <a:pt x="10" y="38"/>
                </a:cubicBezTo>
                <a:cubicBezTo>
                  <a:pt x="11" y="40"/>
                  <a:pt x="13" y="42"/>
                  <a:pt x="14" y="43"/>
                </a:cubicBezTo>
                <a:cubicBezTo>
                  <a:pt x="16" y="43"/>
                  <a:pt x="19" y="45"/>
                  <a:pt x="20" y="46"/>
                </a:cubicBezTo>
                <a:cubicBezTo>
                  <a:pt x="20" y="47"/>
                  <a:pt x="22" y="51"/>
                  <a:pt x="24" y="51"/>
                </a:cubicBezTo>
                <a:cubicBezTo>
                  <a:pt x="25" y="52"/>
                  <a:pt x="27" y="55"/>
                  <a:pt x="27" y="55"/>
                </a:cubicBezTo>
                <a:cubicBezTo>
                  <a:pt x="27" y="55"/>
                  <a:pt x="29" y="62"/>
                  <a:pt x="32" y="63"/>
                </a:cubicBezTo>
                <a:cubicBezTo>
                  <a:pt x="34" y="64"/>
                  <a:pt x="37" y="64"/>
                  <a:pt x="39" y="65"/>
                </a:cubicBezTo>
                <a:cubicBezTo>
                  <a:pt x="42" y="67"/>
                  <a:pt x="43" y="69"/>
                  <a:pt x="49" y="70"/>
                </a:cubicBezTo>
                <a:cubicBezTo>
                  <a:pt x="50" y="70"/>
                  <a:pt x="51" y="71"/>
                  <a:pt x="51" y="71"/>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1" name="Sierra Leone"/>
          <p:cNvSpPr>
            <a:spLocks/>
          </p:cNvSpPr>
          <p:nvPr/>
        </p:nvSpPr>
        <p:spPr bwMode="auto">
          <a:xfrm>
            <a:off x="5833618" y="3742266"/>
            <a:ext cx="83293" cy="106157"/>
          </a:xfrm>
          <a:custGeom>
            <a:avLst/>
            <a:gdLst>
              <a:gd name="T0" fmla="*/ 24 w 40"/>
              <a:gd name="T1" fmla="*/ 51 h 51"/>
              <a:gd name="T2" fmla="*/ 28 w 40"/>
              <a:gd name="T3" fmla="*/ 47 h 51"/>
              <a:gd name="T4" fmla="*/ 29 w 40"/>
              <a:gd name="T5" fmla="*/ 45 h 51"/>
              <a:gd name="T6" fmla="*/ 32 w 40"/>
              <a:gd name="T7" fmla="*/ 41 h 51"/>
              <a:gd name="T8" fmla="*/ 37 w 40"/>
              <a:gd name="T9" fmla="*/ 36 h 51"/>
              <a:gd name="T10" fmla="*/ 38 w 40"/>
              <a:gd name="T11" fmla="*/ 34 h 51"/>
              <a:gd name="T12" fmla="*/ 37 w 40"/>
              <a:gd name="T13" fmla="*/ 31 h 51"/>
              <a:gd name="T14" fmla="*/ 38 w 40"/>
              <a:gd name="T15" fmla="*/ 29 h 51"/>
              <a:gd name="T16" fmla="*/ 38 w 40"/>
              <a:gd name="T17" fmla="*/ 27 h 51"/>
              <a:gd name="T18" fmla="*/ 36 w 40"/>
              <a:gd name="T19" fmla="*/ 25 h 51"/>
              <a:gd name="T20" fmla="*/ 39 w 40"/>
              <a:gd name="T21" fmla="*/ 21 h 51"/>
              <a:gd name="T22" fmla="*/ 39 w 40"/>
              <a:gd name="T23" fmla="*/ 15 h 51"/>
              <a:gd name="T24" fmla="*/ 36 w 40"/>
              <a:gd name="T25" fmla="*/ 9 h 51"/>
              <a:gd name="T26" fmla="*/ 34 w 40"/>
              <a:gd name="T27" fmla="*/ 5 h 51"/>
              <a:gd name="T28" fmla="*/ 30 w 40"/>
              <a:gd name="T29" fmla="*/ 2 h 51"/>
              <a:gd name="T30" fmla="*/ 28 w 40"/>
              <a:gd name="T31" fmla="*/ 0 h 51"/>
              <a:gd name="T32" fmla="*/ 22 w 40"/>
              <a:gd name="T33" fmla="*/ 0 h 51"/>
              <a:gd name="T34" fmla="*/ 20 w 40"/>
              <a:gd name="T35" fmla="*/ 1 h 51"/>
              <a:gd name="T36" fmla="*/ 15 w 40"/>
              <a:gd name="T37" fmla="*/ 3 h 51"/>
              <a:gd name="T38" fmla="*/ 10 w 40"/>
              <a:gd name="T39" fmla="*/ 6 h 51"/>
              <a:gd name="T40" fmla="*/ 8 w 40"/>
              <a:gd name="T41" fmla="*/ 13 h 51"/>
              <a:gd name="T42" fmla="*/ 10 w 40"/>
              <a:gd name="T43" fmla="*/ 16 h 51"/>
              <a:gd name="T44" fmla="*/ 11 w 40"/>
              <a:gd name="T45" fmla="*/ 23 h 51"/>
              <a:gd name="T46" fmla="*/ 8 w 40"/>
              <a:gd name="T47" fmla="*/ 24 h 51"/>
              <a:gd name="T48" fmla="*/ 7 w 40"/>
              <a:gd name="T49" fmla="*/ 24 h 51"/>
              <a:gd name="T50" fmla="*/ 4 w 40"/>
              <a:gd name="T51" fmla="*/ 23 h 51"/>
              <a:gd name="T52" fmla="*/ 2 w 40"/>
              <a:gd name="T53" fmla="*/ 22 h 51"/>
              <a:gd name="T54" fmla="*/ 2 w 40"/>
              <a:gd name="T55" fmla="*/ 23 h 51"/>
              <a:gd name="T56" fmla="*/ 1 w 40"/>
              <a:gd name="T57" fmla="*/ 28 h 51"/>
              <a:gd name="T58" fmla="*/ 2 w 40"/>
              <a:gd name="T59" fmla="*/ 30 h 51"/>
              <a:gd name="T60" fmla="*/ 5 w 40"/>
              <a:gd name="T61" fmla="*/ 32 h 51"/>
              <a:gd name="T62" fmla="*/ 6 w 40"/>
              <a:gd name="T63" fmla="*/ 36 h 51"/>
              <a:gd name="T64" fmla="*/ 7 w 40"/>
              <a:gd name="T65" fmla="*/ 39 h 51"/>
              <a:gd name="T66" fmla="*/ 11 w 40"/>
              <a:gd name="T67" fmla="*/ 42 h 51"/>
              <a:gd name="T68" fmla="*/ 13 w 40"/>
              <a:gd name="T69" fmla="*/ 44 h 51"/>
              <a:gd name="T70" fmla="*/ 13 w 40"/>
              <a:gd name="T71" fmla="*/ 45 h 51"/>
              <a:gd name="T72" fmla="*/ 9 w 40"/>
              <a:gd name="T73" fmla="*/ 45 h 51"/>
              <a:gd name="T74" fmla="*/ 6 w 40"/>
              <a:gd name="T75" fmla="*/ 44 h 51"/>
              <a:gd name="T76" fmla="*/ 7 w 40"/>
              <a:gd name="T77" fmla="*/ 46 h 51"/>
              <a:gd name="T78" fmla="*/ 16 w 40"/>
              <a:gd name="T79" fmla="*/ 49 h 51"/>
              <a:gd name="T80" fmla="*/ 21 w 40"/>
              <a:gd name="T81" fmla="*/ 50 h 51"/>
              <a:gd name="T82" fmla="*/ 24 w 40"/>
              <a:gd name="T8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51">
                <a:moveTo>
                  <a:pt x="24" y="51"/>
                </a:moveTo>
                <a:cubicBezTo>
                  <a:pt x="28" y="47"/>
                  <a:pt x="28" y="47"/>
                  <a:pt x="28" y="47"/>
                </a:cubicBezTo>
                <a:cubicBezTo>
                  <a:pt x="28" y="47"/>
                  <a:pt x="28" y="45"/>
                  <a:pt x="29" y="45"/>
                </a:cubicBezTo>
                <a:cubicBezTo>
                  <a:pt x="29" y="44"/>
                  <a:pt x="32" y="41"/>
                  <a:pt x="32" y="41"/>
                </a:cubicBezTo>
                <a:cubicBezTo>
                  <a:pt x="32" y="41"/>
                  <a:pt x="36" y="37"/>
                  <a:pt x="37" y="36"/>
                </a:cubicBezTo>
                <a:cubicBezTo>
                  <a:pt x="37" y="36"/>
                  <a:pt x="38" y="34"/>
                  <a:pt x="38" y="34"/>
                </a:cubicBezTo>
                <a:cubicBezTo>
                  <a:pt x="38" y="34"/>
                  <a:pt x="37" y="32"/>
                  <a:pt x="37" y="31"/>
                </a:cubicBezTo>
                <a:cubicBezTo>
                  <a:pt x="38" y="30"/>
                  <a:pt x="38" y="30"/>
                  <a:pt x="38" y="29"/>
                </a:cubicBezTo>
                <a:cubicBezTo>
                  <a:pt x="38" y="28"/>
                  <a:pt x="37" y="28"/>
                  <a:pt x="38" y="27"/>
                </a:cubicBezTo>
                <a:cubicBezTo>
                  <a:pt x="37" y="27"/>
                  <a:pt x="36" y="27"/>
                  <a:pt x="36" y="25"/>
                </a:cubicBezTo>
                <a:cubicBezTo>
                  <a:pt x="36" y="24"/>
                  <a:pt x="38" y="23"/>
                  <a:pt x="39" y="21"/>
                </a:cubicBezTo>
                <a:cubicBezTo>
                  <a:pt x="40" y="20"/>
                  <a:pt x="40" y="17"/>
                  <a:pt x="39" y="15"/>
                </a:cubicBezTo>
                <a:cubicBezTo>
                  <a:pt x="38" y="14"/>
                  <a:pt x="37" y="11"/>
                  <a:pt x="36" y="9"/>
                </a:cubicBezTo>
                <a:cubicBezTo>
                  <a:pt x="36" y="9"/>
                  <a:pt x="34" y="6"/>
                  <a:pt x="34" y="5"/>
                </a:cubicBezTo>
                <a:cubicBezTo>
                  <a:pt x="34" y="3"/>
                  <a:pt x="31" y="2"/>
                  <a:pt x="30" y="2"/>
                </a:cubicBezTo>
                <a:cubicBezTo>
                  <a:pt x="29" y="2"/>
                  <a:pt x="28" y="0"/>
                  <a:pt x="28" y="0"/>
                </a:cubicBezTo>
                <a:cubicBezTo>
                  <a:pt x="22" y="0"/>
                  <a:pt x="22" y="0"/>
                  <a:pt x="22" y="0"/>
                </a:cubicBezTo>
                <a:cubicBezTo>
                  <a:pt x="22" y="0"/>
                  <a:pt x="20" y="0"/>
                  <a:pt x="20" y="1"/>
                </a:cubicBezTo>
                <a:cubicBezTo>
                  <a:pt x="20" y="3"/>
                  <a:pt x="18" y="3"/>
                  <a:pt x="15" y="3"/>
                </a:cubicBezTo>
                <a:cubicBezTo>
                  <a:pt x="12" y="3"/>
                  <a:pt x="11" y="5"/>
                  <a:pt x="10" y="6"/>
                </a:cubicBezTo>
                <a:cubicBezTo>
                  <a:pt x="8" y="7"/>
                  <a:pt x="8" y="9"/>
                  <a:pt x="8" y="13"/>
                </a:cubicBezTo>
                <a:cubicBezTo>
                  <a:pt x="8" y="16"/>
                  <a:pt x="8" y="15"/>
                  <a:pt x="10" y="16"/>
                </a:cubicBezTo>
                <a:cubicBezTo>
                  <a:pt x="11" y="17"/>
                  <a:pt x="11" y="22"/>
                  <a:pt x="11" y="23"/>
                </a:cubicBezTo>
                <a:cubicBezTo>
                  <a:pt x="10" y="24"/>
                  <a:pt x="8" y="24"/>
                  <a:pt x="8" y="24"/>
                </a:cubicBezTo>
                <a:cubicBezTo>
                  <a:pt x="8" y="23"/>
                  <a:pt x="7" y="23"/>
                  <a:pt x="7" y="24"/>
                </a:cubicBezTo>
                <a:cubicBezTo>
                  <a:pt x="6" y="24"/>
                  <a:pt x="5" y="24"/>
                  <a:pt x="4" y="23"/>
                </a:cubicBezTo>
                <a:cubicBezTo>
                  <a:pt x="3" y="22"/>
                  <a:pt x="2" y="22"/>
                  <a:pt x="2" y="22"/>
                </a:cubicBezTo>
                <a:cubicBezTo>
                  <a:pt x="2" y="22"/>
                  <a:pt x="2" y="23"/>
                  <a:pt x="2" y="23"/>
                </a:cubicBezTo>
                <a:cubicBezTo>
                  <a:pt x="2" y="25"/>
                  <a:pt x="1" y="28"/>
                  <a:pt x="1" y="28"/>
                </a:cubicBezTo>
                <a:cubicBezTo>
                  <a:pt x="1" y="28"/>
                  <a:pt x="0" y="30"/>
                  <a:pt x="2" y="30"/>
                </a:cubicBezTo>
                <a:cubicBezTo>
                  <a:pt x="4" y="30"/>
                  <a:pt x="5" y="32"/>
                  <a:pt x="5" y="32"/>
                </a:cubicBezTo>
                <a:cubicBezTo>
                  <a:pt x="5" y="33"/>
                  <a:pt x="7" y="34"/>
                  <a:pt x="6" y="36"/>
                </a:cubicBezTo>
                <a:cubicBezTo>
                  <a:pt x="6" y="38"/>
                  <a:pt x="6" y="39"/>
                  <a:pt x="7" y="39"/>
                </a:cubicBezTo>
                <a:cubicBezTo>
                  <a:pt x="8" y="40"/>
                  <a:pt x="11" y="41"/>
                  <a:pt x="11" y="42"/>
                </a:cubicBezTo>
                <a:cubicBezTo>
                  <a:pt x="12" y="43"/>
                  <a:pt x="12" y="44"/>
                  <a:pt x="13" y="44"/>
                </a:cubicBezTo>
                <a:cubicBezTo>
                  <a:pt x="14" y="44"/>
                  <a:pt x="15" y="45"/>
                  <a:pt x="13" y="45"/>
                </a:cubicBezTo>
                <a:cubicBezTo>
                  <a:pt x="12" y="45"/>
                  <a:pt x="10" y="45"/>
                  <a:pt x="9" y="45"/>
                </a:cubicBezTo>
                <a:cubicBezTo>
                  <a:pt x="9" y="45"/>
                  <a:pt x="6" y="43"/>
                  <a:pt x="6" y="44"/>
                </a:cubicBezTo>
                <a:cubicBezTo>
                  <a:pt x="4" y="45"/>
                  <a:pt x="7" y="46"/>
                  <a:pt x="7" y="46"/>
                </a:cubicBezTo>
                <a:cubicBezTo>
                  <a:pt x="7" y="46"/>
                  <a:pt x="14" y="49"/>
                  <a:pt x="16" y="49"/>
                </a:cubicBezTo>
                <a:cubicBezTo>
                  <a:pt x="18" y="49"/>
                  <a:pt x="21" y="51"/>
                  <a:pt x="21" y="50"/>
                </a:cubicBezTo>
                <a:cubicBezTo>
                  <a:pt x="22" y="49"/>
                  <a:pt x="22" y="49"/>
                  <a:pt x="24" y="51"/>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2" name="Guinea"/>
          <p:cNvSpPr>
            <a:spLocks/>
          </p:cNvSpPr>
          <p:nvPr/>
        </p:nvSpPr>
        <p:spPr bwMode="auto">
          <a:xfrm>
            <a:off x="5784622" y="3657342"/>
            <a:ext cx="204149" cy="184550"/>
          </a:xfrm>
          <a:custGeom>
            <a:avLst/>
            <a:gdLst>
              <a:gd name="T0" fmla="*/ 28 w 99"/>
              <a:gd name="T1" fmla="*/ 65 h 90"/>
              <a:gd name="T2" fmla="*/ 32 w 99"/>
              <a:gd name="T3" fmla="*/ 66 h 90"/>
              <a:gd name="T4" fmla="*/ 34 w 99"/>
              <a:gd name="T5" fmla="*/ 58 h 90"/>
              <a:gd name="T6" fmla="*/ 34 w 99"/>
              <a:gd name="T7" fmla="*/ 48 h 90"/>
              <a:gd name="T8" fmla="*/ 44 w 99"/>
              <a:gd name="T9" fmla="*/ 43 h 90"/>
              <a:gd name="T10" fmla="*/ 52 w 99"/>
              <a:gd name="T11" fmla="*/ 42 h 90"/>
              <a:gd name="T12" fmla="*/ 58 w 99"/>
              <a:gd name="T13" fmla="*/ 47 h 90"/>
              <a:gd name="T14" fmla="*/ 63 w 99"/>
              <a:gd name="T15" fmla="*/ 57 h 90"/>
              <a:gd name="T16" fmla="*/ 60 w 99"/>
              <a:gd name="T17" fmla="*/ 67 h 90"/>
              <a:gd name="T18" fmla="*/ 62 w 99"/>
              <a:gd name="T19" fmla="*/ 69 h 90"/>
              <a:gd name="T20" fmla="*/ 66 w 99"/>
              <a:gd name="T21" fmla="*/ 65 h 90"/>
              <a:gd name="T22" fmla="*/ 74 w 99"/>
              <a:gd name="T23" fmla="*/ 66 h 90"/>
              <a:gd name="T24" fmla="*/ 76 w 99"/>
              <a:gd name="T25" fmla="*/ 70 h 90"/>
              <a:gd name="T26" fmla="*/ 77 w 99"/>
              <a:gd name="T27" fmla="*/ 76 h 90"/>
              <a:gd name="T28" fmla="*/ 76 w 99"/>
              <a:gd name="T29" fmla="*/ 86 h 90"/>
              <a:gd name="T30" fmla="*/ 82 w 99"/>
              <a:gd name="T31" fmla="*/ 87 h 90"/>
              <a:gd name="T32" fmla="*/ 88 w 99"/>
              <a:gd name="T33" fmla="*/ 80 h 90"/>
              <a:gd name="T34" fmla="*/ 94 w 99"/>
              <a:gd name="T35" fmla="*/ 76 h 90"/>
              <a:gd name="T36" fmla="*/ 99 w 99"/>
              <a:gd name="T37" fmla="*/ 63 h 90"/>
              <a:gd name="T38" fmla="*/ 97 w 99"/>
              <a:gd name="T39" fmla="*/ 57 h 90"/>
              <a:gd name="T40" fmla="*/ 95 w 99"/>
              <a:gd name="T41" fmla="*/ 49 h 90"/>
              <a:gd name="T42" fmla="*/ 94 w 99"/>
              <a:gd name="T43" fmla="*/ 42 h 90"/>
              <a:gd name="T44" fmla="*/ 97 w 99"/>
              <a:gd name="T45" fmla="*/ 38 h 90"/>
              <a:gd name="T46" fmla="*/ 92 w 99"/>
              <a:gd name="T47" fmla="*/ 31 h 90"/>
              <a:gd name="T48" fmla="*/ 85 w 99"/>
              <a:gd name="T49" fmla="*/ 28 h 90"/>
              <a:gd name="T50" fmla="*/ 87 w 99"/>
              <a:gd name="T51" fmla="*/ 18 h 90"/>
              <a:gd name="T52" fmla="*/ 83 w 99"/>
              <a:gd name="T53" fmla="*/ 11 h 90"/>
              <a:gd name="T54" fmla="*/ 73 w 99"/>
              <a:gd name="T55" fmla="*/ 9 h 90"/>
              <a:gd name="T56" fmla="*/ 62 w 99"/>
              <a:gd name="T57" fmla="*/ 11 h 90"/>
              <a:gd name="T58" fmla="*/ 53 w 99"/>
              <a:gd name="T59" fmla="*/ 9 h 90"/>
              <a:gd name="T60" fmla="*/ 47 w 99"/>
              <a:gd name="T61" fmla="*/ 4 h 90"/>
              <a:gd name="T62" fmla="*/ 40 w 99"/>
              <a:gd name="T63" fmla="*/ 1 h 90"/>
              <a:gd name="T64" fmla="*/ 30 w 99"/>
              <a:gd name="T65" fmla="*/ 11 h 90"/>
              <a:gd name="T66" fmla="*/ 15 w 99"/>
              <a:gd name="T67" fmla="*/ 15 h 90"/>
              <a:gd name="T68" fmla="*/ 0 w 99"/>
              <a:gd name="T69" fmla="*/ 27 h 90"/>
              <a:gd name="T70" fmla="*/ 2 w 99"/>
              <a:gd name="T71" fmla="*/ 30 h 90"/>
              <a:gd name="T72" fmla="*/ 9 w 99"/>
              <a:gd name="T73" fmla="*/ 38 h 90"/>
              <a:gd name="T74" fmla="*/ 17 w 99"/>
              <a:gd name="T75" fmla="*/ 45 h 90"/>
              <a:gd name="T76" fmla="*/ 20 w 99"/>
              <a:gd name="T77" fmla="*/ 51 h 90"/>
              <a:gd name="T78" fmla="*/ 24 w 99"/>
              <a:gd name="T79"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90">
                <a:moveTo>
                  <a:pt x="26" y="64"/>
                </a:moveTo>
                <a:cubicBezTo>
                  <a:pt x="26" y="64"/>
                  <a:pt x="27" y="64"/>
                  <a:pt x="28" y="65"/>
                </a:cubicBezTo>
                <a:cubicBezTo>
                  <a:pt x="29" y="66"/>
                  <a:pt x="30" y="66"/>
                  <a:pt x="31" y="66"/>
                </a:cubicBezTo>
                <a:cubicBezTo>
                  <a:pt x="31" y="65"/>
                  <a:pt x="32" y="65"/>
                  <a:pt x="32" y="66"/>
                </a:cubicBezTo>
                <a:cubicBezTo>
                  <a:pt x="32" y="66"/>
                  <a:pt x="34" y="66"/>
                  <a:pt x="35" y="65"/>
                </a:cubicBezTo>
                <a:cubicBezTo>
                  <a:pt x="35" y="64"/>
                  <a:pt x="35" y="59"/>
                  <a:pt x="34" y="58"/>
                </a:cubicBezTo>
                <a:cubicBezTo>
                  <a:pt x="32" y="57"/>
                  <a:pt x="32" y="58"/>
                  <a:pt x="32" y="55"/>
                </a:cubicBezTo>
                <a:cubicBezTo>
                  <a:pt x="32" y="51"/>
                  <a:pt x="32" y="49"/>
                  <a:pt x="34" y="48"/>
                </a:cubicBezTo>
                <a:cubicBezTo>
                  <a:pt x="35" y="47"/>
                  <a:pt x="36" y="45"/>
                  <a:pt x="39" y="45"/>
                </a:cubicBezTo>
                <a:cubicBezTo>
                  <a:pt x="42" y="45"/>
                  <a:pt x="44" y="45"/>
                  <a:pt x="44" y="43"/>
                </a:cubicBezTo>
                <a:cubicBezTo>
                  <a:pt x="44" y="42"/>
                  <a:pt x="46" y="42"/>
                  <a:pt x="46" y="42"/>
                </a:cubicBezTo>
                <a:cubicBezTo>
                  <a:pt x="52" y="42"/>
                  <a:pt x="52" y="42"/>
                  <a:pt x="52" y="42"/>
                </a:cubicBezTo>
                <a:cubicBezTo>
                  <a:pt x="52" y="42"/>
                  <a:pt x="53" y="44"/>
                  <a:pt x="54" y="44"/>
                </a:cubicBezTo>
                <a:cubicBezTo>
                  <a:pt x="55" y="44"/>
                  <a:pt x="58" y="45"/>
                  <a:pt x="58" y="47"/>
                </a:cubicBezTo>
                <a:cubicBezTo>
                  <a:pt x="58" y="48"/>
                  <a:pt x="60" y="51"/>
                  <a:pt x="60" y="51"/>
                </a:cubicBezTo>
                <a:cubicBezTo>
                  <a:pt x="61" y="53"/>
                  <a:pt x="62" y="56"/>
                  <a:pt x="63" y="57"/>
                </a:cubicBezTo>
                <a:cubicBezTo>
                  <a:pt x="64" y="59"/>
                  <a:pt x="64" y="62"/>
                  <a:pt x="63" y="63"/>
                </a:cubicBezTo>
                <a:cubicBezTo>
                  <a:pt x="62" y="65"/>
                  <a:pt x="60" y="66"/>
                  <a:pt x="60" y="67"/>
                </a:cubicBezTo>
                <a:cubicBezTo>
                  <a:pt x="60" y="68"/>
                  <a:pt x="61" y="69"/>
                  <a:pt x="62" y="69"/>
                </a:cubicBezTo>
                <a:cubicBezTo>
                  <a:pt x="62" y="69"/>
                  <a:pt x="62" y="69"/>
                  <a:pt x="62" y="69"/>
                </a:cubicBezTo>
                <a:cubicBezTo>
                  <a:pt x="64" y="68"/>
                  <a:pt x="64" y="67"/>
                  <a:pt x="64" y="67"/>
                </a:cubicBezTo>
                <a:cubicBezTo>
                  <a:pt x="64" y="67"/>
                  <a:pt x="64" y="65"/>
                  <a:pt x="66" y="65"/>
                </a:cubicBezTo>
                <a:cubicBezTo>
                  <a:pt x="68" y="66"/>
                  <a:pt x="68" y="66"/>
                  <a:pt x="70" y="66"/>
                </a:cubicBezTo>
                <a:cubicBezTo>
                  <a:pt x="71" y="66"/>
                  <a:pt x="73" y="66"/>
                  <a:pt x="74" y="66"/>
                </a:cubicBezTo>
                <a:cubicBezTo>
                  <a:pt x="75" y="67"/>
                  <a:pt x="76" y="68"/>
                  <a:pt x="76" y="68"/>
                </a:cubicBezTo>
                <a:cubicBezTo>
                  <a:pt x="77" y="68"/>
                  <a:pt x="77" y="70"/>
                  <a:pt x="76" y="70"/>
                </a:cubicBezTo>
                <a:cubicBezTo>
                  <a:pt x="76" y="71"/>
                  <a:pt x="75" y="72"/>
                  <a:pt x="76" y="73"/>
                </a:cubicBezTo>
                <a:cubicBezTo>
                  <a:pt x="77" y="74"/>
                  <a:pt x="77" y="75"/>
                  <a:pt x="77" y="76"/>
                </a:cubicBezTo>
                <a:cubicBezTo>
                  <a:pt x="76" y="78"/>
                  <a:pt x="76" y="80"/>
                  <a:pt x="76" y="81"/>
                </a:cubicBezTo>
                <a:cubicBezTo>
                  <a:pt x="76" y="83"/>
                  <a:pt x="76" y="85"/>
                  <a:pt x="76" y="86"/>
                </a:cubicBezTo>
                <a:cubicBezTo>
                  <a:pt x="75" y="87"/>
                  <a:pt x="75" y="89"/>
                  <a:pt x="76" y="89"/>
                </a:cubicBezTo>
                <a:cubicBezTo>
                  <a:pt x="77" y="90"/>
                  <a:pt x="81" y="89"/>
                  <a:pt x="82" y="87"/>
                </a:cubicBezTo>
                <a:cubicBezTo>
                  <a:pt x="82" y="85"/>
                  <a:pt x="81" y="83"/>
                  <a:pt x="83" y="82"/>
                </a:cubicBezTo>
                <a:cubicBezTo>
                  <a:pt x="85" y="80"/>
                  <a:pt x="87" y="79"/>
                  <a:pt x="88" y="80"/>
                </a:cubicBezTo>
                <a:cubicBezTo>
                  <a:pt x="89" y="80"/>
                  <a:pt x="90" y="81"/>
                  <a:pt x="90" y="81"/>
                </a:cubicBezTo>
                <a:cubicBezTo>
                  <a:pt x="90" y="81"/>
                  <a:pt x="94" y="79"/>
                  <a:pt x="94" y="76"/>
                </a:cubicBezTo>
                <a:cubicBezTo>
                  <a:pt x="94" y="74"/>
                  <a:pt x="94" y="67"/>
                  <a:pt x="96" y="66"/>
                </a:cubicBezTo>
                <a:cubicBezTo>
                  <a:pt x="99" y="66"/>
                  <a:pt x="99" y="64"/>
                  <a:pt x="99" y="63"/>
                </a:cubicBezTo>
                <a:cubicBezTo>
                  <a:pt x="99" y="62"/>
                  <a:pt x="96" y="62"/>
                  <a:pt x="96" y="62"/>
                </a:cubicBezTo>
                <a:cubicBezTo>
                  <a:pt x="96" y="62"/>
                  <a:pt x="95" y="58"/>
                  <a:pt x="97" y="57"/>
                </a:cubicBezTo>
                <a:cubicBezTo>
                  <a:pt x="98" y="55"/>
                  <a:pt x="98" y="53"/>
                  <a:pt x="97" y="51"/>
                </a:cubicBezTo>
                <a:cubicBezTo>
                  <a:pt x="95" y="50"/>
                  <a:pt x="95" y="49"/>
                  <a:pt x="95" y="49"/>
                </a:cubicBezTo>
                <a:cubicBezTo>
                  <a:pt x="92" y="46"/>
                  <a:pt x="92" y="46"/>
                  <a:pt x="92" y="46"/>
                </a:cubicBezTo>
                <a:cubicBezTo>
                  <a:pt x="92" y="46"/>
                  <a:pt x="93" y="43"/>
                  <a:pt x="94" y="42"/>
                </a:cubicBezTo>
                <a:cubicBezTo>
                  <a:pt x="96" y="41"/>
                  <a:pt x="97" y="40"/>
                  <a:pt x="98" y="39"/>
                </a:cubicBezTo>
                <a:cubicBezTo>
                  <a:pt x="98" y="39"/>
                  <a:pt x="98" y="39"/>
                  <a:pt x="97" y="38"/>
                </a:cubicBezTo>
                <a:cubicBezTo>
                  <a:pt x="96" y="36"/>
                  <a:pt x="95" y="36"/>
                  <a:pt x="93" y="36"/>
                </a:cubicBezTo>
                <a:cubicBezTo>
                  <a:pt x="91" y="36"/>
                  <a:pt x="92" y="33"/>
                  <a:pt x="92" y="31"/>
                </a:cubicBezTo>
                <a:cubicBezTo>
                  <a:pt x="93" y="29"/>
                  <a:pt x="91" y="28"/>
                  <a:pt x="89" y="29"/>
                </a:cubicBezTo>
                <a:cubicBezTo>
                  <a:pt x="87" y="29"/>
                  <a:pt x="86" y="29"/>
                  <a:pt x="85" y="28"/>
                </a:cubicBezTo>
                <a:cubicBezTo>
                  <a:pt x="85" y="26"/>
                  <a:pt x="85" y="25"/>
                  <a:pt x="88" y="23"/>
                </a:cubicBezTo>
                <a:cubicBezTo>
                  <a:pt x="91" y="21"/>
                  <a:pt x="89" y="19"/>
                  <a:pt x="87" y="18"/>
                </a:cubicBezTo>
                <a:cubicBezTo>
                  <a:pt x="86" y="17"/>
                  <a:pt x="86" y="17"/>
                  <a:pt x="84" y="16"/>
                </a:cubicBezTo>
                <a:cubicBezTo>
                  <a:pt x="82" y="14"/>
                  <a:pt x="83" y="11"/>
                  <a:pt x="83" y="11"/>
                </a:cubicBezTo>
                <a:cubicBezTo>
                  <a:pt x="83" y="11"/>
                  <a:pt x="84" y="4"/>
                  <a:pt x="80" y="5"/>
                </a:cubicBezTo>
                <a:cubicBezTo>
                  <a:pt x="75" y="6"/>
                  <a:pt x="76" y="9"/>
                  <a:pt x="73" y="9"/>
                </a:cubicBezTo>
                <a:cubicBezTo>
                  <a:pt x="71" y="10"/>
                  <a:pt x="69" y="8"/>
                  <a:pt x="66" y="7"/>
                </a:cubicBezTo>
                <a:cubicBezTo>
                  <a:pt x="64" y="7"/>
                  <a:pt x="63" y="9"/>
                  <a:pt x="62" y="11"/>
                </a:cubicBezTo>
                <a:cubicBezTo>
                  <a:pt x="61" y="13"/>
                  <a:pt x="58" y="10"/>
                  <a:pt x="58" y="9"/>
                </a:cubicBezTo>
                <a:cubicBezTo>
                  <a:pt x="58" y="8"/>
                  <a:pt x="54" y="8"/>
                  <a:pt x="53" y="9"/>
                </a:cubicBezTo>
                <a:cubicBezTo>
                  <a:pt x="53" y="10"/>
                  <a:pt x="49" y="12"/>
                  <a:pt x="47" y="10"/>
                </a:cubicBezTo>
                <a:cubicBezTo>
                  <a:pt x="46" y="7"/>
                  <a:pt x="47" y="4"/>
                  <a:pt x="47" y="4"/>
                </a:cubicBezTo>
                <a:cubicBezTo>
                  <a:pt x="46" y="3"/>
                  <a:pt x="46" y="2"/>
                  <a:pt x="46" y="2"/>
                </a:cubicBezTo>
                <a:cubicBezTo>
                  <a:pt x="46" y="2"/>
                  <a:pt x="44" y="2"/>
                  <a:pt x="40" y="1"/>
                </a:cubicBezTo>
                <a:cubicBezTo>
                  <a:pt x="36" y="0"/>
                  <a:pt x="29" y="2"/>
                  <a:pt x="29" y="2"/>
                </a:cubicBezTo>
                <a:cubicBezTo>
                  <a:pt x="29" y="2"/>
                  <a:pt x="30" y="10"/>
                  <a:pt x="30" y="11"/>
                </a:cubicBezTo>
                <a:cubicBezTo>
                  <a:pt x="30" y="12"/>
                  <a:pt x="27" y="13"/>
                  <a:pt x="27" y="13"/>
                </a:cubicBezTo>
                <a:cubicBezTo>
                  <a:pt x="27" y="13"/>
                  <a:pt x="19" y="14"/>
                  <a:pt x="15" y="15"/>
                </a:cubicBezTo>
                <a:cubicBezTo>
                  <a:pt x="11" y="16"/>
                  <a:pt x="9" y="19"/>
                  <a:pt x="7" y="22"/>
                </a:cubicBezTo>
                <a:cubicBezTo>
                  <a:pt x="6" y="24"/>
                  <a:pt x="0" y="26"/>
                  <a:pt x="0" y="27"/>
                </a:cubicBezTo>
                <a:cubicBezTo>
                  <a:pt x="1" y="27"/>
                  <a:pt x="1" y="27"/>
                  <a:pt x="1" y="28"/>
                </a:cubicBezTo>
                <a:cubicBezTo>
                  <a:pt x="1" y="29"/>
                  <a:pt x="0" y="30"/>
                  <a:pt x="2" y="30"/>
                </a:cubicBezTo>
                <a:cubicBezTo>
                  <a:pt x="4" y="31"/>
                  <a:pt x="6" y="32"/>
                  <a:pt x="7" y="34"/>
                </a:cubicBezTo>
                <a:cubicBezTo>
                  <a:pt x="8" y="36"/>
                  <a:pt x="7" y="37"/>
                  <a:pt x="9" y="38"/>
                </a:cubicBezTo>
                <a:cubicBezTo>
                  <a:pt x="9" y="38"/>
                  <a:pt x="11" y="40"/>
                  <a:pt x="13" y="42"/>
                </a:cubicBezTo>
                <a:cubicBezTo>
                  <a:pt x="15" y="43"/>
                  <a:pt x="15" y="44"/>
                  <a:pt x="17" y="45"/>
                </a:cubicBezTo>
                <a:cubicBezTo>
                  <a:pt x="18" y="47"/>
                  <a:pt x="20" y="49"/>
                  <a:pt x="20" y="49"/>
                </a:cubicBezTo>
                <a:cubicBezTo>
                  <a:pt x="20" y="49"/>
                  <a:pt x="21" y="49"/>
                  <a:pt x="20" y="51"/>
                </a:cubicBezTo>
                <a:cubicBezTo>
                  <a:pt x="19" y="52"/>
                  <a:pt x="19" y="53"/>
                  <a:pt x="21" y="54"/>
                </a:cubicBezTo>
                <a:cubicBezTo>
                  <a:pt x="22" y="55"/>
                  <a:pt x="23" y="54"/>
                  <a:pt x="24" y="56"/>
                </a:cubicBezTo>
                <a:cubicBezTo>
                  <a:pt x="25" y="58"/>
                  <a:pt x="25" y="62"/>
                  <a:pt x="26" y="6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3" name="Guinea Bissau"/>
          <p:cNvSpPr>
            <a:spLocks/>
          </p:cNvSpPr>
          <p:nvPr/>
        </p:nvSpPr>
        <p:spPr bwMode="auto">
          <a:xfrm>
            <a:off x="5742057" y="3652440"/>
            <a:ext cx="104626" cy="67426"/>
          </a:xfrm>
          <a:custGeom>
            <a:avLst/>
            <a:gdLst>
              <a:gd name="connsiteX0" fmla="*/ 13328 w 101699"/>
              <a:gd name="connsiteY0" fmla="*/ 55958 h 65540"/>
              <a:gd name="connsiteX1" fmla="*/ 17561 w 101699"/>
              <a:gd name="connsiteY1" fmla="*/ 57943 h 65540"/>
              <a:gd name="connsiteX2" fmla="*/ 11211 w 101699"/>
              <a:gd name="connsiteY2" fmla="*/ 59927 h 65540"/>
              <a:gd name="connsiteX3" fmla="*/ 13328 w 101699"/>
              <a:gd name="connsiteY3" fmla="*/ 55958 h 65540"/>
              <a:gd name="connsiteX4" fmla="*/ 25498 w 101699"/>
              <a:gd name="connsiteY4" fmla="*/ 52387 h 65540"/>
              <a:gd name="connsiteX5" fmla="*/ 27615 w 101699"/>
              <a:gd name="connsiteY5" fmla="*/ 56469 h 65540"/>
              <a:gd name="connsiteX6" fmla="*/ 29731 w 101699"/>
              <a:gd name="connsiteY6" fmla="*/ 60551 h 65540"/>
              <a:gd name="connsiteX7" fmla="*/ 31848 w 101699"/>
              <a:gd name="connsiteY7" fmla="*/ 64633 h 65540"/>
              <a:gd name="connsiteX8" fmla="*/ 25498 w 101699"/>
              <a:gd name="connsiteY8" fmla="*/ 64633 h 65540"/>
              <a:gd name="connsiteX9" fmla="*/ 21265 w 101699"/>
              <a:gd name="connsiteY9" fmla="*/ 64633 h 65540"/>
              <a:gd name="connsiteX10" fmla="*/ 19148 w 101699"/>
              <a:gd name="connsiteY10" fmla="*/ 60551 h 65540"/>
              <a:gd name="connsiteX11" fmla="*/ 21265 w 101699"/>
              <a:gd name="connsiteY11" fmla="*/ 60551 h 65540"/>
              <a:gd name="connsiteX12" fmla="*/ 21265 w 101699"/>
              <a:gd name="connsiteY12" fmla="*/ 56469 h 65540"/>
              <a:gd name="connsiteX13" fmla="*/ 25498 w 101699"/>
              <a:gd name="connsiteY13" fmla="*/ 52387 h 65540"/>
              <a:gd name="connsiteX14" fmla="*/ 11211 w 101699"/>
              <a:gd name="connsiteY14" fmla="*/ 46433 h 65540"/>
              <a:gd name="connsiteX15" fmla="*/ 15974 w 101699"/>
              <a:gd name="connsiteY15" fmla="*/ 46433 h 65540"/>
              <a:gd name="connsiteX16" fmla="*/ 13593 w 101699"/>
              <a:gd name="connsiteY16" fmla="*/ 50402 h 65540"/>
              <a:gd name="connsiteX17" fmla="*/ 11211 w 101699"/>
              <a:gd name="connsiteY17" fmla="*/ 46433 h 65540"/>
              <a:gd name="connsiteX18" fmla="*/ 29731 w 101699"/>
              <a:gd name="connsiteY18" fmla="*/ 46037 h 65540"/>
              <a:gd name="connsiteX19" fmla="*/ 29731 w 101699"/>
              <a:gd name="connsiteY19" fmla="*/ 50270 h 65540"/>
              <a:gd name="connsiteX20" fmla="*/ 25498 w 101699"/>
              <a:gd name="connsiteY20" fmla="*/ 48154 h 65540"/>
              <a:gd name="connsiteX21" fmla="*/ 29731 w 101699"/>
              <a:gd name="connsiteY21" fmla="*/ 46037 h 65540"/>
              <a:gd name="connsiteX22" fmla="*/ 19678 w 101699"/>
              <a:gd name="connsiteY22" fmla="*/ 44449 h 65540"/>
              <a:gd name="connsiteX23" fmla="*/ 23911 w 101699"/>
              <a:gd name="connsiteY23" fmla="*/ 46037 h 65540"/>
              <a:gd name="connsiteX24" fmla="*/ 19678 w 101699"/>
              <a:gd name="connsiteY24" fmla="*/ 47624 h 65540"/>
              <a:gd name="connsiteX25" fmla="*/ 17561 w 101699"/>
              <a:gd name="connsiteY25" fmla="*/ 46037 h 65540"/>
              <a:gd name="connsiteX26" fmla="*/ 19678 w 101699"/>
              <a:gd name="connsiteY26" fmla="*/ 44449 h 65540"/>
              <a:gd name="connsiteX27" fmla="*/ 75902 w 101699"/>
              <a:gd name="connsiteY27" fmla="*/ 0 h 65540"/>
              <a:gd name="connsiteX28" fmla="*/ 91777 w 101699"/>
              <a:gd name="connsiteY28" fmla="*/ 2025 h 65540"/>
              <a:gd name="connsiteX29" fmla="*/ 99715 w 101699"/>
              <a:gd name="connsiteY29" fmla="*/ 8102 h 65540"/>
              <a:gd name="connsiteX30" fmla="*/ 101699 w 101699"/>
              <a:gd name="connsiteY30" fmla="*/ 26330 h 65540"/>
              <a:gd name="connsiteX31" fmla="*/ 95746 w 101699"/>
              <a:gd name="connsiteY31" fmla="*/ 30381 h 65540"/>
              <a:gd name="connsiteX32" fmla="*/ 71933 w 101699"/>
              <a:gd name="connsiteY32" fmla="*/ 34432 h 65540"/>
              <a:gd name="connsiteX33" fmla="*/ 56058 w 101699"/>
              <a:gd name="connsiteY33" fmla="*/ 48610 h 65540"/>
              <a:gd name="connsiteX34" fmla="*/ 42168 w 101699"/>
              <a:gd name="connsiteY34" fmla="*/ 58737 h 65540"/>
              <a:gd name="connsiteX35" fmla="*/ 38199 w 101699"/>
              <a:gd name="connsiteY35" fmla="*/ 56712 h 65540"/>
              <a:gd name="connsiteX36" fmla="*/ 34230 w 101699"/>
              <a:gd name="connsiteY36" fmla="*/ 46585 h 65540"/>
              <a:gd name="connsiteX37" fmla="*/ 30261 w 101699"/>
              <a:gd name="connsiteY37" fmla="*/ 38483 h 65540"/>
              <a:gd name="connsiteX38" fmla="*/ 22324 w 101699"/>
              <a:gd name="connsiteY38" fmla="*/ 34432 h 65540"/>
              <a:gd name="connsiteX39" fmla="*/ 10417 w 101699"/>
              <a:gd name="connsiteY39" fmla="*/ 32406 h 65540"/>
              <a:gd name="connsiteX40" fmla="*/ 10417 w 101699"/>
              <a:gd name="connsiteY40" fmla="*/ 24305 h 65540"/>
              <a:gd name="connsiteX41" fmla="*/ 2480 w 101699"/>
              <a:gd name="connsiteY41" fmla="*/ 22279 h 65540"/>
              <a:gd name="connsiteX42" fmla="*/ 495 w 101699"/>
              <a:gd name="connsiteY42" fmla="*/ 18229 h 65540"/>
              <a:gd name="connsiteX43" fmla="*/ 495 w 101699"/>
              <a:gd name="connsiteY43" fmla="*/ 8102 h 65540"/>
              <a:gd name="connsiteX44" fmla="*/ 28277 w 101699"/>
              <a:gd name="connsiteY44" fmla="*/ 8102 h 65540"/>
              <a:gd name="connsiteX45" fmla="*/ 52090 w 101699"/>
              <a:gd name="connsiteY45" fmla="*/ 4051 h 65540"/>
              <a:gd name="connsiteX46" fmla="*/ 75902 w 101699"/>
              <a:gd name="connsiteY46" fmla="*/ 0 h 6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1699" h="65540">
                <a:moveTo>
                  <a:pt x="13328" y="55958"/>
                </a:moveTo>
                <a:cubicBezTo>
                  <a:pt x="17561" y="53974"/>
                  <a:pt x="17561" y="57943"/>
                  <a:pt x="17561" y="57943"/>
                </a:cubicBezTo>
                <a:cubicBezTo>
                  <a:pt x="17561" y="61911"/>
                  <a:pt x="13328" y="61911"/>
                  <a:pt x="11211" y="59927"/>
                </a:cubicBezTo>
                <a:cubicBezTo>
                  <a:pt x="11211" y="59927"/>
                  <a:pt x="11211" y="57943"/>
                  <a:pt x="13328" y="55958"/>
                </a:cubicBezTo>
                <a:close/>
                <a:moveTo>
                  <a:pt x="25498" y="52387"/>
                </a:moveTo>
                <a:cubicBezTo>
                  <a:pt x="27615" y="52387"/>
                  <a:pt x="27615" y="56469"/>
                  <a:pt x="27615" y="56469"/>
                </a:cubicBezTo>
                <a:cubicBezTo>
                  <a:pt x="27615" y="56469"/>
                  <a:pt x="27615" y="60551"/>
                  <a:pt x="29731" y="60551"/>
                </a:cubicBezTo>
                <a:cubicBezTo>
                  <a:pt x="29731" y="60551"/>
                  <a:pt x="31848" y="62592"/>
                  <a:pt x="31848" y="64633"/>
                </a:cubicBezTo>
                <a:cubicBezTo>
                  <a:pt x="31848" y="66674"/>
                  <a:pt x="27615" y="64633"/>
                  <a:pt x="25498" y="64633"/>
                </a:cubicBezTo>
                <a:cubicBezTo>
                  <a:pt x="25498" y="64633"/>
                  <a:pt x="23381" y="64633"/>
                  <a:pt x="21265" y="64633"/>
                </a:cubicBezTo>
                <a:cubicBezTo>
                  <a:pt x="21265" y="64633"/>
                  <a:pt x="19148" y="62592"/>
                  <a:pt x="19148" y="60551"/>
                </a:cubicBezTo>
                <a:cubicBezTo>
                  <a:pt x="19148" y="60551"/>
                  <a:pt x="21265" y="60551"/>
                  <a:pt x="21265" y="60551"/>
                </a:cubicBezTo>
                <a:cubicBezTo>
                  <a:pt x="21265" y="60551"/>
                  <a:pt x="21265" y="56469"/>
                  <a:pt x="21265" y="56469"/>
                </a:cubicBezTo>
                <a:cubicBezTo>
                  <a:pt x="21265" y="56469"/>
                  <a:pt x="21265" y="52387"/>
                  <a:pt x="25498" y="52387"/>
                </a:cubicBezTo>
                <a:close/>
                <a:moveTo>
                  <a:pt x="11211" y="46433"/>
                </a:moveTo>
                <a:cubicBezTo>
                  <a:pt x="11211" y="44449"/>
                  <a:pt x="15974" y="46433"/>
                  <a:pt x="15974" y="46433"/>
                </a:cubicBezTo>
                <a:cubicBezTo>
                  <a:pt x="15974" y="46433"/>
                  <a:pt x="15974" y="50402"/>
                  <a:pt x="13593" y="50402"/>
                </a:cubicBezTo>
                <a:cubicBezTo>
                  <a:pt x="13593" y="52386"/>
                  <a:pt x="11211" y="50402"/>
                  <a:pt x="11211" y="46433"/>
                </a:cubicBezTo>
                <a:close/>
                <a:moveTo>
                  <a:pt x="29731" y="46037"/>
                </a:moveTo>
                <a:cubicBezTo>
                  <a:pt x="29731" y="46037"/>
                  <a:pt x="31848" y="48154"/>
                  <a:pt x="29731" y="50270"/>
                </a:cubicBezTo>
                <a:cubicBezTo>
                  <a:pt x="29731" y="52387"/>
                  <a:pt x="25498" y="50270"/>
                  <a:pt x="25498" y="48154"/>
                </a:cubicBezTo>
                <a:cubicBezTo>
                  <a:pt x="25498" y="46037"/>
                  <a:pt x="29731" y="46037"/>
                  <a:pt x="29731" y="46037"/>
                </a:cubicBezTo>
                <a:close/>
                <a:moveTo>
                  <a:pt x="19678" y="44449"/>
                </a:moveTo>
                <a:cubicBezTo>
                  <a:pt x="21794" y="42862"/>
                  <a:pt x="23911" y="46037"/>
                  <a:pt x="23911" y="46037"/>
                </a:cubicBezTo>
                <a:cubicBezTo>
                  <a:pt x="23911" y="47624"/>
                  <a:pt x="19678" y="47624"/>
                  <a:pt x="19678" y="47624"/>
                </a:cubicBezTo>
                <a:cubicBezTo>
                  <a:pt x="19678" y="47624"/>
                  <a:pt x="19678" y="46037"/>
                  <a:pt x="17561" y="46037"/>
                </a:cubicBezTo>
                <a:cubicBezTo>
                  <a:pt x="17561" y="44449"/>
                  <a:pt x="19678" y="44449"/>
                  <a:pt x="19678" y="44449"/>
                </a:cubicBezTo>
                <a:close/>
                <a:moveTo>
                  <a:pt x="75902" y="0"/>
                </a:moveTo>
                <a:cubicBezTo>
                  <a:pt x="81855" y="0"/>
                  <a:pt x="85824" y="2025"/>
                  <a:pt x="91777" y="2025"/>
                </a:cubicBezTo>
                <a:cubicBezTo>
                  <a:pt x="95746" y="2025"/>
                  <a:pt x="97730" y="4051"/>
                  <a:pt x="99715" y="8102"/>
                </a:cubicBezTo>
                <a:cubicBezTo>
                  <a:pt x="99715" y="8102"/>
                  <a:pt x="101699" y="24305"/>
                  <a:pt x="101699" y="26330"/>
                </a:cubicBezTo>
                <a:cubicBezTo>
                  <a:pt x="101699" y="28356"/>
                  <a:pt x="95746" y="30381"/>
                  <a:pt x="95746" y="30381"/>
                </a:cubicBezTo>
                <a:cubicBezTo>
                  <a:pt x="95746" y="30381"/>
                  <a:pt x="79871" y="32406"/>
                  <a:pt x="71933" y="34432"/>
                </a:cubicBezTo>
                <a:cubicBezTo>
                  <a:pt x="63996" y="36457"/>
                  <a:pt x="60027" y="42534"/>
                  <a:pt x="56058" y="48610"/>
                </a:cubicBezTo>
                <a:cubicBezTo>
                  <a:pt x="54074" y="52661"/>
                  <a:pt x="42168" y="56712"/>
                  <a:pt x="42168" y="58737"/>
                </a:cubicBezTo>
                <a:cubicBezTo>
                  <a:pt x="42168" y="56712"/>
                  <a:pt x="38199" y="56712"/>
                  <a:pt x="38199" y="56712"/>
                </a:cubicBezTo>
                <a:cubicBezTo>
                  <a:pt x="34230" y="56712"/>
                  <a:pt x="34230" y="50635"/>
                  <a:pt x="34230" y="46585"/>
                </a:cubicBezTo>
                <a:cubicBezTo>
                  <a:pt x="34230" y="40508"/>
                  <a:pt x="32246" y="40508"/>
                  <a:pt x="30261" y="38483"/>
                </a:cubicBezTo>
                <a:cubicBezTo>
                  <a:pt x="28277" y="38483"/>
                  <a:pt x="22324" y="36457"/>
                  <a:pt x="22324" y="34432"/>
                </a:cubicBezTo>
                <a:cubicBezTo>
                  <a:pt x="20339" y="32406"/>
                  <a:pt x="16371" y="34432"/>
                  <a:pt x="10417" y="32406"/>
                </a:cubicBezTo>
                <a:cubicBezTo>
                  <a:pt x="6448" y="30381"/>
                  <a:pt x="8433" y="28356"/>
                  <a:pt x="10417" y="24305"/>
                </a:cubicBezTo>
                <a:cubicBezTo>
                  <a:pt x="12402" y="22279"/>
                  <a:pt x="6448" y="22279"/>
                  <a:pt x="2480" y="22279"/>
                </a:cubicBezTo>
                <a:cubicBezTo>
                  <a:pt x="-1489" y="22279"/>
                  <a:pt x="495" y="20254"/>
                  <a:pt x="495" y="18229"/>
                </a:cubicBezTo>
                <a:cubicBezTo>
                  <a:pt x="495" y="16203"/>
                  <a:pt x="495" y="12152"/>
                  <a:pt x="495" y="8102"/>
                </a:cubicBezTo>
                <a:cubicBezTo>
                  <a:pt x="495" y="8102"/>
                  <a:pt x="20339" y="8102"/>
                  <a:pt x="28277" y="8102"/>
                </a:cubicBezTo>
                <a:cubicBezTo>
                  <a:pt x="36214" y="10127"/>
                  <a:pt x="48121" y="6076"/>
                  <a:pt x="52090" y="4051"/>
                </a:cubicBezTo>
                <a:cubicBezTo>
                  <a:pt x="56058" y="2025"/>
                  <a:pt x="67965" y="0"/>
                  <a:pt x="75902" y="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4" name="The Gambia"/>
          <p:cNvSpPr>
            <a:spLocks/>
          </p:cNvSpPr>
          <p:nvPr/>
        </p:nvSpPr>
        <p:spPr bwMode="auto">
          <a:xfrm>
            <a:off x="5742160" y="3621412"/>
            <a:ext cx="81659" cy="22865"/>
          </a:xfrm>
          <a:custGeom>
            <a:avLst/>
            <a:gdLst>
              <a:gd name="T0" fmla="*/ 0 w 40"/>
              <a:gd name="T1" fmla="*/ 10 h 11"/>
              <a:gd name="T2" fmla="*/ 12 w 40"/>
              <a:gd name="T3" fmla="*/ 11 h 11"/>
              <a:gd name="T4" fmla="*/ 27 w 40"/>
              <a:gd name="T5" fmla="*/ 9 h 11"/>
              <a:gd name="T6" fmla="*/ 32 w 40"/>
              <a:gd name="T7" fmla="*/ 9 h 11"/>
              <a:gd name="T8" fmla="*/ 37 w 40"/>
              <a:gd name="T9" fmla="*/ 8 h 11"/>
              <a:gd name="T10" fmla="*/ 39 w 40"/>
              <a:gd name="T11" fmla="*/ 4 h 11"/>
              <a:gd name="T12" fmla="*/ 36 w 40"/>
              <a:gd name="T13" fmla="*/ 4 h 11"/>
              <a:gd name="T14" fmla="*/ 32 w 40"/>
              <a:gd name="T15" fmla="*/ 2 h 11"/>
              <a:gd name="T16" fmla="*/ 24 w 40"/>
              <a:gd name="T17" fmla="*/ 1 h 11"/>
              <a:gd name="T18" fmla="*/ 14 w 40"/>
              <a:gd name="T19" fmla="*/ 4 h 11"/>
              <a:gd name="T20" fmla="*/ 7 w 40"/>
              <a:gd name="T21" fmla="*/ 4 h 11"/>
              <a:gd name="T22" fmla="*/ 2 w 40"/>
              <a:gd name="T23" fmla="*/ 4 h 11"/>
              <a:gd name="T24" fmla="*/ 0 w 4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1">
                <a:moveTo>
                  <a:pt x="0" y="10"/>
                </a:moveTo>
                <a:cubicBezTo>
                  <a:pt x="0" y="10"/>
                  <a:pt x="9" y="11"/>
                  <a:pt x="12" y="11"/>
                </a:cubicBezTo>
                <a:cubicBezTo>
                  <a:pt x="15" y="10"/>
                  <a:pt x="24" y="10"/>
                  <a:pt x="27" y="9"/>
                </a:cubicBezTo>
                <a:cubicBezTo>
                  <a:pt x="29" y="9"/>
                  <a:pt x="32" y="9"/>
                  <a:pt x="32" y="9"/>
                </a:cubicBezTo>
                <a:cubicBezTo>
                  <a:pt x="32" y="9"/>
                  <a:pt x="36" y="9"/>
                  <a:pt x="37" y="8"/>
                </a:cubicBezTo>
                <a:cubicBezTo>
                  <a:pt x="38" y="7"/>
                  <a:pt x="40" y="5"/>
                  <a:pt x="39" y="4"/>
                </a:cubicBezTo>
                <a:cubicBezTo>
                  <a:pt x="39" y="3"/>
                  <a:pt x="36" y="4"/>
                  <a:pt x="36" y="4"/>
                </a:cubicBezTo>
                <a:cubicBezTo>
                  <a:pt x="36" y="4"/>
                  <a:pt x="34" y="3"/>
                  <a:pt x="32" y="2"/>
                </a:cubicBezTo>
                <a:cubicBezTo>
                  <a:pt x="30" y="1"/>
                  <a:pt x="26" y="0"/>
                  <a:pt x="24" y="1"/>
                </a:cubicBezTo>
                <a:cubicBezTo>
                  <a:pt x="21" y="2"/>
                  <a:pt x="16" y="3"/>
                  <a:pt x="14" y="4"/>
                </a:cubicBezTo>
                <a:cubicBezTo>
                  <a:pt x="12" y="4"/>
                  <a:pt x="7" y="4"/>
                  <a:pt x="7" y="4"/>
                </a:cubicBezTo>
                <a:cubicBezTo>
                  <a:pt x="2" y="4"/>
                  <a:pt x="2" y="4"/>
                  <a:pt x="2" y="4"/>
                </a:cubicBezTo>
                <a:cubicBezTo>
                  <a:pt x="2" y="6"/>
                  <a:pt x="1" y="9"/>
                  <a:pt x="0" y="1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5" name="Senegal"/>
          <p:cNvSpPr>
            <a:spLocks noEditPoints="1"/>
          </p:cNvSpPr>
          <p:nvPr/>
        </p:nvSpPr>
        <p:spPr bwMode="auto">
          <a:xfrm>
            <a:off x="5735627" y="3529951"/>
            <a:ext cx="148621" cy="132288"/>
          </a:xfrm>
          <a:custGeom>
            <a:avLst/>
            <a:gdLst>
              <a:gd name="T0" fmla="*/ 17 w 72"/>
              <a:gd name="T1" fmla="*/ 64 h 65"/>
              <a:gd name="T2" fmla="*/ 41 w 72"/>
              <a:gd name="T3" fmla="*/ 60 h 65"/>
              <a:gd name="T4" fmla="*/ 53 w 72"/>
              <a:gd name="T5" fmla="*/ 64 h 65"/>
              <a:gd name="T6" fmla="*/ 70 w 72"/>
              <a:gd name="T7" fmla="*/ 64 h 65"/>
              <a:gd name="T8" fmla="*/ 72 w 72"/>
              <a:gd name="T9" fmla="*/ 59 h 65"/>
              <a:gd name="T10" fmla="*/ 66 w 72"/>
              <a:gd name="T11" fmla="*/ 44 h 65"/>
              <a:gd name="T12" fmla="*/ 65 w 72"/>
              <a:gd name="T13" fmla="*/ 33 h 65"/>
              <a:gd name="T14" fmla="*/ 58 w 72"/>
              <a:gd name="T15" fmla="*/ 27 h 65"/>
              <a:gd name="T16" fmla="*/ 52 w 72"/>
              <a:gd name="T17" fmla="*/ 19 h 65"/>
              <a:gd name="T18" fmla="*/ 41 w 72"/>
              <a:gd name="T19" fmla="*/ 7 h 65"/>
              <a:gd name="T20" fmla="*/ 31 w 72"/>
              <a:gd name="T21" fmla="*/ 0 h 65"/>
              <a:gd name="T22" fmla="*/ 13 w 72"/>
              <a:gd name="T23" fmla="*/ 2 h 65"/>
              <a:gd name="T24" fmla="*/ 8 w 72"/>
              <a:gd name="T25" fmla="*/ 6 h 65"/>
              <a:gd name="T26" fmla="*/ 5 w 72"/>
              <a:gd name="T27" fmla="*/ 16 h 65"/>
              <a:gd name="T28" fmla="*/ 4 w 72"/>
              <a:gd name="T29" fmla="*/ 23 h 65"/>
              <a:gd name="T30" fmla="*/ 5 w 72"/>
              <a:gd name="T31" fmla="*/ 47 h 65"/>
              <a:gd name="T32" fmla="*/ 5 w 72"/>
              <a:gd name="T33" fmla="*/ 49 h 65"/>
              <a:gd name="T34" fmla="*/ 17 w 72"/>
              <a:gd name="T35" fmla="*/ 49 h 65"/>
              <a:gd name="T36" fmla="*/ 35 w 72"/>
              <a:gd name="T37" fmla="*/ 47 h 65"/>
              <a:gd name="T38" fmla="*/ 42 w 72"/>
              <a:gd name="T39" fmla="*/ 49 h 65"/>
              <a:gd name="T40" fmla="*/ 35 w 72"/>
              <a:gd name="T41" fmla="*/ 54 h 65"/>
              <a:gd name="T42" fmla="*/ 15 w 72"/>
              <a:gd name="T43" fmla="*/ 56 h 65"/>
              <a:gd name="T44" fmla="*/ 4 w 72"/>
              <a:gd name="T45" fmla="*/ 64 h 65"/>
              <a:gd name="T46" fmla="*/ 4 w 72"/>
              <a:gd name="T47" fmla="*/ 54 h 65"/>
              <a:gd name="T48" fmla="*/ 4 w 72"/>
              <a:gd name="T49" fmla="*/ 64 h 65"/>
              <a:gd name="T50" fmla="*/ 3 w 72"/>
              <a:gd name="T51" fmla="*/ 55 h 65"/>
              <a:gd name="T52" fmla="*/ 3 w 72"/>
              <a:gd name="T53" fmla="*/ 56 h 65"/>
              <a:gd name="T54" fmla="*/ 3 w 72"/>
              <a:gd name="T55" fmla="*/ 64 h 65"/>
              <a:gd name="T56" fmla="*/ 3 w 72"/>
              <a:gd name="T57" fmla="*/ 26 h 65"/>
              <a:gd name="T58" fmla="*/ 1 w 72"/>
              <a:gd name="T59" fmla="*/ 39 h 65"/>
              <a:gd name="T60" fmla="*/ 4 w 72"/>
              <a:gd name="T61" fmla="*/ 23 h 65"/>
              <a:gd name="T62" fmla="*/ 4 w 72"/>
              <a:gd name="T6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65">
                <a:moveTo>
                  <a:pt x="4" y="64"/>
                </a:moveTo>
                <a:cubicBezTo>
                  <a:pt x="6" y="64"/>
                  <a:pt x="14" y="64"/>
                  <a:pt x="17" y="64"/>
                </a:cubicBezTo>
                <a:cubicBezTo>
                  <a:pt x="21" y="65"/>
                  <a:pt x="27" y="63"/>
                  <a:pt x="29" y="62"/>
                </a:cubicBezTo>
                <a:cubicBezTo>
                  <a:pt x="31" y="61"/>
                  <a:pt x="37" y="60"/>
                  <a:pt x="41" y="60"/>
                </a:cubicBezTo>
                <a:cubicBezTo>
                  <a:pt x="44" y="60"/>
                  <a:pt x="46" y="61"/>
                  <a:pt x="49" y="61"/>
                </a:cubicBezTo>
                <a:cubicBezTo>
                  <a:pt x="51" y="61"/>
                  <a:pt x="52" y="62"/>
                  <a:pt x="53" y="64"/>
                </a:cubicBezTo>
                <a:cubicBezTo>
                  <a:pt x="53" y="64"/>
                  <a:pt x="60" y="62"/>
                  <a:pt x="64" y="63"/>
                </a:cubicBezTo>
                <a:cubicBezTo>
                  <a:pt x="68" y="64"/>
                  <a:pt x="70" y="64"/>
                  <a:pt x="70" y="64"/>
                </a:cubicBezTo>
                <a:cubicBezTo>
                  <a:pt x="71" y="62"/>
                  <a:pt x="71" y="62"/>
                  <a:pt x="71" y="62"/>
                </a:cubicBezTo>
                <a:cubicBezTo>
                  <a:pt x="71" y="62"/>
                  <a:pt x="72" y="61"/>
                  <a:pt x="72" y="59"/>
                </a:cubicBezTo>
                <a:cubicBezTo>
                  <a:pt x="72" y="57"/>
                  <a:pt x="71" y="53"/>
                  <a:pt x="70" y="50"/>
                </a:cubicBezTo>
                <a:cubicBezTo>
                  <a:pt x="68" y="48"/>
                  <a:pt x="66" y="44"/>
                  <a:pt x="66" y="44"/>
                </a:cubicBezTo>
                <a:cubicBezTo>
                  <a:pt x="66" y="44"/>
                  <a:pt x="66" y="44"/>
                  <a:pt x="66" y="41"/>
                </a:cubicBezTo>
                <a:cubicBezTo>
                  <a:pt x="67" y="37"/>
                  <a:pt x="65" y="33"/>
                  <a:pt x="65" y="33"/>
                </a:cubicBezTo>
                <a:cubicBezTo>
                  <a:pt x="65" y="33"/>
                  <a:pt x="64" y="28"/>
                  <a:pt x="63" y="27"/>
                </a:cubicBezTo>
                <a:cubicBezTo>
                  <a:pt x="63" y="26"/>
                  <a:pt x="60" y="27"/>
                  <a:pt x="58" y="27"/>
                </a:cubicBezTo>
                <a:cubicBezTo>
                  <a:pt x="56" y="27"/>
                  <a:pt x="55" y="26"/>
                  <a:pt x="54" y="22"/>
                </a:cubicBezTo>
                <a:cubicBezTo>
                  <a:pt x="54" y="19"/>
                  <a:pt x="53" y="20"/>
                  <a:pt x="52" y="19"/>
                </a:cubicBezTo>
                <a:cubicBezTo>
                  <a:pt x="51" y="18"/>
                  <a:pt x="50" y="16"/>
                  <a:pt x="48" y="13"/>
                </a:cubicBezTo>
                <a:cubicBezTo>
                  <a:pt x="47" y="9"/>
                  <a:pt x="42" y="7"/>
                  <a:pt x="41" y="7"/>
                </a:cubicBezTo>
                <a:cubicBezTo>
                  <a:pt x="39" y="6"/>
                  <a:pt x="40" y="3"/>
                  <a:pt x="39" y="1"/>
                </a:cubicBezTo>
                <a:cubicBezTo>
                  <a:pt x="37" y="0"/>
                  <a:pt x="34" y="0"/>
                  <a:pt x="31" y="0"/>
                </a:cubicBezTo>
                <a:cubicBezTo>
                  <a:pt x="29" y="1"/>
                  <a:pt x="20" y="0"/>
                  <a:pt x="20" y="0"/>
                </a:cubicBezTo>
                <a:cubicBezTo>
                  <a:pt x="20" y="0"/>
                  <a:pt x="15" y="0"/>
                  <a:pt x="13" y="2"/>
                </a:cubicBezTo>
                <a:cubicBezTo>
                  <a:pt x="11" y="3"/>
                  <a:pt x="8" y="2"/>
                  <a:pt x="8" y="2"/>
                </a:cubicBezTo>
                <a:cubicBezTo>
                  <a:pt x="8" y="4"/>
                  <a:pt x="8" y="5"/>
                  <a:pt x="8" y="6"/>
                </a:cubicBezTo>
                <a:cubicBezTo>
                  <a:pt x="8" y="7"/>
                  <a:pt x="7" y="10"/>
                  <a:pt x="6" y="11"/>
                </a:cubicBezTo>
                <a:cubicBezTo>
                  <a:pt x="5" y="12"/>
                  <a:pt x="5" y="16"/>
                  <a:pt x="5" y="16"/>
                </a:cubicBezTo>
                <a:cubicBezTo>
                  <a:pt x="5" y="16"/>
                  <a:pt x="6" y="20"/>
                  <a:pt x="5" y="21"/>
                </a:cubicBezTo>
                <a:cubicBezTo>
                  <a:pt x="5" y="22"/>
                  <a:pt x="4" y="22"/>
                  <a:pt x="4" y="23"/>
                </a:cubicBezTo>
                <a:cubicBezTo>
                  <a:pt x="4" y="43"/>
                  <a:pt x="4" y="43"/>
                  <a:pt x="4" y="43"/>
                </a:cubicBezTo>
                <a:cubicBezTo>
                  <a:pt x="5" y="45"/>
                  <a:pt x="5" y="47"/>
                  <a:pt x="5" y="47"/>
                </a:cubicBezTo>
                <a:cubicBezTo>
                  <a:pt x="5" y="48"/>
                  <a:pt x="5" y="49"/>
                  <a:pt x="5" y="49"/>
                </a:cubicBezTo>
                <a:cubicBezTo>
                  <a:pt x="5" y="49"/>
                  <a:pt x="5" y="49"/>
                  <a:pt x="5" y="49"/>
                </a:cubicBezTo>
                <a:cubicBezTo>
                  <a:pt x="10" y="49"/>
                  <a:pt x="10" y="49"/>
                  <a:pt x="10" y="49"/>
                </a:cubicBezTo>
                <a:cubicBezTo>
                  <a:pt x="10" y="49"/>
                  <a:pt x="15" y="49"/>
                  <a:pt x="17" y="49"/>
                </a:cubicBezTo>
                <a:cubicBezTo>
                  <a:pt x="19" y="48"/>
                  <a:pt x="24" y="47"/>
                  <a:pt x="27" y="46"/>
                </a:cubicBezTo>
                <a:cubicBezTo>
                  <a:pt x="29" y="45"/>
                  <a:pt x="33" y="46"/>
                  <a:pt x="35" y="47"/>
                </a:cubicBezTo>
                <a:cubicBezTo>
                  <a:pt x="37" y="48"/>
                  <a:pt x="39" y="49"/>
                  <a:pt x="39" y="49"/>
                </a:cubicBezTo>
                <a:cubicBezTo>
                  <a:pt x="39" y="49"/>
                  <a:pt x="42" y="48"/>
                  <a:pt x="42" y="49"/>
                </a:cubicBezTo>
                <a:cubicBezTo>
                  <a:pt x="43" y="50"/>
                  <a:pt x="41" y="52"/>
                  <a:pt x="40" y="53"/>
                </a:cubicBezTo>
                <a:cubicBezTo>
                  <a:pt x="39" y="54"/>
                  <a:pt x="35" y="54"/>
                  <a:pt x="35" y="54"/>
                </a:cubicBezTo>
                <a:cubicBezTo>
                  <a:pt x="35" y="54"/>
                  <a:pt x="32" y="54"/>
                  <a:pt x="30" y="54"/>
                </a:cubicBezTo>
                <a:cubicBezTo>
                  <a:pt x="27" y="55"/>
                  <a:pt x="18" y="55"/>
                  <a:pt x="15" y="56"/>
                </a:cubicBezTo>
                <a:cubicBezTo>
                  <a:pt x="12" y="56"/>
                  <a:pt x="6" y="56"/>
                  <a:pt x="4" y="55"/>
                </a:cubicBezTo>
                <a:cubicBezTo>
                  <a:pt x="4" y="64"/>
                  <a:pt x="4" y="64"/>
                  <a:pt x="4" y="64"/>
                </a:cubicBezTo>
                <a:close/>
                <a:moveTo>
                  <a:pt x="4" y="54"/>
                </a:moveTo>
                <a:cubicBezTo>
                  <a:pt x="4" y="54"/>
                  <a:pt x="4" y="54"/>
                  <a:pt x="4" y="54"/>
                </a:cubicBezTo>
                <a:close/>
                <a:moveTo>
                  <a:pt x="3" y="64"/>
                </a:moveTo>
                <a:cubicBezTo>
                  <a:pt x="4" y="64"/>
                  <a:pt x="4" y="64"/>
                  <a:pt x="4" y="64"/>
                </a:cubicBezTo>
                <a:cubicBezTo>
                  <a:pt x="4" y="55"/>
                  <a:pt x="4" y="55"/>
                  <a:pt x="4" y="55"/>
                </a:cubicBezTo>
                <a:cubicBezTo>
                  <a:pt x="3" y="55"/>
                  <a:pt x="3" y="55"/>
                  <a:pt x="3" y="55"/>
                </a:cubicBezTo>
                <a:cubicBezTo>
                  <a:pt x="3" y="55"/>
                  <a:pt x="3" y="55"/>
                  <a:pt x="3" y="55"/>
                </a:cubicBezTo>
                <a:cubicBezTo>
                  <a:pt x="3" y="55"/>
                  <a:pt x="3" y="56"/>
                  <a:pt x="3" y="56"/>
                </a:cubicBezTo>
                <a:cubicBezTo>
                  <a:pt x="2" y="58"/>
                  <a:pt x="3" y="62"/>
                  <a:pt x="3" y="62"/>
                </a:cubicBezTo>
                <a:cubicBezTo>
                  <a:pt x="3" y="62"/>
                  <a:pt x="3" y="63"/>
                  <a:pt x="3" y="64"/>
                </a:cubicBezTo>
                <a:close/>
                <a:moveTo>
                  <a:pt x="4" y="23"/>
                </a:moveTo>
                <a:cubicBezTo>
                  <a:pt x="3" y="24"/>
                  <a:pt x="3" y="25"/>
                  <a:pt x="3" y="26"/>
                </a:cubicBezTo>
                <a:cubicBezTo>
                  <a:pt x="2" y="26"/>
                  <a:pt x="0" y="29"/>
                  <a:pt x="0" y="33"/>
                </a:cubicBezTo>
                <a:cubicBezTo>
                  <a:pt x="0" y="37"/>
                  <a:pt x="1" y="39"/>
                  <a:pt x="1" y="39"/>
                </a:cubicBezTo>
                <a:cubicBezTo>
                  <a:pt x="2" y="40"/>
                  <a:pt x="3" y="42"/>
                  <a:pt x="4" y="43"/>
                </a:cubicBezTo>
                <a:cubicBezTo>
                  <a:pt x="4" y="23"/>
                  <a:pt x="4" y="23"/>
                  <a:pt x="4" y="23"/>
                </a:cubicBezTo>
                <a:close/>
                <a:moveTo>
                  <a:pt x="4" y="54"/>
                </a:moveTo>
                <a:cubicBezTo>
                  <a:pt x="4" y="54"/>
                  <a:pt x="4" y="54"/>
                  <a:pt x="4" y="5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6" name="Mauritania"/>
          <p:cNvSpPr>
            <a:spLocks/>
          </p:cNvSpPr>
          <p:nvPr/>
        </p:nvSpPr>
        <p:spPr bwMode="auto">
          <a:xfrm>
            <a:off x="5737261" y="3173916"/>
            <a:ext cx="320105" cy="411564"/>
          </a:xfrm>
          <a:custGeom>
            <a:avLst/>
            <a:gdLst>
              <a:gd name="T0" fmla="*/ 12 w 156"/>
              <a:gd name="T1" fmla="*/ 175 h 200"/>
              <a:gd name="T2" fmla="*/ 30 w 156"/>
              <a:gd name="T3" fmla="*/ 173 h 200"/>
              <a:gd name="T4" fmla="*/ 40 w 156"/>
              <a:gd name="T5" fmla="*/ 180 h 200"/>
              <a:gd name="T6" fmla="*/ 51 w 156"/>
              <a:gd name="T7" fmla="*/ 192 h 200"/>
              <a:gd name="T8" fmla="*/ 57 w 156"/>
              <a:gd name="T9" fmla="*/ 200 h 200"/>
              <a:gd name="T10" fmla="*/ 62 w 156"/>
              <a:gd name="T11" fmla="*/ 200 h 200"/>
              <a:gd name="T12" fmla="*/ 71 w 156"/>
              <a:gd name="T13" fmla="*/ 192 h 200"/>
              <a:gd name="T14" fmla="*/ 80 w 156"/>
              <a:gd name="T15" fmla="*/ 197 h 200"/>
              <a:gd name="T16" fmla="*/ 90 w 156"/>
              <a:gd name="T17" fmla="*/ 193 h 200"/>
              <a:gd name="T18" fmla="*/ 98 w 156"/>
              <a:gd name="T19" fmla="*/ 190 h 200"/>
              <a:gd name="T20" fmla="*/ 109 w 156"/>
              <a:gd name="T21" fmla="*/ 192 h 200"/>
              <a:gd name="T22" fmla="*/ 149 w 156"/>
              <a:gd name="T23" fmla="*/ 191 h 200"/>
              <a:gd name="T24" fmla="*/ 152 w 156"/>
              <a:gd name="T25" fmla="*/ 179 h 200"/>
              <a:gd name="T26" fmla="*/ 147 w 156"/>
              <a:gd name="T27" fmla="*/ 162 h 200"/>
              <a:gd name="T28" fmla="*/ 142 w 156"/>
              <a:gd name="T29" fmla="*/ 100 h 200"/>
              <a:gd name="T30" fmla="*/ 139 w 156"/>
              <a:gd name="T31" fmla="*/ 57 h 200"/>
              <a:gd name="T32" fmla="*/ 136 w 156"/>
              <a:gd name="T33" fmla="*/ 40 h 200"/>
              <a:gd name="T34" fmla="*/ 143 w 156"/>
              <a:gd name="T35" fmla="*/ 30 h 200"/>
              <a:gd name="T36" fmla="*/ 106 w 156"/>
              <a:gd name="T37" fmla="*/ 26 h 200"/>
              <a:gd name="T38" fmla="*/ 98 w 156"/>
              <a:gd name="T39" fmla="*/ 28 h 200"/>
              <a:gd name="T40" fmla="*/ 67 w 156"/>
              <a:gd name="T41" fmla="*/ 26 h 200"/>
              <a:gd name="T42" fmla="*/ 65 w 156"/>
              <a:gd name="T43" fmla="*/ 66 h 200"/>
              <a:gd name="T44" fmla="*/ 51 w 156"/>
              <a:gd name="T45" fmla="*/ 76 h 200"/>
              <a:gd name="T46" fmla="*/ 49 w 156"/>
              <a:gd name="T47" fmla="*/ 101 h 200"/>
              <a:gd name="T48" fmla="*/ 22 w 156"/>
              <a:gd name="T49" fmla="*/ 100 h 200"/>
              <a:gd name="T50" fmla="*/ 3 w 156"/>
              <a:gd name="T51" fmla="*/ 100 h 200"/>
              <a:gd name="T52" fmla="*/ 0 w 156"/>
              <a:gd name="T53" fmla="*/ 104 h 200"/>
              <a:gd name="T54" fmla="*/ 3 w 156"/>
              <a:gd name="T55" fmla="*/ 108 h 200"/>
              <a:gd name="T56" fmla="*/ 6 w 156"/>
              <a:gd name="T57" fmla="*/ 111 h 200"/>
              <a:gd name="T58" fmla="*/ 10 w 156"/>
              <a:gd name="T59" fmla="*/ 116 h 200"/>
              <a:gd name="T60" fmla="*/ 10 w 156"/>
              <a:gd name="T61" fmla="*/ 122 h 200"/>
              <a:gd name="T62" fmla="*/ 9 w 156"/>
              <a:gd name="T63" fmla="*/ 130 h 200"/>
              <a:gd name="T64" fmla="*/ 9 w 156"/>
              <a:gd name="T65" fmla="*/ 135 h 200"/>
              <a:gd name="T66" fmla="*/ 9 w 156"/>
              <a:gd name="T67" fmla="*/ 139 h 200"/>
              <a:gd name="T68" fmla="*/ 10 w 156"/>
              <a:gd name="T69" fmla="*/ 148 h 200"/>
              <a:gd name="T70" fmla="*/ 11 w 156"/>
              <a:gd name="T71" fmla="*/ 154 h 200"/>
              <a:gd name="T72" fmla="*/ 10 w 156"/>
              <a:gd name="T73" fmla="*/ 168 h 200"/>
              <a:gd name="T74" fmla="*/ 7 w 156"/>
              <a:gd name="T75" fmla="*/ 1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200">
                <a:moveTo>
                  <a:pt x="7" y="175"/>
                </a:moveTo>
                <a:cubicBezTo>
                  <a:pt x="7" y="175"/>
                  <a:pt x="10" y="176"/>
                  <a:pt x="12" y="175"/>
                </a:cubicBezTo>
                <a:cubicBezTo>
                  <a:pt x="14" y="173"/>
                  <a:pt x="19" y="173"/>
                  <a:pt x="19" y="173"/>
                </a:cubicBezTo>
                <a:cubicBezTo>
                  <a:pt x="19" y="173"/>
                  <a:pt x="28" y="174"/>
                  <a:pt x="30" y="173"/>
                </a:cubicBezTo>
                <a:cubicBezTo>
                  <a:pt x="33" y="173"/>
                  <a:pt x="36" y="173"/>
                  <a:pt x="38" y="174"/>
                </a:cubicBezTo>
                <a:cubicBezTo>
                  <a:pt x="39" y="176"/>
                  <a:pt x="38" y="179"/>
                  <a:pt x="40" y="180"/>
                </a:cubicBezTo>
                <a:cubicBezTo>
                  <a:pt x="41" y="180"/>
                  <a:pt x="46" y="182"/>
                  <a:pt x="47" y="186"/>
                </a:cubicBezTo>
                <a:cubicBezTo>
                  <a:pt x="49" y="189"/>
                  <a:pt x="50" y="191"/>
                  <a:pt x="51" y="192"/>
                </a:cubicBezTo>
                <a:cubicBezTo>
                  <a:pt x="52" y="193"/>
                  <a:pt x="53" y="192"/>
                  <a:pt x="53" y="195"/>
                </a:cubicBezTo>
                <a:cubicBezTo>
                  <a:pt x="54" y="199"/>
                  <a:pt x="55" y="200"/>
                  <a:pt x="57" y="200"/>
                </a:cubicBezTo>
                <a:cubicBezTo>
                  <a:pt x="59" y="200"/>
                  <a:pt x="62" y="199"/>
                  <a:pt x="62" y="200"/>
                </a:cubicBezTo>
                <a:cubicBezTo>
                  <a:pt x="62" y="200"/>
                  <a:pt x="62" y="200"/>
                  <a:pt x="62" y="200"/>
                </a:cubicBezTo>
                <a:cubicBezTo>
                  <a:pt x="63" y="200"/>
                  <a:pt x="66" y="199"/>
                  <a:pt x="67" y="197"/>
                </a:cubicBezTo>
                <a:cubicBezTo>
                  <a:pt x="68" y="196"/>
                  <a:pt x="68" y="192"/>
                  <a:pt x="71" y="192"/>
                </a:cubicBezTo>
                <a:cubicBezTo>
                  <a:pt x="73" y="192"/>
                  <a:pt x="76" y="193"/>
                  <a:pt x="76" y="195"/>
                </a:cubicBezTo>
                <a:cubicBezTo>
                  <a:pt x="76" y="196"/>
                  <a:pt x="80" y="197"/>
                  <a:pt x="80" y="197"/>
                </a:cubicBezTo>
                <a:cubicBezTo>
                  <a:pt x="80" y="197"/>
                  <a:pt x="81" y="198"/>
                  <a:pt x="82" y="197"/>
                </a:cubicBezTo>
                <a:cubicBezTo>
                  <a:pt x="83" y="195"/>
                  <a:pt x="87" y="193"/>
                  <a:pt x="90" y="193"/>
                </a:cubicBezTo>
                <a:cubicBezTo>
                  <a:pt x="93" y="192"/>
                  <a:pt x="97" y="192"/>
                  <a:pt x="97" y="192"/>
                </a:cubicBezTo>
                <a:cubicBezTo>
                  <a:pt x="98" y="190"/>
                  <a:pt x="98" y="190"/>
                  <a:pt x="98" y="190"/>
                </a:cubicBezTo>
                <a:cubicBezTo>
                  <a:pt x="98" y="190"/>
                  <a:pt x="102" y="190"/>
                  <a:pt x="103" y="192"/>
                </a:cubicBezTo>
                <a:cubicBezTo>
                  <a:pt x="104" y="193"/>
                  <a:pt x="103" y="192"/>
                  <a:pt x="109" y="192"/>
                </a:cubicBezTo>
                <a:cubicBezTo>
                  <a:pt x="116" y="192"/>
                  <a:pt x="131" y="192"/>
                  <a:pt x="131" y="192"/>
                </a:cubicBezTo>
                <a:cubicBezTo>
                  <a:pt x="149" y="191"/>
                  <a:pt x="149" y="191"/>
                  <a:pt x="149" y="191"/>
                </a:cubicBezTo>
                <a:cubicBezTo>
                  <a:pt x="149" y="191"/>
                  <a:pt x="151" y="187"/>
                  <a:pt x="153" y="184"/>
                </a:cubicBezTo>
                <a:cubicBezTo>
                  <a:pt x="154" y="181"/>
                  <a:pt x="153" y="179"/>
                  <a:pt x="152" y="179"/>
                </a:cubicBezTo>
                <a:cubicBezTo>
                  <a:pt x="150" y="178"/>
                  <a:pt x="148" y="177"/>
                  <a:pt x="148" y="177"/>
                </a:cubicBezTo>
                <a:cubicBezTo>
                  <a:pt x="148" y="177"/>
                  <a:pt x="147" y="172"/>
                  <a:pt x="147" y="162"/>
                </a:cubicBezTo>
                <a:cubicBezTo>
                  <a:pt x="147" y="153"/>
                  <a:pt x="145" y="140"/>
                  <a:pt x="145" y="134"/>
                </a:cubicBezTo>
                <a:cubicBezTo>
                  <a:pt x="144" y="127"/>
                  <a:pt x="142" y="105"/>
                  <a:pt x="142" y="100"/>
                </a:cubicBezTo>
                <a:cubicBezTo>
                  <a:pt x="142" y="95"/>
                  <a:pt x="140" y="85"/>
                  <a:pt x="140" y="79"/>
                </a:cubicBezTo>
                <a:cubicBezTo>
                  <a:pt x="140" y="73"/>
                  <a:pt x="139" y="59"/>
                  <a:pt x="139" y="57"/>
                </a:cubicBezTo>
                <a:cubicBezTo>
                  <a:pt x="139" y="56"/>
                  <a:pt x="138" y="49"/>
                  <a:pt x="138" y="47"/>
                </a:cubicBezTo>
                <a:cubicBezTo>
                  <a:pt x="137" y="45"/>
                  <a:pt x="136" y="40"/>
                  <a:pt x="136" y="40"/>
                </a:cubicBezTo>
                <a:cubicBezTo>
                  <a:pt x="156" y="40"/>
                  <a:pt x="156" y="40"/>
                  <a:pt x="156" y="40"/>
                </a:cubicBezTo>
                <a:cubicBezTo>
                  <a:pt x="143" y="30"/>
                  <a:pt x="143" y="30"/>
                  <a:pt x="143" y="30"/>
                </a:cubicBezTo>
                <a:cubicBezTo>
                  <a:pt x="106" y="0"/>
                  <a:pt x="106" y="0"/>
                  <a:pt x="106" y="0"/>
                </a:cubicBezTo>
                <a:cubicBezTo>
                  <a:pt x="106" y="26"/>
                  <a:pt x="106" y="26"/>
                  <a:pt x="106" y="26"/>
                </a:cubicBezTo>
                <a:cubicBezTo>
                  <a:pt x="103" y="28"/>
                  <a:pt x="103" y="28"/>
                  <a:pt x="103" y="28"/>
                </a:cubicBezTo>
                <a:cubicBezTo>
                  <a:pt x="98" y="28"/>
                  <a:pt x="98" y="28"/>
                  <a:pt x="98" y="28"/>
                </a:cubicBezTo>
                <a:cubicBezTo>
                  <a:pt x="76" y="27"/>
                  <a:pt x="76" y="27"/>
                  <a:pt x="76" y="27"/>
                </a:cubicBezTo>
                <a:cubicBezTo>
                  <a:pt x="76" y="27"/>
                  <a:pt x="69" y="26"/>
                  <a:pt x="67" y="26"/>
                </a:cubicBezTo>
                <a:cubicBezTo>
                  <a:pt x="66" y="26"/>
                  <a:pt x="65" y="32"/>
                  <a:pt x="65" y="32"/>
                </a:cubicBezTo>
                <a:cubicBezTo>
                  <a:pt x="65" y="66"/>
                  <a:pt x="65" y="66"/>
                  <a:pt x="65" y="66"/>
                </a:cubicBezTo>
                <a:cubicBezTo>
                  <a:pt x="62" y="67"/>
                  <a:pt x="62" y="67"/>
                  <a:pt x="62" y="67"/>
                </a:cubicBezTo>
                <a:cubicBezTo>
                  <a:pt x="62" y="67"/>
                  <a:pt x="55" y="73"/>
                  <a:pt x="51" y="76"/>
                </a:cubicBezTo>
                <a:cubicBezTo>
                  <a:pt x="47" y="79"/>
                  <a:pt x="48" y="84"/>
                  <a:pt x="48" y="84"/>
                </a:cubicBezTo>
                <a:cubicBezTo>
                  <a:pt x="49" y="101"/>
                  <a:pt x="49" y="101"/>
                  <a:pt x="49" y="101"/>
                </a:cubicBezTo>
                <a:cubicBezTo>
                  <a:pt x="38" y="101"/>
                  <a:pt x="38" y="101"/>
                  <a:pt x="38" y="101"/>
                </a:cubicBezTo>
                <a:cubicBezTo>
                  <a:pt x="22" y="100"/>
                  <a:pt x="22" y="100"/>
                  <a:pt x="22" y="100"/>
                </a:cubicBezTo>
                <a:cubicBezTo>
                  <a:pt x="22" y="100"/>
                  <a:pt x="17" y="100"/>
                  <a:pt x="10" y="100"/>
                </a:cubicBezTo>
                <a:cubicBezTo>
                  <a:pt x="4" y="100"/>
                  <a:pt x="3" y="100"/>
                  <a:pt x="3" y="100"/>
                </a:cubicBezTo>
                <a:cubicBezTo>
                  <a:pt x="2" y="104"/>
                  <a:pt x="2" y="104"/>
                  <a:pt x="2" y="104"/>
                </a:cubicBezTo>
                <a:cubicBezTo>
                  <a:pt x="0" y="104"/>
                  <a:pt x="0" y="104"/>
                  <a:pt x="0" y="104"/>
                </a:cubicBezTo>
                <a:cubicBezTo>
                  <a:pt x="0" y="106"/>
                  <a:pt x="0" y="108"/>
                  <a:pt x="0" y="108"/>
                </a:cubicBezTo>
                <a:cubicBezTo>
                  <a:pt x="1" y="109"/>
                  <a:pt x="3" y="110"/>
                  <a:pt x="3" y="108"/>
                </a:cubicBezTo>
                <a:cubicBezTo>
                  <a:pt x="3" y="107"/>
                  <a:pt x="6" y="108"/>
                  <a:pt x="6" y="109"/>
                </a:cubicBezTo>
                <a:cubicBezTo>
                  <a:pt x="6" y="110"/>
                  <a:pt x="5" y="111"/>
                  <a:pt x="6" y="111"/>
                </a:cubicBezTo>
                <a:cubicBezTo>
                  <a:pt x="8" y="111"/>
                  <a:pt x="10" y="110"/>
                  <a:pt x="9" y="111"/>
                </a:cubicBezTo>
                <a:cubicBezTo>
                  <a:pt x="9" y="112"/>
                  <a:pt x="10" y="115"/>
                  <a:pt x="10" y="116"/>
                </a:cubicBezTo>
                <a:cubicBezTo>
                  <a:pt x="11" y="116"/>
                  <a:pt x="11" y="119"/>
                  <a:pt x="11" y="120"/>
                </a:cubicBezTo>
                <a:cubicBezTo>
                  <a:pt x="10" y="121"/>
                  <a:pt x="9" y="121"/>
                  <a:pt x="10" y="122"/>
                </a:cubicBezTo>
                <a:cubicBezTo>
                  <a:pt x="11" y="123"/>
                  <a:pt x="11" y="125"/>
                  <a:pt x="10" y="126"/>
                </a:cubicBezTo>
                <a:cubicBezTo>
                  <a:pt x="9" y="126"/>
                  <a:pt x="9" y="130"/>
                  <a:pt x="9" y="130"/>
                </a:cubicBezTo>
                <a:cubicBezTo>
                  <a:pt x="9" y="131"/>
                  <a:pt x="8" y="132"/>
                  <a:pt x="9" y="133"/>
                </a:cubicBezTo>
                <a:cubicBezTo>
                  <a:pt x="10" y="133"/>
                  <a:pt x="9" y="135"/>
                  <a:pt x="9" y="135"/>
                </a:cubicBezTo>
                <a:cubicBezTo>
                  <a:pt x="9" y="135"/>
                  <a:pt x="8" y="135"/>
                  <a:pt x="9" y="136"/>
                </a:cubicBezTo>
                <a:cubicBezTo>
                  <a:pt x="10" y="137"/>
                  <a:pt x="10" y="138"/>
                  <a:pt x="9" y="139"/>
                </a:cubicBezTo>
                <a:cubicBezTo>
                  <a:pt x="9" y="140"/>
                  <a:pt x="9" y="142"/>
                  <a:pt x="9" y="143"/>
                </a:cubicBezTo>
                <a:cubicBezTo>
                  <a:pt x="10" y="145"/>
                  <a:pt x="10" y="147"/>
                  <a:pt x="10" y="148"/>
                </a:cubicBezTo>
                <a:cubicBezTo>
                  <a:pt x="10" y="148"/>
                  <a:pt x="10" y="150"/>
                  <a:pt x="11" y="151"/>
                </a:cubicBezTo>
                <a:cubicBezTo>
                  <a:pt x="11" y="151"/>
                  <a:pt x="11" y="154"/>
                  <a:pt x="11" y="154"/>
                </a:cubicBezTo>
                <a:cubicBezTo>
                  <a:pt x="11" y="154"/>
                  <a:pt x="10" y="161"/>
                  <a:pt x="10" y="163"/>
                </a:cubicBezTo>
                <a:cubicBezTo>
                  <a:pt x="10" y="165"/>
                  <a:pt x="11" y="167"/>
                  <a:pt x="10" y="168"/>
                </a:cubicBezTo>
                <a:cubicBezTo>
                  <a:pt x="9" y="169"/>
                  <a:pt x="8" y="171"/>
                  <a:pt x="7" y="173"/>
                </a:cubicBezTo>
                <a:cubicBezTo>
                  <a:pt x="7" y="174"/>
                  <a:pt x="7" y="174"/>
                  <a:pt x="7" y="175"/>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7" name="Western Sahara"/>
          <p:cNvSpPr>
            <a:spLocks/>
          </p:cNvSpPr>
          <p:nvPr/>
        </p:nvSpPr>
        <p:spPr bwMode="auto">
          <a:xfrm>
            <a:off x="5737261" y="3173916"/>
            <a:ext cx="218848" cy="213947"/>
          </a:xfrm>
          <a:custGeom>
            <a:avLst/>
            <a:gdLst>
              <a:gd name="T0" fmla="*/ 0 w 106"/>
              <a:gd name="T1" fmla="*/ 104 h 104"/>
              <a:gd name="T2" fmla="*/ 2 w 106"/>
              <a:gd name="T3" fmla="*/ 104 h 104"/>
              <a:gd name="T4" fmla="*/ 3 w 106"/>
              <a:gd name="T5" fmla="*/ 100 h 104"/>
              <a:gd name="T6" fmla="*/ 10 w 106"/>
              <a:gd name="T7" fmla="*/ 100 h 104"/>
              <a:gd name="T8" fmla="*/ 22 w 106"/>
              <a:gd name="T9" fmla="*/ 100 h 104"/>
              <a:gd name="T10" fmla="*/ 38 w 106"/>
              <a:gd name="T11" fmla="*/ 101 h 104"/>
              <a:gd name="T12" fmla="*/ 49 w 106"/>
              <a:gd name="T13" fmla="*/ 101 h 104"/>
              <a:gd name="T14" fmla="*/ 48 w 106"/>
              <a:gd name="T15" fmla="*/ 84 h 104"/>
              <a:gd name="T16" fmla="*/ 51 w 106"/>
              <a:gd name="T17" fmla="*/ 76 h 104"/>
              <a:gd name="T18" fmla="*/ 62 w 106"/>
              <a:gd name="T19" fmla="*/ 67 h 104"/>
              <a:gd name="T20" fmla="*/ 65 w 106"/>
              <a:gd name="T21" fmla="*/ 66 h 104"/>
              <a:gd name="T22" fmla="*/ 65 w 106"/>
              <a:gd name="T23" fmla="*/ 32 h 104"/>
              <a:gd name="T24" fmla="*/ 67 w 106"/>
              <a:gd name="T25" fmla="*/ 26 h 104"/>
              <a:gd name="T26" fmla="*/ 76 w 106"/>
              <a:gd name="T27" fmla="*/ 27 h 104"/>
              <a:gd name="T28" fmla="*/ 98 w 106"/>
              <a:gd name="T29" fmla="*/ 28 h 104"/>
              <a:gd name="T30" fmla="*/ 103 w 106"/>
              <a:gd name="T31" fmla="*/ 28 h 104"/>
              <a:gd name="T32" fmla="*/ 106 w 106"/>
              <a:gd name="T33" fmla="*/ 26 h 104"/>
              <a:gd name="T34" fmla="*/ 106 w 106"/>
              <a:gd name="T35" fmla="*/ 0 h 104"/>
              <a:gd name="T36" fmla="*/ 84 w 106"/>
              <a:gd name="T37" fmla="*/ 0 h 104"/>
              <a:gd name="T38" fmla="*/ 65 w 106"/>
              <a:gd name="T39" fmla="*/ 0 h 104"/>
              <a:gd name="T40" fmla="*/ 48 w 106"/>
              <a:gd name="T41" fmla="*/ 0 h 104"/>
              <a:gd name="T42" fmla="*/ 46 w 106"/>
              <a:gd name="T43" fmla="*/ 3 h 104"/>
              <a:gd name="T44" fmla="*/ 43 w 106"/>
              <a:gd name="T45" fmla="*/ 11 h 104"/>
              <a:gd name="T46" fmla="*/ 41 w 106"/>
              <a:gd name="T47" fmla="*/ 15 h 104"/>
              <a:gd name="T48" fmla="*/ 40 w 106"/>
              <a:gd name="T49" fmla="*/ 17 h 104"/>
              <a:gd name="T50" fmla="*/ 36 w 106"/>
              <a:gd name="T51" fmla="*/ 19 h 104"/>
              <a:gd name="T52" fmla="*/ 32 w 106"/>
              <a:gd name="T53" fmla="*/ 23 h 104"/>
              <a:gd name="T54" fmla="*/ 31 w 106"/>
              <a:gd name="T55" fmla="*/ 27 h 104"/>
              <a:gd name="T56" fmla="*/ 29 w 106"/>
              <a:gd name="T57" fmla="*/ 31 h 104"/>
              <a:gd name="T58" fmla="*/ 30 w 106"/>
              <a:gd name="T59" fmla="*/ 36 h 104"/>
              <a:gd name="T60" fmla="*/ 30 w 106"/>
              <a:gd name="T61" fmla="*/ 43 h 104"/>
              <a:gd name="T62" fmla="*/ 27 w 106"/>
              <a:gd name="T63" fmla="*/ 48 h 104"/>
              <a:gd name="T64" fmla="*/ 21 w 106"/>
              <a:gd name="T65" fmla="*/ 54 h 104"/>
              <a:gd name="T66" fmla="*/ 18 w 106"/>
              <a:gd name="T67" fmla="*/ 57 h 104"/>
              <a:gd name="T68" fmla="*/ 14 w 106"/>
              <a:gd name="T69" fmla="*/ 62 h 104"/>
              <a:gd name="T70" fmla="*/ 13 w 106"/>
              <a:gd name="T71" fmla="*/ 67 h 104"/>
              <a:gd name="T72" fmla="*/ 12 w 106"/>
              <a:gd name="T73" fmla="*/ 69 h 104"/>
              <a:gd name="T74" fmla="*/ 12 w 106"/>
              <a:gd name="T75" fmla="*/ 72 h 104"/>
              <a:gd name="T76" fmla="*/ 12 w 106"/>
              <a:gd name="T77" fmla="*/ 74 h 104"/>
              <a:gd name="T78" fmla="*/ 9 w 106"/>
              <a:gd name="T79" fmla="*/ 78 h 104"/>
              <a:gd name="T80" fmla="*/ 6 w 106"/>
              <a:gd name="T81" fmla="*/ 83 h 104"/>
              <a:gd name="T82" fmla="*/ 4 w 106"/>
              <a:gd name="T83" fmla="*/ 85 h 104"/>
              <a:gd name="T84" fmla="*/ 2 w 106"/>
              <a:gd name="T85" fmla="*/ 88 h 104"/>
              <a:gd name="T86" fmla="*/ 2 w 106"/>
              <a:gd name="T87" fmla="*/ 94 h 104"/>
              <a:gd name="T88" fmla="*/ 1 w 106"/>
              <a:gd name="T89" fmla="*/ 103 h 104"/>
              <a:gd name="T90" fmla="*/ 0 w 106"/>
              <a:gd name="T9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104">
                <a:moveTo>
                  <a:pt x="0" y="104"/>
                </a:moveTo>
                <a:cubicBezTo>
                  <a:pt x="2" y="104"/>
                  <a:pt x="2" y="104"/>
                  <a:pt x="2" y="104"/>
                </a:cubicBezTo>
                <a:cubicBezTo>
                  <a:pt x="3" y="100"/>
                  <a:pt x="3" y="100"/>
                  <a:pt x="3" y="100"/>
                </a:cubicBezTo>
                <a:cubicBezTo>
                  <a:pt x="3" y="100"/>
                  <a:pt x="4" y="100"/>
                  <a:pt x="10" y="100"/>
                </a:cubicBezTo>
                <a:cubicBezTo>
                  <a:pt x="17" y="100"/>
                  <a:pt x="22" y="100"/>
                  <a:pt x="22" y="100"/>
                </a:cubicBezTo>
                <a:cubicBezTo>
                  <a:pt x="38" y="101"/>
                  <a:pt x="38" y="101"/>
                  <a:pt x="38" y="101"/>
                </a:cubicBezTo>
                <a:cubicBezTo>
                  <a:pt x="49" y="101"/>
                  <a:pt x="49" y="101"/>
                  <a:pt x="49" y="101"/>
                </a:cubicBezTo>
                <a:cubicBezTo>
                  <a:pt x="48" y="84"/>
                  <a:pt x="48" y="84"/>
                  <a:pt x="48" y="84"/>
                </a:cubicBezTo>
                <a:cubicBezTo>
                  <a:pt x="48" y="84"/>
                  <a:pt x="47" y="79"/>
                  <a:pt x="51" y="76"/>
                </a:cubicBezTo>
                <a:cubicBezTo>
                  <a:pt x="55" y="73"/>
                  <a:pt x="62" y="67"/>
                  <a:pt x="62" y="67"/>
                </a:cubicBezTo>
                <a:cubicBezTo>
                  <a:pt x="65" y="66"/>
                  <a:pt x="65" y="66"/>
                  <a:pt x="65" y="66"/>
                </a:cubicBezTo>
                <a:cubicBezTo>
                  <a:pt x="65" y="32"/>
                  <a:pt x="65" y="32"/>
                  <a:pt x="65" y="32"/>
                </a:cubicBezTo>
                <a:cubicBezTo>
                  <a:pt x="65" y="32"/>
                  <a:pt x="66" y="26"/>
                  <a:pt x="67" y="26"/>
                </a:cubicBezTo>
                <a:cubicBezTo>
                  <a:pt x="69" y="26"/>
                  <a:pt x="76" y="27"/>
                  <a:pt x="76" y="27"/>
                </a:cubicBezTo>
                <a:cubicBezTo>
                  <a:pt x="98" y="28"/>
                  <a:pt x="98" y="28"/>
                  <a:pt x="98" y="28"/>
                </a:cubicBezTo>
                <a:cubicBezTo>
                  <a:pt x="103" y="28"/>
                  <a:pt x="103" y="28"/>
                  <a:pt x="103" y="28"/>
                </a:cubicBezTo>
                <a:cubicBezTo>
                  <a:pt x="106" y="26"/>
                  <a:pt x="106" y="26"/>
                  <a:pt x="106" y="26"/>
                </a:cubicBezTo>
                <a:cubicBezTo>
                  <a:pt x="106" y="0"/>
                  <a:pt x="106" y="0"/>
                  <a:pt x="106" y="0"/>
                </a:cubicBezTo>
                <a:cubicBezTo>
                  <a:pt x="84" y="0"/>
                  <a:pt x="84" y="0"/>
                  <a:pt x="84" y="0"/>
                </a:cubicBezTo>
                <a:cubicBezTo>
                  <a:pt x="65" y="0"/>
                  <a:pt x="65" y="0"/>
                  <a:pt x="65" y="0"/>
                </a:cubicBezTo>
                <a:cubicBezTo>
                  <a:pt x="48" y="0"/>
                  <a:pt x="48" y="0"/>
                  <a:pt x="48" y="0"/>
                </a:cubicBezTo>
                <a:cubicBezTo>
                  <a:pt x="47" y="2"/>
                  <a:pt x="46" y="3"/>
                  <a:pt x="46" y="3"/>
                </a:cubicBezTo>
                <a:cubicBezTo>
                  <a:pt x="46" y="3"/>
                  <a:pt x="44" y="9"/>
                  <a:pt x="43" y="11"/>
                </a:cubicBezTo>
                <a:cubicBezTo>
                  <a:pt x="42" y="13"/>
                  <a:pt x="41" y="15"/>
                  <a:pt x="41" y="15"/>
                </a:cubicBezTo>
                <a:cubicBezTo>
                  <a:pt x="41" y="16"/>
                  <a:pt x="41" y="17"/>
                  <a:pt x="40" y="17"/>
                </a:cubicBezTo>
                <a:cubicBezTo>
                  <a:pt x="39" y="17"/>
                  <a:pt x="37" y="18"/>
                  <a:pt x="36" y="19"/>
                </a:cubicBezTo>
                <a:cubicBezTo>
                  <a:pt x="34" y="20"/>
                  <a:pt x="33" y="22"/>
                  <a:pt x="32" y="23"/>
                </a:cubicBezTo>
                <a:cubicBezTo>
                  <a:pt x="30" y="23"/>
                  <a:pt x="32" y="25"/>
                  <a:pt x="31" y="27"/>
                </a:cubicBezTo>
                <a:cubicBezTo>
                  <a:pt x="30" y="28"/>
                  <a:pt x="29" y="29"/>
                  <a:pt x="29" y="31"/>
                </a:cubicBezTo>
                <a:cubicBezTo>
                  <a:pt x="29" y="32"/>
                  <a:pt x="30" y="35"/>
                  <a:pt x="30" y="36"/>
                </a:cubicBezTo>
                <a:cubicBezTo>
                  <a:pt x="30" y="38"/>
                  <a:pt x="30" y="42"/>
                  <a:pt x="30" y="43"/>
                </a:cubicBezTo>
                <a:cubicBezTo>
                  <a:pt x="28" y="45"/>
                  <a:pt x="29" y="47"/>
                  <a:pt x="27" y="48"/>
                </a:cubicBezTo>
                <a:cubicBezTo>
                  <a:pt x="25" y="48"/>
                  <a:pt x="21" y="54"/>
                  <a:pt x="21" y="54"/>
                </a:cubicBezTo>
                <a:cubicBezTo>
                  <a:pt x="21" y="54"/>
                  <a:pt x="19" y="56"/>
                  <a:pt x="18" y="57"/>
                </a:cubicBezTo>
                <a:cubicBezTo>
                  <a:pt x="16" y="59"/>
                  <a:pt x="15" y="60"/>
                  <a:pt x="14" y="62"/>
                </a:cubicBezTo>
                <a:cubicBezTo>
                  <a:pt x="14" y="63"/>
                  <a:pt x="14" y="66"/>
                  <a:pt x="13" y="67"/>
                </a:cubicBezTo>
                <a:cubicBezTo>
                  <a:pt x="12" y="68"/>
                  <a:pt x="13" y="68"/>
                  <a:pt x="12" y="69"/>
                </a:cubicBezTo>
                <a:cubicBezTo>
                  <a:pt x="11" y="70"/>
                  <a:pt x="11" y="72"/>
                  <a:pt x="12" y="72"/>
                </a:cubicBezTo>
                <a:cubicBezTo>
                  <a:pt x="13" y="73"/>
                  <a:pt x="13" y="74"/>
                  <a:pt x="12" y="74"/>
                </a:cubicBezTo>
                <a:cubicBezTo>
                  <a:pt x="11" y="75"/>
                  <a:pt x="9" y="76"/>
                  <a:pt x="9" y="78"/>
                </a:cubicBezTo>
                <a:cubicBezTo>
                  <a:pt x="8" y="80"/>
                  <a:pt x="7" y="83"/>
                  <a:pt x="6" y="83"/>
                </a:cubicBezTo>
                <a:cubicBezTo>
                  <a:pt x="6" y="84"/>
                  <a:pt x="6" y="85"/>
                  <a:pt x="4" y="85"/>
                </a:cubicBezTo>
                <a:cubicBezTo>
                  <a:pt x="3" y="85"/>
                  <a:pt x="2" y="87"/>
                  <a:pt x="2" y="88"/>
                </a:cubicBezTo>
                <a:cubicBezTo>
                  <a:pt x="2" y="89"/>
                  <a:pt x="3" y="92"/>
                  <a:pt x="2" y="94"/>
                </a:cubicBezTo>
                <a:cubicBezTo>
                  <a:pt x="2" y="96"/>
                  <a:pt x="1" y="101"/>
                  <a:pt x="1" y="103"/>
                </a:cubicBezTo>
                <a:cubicBezTo>
                  <a:pt x="0" y="103"/>
                  <a:pt x="0" y="103"/>
                  <a:pt x="0" y="10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8" name="Morocco"/>
          <p:cNvSpPr>
            <a:spLocks/>
          </p:cNvSpPr>
          <p:nvPr/>
        </p:nvSpPr>
        <p:spPr bwMode="auto">
          <a:xfrm>
            <a:off x="5836884" y="2884841"/>
            <a:ext cx="316839" cy="289075"/>
          </a:xfrm>
          <a:custGeom>
            <a:avLst/>
            <a:gdLst>
              <a:gd name="T0" fmla="*/ 134 w 155"/>
              <a:gd name="T1" fmla="*/ 17 h 141"/>
              <a:gd name="T2" fmla="*/ 146 w 155"/>
              <a:gd name="T3" fmla="*/ 20 h 141"/>
              <a:gd name="T4" fmla="*/ 149 w 155"/>
              <a:gd name="T5" fmla="*/ 36 h 141"/>
              <a:gd name="T6" fmla="*/ 149 w 155"/>
              <a:gd name="T7" fmla="*/ 47 h 141"/>
              <a:gd name="T8" fmla="*/ 151 w 155"/>
              <a:gd name="T9" fmla="*/ 57 h 141"/>
              <a:gd name="T10" fmla="*/ 152 w 155"/>
              <a:gd name="T11" fmla="*/ 64 h 141"/>
              <a:gd name="T12" fmla="*/ 155 w 155"/>
              <a:gd name="T13" fmla="*/ 71 h 141"/>
              <a:gd name="T14" fmla="*/ 148 w 155"/>
              <a:gd name="T15" fmla="*/ 75 h 141"/>
              <a:gd name="T16" fmla="*/ 137 w 155"/>
              <a:gd name="T17" fmla="*/ 72 h 141"/>
              <a:gd name="T18" fmla="*/ 122 w 155"/>
              <a:gd name="T19" fmla="*/ 81 h 141"/>
              <a:gd name="T20" fmla="*/ 115 w 155"/>
              <a:gd name="T21" fmla="*/ 92 h 141"/>
              <a:gd name="T22" fmla="*/ 102 w 155"/>
              <a:gd name="T23" fmla="*/ 104 h 141"/>
              <a:gd name="T24" fmla="*/ 77 w 155"/>
              <a:gd name="T25" fmla="*/ 111 h 141"/>
              <a:gd name="T26" fmla="*/ 58 w 155"/>
              <a:gd name="T27" fmla="*/ 131 h 141"/>
              <a:gd name="T28" fmla="*/ 36 w 155"/>
              <a:gd name="T29" fmla="*/ 141 h 141"/>
              <a:gd name="T30" fmla="*/ 0 w 155"/>
              <a:gd name="T31" fmla="*/ 141 h 141"/>
              <a:gd name="T32" fmla="*/ 8 w 155"/>
              <a:gd name="T33" fmla="*/ 133 h 141"/>
              <a:gd name="T34" fmla="*/ 17 w 155"/>
              <a:gd name="T35" fmla="*/ 130 h 141"/>
              <a:gd name="T36" fmla="*/ 26 w 155"/>
              <a:gd name="T37" fmla="*/ 123 h 141"/>
              <a:gd name="T38" fmla="*/ 39 w 155"/>
              <a:gd name="T39" fmla="*/ 113 h 141"/>
              <a:gd name="T40" fmla="*/ 43 w 155"/>
              <a:gd name="T41" fmla="*/ 107 h 141"/>
              <a:gd name="T42" fmla="*/ 48 w 155"/>
              <a:gd name="T43" fmla="*/ 99 h 141"/>
              <a:gd name="T44" fmla="*/ 51 w 155"/>
              <a:gd name="T45" fmla="*/ 95 h 141"/>
              <a:gd name="T46" fmla="*/ 46 w 155"/>
              <a:gd name="T47" fmla="*/ 90 h 141"/>
              <a:gd name="T48" fmla="*/ 47 w 155"/>
              <a:gd name="T49" fmla="*/ 85 h 141"/>
              <a:gd name="T50" fmla="*/ 47 w 155"/>
              <a:gd name="T51" fmla="*/ 78 h 141"/>
              <a:gd name="T52" fmla="*/ 51 w 155"/>
              <a:gd name="T53" fmla="*/ 68 h 141"/>
              <a:gd name="T54" fmla="*/ 56 w 155"/>
              <a:gd name="T55" fmla="*/ 54 h 141"/>
              <a:gd name="T56" fmla="*/ 80 w 155"/>
              <a:gd name="T57" fmla="*/ 36 h 141"/>
              <a:gd name="T58" fmla="*/ 88 w 155"/>
              <a:gd name="T59" fmla="*/ 24 h 141"/>
              <a:gd name="T60" fmla="*/ 94 w 155"/>
              <a:gd name="T61" fmla="*/ 14 h 141"/>
              <a:gd name="T62" fmla="*/ 98 w 155"/>
              <a:gd name="T63" fmla="*/ 4 h 141"/>
              <a:gd name="T64" fmla="*/ 104 w 155"/>
              <a:gd name="T65" fmla="*/ 0 h 141"/>
              <a:gd name="T66" fmla="*/ 107 w 155"/>
              <a:gd name="T67" fmla="*/ 2 h 141"/>
              <a:gd name="T68" fmla="*/ 109 w 155"/>
              <a:gd name="T69" fmla="*/ 8 h 141"/>
              <a:gd name="T70" fmla="*/ 116 w 155"/>
              <a:gd name="T71" fmla="*/ 12 h 141"/>
              <a:gd name="T72" fmla="*/ 130 w 155"/>
              <a:gd name="T73" fmla="*/ 1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41">
                <a:moveTo>
                  <a:pt x="132" y="12"/>
                </a:moveTo>
                <a:cubicBezTo>
                  <a:pt x="132" y="15"/>
                  <a:pt x="134" y="17"/>
                  <a:pt x="134" y="17"/>
                </a:cubicBezTo>
                <a:cubicBezTo>
                  <a:pt x="134" y="17"/>
                  <a:pt x="136" y="17"/>
                  <a:pt x="140" y="17"/>
                </a:cubicBezTo>
                <a:cubicBezTo>
                  <a:pt x="143" y="17"/>
                  <a:pt x="144" y="18"/>
                  <a:pt x="146" y="20"/>
                </a:cubicBezTo>
                <a:cubicBezTo>
                  <a:pt x="147" y="22"/>
                  <a:pt x="147" y="25"/>
                  <a:pt x="147" y="27"/>
                </a:cubicBezTo>
                <a:cubicBezTo>
                  <a:pt x="147" y="30"/>
                  <a:pt x="149" y="34"/>
                  <a:pt x="149" y="36"/>
                </a:cubicBezTo>
                <a:cubicBezTo>
                  <a:pt x="148" y="37"/>
                  <a:pt x="146" y="42"/>
                  <a:pt x="148" y="43"/>
                </a:cubicBezTo>
                <a:cubicBezTo>
                  <a:pt x="150" y="44"/>
                  <a:pt x="150" y="47"/>
                  <a:pt x="149" y="47"/>
                </a:cubicBezTo>
                <a:cubicBezTo>
                  <a:pt x="148" y="48"/>
                  <a:pt x="147" y="51"/>
                  <a:pt x="150" y="52"/>
                </a:cubicBezTo>
                <a:cubicBezTo>
                  <a:pt x="153" y="53"/>
                  <a:pt x="150" y="55"/>
                  <a:pt x="151" y="57"/>
                </a:cubicBezTo>
                <a:cubicBezTo>
                  <a:pt x="151" y="59"/>
                  <a:pt x="154" y="60"/>
                  <a:pt x="154" y="61"/>
                </a:cubicBezTo>
                <a:cubicBezTo>
                  <a:pt x="155" y="62"/>
                  <a:pt x="152" y="64"/>
                  <a:pt x="152" y="64"/>
                </a:cubicBezTo>
                <a:cubicBezTo>
                  <a:pt x="152" y="68"/>
                  <a:pt x="152" y="68"/>
                  <a:pt x="152" y="68"/>
                </a:cubicBezTo>
                <a:cubicBezTo>
                  <a:pt x="152" y="68"/>
                  <a:pt x="155" y="69"/>
                  <a:pt x="155" y="71"/>
                </a:cubicBezTo>
                <a:cubicBezTo>
                  <a:pt x="154" y="73"/>
                  <a:pt x="153" y="72"/>
                  <a:pt x="151" y="71"/>
                </a:cubicBezTo>
                <a:cubicBezTo>
                  <a:pt x="149" y="71"/>
                  <a:pt x="148" y="75"/>
                  <a:pt x="148" y="75"/>
                </a:cubicBezTo>
                <a:cubicBezTo>
                  <a:pt x="142" y="72"/>
                  <a:pt x="142" y="72"/>
                  <a:pt x="142" y="72"/>
                </a:cubicBezTo>
                <a:cubicBezTo>
                  <a:pt x="142" y="72"/>
                  <a:pt x="139" y="70"/>
                  <a:pt x="137" y="72"/>
                </a:cubicBezTo>
                <a:cubicBezTo>
                  <a:pt x="134" y="74"/>
                  <a:pt x="125" y="76"/>
                  <a:pt x="125" y="76"/>
                </a:cubicBezTo>
                <a:cubicBezTo>
                  <a:pt x="125" y="76"/>
                  <a:pt x="121" y="80"/>
                  <a:pt x="122" y="81"/>
                </a:cubicBezTo>
                <a:cubicBezTo>
                  <a:pt x="122" y="82"/>
                  <a:pt x="123" y="89"/>
                  <a:pt x="123" y="89"/>
                </a:cubicBezTo>
                <a:cubicBezTo>
                  <a:pt x="123" y="89"/>
                  <a:pt x="118" y="92"/>
                  <a:pt x="115" y="92"/>
                </a:cubicBezTo>
                <a:cubicBezTo>
                  <a:pt x="112" y="92"/>
                  <a:pt x="110" y="96"/>
                  <a:pt x="110" y="96"/>
                </a:cubicBezTo>
                <a:cubicBezTo>
                  <a:pt x="110" y="96"/>
                  <a:pt x="108" y="101"/>
                  <a:pt x="102" y="104"/>
                </a:cubicBezTo>
                <a:cubicBezTo>
                  <a:pt x="95" y="107"/>
                  <a:pt x="87" y="107"/>
                  <a:pt x="86" y="107"/>
                </a:cubicBezTo>
                <a:cubicBezTo>
                  <a:pt x="84" y="107"/>
                  <a:pt x="77" y="111"/>
                  <a:pt x="77" y="111"/>
                </a:cubicBezTo>
                <a:cubicBezTo>
                  <a:pt x="59" y="124"/>
                  <a:pt x="59" y="124"/>
                  <a:pt x="59" y="124"/>
                </a:cubicBezTo>
                <a:cubicBezTo>
                  <a:pt x="59" y="124"/>
                  <a:pt x="58" y="126"/>
                  <a:pt x="58" y="131"/>
                </a:cubicBezTo>
                <a:cubicBezTo>
                  <a:pt x="58" y="137"/>
                  <a:pt x="58" y="141"/>
                  <a:pt x="58" y="141"/>
                </a:cubicBezTo>
                <a:cubicBezTo>
                  <a:pt x="36" y="141"/>
                  <a:pt x="36" y="141"/>
                  <a:pt x="36" y="141"/>
                </a:cubicBezTo>
                <a:cubicBezTo>
                  <a:pt x="17" y="141"/>
                  <a:pt x="17" y="141"/>
                  <a:pt x="17" y="141"/>
                </a:cubicBezTo>
                <a:cubicBezTo>
                  <a:pt x="0" y="141"/>
                  <a:pt x="0" y="141"/>
                  <a:pt x="0" y="141"/>
                </a:cubicBezTo>
                <a:cubicBezTo>
                  <a:pt x="1" y="139"/>
                  <a:pt x="3" y="137"/>
                  <a:pt x="3" y="136"/>
                </a:cubicBezTo>
                <a:cubicBezTo>
                  <a:pt x="6" y="133"/>
                  <a:pt x="8" y="133"/>
                  <a:pt x="8" y="133"/>
                </a:cubicBezTo>
                <a:cubicBezTo>
                  <a:pt x="8" y="133"/>
                  <a:pt x="9" y="133"/>
                  <a:pt x="11" y="133"/>
                </a:cubicBezTo>
                <a:cubicBezTo>
                  <a:pt x="12" y="133"/>
                  <a:pt x="15" y="131"/>
                  <a:pt x="17" y="130"/>
                </a:cubicBezTo>
                <a:cubicBezTo>
                  <a:pt x="19" y="129"/>
                  <a:pt x="23" y="126"/>
                  <a:pt x="23" y="126"/>
                </a:cubicBezTo>
                <a:cubicBezTo>
                  <a:pt x="23" y="126"/>
                  <a:pt x="25" y="124"/>
                  <a:pt x="26" y="123"/>
                </a:cubicBezTo>
                <a:cubicBezTo>
                  <a:pt x="26" y="122"/>
                  <a:pt x="28" y="121"/>
                  <a:pt x="30" y="119"/>
                </a:cubicBezTo>
                <a:cubicBezTo>
                  <a:pt x="33" y="118"/>
                  <a:pt x="39" y="113"/>
                  <a:pt x="39" y="113"/>
                </a:cubicBezTo>
                <a:cubicBezTo>
                  <a:pt x="39" y="113"/>
                  <a:pt x="40" y="111"/>
                  <a:pt x="40" y="111"/>
                </a:cubicBezTo>
                <a:cubicBezTo>
                  <a:pt x="40" y="109"/>
                  <a:pt x="43" y="107"/>
                  <a:pt x="43" y="107"/>
                </a:cubicBezTo>
                <a:cubicBezTo>
                  <a:pt x="44" y="106"/>
                  <a:pt x="46" y="103"/>
                  <a:pt x="47" y="102"/>
                </a:cubicBezTo>
                <a:cubicBezTo>
                  <a:pt x="48" y="101"/>
                  <a:pt x="48" y="99"/>
                  <a:pt x="48" y="99"/>
                </a:cubicBezTo>
                <a:cubicBezTo>
                  <a:pt x="48" y="99"/>
                  <a:pt x="49" y="97"/>
                  <a:pt x="50" y="97"/>
                </a:cubicBezTo>
                <a:cubicBezTo>
                  <a:pt x="50" y="97"/>
                  <a:pt x="51" y="95"/>
                  <a:pt x="51" y="95"/>
                </a:cubicBezTo>
                <a:cubicBezTo>
                  <a:pt x="51" y="94"/>
                  <a:pt x="51" y="91"/>
                  <a:pt x="50" y="90"/>
                </a:cubicBezTo>
                <a:cubicBezTo>
                  <a:pt x="48" y="90"/>
                  <a:pt x="47" y="90"/>
                  <a:pt x="46" y="90"/>
                </a:cubicBezTo>
                <a:cubicBezTo>
                  <a:pt x="45" y="90"/>
                  <a:pt x="46" y="89"/>
                  <a:pt x="46" y="88"/>
                </a:cubicBezTo>
                <a:cubicBezTo>
                  <a:pt x="46" y="88"/>
                  <a:pt x="47" y="87"/>
                  <a:pt x="47" y="85"/>
                </a:cubicBezTo>
                <a:cubicBezTo>
                  <a:pt x="47" y="84"/>
                  <a:pt x="47" y="82"/>
                  <a:pt x="46" y="81"/>
                </a:cubicBezTo>
                <a:cubicBezTo>
                  <a:pt x="45" y="79"/>
                  <a:pt x="46" y="79"/>
                  <a:pt x="47" y="78"/>
                </a:cubicBezTo>
                <a:cubicBezTo>
                  <a:pt x="47" y="77"/>
                  <a:pt x="47" y="73"/>
                  <a:pt x="47" y="71"/>
                </a:cubicBezTo>
                <a:cubicBezTo>
                  <a:pt x="47" y="70"/>
                  <a:pt x="50" y="69"/>
                  <a:pt x="51" y="68"/>
                </a:cubicBezTo>
                <a:cubicBezTo>
                  <a:pt x="51" y="67"/>
                  <a:pt x="52" y="64"/>
                  <a:pt x="52" y="61"/>
                </a:cubicBezTo>
                <a:cubicBezTo>
                  <a:pt x="52" y="57"/>
                  <a:pt x="55" y="54"/>
                  <a:pt x="56" y="54"/>
                </a:cubicBezTo>
                <a:cubicBezTo>
                  <a:pt x="57" y="53"/>
                  <a:pt x="59" y="51"/>
                  <a:pt x="62" y="48"/>
                </a:cubicBezTo>
                <a:cubicBezTo>
                  <a:pt x="65" y="44"/>
                  <a:pt x="75" y="39"/>
                  <a:pt x="80" y="36"/>
                </a:cubicBezTo>
                <a:cubicBezTo>
                  <a:pt x="85" y="33"/>
                  <a:pt x="84" y="32"/>
                  <a:pt x="86" y="31"/>
                </a:cubicBezTo>
                <a:cubicBezTo>
                  <a:pt x="87" y="30"/>
                  <a:pt x="87" y="27"/>
                  <a:pt x="88" y="24"/>
                </a:cubicBezTo>
                <a:cubicBezTo>
                  <a:pt x="89" y="21"/>
                  <a:pt x="92" y="16"/>
                  <a:pt x="92" y="16"/>
                </a:cubicBezTo>
                <a:cubicBezTo>
                  <a:pt x="92" y="16"/>
                  <a:pt x="93" y="15"/>
                  <a:pt x="94" y="14"/>
                </a:cubicBezTo>
                <a:cubicBezTo>
                  <a:pt x="94" y="14"/>
                  <a:pt x="95" y="10"/>
                  <a:pt x="96" y="9"/>
                </a:cubicBezTo>
                <a:cubicBezTo>
                  <a:pt x="97" y="8"/>
                  <a:pt x="98" y="4"/>
                  <a:pt x="98" y="4"/>
                </a:cubicBezTo>
                <a:cubicBezTo>
                  <a:pt x="98" y="4"/>
                  <a:pt x="100" y="2"/>
                  <a:pt x="101" y="1"/>
                </a:cubicBezTo>
                <a:cubicBezTo>
                  <a:pt x="102" y="0"/>
                  <a:pt x="104" y="0"/>
                  <a:pt x="104" y="0"/>
                </a:cubicBezTo>
                <a:cubicBezTo>
                  <a:pt x="104" y="0"/>
                  <a:pt x="105" y="0"/>
                  <a:pt x="107" y="0"/>
                </a:cubicBezTo>
                <a:cubicBezTo>
                  <a:pt x="109" y="0"/>
                  <a:pt x="107" y="2"/>
                  <a:pt x="107" y="2"/>
                </a:cubicBezTo>
                <a:cubicBezTo>
                  <a:pt x="107" y="3"/>
                  <a:pt x="108" y="4"/>
                  <a:pt x="109" y="5"/>
                </a:cubicBezTo>
                <a:cubicBezTo>
                  <a:pt x="109" y="7"/>
                  <a:pt x="109" y="8"/>
                  <a:pt x="109" y="8"/>
                </a:cubicBezTo>
                <a:cubicBezTo>
                  <a:pt x="109" y="8"/>
                  <a:pt x="109" y="9"/>
                  <a:pt x="111" y="10"/>
                </a:cubicBezTo>
                <a:cubicBezTo>
                  <a:pt x="113" y="12"/>
                  <a:pt x="115" y="12"/>
                  <a:pt x="116" y="12"/>
                </a:cubicBezTo>
                <a:cubicBezTo>
                  <a:pt x="117" y="12"/>
                  <a:pt x="120" y="11"/>
                  <a:pt x="122" y="11"/>
                </a:cubicBezTo>
                <a:cubicBezTo>
                  <a:pt x="122" y="11"/>
                  <a:pt x="129" y="12"/>
                  <a:pt x="130" y="12"/>
                </a:cubicBezTo>
                <a:cubicBezTo>
                  <a:pt x="131" y="13"/>
                  <a:pt x="131" y="12"/>
                  <a:pt x="132" y="12"/>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79" name="Algeria"/>
          <p:cNvSpPr>
            <a:spLocks/>
          </p:cNvSpPr>
          <p:nvPr/>
        </p:nvSpPr>
        <p:spPr bwMode="auto">
          <a:xfrm>
            <a:off x="5956109" y="2845646"/>
            <a:ext cx="543853" cy="614080"/>
          </a:xfrm>
          <a:custGeom>
            <a:avLst/>
            <a:gdLst>
              <a:gd name="T0" fmla="*/ 219 w 265"/>
              <a:gd name="T1" fmla="*/ 10 h 299"/>
              <a:gd name="T2" fmla="*/ 220 w 265"/>
              <a:gd name="T3" fmla="*/ 20 h 299"/>
              <a:gd name="T4" fmla="*/ 218 w 265"/>
              <a:gd name="T5" fmla="*/ 39 h 299"/>
              <a:gd name="T6" fmla="*/ 209 w 265"/>
              <a:gd name="T7" fmla="*/ 57 h 299"/>
              <a:gd name="T8" fmla="*/ 212 w 265"/>
              <a:gd name="T9" fmla="*/ 65 h 299"/>
              <a:gd name="T10" fmla="*/ 223 w 265"/>
              <a:gd name="T11" fmla="*/ 82 h 299"/>
              <a:gd name="T12" fmla="*/ 233 w 265"/>
              <a:gd name="T13" fmla="*/ 103 h 299"/>
              <a:gd name="T14" fmla="*/ 233 w 265"/>
              <a:gd name="T15" fmla="*/ 122 h 299"/>
              <a:gd name="T16" fmla="*/ 235 w 265"/>
              <a:gd name="T17" fmla="*/ 130 h 299"/>
              <a:gd name="T18" fmla="*/ 238 w 265"/>
              <a:gd name="T19" fmla="*/ 144 h 299"/>
              <a:gd name="T20" fmla="*/ 239 w 265"/>
              <a:gd name="T21" fmla="*/ 156 h 299"/>
              <a:gd name="T22" fmla="*/ 237 w 265"/>
              <a:gd name="T23" fmla="*/ 162 h 299"/>
              <a:gd name="T24" fmla="*/ 238 w 265"/>
              <a:gd name="T25" fmla="*/ 168 h 299"/>
              <a:gd name="T26" fmla="*/ 238 w 265"/>
              <a:gd name="T27" fmla="*/ 178 h 299"/>
              <a:gd name="T28" fmla="*/ 232 w 265"/>
              <a:gd name="T29" fmla="*/ 183 h 299"/>
              <a:gd name="T30" fmla="*/ 241 w 265"/>
              <a:gd name="T31" fmla="*/ 198 h 299"/>
              <a:gd name="T32" fmla="*/ 245 w 265"/>
              <a:gd name="T33" fmla="*/ 212 h 299"/>
              <a:gd name="T34" fmla="*/ 249 w 265"/>
              <a:gd name="T35" fmla="*/ 213 h 299"/>
              <a:gd name="T36" fmla="*/ 256 w 265"/>
              <a:gd name="T37" fmla="*/ 213 h 299"/>
              <a:gd name="T38" fmla="*/ 261 w 265"/>
              <a:gd name="T39" fmla="*/ 217 h 299"/>
              <a:gd name="T40" fmla="*/ 263 w 265"/>
              <a:gd name="T41" fmla="*/ 223 h 299"/>
              <a:gd name="T42" fmla="*/ 265 w 265"/>
              <a:gd name="T43" fmla="*/ 227 h 299"/>
              <a:gd name="T44" fmla="*/ 231 w 265"/>
              <a:gd name="T45" fmla="*/ 252 h 299"/>
              <a:gd name="T46" fmla="*/ 197 w 265"/>
              <a:gd name="T47" fmla="*/ 278 h 299"/>
              <a:gd name="T48" fmla="*/ 186 w 265"/>
              <a:gd name="T49" fmla="*/ 287 h 299"/>
              <a:gd name="T50" fmla="*/ 171 w 265"/>
              <a:gd name="T51" fmla="*/ 292 h 299"/>
              <a:gd name="T52" fmla="*/ 157 w 265"/>
              <a:gd name="T53" fmla="*/ 298 h 299"/>
              <a:gd name="T54" fmla="*/ 153 w 265"/>
              <a:gd name="T55" fmla="*/ 286 h 299"/>
              <a:gd name="T56" fmla="*/ 145 w 265"/>
              <a:gd name="T57" fmla="*/ 279 h 299"/>
              <a:gd name="T58" fmla="*/ 130 w 265"/>
              <a:gd name="T59" fmla="*/ 268 h 299"/>
              <a:gd name="T60" fmla="*/ 118 w 265"/>
              <a:gd name="T61" fmla="*/ 255 h 299"/>
              <a:gd name="T62" fmla="*/ 67 w 265"/>
              <a:gd name="T63" fmla="*/ 215 h 299"/>
              <a:gd name="T64" fmla="*/ 37 w 265"/>
              <a:gd name="T65" fmla="*/ 190 h 299"/>
              <a:gd name="T66" fmla="*/ 0 w 265"/>
              <a:gd name="T67" fmla="*/ 160 h 299"/>
              <a:gd name="T68" fmla="*/ 1 w 265"/>
              <a:gd name="T69" fmla="*/ 143 h 299"/>
              <a:gd name="T70" fmla="*/ 28 w 265"/>
              <a:gd name="T71" fmla="*/ 126 h 299"/>
              <a:gd name="T72" fmla="*/ 52 w 265"/>
              <a:gd name="T73" fmla="*/ 115 h 299"/>
              <a:gd name="T74" fmla="*/ 65 w 265"/>
              <a:gd name="T75" fmla="*/ 108 h 299"/>
              <a:gd name="T76" fmla="*/ 67 w 265"/>
              <a:gd name="T77" fmla="*/ 95 h 299"/>
              <a:gd name="T78" fmla="*/ 84 w 265"/>
              <a:gd name="T79" fmla="*/ 91 h 299"/>
              <a:gd name="T80" fmla="*/ 93 w 265"/>
              <a:gd name="T81" fmla="*/ 90 h 299"/>
              <a:gd name="T82" fmla="*/ 94 w 265"/>
              <a:gd name="T83" fmla="*/ 87 h 299"/>
              <a:gd name="T84" fmla="*/ 96 w 265"/>
              <a:gd name="T85" fmla="*/ 80 h 299"/>
              <a:gd name="T86" fmla="*/ 92 w 265"/>
              <a:gd name="T87" fmla="*/ 71 h 299"/>
              <a:gd name="T88" fmla="*/ 90 w 265"/>
              <a:gd name="T89" fmla="*/ 62 h 299"/>
              <a:gd name="T90" fmla="*/ 89 w 265"/>
              <a:gd name="T91" fmla="*/ 46 h 299"/>
              <a:gd name="T92" fmla="*/ 82 w 265"/>
              <a:gd name="T93" fmla="*/ 36 h 299"/>
              <a:gd name="T94" fmla="*/ 74 w 265"/>
              <a:gd name="T95" fmla="*/ 31 h 299"/>
              <a:gd name="T96" fmla="*/ 76 w 265"/>
              <a:gd name="T97" fmla="*/ 29 h 299"/>
              <a:gd name="T98" fmla="*/ 80 w 265"/>
              <a:gd name="T99" fmla="*/ 32 h 299"/>
              <a:gd name="T100" fmla="*/ 90 w 265"/>
              <a:gd name="T101" fmla="*/ 33 h 299"/>
              <a:gd name="T102" fmla="*/ 100 w 265"/>
              <a:gd name="T103" fmla="*/ 25 h 299"/>
              <a:gd name="T104" fmla="*/ 116 w 265"/>
              <a:gd name="T105" fmla="*/ 17 h 299"/>
              <a:gd name="T106" fmla="*/ 132 w 265"/>
              <a:gd name="T107" fmla="*/ 9 h 299"/>
              <a:gd name="T108" fmla="*/ 139 w 265"/>
              <a:gd name="T109" fmla="*/ 8 h 299"/>
              <a:gd name="T110" fmla="*/ 148 w 265"/>
              <a:gd name="T111" fmla="*/ 6 h 299"/>
              <a:gd name="T112" fmla="*/ 157 w 265"/>
              <a:gd name="T113" fmla="*/ 3 h 299"/>
              <a:gd name="T114" fmla="*/ 166 w 265"/>
              <a:gd name="T115" fmla="*/ 3 h 299"/>
              <a:gd name="T116" fmla="*/ 189 w 265"/>
              <a:gd name="T117" fmla="*/ 3 h 299"/>
              <a:gd name="T118" fmla="*/ 203 w 265"/>
              <a:gd name="T119" fmla="*/ 2 h 299"/>
              <a:gd name="T120" fmla="*/ 217 w 265"/>
              <a:gd name="T121" fmla="*/ 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5" h="299">
                <a:moveTo>
                  <a:pt x="219" y="4"/>
                </a:moveTo>
                <a:cubicBezTo>
                  <a:pt x="219" y="4"/>
                  <a:pt x="219" y="9"/>
                  <a:pt x="219" y="10"/>
                </a:cubicBezTo>
                <a:cubicBezTo>
                  <a:pt x="218" y="12"/>
                  <a:pt x="218" y="13"/>
                  <a:pt x="218" y="14"/>
                </a:cubicBezTo>
                <a:cubicBezTo>
                  <a:pt x="219" y="16"/>
                  <a:pt x="221" y="18"/>
                  <a:pt x="220" y="20"/>
                </a:cubicBezTo>
                <a:cubicBezTo>
                  <a:pt x="220" y="22"/>
                  <a:pt x="219" y="24"/>
                  <a:pt x="219" y="27"/>
                </a:cubicBezTo>
                <a:cubicBezTo>
                  <a:pt x="219" y="30"/>
                  <a:pt x="220" y="37"/>
                  <a:pt x="218" y="39"/>
                </a:cubicBezTo>
                <a:cubicBezTo>
                  <a:pt x="216" y="43"/>
                  <a:pt x="209" y="48"/>
                  <a:pt x="208" y="51"/>
                </a:cubicBezTo>
                <a:cubicBezTo>
                  <a:pt x="208" y="53"/>
                  <a:pt x="208" y="55"/>
                  <a:pt x="209" y="57"/>
                </a:cubicBezTo>
                <a:cubicBezTo>
                  <a:pt x="210" y="60"/>
                  <a:pt x="211" y="61"/>
                  <a:pt x="211" y="63"/>
                </a:cubicBezTo>
                <a:cubicBezTo>
                  <a:pt x="211" y="64"/>
                  <a:pt x="210" y="64"/>
                  <a:pt x="212" y="65"/>
                </a:cubicBezTo>
                <a:cubicBezTo>
                  <a:pt x="214" y="67"/>
                  <a:pt x="219" y="71"/>
                  <a:pt x="219" y="74"/>
                </a:cubicBezTo>
                <a:cubicBezTo>
                  <a:pt x="220" y="77"/>
                  <a:pt x="221" y="80"/>
                  <a:pt x="223" y="82"/>
                </a:cubicBezTo>
                <a:cubicBezTo>
                  <a:pt x="225" y="84"/>
                  <a:pt x="229" y="84"/>
                  <a:pt x="229" y="86"/>
                </a:cubicBezTo>
                <a:cubicBezTo>
                  <a:pt x="230" y="88"/>
                  <a:pt x="233" y="103"/>
                  <a:pt x="233" y="103"/>
                </a:cubicBezTo>
                <a:cubicBezTo>
                  <a:pt x="234" y="114"/>
                  <a:pt x="234" y="114"/>
                  <a:pt x="234" y="114"/>
                </a:cubicBezTo>
                <a:cubicBezTo>
                  <a:pt x="234" y="114"/>
                  <a:pt x="232" y="119"/>
                  <a:pt x="233" y="122"/>
                </a:cubicBezTo>
                <a:cubicBezTo>
                  <a:pt x="233" y="124"/>
                  <a:pt x="234" y="125"/>
                  <a:pt x="234" y="126"/>
                </a:cubicBezTo>
                <a:cubicBezTo>
                  <a:pt x="234" y="127"/>
                  <a:pt x="235" y="128"/>
                  <a:pt x="235" y="130"/>
                </a:cubicBezTo>
                <a:cubicBezTo>
                  <a:pt x="236" y="131"/>
                  <a:pt x="235" y="136"/>
                  <a:pt x="237" y="138"/>
                </a:cubicBezTo>
                <a:cubicBezTo>
                  <a:pt x="239" y="140"/>
                  <a:pt x="238" y="144"/>
                  <a:pt x="238" y="144"/>
                </a:cubicBezTo>
                <a:cubicBezTo>
                  <a:pt x="238" y="144"/>
                  <a:pt x="238" y="147"/>
                  <a:pt x="239" y="149"/>
                </a:cubicBezTo>
                <a:cubicBezTo>
                  <a:pt x="239" y="150"/>
                  <a:pt x="239" y="155"/>
                  <a:pt x="239" y="156"/>
                </a:cubicBezTo>
                <a:cubicBezTo>
                  <a:pt x="238" y="158"/>
                  <a:pt x="238" y="159"/>
                  <a:pt x="237" y="159"/>
                </a:cubicBezTo>
                <a:cubicBezTo>
                  <a:pt x="237" y="159"/>
                  <a:pt x="237" y="162"/>
                  <a:pt x="237" y="162"/>
                </a:cubicBezTo>
                <a:cubicBezTo>
                  <a:pt x="237" y="162"/>
                  <a:pt x="236" y="164"/>
                  <a:pt x="236" y="164"/>
                </a:cubicBezTo>
                <a:cubicBezTo>
                  <a:pt x="235" y="164"/>
                  <a:pt x="237" y="166"/>
                  <a:pt x="238" y="168"/>
                </a:cubicBezTo>
                <a:cubicBezTo>
                  <a:pt x="238" y="169"/>
                  <a:pt x="238" y="171"/>
                  <a:pt x="239" y="173"/>
                </a:cubicBezTo>
                <a:cubicBezTo>
                  <a:pt x="240" y="175"/>
                  <a:pt x="239" y="177"/>
                  <a:pt x="238" y="178"/>
                </a:cubicBezTo>
                <a:cubicBezTo>
                  <a:pt x="237" y="179"/>
                  <a:pt x="237" y="180"/>
                  <a:pt x="235" y="180"/>
                </a:cubicBezTo>
                <a:cubicBezTo>
                  <a:pt x="234" y="180"/>
                  <a:pt x="231" y="181"/>
                  <a:pt x="232" y="183"/>
                </a:cubicBezTo>
                <a:cubicBezTo>
                  <a:pt x="233" y="185"/>
                  <a:pt x="235" y="186"/>
                  <a:pt x="235" y="188"/>
                </a:cubicBezTo>
                <a:cubicBezTo>
                  <a:pt x="235" y="190"/>
                  <a:pt x="239" y="196"/>
                  <a:pt x="241" y="198"/>
                </a:cubicBezTo>
                <a:cubicBezTo>
                  <a:pt x="244" y="201"/>
                  <a:pt x="244" y="207"/>
                  <a:pt x="244" y="209"/>
                </a:cubicBezTo>
                <a:cubicBezTo>
                  <a:pt x="244" y="209"/>
                  <a:pt x="244" y="212"/>
                  <a:pt x="245" y="212"/>
                </a:cubicBezTo>
                <a:cubicBezTo>
                  <a:pt x="246" y="213"/>
                  <a:pt x="246" y="210"/>
                  <a:pt x="247" y="211"/>
                </a:cubicBezTo>
                <a:cubicBezTo>
                  <a:pt x="248" y="211"/>
                  <a:pt x="248" y="213"/>
                  <a:pt x="249" y="213"/>
                </a:cubicBezTo>
                <a:cubicBezTo>
                  <a:pt x="250" y="213"/>
                  <a:pt x="251" y="213"/>
                  <a:pt x="252" y="211"/>
                </a:cubicBezTo>
                <a:cubicBezTo>
                  <a:pt x="252" y="210"/>
                  <a:pt x="256" y="211"/>
                  <a:pt x="256" y="213"/>
                </a:cubicBezTo>
                <a:cubicBezTo>
                  <a:pt x="256" y="215"/>
                  <a:pt x="258" y="216"/>
                  <a:pt x="260" y="215"/>
                </a:cubicBezTo>
                <a:cubicBezTo>
                  <a:pt x="261" y="215"/>
                  <a:pt x="261" y="215"/>
                  <a:pt x="261" y="217"/>
                </a:cubicBezTo>
                <a:cubicBezTo>
                  <a:pt x="260" y="218"/>
                  <a:pt x="260" y="220"/>
                  <a:pt x="261" y="221"/>
                </a:cubicBezTo>
                <a:cubicBezTo>
                  <a:pt x="263" y="221"/>
                  <a:pt x="263" y="222"/>
                  <a:pt x="263" y="223"/>
                </a:cubicBezTo>
                <a:cubicBezTo>
                  <a:pt x="264" y="225"/>
                  <a:pt x="265" y="224"/>
                  <a:pt x="265" y="225"/>
                </a:cubicBezTo>
                <a:cubicBezTo>
                  <a:pt x="265" y="226"/>
                  <a:pt x="265" y="227"/>
                  <a:pt x="265" y="227"/>
                </a:cubicBezTo>
                <a:cubicBezTo>
                  <a:pt x="265" y="227"/>
                  <a:pt x="251" y="235"/>
                  <a:pt x="249" y="237"/>
                </a:cubicBezTo>
                <a:cubicBezTo>
                  <a:pt x="247" y="238"/>
                  <a:pt x="231" y="252"/>
                  <a:pt x="231" y="252"/>
                </a:cubicBezTo>
                <a:cubicBezTo>
                  <a:pt x="218" y="262"/>
                  <a:pt x="218" y="262"/>
                  <a:pt x="218" y="262"/>
                </a:cubicBezTo>
                <a:cubicBezTo>
                  <a:pt x="197" y="278"/>
                  <a:pt x="197" y="278"/>
                  <a:pt x="197" y="278"/>
                </a:cubicBezTo>
                <a:cubicBezTo>
                  <a:pt x="193" y="282"/>
                  <a:pt x="193" y="282"/>
                  <a:pt x="193" y="282"/>
                </a:cubicBezTo>
                <a:cubicBezTo>
                  <a:pt x="186" y="287"/>
                  <a:pt x="186" y="287"/>
                  <a:pt x="186" y="287"/>
                </a:cubicBezTo>
                <a:cubicBezTo>
                  <a:pt x="186" y="287"/>
                  <a:pt x="178" y="291"/>
                  <a:pt x="176" y="291"/>
                </a:cubicBezTo>
                <a:cubicBezTo>
                  <a:pt x="174" y="291"/>
                  <a:pt x="171" y="292"/>
                  <a:pt x="171" y="292"/>
                </a:cubicBezTo>
                <a:cubicBezTo>
                  <a:pt x="171" y="292"/>
                  <a:pt x="171" y="292"/>
                  <a:pt x="171" y="292"/>
                </a:cubicBezTo>
                <a:cubicBezTo>
                  <a:pt x="170" y="293"/>
                  <a:pt x="160" y="297"/>
                  <a:pt x="157" y="298"/>
                </a:cubicBezTo>
                <a:cubicBezTo>
                  <a:pt x="154" y="299"/>
                  <a:pt x="154" y="296"/>
                  <a:pt x="154" y="296"/>
                </a:cubicBezTo>
                <a:cubicBezTo>
                  <a:pt x="153" y="286"/>
                  <a:pt x="153" y="286"/>
                  <a:pt x="153" y="286"/>
                </a:cubicBezTo>
                <a:cubicBezTo>
                  <a:pt x="153" y="286"/>
                  <a:pt x="152" y="282"/>
                  <a:pt x="151" y="282"/>
                </a:cubicBezTo>
                <a:cubicBezTo>
                  <a:pt x="150" y="282"/>
                  <a:pt x="145" y="279"/>
                  <a:pt x="145" y="279"/>
                </a:cubicBezTo>
                <a:cubicBezTo>
                  <a:pt x="145" y="279"/>
                  <a:pt x="140" y="276"/>
                  <a:pt x="139" y="275"/>
                </a:cubicBezTo>
                <a:cubicBezTo>
                  <a:pt x="138" y="273"/>
                  <a:pt x="130" y="268"/>
                  <a:pt x="130" y="268"/>
                </a:cubicBezTo>
                <a:cubicBezTo>
                  <a:pt x="130" y="265"/>
                  <a:pt x="130" y="265"/>
                  <a:pt x="130" y="265"/>
                </a:cubicBezTo>
                <a:cubicBezTo>
                  <a:pt x="118" y="255"/>
                  <a:pt x="118" y="255"/>
                  <a:pt x="118" y="255"/>
                </a:cubicBezTo>
                <a:cubicBezTo>
                  <a:pt x="95" y="238"/>
                  <a:pt x="95" y="238"/>
                  <a:pt x="95" y="238"/>
                </a:cubicBezTo>
                <a:cubicBezTo>
                  <a:pt x="67" y="215"/>
                  <a:pt x="67" y="215"/>
                  <a:pt x="67" y="215"/>
                </a:cubicBezTo>
                <a:cubicBezTo>
                  <a:pt x="50" y="200"/>
                  <a:pt x="50" y="200"/>
                  <a:pt x="50" y="200"/>
                </a:cubicBezTo>
                <a:cubicBezTo>
                  <a:pt x="37" y="190"/>
                  <a:pt x="37" y="190"/>
                  <a:pt x="37" y="190"/>
                </a:cubicBezTo>
                <a:cubicBezTo>
                  <a:pt x="0" y="160"/>
                  <a:pt x="0" y="160"/>
                  <a:pt x="0" y="160"/>
                </a:cubicBezTo>
                <a:cubicBezTo>
                  <a:pt x="0" y="160"/>
                  <a:pt x="0" y="160"/>
                  <a:pt x="0" y="160"/>
                </a:cubicBezTo>
                <a:cubicBezTo>
                  <a:pt x="0" y="159"/>
                  <a:pt x="0" y="155"/>
                  <a:pt x="0" y="150"/>
                </a:cubicBezTo>
                <a:cubicBezTo>
                  <a:pt x="0" y="145"/>
                  <a:pt x="1" y="143"/>
                  <a:pt x="1" y="143"/>
                </a:cubicBezTo>
                <a:cubicBezTo>
                  <a:pt x="19" y="130"/>
                  <a:pt x="19" y="130"/>
                  <a:pt x="19" y="130"/>
                </a:cubicBezTo>
                <a:cubicBezTo>
                  <a:pt x="19" y="130"/>
                  <a:pt x="26" y="126"/>
                  <a:pt x="28" y="126"/>
                </a:cubicBezTo>
                <a:cubicBezTo>
                  <a:pt x="29" y="126"/>
                  <a:pt x="37" y="126"/>
                  <a:pt x="44" y="123"/>
                </a:cubicBezTo>
                <a:cubicBezTo>
                  <a:pt x="50" y="120"/>
                  <a:pt x="52" y="115"/>
                  <a:pt x="52" y="115"/>
                </a:cubicBezTo>
                <a:cubicBezTo>
                  <a:pt x="52" y="115"/>
                  <a:pt x="54" y="111"/>
                  <a:pt x="57" y="111"/>
                </a:cubicBezTo>
                <a:cubicBezTo>
                  <a:pt x="60" y="111"/>
                  <a:pt x="65" y="108"/>
                  <a:pt x="65" y="108"/>
                </a:cubicBezTo>
                <a:cubicBezTo>
                  <a:pt x="65" y="108"/>
                  <a:pt x="64" y="101"/>
                  <a:pt x="64" y="100"/>
                </a:cubicBezTo>
                <a:cubicBezTo>
                  <a:pt x="63" y="99"/>
                  <a:pt x="67" y="95"/>
                  <a:pt x="67" y="95"/>
                </a:cubicBezTo>
                <a:cubicBezTo>
                  <a:pt x="67" y="95"/>
                  <a:pt x="76" y="93"/>
                  <a:pt x="79" y="91"/>
                </a:cubicBezTo>
                <a:cubicBezTo>
                  <a:pt x="81" y="89"/>
                  <a:pt x="84" y="91"/>
                  <a:pt x="84" y="91"/>
                </a:cubicBezTo>
                <a:cubicBezTo>
                  <a:pt x="90" y="94"/>
                  <a:pt x="90" y="94"/>
                  <a:pt x="90" y="94"/>
                </a:cubicBezTo>
                <a:cubicBezTo>
                  <a:pt x="90" y="94"/>
                  <a:pt x="91" y="90"/>
                  <a:pt x="93" y="90"/>
                </a:cubicBezTo>
                <a:cubicBezTo>
                  <a:pt x="95" y="91"/>
                  <a:pt x="96" y="92"/>
                  <a:pt x="97" y="90"/>
                </a:cubicBezTo>
                <a:cubicBezTo>
                  <a:pt x="97" y="88"/>
                  <a:pt x="94" y="87"/>
                  <a:pt x="94" y="87"/>
                </a:cubicBezTo>
                <a:cubicBezTo>
                  <a:pt x="94" y="83"/>
                  <a:pt x="94" y="83"/>
                  <a:pt x="94" y="83"/>
                </a:cubicBezTo>
                <a:cubicBezTo>
                  <a:pt x="94" y="83"/>
                  <a:pt x="97" y="81"/>
                  <a:pt x="96" y="80"/>
                </a:cubicBezTo>
                <a:cubicBezTo>
                  <a:pt x="96" y="79"/>
                  <a:pt x="93" y="78"/>
                  <a:pt x="93" y="76"/>
                </a:cubicBezTo>
                <a:cubicBezTo>
                  <a:pt x="92" y="74"/>
                  <a:pt x="95" y="72"/>
                  <a:pt x="92" y="71"/>
                </a:cubicBezTo>
                <a:cubicBezTo>
                  <a:pt x="89" y="70"/>
                  <a:pt x="90" y="67"/>
                  <a:pt x="91" y="66"/>
                </a:cubicBezTo>
                <a:cubicBezTo>
                  <a:pt x="92" y="66"/>
                  <a:pt x="92" y="63"/>
                  <a:pt x="90" y="62"/>
                </a:cubicBezTo>
                <a:cubicBezTo>
                  <a:pt x="88" y="61"/>
                  <a:pt x="90" y="56"/>
                  <a:pt x="91" y="55"/>
                </a:cubicBezTo>
                <a:cubicBezTo>
                  <a:pt x="91" y="53"/>
                  <a:pt x="89" y="49"/>
                  <a:pt x="89" y="46"/>
                </a:cubicBezTo>
                <a:cubicBezTo>
                  <a:pt x="89" y="44"/>
                  <a:pt x="89" y="41"/>
                  <a:pt x="88" y="39"/>
                </a:cubicBezTo>
                <a:cubicBezTo>
                  <a:pt x="86" y="37"/>
                  <a:pt x="85" y="36"/>
                  <a:pt x="82" y="36"/>
                </a:cubicBezTo>
                <a:cubicBezTo>
                  <a:pt x="78" y="36"/>
                  <a:pt x="76" y="36"/>
                  <a:pt x="76" y="36"/>
                </a:cubicBezTo>
                <a:cubicBezTo>
                  <a:pt x="76" y="36"/>
                  <a:pt x="74" y="34"/>
                  <a:pt x="74" y="31"/>
                </a:cubicBezTo>
                <a:cubicBezTo>
                  <a:pt x="74" y="31"/>
                  <a:pt x="74" y="31"/>
                  <a:pt x="74" y="31"/>
                </a:cubicBezTo>
                <a:cubicBezTo>
                  <a:pt x="74" y="31"/>
                  <a:pt x="75" y="29"/>
                  <a:pt x="76" y="29"/>
                </a:cubicBezTo>
                <a:cubicBezTo>
                  <a:pt x="78" y="29"/>
                  <a:pt x="78" y="29"/>
                  <a:pt x="78" y="31"/>
                </a:cubicBezTo>
                <a:cubicBezTo>
                  <a:pt x="79" y="32"/>
                  <a:pt x="79" y="31"/>
                  <a:pt x="80" y="32"/>
                </a:cubicBezTo>
                <a:cubicBezTo>
                  <a:pt x="81" y="33"/>
                  <a:pt x="83" y="33"/>
                  <a:pt x="83" y="33"/>
                </a:cubicBezTo>
                <a:cubicBezTo>
                  <a:pt x="83" y="33"/>
                  <a:pt x="88" y="33"/>
                  <a:pt x="90" y="33"/>
                </a:cubicBezTo>
                <a:cubicBezTo>
                  <a:pt x="92" y="33"/>
                  <a:pt x="92" y="33"/>
                  <a:pt x="94" y="31"/>
                </a:cubicBezTo>
                <a:cubicBezTo>
                  <a:pt x="96" y="30"/>
                  <a:pt x="97" y="28"/>
                  <a:pt x="100" y="25"/>
                </a:cubicBezTo>
                <a:cubicBezTo>
                  <a:pt x="103" y="21"/>
                  <a:pt x="107" y="21"/>
                  <a:pt x="108" y="21"/>
                </a:cubicBezTo>
                <a:cubicBezTo>
                  <a:pt x="110" y="21"/>
                  <a:pt x="112" y="20"/>
                  <a:pt x="116" y="17"/>
                </a:cubicBezTo>
                <a:cubicBezTo>
                  <a:pt x="119" y="14"/>
                  <a:pt x="128" y="10"/>
                  <a:pt x="128" y="10"/>
                </a:cubicBezTo>
                <a:cubicBezTo>
                  <a:pt x="132" y="9"/>
                  <a:pt x="132" y="9"/>
                  <a:pt x="132" y="9"/>
                </a:cubicBezTo>
                <a:cubicBezTo>
                  <a:pt x="132" y="9"/>
                  <a:pt x="135" y="8"/>
                  <a:pt x="136" y="8"/>
                </a:cubicBezTo>
                <a:cubicBezTo>
                  <a:pt x="137" y="9"/>
                  <a:pt x="139" y="8"/>
                  <a:pt x="139" y="8"/>
                </a:cubicBezTo>
                <a:cubicBezTo>
                  <a:pt x="139" y="8"/>
                  <a:pt x="142" y="6"/>
                  <a:pt x="144" y="7"/>
                </a:cubicBezTo>
                <a:cubicBezTo>
                  <a:pt x="146" y="8"/>
                  <a:pt x="148" y="6"/>
                  <a:pt x="148" y="6"/>
                </a:cubicBezTo>
                <a:cubicBezTo>
                  <a:pt x="148" y="6"/>
                  <a:pt x="150" y="4"/>
                  <a:pt x="152" y="3"/>
                </a:cubicBezTo>
                <a:cubicBezTo>
                  <a:pt x="154" y="1"/>
                  <a:pt x="155" y="2"/>
                  <a:pt x="157" y="3"/>
                </a:cubicBezTo>
                <a:cubicBezTo>
                  <a:pt x="158" y="4"/>
                  <a:pt x="160" y="4"/>
                  <a:pt x="161" y="4"/>
                </a:cubicBezTo>
                <a:cubicBezTo>
                  <a:pt x="161" y="3"/>
                  <a:pt x="164" y="3"/>
                  <a:pt x="166" y="3"/>
                </a:cubicBezTo>
                <a:cubicBezTo>
                  <a:pt x="168" y="2"/>
                  <a:pt x="179" y="3"/>
                  <a:pt x="181" y="5"/>
                </a:cubicBezTo>
                <a:cubicBezTo>
                  <a:pt x="184" y="6"/>
                  <a:pt x="188" y="4"/>
                  <a:pt x="189" y="3"/>
                </a:cubicBezTo>
                <a:cubicBezTo>
                  <a:pt x="189" y="3"/>
                  <a:pt x="194" y="3"/>
                  <a:pt x="195" y="1"/>
                </a:cubicBezTo>
                <a:cubicBezTo>
                  <a:pt x="197" y="0"/>
                  <a:pt x="200" y="0"/>
                  <a:pt x="203" y="2"/>
                </a:cubicBezTo>
                <a:cubicBezTo>
                  <a:pt x="205" y="3"/>
                  <a:pt x="208" y="2"/>
                  <a:pt x="212" y="2"/>
                </a:cubicBezTo>
                <a:cubicBezTo>
                  <a:pt x="215" y="1"/>
                  <a:pt x="216" y="2"/>
                  <a:pt x="217" y="4"/>
                </a:cubicBezTo>
                <a:cubicBezTo>
                  <a:pt x="218" y="5"/>
                  <a:pt x="219" y="4"/>
                  <a:pt x="219" y="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0" name="Tunisia"/>
          <p:cNvSpPr>
            <a:spLocks/>
          </p:cNvSpPr>
          <p:nvPr/>
        </p:nvSpPr>
        <p:spPr bwMode="auto">
          <a:xfrm>
            <a:off x="6382371" y="2842378"/>
            <a:ext cx="111056" cy="246612"/>
          </a:xfrm>
          <a:custGeom>
            <a:avLst/>
            <a:gdLst>
              <a:gd name="T0" fmla="*/ 11 w 54"/>
              <a:gd name="T1" fmla="*/ 6 h 120"/>
              <a:gd name="T2" fmla="*/ 11 w 54"/>
              <a:gd name="T3" fmla="*/ 12 h 120"/>
              <a:gd name="T4" fmla="*/ 10 w 54"/>
              <a:gd name="T5" fmla="*/ 16 h 120"/>
              <a:gd name="T6" fmla="*/ 12 w 54"/>
              <a:gd name="T7" fmla="*/ 22 h 120"/>
              <a:gd name="T8" fmla="*/ 11 w 54"/>
              <a:gd name="T9" fmla="*/ 29 h 120"/>
              <a:gd name="T10" fmla="*/ 10 w 54"/>
              <a:gd name="T11" fmla="*/ 41 h 120"/>
              <a:gd name="T12" fmla="*/ 0 w 54"/>
              <a:gd name="T13" fmla="*/ 53 h 120"/>
              <a:gd name="T14" fmla="*/ 1 w 54"/>
              <a:gd name="T15" fmla="*/ 59 h 120"/>
              <a:gd name="T16" fmla="*/ 3 w 54"/>
              <a:gd name="T17" fmla="*/ 65 h 120"/>
              <a:gd name="T18" fmla="*/ 4 w 54"/>
              <a:gd name="T19" fmla="*/ 67 h 120"/>
              <a:gd name="T20" fmla="*/ 11 w 54"/>
              <a:gd name="T21" fmla="*/ 76 h 120"/>
              <a:gd name="T22" fmla="*/ 15 w 54"/>
              <a:gd name="T23" fmla="*/ 84 h 120"/>
              <a:gd name="T24" fmla="*/ 21 w 54"/>
              <a:gd name="T25" fmla="*/ 88 h 120"/>
              <a:gd name="T26" fmla="*/ 25 w 54"/>
              <a:gd name="T27" fmla="*/ 105 h 120"/>
              <a:gd name="T28" fmla="*/ 26 w 54"/>
              <a:gd name="T29" fmla="*/ 116 h 120"/>
              <a:gd name="T30" fmla="*/ 29 w 54"/>
              <a:gd name="T31" fmla="*/ 120 h 120"/>
              <a:gd name="T32" fmla="*/ 35 w 54"/>
              <a:gd name="T33" fmla="*/ 114 h 120"/>
              <a:gd name="T34" fmla="*/ 40 w 54"/>
              <a:gd name="T35" fmla="*/ 105 h 120"/>
              <a:gd name="T36" fmla="*/ 41 w 54"/>
              <a:gd name="T37" fmla="*/ 98 h 120"/>
              <a:gd name="T38" fmla="*/ 41 w 54"/>
              <a:gd name="T39" fmla="*/ 89 h 120"/>
              <a:gd name="T40" fmla="*/ 43 w 54"/>
              <a:gd name="T41" fmla="*/ 88 h 120"/>
              <a:gd name="T42" fmla="*/ 50 w 54"/>
              <a:gd name="T43" fmla="*/ 83 h 120"/>
              <a:gd name="T44" fmla="*/ 52 w 54"/>
              <a:gd name="T45" fmla="*/ 76 h 120"/>
              <a:gd name="T46" fmla="*/ 53 w 54"/>
              <a:gd name="T47" fmla="*/ 70 h 120"/>
              <a:gd name="T48" fmla="*/ 54 w 54"/>
              <a:gd name="T49" fmla="*/ 65 h 120"/>
              <a:gd name="T50" fmla="*/ 52 w 54"/>
              <a:gd name="T51" fmla="*/ 61 h 120"/>
              <a:gd name="T52" fmla="*/ 50 w 54"/>
              <a:gd name="T53" fmla="*/ 57 h 120"/>
              <a:gd name="T54" fmla="*/ 47 w 54"/>
              <a:gd name="T55" fmla="*/ 58 h 120"/>
              <a:gd name="T56" fmla="*/ 42 w 54"/>
              <a:gd name="T57" fmla="*/ 60 h 120"/>
              <a:gd name="T58" fmla="*/ 38 w 54"/>
              <a:gd name="T59" fmla="*/ 57 h 120"/>
              <a:gd name="T60" fmla="*/ 39 w 54"/>
              <a:gd name="T61" fmla="*/ 50 h 120"/>
              <a:gd name="T62" fmla="*/ 40 w 54"/>
              <a:gd name="T63" fmla="*/ 48 h 120"/>
              <a:gd name="T64" fmla="*/ 45 w 54"/>
              <a:gd name="T65" fmla="*/ 45 h 120"/>
              <a:gd name="T66" fmla="*/ 47 w 54"/>
              <a:gd name="T67" fmla="*/ 43 h 120"/>
              <a:gd name="T68" fmla="*/ 49 w 54"/>
              <a:gd name="T69" fmla="*/ 37 h 120"/>
              <a:gd name="T70" fmla="*/ 49 w 54"/>
              <a:gd name="T71" fmla="*/ 29 h 120"/>
              <a:gd name="T72" fmla="*/ 44 w 54"/>
              <a:gd name="T73" fmla="*/ 20 h 120"/>
              <a:gd name="T74" fmla="*/ 43 w 54"/>
              <a:gd name="T75" fmla="*/ 15 h 120"/>
              <a:gd name="T76" fmla="*/ 48 w 54"/>
              <a:gd name="T77" fmla="*/ 10 h 120"/>
              <a:gd name="T78" fmla="*/ 48 w 54"/>
              <a:gd name="T79" fmla="*/ 3 h 120"/>
              <a:gd name="T80" fmla="*/ 46 w 54"/>
              <a:gd name="T81" fmla="*/ 5 h 120"/>
              <a:gd name="T82" fmla="*/ 44 w 54"/>
              <a:gd name="T83" fmla="*/ 8 h 120"/>
              <a:gd name="T84" fmla="*/ 41 w 54"/>
              <a:gd name="T85" fmla="*/ 5 h 120"/>
              <a:gd name="T86" fmla="*/ 40 w 54"/>
              <a:gd name="T87" fmla="*/ 1 h 120"/>
              <a:gd name="T88" fmla="*/ 34 w 54"/>
              <a:gd name="T89" fmla="*/ 2 h 120"/>
              <a:gd name="T90" fmla="*/ 26 w 54"/>
              <a:gd name="T91" fmla="*/ 0 h 120"/>
              <a:gd name="T92" fmla="*/ 20 w 54"/>
              <a:gd name="T93" fmla="*/ 3 h 120"/>
              <a:gd name="T94" fmla="*/ 17 w 54"/>
              <a:gd name="T95" fmla="*/ 4 h 120"/>
              <a:gd name="T96" fmla="*/ 12 w 54"/>
              <a:gd name="T97" fmla="*/ 6 h 120"/>
              <a:gd name="T98" fmla="*/ 11 w 54"/>
              <a:gd name="T99"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120">
                <a:moveTo>
                  <a:pt x="11" y="6"/>
                </a:moveTo>
                <a:cubicBezTo>
                  <a:pt x="11" y="6"/>
                  <a:pt x="11" y="11"/>
                  <a:pt x="11" y="12"/>
                </a:cubicBezTo>
                <a:cubicBezTo>
                  <a:pt x="10" y="14"/>
                  <a:pt x="10" y="15"/>
                  <a:pt x="10" y="16"/>
                </a:cubicBezTo>
                <a:cubicBezTo>
                  <a:pt x="11" y="18"/>
                  <a:pt x="13" y="20"/>
                  <a:pt x="12" y="22"/>
                </a:cubicBezTo>
                <a:cubicBezTo>
                  <a:pt x="12" y="24"/>
                  <a:pt x="11" y="26"/>
                  <a:pt x="11" y="29"/>
                </a:cubicBezTo>
                <a:cubicBezTo>
                  <a:pt x="11" y="32"/>
                  <a:pt x="12" y="39"/>
                  <a:pt x="10" y="41"/>
                </a:cubicBezTo>
                <a:cubicBezTo>
                  <a:pt x="8" y="45"/>
                  <a:pt x="1" y="50"/>
                  <a:pt x="0" y="53"/>
                </a:cubicBezTo>
                <a:cubicBezTo>
                  <a:pt x="0" y="55"/>
                  <a:pt x="0" y="57"/>
                  <a:pt x="1" y="59"/>
                </a:cubicBezTo>
                <a:cubicBezTo>
                  <a:pt x="2" y="62"/>
                  <a:pt x="3" y="63"/>
                  <a:pt x="3" y="65"/>
                </a:cubicBezTo>
                <a:cubicBezTo>
                  <a:pt x="3" y="66"/>
                  <a:pt x="2" y="66"/>
                  <a:pt x="4" y="67"/>
                </a:cubicBezTo>
                <a:cubicBezTo>
                  <a:pt x="6" y="69"/>
                  <a:pt x="11" y="73"/>
                  <a:pt x="11" y="76"/>
                </a:cubicBezTo>
                <a:cubicBezTo>
                  <a:pt x="12" y="79"/>
                  <a:pt x="13" y="82"/>
                  <a:pt x="15" y="84"/>
                </a:cubicBezTo>
                <a:cubicBezTo>
                  <a:pt x="17" y="86"/>
                  <a:pt x="21" y="86"/>
                  <a:pt x="21" y="88"/>
                </a:cubicBezTo>
                <a:cubicBezTo>
                  <a:pt x="22" y="90"/>
                  <a:pt x="25" y="105"/>
                  <a:pt x="25" y="105"/>
                </a:cubicBezTo>
                <a:cubicBezTo>
                  <a:pt x="26" y="116"/>
                  <a:pt x="26" y="116"/>
                  <a:pt x="26" y="116"/>
                </a:cubicBezTo>
                <a:cubicBezTo>
                  <a:pt x="29" y="120"/>
                  <a:pt x="29" y="120"/>
                  <a:pt x="29" y="120"/>
                </a:cubicBezTo>
                <a:cubicBezTo>
                  <a:pt x="29" y="120"/>
                  <a:pt x="35" y="116"/>
                  <a:pt x="35" y="114"/>
                </a:cubicBezTo>
                <a:cubicBezTo>
                  <a:pt x="36" y="112"/>
                  <a:pt x="40" y="105"/>
                  <a:pt x="40" y="105"/>
                </a:cubicBezTo>
                <a:cubicBezTo>
                  <a:pt x="40" y="105"/>
                  <a:pt x="41" y="100"/>
                  <a:pt x="41" y="98"/>
                </a:cubicBezTo>
                <a:cubicBezTo>
                  <a:pt x="41" y="96"/>
                  <a:pt x="41" y="89"/>
                  <a:pt x="41" y="89"/>
                </a:cubicBezTo>
                <a:cubicBezTo>
                  <a:pt x="43" y="88"/>
                  <a:pt x="43" y="88"/>
                  <a:pt x="43" y="88"/>
                </a:cubicBezTo>
                <a:cubicBezTo>
                  <a:pt x="50" y="83"/>
                  <a:pt x="50" y="83"/>
                  <a:pt x="50" y="83"/>
                </a:cubicBezTo>
                <a:cubicBezTo>
                  <a:pt x="50" y="83"/>
                  <a:pt x="52" y="79"/>
                  <a:pt x="52" y="76"/>
                </a:cubicBezTo>
                <a:cubicBezTo>
                  <a:pt x="52" y="73"/>
                  <a:pt x="51" y="71"/>
                  <a:pt x="53" y="70"/>
                </a:cubicBezTo>
                <a:cubicBezTo>
                  <a:pt x="54" y="68"/>
                  <a:pt x="54" y="65"/>
                  <a:pt x="54" y="65"/>
                </a:cubicBezTo>
                <a:cubicBezTo>
                  <a:pt x="53" y="64"/>
                  <a:pt x="52" y="62"/>
                  <a:pt x="52" y="61"/>
                </a:cubicBezTo>
                <a:cubicBezTo>
                  <a:pt x="52" y="60"/>
                  <a:pt x="52" y="58"/>
                  <a:pt x="50" y="57"/>
                </a:cubicBezTo>
                <a:cubicBezTo>
                  <a:pt x="48" y="56"/>
                  <a:pt x="47" y="58"/>
                  <a:pt x="47" y="58"/>
                </a:cubicBezTo>
                <a:cubicBezTo>
                  <a:pt x="47" y="58"/>
                  <a:pt x="44" y="60"/>
                  <a:pt x="42" y="60"/>
                </a:cubicBezTo>
                <a:cubicBezTo>
                  <a:pt x="41" y="59"/>
                  <a:pt x="38" y="59"/>
                  <a:pt x="38" y="57"/>
                </a:cubicBezTo>
                <a:cubicBezTo>
                  <a:pt x="38" y="56"/>
                  <a:pt x="39" y="50"/>
                  <a:pt x="39" y="50"/>
                </a:cubicBezTo>
                <a:cubicBezTo>
                  <a:pt x="39" y="50"/>
                  <a:pt x="39" y="49"/>
                  <a:pt x="40" y="48"/>
                </a:cubicBezTo>
                <a:cubicBezTo>
                  <a:pt x="41" y="48"/>
                  <a:pt x="45" y="45"/>
                  <a:pt x="45" y="45"/>
                </a:cubicBezTo>
                <a:cubicBezTo>
                  <a:pt x="45" y="45"/>
                  <a:pt x="47" y="44"/>
                  <a:pt x="47" y="43"/>
                </a:cubicBezTo>
                <a:cubicBezTo>
                  <a:pt x="47" y="42"/>
                  <a:pt x="48" y="39"/>
                  <a:pt x="49" y="37"/>
                </a:cubicBezTo>
                <a:cubicBezTo>
                  <a:pt x="50" y="35"/>
                  <a:pt x="49" y="30"/>
                  <a:pt x="49" y="29"/>
                </a:cubicBezTo>
                <a:cubicBezTo>
                  <a:pt x="48" y="27"/>
                  <a:pt x="44" y="20"/>
                  <a:pt x="44" y="20"/>
                </a:cubicBezTo>
                <a:cubicBezTo>
                  <a:pt x="44" y="20"/>
                  <a:pt x="41" y="16"/>
                  <a:pt x="43" y="15"/>
                </a:cubicBezTo>
                <a:cubicBezTo>
                  <a:pt x="45" y="14"/>
                  <a:pt x="46" y="13"/>
                  <a:pt x="48" y="10"/>
                </a:cubicBezTo>
                <a:cubicBezTo>
                  <a:pt x="49" y="7"/>
                  <a:pt x="49" y="4"/>
                  <a:pt x="48" y="3"/>
                </a:cubicBezTo>
                <a:cubicBezTo>
                  <a:pt x="48" y="2"/>
                  <a:pt x="46" y="4"/>
                  <a:pt x="46" y="5"/>
                </a:cubicBezTo>
                <a:cubicBezTo>
                  <a:pt x="46" y="6"/>
                  <a:pt x="44" y="9"/>
                  <a:pt x="44" y="8"/>
                </a:cubicBezTo>
                <a:cubicBezTo>
                  <a:pt x="43" y="8"/>
                  <a:pt x="41" y="5"/>
                  <a:pt x="41" y="5"/>
                </a:cubicBezTo>
                <a:cubicBezTo>
                  <a:pt x="41" y="4"/>
                  <a:pt x="41" y="1"/>
                  <a:pt x="40" y="1"/>
                </a:cubicBezTo>
                <a:cubicBezTo>
                  <a:pt x="38" y="2"/>
                  <a:pt x="35" y="3"/>
                  <a:pt x="34" y="2"/>
                </a:cubicBezTo>
                <a:cubicBezTo>
                  <a:pt x="33" y="1"/>
                  <a:pt x="29" y="0"/>
                  <a:pt x="26" y="0"/>
                </a:cubicBezTo>
                <a:cubicBezTo>
                  <a:pt x="23" y="1"/>
                  <a:pt x="21" y="1"/>
                  <a:pt x="20" y="3"/>
                </a:cubicBezTo>
                <a:cubicBezTo>
                  <a:pt x="19" y="4"/>
                  <a:pt x="19" y="5"/>
                  <a:pt x="17" y="4"/>
                </a:cubicBezTo>
                <a:cubicBezTo>
                  <a:pt x="15" y="4"/>
                  <a:pt x="12" y="6"/>
                  <a:pt x="12" y="6"/>
                </a:cubicBezTo>
                <a:cubicBezTo>
                  <a:pt x="12" y="6"/>
                  <a:pt x="12" y="6"/>
                  <a:pt x="11" y="6"/>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1" name="Libya"/>
          <p:cNvSpPr>
            <a:spLocks/>
          </p:cNvSpPr>
          <p:nvPr/>
        </p:nvSpPr>
        <p:spPr bwMode="auto">
          <a:xfrm>
            <a:off x="6429734" y="2974667"/>
            <a:ext cx="408298" cy="463826"/>
          </a:xfrm>
          <a:custGeom>
            <a:avLst/>
            <a:gdLst>
              <a:gd name="T0" fmla="*/ 30 w 199"/>
              <a:gd name="T1" fmla="*/ 5 h 226"/>
              <a:gd name="T2" fmla="*/ 27 w 199"/>
              <a:gd name="T3" fmla="*/ 18 h 226"/>
              <a:gd name="T4" fmla="*/ 18 w 199"/>
              <a:gd name="T5" fmla="*/ 24 h 226"/>
              <a:gd name="T6" fmla="*/ 17 w 199"/>
              <a:gd name="T7" fmla="*/ 40 h 226"/>
              <a:gd name="T8" fmla="*/ 6 w 199"/>
              <a:gd name="T9" fmla="*/ 55 h 226"/>
              <a:gd name="T10" fmla="*/ 2 w 199"/>
              <a:gd name="T11" fmla="*/ 59 h 226"/>
              <a:gd name="T12" fmla="*/ 4 w 199"/>
              <a:gd name="T13" fmla="*/ 67 h 226"/>
              <a:gd name="T14" fmla="*/ 7 w 199"/>
              <a:gd name="T15" fmla="*/ 81 h 226"/>
              <a:gd name="T16" fmla="*/ 8 w 199"/>
              <a:gd name="T17" fmla="*/ 93 h 226"/>
              <a:gd name="T18" fmla="*/ 6 w 199"/>
              <a:gd name="T19" fmla="*/ 99 h 226"/>
              <a:gd name="T20" fmla="*/ 7 w 199"/>
              <a:gd name="T21" fmla="*/ 105 h 226"/>
              <a:gd name="T22" fmla="*/ 7 w 199"/>
              <a:gd name="T23" fmla="*/ 115 h 226"/>
              <a:gd name="T24" fmla="*/ 1 w 199"/>
              <a:gd name="T25" fmla="*/ 120 h 226"/>
              <a:gd name="T26" fmla="*/ 10 w 199"/>
              <a:gd name="T27" fmla="*/ 135 h 226"/>
              <a:gd name="T28" fmla="*/ 14 w 199"/>
              <a:gd name="T29" fmla="*/ 149 h 226"/>
              <a:gd name="T30" fmla="*/ 18 w 199"/>
              <a:gd name="T31" fmla="*/ 150 h 226"/>
              <a:gd name="T32" fmla="*/ 25 w 199"/>
              <a:gd name="T33" fmla="*/ 150 h 226"/>
              <a:gd name="T34" fmla="*/ 30 w 199"/>
              <a:gd name="T35" fmla="*/ 154 h 226"/>
              <a:gd name="T36" fmla="*/ 32 w 199"/>
              <a:gd name="T37" fmla="*/ 160 h 226"/>
              <a:gd name="T38" fmla="*/ 34 w 199"/>
              <a:gd name="T39" fmla="*/ 164 h 226"/>
              <a:gd name="T40" fmla="*/ 45 w 199"/>
              <a:gd name="T41" fmla="*/ 169 h 226"/>
              <a:gd name="T42" fmla="*/ 57 w 199"/>
              <a:gd name="T43" fmla="*/ 170 h 226"/>
              <a:gd name="T44" fmla="*/ 68 w 199"/>
              <a:gd name="T45" fmla="*/ 174 h 226"/>
              <a:gd name="T46" fmla="*/ 79 w 199"/>
              <a:gd name="T47" fmla="*/ 165 h 226"/>
              <a:gd name="T48" fmla="*/ 92 w 199"/>
              <a:gd name="T49" fmla="*/ 172 h 226"/>
              <a:gd name="T50" fmla="*/ 188 w 199"/>
              <a:gd name="T51" fmla="*/ 226 h 226"/>
              <a:gd name="T52" fmla="*/ 194 w 199"/>
              <a:gd name="T53" fmla="*/ 220 h 226"/>
              <a:gd name="T54" fmla="*/ 199 w 199"/>
              <a:gd name="T55" fmla="*/ 201 h 226"/>
              <a:gd name="T56" fmla="*/ 197 w 199"/>
              <a:gd name="T57" fmla="*/ 95 h 226"/>
              <a:gd name="T58" fmla="*/ 195 w 199"/>
              <a:gd name="T59" fmla="*/ 62 h 226"/>
              <a:gd name="T60" fmla="*/ 195 w 199"/>
              <a:gd name="T61" fmla="*/ 40 h 226"/>
              <a:gd name="T62" fmla="*/ 197 w 199"/>
              <a:gd name="T63" fmla="*/ 24 h 226"/>
              <a:gd name="T64" fmla="*/ 187 w 199"/>
              <a:gd name="T65" fmla="*/ 20 h 226"/>
              <a:gd name="T66" fmla="*/ 178 w 199"/>
              <a:gd name="T67" fmla="*/ 13 h 226"/>
              <a:gd name="T68" fmla="*/ 168 w 199"/>
              <a:gd name="T69" fmla="*/ 10 h 226"/>
              <a:gd name="T70" fmla="*/ 163 w 199"/>
              <a:gd name="T71" fmla="*/ 9 h 226"/>
              <a:gd name="T72" fmla="*/ 151 w 199"/>
              <a:gd name="T73" fmla="*/ 12 h 226"/>
              <a:gd name="T74" fmla="*/ 143 w 199"/>
              <a:gd name="T75" fmla="*/ 25 h 226"/>
              <a:gd name="T76" fmla="*/ 146 w 199"/>
              <a:gd name="T77" fmla="*/ 36 h 226"/>
              <a:gd name="T78" fmla="*/ 145 w 199"/>
              <a:gd name="T79" fmla="*/ 44 h 226"/>
              <a:gd name="T80" fmla="*/ 128 w 199"/>
              <a:gd name="T81" fmla="*/ 51 h 226"/>
              <a:gd name="T82" fmla="*/ 118 w 199"/>
              <a:gd name="T83" fmla="*/ 42 h 226"/>
              <a:gd name="T84" fmla="*/ 91 w 199"/>
              <a:gd name="T85" fmla="*/ 34 h 226"/>
              <a:gd name="T86" fmla="*/ 85 w 199"/>
              <a:gd name="T87" fmla="*/ 28 h 226"/>
              <a:gd name="T88" fmla="*/ 83 w 199"/>
              <a:gd name="T89" fmla="*/ 20 h 226"/>
              <a:gd name="T90" fmla="*/ 73 w 199"/>
              <a:gd name="T91" fmla="*/ 15 h 226"/>
              <a:gd name="T92" fmla="*/ 60 w 199"/>
              <a:gd name="T93" fmla="*/ 10 h 226"/>
              <a:gd name="T94" fmla="*/ 52 w 199"/>
              <a:gd name="T95" fmla="*/ 9 h 226"/>
              <a:gd name="T96" fmla="*/ 43 w 199"/>
              <a:gd name="T97" fmla="*/ 8 h 226"/>
              <a:gd name="T98" fmla="*/ 36 w 199"/>
              <a:gd name="T99" fmla="*/ 4 h 226"/>
              <a:gd name="T100" fmla="*/ 31 w 199"/>
              <a:gd name="T10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226">
                <a:moveTo>
                  <a:pt x="31" y="0"/>
                </a:moveTo>
                <a:cubicBezTo>
                  <a:pt x="31" y="0"/>
                  <a:pt x="31" y="3"/>
                  <a:pt x="30" y="5"/>
                </a:cubicBezTo>
                <a:cubicBezTo>
                  <a:pt x="28" y="6"/>
                  <a:pt x="29" y="8"/>
                  <a:pt x="29" y="11"/>
                </a:cubicBezTo>
                <a:cubicBezTo>
                  <a:pt x="29" y="14"/>
                  <a:pt x="27" y="18"/>
                  <a:pt x="27" y="18"/>
                </a:cubicBezTo>
                <a:cubicBezTo>
                  <a:pt x="20" y="23"/>
                  <a:pt x="20" y="23"/>
                  <a:pt x="20" y="23"/>
                </a:cubicBezTo>
                <a:cubicBezTo>
                  <a:pt x="18" y="24"/>
                  <a:pt x="18" y="24"/>
                  <a:pt x="18" y="24"/>
                </a:cubicBezTo>
                <a:cubicBezTo>
                  <a:pt x="18" y="24"/>
                  <a:pt x="18" y="31"/>
                  <a:pt x="18" y="33"/>
                </a:cubicBezTo>
                <a:cubicBezTo>
                  <a:pt x="18" y="35"/>
                  <a:pt x="17" y="40"/>
                  <a:pt x="17" y="40"/>
                </a:cubicBezTo>
                <a:cubicBezTo>
                  <a:pt x="17" y="40"/>
                  <a:pt x="13" y="47"/>
                  <a:pt x="12" y="49"/>
                </a:cubicBezTo>
                <a:cubicBezTo>
                  <a:pt x="12" y="51"/>
                  <a:pt x="6" y="55"/>
                  <a:pt x="6" y="55"/>
                </a:cubicBezTo>
                <a:cubicBezTo>
                  <a:pt x="3" y="51"/>
                  <a:pt x="3" y="51"/>
                  <a:pt x="3" y="51"/>
                </a:cubicBezTo>
                <a:cubicBezTo>
                  <a:pt x="3" y="51"/>
                  <a:pt x="1" y="56"/>
                  <a:pt x="2" y="59"/>
                </a:cubicBezTo>
                <a:cubicBezTo>
                  <a:pt x="2" y="61"/>
                  <a:pt x="3" y="62"/>
                  <a:pt x="3" y="63"/>
                </a:cubicBezTo>
                <a:cubicBezTo>
                  <a:pt x="3" y="64"/>
                  <a:pt x="4" y="65"/>
                  <a:pt x="4" y="67"/>
                </a:cubicBezTo>
                <a:cubicBezTo>
                  <a:pt x="5" y="68"/>
                  <a:pt x="4" y="73"/>
                  <a:pt x="6" y="75"/>
                </a:cubicBezTo>
                <a:cubicBezTo>
                  <a:pt x="8" y="77"/>
                  <a:pt x="7" y="81"/>
                  <a:pt x="7" y="81"/>
                </a:cubicBezTo>
                <a:cubicBezTo>
                  <a:pt x="7" y="81"/>
                  <a:pt x="7" y="84"/>
                  <a:pt x="8" y="86"/>
                </a:cubicBezTo>
                <a:cubicBezTo>
                  <a:pt x="8" y="87"/>
                  <a:pt x="8" y="92"/>
                  <a:pt x="8" y="93"/>
                </a:cubicBezTo>
                <a:cubicBezTo>
                  <a:pt x="7" y="95"/>
                  <a:pt x="7" y="96"/>
                  <a:pt x="6" y="96"/>
                </a:cubicBezTo>
                <a:cubicBezTo>
                  <a:pt x="6" y="96"/>
                  <a:pt x="6" y="99"/>
                  <a:pt x="6" y="99"/>
                </a:cubicBezTo>
                <a:cubicBezTo>
                  <a:pt x="6" y="99"/>
                  <a:pt x="5" y="101"/>
                  <a:pt x="5" y="101"/>
                </a:cubicBezTo>
                <a:cubicBezTo>
                  <a:pt x="4" y="101"/>
                  <a:pt x="6" y="103"/>
                  <a:pt x="7" y="105"/>
                </a:cubicBezTo>
                <a:cubicBezTo>
                  <a:pt x="7" y="106"/>
                  <a:pt x="7" y="108"/>
                  <a:pt x="8" y="110"/>
                </a:cubicBezTo>
                <a:cubicBezTo>
                  <a:pt x="9" y="112"/>
                  <a:pt x="8" y="114"/>
                  <a:pt x="7" y="115"/>
                </a:cubicBezTo>
                <a:cubicBezTo>
                  <a:pt x="6" y="116"/>
                  <a:pt x="6" y="117"/>
                  <a:pt x="4" y="117"/>
                </a:cubicBezTo>
                <a:cubicBezTo>
                  <a:pt x="3" y="117"/>
                  <a:pt x="0" y="118"/>
                  <a:pt x="1" y="120"/>
                </a:cubicBezTo>
                <a:cubicBezTo>
                  <a:pt x="2" y="122"/>
                  <a:pt x="4" y="123"/>
                  <a:pt x="4" y="125"/>
                </a:cubicBezTo>
                <a:cubicBezTo>
                  <a:pt x="4" y="127"/>
                  <a:pt x="8" y="133"/>
                  <a:pt x="10" y="135"/>
                </a:cubicBezTo>
                <a:cubicBezTo>
                  <a:pt x="13" y="138"/>
                  <a:pt x="13" y="144"/>
                  <a:pt x="13" y="146"/>
                </a:cubicBezTo>
                <a:cubicBezTo>
                  <a:pt x="13" y="146"/>
                  <a:pt x="13" y="149"/>
                  <a:pt x="14" y="149"/>
                </a:cubicBezTo>
                <a:cubicBezTo>
                  <a:pt x="15" y="150"/>
                  <a:pt x="15" y="147"/>
                  <a:pt x="16" y="148"/>
                </a:cubicBezTo>
                <a:cubicBezTo>
                  <a:pt x="17" y="148"/>
                  <a:pt x="17" y="150"/>
                  <a:pt x="18" y="150"/>
                </a:cubicBezTo>
                <a:cubicBezTo>
                  <a:pt x="19" y="150"/>
                  <a:pt x="20" y="150"/>
                  <a:pt x="21" y="148"/>
                </a:cubicBezTo>
                <a:cubicBezTo>
                  <a:pt x="21" y="147"/>
                  <a:pt x="25" y="148"/>
                  <a:pt x="25" y="150"/>
                </a:cubicBezTo>
                <a:cubicBezTo>
                  <a:pt x="25" y="152"/>
                  <a:pt x="27" y="153"/>
                  <a:pt x="29" y="152"/>
                </a:cubicBezTo>
                <a:cubicBezTo>
                  <a:pt x="30" y="152"/>
                  <a:pt x="30" y="152"/>
                  <a:pt x="30" y="154"/>
                </a:cubicBezTo>
                <a:cubicBezTo>
                  <a:pt x="29" y="155"/>
                  <a:pt x="29" y="157"/>
                  <a:pt x="30" y="158"/>
                </a:cubicBezTo>
                <a:cubicBezTo>
                  <a:pt x="32" y="158"/>
                  <a:pt x="32" y="159"/>
                  <a:pt x="32" y="160"/>
                </a:cubicBezTo>
                <a:cubicBezTo>
                  <a:pt x="33" y="162"/>
                  <a:pt x="34" y="161"/>
                  <a:pt x="34" y="162"/>
                </a:cubicBezTo>
                <a:cubicBezTo>
                  <a:pt x="34" y="163"/>
                  <a:pt x="34" y="164"/>
                  <a:pt x="34" y="164"/>
                </a:cubicBezTo>
                <a:cubicBezTo>
                  <a:pt x="34" y="164"/>
                  <a:pt x="37" y="167"/>
                  <a:pt x="38" y="167"/>
                </a:cubicBezTo>
                <a:cubicBezTo>
                  <a:pt x="40" y="167"/>
                  <a:pt x="45" y="169"/>
                  <a:pt x="45" y="169"/>
                </a:cubicBezTo>
                <a:cubicBezTo>
                  <a:pt x="51" y="169"/>
                  <a:pt x="51" y="169"/>
                  <a:pt x="51" y="169"/>
                </a:cubicBezTo>
                <a:cubicBezTo>
                  <a:pt x="57" y="170"/>
                  <a:pt x="57" y="170"/>
                  <a:pt x="57" y="170"/>
                </a:cubicBezTo>
                <a:cubicBezTo>
                  <a:pt x="62" y="175"/>
                  <a:pt x="62" y="175"/>
                  <a:pt x="62" y="175"/>
                </a:cubicBezTo>
                <a:cubicBezTo>
                  <a:pt x="62" y="175"/>
                  <a:pt x="63" y="176"/>
                  <a:pt x="68" y="174"/>
                </a:cubicBezTo>
                <a:cubicBezTo>
                  <a:pt x="72" y="171"/>
                  <a:pt x="74" y="171"/>
                  <a:pt x="74" y="171"/>
                </a:cubicBezTo>
                <a:cubicBezTo>
                  <a:pt x="74" y="171"/>
                  <a:pt x="77" y="166"/>
                  <a:pt x="79" y="165"/>
                </a:cubicBezTo>
                <a:cubicBezTo>
                  <a:pt x="82" y="163"/>
                  <a:pt x="87" y="165"/>
                  <a:pt x="88" y="167"/>
                </a:cubicBezTo>
                <a:cubicBezTo>
                  <a:pt x="89" y="169"/>
                  <a:pt x="92" y="172"/>
                  <a:pt x="92" y="172"/>
                </a:cubicBezTo>
                <a:cubicBezTo>
                  <a:pt x="121" y="187"/>
                  <a:pt x="121" y="187"/>
                  <a:pt x="121" y="187"/>
                </a:cubicBezTo>
                <a:cubicBezTo>
                  <a:pt x="188" y="226"/>
                  <a:pt x="188" y="226"/>
                  <a:pt x="188" y="226"/>
                </a:cubicBezTo>
                <a:cubicBezTo>
                  <a:pt x="189" y="220"/>
                  <a:pt x="189" y="220"/>
                  <a:pt x="189" y="220"/>
                </a:cubicBezTo>
                <a:cubicBezTo>
                  <a:pt x="189" y="220"/>
                  <a:pt x="189" y="220"/>
                  <a:pt x="194" y="220"/>
                </a:cubicBezTo>
                <a:cubicBezTo>
                  <a:pt x="199" y="219"/>
                  <a:pt x="199" y="217"/>
                  <a:pt x="199" y="217"/>
                </a:cubicBezTo>
                <a:cubicBezTo>
                  <a:pt x="199" y="201"/>
                  <a:pt x="199" y="201"/>
                  <a:pt x="199" y="201"/>
                </a:cubicBezTo>
                <a:cubicBezTo>
                  <a:pt x="199" y="139"/>
                  <a:pt x="199" y="139"/>
                  <a:pt x="199" y="139"/>
                </a:cubicBezTo>
                <a:cubicBezTo>
                  <a:pt x="197" y="95"/>
                  <a:pt x="197" y="95"/>
                  <a:pt x="197" y="95"/>
                </a:cubicBezTo>
                <a:cubicBezTo>
                  <a:pt x="197" y="76"/>
                  <a:pt x="197" y="76"/>
                  <a:pt x="197" y="76"/>
                </a:cubicBezTo>
                <a:cubicBezTo>
                  <a:pt x="197" y="76"/>
                  <a:pt x="198" y="67"/>
                  <a:pt x="195" y="62"/>
                </a:cubicBezTo>
                <a:cubicBezTo>
                  <a:pt x="193" y="57"/>
                  <a:pt x="194" y="51"/>
                  <a:pt x="195" y="48"/>
                </a:cubicBezTo>
                <a:cubicBezTo>
                  <a:pt x="197" y="46"/>
                  <a:pt x="196" y="43"/>
                  <a:pt x="195" y="40"/>
                </a:cubicBezTo>
                <a:cubicBezTo>
                  <a:pt x="194" y="36"/>
                  <a:pt x="194" y="34"/>
                  <a:pt x="196" y="30"/>
                </a:cubicBezTo>
                <a:cubicBezTo>
                  <a:pt x="197" y="27"/>
                  <a:pt x="197" y="24"/>
                  <a:pt x="197" y="24"/>
                </a:cubicBezTo>
                <a:cubicBezTo>
                  <a:pt x="197" y="24"/>
                  <a:pt x="196" y="23"/>
                  <a:pt x="195" y="23"/>
                </a:cubicBezTo>
                <a:cubicBezTo>
                  <a:pt x="193" y="21"/>
                  <a:pt x="187" y="20"/>
                  <a:pt x="187" y="20"/>
                </a:cubicBezTo>
                <a:cubicBezTo>
                  <a:pt x="187" y="20"/>
                  <a:pt x="184" y="20"/>
                  <a:pt x="184" y="18"/>
                </a:cubicBezTo>
                <a:cubicBezTo>
                  <a:pt x="183" y="16"/>
                  <a:pt x="180" y="14"/>
                  <a:pt x="178" y="13"/>
                </a:cubicBezTo>
                <a:cubicBezTo>
                  <a:pt x="175" y="11"/>
                  <a:pt x="171" y="10"/>
                  <a:pt x="171" y="10"/>
                </a:cubicBezTo>
                <a:cubicBezTo>
                  <a:pt x="171" y="10"/>
                  <a:pt x="169" y="10"/>
                  <a:pt x="168" y="10"/>
                </a:cubicBezTo>
                <a:cubicBezTo>
                  <a:pt x="167" y="10"/>
                  <a:pt x="166" y="10"/>
                  <a:pt x="165" y="9"/>
                </a:cubicBezTo>
                <a:cubicBezTo>
                  <a:pt x="165" y="8"/>
                  <a:pt x="163" y="9"/>
                  <a:pt x="163" y="9"/>
                </a:cubicBezTo>
                <a:cubicBezTo>
                  <a:pt x="163" y="9"/>
                  <a:pt x="160" y="10"/>
                  <a:pt x="159" y="10"/>
                </a:cubicBezTo>
                <a:cubicBezTo>
                  <a:pt x="158" y="9"/>
                  <a:pt x="153" y="10"/>
                  <a:pt x="151" y="12"/>
                </a:cubicBezTo>
                <a:cubicBezTo>
                  <a:pt x="150" y="14"/>
                  <a:pt x="145" y="21"/>
                  <a:pt x="145" y="21"/>
                </a:cubicBezTo>
                <a:cubicBezTo>
                  <a:pt x="143" y="25"/>
                  <a:pt x="143" y="25"/>
                  <a:pt x="143" y="25"/>
                </a:cubicBezTo>
                <a:cubicBezTo>
                  <a:pt x="143" y="25"/>
                  <a:pt x="142" y="26"/>
                  <a:pt x="143" y="27"/>
                </a:cubicBezTo>
                <a:cubicBezTo>
                  <a:pt x="143" y="29"/>
                  <a:pt x="146" y="34"/>
                  <a:pt x="146" y="36"/>
                </a:cubicBezTo>
                <a:cubicBezTo>
                  <a:pt x="146" y="37"/>
                  <a:pt x="146" y="40"/>
                  <a:pt x="146" y="40"/>
                </a:cubicBezTo>
                <a:cubicBezTo>
                  <a:pt x="146" y="40"/>
                  <a:pt x="146" y="44"/>
                  <a:pt x="145" y="44"/>
                </a:cubicBezTo>
                <a:cubicBezTo>
                  <a:pt x="144" y="45"/>
                  <a:pt x="136" y="50"/>
                  <a:pt x="134" y="51"/>
                </a:cubicBezTo>
                <a:cubicBezTo>
                  <a:pt x="132" y="51"/>
                  <a:pt x="129" y="52"/>
                  <a:pt x="128" y="51"/>
                </a:cubicBezTo>
                <a:cubicBezTo>
                  <a:pt x="126" y="50"/>
                  <a:pt x="125" y="51"/>
                  <a:pt x="125" y="49"/>
                </a:cubicBezTo>
                <a:cubicBezTo>
                  <a:pt x="125" y="47"/>
                  <a:pt x="120" y="43"/>
                  <a:pt x="118" y="42"/>
                </a:cubicBezTo>
                <a:cubicBezTo>
                  <a:pt x="117" y="41"/>
                  <a:pt x="116" y="39"/>
                  <a:pt x="105" y="37"/>
                </a:cubicBezTo>
                <a:cubicBezTo>
                  <a:pt x="93" y="34"/>
                  <a:pt x="91" y="34"/>
                  <a:pt x="91" y="34"/>
                </a:cubicBezTo>
                <a:cubicBezTo>
                  <a:pt x="91" y="34"/>
                  <a:pt x="89" y="33"/>
                  <a:pt x="89" y="32"/>
                </a:cubicBezTo>
                <a:cubicBezTo>
                  <a:pt x="89" y="31"/>
                  <a:pt x="85" y="28"/>
                  <a:pt x="85" y="28"/>
                </a:cubicBezTo>
                <a:cubicBezTo>
                  <a:pt x="85" y="28"/>
                  <a:pt x="84" y="27"/>
                  <a:pt x="84" y="25"/>
                </a:cubicBezTo>
                <a:cubicBezTo>
                  <a:pt x="84" y="23"/>
                  <a:pt x="84" y="21"/>
                  <a:pt x="83" y="20"/>
                </a:cubicBezTo>
                <a:cubicBezTo>
                  <a:pt x="82" y="19"/>
                  <a:pt x="81" y="17"/>
                  <a:pt x="79" y="17"/>
                </a:cubicBezTo>
                <a:cubicBezTo>
                  <a:pt x="77" y="17"/>
                  <a:pt x="74" y="16"/>
                  <a:pt x="73" y="15"/>
                </a:cubicBezTo>
                <a:cubicBezTo>
                  <a:pt x="72" y="14"/>
                  <a:pt x="67" y="11"/>
                  <a:pt x="66" y="11"/>
                </a:cubicBezTo>
                <a:cubicBezTo>
                  <a:pt x="64" y="11"/>
                  <a:pt x="62" y="11"/>
                  <a:pt x="60" y="10"/>
                </a:cubicBezTo>
                <a:cubicBezTo>
                  <a:pt x="59" y="10"/>
                  <a:pt x="60" y="9"/>
                  <a:pt x="57" y="9"/>
                </a:cubicBezTo>
                <a:cubicBezTo>
                  <a:pt x="55" y="9"/>
                  <a:pt x="53" y="8"/>
                  <a:pt x="52" y="9"/>
                </a:cubicBezTo>
                <a:cubicBezTo>
                  <a:pt x="51" y="10"/>
                  <a:pt x="51" y="10"/>
                  <a:pt x="49" y="9"/>
                </a:cubicBezTo>
                <a:cubicBezTo>
                  <a:pt x="47" y="8"/>
                  <a:pt x="45" y="9"/>
                  <a:pt x="43" y="8"/>
                </a:cubicBezTo>
                <a:cubicBezTo>
                  <a:pt x="42" y="8"/>
                  <a:pt x="42" y="8"/>
                  <a:pt x="40" y="6"/>
                </a:cubicBezTo>
                <a:cubicBezTo>
                  <a:pt x="38" y="4"/>
                  <a:pt x="37" y="4"/>
                  <a:pt x="36" y="4"/>
                </a:cubicBezTo>
                <a:cubicBezTo>
                  <a:pt x="34" y="3"/>
                  <a:pt x="32" y="2"/>
                  <a:pt x="31" y="1"/>
                </a:cubicBezTo>
                <a:cubicBezTo>
                  <a:pt x="31" y="1"/>
                  <a:pt x="31" y="0"/>
                  <a:pt x="31" y="0"/>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2" name="Egypt"/>
          <p:cNvSpPr>
            <a:spLocks/>
          </p:cNvSpPr>
          <p:nvPr/>
        </p:nvSpPr>
        <p:spPr bwMode="auto">
          <a:xfrm>
            <a:off x="6824964" y="3022028"/>
            <a:ext cx="334805" cy="398499"/>
          </a:xfrm>
          <a:custGeom>
            <a:avLst/>
            <a:gdLst>
              <a:gd name="T0" fmla="*/ 159 w 163"/>
              <a:gd name="T1" fmla="*/ 161 h 194"/>
              <a:gd name="T2" fmla="*/ 149 w 163"/>
              <a:gd name="T3" fmla="*/ 167 h 194"/>
              <a:gd name="T4" fmla="*/ 144 w 163"/>
              <a:gd name="T5" fmla="*/ 172 h 194"/>
              <a:gd name="T6" fmla="*/ 127 w 163"/>
              <a:gd name="T7" fmla="*/ 178 h 194"/>
              <a:gd name="T8" fmla="*/ 81 w 163"/>
              <a:gd name="T9" fmla="*/ 176 h 194"/>
              <a:gd name="T10" fmla="*/ 6 w 163"/>
              <a:gd name="T11" fmla="*/ 178 h 194"/>
              <a:gd name="T12" fmla="*/ 6 w 163"/>
              <a:gd name="T13" fmla="*/ 178 h 194"/>
              <a:gd name="T14" fmla="*/ 4 w 163"/>
              <a:gd name="T15" fmla="*/ 72 h 194"/>
              <a:gd name="T16" fmla="*/ 2 w 163"/>
              <a:gd name="T17" fmla="*/ 39 h 194"/>
              <a:gd name="T18" fmla="*/ 2 w 163"/>
              <a:gd name="T19" fmla="*/ 17 h 194"/>
              <a:gd name="T20" fmla="*/ 4 w 163"/>
              <a:gd name="T21" fmla="*/ 1 h 194"/>
              <a:gd name="T22" fmla="*/ 14 w 163"/>
              <a:gd name="T23" fmla="*/ 0 h 194"/>
              <a:gd name="T24" fmla="*/ 19 w 163"/>
              <a:gd name="T25" fmla="*/ 6 h 194"/>
              <a:gd name="T26" fmla="*/ 26 w 163"/>
              <a:gd name="T27" fmla="*/ 3 h 194"/>
              <a:gd name="T28" fmla="*/ 40 w 163"/>
              <a:gd name="T29" fmla="*/ 6 h 194"/>
              <a:gd name="T30" fmla="*/ 49 w 163"/>
              <a:gd name="T31" fmla="*/ 11 h 194"/>
              <a:gd name="T32" fmla="*/ 65 w 163"/>
              <a:gd name="T33" fmla="*/ 17 h 194"/>
              <a:gd name="T34" fmla="*/ 74 w 163"/>
              <a:gd name="T35" fmla="*/ 18 h 194"/>
              <a:gd name="T36" fmla="*/ 79 w 163"/>
              <a:gd name="T37" fmla="*/ 14 h 194"/>
              <a:gd name="T38" fmla="*/ 82 w 163"/>
              <a:gd name="T39" fmla="*/ 11 h 194"/>
              <a:gd name="T40" fmla="*/ 95 w 163"/>
              <a:gd name="T41" fmla="*/ 10 h 194"/>
              <a:gd name="T42" fmla="*/ 103 w 163"/>
              <a:gd name="T43" fmla="*/ 9 h 194"/>
              <a:gd name="T44" fmla="*/ 114 w 163"/>
              <a:gd name="T45" fmla="*/ 13 h 194"/>
              <a:gd name="T46" fmla="*/ 127 w 163"/>
              <a:gd name="T47" fmla="*/ 15 h 194"/>
              <a:gd name="T48" fmla="*/ 139 w 163"/>
              <a:gd name="T49" fmla="*/ 35 h 194"/>
              <a:gd name="T50" fmla="*/ 143 w 163"/>
              <a:gd name="T51" fmla="*/ 40 h 194"/>
              <a:gd name="T52" fmla="*/ 141 w 163"/>
              <a:gd name="T53" fmla="*/ 48 h 194"/>
              <a:gd name="T54" fmla="*/ 138 w 163"/>
              <a:gd name="T55" fmla="*/ 56 h 194"/>
              <a:gd name="T56" fmla="*/ 137 w 163"/>
              <a:gd name="T57" fmla="*/ 65 h 194"/>
              <a:gd name="T58" fmla="*/ 135 w 163"/>
              <a:gd name="T59" fmla="*/ 70 h 194"/>
              <a:gd name="T60" fmla="*/ 123 w 163"/>
              <a:gd name="T61" fmla="*/ 58 h 194"/>
              <a:gd name="T62" fmla="*/ 121 w 163"/>
              <a:gd name="T63" fmla="*/ 53 h 194"/>
              <a:gd name="T64" fmla="*/ 114 w 163"/>
              <a:gd name="T65" fmla="*/ 44 h 194"/>
              <a:gd name="T66" fmla="*/ 110 w 163"/>
              <a:gd name="T67" fmla="*/ 38 h 194"/>
              <a:gd name="T68" fmla="*/ 111 w 163"/>
              <a:gd name="T69" fmla="*/ 45 h 194"/>
              <a:gd name="T70" fmla="*/ 113 w 163"/>
              <a:gd name="T71" fmla="*/ 50 h 194"/>
              <a:gd name="T72" fmla="*/ 115 w 163"/>
              <a:gd name="T73" fmla="*/ 54 h 194"/>
              <a:gd name="T74" fmla="*/ 119 w 163"/>
              <a:gd name="T75" fmla="*/ 61 h 194"/>
              <a:gd name="T76" fmla="*/ 123 w 163"/>
              <a:gd name="T77" fmla="*/ 65 h 194"/>
              <a:gd name="T78" fmla="*/ 126 w 163"/>
              <a:gd name="T79" fmla="*/ 73 h 194"/>
              <a:gd name="T80" fmla="*/ 130 w 163"/>
              <a:gd name="T81" fmla="*/ 83 h 194"/>
              <a:gd name="T82" fmla="*/ 132 w 163"/>
              <a:gd name="T83" fmla="*/ 91 h 194"/>
              <a:gd name="T84" fmla="*/ 138 w 163"/>
              <a:gd name="T85" fmla="*/ 103 h 194"/>
              <a:gd name="T86" fmla="*/ 144 w 163"/>
              <a:gd name="T87" fmla="*/ 115 h 194"/>
              <a:gd name="T88" fmla="*/ 149 w 163"/>
              <a:gd name="T89" fmla="*/ 122 h 194"/>
              <a:gd name="T90" fmla="*/ 151 w 163"/>
              <a:gd name="T91" fmla="*/ 126 h 194"/>
              <a:gd name="T92" fmla="*/ 156 w 163"/>
              <a:gd name="T93" fmla="*/ 133 h 194"/>
              <a:gd name="T94" fmla="*/ 157 w 163"/>
              <a:gd name="T95" fmla="*/ 137 h 194"/>
              <a:gd name="T96" fmla="*/ 154 w 163"/>
              <a:gd name="T97" fmla="*/ 138 h 194"/>
              <a:gd name="T98" fmla="*/ 157 w 163"/>
              <a:gd name="T99" fmla="*/ 148 h 194"/>
              <a:gd name="T100" fmla="*/ 162 w 163"/>
              <a:gd name="T101" fmla="*/ 15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3" h="194">
                <a:moveTo>
                  <a:pt x="163" y="154"/>
                </a:moveTo>
                <a:cubicBezTo>
                  <a:pt x="163" y="154"/>
                  <a:pt x="162" y="159"/>
                  <a:pt x="159" y="161"/>
                </a:cubicBezTo>
                <a:cubicBezTo>
                  <a:pt x="157" y="164"/>
                  <a:pt x="154" y="165"/>
                  <a:pt x="154" y="165"/>
                </a:cubicBezTo>
                <a:cubicBezTo>
                  <a:pt x="154" y="165"/>
                  <a:pt x="150" y="164"/>
                  <a:pt x="149" y="167"/>
                </a:cubicBezTo>
                <a:cubicBezTo>
                  <a:pt x="148" y="169"/>
                  <a:pt x="148" y="170"/>
                  <a:pt x="148" y="171"/>
                </a:cubicBezTo>
                <a:cubicBezTo>
                  <a:pt x="147" y="173"/>
                  <a:pt x="144" y="172"/>
                  <a:pt x="144" y="172"/>
                </a:cubicBezTo>
                <a:cubicBezTo>
                  <a:pt x="144" y="172"/>
                  <a:pt x="141" y="178"/>
                  <a:pt x="140" y="178"/>
                </a:cubicBezTo>
                <a:cubicBezTo>
                  <a:pt x="139" y="178"/>
                  <a:pt x="127" y="178"/>
                  <a:pt x="127" y="178"/>
                </a:cubicBezTo>
                <a:cubicBezTo>
                  <a:pt x="112" y="177"/>
                  <a:pt x="112" y="177"/>
                  <a:pt x="112" y="177"/>
                </a:cubicBezTo>
                <a:cubicBezTo>
                  <a:pt x="112" y="177"/>
                  <a:pt x="86" y="176"/>
                  <a:pt x="81" y="176"/>
                </a:cubicBezTo>
                <a:cubicBezTo>
                  <a:pt x="76" y="176"/>
                  <a:pt x="38" y="176"/>
                  <a:pt x="34" y="176"/>
                </a:cubicBezTo>
                <a:cubicBezTo>
                  <a:pt x="31" y="177"/>
                  <a:pt x="6" y="178"/>
                  <a:pt x="6" y="178"/>
                </a:cubicBezTo>
                <a:cubicBezTo>
                  <a:pt x="6" y="194"/>
                  <a:pt x="6" y="194"/>
                  <a:pt x="6" y="194"/>
                </a:cubicBezTo>
                <a:cubicBezTo>
                  <a:pt x="6" y="178"/>
                  <a:pt x="6" y="178"/>
                  <a:pt x="6" y="178"/>
                </a:cubicBezTo>
                <a:cubicBezTo>
                  <a:pt x="6" y="116"/>
                  <a:pt x="6" y="116"/>
                  <a:pt x="6" y="116"/>
                </a:cubicBezTo>
                <a:cubicBezTo>
                  <a:pt x="4" y="72"/>
                  <a:pt x="4" y="72"/>
                  <a:pt x="4" y="72"/>
                </a:cubicBezTo>
                <a:cubicBezTo>
                  <a:pt x="4" y="53"/>
                  <a:pt x="4" y="53"/>
                  <a:pt x="4" y="53"/>
                </a:cubicBezTo>
                <a:cubicBezTo>
                  <a:pt x="4" y="53"/>
                  <a:pt x="5" y="44"/>
                  <a:pt x="2" y="39"/>
                </a:cubicBezTo>
                <a:cubicBezTo>
                  <a:pt x="0" y="34"/>
                  <a:pt x="1" y="28"/>
                  <a:pt x="2" y="25"/>
                </a:cubicBezTo>
                <a:cubicBezTo>
                  <a:pt x="4" y="23"/>
                  <a:pt x="3" y="20"/>
                  <a:pt x="2" y="17"/>
                </a:cubicBezTo>
                <a:cubicBezTo>
                  <a:pt x="1" y="13"/>
                  <a:pt x="1" y="11"/>
                  <a:pt x="3" y="7"/>
                </a:cubicBezTo>
                <a:cubicBezTo>
                  <a:pt x="4" y="4"/>
                  <a:pt x="4" y="1"/>
                  <a:pt x="4" y="1"/>
                </a:cubicBezTo>
                <a:cubicBezTo>
                  <a:pt x="6" y="1"/>
                  <a:pt x="8" y="0"/>
                  <a:pt x="8" y="0"/>
                </a:cubicBezTo>
                <a:cubicBezTo>
                  <a:pt x="8" y="0"/>
                  <a:pt x="12" y="0"/>
                  <a:pt x="14" y="0"/>
                </a:cubicBezTo>
                <a:cubicBezTo>
                  <a:pt x="15" y="1"/>
                  <a:pt x="16" y="2"/>
                  <a:pt x="16" y="3"/>
                </a:cubicBezTo>
                <a:cubicBezTo>
                  <a:pt x="16" y="4"/>
                  <a:pt x="18" y="4"/>
                  <a:pt x="19" y="6"/>
                </a:cubicBezTo>
                <a:cubicBezTo>
                  <a:pt x="21" y="8"/>
                  <a:pt x="23" y="5"/>
                  <a:pt x="23" y="5"/>
                </a:cubicBezTo>
                <a:cubicBezTo>
                  <a:pt x="23" y="5"/>
                  <a:pt x="24" y="4"/>
                  <a:pt x="26" y="3"/>
                </a:cubicBezTo>
                <a:cubicBezTo>
                  <a:pt x="29" y="2"/>
                  <a:pt x="31" y="4"/>
                  <a:pt x="33" y="5"/>
                </a:cubicBezTo>
                <a:cubicBezTo>
                  <a:pt x="36" y="6"/>
                  <a:pt x="39" y="6"/>
                  <a:pt x="40" y="6"/>
                </a:cubicBezTo>
                <a:cubicBezTo>
                  <a:pt x="40" y="6"/>
                  <a:pt x="42" y="7"/>
                  <a:pt x="44" y="8"/>
                </a:cubicBezTo>
                <a:cubicBezTo>
                  <a:pt x="45" y="10"/>
                  <a:pt x="48" y="11"/>
                  <a:pt x="49" y="11"/>
                </a:cubicBezTo>
                <a:cubicBezTo>
                  <a:pt x="50" y="11"/>
                  <a:pt x="58" y="14"/>
                  <a:pt x="60" y="14"/>
                </a:cubicBezTo>
                <a:cubicBezTo>
                  <a:pt x="61" y="14"/>
                  <a:pt x="65" y="17"/>
                  <a:pt x="65" y="17"/>
                </a:cubicBezTo>
                <a:cubicBezTo>
                  <a:pt x="65" y="17"/>
                  <a:pt x="67" y="19"/>
                  <a:pt x="69" y="19"/>
                </a:cubicBezTo>
                <a:cubicBezTo>
                  <a:pt x="70" y="20"/>
                  <a:pt x="74" y="18"/>
                  <a:pt x="74" y="18"/>
                </a:cubicBezTo>
                <a:cubicBezTo>
                  <a:pt x="74" y="18"/>
                  <a:pt x="76" y="15"/>
                  <a:pt x="77" y="16"/>
                </a:cubicBezTo>
                <a:cubicBezTo>
                  <a:pt x="78" y="17"/>
                  <a:pt x="79" y="14"/>
                  <a:pt x="79" y="14"/>
                </a:cubicBezTo>
                <a:cubicBezTo>
                  <a:pt x="79" y="14"/>
                  <a:pt x="79" y="13"/>
                  <a:pt x="80" y="13"/>
                </a:cubicBezTo>
                <a:cubicBezTo>
                  <a:pt x="81" y="13"/>
                  <a:pt x="82" y="12"/>
                  <a:pt x="82" y="11"/>
                </a:cubicBezTo>
                <a:cubicBezTo>
                  <a:pt x="82" y="10"/>
                  <a:pt x="86" y="9"/>
                  <a:pt x="88" y="9"/>
                </a:cubicBezTo>
                <a:cubicBezTo>
                  <a:pt x="91" y="9"/>
                  <a:pt x="93" y="8"/>
                  <a:pt x="95" y="10"/>
                </a:cubicBezTo>
                <a:cubicBezTo>
                  <a:pt x="97" y="12"/>
                  <a:pt x="98" y="11"/>
                  <a:pt x="98" y="11"/>
                </a:cubicBezTo>
                <a:cubicBezTo>
                  <a:pt x="98" y="11"/>
                  <a:pt x="99" y="10"/>
                  <a:pt x="103" y="9"/>
                </a:cubicBezTo>
                <a:cubicBezTo>
                  <a:pt x="107" y="9"/>
                  <a:pt x="108" y="11"/>
                  <a:pt x="109" y="13"/>
                </a:cubicBezTo>
                <a:cubicBezTo>
                  <a:pt x="110" y="14"/>
                  <a:pt x="111" y="14"/>
                  <a:pt x="114" y="13"/>
                </a:cubicBezTo>
                <a:cubicBezTo>
                  <a:pt x="118" y="12"/>
                  <a:pt x="122" y="14"/>
                  <a:pt x="123" y="15"/>
                </a:cubicBezTo>
                <a:cubicBezTo>
                  <a:pt x="123" y="15"/>
                  <a:pt x="125" y="15"/>
                  <a:pt x="127" y="15"/>
                </a:cubicBezTo>
                <a:cubicBezTo>
                  <a:pt x="127" y="15"/>
                  <a:pt x="133" y="20"/>
                  <a:pt x="135" y="24"/>
                </a:cubicBezTo>
                <a:cubicBezTo>
                  <a:pt x="136" y="28"/>
                  <a:pt x="139" y="32"/>
                  <a:pt x="139" y="35"/>
                </a:cubicBezTo>
                <a:cubicBezTo>
                  <a:pt x="139" y="37"/>
                  <a:pt x="140" y="38"/>
                  <a:pt x="142" y="39"/>
                </a:cubicBezTo>
                <a:cubicBezTo>
                  <a:pt x="143" y="39"/>
                  <a:pt x="143" y="40"/>
                  <a:pt x="143" y="40"/>
                </a:cubicBezTo>
                <a:cubicBezTo>
                  <a:pt x="143" y="40"/>
                  <a:pt x="141" y="40"/>
                  <a:pt x="142" y="44"/>
                </a:cubicBezTo>
                <a:cubicBezTo>
                  <a:pt x="141" y="44"/>
                  <a:pt x="141" y="47"/>
                  <a:pt x="141" y="48"/>
                </a:cubicBezTo>
                <a:cubicBezTo>
                  <a:pt x="141" y="49"/>
                  <a:pt x="140" y="51"/>
                  <a:pt x="139" y="51"/>
                </a:cubicBezTo>
                <a:cubicBezTo>
                  <a:pt x="138" y="52"/>
                  <a:pt x="138" y="55"/>
                  <a:pt x="138" y="56"/>
                </a:cubicBezTo>
                <a:cubicBezTo>
                  <a:pt x="138" y="57"/>
                  <a:pt x="139" y="57"/>
                  <a:pt x="137" y="59"/>
                </a:cubicBezTo>
                <a:cubicBezTo>
                  <a:pt x="135" y="60"/>
                  <a:pt x="137" y="64"/>
                  <a:pt x="137" y="65"/>
                </a:cubicBezTo>
                <a:cubicBezTo>
                  <a:pt x="138" y="66"/>
                  <a:pt x="137" y="66"/>
                  <a:pt x="137" y="68"/>
                </a:cubicBezTo>
                <a:cubicBezTo>
                  <a:pt x="137" y="69"/>
                  <a:pt x="137" y="70"/>
                  <a:pt x="135" y="70"/>
                </a:cubicBezTo>
                <a:cubicBezTo>
                  <a:pt x="134" y="70"/>
                  <a:pt x="130" y="68"/>
                  <a:pt x="128" y="66"/>
                </a:cubicBezTo>
                <a:cubicBezTo>
                  <a:pt x="126" y="64"/>
                  <a:pt x="123" y="58"/>
                  <a:pt x="123" y="58"/>
                </a:cubicBezTo>
                <a:cubicBezTo>
                  <a:pt x="123" y="58"/>
                  <a:pt x="122" y="55"/>
                  <a:pt x="122" y="55"/>
                </a:cubicBezTo>
                <a:cubicBezTo>
                  <a:pt x="122" y="54"/>
                  <a:pt x="121" y="54"/>
                  <a:pt x="121" y="53"/>
                </a:cubicBezTo>
                <a:cubicBezTo>
                  <a:pt x="120" y="53"/>
                  <a:pt x="119" y="51"/>
                  <a:pt x="118" y="50"/>
                </a:cubicBezTo>
                <a:cubicBezTo>
                  <a:pt x="117" y="49"/>
                  <a:pt x="115" y="45"/>
                  <a:pt x="114" y="44"/>
                </a:cubicBezTo>
                <a:cubicBezTo>
                  <a:pt x="113" y="42"/>
                  <a:pt x="112" y="40"/>
                  <a:pt x="112" y="39"/>
                </a:cubicBezTo>
                <a:cubicBezTo>
                  <a:pt x="112" y="38"/>
                  <a:pt x="111" y="38"/>
                  <a:pt x="110" y="38"/>
                </a:cubicBezTo>
                <a:cubicBezTo>
                  <a:pt x="108" y="38"/>
                  <a:pt x="110" y="42"/>
                  <a:pt x="110" y="42"/>
                </a:cubicBezTo>
                <a:cubicBezTo>
                  <a:pt x="110" y="42"/>
                  <a:pt x="111" y="44"/>
                  <a:pt x="111" y="45"/>
                </a:cubicBezTo>
                <a:cubicBezTo>
                  <a:pt x="111" y="46"/>
                  <a:pt x="111" y="47"/>
                  <a:pt x="111" y="47"/>
                </a:cubicBezTo>
                <a:cubicBezTo>
                  <a:pt x="113" y="50"/>
                  <a:pt x="113" y="50"/>
                  <a:pt x="113" y="50"/>
                </a:cubicBezTo>
                <a:cubicBezTo>
                  <a:pt x="114" y="52"/>
                  <a:pt x="114" y="52"/>
                  <a:pt x="114" y="52"/>
                </a:cubicBezTo>
                <a:cubicBezTo>
                  <a:pt x="114" y="52"/>
                  <a:pt x="115" y="53"/>
                  <a:pt x="115" y="54"/>
                </a:cubicBezTo>
                <a:cubicBezTo>
                  <a:pt x="115" y="55"/>
                  <a:pt x="115" y="56"/>
                  <a:pt x="116" y="57"/>
                </a:cubicBezTo>
                <a:cubicBezTo>
                  <a:pt x="116" y="59"/>
                  <a:pt x="119" y="61"/>
                  <a:pt x="119" y="61"/>
                </a:cubicBezTo>
                <a:cubicBezTo>
                  <a:pt x="119" y="61"/>
                  <a:pt x="121" y="62"/>
                  <a:pt x="122" y="63"/>
                </a:cubicBezTo>
                <a:cubicBezTo>
                  <a:pt x="122" y="64"/>
                  <a:pt x="123" y="64"/>
                  <a:pt x="123" y="65"/>
                </a:cubicBezTo>
                <a:cubicBezTo>
                  <a:pt x="123" y="66"/>
                  <a:pt x="123" y="67"/>
                  <a:pt x="124" y="68"/>
                </a:cubicBezTo>
                <a:cubicBezTo>
                  <a:pt x="124" y="70"/>
                  <a:pt x="126" y="73"/>
                  <a:pt x="126" y="73"/>
                </a:cubicBezTo>
                <a:cubicBezTo>
                  <a:pt x="129" y="78"/>
                  <a:pt x="129" y="78"/>
                  <a:pt x="129" y="78"/>
                </a:cubicBezTo>
                <a:cubicBezTo>
                  <a:pt x="130" y="83"/>
                  <a:pt x="130" y="83"/>
                  <a:pt x="130" y="83"/>
                </a:cubicBezTo>
                <a:cubicBezTo>
                  <a:pt x="130" y="83"/>
                  <a:pt x="131" y="87"/>
                  <a:pt x="131" y="88"/>
                </a:cubicBezTo>
                <a:cubicBezTo>
                  <a:pt x="131" y="90"/>
                  <a:pt x="132" y="90"/>
                  <a:pt x="132" y="91"/>
                </a:cubicBezTo>
                <a:cubicBezTo>
                  <a:pt x="134" y="93"/>
                  <a:pt x="134" y="96"/>
                  <a:pt x="136" y="98"/>
                </a:cubicBezTo>
                <a:cubicBezTo>
                  <a:pt x="139" y="100"/>
                  <a:pt x="138" y="100"/>
                  <a:pt x="138" y="103"/>
                </a:cubicBezTo>
                <a:cubicBezTo>
                  <a:pt x="139" y="107"/>
                  <a:pt x="142" y="110"/>
                  <a:pt x="142" y="111"/>
                </a:cubicBezTo>
                <a:cubicBezTo>
                  <a:pt x="143" y="111"/>
                  <a:pt x="144" y="113"/>
                  <a:pt x="144" y="115"/>
                </a:cubicBezTo>
                <a:cubicBezTo>
                  <a:pt x="144" y="116"/>
                  <a:pt x="144" y="118"/>
                  <a:pt x="146" y="119"/>
                </a:cubicBezTo>
                <a:cubicBezTo>
                  <a:pt x="148" y="120"/>
                  <a:pt x="149" y="121"/>
                  <a:pt x="149" y="122"/>
                </a:cubicBezTo>
                <a:cubicBezTo>
                  <a:pt x="148" y="123"/>
                  <a:pt x="149" y="124"/>
                  <a:pt x="149" y="124"/>
                </a:cubicBezTo>
                <a:cubicBezTo>
                  <a:pt x="149" y="124"/>
                  <a:pt x="150" y="125"/>
                  <a:pt x="151" y="126"/>
                </a:cubicBezTo>
                <a:cubicBezTo>
                  <a:pt x="151" y="127"/>
                  <a:pt x="153" y="129"/>
                  <a:pt x="154" y="129"/>
                </a:cubicBezTo>
                <a:cubicBezTo>
                  <a:pt x="154" y="130"/>
                  <a:pt x="156" y="133"/>
                  <a:pt x="156" y="133"/>
                </a:cubicBezTo>
                <a:cubicBezTo>
                  <a:pt x="156" y="133"/>
                  <a:pt x="158" y="133"/>
                  <a:pt x="158" y="135"/>
                </a:cubicBezTo>
                <a:cubicBezTo>
                  <a:pt x="158" y="136"/>
                  <a:pt x="158" y="137"/>
                  <a:pt x="157" y="137"/>
                </a:cubicBezTo>
                <a:cubicBezTo>
                  <a:pt x="156" y="137"/>
                  <a:pt x="155" y="136"/>
                  <a:pt x="154" y="136"/>
                </a:cubicBezTo>
                <a:cubicBezTo>
                  <a:pt x="153" y="136"/>
                  <a:pt x="154" y="138"/>
                  <a:pt x="154" y="138"/>
                </a:cubicBezTo>
                <a:cubicBezTo>
                  <a:pt x="154" y="139"/>
                  <a:pt x="155" y="144"/>
                  <a:pt x="155" y="144"/>
                </a:cubicBezTo>
                <a:cubicBezTo>
                  <a:pt x="155" y="144"/>
                  <a:pt x="156" y="147"/>
                  <a:pt x="157" y="148"/>
                </a:cubicBezTo>
                <a:cubicBezTo>
                  <a:pt x="158" y="149"/>
                  <a:pt x="160" y="152"/>
                  <a:pt x="160" y="152"/>
                </a:cubicBezTo>
                <a:cubicBezTo>
                  <a:pt x="162" y="154"/>
                  <a:pt x="162" y="154"/>
                  <a:pt x="162" y="154"/>
                </a:cubicBezTo>
                <a:cubicBezTo>
                  <a:pt x="162" y="154"/>
                  <a:pt x="163" y="154"/>
                  <a:pt x="163" y="15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3" name="Niger"/>
          <p:cNvSpPr>
            <a:spLocks/>
          </p:cNvSpPr>
          <p:nvPr/>
        </p:nvSpPr>
        <p:spPr bwMode="auto">
          <a:xfrm>
            <a:off x="6188022" y="3312737"/>
            <a:ext cx="419730" cy="378901"/>
          </a:xfrm>
          <a:custGeom>
            <a:avLst/>
            <a:gdLst>
              <a:gd name="T0" fmla="*/ 7 w 205"/>
              <a:gd name="T1" fmla="*/ 135 h 185"/>
              <a:gd name="T2" fmla="*/ 18 w 205"/>
              <a:gd name="T3" fmla="*/ 131 h 185"/>
              <a:gd name="T4" fmla="*/ 27 w 205"/>
              <a:gd name="T5" fmla="*/ 131 h 185"/>
              <a:gd name="T6" fmla="*/ 36 w 205"/>
              <a:gd name="T7" fmla="*/ 130 h 185"/>
              <a:gd name="T8" fmla="*/ 43 w 205"/>
              <a:gd name="T9" fmla="*/ 130 h 185"/>
              <a:gd name="T10" fmla="*/ 53 w 205"/>
              <a:gd name="T11" fmla="*/ 119 h 185"/>
              <a:gd name="T12" fmla="*/ 55 w 205"/>
              <a:gd name="T13" fmla="*/ 109 h 185"/>
              <a:gd name="T14" fmla="*/ 56 w 205"/>
              <a:gd name="T15" fmla="*/ 77 h 185"/>
              <a:gd name="T16" fmla="*/ 63 w 205"/>
              <a:gd name="T17" fmla="*/ 64 h 185"/>
              <a:gd name="T18" fmla="*/ 80 w 205"/>
              <a:gd name="T19" fmla="*/ 55 h 185"/>
              <a:gd name="T20" fmla="*/ 105 w 205"/>
              <a:gd name="T21" fmla="*/ 35 h 185"/>
              <a:gd name="T22" fmla="*/ 136 w 205"/>
              <a:gd name="T23" fmla="*/ 10 h 185"/>
              <a:gd name="T24" fmla="*/ 156 w 205"/>
              <a:gd name="T25" fmla="*/ 3 h 185"/>
              <a:gd name="T26" fmla="*/ 169 w 205"/>
              <a:gd name="T27" fmla="*/ 5 h 185"/>
              <a:gd name="T28" fmla="*/ 180 w 205"/>
              <a:gd name="T29" fmla="*/ 11 h 185"/>
              <a:gd name="T30" fmla="*/ 192 w 205"/>
              <a:gd name="T31" fmla="*/ 7 h 185"/>
              <a:gd name="T32" fmla="*/ 199 w 205"/>
              <a:gd name="T33" fmla="*/ 41 h 185"/>
              <a:gd name="T34" fmla="*/ 198 w 205"/>
              <a:gd name="T35" fmla="*/ 70 h 185"/>
              <a:gd name="T36" fmla="*/ 198 w 205"/>
              <a:gd name="T37" fmla="*/ 105 h 185"/>
              <a:gd name="T38" fmla="*/ 192 w 205"/>
              <a:gd name="T39" fmla="*/ 117 h 185"/>
              <a:gd name="T40" fmla="*/ 175 w 205"/>
              <a:gd name="T41" fmla="*/ 137 h 185"/>
              <a:gd name="T42" fmla="*/ 179 w 205"/>
              <a:gd name="T43" fmla="*/ 151 h 185"/>
              <a:gd name="T44" fmla="*/ 167 w 205"/>
              <a:gd name="T45" fmla="*/ 161 h 185"/>
              <a:gd name="T46" fmla="*/ 151 w 205"/>
              <a:gd name="T47" fmla="*/ 162 h 185"/>
              <a:gd name="T48" fmla="*/ 127 w 205"/>
              <a:gd name="T49" fmla="*/ 166 h 185"/>
              <a:gd name="T50" fmla="*/ 115 w 205"/>
              <a:gd name="T51" fmla="*/ 169 h 185"/>
              <a:gd name="T52" fmla="*/ 94 w 205"/>
              <a:gd name="T53" fmla="*/ 165 h 185"/>
              <a:gd name="T54" fmla="*/ 79 w 205"/>
              <a:gd name="T55" fmla="*/ 159 h 185"/>
              <a:gd name="T56" fmla="*/ 54 w 205"/>
              <a:gd name="T57" fmla="*/ 160 h 185"/>
              <a:gd name="T58" fmla="*/ 49 w 205"/>
              <a:gd name="T59" fmla="*/ 174 h 185"/>
              <a:gd name="T60" fmla="*/ 48 w 205"/>
              <a:gd name="T61" fmla="*/ 182 h 185"/>
              <a:gd name="T62" fmla="*/ 47 w 205"/>
              <a:gd name="T63" fmla="*/ 185 h 185"/>
              <a:gd name="T64" fmla="*/ 41 w 205"/>
              <a:gd name="T65" fmla="*/ 180 h 185"/>
              <a:gd name="T66" fmla="*/ 36 w 205"/>
              <a:gd name="T67" fmla="*/ 171 h 185"/>
              <a:gd name="T68" fmla="*/ 30 w 205"/>
              <a:gd name="T69" fmla="*/ 172 h 185"/>
              <a:gd name="T70" fmla="*/ 20 w 205"/>
              <a:gd name="T71" fmla="*/ 170 h 185"/>
              <a:gd name="T72" fmla="*/ 11 w 205"/>
              <a:gd name="T73" fmla="*/ 163 h 185"/>
              <a:gd name="T74" fmla="*/ 5 w 205"/>
              <a:gd name="T75" fmla="*/ 152 h 185"/>
              <a:gd name="T76" fmla="*/ 2 w 205"/>
              <a:gd name="T77" fmla="*/ 13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 h="185">
                <a:moveTo>
                  <a:pt x="2" y="135"/>
                </a:moveTo>
                <a:cubicBezTo>
                  <a:pt x="2" y="135"/>
                  <a:pt x="6" y="134"/>
                  <a:pt x="7" y="135"/>
                </a:cubicBezTo>
                <a:cubicBezTo>
                  <a:pt x="8" y="136"/>
                  <a:pt x="14" y="137"/>
                  <a:pt x="15" y="134"/>
                </a:cubicBezTo>
                <a:cubicBezTo>
                  <a:pt x="16" y="131"/>
                  <a:pt x="17" y="131"/>
                  <a:pt x="18" y="131"/>
                </a:cubicBezTo>
                <a:cubicBezTo>
                  <a:pt x="20" y="132"/>
                  <a:pt x="21" y="130"/>
                  <a:pt x="22" y="130"/>
                </a:cubicBezTo>
                <a:cubicBezTo>
                  <a:pt x="24" y="131"/>
                  <a:pt x="25" y="132"/>
                  <a:pt x="27" y="131"/>
                </a:cubicBezTo>
                <a:cubicBezTo>
                  <a:pt x="29" y="130"/>
                  <a:pt x="31" y="131"/>
                  <a:pt x="31" y="131"/>
                </a:cubicBezTo>
                <a:cubicBezTo>
                  <a:pt x="31" y="131"/>
                  <a:pt x="35" y="131"/>
                  <a:pt x="36" y="130"/>
                </a:cubicBezTo>
                <a:cubicBezTo>
                  <a:pt x="37" y="130"/>
                  <a:pt x="40" y="128"/>
                  <a:pt x="41" y="130"/>
                </a:cubicBezTo>
                <a:cubicBezTo>
                  <a:pt x="42" y="130"/>
                  <a:pt x="43" y="130"/>
                  <a:pt x="43" y="130"/>
                </a:cubicBezTo>
                <a:cubicBezTo>
                  <a:pt x="43" y="130"/>
                  <a:pt x="46" y="124"/>
                  <a:pt x="49" y="123"/>
                </a:cubicBezTo>
                <a:cubicBezTo>
                  <a:pt x="51" y="121"/>
                  <a:pt x="52" y="119"/>
                  <a:pt x="53" y="119"/>
                </a:cubicBezTo>
                <a:cubicBezTo>
                  <a:pt x="54" y="119"/>
                  <a:pt x="56" y="116"/>
                  <a:pt x="56" y="115"/>
                </a:cubicBezTo>
                <a:cubicBezTo>
                  <a:pt x="54" y="113"/>
                  <a:pt x="55" y="109"/>
                  <a:pt x="55" y="109"/>
                </a:cubicBezTo>
                <a:cubicBezTo>
                  <a:pt x="56" y="90"/>
                  <a:pt x="56" y="90"/>
                  <a:pt x="56" y="90"/>
                </a:cubicBezTo>
                <a:cubicBezTo>
                  <a:pt x="56" y="90"/>
                  <a:pt x="54" y="81"/>
                  <a:pt x="56" y="77"/>
                </a:cubicBezTo>
                <a:cubicBezTo>
                  <a:pt x="57" y="73"/>
                  <a:pt x="58" y="65"/>
                  <a:pt x="58" y="65"/>
                </a:cubicBezTo>
                <a:cubicBezTo>
                  <a:pt x="58" y="65"/>
                  <a:pt x="61" y="64"/>
                  <a:pt x="63" y="64"/>
                </a:cubicBezTo>
                <a:cubicBezTo>
                  <a:pt x="65" y="64"/>
                  <a:pt x="73" y="60"/>
                  <a:pt x="73" y="60"/>
                </a:cubicBezTo>
                <a:cubicBezTo>
                  <a:pt x="80" y="55"/>
                  <a:pt x="80" y="55"/>
                  <a:pt x="80" y="55"/>
                </a:cubicBezTo>
                <a:cubicBezTo>
                  <a:pt x="84" y="51"/>
                  <a:pt x="84" y="51"/>
                  <a:pt x="84" y="51"/>
                </a:cubicBezTo>
                <a:cubicBezTo>
                  <a:pt x="105" y="35"/>
                  <a:pt x="105" y="35"/>
                  <a:pt x="105" y="35"/>
                </a:cubicBezTo>
                <a:cubicBezTo>
                  <a:pt x="118" y="25"/>
                  <a:pt x="118" y="25"/>
                  <a:pt x="118" y="25"/>
                </a:cubicBezTo>
                <a:cubicBezTo>
                  <a:pt x="118" y="25"/>
                  <a:pt x="134" y="11"/>
                  <a:pt x="136" y="10"/>
                </a:cubicBezTo>
                <a:cubicBezTo>
                  <a:pt x="138" y="8"/>
                  <a:pt x="152" y="0"/>
                  <a:pt x="152" y="0"/>
                </a:cubicBezTo>
                <a:cubicBezTo>
                  <a:pt x="152" y="0"/>
                  <a:pt x="155" y="3"/>
                  <a:pt x="156" y="3"/>
                </a:cubicBezTo>
                <a:cubicBezTo>
                  <a:pt x="158" y="3"/>
                  <a:pt x="163" y="5"/>
                  <a:pt x="163" y="5"/>
                </a:cubicBezTo>
                <a:cubicBezTo>
                  <a:pt x="169" y="5"/>
                  <a:pt x="169" y="5"/>
                  <a:pt x="169" y="5"/>
                </a:cubicBezTo>
                <a:cubicBezTo>
                  <a:pt x="175" y="6"/>
                  <a:pt x="175" y="6"/>
                  <a:pt x="175" y="6"/>
                </a:cubicBezTo>
                <a:cubicBezTo>
                  <a:pt x="180" y="11"/>
                  <a:pt x="180" y="11"/>
                  <a:pt x="180" y="11"/>
                </a:cubicBezTo>
                <a:cubicBezTo>
                  <a:pt x="180" y="11"/>
                  <a:pt x="181" y="12"/>
                  <a:pt x="186" y="10"/>
                </a:cubicBezTo>
                <a:cubicBezTo>
                  <a:pt x="190" y="7"/>
                  <a:pt x="192" y="7"/>
                  <a:pt x="192" y="7"/>
                </a:cubicBezTo>
                <a:cubicBezTo>
                  <a:pt x="192" y="7"/>
                  <a:pt x="195" y="14"/>
                  <a:pt x="196" y="21"/>
                </a:cubicBezTo>
                <a:cubicBezTo>
                  <a:pt x="197" y="27"/>
                  <a:pt x="198" y="39"/>
                  <a:pt x="199" y="41"/>
                </a:cubicBezTo>
                <a:cubicBezTo>
                  <a:pt x="200" y="44"/>
                  <a:pt x="205" y="52"/>
                  <a:pt x="204" y="55"/>
                </a:cubicBezTo>
                <a:cubicBezTo>
                  <a:pt x="203" y="58"/>
                  <a:pt x="198" y="70"/>
                  <a:pt x="198" y="70"/>
                </a:cubicBezTo>
                <a:cubicBezTo>
                  <a:pt x="198" y="70"/>
                  <a:pt x="198" y="83"/>
                  <a:pt x="198" y="90"/>
                </a:cubicBezTo>
                <a:cubicBezTo>
                  <a:pt x="198" y="96"/>
                  <a:pt x="197" y="102"/>
                  <a:pt x="198" y="105"/>
                </a:cubicBezTo>
                <a:cubicBezTo>
                  <a:pt x="199" y="107"/>
                  <a:pt x="196" y="111"/>
                  <a:pt x="196" y="111"/>
                </a:cubicBezTo>
                <a:cubicBezTo>
                  <a:pt x="192" y="117"/>
                  <a:pt x="192" y="117"/>
                  <a:pt x="192" y="117"/>
                </a:cubicBezTo>
                <a:cubicBezTo>
                  <a:pt x="183" y="127"/>
                  <a:pt x="183" y="127"/>
                  <a:pt x="183" y="127"/>
                </a:cubicBezTo>
                <a:cubicBezTo>
                  <a:pt x="175" y="137"/>
                  <a:pt x="175" y="137"/>
                  <a:pt x="175" y="137"/>
                </a:cubicBezTo>
                <a:cubicBezTo>
                  <a:pt x="175" y="137"/>
                  <a:pt x="177" y="141"/>
                  <a:pt x="177" y="144"/>
                </a:cubicBezTo>
                <a:cubicBezTo>
                  <a:pt x="176" y="145"/>
                  <a:pt x="177" y="147"/>
                  <a:pt x="179" y="151"/>
                </a:cubicBezTo>
                <a:cubicBezTo>
                  <a:pt x="176" y="153"/>
                  <a:pt x="176" y="153"/>
                  <a:pt x="176" y="153"/>
                </a:cubicBezTo>
                <a:cubicBezTo>
                  <a:pt x="176" y="153"/>
                  <a:pt x="169" y="159"/>
                  <a:pt x="167" y="161"/>
                </a:cubicBezTo>
                <a:cubicBezTo>
                  <a:pt x="165" y="162"/>
                  <a:pt x="159" y="164"/>
                  <a:pt x="158" y="164"/>
                </a:cubicBezTo>
                <a:cubicBezTo>
                  <a:pt x="156" y="164"/>
                  <a:pt x="153" y="163"/>
                  <a:pt x="151" y="162"/>
                </a:cubicBezTo>
                <a:cubicBezTo>
                  <a:pt x="148" y="162"/>
                  <a:pt x="141" y="161"/>
                  <a:pt x="136" y="162"/>
                </a:cubicBezTo>
                <a:cubicBezTo>
                  <a:pt x="132" y="164"/>
                  <a:pt x="129" y="164"/>
                  <a:pt x="127" y="166"/>
                </a:cubicBezTo>
                <a:cubicBezTo>
                  <a:pt x="125" y="168"/>
                  <a:pt x="123" y="171"/>
                  <a:pt x="120" y="171"/>
                </a:cubicBezTo>
                <a:cubicBezTo>
                  <a:pt x="118" y="171"/>
                  <a:pt x="118" y="171"/>
                  <a:pt x="115" y="169"/>
                </a:cubicBezTo>
                <a:cubicBezTo>
                  <a:pt x="112" y="167"/>
                  <a:pt x="104" y="162"/>
                  <a:pt x="101" y="162"/>
                </a:cubicBezTo>
                <a:cubicBezTo>
                  <a:pt x="97" y="162"/>
                  <a:pt x="96" y="165"/>
                  <a:pt x="94" y="165"/>
                </a:cubicBezTo>
                <a:cubicBezTo>
                  <a:pt x="93" y="166"/>
                  <a:pt x="89" y="166"/>
                  <a:pt x="88" y="164"/>
                </a:cubicBezTo>
                <a:cubicBezTo>
                  <a:pt x="86" y="162"/>
                  <a:pt x="82" y="160"/>
                  <a:pt x="79" y="159"/>
                </a:cubicBezTo>
                <a:cubicBezTo>
                  <a:pt x="76" y="157"/>
                  <a:pt x="65" y="154"/>
                  <a:pt x="60" y="155"/>
                </a:cubicBezTo>
                <a:cubicBezTo>
                  <a:pt x="55" y="157"/>
                  <a:pt x="54" y="160"/>
                  <a:pt x="54" y="160"/>
                </a:cubicBezTo>
                <a:cubicBezTo>
                  <a:pt x="54" y="160"/>
                  <a:pt x="53" y="164"/>
                  <a:pt x="52" y="167"/>
                </a:cubicBezTo>
                <a:cubicBezTo>
                  <a:pt x="52" y="169"/>
                  <a:pt x="50" y="172"/>
                  <a:pt x="49" y="174"/>
                </a:cubicBezTo>
                <a:cubicBezTo>
                  <a:pt x="48" y="176"/>
                  <a:pt x="47" y="177"/>
                  <a:pt x="48" y="178"/>
                </a:cubicBezTo>
                <a:cubicBezTo>
                  <a:pt x="49" y="180"/>
                  <a:pt x="49" y="181"/>
                  <a:pt x="48" y="182"/>
                </a:cubicBezTo>
                <a:cubicBezTo>
                  <a:pt x="48" y="182"/>
                  <a:pt x="47" y="184"/>
                  <a:pt x="47" y="185"/>
                </a:cubicBezTo>
                <a:cubicBezTo>
                  <a:pt x="47" y="185"/>
                  <a:pt x="47" y="185"/>
                  <a:pt x="47" y="185"/>
                </a:cubicBezTo>
                <a:cubicBezTo>
                  <a:pt x="46" y="185"/>
                  <a:pt x="45" y="183"/>
                  <a:pt x="43" y="183"/>
                </a:cubicBezTo>
                <a:cubicBezTo>
                  <a:pt x="42" y="182"/>
                  <a:pt x="41" y="181"/>
                  <a:pt x="41" y="180"/>
                </a:cubicBezTo>
                <a:cubicBezTo>
                  <a:pt x="41" y="179"/>
                  <a:pt x="39" y="177"/>
                  <a:pt x="38" y="177"/>
                </a:cubicBezTo>
                <a:cubicBezTo>
                  <a:pt x="37" y="176"/>
                  <a:pt x="36" y="172"/>
                  <a:pt x="36" y="171"/>
                </a:cubicBezTo>
                <a:cubicBezTo>
                  <a:pt x="36" y="170"/>
                  <a:pt x="34" y="170"/>
                  <a:pt x="33" y="171"/>
                </a:cubicBezTo>
                <a:cubicBezTo>
                  <a:pt x="32" y="173"/>
                  <a:pt x="30" y="172"/>
                  <a:pt x="30" y="172"/>
                </a:cubicBezTo>
                <a:cubicBezTo>
                  <a:pt x="30" y="172"/>
                  <a:pt x="29" y="170"/>
                  <a:pt x="27" y="170"/>
                </a:cubicBezTo>
                <a:cubicBezTo>
                  <a:pt x="24" y="169"/>
                  <a:pt x="22" y="170"/>
                  <a:pt x="20" y="170"/>
                </a:cubicBezTo>
                <a:cubicBezTo>
                  <a:pt x="18" y="171"/>
                  <a:pt x="14" y="169"/>
                  <a:pt x="12" y="168"/>
                </a:cubicBezTo>
                <a:cubicBezTo>
                  <a:pt x="11" y="167"/>
                  <a:pt x="11" y="166"/>
                  <a:pt x="11" y="163"/>
                </a:cubicBezTo>
                <a:cubicBezTo>
                  <a:pt x="12" y="160"/>
                  <a:pt x="12" y="158"/>
                  <a:pt x="10" y="157"/>
                </a:cubicBezTo>
                <a:cubicBezTo>
                  <a:pt x="7" y="156"/>
                  <a:pt x="6" y="156"/>
                  <a:pt x="5" y="152"/>
                </a:cubicBezTo>
                <a:cubicBezTo>
                  <a:pt x="4" y="148"/>
                  <a:pt x="2" y="148"/>
                  <a:pt x="1" y="144"/>
                </a:cubicBezTo>
                <a:cubicBezTo>
                  <a:pt x="0" y="141"/>
                  <a:pt x="2" y="136"/>
                  <a:pt x="2" y="135"/>
                </a:cubicBezTo>
                <a:cubicBezTo>
                  <a:pt x="2" y="135"/>
                  <a:pt x="2" y="135"/>
                  <a:pt x="2" y="135"/>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4" name="Burkina Faso"/>
          <p:cNvSpPr>
            <a:spLocks/>
          </p:cNvSpPr>
          <p:nvPr/>
        </p:nvSpPr>
        <p:spPr bwMode="auto">
          <a:xfrm>
            <a:off x="6041033" y="3580580"/>
            <a:ext cx="209048" cy="176385"/>
          </a:xfrm>
          <a:custGeom>
            <a:avLst/>
            <a:gdLst>
              <a:gd name="T0" fmla="*/ 98 w 102"/>
              <a:gd name="T1" fmla="*/ 39 h 86"/>
              <a:gd name="T2" fmla="*/ 83 w 102"/>
              <a:gd name="T3" fmla="*/ 37 h 86"/>
              <a:gd name="T4" fmla="*/ 81 w 102"/>
              <a:gd name="T5" fmla="*/ 26 h 86"/>
              <a:gd name="T6" fmla="*/ 72 w 102"/>
              <a:gd name="T7" fmla="*/ 13 h 86"/>
              <a:gd name="T8" fmla="*/ 68 w 102"/>
              <a:gd name="T9" fmla="*/ 1 h 86"/>
              <a:gd name="T10" fmla="*/ 58 w 102"/>
              <a:gd name="T11" fmla="*/ 5 h 86"/>
              <a:gd name="T12" fmla="*/ 49 w 102"/>
              <a:gd name="T13" fmla="*/ 10 h 86"/>
              <a:gd name="T14" fmla="*/ 44 w 102"/>
              <a:gd name="T15" fmla="*/ 17 h 86"/>
              <a:gd name="T16" fmla="*/ 36 w 102"/>
              <a:gd name="T17" fmla="*/ 23 h 86"/>
              <a:gd name="T18" fmla="*/ 31 w 102"/>
              <a:gd name="T19" fmla="*/ 27 h 86"/>
              <a:gd name="T20" fmla="*/ 24 w 102"/>
              <a:gd name="T21" fmla="*/ 30 h 86"/>
              <a:gd name="T22" fmla="*/ 18 w 102"/>
              <a:gd name="T23" fmla="*/ 29 h 86"/>
              <a:gd name="T24" fmla="*/ 15 w 102"/>
              <a:gd name="T25" fmla="*/ 37 h 86"/>
              <a:gd name="T26" fmla="*/ 12 w 102"/>
              <a:gd name="T27" fmla="*/ 44 h 86"/>
              <a:gd name="T28" fmla="*/ 7 w 102"/>
              <a:gd name="T29" fmla="*/ 50 h 86"/>
              <a:gd name="T30" fmla="*/ 4 w 102"/>
              <a:gd name="T31" fmla="*/ 57 h 86"/>
              <a:gd name="T32" fmla="*/ 3 w 102"/>
              <a:gd name="T33" fmla="*/ 65 h 86"/>
              <a:gd name="T34" fmla="*/ 5 w 102"/>
              <a:gd name="T35" fmla="*/ 71 h 86"/>
              <a:gd name="T36" fmla="*/ 2 w 102"/>
              <a:gd name="T37" fmla="*/ 74 h 86"/>
              <a:gd name="T38" fmla="*/ 2 w 102"/>
              <a:gd name="T39" fmla="*/ 80 h 86"/>
              <a:gd name="T40" fmla="*/ 9 w 102"/>
              <a:gd name="T41" fmla="*/ 84 h 86"/>
              <a:gd name="T42" fmla="*/ 16 w 102"/>
              <a:gd name="T43" fmla="*/ 85 h 86"/>
              <a:gd name="T44" fmla="*/ 26 w 102"/>
              <a:gd name="T45" fmla="*/ 82 h 86"/>
              <a:gd name="T46" fmla="*/ 34 w 102"/>
              <a:gd name="T47" fmla="*/ 84 h 86"/>
              <a:gd name="T48" fmla="*/ 34 w 102"/>
              <a:gd name="T49" fmla="*/ 79 h 86"/>
              <a:gd name="T50" fmla="*/ 33 w 102"/>
              <a:gd name="T51" fmla="*/ 72 h 86"/>
              <a:gd name="T52" fmla="*/ 37 w 102"/>
              <a:gd name="T53" fmla="*/ 71 h 86"/>
              <a:gd name="T54" fmla="*/ 33 w 102"/>
              <a:gd name="T55" fmla="*/ 67 h 86"/>
              <a:gd name="T56" fmla="*/ 47 w 102"/>
              <a:gd name="T57" fmla="*/ 65 h 86"/>
              <a:gd name="T58" fmla="*/ 59 w 102"/>
              <a:gd name="T59" fmla="*/ 64 h 86"/>
              <a:gd name="T60" fmla="*/ 67 w 102"/>
              <a:gd name="T61" fmla="*/ 64 h 86"/>
              <a:gd name="T62" fmla="*/ 72 w 102"/>
              <a:gd name="T63" fmla="*/ 67 h 86"/>
              <a:gd name="T64" fmla="*/ 81 w 102"/>
              <a:gd name="T65" fmla="*/ 67 h 86"/>
              <a:gd name="T66" fmla="*/ 86 w 102"/>
              <a:gd name="T67" fmla="*/ 63 h 86"/>
              <a:gd name="T68" fmla="*/ 94 w 102"/>
              <a:gd name="T69" fmla="*/ 59 h 86"/>
              <a:gd name="T70" fmla="*/ 99 w 102"/>
              <a:gd name="T71" fmla="*/ 47 h 86"/>
              <a:gd name="T72" fmla="*/ 101 w 102"/>
              <a:gd name="T73" fmla="*/ 4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86">
                <a:moveTo>
                  <a:pt x="101" y="41"/>
                </a:moveTo>
                <a:cubicBezTo>
                  <a:pt x="101" y="41"/>
                  <a:pt x="100" y="39"/>
                  <a:pt x="98" y="39"/>
                </a:cubicBezTo>
                <a:cubicBezTo>
                  <a:pt x="95" y="38"/>
                  <a:pt x="93" y="39"/>
                  <a:pt x="91" y="39"/>
                </a:cubicBezTo>
                <a:cubicBezTo>
                  <a:pt x="89" y="40"/>
                  <a:pt x="85" y="38"/>
                  <a:pt x="83" y="37"/>
                </a:cubicBezTo>
                <a:cubicBezTo>
                  <a:pt x="82" y="36"/>
                  <a:pt x="82" y="35"/>
                  <a:pt x="82" y="32"/>
                </a:cubicBezTo>
                <a:cubicBezTo>
                  <a:pt x="83" y="29"/>
                  <a:pt x="83" y="27"/>
                  <a:pt x="81" y="26"/>
                </a:cubicBezTo>
                <a:cubicBezTo>
                  <a:pt x="78" y="25"/>
                  <a:pt x="77" y="25"/>
                  <a:pt x="76" y="21"/>
                </a:cubicBezTo>
                <a:cubicBezTo>
                  <a:pt x="75" y="17"/>
                  <a:pt x="73" y="17"/>
                  <a:pt x="72" y="13"/>
                </a:cubicBezTo>
                <a:cubicBezTo>
                  <a:pt x="71" y="10"/>
                  <a:pt x="73" y="5"/>
                  <a:pt x="73" y="4"/>
                </a:cubicBezTo>
                <a:cubicBezTo>
                  <a:pt x="73" y="3"/>
                  <a:pt x="70" y="1"/>
                  <a:pt x="68" y="1"/>
                </a:cubicBezTo>
                <a:cubicBezTo>
                  <a:pt x="64" y="0"/>
                  <a:pt x="62" y="1"/>
                  <a:pt x="61" y="3"/>
                </a:cubicBezTo>
                <a:cubicBezTo>
                  <a:pt x="60" y="5"/>
                  <a:pt x="58" y="3"/>
                  <a:pt x="58" y="5"/>
                </a:cubicBezTo>
                <a:cubicBezTo>
                  <a:pt x="58" y="7"/>
                  <a:pt x="56" y="8"/>
                  <a:pt x="55" y="8"/>
                </a:cubicBezTo>
                <a:cubicBezTo>
                  <a:pt x="53" y="8"/>
                  <a:pt x="51" y="9"/>
                  <a:pt x="49" y="10"/>
                </a:cubicBezTo>
                <a:cubicBezTo>
                  <a:pt x="48" y="12"/>
                  <a:pt x="46" y="14"/>
                  <a:pt x="47" y="15"/>
                </a:cubicBezTo>
                <a:cubicBezTo>
                  <a:pt x="47" y="17"/>
                  <a:pt x="46" y="17"/>
                  <a:pt x="44" y="17"/>
                </a:cubicBezTo>
                <a:cubicBezTo>
                  <a:pt x="42" y="17"/>
                  <a:pt x="40" y="16"/>
                  <a:pt x="38" y="18"/>
                </a:cubicBezTo>
                <a:cubicBezTo>
                  <a:pt x="36" y="19"/>
                  <a:pt x="37" y="20"/>
                  <a:pt x="36" y="23"/>
                </a:cubicBezTo>
                <a:cubicBezTo>
                  <a:pt x="35" y="25"/>
                  <a:pt x="34" y="24"/>
                  <a:pt x="32" y="24"/>
                </a:cubicBezTo>
                <a:cubicBezTo>
                  <a:pt x="31" y="24"/>
                  <a:pt x="31" y="27"/>
                  <a:pt x="31" y="27"/>
                </a:cubicBezTo>
                <a:cubicBezTo>
                  <a:pt x="31" y="27"/>
                  <a:pt x="31" y="28"/>
                  <a:pt x="30" y="29"/>
                </a:cubicBezTo>
                <a:cubicBezTo>
                  <a:pt x="28" y="31"/>
                  <a:pt x="26" y="30"/>
                  <a:pt x="24" y="30"/>
                </a:cubicBezTo>
                <a:cubicBezTo>
                  <a:pt x="21" y="30"/>
                  <a:pt x="22" y="27"/>
                  <a:pt x="22" y="27"/>
                </a:cubicBezTo>
                <a:cubicBezTo>
                  <a:pt x="22" y="27"/>
                  <a:pt x="19" y="28"/>
                  <a:pt x="18" y="29"/>
                </a:cubicBezTo>
                <a:cubicBezTo>
                  <a:pt x="17" y="30"/>
                  <a:pt x="16" y="29"/>
                  <a:pt x="15" y="31"/>
                </a:cubicBezTo>
                <a:cubicBezTo>
                  <a:pt x="13" y="32"/>
                  <a:pt x="15" y="37"/>
                  <a:pt x="15" y="37"/>
                </a:cubicBezTo>
                <a:cubicBezTo>
                  <a:pt x="15" y="37"/>
                  <a:pt x="14" y="40"/>
                  <a:pt x="13" y="40"/>
                </a:cubicBezTo>
                <a:cubicBezTo>
                  <a:pt x="11" y="40"/>
                  <a:pt x="11" y="42"/>
                  <a:pt x="12" y="44"/>
                </a:cubicBezTo>
                <a:cubicBezTo>
                  <a:pt x="12" y="45"/>
                  <a:pt x="11" y="45"/>
                  <a:pt x="11" y="46"/>
                </a:cubicBezTo>
                <a:cubicBezTo>
                  <a:pt x="10" y="48"/>
                  <a:pt x="9" y="50"/>
                  <a:pt x="7" y="50"/>
                </a:cubicBezTo>
                <a:cubicBezTo>
                  <a:pt x="5" y="50"/>
                  <a:pt x="4" y="50"/>
                  <a:pt x="4" y="52"/>
                </a:cubicBezTo>
                <a:cubicBezTo>
                  <a:pt x="3" y="54"/>
                  <a:pt x="4" y="55"/>
                  <a:pt x="4" y="57"/>
                </a:cubicBezTo>
                <a:cubicBezTo>
                  <a:pt x="4" y="58"/>
                  <a:pt x="3" y="61"/>
                  <a:pt x="3" y="61"/>
                </a:cubicBezTo>
                <a:cubicBezTo>
                  <a:pt x="3" y="61"/>
                  <a:pt x="3" y="63"/>
                  <a:pt x="3" y="65"/>
                </a:cubicBezTo>
                <a:cubicBezTo>
                  <a:pt x="2" y="66"/>
                  <a:pt x="3" y="67"/>
                  <a:pt x="3" y="67"/>
                </a:cubicBezTo>
                <a:cubicBezTo>
                  <a:pt x="3" y="67"/>
                  <a:pt x="5" y="69"/>
                  <a:pt x="5" y="71"/>
                </a:cubicBezTo>
                <a:cubicBezTo>
                  <a:pt x="5" y="73"/>
                  <a:pt x="3" y="73"/>
                  <a:pt x="2" y="73"/>
                </a:cubicBezTo>
                <a:cubicBezTo>
                  <a:pt x="2" y="73"/>
                  <a:pt x="2" y="73"/>
                  <a:pt x="2" y="74"/>
                </a:cubicBezTo>
                <a:cubicBezTo>
                  <a:pt x="2" y="75"/>
                  <a:pt x="0" y="76"/>
                  <a:pt x="1" y="77"/>
                </a:cubicBezTo>
                <a:cubicBezTo>
                  <a:pt x="1" y="79"/>
                  <a:pt x="1" y="79"/>
                  <a:pt x="2" y="80"/>
                </a:cubicBezTo>
                <a:cubicBezTo>
                  <a:pt x="2" y="81"/>
                  <a:pt x="4" y="82"/>
                  <a:pt x="5" y="82"/>
                </a:cubicBezTo>
                <a:cubicBezTo>
                  <a:pt x="6" y="82"/>
                  <a:pt x="8" y="82"/>
                  <a:pt x="9" y="84"/>
                </a:cubicBezTo>
                <a:cubicBezTo>
                  <a:pt x="9" y="86"/>
                  <a:pt x="13" y="86"/>
                  <a:pt x="14" y="85"/>
                </a:cubicBezTo>
                <a:cubicBezTo>
                  <a:pt x="15" y="84"/>
                  <a:pt x="16" y="85"/>
                  <a:pt x="16" y="85"/>
                </a:cubicBezTo>
                <a:cubicBezTo>
                  <a:pt x="16" y="85"/>
                  <a:pt x="19" y="84"/>
                  <a:pt x="20" y="83"/>
                </a:cubicBezTo>
                <a:cubicBezTo>
                  <a:pt x="21" y="83"/>
                  <a:pt x="24" y="82"/>
                  <a:pt x="26" y="82"/>
                </a:cubicBezTo>
                <a:cubicBezTo>
                  <a:pt x="29" y="82"/>
                  <a:pt x="34" y="84"/>
                  <a:pt x="34" y="84"/>
                </a:cubicBezTo>
                <a:cubicBezTo>
                  <a:pt x="34" y="84"/>
                  <a:pt x="34" y="84"/>
                  <a:pt x="34" y="84"/>
                </a:cubicBezTo>
                <a:cubicBezTo>
                  <a:pt x="34" y="83"/>
                  <a:pt x="34" y="82"/>
                  <a:pt x="34" y="82"/>
                </a:cubicBezTo>
                <a:cubicBezTo>
                  <a:pt x="34" y="81"/>
                  <a:pt x="34" y="80"/>
                  <a:pt x="34" y="79"/>
                </a:cubicBezTo>
                <a:cubicBezTo>
                  <a:pt x="35" y="77"/>
                  <a:pt x="35" y="77"/>
                  <a:pt x="35" y="75"/>
                </a:cubicBezTo>
                <a:cubicBezTo>
                  <a:pt x="34" y="73"/>
                  <a:pt x="33" y="72"/>
                  <a:pt x="33" y="72"/>
                </a:cubicBezTo>
                <a:cubicBezTo>
                  <a:pt x="33" y="72"/>
                  <a:pt x="35" y="73"/>
                  <a:pt x="35" y="73"/>
                </a:cubicBezTo>
                <a:cubicBezTo>
                  <a:pt x="35" y="73"/>
                  <a:pt x="37" y="72"/>
                  <a:pt x="37" y="71"/>
                </a:cubicBezTo>
                <a:cubicBezTo>
                  <a:pt x="37" y="70"/>
                  <a:pt x="35" y="71"/>
                  <a:pt x="34" y="71"/>
                </a:cubicBezTo>
                <a:cubicBezTo>
                  <a:pt x="33" y="70"/>
                  <a:pt x="32" y="68"/>
                  <a:pt x="33" y="67"/>
                </a:cubicBezTo>
                <a:cubicBezTo>
                  <a:pt x="34" y="65"/>
                  <a:pt x="41" y="65"/>
                  <a:pt x="43" y="66"/>
                </a:cubicBezTo>
                <a:cubicBezTo>
                  <a:pt x="44" y="66"/>
                  <a:pt x="46" y="65"/>
                  <a:pt x="47" y="65"/>
                </a:cubicBezTo>
                <a:cubicBezTo>
                  <a:pt x="47" y="65"/>
                  <a:pt x="53" y="65"/>
                  <a:pt x="55" y="65"/>
                </a:cubicBezTo>
                <a:cubicBezTo>
                  <a:pt x="57" y="65"/>
                  <a:pt x="59" y="64"/>
                  <a:pt x="59" y="64"/>
                </a:cubicBezTo>
                <a:cubicBezTo>
                  <a:pt x="59" y="64"/>
                  <a:pt x="63" y="64"/>
                  <a:pt x="64" y="65"/>
                </a:cubicBezTo>
                <a:cubicBezTo>
                  <a:pt x="66" y="65"/>
                  <a:pt x="67" y="64"/>
                  <a:pt x="67" y="64"/>
                </a:cubicBezTo>
                <a:cubicBezTo>
                  <a:pt x="67" y="64"/>
                  <a:pt x="70" y="64"/>
                  <a:pt x="71" y="64"/>
                </a:cubicBezTo>
                <a:cubicBezTo>
                  <a:pt x="72" y="64"/>
                  <a:pt x="72" y="67"/>
                  <a:pt x="72" y="67"/>
                </a:cubicBezTo>
                <a:cubicBezTo>
                  <a:pt x="81" y="67"/>
                  <a:pt x="81" y="67"/>
                  <a:pt x="81" y="67"/>
                </a:cubicBezTo>
                <a:cubicBezTo>
                  <a:pt x="81" y="67"/>
                  <a:pt x="81" y="67"/>
                  <a:pt x="81" y="67"/>
                </a:cubicBezTo>
                <a:cubicBezTo>
                  <a:pt x="81" y="67"/>
                  <a:pt x="83" y="65"/>
                  <a:pt x="84" y="65"/>
                </a:cubicBezTo>
                <a:cubicBezTo>
                  <a:pt x="85" y="66"/>
                  <a:pt x="87" y="65"/>
                  <a:pt x="86" y="63"/>
                </a:cubicBezTo>
                <a:cubicBezTo>
                  <a:pt x="85" y="62"/>
                  <a:pt x="86" y="60"/>
                  <a:pt x="87" y="59"/>
                </a:cubicBezTo>
                <a:cubicBezTo>
                  <a:pt x="89" y="58"/>
                  <a:pt x="92" y="58"/>
                  <a:pt x="94" y="59"/>
                </a:cubicBezTo>
                <a:cubicBezTo>
                  <a:pt x="95" y="59"/>
                  <a:pt x="100" y="59"/>
                  <a:pt x="101" y="56"/>
                </a:cubicBezTo>
                <a:cubicBezTo>
                  <a:pt x="102" y="53"/>
                  <a:pt x="99" y="47"/>
                  <a:pt x="99" y="47"/>
                </a:cubicBezTo>
                <a:cubicBezTo>
                  <a:pt x="99" y="47"/>
                  <a:pt x="98" y="44"/>
                  <a:pt x="99" y="44"/>
                </a:cubicBezTo>
                <a:cubicBezTo>
                  <a:pt x="100" y="43"/>
                  <a:pt x="101" y="41"/>
                  <a:pt x="101" y="41"/>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5" name="Mali"/>
          <p:cNvSpPr>
            <a:spLocks/>
          </p:cNvSpPr>
          <p:nvPr/>
        </p:nvSpPr>
        <p:spPr bwMode="auto">
          <a:xfrm>
            <a:off x="5864649" y="3257208"/>
            <a:ext cx="440962" cy="481790"/>
          </a:xfrm>
          <a:custGeom>
            <a:avLst/>
            <a:gdLst>
              <a:gd name="T0" fmla="*/ 58 w 215"/>
              <a:gd name="T1" fmla="*/ 233 h 235"/>
              <a:gd name="T2" fmla="*/ 53 w 215"/>
              <a:gd name="T3" fmla="*/ 226 h 235"/>
              <a:gd name="T4" fmla="*/ 46 w 215"/>
              <a:gd name="T5" fmla="*/ 223 h 235"/>
              <a:gd name="T6" fmla="*/ 48 w 215"/>
              <a:gd name="T7" fmla="*/ 213 h 235"/>
              <a:gd name="T8" fmla="*/ 44 w 215"/>
              <a:gd name="T9" fmla="*/ 206 h 235"/>
              <a:gd name="T10" fmla="*/ 34 w 215"/>
              <a:gd name="T11" fmla="*/ 204 h 235"/>
              <a:gd name="T12" fmla="*/ 23 w 215"/>
              <a:gd name="T13" fmla="*/ 206 h 235"/>
              <a:gd name="T14" fmla="*/ 14 w 215"/>
              <a:gd name="T15" fmla="*/ 204 h 235"/>
              <a:gd name="T16" fmla="*/ 8 w 215"/>
              <a:gd name="T17" fmla="*/ 199 h 235"/>
              <a:gd name="T18" fmla="*/ 7 w 215"/>
              <a:gd name="T19" fmla="*/ 197 h 235"/>
              <a:gd name="T20" fmla="*/ 9 w 215"/>
              <a:gd name="T21" fmla="*/ 192 h 235"/>
              <a:gd name="T22" fmla="*/ 3 w 215"/>
              <a:gd name="T23" fmla="*/ 177 h 235"/>
              <a:gd name="T24" fmla="*/ 2 w 215"/>
              <a:gd name="T25" fmla="*/ 166 h 235"/>
              <a:gd name="T26" fmla="*/ 5 w 215"/>
              <a:gd name="T27" fmla="*/ 157 h 235"/>
              <a:gd name="T28" fmla="*/ 14 w 215"/>
              <a:gd name="T29" fmla="*/ 155 h 235"/>
              <a:gd name="T30" fmla="*/ 20 w 215"/>
              <a:gd name="T31" fmla="*/ 157 h 235"/>
              <a:gd name="T32" fmla="*/ 35 w 215"/>
              <a:gd name="T33" fmla="*/ 152 h 235"/>
              <a:gd name="T34" fmla="*/ 41 w 215"/>
              <a:gd name="T35" fmla="*/ 152 h 235"/>
              <a:gd name="T36" fmla="*/ 69 w 215"/>
              <a:gd name="T37" fmla="*/ 152 h 235"/>
              <a:gd name="T38" fmla="*/ 91 w 215"/>
              <a:gd name="T39" fmla="*/ 144 h 235"/>
              <a:gd name="T40" fmla="*/ 86 w 215"/>
              <a:gd name="T41" fmla="*/ 137 h 235"/>
              <a:gd name="T42" fmla="*/ 83 w 215"/>
              <a:gd name="T43" fmla="*/ 94 h 235"/>
              <a:gd name="T44" fmla="*/ 78 w 215"/>
              <a:gd name="T45" fmla="*/ 39 h 235"/>
              <a:gd name="T46" fmla="*/ 76 w 215"/>
              <a:gd name="T47" fmla="*/ 7 h 235"/>
              <a:gd name="T48" fmla="*/ 94 w 215"/>
              <a:gd name="T49" fmla="*/ 0 h 235"/>
              <a:gd name="T50" fmla="*/ 139 w 215"/>
              <a:gd name="T51" fmla="*/ 38 h 235"/>
              <a:gd name="T52" fmla="*/ 174 w 215"/>
              <a:gd name="T53" fmla="*/ 65 h 235"/>
              <a:gd name="T54" fmla="*/ 183 w 215"/>
              <a:gd name="T55" fmla="*/ 75 h 235"/>
              <a:gd name="T56" fmla="*/ 195 w 215"/>
              <a:gd name="T57" fmla="*/ 82 h 235"/>
              <a:gd name="T58" fmla="*/ 198 w 215"/>
              <a:gd name="T59" fmla="*/ 96 h 235"/>
              <a:gd name="T60" fmla="*/ 215 w 215"/>
              <a:gd name="T61" fmla="*/ 92 h 235"/>
              <a:gd name="T62" fmla="*/ 213 w 215"/>
              <a:gd name="T63" fmla="*/ 117 h 235"/>
              <a:gd name="T64" fmla="*/ 213 w 215"/>
              <a:gd name="T65" fmla="*/ 142 h 235"/>
              <a:gd name="T66" fmla="*/ 206 w 215"/>
              <a:gd name="T67" fmla="*/ 150 h 235"/>
              <a:gd name="T68" fmla="*/ 198 w 215"/>
              <a:gd name="T69" fmla="*/ 157 h 235"/>
              <a:gd name="T70" fmla="*/ 188 w 215"/>
              <a:gd name="T71" fmla="*/ 158 h 235"/>
              <a:gd name="T72" fmla="*/ 179 w 215"/>
              <a:gd name="T73" fmla="*/ 157 h 235"/>
              <a:gd name="T74" fmla="*/ 172 w 215"/>
              <a:gd name="T75" fmla="*/ 161 h 235"/>
              <a:gd name="T76" fmla="*/ 159 w 215"/>
              <a:gd name="T77" fmla="*/ 162 h 235"/>
              <a:gd name="T78" fmla="*/ 147 w 215"/>
              <a:gd name="T79" fmla="*/ 161 h 235"/>
              <a:gd name="T80" fmla="*/ 141 w 215"/>
              <a:gd name="T81" fmla="*/ 166 h 235"/>
              <a:gd name="T82" fmla="*/ 133 w 215"/>
              <a:gd name="T83" fmla="*/ 173 h 235"/>
              <a:gd name="T84" fmla="*/ 124 w 215"/>
              <a:gd name="T85" fmla="*/ 176 h 235"/>
              <a:gd name="T86" fmla="*/ 118 w 215"/>
              <a:gd name="T87" fmla="*/ 182 h 235"/>
              <a:gd name="T88" fmla="*/ 116 w 215"/>
              <a:gd name="T89" fmla="*/ 187 h 235"/>
              <a:gd name="T90" fmla="*/ 108 w 215"/>
              <a:gd name="T91" fmla="*/ 185 h 235"/>
              <a:gd name="T92" fmla="*/ 101 w 215"/>
              <a:gd name="T93" fmla="*/ 189 h 235"/>
              <a:gd name="T94" fmla="*/ 99 w 215"/>
              <a:gd name="T95" fmla="*/ 198 h 235"/>
              <a:gd name="T96" fmla="*/ 97 w 215"/>
              <a:gd name="T97" fmla="*/ 204 h 235"/>
              <a:gd name="T98" fmla="*/ 90 w 215"/>
              <a:gd name="T99" fmla="*/ 210 h 235"/>
              <a:gd name="T100" fmla="*/ 89 w 215"/>
              <a:gd name="T101" fmla="*/ 219 h 235"/>
              <a:gd name="T102" fmla="*/ 89 w 215"/>
              <a:gd name="T103" fmla="*/ 225 h 235"/>
              <a:gd name="T104" fmla="*/ 88 w 215"/>
              <a:gd name="T105" fmla="*/ 231 h 235"/>
              <a:gd name="T106" fmla="*/ 77 w 215"/>
              <a:gd name="T107" fmla="*/ 234 h 235"/>
              <a:gd name="T108" fmla="*/ 72 w 215"/>
              <a:gd name="T109" fmla="*/ 232 h 235"/>
              <a:gd name="T110" fmla="*/ 64 w 215"/>
              <a:gd name="T111" fmla="*/ 233 h 235"/>
              <a:gd name="T112" fmla="*/ 58 w 215"/>
              <a:gd name="T113" fmla="*/ 23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5" h="235">
                <a:moveTo>
                  <a:pt x="58" y="234"/>
                </a:moveTo>
                <a:cubicBezTo>
                  <a:pt x="58" y="234"/>
                  <a:pt x="58" y="233"/>
                  <a:pt x="58" y="233"/>
                </a:cubicBezTo>
                <a:cubicBezTo>
                  <a:pt x="57" y="231"/>
                  <a:pt x="56" y="231"/>
                  <a:pt x="54" y="231"/>
                </a:cubicBezTo>
                <a:cubicBezTo>
                  <a:pt x="52" y="231"/>
                  <a:pt x="53" y="228"/>
                  <a:pt x="53" y="226"/>
                </a:cubicBezTo>
                <a:cubicBezTo>
                  <a:pt x="54" y="224"/>
                  <a:pt x="52" y="223"/>
                  <a:pt x="50" y="224"/>
                </a:cubicBezTo>
                <a:cubicBezTo>
                  <a:pt x="48" y="224"/>
                  <a:pt x="47" y="224"/>
                  <a:pt x="46" y="223"/>
                </a:cubicBezTo>
                <a:cubicBezTo>
                  <a:pt x="46" y="221"/>
                  <a:pt x="46" y="220"/>
                  <a:pt x="49" y="218"/>
                </a:cubicBezTo>
                <a:cubicBezTo>
                  <a:pt x="52" y="216"/>
                  <a:pt x="50" y="214"/>
                  <a:pt x="48" y="213"/>
                </a:cubicBezTo>
                <a:cubicBezTo>
                  <a:pt x="47" y="212"/>
                  <a:pt x="47" y="212"/>
                  <a:pt x="45" y="211"/>
                </a:cubicBezTo>
                <a:cubicBezTo>
                  <a:pt x="43" y="209"/>
                  <a:pt x="44" y="206"/>
                  <a:pt x="44" y="206"/>
                </a:cubicBezTo>
                <a:cubicBezTo>
                  <a:pt x="44" y="206"/>
                  <a:pt x="45" y="199"/>
                  <a:pt x="41" y="200"/>
                </a:cubicBezTo>
                <a:cubicBezTo>
                  <a:pt x="36" y="201"/>
                  <a:pt x="37" y="204"/>
                  <a:pt x="34" y="204"/>
                </a:cubicBezTo>
                <a:cubicBezTo>
                  <a:pt x="32" y="205"/>
                  <a:pt x="30" y="203"/>
                  <a:pt x="27" y="202"/>
                </a:cubicBezTo>
                <a:cubicBezTo>
                  <a:pt x="25" y="202"/>
                  <a:pt x="24" y="204"/>
                  <a:pt x="23" y="206"/>
                </a:cubicBezTo>
                <a:cubicBezTo>
                  <a:pt x="22" y="208"/>
                  <a:pt x="19" y="205"/>
                  <a:pt x="19" y="204"/>
                </a:cubicBezTo>
                <a:cubicBezTo>
                  <a:pt x="19" y="203"/>
                  <a:pt x="15" y="203"/>
                  <a:pt x="14" y="204"/>
                </a:cubicBezTo>
                <a:cubicBezTo>
                  <a:pt x="14" y="205"/>
                  <a:pt x="10" y="207"/>
                  <a:pt x="8" y="205"/>
                </a:cubicBezTo>
                <a:cubicBezTo>
                  <a:pt x="7" y="202"/>
                  <a:pt x="8" y="199"/>
                  <a:pt x="8" y="199"/>
                </a:cubicBezTo>
                <a:cubicBezTo>
                  <a:pt x="7" y="198"/>
                  <a:pt x="7" y="197"/>
                  <a:pt x="7" y="197"/>
                </a:cubicBezTo>
                <a:cubicBezTo>
                  <a:pt x="7" y="197"/>
                  <a:pt x="7" y="197"/>
                  <a:pt x="7" y="197"/>
                </a:cubicBezTo>
                <a:cubicBezTo>
                  <a:pt x="8" y="195"/>
                  <a:pt x="8" y="195"/>
                  <a:pt x="8" y="195"/>
                </a:cubicBezTo>
                <a:cubicBezTo>
                  <a:pt x="8" y="195"/>
                  <a:pt x="9" y="194"/>
                  <a:pt x="9" y="192"/>
                </a:cubicBezTo>
                <a:cubicBezTo>
                  <a:pt x="9" y="190"/>
                  <a:pt x="8" y="186"/>
                  <a:pt x="7" y="183"/>
                </a:cubicBezTo>
                <a:cubicBezTo>
                  <a:pt x="5" y="181"/>
                  <a:pt x="3" y="177"/>
                  <a:pt x="3" y="177"/>
                </a:cubicBezTo>
                <a:cubicBezTo>
                  <a:pt x="3" y="177"/>
                  <a:pt x="3" y="177"/>
                  <a:pt x="3" y="174"/>
                </a:cubicBezTo>
                <a:cubicBezTo>
                  <a:pt x="4" y="170"/>
                  <a:pt x="2" y="166"/>
                  <a:pt x="2" y="166"/>
                </a:cubicBezTo>
                <a:cubicBezTo>
                  <a:pt x="2" y="166"/>
                  <a:pt x="1" y="162"/>
                  <a:pt x="0" y="160"/>
                </a:cubicBezTo>
                <a:cubicBezTo>
                  <a:pt x="0" y="161"/>
                  <a:pt x="4" y="159"/>
                  <a:pt x="5" y="157"/>
                </a:cubicBezTo>
                <a:cubicBezTo>
                  <a:pt x="6" y="156"/>
                  <a:pt x="6" y="152"/>
                  <a:pt x="9" y="152"/>
                </a:cubicBezTo>
                <a:cubicBezTo>
                  <a:pt x="11" y="152"/>
                  <a:pt x="14" y="153"/>
                  <a:pt x="14" y="155"/>
                </a:cubicBezTo>
                <a:cubicBezTo>
                  <a:pt x="14" y="156"/>
                  <a:pt x="18" y="157"/>
                  <a:pt x="18" y="157"/>
                </a:cubicBezTo>
                <a:cubicBezTo>
                  <a:pt x="18" y="157"/>
                  <a:pt x="19" y="158"/>
                  <a:pt x="20" y="157"/>
                </a:cubicBezTo>
                <a:cubicBezTo>
                  <a:pt x="21" y="155"/>
                  <a:pt x="25" y="153"/>
                  <a:pt x="28" y="153"/>
                </a:cubicBezTo>
                <a:cubicBezTo>
                  <a:pt x="31" y="152"/>
                  <a:pt x="35" y="152"/>
                  <a:pt x="35" y="152"/>
                </a:cubicBezTo>
                <a:cubicBezTo>
                  <a:pt x="36" y="150"/>
                  <a:pt x="36" y="150"/>
                  <a:pt x="36" y="150"/>
                </a:cubicBezTo>
                <a:cubicBezTo>
                  <a:pt x="36" y="150"/>
                  <a:pt x="40" y="150"/>
                  <a:pt x="41" y="152"/>
                </a:cubicBezTo>
                <a:cubicBezTo>
                  <a:pt x="42" y="153"/>
                  <a:pt x="41" y="152"/>
                  <a:pt x="47" y="152"/>
                </a:cubicBezTo>
                <a:cubicBezTo>
                  <a:pt x="54" y="152"/>
                  <a:pt x="69" y="152"/>
                  <a:pt x="69" y="152"/>
                </a:cubicBezTo>
                <a:cubicBezTo>
                  <a:pt x="87" y="151"/>
                  <a:pt x="87" y="151"/>
                  <a:pt x="87" y="151"/>
                </a:cubicBezTo>
                <a:cubicBezTo>
                  <a:pt x="87" y="151"/>
                  <a:pt x="89" y="147"/>
                  <a:pt x="91" y="144"/>
                </a:cubicBezTo>
                <a:cubicBezTo>
                  <a:pt x="92" y="141"/>
                  <a:pt x="91" y="139"/>
                  <a:pt x="90" y="139"/>
                </a:cubicBezTo>
                <a:cubicBezTo>
                  <a:pt x="88" y="138"/>
                  <a:pt x="86" y="137"/>
                  <a:pt x="86" y="137"/>
                </a:cubicBezTo>
                <a:cubicBezTo>
                  <a:pt x="86" y="137"/>
                  <a:pt x="85" y="132"/>
                  <a:pt x="85" y="122"/>
                </a:cubicBezTo>
                <a:cubicBezTo>
                  <a:pt x="85" y="113"/>
                  <a:pt x="83" y="100"/>
                  <a:pt x="83" y="94"/>
                </a:cubicBezTo>
                <a:cubicBezTo>
                  <a:pt x="82" y="87"/>
                  <a:pt x="80" y="65"/>
                  <a:pt x="80" y="60"/>
                </a:cubicBezTo>
                <a:cubicBezTo>
                  <a:pt x="80" y="55"/>
                  <a:pt x="78" y="45"/>
                  <a:pt x="78" y="39"/>
                </a:cubicBezTo>
                <a:cubicBezTo>
                  <a:pt x="78" y="33"/>
                  <a:pt x="77" y="19"/>
                  <a:pt x="77" y="17"/>
                </a:cubicBezTo>
                <a:cubicBezTo>
                  <a:pt x="77" y="16"/>
                  <a:pt x="76" y="9"/>
                  <a:pt x="76" y="7"/>
                </a:cubicBezTo>
                <a:cubicBezTo>
                  <a:pt x="75" y="5"/>
                  <a:pt x="74" y="0"/>
                  <a:pt x="74" y="0"/>
                </a:cubicBezTo>
                <a:cubicBezTo>
                  <a:pt x="94" y="0"/>
                  <a:pt x="94" y="0"/>
                  <a:pt x="94" y="0"/>
                </a:cubicBezTo>
                <a:cubicBezTo>
                  <a:pt x="111" y="15"/>
                  <a:pt x="111" y="15"/>
                  <a:pt x="111" y="15"/>
                </a:cubicBezTo>
                <a:cubicBezTo>
                  <a:pt x="139" y="38"/>
                  <a:pt x="139" y="38"/>
                  <a:pt x="139" y="38"/>
                </a:cubicBezTo>
                <a:cubicBezTo>
                  <a:pt x="162" y="55"/>
                  <a:pt x="162" y="55"/>
                  <a:pt x="162" y="55"/>
                </a:cubicBezTo>
                <a:cubicBezTo>
                  <a:pt x="174" y="65"/>
                  <a:pt x="174" y="65"/>
                  <a:pt x="174" y="65"/>
                </a:cubicBezTo>
                <a:cubicBezTo>
                  <a:pt x="174" y="68"/>
                  <a:pt x="174" y="68"/>
                  <a:pt x="174" y="68"/>
                </a:cubicBezTo>
                <a:cubicBezTo>
                  <a:pt x="174" y="68"/>
                  <a:pt x="182" y="73"/>
                  <a:pt x="183" y="75"/>
                </a:cubicBezTo>
                <a:cubicBezTo>
                  <a:pt x="184" y="76"/>
                  <a:pt x="189" y="79"/>
                  <a:pt x="189" y="79"/>
                </a:cubicBezTo>
                <a:cubicBezTo>
                  <a:pt x="189" y="79"/>
                  <a:pt x="194" y="82"/>
                  <a:pt x="195" y="82"/>
                </a:cubicBezTo>
                <a:cubicBezTo>
                  <a:pt x="196" y="82"/>
                  <a:pt x="197" y="86"/>
                  <a:pt x="197" y="86"/>
                </a:cubicBezTo>
                <a:cubicBezTo>
                  <a:pt x="198" y="96"/>
                  <a:pt x="198" y="96"/>
                  <a:pt x="198" y="96"/>
                </a:cubicBezTo>
                <a:cubicBezTo>
                  <a:pt x="198" y="96"/>
                  <a:pt x="198" y="99"/>
                  <a:pt x="201" y="98"/>
                </a:cubicBezTo>
                <a:cubicBezTo>
                  <a:pt x="204" y="97"/>
                  <a:pt x="215" y="92"/>
                  <a:pt x="215" y="92"/>
                </a:cubicBezTo>
                <a:cubicBezTo>
                  <a:pt x="215" y="92"/>
                  <a:pt x="214" y="100"/>
                  <a:pt x="213" y="104"/>
                </a:cubicBezTo>
                <a:cubicBezTo>
                  <a:pt x="211" y="108"/>
                  <a:pt x="213" y="117"/>
                  <a:pt x="213" y="117"/>
                </a:cubicBezTo>
                <a:cubicBezTo>
                  <a:pt x="212" y="136"/>
                  <a:pt x="212" y="136"/>
                  <a:pt x="212" y="136"/>
                </a:cubicBezTo>
                <a:cubicBezTo>
                  <a:pt x="212" y="136"/>
                  <a:pt x="211" y="140"/>
                  <a:pt x="213" y="142"/>
                </a:cubicBezTo>
                <a:cubicBezTo>
                  <a:pt x="213" y="143"/>
                  <a:pt x="211" y="146"/>
                  <a:pt x="210" y="146"/>
                </a:cubicBezTo>
                <a:cubicBezTo>
                  <a:pt x="209" y="146"/>
                  <a:pt x="208" y="148"/>
                  <a:pt x="206" y="150"/>
                </a:cubicBezTo>
                <a:cubicBezTo>
                  <a:pt x="203" y="151"/>
                  <a:pt x="200" y="157"/>
                  <a:pt x="200" y="157"/>
                </a:cubicBezTo>
                <a:cubicBezTo>
                  <a:pt x="200" y="157"/>
                  <a:pt x="199" y="157"/>
                  <a:pt x="198" y="157"/>
                </a:cubicBezTo>
                <a:cubicBezTo>
                  <a:pt x="197" y="155"/>
                  <a:pt x="194" y="157"/>
                  <a:pt x="193" y="157"/>
                </a:cubicBezTo>
                <a:cubicBezTo>
                  <a:pt x="192" y="158"/>
                  <a:pt x="188" y="158"/>
                  <a:pt x="188" y="158"/>
                </a:cubicBezTo>
                <a:cubicBezTo>
                  <a:pt x="188" y="158"/>
                  <a:pt x="186" y="157"/>
                  <a:pt x="184" y="158"/>
                </a:cubicBezTo>
                <a:cubicBezTo>
                  <a:pt x="182" y="159"/>
                  <a:pt x="181" y="158"/>
                  <a:pt x="179" y="157"/>
                </a:cubicBezTo>
                <a:cubicBezTo>
                  <a:pt x="178" y="157"/>
                  <a:pt x="177" y="159"/>
                  <a:pt x="175" y="158"/>
                </a:cubicBezTo>
                <a:cubicBezTo>
                  <a:pt x="174" y="158"/>
                  <a:pt x="173" y="158"/>
                  <a:pt x="172" y="161"/>
                </a:cubicBezTo>
                <a:cubicBezTo>
                  <a:pt x="171" y="164"/>
                  <a:pt x="165" y="163"/>
                  <a:pt x="164" y="162"/>
                </a:cubicBezTo>
                <a:cubicBezTo>
                  <a:pt x="163" y="161"/>
                  <a:pt x="159" y="162"/>
                  <a:pt x="159" y="162"/>
                </a:cubicBezTo>
                <a:cubicBezTo>
                  <a:pt x="158" y="160"/>
                  <a:pt x="156" y="159"/>
                  <a:pt x="154" y="159"/>
                </a:cubicBezTo>
                <a:cubicBezTo>
                  <a:pt x="150" y="158"/>
                  <a:pt x="148" y="159"/>
                  <a:pt x="147" y="161"/>
                </a:cubicBezTo>
                <a:cubicBezTo>
                  <a:pt x="146" y="163"/>
                  <a:pt x="144" y="161"/>
                  <a:pt x="144" y="163"/>
                </a:cubicBezTo>
                <a:cubicBezTo>
                  <a:pt x="144" y="165"/>
                  <a:pt x="142" y="166"/>
                  <a:pt x="141" y="166"/>
                </a:cubicBezTo>
                <a:cubicBezTo>
                  <a:pt x="139" y="166"/>
                  <a:pt x="137" y="167"/>
                  <a:pt x="135" y="168"/>
                </a:cubicBezTo>
                <a:cubicBezTo>
                  <a:pt x="134" y="170"/>
                  <a:pt x="132" y="172"/>
                  <a:pt x="133" y="173"/>
                </a:cubicBezTo>
                <a:cubicBezTo>
                  <a:pt x="133" y="175"/>
                  <a:pt x="132" y="175"/>
                  <a:pt x="130" y="175"/>
                </a:cubicBezTo>
                <a:cubicBezTo>
                  <a:pt x="128" y="175"/>
                  <a:pt x="126" y="174"/>
                  <a:pt x="124" y="176"/>
                </a:cubicBezTo>
                <a:cubicBezTo>
                  <a:pt x="122" y="177"/>
                  <a:pt x="123" y="178"/>
                  <a:pt x="122" y="181"/>
                </a:cubicBezTo>
                <a:cubicBezTo>
                  <a:pt x="121" y="183"/>
                  <a:pt x="120" y="182"/>
                  <a:pt x="118" y="182"/>
                </a:cubicBezTo>
                <a:cubicBezTo>
                  <a:pt x="117" y="182"/>
                  <a:pt x="117" y="185"/>
                  <a:pt x="117" y="185"/>
                </a:cubicBezTo>
                <a:cubicBezTo>
                  <a:pt x="117" y="185"/>
                  <a:pt x="117" y="186"/>
                  <a:pt x="116" y="187"/>
                </a:cubicBezTo>
                <a:cubicBezTo>
                  <a:pt x="114" y="189"/>
                  <a:pt x="112" y="188"/>
                  <a:pt x="110" y="188"/>
                </a:cubicBezTo>
                <a:cubicBezTo>
                  <a:pt x="107" y="188"/>
                  <a:pt x="108" y="185"/>
                  <a:pt x="108" y="185"/>
                </a:cubicBezTo>
                <a:cubicBezTo>
                  <a:pt x="108" y="185"/>
                  <a:pt x="105" y="186"/>
                  <a:pt x="104" y="187"/>
                </a:cubicBezTo>
                <a:cubicBezTo>
                  <a:pt x="103" y="188"/>
                  <a:pt x="102" y="187"/>
                  <a:pt x="101" y="189"/>
                </a:cubicBezTo>
                <a:cubicBezTo>
                  <a:pt x="99" y="190"/>
                  <a:pt x="101" y="195"/>
                  <a:pt x="101" y="195"/>
                </a:cubicBezTo>
                <a:cubicBezTo>
                  <a:pt x="101" y="195"/>
                  <a:pt x="100" y="198"/>
                  <a:pt x="99" y="198"/>
                </a:cubicBezTo>
                <a:cubicBezTo>
                  <a:pt x="97" y="198"/>
                  <a:pt x="97" y="200"/>
                  <a:pt x="98" y="202"/>
                </a:cubicBezTo>
                <a:cubicBezTo>
                  <a:pt x="98" y="203"/>
                  <a:pt x="97" y="203"/>
                  <a:pt x="97" y="204"/>
                </a:cubicBezTo>
                <a:cubicBezTo>
                  <a:pt x="96" y="206"/>
                  <a:pt x="95" y="208"/>
                  <a:pt x="93" y="208"/>
                </a:cubicBezTo>
                <a:cubicBezTo>
                  <a:pt x="91" y="208"/>
                  <a:pt x="90" y="208"/>
                  <a:pt x="90" y="210"/>
                </a:cubicBezTo>
                <a:cubicBezTo>
                  <a:pt x="89" y="212"/>
                  <a:pt x="90" y="213"/>
                  <a:pt x="90" y="215"/>
                </a:cubicBezTo>
                <a:cubicBezTo>
                  <a:pt x="90" y="216"/>
                  <a:pt x="89" y="219"/>
                  <a:pt x="89" y="219"/>
                </a:cubicBezTo>
                <a:cubicBezTo>
                  <a:pt x="89" y="219"/>
                  <a:pt x="89" y="221"/>
                  <a:pt x="89" y="223"/>
                </a:cubicBezTo>
                <a:cubicBezTo>
                  <a:pt x="88" y="224"/>
                  <a:pt x="89" y="225"/>
                  <a:pt x="89" y="225"/>
                </a:cubicBezTo>
                <a:cubicBezTo>
                  <a:pt x="89" y="225"/>
                  <a:pt x="91" y="227"/>
                  <a:pt x="91" y="229"/>
                </a:cubicBezTo>
                <a:cubicBezTo>
                  <a:pt x="91" y="231"/>
                  <a:pt x="89" y="231"/>
                  <a:pt x="88" y="231"/>
                </a:cubicBezTo>
                <a:cubicBezTo>
                  <a:pt x="88" y="231"/>
                  <a:pt x="86" y="231"/>
                  <a:pt x="85" y="231"/>
                </a:cubicBezTo>
                <a:cubicBezTo>
                  <a:pt x="83" y="233"/>
                  <a:pt x="78" y="235"/>
                  <a:pt x="77" y="234"/>
                </a:cubicBezTo>
                <a:cubicBezTo>
                  <a:pt x="76" y="234"/>
                  <a:pt x="77" y="230"/>
                  <a:pt x="76" y="229"/>
                </a:cubicBezTo>
                <a:cubicBezTo>
                  <a:pt x="75" y="228"/>
                  <a:pt x="72" y="231"/>
                  <a:pt x="72" y="232"/>
                </a:cubicBezTo>
                <a:cubicBezTo>
                  <a:pt x="70" y="234"/>
                  <a:pt x="68" y="235"/>
                  <a:pt x="66" y="235"/>
                </a:cubicBezTo>
                <a:cubicBezTo>
                  <a:pt x="64" y="235"/>
                  <a:pt x="65" y="235"/>
                  <a:pt x="64" y="233"/>
                </a:cubicBezTo>
                <a:cubicBezTo>
                  <a:pt x="63" y="232"/>
                  <a:pt x="59" y="233"/>
                  <a:pt x="59" y="233"/>
                </a:cubicBezTo>
                <a:cubicBezTo>
                  <a:pt x="59" y="233"/>
                  <a:pt x="59" y="233"/>
                  <a:pt x="58" y="234"/>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6" name="Uganda"/>
          <p:cNvSpPr>
            <a:spLocks/>
          </p:cNvSpPr>
          <p:nvPr/>
        </p:nvSpPr>
        <p:spPr bwMode="auto">
          <a:xfrm>
            <a:off x="7006249" y="3952947"/>
            <a:ext cx="150254" cy="179651"/>
          </a:xfrm>
          <a:custGeom>
            <a:avLst/>
            <a:gdLst>
              <a:gd name="T0" fmla="*/ 0 w 73"/>
              <a:gd name="T1" fmla="*/ 85 h 88"/>
              <a:gd name="T2" fmla="*/ 0 w 73"/>
              <a:gd name="T3" fmla="*/ 81 h 88"/>
              <a:gd name="T4" fmla="*/ 2 w 73"/>
              <a:gd name="T5" fmla="*/ 79 h 88"/>
              <a:gd name="T6" fmla="*/ 5 w 73"/>
              <a:gd name="T7" fmla="*/ 75 h 88"/>
              <a:gd name="T8" fmla="*/ 8 w 73"/>
              <a:gd name="T9" fmla="*/ 69 h 88"/>
              <a:gd name="T10" fmla="*/ 9 w 73"/>
              <a:gd name="T11" fmla="*/ 52 h 88"/>
              <a:gd name="T12" fmla="*/ 15 w 73"/>
              <a:gd name="T13" fmla="*/ 47 h 88"/>
              <a:gd name="T14" fmla="*/ 24 w 73"/>
              <a:gd name="T15" fmla="*/ 42 h 88"/>
              <a:gd name="T16" fmla="*/ 25 w 73"/>
              <a:gd name="T17" fmla="*/ 38 h 88"/>
              <a:gd name="T18" fmla="*/ 21 w 73"/>
              <a:gd name="T19" fmla="*/ 39 h 88"/>
              <a:gd name="T20" fmla="*/ 20 w 73"/>
              <a:gd name="T21" fmla="*/ 36 h 88"/>
              <a:gd name="T22" fmla="*/ 18 w 73"/>
              <a:gd name="T23" fmla="*/ 32 h 88"/>
              <a:gd name="T24" fmla="*/ 20 w 73"/>
              <a:gd name="T25" fmla="*/ 26 h 88"/>
              <a:gd name="T26" fmla="*/ 21 w 73"/>
              <a:gd name="T27" fmla="*/ 16 h 88"/>
              <a:gd name="T28" fmla="*/ 19 w 73"/>
              <a:gd name="T29" fmla="*/ 10 h 88"/>
              <a:gd name="T30" fmla="*/ 23 w 73"/>
              <a:gd name="T31" fmla="*/ 9 h 88"/>
              <a:gd name="T32" fmla="*/ 30 w 73"/>
              <a:gd name="T33" fmla="*/ 9 h 88"/>
              <a:gd name="T34" fmla="*/ 35 w 73"/>
              <a:gd name="T35" fmla="*/ 8 h 88"/>
              <a:gd name="T36" fmla="*/ 39 w 73"/>
              <a:gd name="T37" fmla="*/ 7 h 88"/>
              <a:gd name="T38" fmla="*/ 45 w 73"/>
              <a:gd name="T39" fmla="*/ 6 h 88"/>
              <a:gd name="T40" fmla="*/ 48 w 73"/>
              <a:gd name="T41" fmla="*/ 6 h 88"/>
              <a:gd name="T42" fmla="*/ 52 w 73"/>
              <a:gd name="T43" fmla="*/ 7 h 88"/>
              <a:gd name="T44" fmla="*/ 57 w 73"/>
              <a:gd name="T45" fmla="*/ 3 h 88"/>
              <a:gd name="T46" fmla="*/ 59 w 73"/>
              <a:gd name="T47" fmla="*/ 1 h 88"/>
              <a:gd name="T48" fmla="*/ 61 w 73"/>
              <a:gd name="T49" fmla="*/ 0 h 88"/>
              <a:gd name="T50" fmla="*/ 60 w 73"/>
              <a:gd name="T51" fmla="*/ 4 h 88"/>
              <a:gd name="T52" fmla="*/ 62 w 73"/>
              <a:gd name="T53" fmla="*/ 6 h 88"/>
              <a:gd name="T54" fmla="*/ 67 w 73"/>
              <a:gd name="T55" fmla="*/ 12 h 88"/>
              <a:gd name="T56" fmla="*/ 70 w 73"/>
              <a:gd name="T57" fmla="*/ 19 h 88"/>
              <a:gd name="T58" fmla="*/ 72 w 73"/>
              <a:gd name="T59" fmla="*/ 26 h 88"/>
              <a:gd name="T60" fmla="*/ 71 w 73"/>
              <a:gd name="T61" fmla="*/ 33 h 88"/>
              <a:gd name="T62" fmla="*/ 69 w 73"/>
              <a:gd name="T63" fmla="*/ 40 h 88"/>
              <a:gd name="T64" fmla="*/ 62 w 73"/>
              <a:gd name="T65" fmla="*/ 49 h 88"/>
              <a:gd name="T66" fmla="*/ 61 w 73"/>
              <a:gd name="T67" fmla="*/ 56 h 88"/>
              <a:gd name="T68" fmla="*/ 60 w 73"/>
              <a:gd name="T69" fmla="*/ 65 h 88"/>
              <a:gd name="T70" fmla="*/ 60 w 73"/>
              <a:gd name="T71" fmla="*/ 73 h 88"/>
              <a:gd name="T72" fmla="*/ 58 w 73"/>
              <a:gd name="T73" fmla="*/ 83 h 88"/>
              <a:gd name="T74" fmla="*/ 73 w 73"/>
              <a:gd name="T75" fmla="*/ 88 h 88"/>
              <a:gd name="T76" fmla="*/ 56 w 73"/>
              <a:gd name="T77" fmla="*/ 82 h 88"/>
              <a:gd name="T78" fmla="*/ 31 w 73"/>
              <a:gd name="T79" fmla="*/ 82 h 88"/>
              <a:gd name="T80" fmla="*/ 24 w 73"/>
              <a:gd name="T81" fmla="*/ 81 h 88"/>
              <a:gd name="T82" fmla="*/ 16 w 73"/>
              <a:gd name="T83" fmla="*/ 83 h 88"/>
              <a:gd name="T84" fmla="*/ 6 w 73"/>
              <a:gd name="T85" fmla="*/ 86 h 88"/>
              <a:gd name="T86" fmla="*/ 0 w 73"/>
              <a:gd name="T87"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88">
                <a:moveTo>
                  <a:pt x="0" y="85"/>
                </a:moveTo>
                <a:cubicBezTo>
                  <a:pt x="0" y="85"/>
                  <a:pt x="0" y="83"/>
                  <a:pt x="0" y="81"/>
                </a:cubicBezTo>
                <a:cubicBezTo>
                  <a:pt x="0" y="80"/>
                  <a:pt x="2" y="79"/>
                  <a:pt x="2" y="79"/>
                </a:cubicBezTo>
                <a:cubicBezTo>
                  <a:pt x="2" y="79"/>
                  <a:pt x="4" y="78"/>
                  <a:pt x="5" y="75"/>
                </a:cubicBezTo>
                <a:cubicBezTo>
                  <a:pt x="5" y="72"/>
                  <a:pt x="7" y="70"/>
                  <a:pt x="8" y="69"/>
                </a:cubicBezTo>
                <a:cubicBezTo>
                  <a:pt x="9" y="67"/>
                  <a:pt x="9" y="54"/>
                  <a:pt x="9" y="52"/>
                </a:cubicBezTo>
                <a:cubicBezTo>
                  <a:pt x="9" y="49"/>
                  <a:pt x="13" y="47"/>
                  <a:pt x="15" y="47"/>
                </a:cubicBezTo>
                <a:cubicBezTo>
                  <a:pt x="18" y="47"/>
                  <a:pt x="22" y="44"/>
                  <a:pt x="24" y="42"/>
                </a:cubicBezTo>
                <a:cubicBezTo>
                  <a:pt x="25" y="40"/>
                  <a:pt x="25" y="38"/>
                  <a:pt x="25" y="38"/>
                </a:cubicBezTo>
                <a:cubicBezTo>
                  <a:pt x="21" y="39"/>
                  <a:pt x="21" y="39"/>
                  <a:pt x="21" y="39"/>
                </a:cubicBezTo>
                <a:cubicBezTo>
                  <a:pt x="21" y="39"/>
                  <a:pt x="20" y="37"/>
                  <a:pt x="20" y="36"/>
                </a:cubicBezTo>
                <a:cubicBezTo>
                  <a:pt x="20" y="34"/>
                  <a:pt x="18" y="32"/>
                  <a:pt x="18" y="32"/>
                </a:cubicBezTo>
                <a:cubicBezTo>
                  <a:pt x="18" y="32"/>
                  <a:pt x="19" y="28"/>
                  <a:pt x="20" y="26"/>
                </a:cubicBezTo>
                <a:cubicBezTo>
                  <a:pt x="21" y="25"/>
                  <a:pt x="21" y="19"/>
                  <a:pt x="21" y="16"/>
                </a:cubicBezTo>
                <a:cubicBezTo>
                  <a:pt x="20" y="13"/>
                  <a:pt x="19" y="12"/>
                  <a:pt x="19" y="10"/>
                </a:cubicBezTo>
                <a:cubicBezTo>
                  <a:pt x="18" y="8"/>
                  <a:pt x="23" y="9"/>
                  <a:pt x="23" y="9"/>
                </a:cubicBezTo>
                <a:cubicBezTo>
                  <a:pt x="23" y="9"/>
                  <a:pt x="28" y="11"/>
                  <a:pt x="30" y="9"/>
                </a:cubicBezTo>
                <a:cubicBezTo>
                  <a:pt x="32" y="7"/>
                  <a:pt x="35" y="8"/>
                  <a:pt x="35" y="8"/>
                </a:cubicBezTo>
                <a:cubicBezTo>
                  <a:pt x="35" y="8"/>
                  <a:pt x="38" y="9"/>
                  <a:pt x="39" y="7"/>
                </a:cubicBezTo>
                <a:cubicBezTo>
                  <a:pt x="40" y="5"/>
                  <a:pt x="43" y="5"/>
                  <a:pt x="45" y="6"/>
                </a:cubicBezTo>
                <a:cubicBezTo>
                  <a:pt x="46" y="6"/>
                  <a:pt x="47" y="6"/>
                  <a:pt x="48" y="6"/>
                </a:cubicBezTo>
                <a:cubicBezTo>
                  <a:pt x="49" y="6"/>
                  <a:pt x="50" y="7"/>
                  <a:pt x="52" y="7"/>
                </a:cubicBezTo>
                <a:cubicBezTo>
                  <a:pt x="54" y="7"/>
                  <a:pt x="56" y="4"/>
                  <a:pt x="57" y="3"/>
                </a:cubicBezTo>
                <a:cubicBezTo>
                  <a:pt x="58" y="2"/>
                  <a:pt x="59" y="1"/>
                  <a:pt x="59" y="1"/>
                </a:cubicBezTo>
                <a:cubicBezTo>
                  <a:pt x="61" y="0"/>
                  <a:pt x="61" y="0"/>
                  <a:pt x="61" y="0"/>
                </a:cubicBezTo>
                <a:cubicBezTo>
                  <a:pt x="62" y="2"/>
                  <a:pt x="61" y="2"/>
                  <a:pt x="60" y="4"/>
                </a:cubicBezTo>
                <a:cubicBezTo>
                  <a:pt x="60" y="6"/>
                  <a:pt x="61" y="6"/>
                  <a:pt x="62" y="6"/>
                </a:cubicBezTo>
                <a:cubicBezTo>
                  <a:pt x="63" y="6"/>
                  <a:pt x="66" y="9"/>
                  <a:pt x="67" y="12"/>
                </a:cubicBezTo>
                <a:cubicBezTo>
                  <a:pt x="68" y="14"/>
                  <a:pt x="70" y="17"/>
                  <a:pt x="70" y="19"/>
                </a:cubicBezTo>
                <a:cubicBezTo>
                  <a:pt x="70" y="20"/>
                  <a:pt x="70" y="21"/>
                  <a:pt x="72" y="26"/>
                </a:cubicBezTo>
                <a:cubicBezTo>
                  <a:pt x="73" y="30"/>
                  <a:pt x="73" y="32"/>
                  <a:pt x="71" y="33"/>
                </a:cubicBezTo>
                <a:cubicBezTo>
                  <a:pt x="70" y="35"/>
                  <a:pt x="71" y="37"/>
                  <a:pt x="69" y="40"/>
                </a:cubicBezTo>
                <a:cubicBezTo>
                  <a:pt x="68" y="44"/>
                  <a:pt x="64" y="45"/>
                  <a:pt x="62" y="49"/>
                </a:cubicBezTo>
                <a:cubicBezTo>
                  <a:pt x="60" y="52"/>
                  <a:pt x="61" y="56"/>
                  <a:pt x="61" y="56"/>
                </a:cubicBezTo>
                <a:cubicBezTo>
                  <a:pt x="61" y="56"/>
                  <a:pt x="61" y="62"/>
                  <a:pt x="60" y="65"/>
                </a:cubicBezTo>
                <a:cubicBezTo>
                  <a:pt x="60" y="68"/>
                  <a:pt x="60" y="71"/>
                  <a:pt x="60" y="73"/>
                </a:cubicBezTo>
                <a:cubicBezTo>
                  <a:pt x="60" y="75"/>
                  <a:pt x="58" y="82"/>
                  <a:pt x="58" y="83"/>
                </a:cubicBezTo>
                <a:cubicBezTo>
                  <a:pt x="63" y="83"/>
                  <a:pt x="69" y="85"/>
                  <a:pt x="73" y="88"/>
                </a:cubicBezTo>
                <a:cubicBezTo>
                  <a:pt x="68" y="85"/>
                  <a:pt x="61" y="83"/>
                  <a:pt x="56" y="82"/>
                </a:cubicBezTo>
                <a:cubicBezTo>
                  <a:pt x="49" y="82"/>
                  <a:pt x="31" y="82"/>
                  <a:pt x="31" y="82"/>
                </a:cubicBezTo>
                <a:cubicBezTo>
                  <a:pt x="31" y="82"/>
                  <a:pt x="26" y="81"/>
                  <a:pt x="24" y="81"/>
                </a:cubicBezTo>
                <a:cubicBezTo>
                  <a:pt x="22" y="81"/>
                  <a:pt x="18" y="83"/>
                  <a:pt x="16" y="83"/>
                </a:cubicBezTo>
                <a:cubicBezTo>
                  <a:pt x="14" y="84"/>
                  <a:pt x="8" y="86"/>
                  <a:pt x="6" y="86"/>
                </a:cubicBezTo>
                <a:cubicBezTo>
                  <a:pt x="4" y="86"/>
                  <a:pt x="0" y="85"/>
                  <a:pt x="0" y="85"/>
                </a:cubicBezTo>
                <a:close/>
              </a:path>
            </a:pathLst>
          </a:custGeom>
          <a:solidFill>
            <a:schemeClr val="accent1">
              <a:lumMod val="60000"/>
              <a:lumOff val="40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7" name="Greenland"/>
          <p:cNvSpPr>
            <a:spLocks/>
          </p:cNvSpPr>
          <p:nvPr/>
        </p:nvSpPr>
        <p:spPr bwMode="auto">
          <a:xfrm>
            <a:off x="4549774" y="812325"/>
            <a:ext cx="1375303" cy="1144867"/>
          </a:xfrm>
          <a:custGeom>
            <a:avLst/>
            <a:gdLst>
              <a:gd name="connsiteX0" fmla="*/ 526672 w 1336827"/>
              <a:gd name="connsiteY0" fmla="*/ 1102360 h 1112837"/>
              <a:gd name="connsiteX1" fmla="*/ 526672 w 1336827"/>
              <a:gd name="connsiteY1" fmla="*/ 1106804 h 1112837"/>
              <a:gd name="connsiteX2" fmla="*/ 522439 w 1336827"/>
              <a:gd name="connsiteY2" fmla="*/ 1109027 h 1112837"/>
              <a:gd name="connsiteX3" fmla="*/ 518206 w 1336827"/>
              <a:gd name="connsiteY3" fmla="*/ 1109027 h 1112837"/>
              <a:gd name="connsiteX4" fmla="*/ 520322 w 1336827"/>
              <a:gd name="connsiteY4" fmla="*/ 1104582 h 1112837"/>
              <a:gd name="connsiteX5" fmla="*/ 526672 w 1336827"/>
              <a:gd name="connsiteY5" fmla="*/ 1102360 h 1112837"/>
              <a:gd name="connsiteX6" fmla="*/ 520217 w 1336827"/>
              <a:gd name="connsiteY6" fmla="*/ 1096962 h 1112837"/>
              <a:gd name="connsiteX7" fmla="*/ 522122 w 1336827"/>
              <a:gd name="connsiteY7" fmla="*/ 1098946 h 1112837"/>
              <a:gd name="connsiteX8" fmla="*/ 518312 w 1336827"/>
              <a:gd name="connsiteY8" fmla="*/ 1102915 h 1112837"/>
              <a:gd name="connsiteX9" fmla="*/ 514502 w 1336827"/>
              <a:gd name="connsiteY9" fmla="*/ 1102915 h 1112837"/>
              <a:gd name="connsiteX10" fmla="*/ 520217 w 1336827"/>
              <a:gd name="connsiteY10" fmla="*/ 1096962 h 1112837"/>
              <a:gd name="connsiteX11" fmla="*/ 528260 w 1336827"/>
              <a:gd name="connsiteY11" fmla="*/ 1086908 h 1112837"/>
              <a:gd name="connsiteX12" fmla="*/ 526144 w 1336827"/>
              <a:gd name="connsiteY12" fmla="*/ 1093258 h 1112837"/>
              <a:gd name="connsiteX13" fmla="*/ 528260 w 1336827"/>
              <a:gd name="connsiteY13" fmla="*/ 1086908 h 1112837"/>
              <a:gd name="connsiteX14" fmla="*/ 452688 w 1336827"/>
              <a:gd name="connsiteY14" fmla="*/ 1078012 h 1112837"/>
              <a:gd name="connsiteX15" fmla="*/ 460130 w 1336827"/>
              <a:gd name="connsiteY15" fmla="*/ 1078706 h 1112837"/>
              <a:gd name="connsiteX16" fmla="*/ 454177 w 1336827"/>
              <a:gd name="connsiteY16" fmla="*/ 1084262 h 1112837"/>
              <a:gd name="connsiteX17" fmla="*/ 452688 w 1336827"/>
              <a:gd name="connsiteY17" fmla="*/ 1078012 h 1112837"/>
              <a:gd name="connsiteX18" fmla="*/ 462114 w 1336827"/>
              <a:gd name="connsiteY18" fmla="*/ 1075267 h 1112837"/>
              <a:gd name="connsiteX19" fmla="*/ 468782 w 1336827"/>
              <a:gd name="connsiteY19" fmla="*/ 1075267 h 1112837"/>
              <a:gd name="connsiteX20" fmla="*/ 462114 w 1336827"/>
              <a:gd name="connsiteY20" fmla="*/ 1075267 h 1112837"/>
              <a:gd name="connsiteX21" fmla="*/ 452272 w 1336827"/>
              <a:gd name="connsiteY21" fmla="*/ 1049337 h 1112837"/>
              <a:gd name="connsiteX22" fmla="*/ 454177 w 1336827"/>
              <a:gd name="connsiteY22" fmla="*/ 1053041 h 1112837"/>
              <a:gd name="connsiteX23" fmla="*/ 454177 w 1336827"/>
              <a:gd name="connsiteY23" fmla="*/ 1056745 h 1112837"/>
              <a:gd name="connsiteX24" fmla="*/ 450367 w 1336827"/>
              <a:gd name="connsiteY24" fmla="*/ 1058597 h 1112837"/>
              <a:gd name="connsiteX25" fmla="*/ 448462 w 1336827"/>
              <a:gd name="connsiteY25" fmla="*/ 1058597 h 1112837"/>
              <a:gd name="connsiteX26" fmla="*/ 444652 w 1336827"/>
              <a:gd name="connsiteY26" fmla="*/ 1058597 h 1112837"/>
              <a:gd name="connsiteX27" fmla="*/ 444652 w 1336827"/>
              <a:gd name="connsiteY27" fmla="*/ 1054893 h 1112837"/>
              <a:gd name="connsiteX28" fmla="*/ 446557 w 1336827"/>
              <a:gd name="connsiteY28" fmla="*/ 1053041 h 1112837"/>
              <a:gd name="connsiteX29" fmla="*/ 450367 w 1336827"/>
              <a:gd name="connsiteY29" fmla="*/ 1051189 h 1112837"/>
              <a:gd name="connsiteX30" fmla="*/ 452272 w 1336827"/>
              <a:gd name="connsiteY30" fmla="*/ 1049337 h 1112837"/>
              <a:gd name="connsiteX31" fmla="*/ 436185 w 1336827"/>
              <a:gd name="connsiteY31" fmla="*/ 1044575 h 1112837"/>
              <a:gd name="connsiteX32" fmla="*/ 440419 w 1336827"/>
              <a:gd name="connsiteY32" fmla="*/ 1048657 h 1112837"/>
              <a:gd name="connsiteX33" fmla="*/ 444652 w 1336827"/>
              <a:gd name="connsiteY33" fmla="*/ 1050698 h 1112837"/>
              <a:gd name="connsiteX34" fmla="*/ 444652 w 1336827"/>
              <a:gd name="connsiteY34" fmla="*/ 1054780 h 1112837"/>
              <a:gd name="connsiteX35" fmla="*/ 442535 w 1336827"/>
              <a:gd name="connsiteY35" fmla="*/ 1056821 h 1112837"/>
              <a:gd name="connsiteX36" fmla="*/ 438302 w 1336827"/>
              <a:gd name="connsiteY36" fmla="*/ 1056821 h 1112837"/>
              <a:gd name="connsiteX37" fmla="*/ 436185 w 1336827"/>
              <a:gd name="connsiteY37" fmla="*/ 1052739 h 1112837"/>
              <a:gd name="connsiteX38" fmla="*/ 434069 w 1336827"/>
              <a:gd name="connsiteY38" fmla="*/ 1046616 h 1112837"/>
              <a:gd name="connsiteX39" fmla="*/ 436185 w 1336827"/>
              <a:gd name="connsiteY39" fmla="*/ 1044575 h 1112837"/>
              <a:gd name="connsiteX40" fmla="*/ 426237 w 1336827"/>
              <a:gd name="connsiteY40" fmla="*/ 1036637 h 1112837"/>
              <a:gd name="connsiteX41" fmla="*/ 428459 w 1336827"/>
              <a:gd name="connsiteY41" fmla="*/ 1036637 h 1112837"/>
              <a:gd name="connsiteX42" fmla="*/ 432905 w 1336827"/>
              <a:gd name="connsiteY42" fmla="*/ 1036637 h 1112837"/>
              <a:gd name="connsiteX43" fmla="*/ 435127 w 1336827"/>
              <a:gd name="connsiteY43" fmla="*/ 1036637 h 1112837"/>
              <a:gd name="connsiteX44" fmla="*/ 432905 w 1336827"/>
              <a:gd name="connsiteY44" fmla="*/ 1041399 h 1112837"/>
              <a:gd name="connsiteX45" fmla="*/ 428459 w 1336827"/>
              <a:gd name="connsiteY45" fmla="*/ 1041399 h 1112837"/>
              <a:gd name="connsiteX46" fmla="*/ 426237 w 1336827"/>
              <a:gd name="connsiteY46" fmla="*/ 1036637 h 1112837"/>
              <a:gd name="connsiteX47" fmla="*/ 409021 w 1336827"/>
              <a:gd name="connsiteY47" fmla="*/ 771525 h 1112837"/>
              <a:gd name="connsiteX48" fmla="*/ 412902 w 1336827"/>
              <a:gd name="connsiteY48" fmla="*/ 775494 h 1112837"/>
              <a:gd name="connsiteX49" fmla="*/ 410962 w 1336827"/>
              <a:gd name="connsiteY49" fmla="*/ 779462 h 1112837"/>
              <a:gd name="connsiteX50" fmla="*/ 407081 w 1336827"/>
              <a:gd name="connsiteY50" fmla="*/ 777478 h 1112837"/>
              <a:gd name="connsiteX51" fmla="*/ 403200 w 1336827"/>
              <a:gd name="connsiteY51" fmla="*/ 779462 h 1112837"/>
              <a:gd name="connsiteX52" fmla="*/ 399320 w 1336827"/>
              <a:gd name="connsiteY52" fmla="*/ 779462 h 1112837"/>
              <a:gd name="connsiteX53" fmla="*/ 397379 w 1336827"/>
              <a:gd name="connsiteY53" fmla="*/ 777478 h 1112837"/>
              <a:gd name="connsiteX54" fmla="*/ 395439 w 1336827"/>
              <a:gd name="connsiteY54" fmla="*/ 775494 h 1112837"/>
              <a:gd name="connsiteX55" fmla="*/ 399320 w 1336827"/>
              <a:gd name="connsiteY55" fmla="*/ 773509 h 1112837"/>
              <a:gd name="connsiteX56" fmla="*/ 405141 w 1336827"/>
              <a:gd name="connsiteY56" fmla="*/ 773509 h 1112837"/>
              <a:gd name="connsiteX57" fmla="*/ 409021 w 1336827"/>
              <a:gd name="connsiteY57" fmla="*/ 771525 h 1112837"/>
              <a:gd name="connsiteX58" fmla="*/ 369510 w 1336827"/>
              <a:gd name="connsiteY58" fmla="*/ 752475 h 1112837"/>
              <a:gd name="connsiteX59" fmla="*/ 369510 w 1336827"/>
              <a:gd name="connsiteY59" fmla="*/ 754063 h 1112837"/>
              <a:gd name="connsiteX60" fmla="*/ 367394 w 1336827"/>
              <a:gd name="connsiteY60" fmla="*/ 755650 h 1112837"/>
              <a:gd name="connsiteX61" fmla="*/ 365277 w 1336827"/>
              <a:gd name="connsiteY61" fmla="*/ 754063 h 1112837"/>
              <a:gd name="connsiteX62" fmla="*/ 369510 w 1336827"/>
              <a:gd name="connsiteY62" fmla="*/ 752475 h 1112837"/>
              <a:gd name="connsiteX63" fmla="*/ 378175 w 1336827"/>
              <a:gd name="connsiteY63" fmla="*/ 746025 h 1112837"/>
              <a:gd name="connsiteX64" fmla="*/ 381152 w 1336827"/>
              <a:gd name="connsiteY64" fmla="*/ 746521 h 1112837"/>
              <a:gd name="connsiteX65" fmla="*/ 375199 w 1336827"/>
              <a:gd name="connsiteY65" fmla="*/ 748506 h 1112837"/>
              <a:gd name="connsiteX66" fmla="*/ 378175 w 1336827"/>
              <a:gd name="connsiteY66" fmla="*/ 746025 h 1112837"/>
              <a:gd name="connsiteX67" fmla="*/ 400786 w 1336827"/>
              <a:gd name="connsiteY67" fmla="*/ 741362 h 1112837"/>
              <a:gd name="connsiteX68" fmla="*/ 404797 w 1336827"/>
              <a:gd name="connsiteY68" fmla="*/ 743346 h 1112837"/>
              <a:gd name="connsiteX69" fmla="*/ 408808 w 1336827"/>
              <a:gd name="connsiteY69" fmla="*/ 743346 h 1112837"/>
              <a:gd name="connsiteX70" fmla="*/ 414823 w 1336827"/>
              <a:gd name="connsiteY70" fmla="*/ 743346 h 1112837"/>
              <a:gd name="connsiteX71" fmla="*/ 418834 w 1336827"/>
              <a:gd name="connsiteY71" fmla="*/ 745331 h 1112837"/>
              <a:gd name="connsiteX72" fmla="*/ 412818 w 1336827"/>
              <a:gd name="connsiteY72" fmla="*/ 747315 h 1112837"/>
              <a:gd name="connsiteX73" fmla="*/ 416829 w 1336827"/>
              <a:gd name="connsiteY73" fmla="*/ 751284 h 1112837"/>
              <a:gd name="connsiteX74" fmla="*/ 410813 w 1336827"/>
              <a:gd name="connsiteY74" fmla="*/ 753268 h 1112837"/>
              <a:gd name="connsiteX75" fmla="*/ 406802 w 1336827"/>
              <a:gd name="connsiteY75" fmla="*/ 753268 h 1112837"/>
              <a:gd name="connsiteX76" fmla="*/ 400786 w 1336827"/>
              <a:gd name="connsiteY76" fmla="*/ 755253 h 1112837"/>
              <a:gd name="connsiteX77" fmla="*/ 394771 w 1336827"/>
              <a:gd name="connsiteY77" fmla="*/ 755253 h 1112837"/>
              <a:gd name="connsiteX78" fmla="*/ 388755 w 1336827"/>
              <a:gd name="connsiteY78" fmla="*/ 753268 h 1112837"/>
              <a:gd name="connsiteX79" fmla="*/ 386750 w 1336827"/>
              <a:gd name="connsiteY79" fmla="*/ 753268 h 1112837"/>
              <a:gd name="connsiteX80" fmla="*/ 382739 w 1336827"/>
              <a:gd name="connsiteY80" fmla="*/ 751284 h 1112837"/>
              <a:gd name="connsiteX81" fmla="*/ 386750 w 1336827"/>
              <a:gd name="connsiteY81" fmla="*/ 749300 h 1112837"/>
              <a:gd name="connsiteX82" fmla="*/ 388755 w 1336827"/>
              <a:gd name="connsiteY82" fmla="*/ 745331 h 1112837"/>
              <a:gd name="connsiteX83" fmla="*/ 388755 w 1336827"/>
              <a:gd name="connsiteY83" fmla="*/ 743346 h 1112837"/>
              <a:gd name="connsiteX84" fmla="*/ 394771 w 1336827"/>
              <a:gd name="connsiteY84" fmla="*/ 743346 h 1112837"/>
              <a:gd name="connsiteX85" fmla="*/ 400786 w 1336827"/>
              <a:gd name="connsiteY85" fmla="*/ 741362 h 1112837"/>
              <a:gd name="connsiteX86" fmla="*/ 383269 w 1336827"/>
              <a:gd name="connsiteY86" fmla="*/ 741362 h 1112837"/>
              <a:gd name="connsiteX87" fmla="*/ 387502 w 1336827"/>
              <a:gd name="connsiteY87" fmla="*/ 741362 h 1112837"/>
              <a:gd name="connsiteX88" fmla="*/ 381152 w 1336827"/>
              <a:gd name="connsiteY88" fmla="*/ 743743 h 1112837"/>
              <a:gd name="connsiteX89" fmla="*/ 383269 w 1336827"/>
              <a:gd name="connsiteY89" fmla="*/ 741362 h 1112837"/>
              <a:gd name="connsiteX90" fmla="*/ 394487 w 1336827"/>
              <a:gd name="connsiteY90" fmla="*/ 736600 h 1112837"/>
              <a:gd name="connsiteX91" fmla="*/ 398932 w 1336827"/>
              <a:gd name="connsiteY91" fmla="*/ 736600 h 1112837"/>
              <a:gd name="connsiteX92" fmla="*/ 401155 w 1336827"/>
              <a:gd name="connsiteY92" fmla="*/ 738188 h 1112837"/>
              <a:gd name="connsiteX93" fmla="*/ 394487 w 1336827"/>
              <a:gd name="connsiteY93" fmla="*/ 739775 h 1112837"/>
              <a:gd name="connsiteX94" fmla="*/ 394487 w 1336827"/>
              <a:gd name="connsiteY94" fmla="*/ 736600 h 1112837"/>
              <a:gd name="connsiteX95" fmla="*/ 383057 w 1336827"/>
              <a:gd name="connsiteY95" fmla="*/ 731837 h 1112837"/>
              <a:gd name="connsiteX96" fmla="*/ 389249 w 1336827"/>
              <a:gd name="connsiteY96" fmla="*/ 731837 h 1112837"/>
              <a:gd name="connsiteX97" fmla="*/ 393376 w 1336827"/>
              <a:gd name="connsiteY97" fmla="*/ 733742 h 1112837"/>
              <a:gd name="connsiteX98" fmla="*/ 391313 w 1336827"/>
              <a:gd name="connsiteY98" fmla="*/ 733742 h 1112837"/>
              <a:gd name="connsiteX99" fmla="*/ 387185 w 1336827"/>
              <a:gd name="connsiteY99" fmla="*/ 735647 h 1112837"/>
              <a:gd name="connsiteX100" fmla="*/ 383057 w 1336827"/>
              <a:gd name="connsiteY100" fmla="*/ 737552 h 1112837"/>
              <a:gd name="connsiteX101" fmla="*/ 378930 w 1336827"/>
              <a:gd name="connsiteY101" fmla="*/ 739457 h 1112837"/>
              <a:gd name="connsiteX102" fmla="*/ 374802 w 1336827"/>
              <a:gd name="connsiteY102" fmla="*/ 739457 h 1112837"/>
              <a:gd name="connsiteX103" fmla="*/ 376866 w 1336827"/>
              <a:gd name="connsiteY103" fmla="*/ 735647 h 1112837"/>
              <a:gd name="connsiteX104" fmla="*/ 383057 w 1336827"/>
              <a:gd name="connsiteY104" fmla="*/ 731837 h 1112837"/>
              <a:gd name="connsiteX105" fmla="*/ 424014 w 1336827"/>
              <a:gd name="connsiteY105" fmla="*/ 677862 h 1112837"/>
              <a:gd name="connsiteX106" fmla="*/ 430364 w 1336827"/>
              <a:gd name="connsiteY106" fmla="*/ 679846 h 1112837"/>
              <a:gd name="connsiteX107" fmla="*/ 434597 w 1336827"/>
              <a:gd name="connsiteY107" fmla="*/ 681831 h 1112837"/>
              <a:gd name="connsiteX108" fmla="*/ 432481 w 1336827"/>
              <a:gd name="connsiteY108" fmla="*/ 685800 h 1112837"/>
              <a:gd name="connsiteX109" fmla="*/ 430364 w 1336827"/>
              <a:gd name="connsiteY109" fmla="*/ 691753 h 1112837"/>
              <a:gd name="connsiteX110" fmla="*/ 424014 w 1336827"/>
              <a:gd name="connsiteY110" fmla="*/ 683815 h 1112837"/>
              <a:gd name="connsiteX111" fmla="*/ 424014 w 1336827"/>
              <a:gd name="connsiteY111" fmla="*/ 677862 h 1112837"/>
              <a:gd name="connsiteX112" fmla="*/ 349447 w 1336827"/>
              <a:gd name="connsiteY112" fmla="*/ 657636 h 1112837"/>
              <a:gd name="connsiteX113" fmla="*/ 353438 w 1336827"/>
              <a:gd name="connsiteY113" fmla="*/ 657636 h 1112837"/>
              <a:gd name="connsiteX114" fmla="*/ 361421 w 1336827"/>
              <a:gd name="connsiteY114" fmla="*/ 659635 h 1112837"/>
              <a:gd name="connsiteX115" fmla="*/ 365413 w 1336827"/>
              <a:gd name="connsiteY115" fmla="*/ 659635 h 1112837"/>
              <a:gd name="connsiteX116" fmla="*/ 369404 w 1336827"/>
              <a:gd name="connsiteY116" fmla="*/ 661634 h 1112837"/>
              <a:gd name="connsiteX117" fmla="*/ 375391 w 1336827"/>
              <a:gd name="connsiteY117" fmla="*/ 661634 h 1112837"/>
              <a:gd name="connsiteX118" fmla="*/ 383374 w 1336827"/>
              <a:gd name="connsiteY118" fmla="*/ 667632 h 1112837"/>
              <a:gd name="connsiteX119" fmla="*/ 391357 w 1336827"/>
              <a:gd name="connsiteY119" fmla="*/ 671630 h 1112837"/>
              <a:gd name="connsiteX120" fmla="*/ 405327 w 1336827"/>
              <a:gd name="connsiteY120" fmla="*/ 679626 h 1112837"/>
              <a:gd name="connsiteX121" fmla="*/ 409318 w 1336827"/>
              <a:gd name="connsiteY121" fmla="*/ 685623 h 1112837"/>
              <a:gd name="connsiteX122" fmla="*/ 411314 w 1336827"/>
              <a:gd name="connsiteY122" fmla="*/ 691620 h 1112837"/>
              <a:gd name="connsiteX123" fmla="*/ 407323 w 1336827"/>
              <a:gd name="connsiteY123" fmla="*/ 697618 h 1112837"/>
              <a:gd name="connsiteX124" fmla="*/ 399340 w 1336827"/>
              <a:gd name="connsiteY124" fmla="*/ 699617 h 1112837"/>
              <a:gd name="connsiteX125" fmla="*/ 389361 w 1336827"/>
              <a:gd name="connsiteY125" fmla="*/ 701616 h 1112837"/>
              <a:gd name="connsiteX126" fmla="*/ 385370 w 1336827"/>
              <a:gd name="connsiteY126" fmla="*/ 705614 h 1112837"/>
              <a:gd name="connsiteX127" fmla="*/ 377387 w 1336827"/>
              <a:gd name="connsiteY127" fmla="*/ 707613 h 1112837"/>
              <a:gd name="connsiteX128" fmla="*/ 373396 w 1336827"/>
              <a:gd name="connsiteY128" fmla="*/ 709612 h 1112837"/>
              <a:gd name="connsiteX129" fmla="*/ 367408 w 1336827"/>
              <a:gd name="connsiteY129" fmla="*/ 709612 h 1112837"/>
              <a:gd name="connsiteX130" fmla="*/ 361421 w 1336827"/>
              <a:gd name="connsiteY130" fmla="*/ 705614 h 1112837"/>
              <a:gd name="connsiteX131" fmla="*/ 355434 w 1336827"/>
              <a:gd name="connsiteY131" fmla="*/ 703615 h 1112837"/>
              <a:gd name="connsiteX132" fmla="*/ 357430 w 1336827"/>
              <a:gd name="connsiteY132" fmla="*/ 699617 h 1112837"/>
              <a:gd name="connsiteX133" fmla="*/ 365413 w 1336827"/>
              <a:gd name="connsiteY133" fmla="*/ 699617 h 1112837"/>
              <a:gd name="connsiteX134" fmla="*/ 373396 w 1336827"/>
              <a:gd name="connsiteY134" fmla="*/ 699617 h 1112837"/>
              <a:gd name="connsiteX135" fmla="*/ 379383 w 1336827"/>
              <a:gd name="connsiteY135" fmla="*/ 697618 h 1112837"/>
              <a:gd name="connsiteX136" fmla="*/ 385370 w 1336827"/>
              <a:gd name="connsiteY136" fmla="*/ 695619 h 1112837"/>
              <a:gd name="connsiteX137" fmla="*/ 389361 w 1336827"/>
              <a:gd name="connsiteY137" fmla="*/ 689621 h 1112837"/>
              <a:gd name="connsiteX138" fmla="*/ 391357 w 1336827"/>
              <a:gd name="connsiteY138" fmla="*/ 683624 h 1112837"/>
              <a:gd name="connsiteX139" fmla="*/ 383374 w 1336827"/>
              <a:gd name="connsiteY139" fmla="*/ 677627 h 1112837"/>
              <a:gd name="connsiteX140" fmla="*/ 375391 w 1336827"/>
              <a:gd name="connsiteY140" fmla="*/ 675628 h 1112837"/>
              <a:gd name="connsiteX141" fmla="*/ 369404 w 1336827"/>
              <a:gd name="connsiteY141" fmla="*/ 677627 h 1112837"/>
              <a:gd name="connsiteX142" fmla="*/ 361421 w 1336827"/>
              <a:gd name="connsiteY142" fmla="*/ 681625 h 1112837"/>
              <a:gd name="connsiteX143" fmla="*/ 359426 w 1336827"/>
              <a:gd name="connsiteY143" fmla="*/ 685623 h 1112837"/>
              <a:gd name="connsiteX144" fmla="*/ 367408 w 1336827"/>
              <a:gd name="connsiteY144" fmla="*/ 685623 h 1112837"/>
              <a:gd name="connsiteX145" fmla="*/ 377387 w 1336827"/>
              <a:gd name="connsiteY145" fmla="*/ 689621 h 1112837"/>
              <a:gd name="connsiteX146" fmla="*/ 373396 w 1336827"/>
              <a:gd name="connsiteY146" fmla="*/ 693619 h 1112837"/>
              <a:gd name="connsiteX147" fmla="*/ 365413 w 1336827"/>
              <a:gd name="connsiteY147" fmla="*/ 695619 h 1112837"/>
              <a:gd name="connsiteX148" fmla="*/ 357430 w 1336827"/>
              <a:gd name="connsiteY148" fmla="*/ 693619 h 1112837"/>
              <a:gd name="connsiteX149" fmla="*/ 353438 w 1336827"/>
              <a:gd name="connsiteY149" fmla="*/ 693619 h 1112837"/>
              <a:gd name="connsiteX150" fmla="*/ 347451 w 1336827"/>
              <a:gd name="connsiteY150" fmla="*/ 693619 h 1112837"/>
              <a:gd name="connsiteX151" fmla="*/ 341464 w 1336827"/>
              <a:gd name="connsiteY151" fmla="*/ 685623 h 1112837"/>
              <a:gd name="connsiteX152" fmla="*/ 343460 w 1336827"/>
              <a:gd name="connsiteY152" fmla="*/ 683624 h 1112837"/>
              <a:gd name="connsiteX153" fmla="*/ 349447 w 1336827"/>
              <a:gd name="connsiteY153" fmla="*/ 685623 h 1112837"/>
              <a:gd name="connsiteX154" fmla="*/ 351443 w 1336827"/>
              <a:gd name="connsiteY154" fmla="*/ 683624 h 1112837"/>
              <a:gd name="connsiteX155" fmla="*/ 347451 w 1336827"/>
              <a:gd name="connsiteY155" fmla="*/ 681625 h 1112837"/>
              <a:gd name="connsiteX156" fmla="*/ 347451 w 1336827"/>
              <a:gd name="connsiteY156" fmla="*/ 677627 h 1112837"/>
              <a:gd name="connsiteX157" fmla="*/ 353438 w 1336827"/>
              <a:gd name="connsiteY157" fmla="*/ 677627 h 1112837"/>
              <a:gd name="connsiteX158" fmla="*/ 357430 w 1336827"/>
              <a:gd name="connsiteY158" fmla="*/ 677627 h 1112837"/>
              <a:gd name="connsiteX159" fmla="*/ 357430 w 1336827"/>
              <a:gd name="connsiteY159" fmla="*/ 673629 h 1112837"/>
              <a:gd name="connsiteX160" fmla="*/ 351443 w 1336827"/>
              <a:gd name="connsiteY160" fmla="*/ 671630 h 1112837"/>
              <a:gd name="connsiteX161" fmla="*/ 349447 w 1336827"/>
              <a:gd name="connsiteY161" fmla="*/ 669631 h 1112837"/>
              <a:gd name="connsiteX162" fmla="*/ 349447 w 1336827"/>
              <a:gd name="connsiteY162" fmla="*/ 665632 h 1112837"/>
              <a:gd name="connsiteX163" fmla="*/ 347451 w 1336827"/>
              <a:gd name="connsiteY163" fmla="*/ 663633 h 1112837"/>
              <a:gd name="connsiteX164" fmla="*/ 349447 w 1336827"/>
              <a:gd name="connsiteY164" fmla="*/ 657636 h 1112837"/>
              <a:gd name="connsiteX165" fmla="*/ 440419 w 1336827"/>
              <a:gd name="connsiteY165" fmla="*/ 649684 h 1112837"/>
              <a:gd name="connsiteX166" fmla="*/ 444652 w 1336827"/>
              <a:gd name="connsiteY166" fmla="*/ 649684 h 1112837"/>
              <a:gd name="connsiteX167" fmla="*/ 444652 w 1336827"/>
              <a:gd name="connsiteY167" fmla="*/ 651669 h 1112837"/>
              <a:gd name="connsiteX168" fmla="*/ 440419 w 1336827"/>
              <a:gd name="connsiteY168" fmla="*/ 649684 h 1112837"/>
              <a:gd name="connsiteX169" fmla="*/ 345433 w 1336827"/>
              <a:gd name="connsiteY169" fmla="*/ 649287 h 1112837"/>
              <a:gd name="connsiteX170" fmla="*/ 345433 w 1336827"/>
              <a:gd name="connsiteY170" fmla="*/ 655240 h 1112837"/>
              <a:gd name="connsiteX171" fmla="*/ 343449 w 1336827"/>
              <a:gd name="connsiteY171" fmla="*/ 653256 h 1112837"/>
              <a:gd name="connsiteX172" fmla="*/ 345433 w 1336827"/>
              <a:gd name="connsiteY172" fmla="*/ 649287 h 1112837"/>
              <a:gd name="connsiteX173" fmla="*/ 418458 w 1336827"/>
              <a:gd name="connsiteY173" fmla="*/ 638175 h 1112837"/>
              <a:gd name="connsiteX174" fmla="*/ 420443 w 1336827"/>
              <a:gd name="connsiteY174" fmla="*/ 640292 h 1112837"/>
              <a:gd name="connsiteX175" fmla="*/ 414489 w 1336827"/>
              <a:gd name="connsiteY175" fmla="*/ 640292 h 1112837"/>
              <a:gd name="connsiteX176" fmla="*/ 418458 w 1336827"/>
              <a:gd name="connsiteY176" fmla="*/ 638175 h 1112837"/>
              <a:gd name="connsiteX177" fmla="*/ 969056 w 1336827"/>
              <a:gd name="connsiteY177" fmla="*/ 636587 h 1112837"/>
              <a:gd name="connsiteX178" fmla="*/ 973289 w 1336827"/>
              <a:gd name="connsiteY178" fmla="*/ 636587 h 1112837"/>
              <a:gd name="connsiteX179" fmla="*/ 973289 w 1336827"/>
              <a:gd name="connsiteY179" fmla="*/ 639762 h 1112837"/>
              <a:gd name="connsiteX180" fmla="*/ 966939 w 1336827"/>
              <a:gd name="connsiteY180" fmla="*/ 639762 h 1112837"/>
              <a:gd name="connsiteX181" fmla="*/ 969056 w 1336827"/>
              <a:gd name="connsiteY181" fmla="*/ 636587 h 1112837"/>
              <a:gd name="connsiteX182" fmla="*/ 430138 w 1336827"/>
              <a:gd name="connsiteY182" fmla="*/ 633412 h 1112837"/>
              <a:gd name="connsiteX183" fmla="*/ 434220 w 1336827"/>
              <a:gd name="connsiteY183" fmla="*/ 635396 h 1112837"/>
              <a:gd name="connsiteX184" fmla="*/ 438302 w 1336827"/>
              <a:gd name="connsiteY184" fmla="*/ 639365 h 1112837"/>
              <a:gd name="connsiteX185" fmla="*/ 436261 w 1336827"/>
              <a:gd name="connsiteY185" fmla="*/ 641349 h 1112837"/>
              <a:gd name="connsiteX186" fmla="*/ 432179 w 1336827"/>
              <a:gd name="connsiteY186" fmla="*/ 639365 h 1112837"/>
              <a:gd name="connsiteX187" fmla="*/ 430138 w 1336827"/>
              <a:gd name="connsiteY187" fmla="*/ 639365 h 1112837"/>
              <a:gd name="connsiteX188" fmla="*/ 426055 w 1336827"/>
              <a:gd name="connsiteY188" fmla="*/ 639365 h 1112837"/>
              <a:gd name="connsiteX189" fmla="*/ 426055 w 1336827"/>
              <a:gd name="connsiteY189" fmla="*/ 635396 h 1112837"/>
              <a:gd name="connsiteX190" fmla="*/ 430138 w 1336827"/>
              <a:gd name="connsiteY190" fmla="*/ 633412 h 1112837"/>
              <a:gd name="connsiteX191" fmla="*/ 414555 w 1336827"/>
              <a:gd name="connsiteY191" fmla="*/ 626219 h 1112837"/>
              <a:gd name="connsiteX192" fmla="*/ 418723 w 1336827"/>
              <a:gd name="connsiteY192" fmla="*/ 627459 h 1112837"/>
              <a:gd name="connsiteX193" fmla="*/ 416871 w 1336827"/>
              <a:gd name="connsiteY193" fmla="*/ 631428 h 1112837"/>
              <a:gd name="connsiteX194" fmla="*/ 413166 w 1336827"/>
              <a:gd name="connsiteY194" fmla="*/ 629444 h 1112837"/>
              <a:gd name="connsiteX195" fmla="*/ 414555 w 1336827"/>
              <a:gd name="connsiteY195" fmla="*/ 626219 h 1112837"/>
              <a:gd name="connsiteX196" fmla="*/ 1013631 w 1336827"/>
              <a:gd name="connsiteY196" fmla="*/ 625475 h 1112837"/>
              <a:gd name="connsiteX197" fmla="*/ 1017646 w 1336827"/>
              <a:gd name="connsiteY197" fmla="*/ 627459 h 1112837"/>
              <a:gd name="connsiteX198" fmla="*/ 1019654 w 1336827"/>
              <a:gd name="connsiteY198" fmla="*/ 631428 h 1112837"/>
              <a:gd name="connsiteX199" fmla="*/ 1025677 w 1336827"/>
              <a:gd name="connsiteY199" fmla="*/ 633413 h 1112837"/>
              <a:gd name="connsiteX200" fmla="*/ 1021662 w 1336827"/>
              <a:gd name="connsiteY200" fmla="*/ 637381 h 1112837"/>
              <a:gd name="connsiteX201" fmla="*/ 1019654 w 1336827"/>
              <a:gd name="connsiteY201" fmla="*/ 639366 h 1112837"/>
              <a:gd name="connsiteX202" fmla="*/ 1021662 w 1336827"/>
              <a:gd name="connsiteY202" fmla="*/ 643334 h 1112837"/>
              <a:gd name="connsiteX203" fmla="*/ 1015638 w 1336827"/>
              <a:gd name="connsiteY203" fmla="*/ 645319 h 1112837"/>
              <a:gd name="connsiteX204" fmla="*/ 1011623 w 1336827"/>
              <a:gd name="connsiteY204" fmla="*/ 647303 h 1112837"/>
              <a:gd name="connsiteX205" fmla="*/ 1007608 w 1336827"/>
              <a:gd name="connsiteY205" fmla="*/ 649288 h 1112837"/>
              <a:gd name="connsiteX206" fmla="*/ 1001584 w 1336827"/>
              <a:gd name="connsiteY206" fmla="*/ 649288 h 1112837"/>
              <a:gd name="connsiteX207" fmla="*/ 997569 w 1336827"/>
              <a:gd name="connsiteY207" fmla="*/ 645319 h 1112837"/>
              <a:gd name="connsiteX208" fmla="*/ 995561 w 1336827"/>
              <a:gd name="connsiteY208" fmla="*/ 649288 h 1112837"/>
              <a:gd name="connsiteX209" fmla="*/ 991546 w 1336827"/>
              <a:gd name="connsiteY209" fmla="*/ 651272 h 1112837"/>
              <a:gd name="connsiteX210" fmla="*/ 985522 w 1336827"/>
              <a:gd name="connsiteY210" fmla="*/ 653256 h 1112837"/>
              <a:gd name="connsiteX211" fmla="*/ 979499 w 1336827"/>
              <a:gd name="connsiteY211" fmla="*/ 653256 h 1112837"/>
              <a:gd name="connsiteX212" fmla="*/ 975484 w 1336827"/>
              <a:gd name="connsiteY212" fmla="*/ 655241 h 1112837"/>
              <a:gd name="connsiteX213" fmla="*/ 969461 w 1336827"/>
              <a:gd name="connsiteY213" fmla="*/ 655241 h 1112837"/>
              <a:gd name="connsiteX214" fmla="*/ 965445 w 1336827"/>
              <a:gd name="connsiteY214" fmla="*/ 647303 h 1112837"/>
              <a:gd name="connsiteX215" fmla="*/ 973476 w 1336827"/>
              <a:gd name="connsiteY215" fmla="*/ 645319 h 1112837"/>
              <a:gd name="connsiteX216" fmla="*/ 977491 w 1336827"/>
              <a:gd name="connsiteY216" fmla="*/ 637381 h 1112837"/>
              <a:gd name="connsiteX217" fmla="*/ 983515 w 1336827"/>
              <a:gd name="connsiteY217" fmla="*/ 635397 h 1112837"/>
              <a:gd name="connsiteX218" fmla="*/ 991546 w 1336827"/>
              <a:gd name="connsiteY218" fmla="*/ 635397 h 1112837"/>
              <a:gd name="connsiteX219" fmla="*/ 999577 w 1336827"/>
              <a:gd name="connsiteY219" fmla="*/ 631428 h 1112837"/>
              <a:gd name="connsiteX220" fmla="*/ 1003592 w 1336827"/>
              <a:gd name="connsiteY220" fmla="*/ 629444 h 1112837"/>
              <a:gd name="connsiteX221" fmla="*/ 1009615 w 1336827"/>
              <a:gd name="connsiteY221" fmla="*/ 627459 h 1112837"/>
              <a:gd name="connsiteX222" fmla="*/ 1013631 w 1336827"/>
              <a:gd name="connsiteY222" fmla="*/ 625475 h 1112837"/>
              <a:gd name="connsiteX223" fmla="*/ 421157 w 1336827"/>
              <a:gd name="connsiteY223" fmla="*/ 623887 h 1112837"/>
              <a:gd name="connsiteX224" fmla="*/ 423062 w 1336827"/>
              <a:gd name="connsiteY224" fmla="*/ 623887 h 1112837"/>
              <a:gd name="connsiteX225" fmla="*/ 426872 w 1336827"/>
              <a:gd name="connsiteY225" fmla="*/ 626004 h 1112837"/>
              <a:gd name="connsiteX226" fmla="*/ 426872 w 1336827"/>
              <a:gd name="connsiteY226" fmla="*/ 630237 h 1112837"/>
              <a:gd name="connsiteX227" fmla="*/ 421157 w 1336827"/>
              <a:gd name="connsiteY227" fmla="*/ 628120 h 1112837"/>
              <a:gd name="connsiteX228" fmla="*/ 421157 w 1336827"/>
              <a:gd name="connsiteY228" fmla="*/ 623887 h 1112837"/>
              <a:gd name="connsiteX229" fmla="*/ 380888 w 1336827"/>
              <a:gd name="connsiteY229" fmla="*/ 611584 h 1112837"/>
              <a:gd name="connsiteX230" fmla="*/ 382740 w 1336827"/>
              <a:gd name="connsiteY230" fmla="*/ 615553 h 1112837"/>
              <a:gd name="connsiteX231" fmla="*/ 382740 w 1336827"/>
              <a:gd name="connsiteY231" fmla="*/ 621506 h 1112837"/>
              <a:gd name="connsiteX232" fmla="*/ 377184 w 1336827"/>
              <a:gd name="connsiteY232" fmla="*/ 623491 h 1112837"/>
              <a:gd name="connsiteX233" fmla="*/ 373479 w 1336827"/>
              <a:gd name="connsiteY233" fmla="*/ 623491 h 1112837"/>
              <a:gd name="connsiteX234" fmla="*/ 373479 w 1336827"/>
              <a:gd name="connsiteY234" fmla="*/ 617538 h 1112837"/>
              <a:gd name="connsiteX235" fmla="*/ 377184 w 1336827"/>
              <a:gd name="connsiteY235" fmla="*/ 613569 h 1112837"/>
              <a:gd name="connsiteX236" fmla="*/ 380888 w 1336827"/>
              <a:gd name="connsiteY236" fmla="*/ 611584 h 1112837"/>
              <a:gd name="connsiteX237" fmla="*/ 392662 w 1336827"/>
              <a:gd name="connsiteY237" fmla="*/ 609600 h 1112837"/>
              <a:gd name="connsiteX238" fmla="*/ 398615 w 1336827"/>
              <a:gd name="connsiteY238" fmla="*/ 609600 h 1112837"/>
              <a:gd name="connsiteX239" fmla="*/ 404568 w 1336827"/>
              <a:gd name="connsiteY239" fmla="*/ 611584 h 1112837"/>
              <a:gd name="connsiteX240" fmla="*/ 404568 w 1336827"/>
              <a:gd name="connsiteY240" fmla="*/ 615553 h 1112837"/>
              <a:gd name="connsiteX241" fmla="*/ 400599 w 1336827"/>
              <a:gd name="connsiteY241" fmla="*/ 617537 h 1112837"/>
              <a:gd name="connsiteX242" fmla="*/ 394646 w 1336827"/>
              <a:gd name="connsiteY242" fmla="*/ 617537 h 1112837"/>
              <a:gd name="connsiteX243" fmla="*/ 390677 w 1336827"/>
              <a:gd name="connsiteY243" fmla="*/ 613569 h 1112837"/>
              <a:gd name="connsiteX244" fmla="*/ 392662 w 1336827"/>
              <a:gd name="connsiteY244" fmla="*/ 609600 h 1112837"/>
              <a:gd name="connsiteX245" fmla="*/ 335114 w 1336827"/>
              <a:gd name="connsiteY245" fmla="*/ 581818 h 1112837"/>
              <a:gd name="connsiteX246" fmla="*/ 339347 w 1336827"/>
              <a:gd name="connsiteY246" fmla="*/ 581818 h 1112837"/>
              <a:gd name="connsiteX247" fmla="*/ 341464 w 1336827"/>
              <a:gd name="connsiteY247" fmla="*/ 584200 h 1112837"/>
              <a:gd name="connsiteX248" fmla="*/ 335114 w 1336827"/>
              <a:gd name="connsiteY248" fmla="*/ 586581 h 1112837"/>
              <a:gd name="connsiteX249" fmla="*/ 335114 w 1336827"/>
              <a:gd name="connsiteY249" fmla="*/ 581818 h 1112837"/>
              <a:gd name="connsiteX250" fmla="*/ 341464 w 1336827"/>
              <a:gd name="connsiteY250" fmla="*/ 563880 h 1112837"/>
              <a:gd name="connsiteX251" fmla="*/ 344639 w 1336827"/>
              <a:gd name="connsiteY251" fmla="*/ 563880 h 1112837"/>
              <a:gd name="connsiteX252" fmla="*/ 346227 w 1336827"/>
              <a:gd name="connsiteY252" fmla="*/ 567690 h 1112837"/>
              <a:gd name="connsiteX253" fmla="*/ 343052 w 1336827"/>
              <a:gd name="connsiteY253" fmla="*/ 571500 h 1112837"/>
              <a:gd name="connsiteX254" fmla="*/ 343052 w 1336827"/>
              <a:gd name="connsiteY254" fmla="*/ 567690 h 1112837"/>
              <a:gd name="connsiteX255" fmla="*/ 341464 w 1336827"/>
              <a:gd name="connsiteY255" fmla="*/ 563880 h 1112837"/>
              <a:gd name="connsiteX256" fmla="*/ 343052 w 1336827"/>
              <a:gd name="connsiteY256" fmla="*/ 555625 h 1112837"/>
              <a:gd name="connsiteX257" fmla="*/ 348609 w 1336827"/>
              <a:gd name="connsiteY257" fmla="*/ 555625 h 1112837"/>
              <a:gd name="connsiteX258" fmla="*/ 352313 w 1336827"/>
              <a:gd name="connsiteY258" fmla="*/ 555625 h 1112837"/>
              <a:gd name="connsiteX259" fmla="*/ 354165 w 1336827"/>
              <a:gd name="connsiteY259" fmla="*/ 557609 h 1112837"/>
              <a:gd name="connsiteX260" fmla="*/ 354165 w 1336827"/>
              <a:gd name="connsiteY260" fmla="*/ 561578 h 1112837"/>
              <a:gd name="connsiteX261" fmla="*/ 348609 w 1336827"/>
              <a:gd name="connsiteY261" fmla="*/ 561578 h 1112837"/>
              <a:gd name="connsiteX262" fmla="*/ 343052 w 1336827"/>
              <a:gd name="connsiteY262" fmla="*/ 559594 h 1112837"/>
              <a:gd name="connsiteX263" fmla="*/ 343052 w 1336827"/>
              <a:gd name="connsiteY263" fmla="*/ 555625 h 1112837"/>
              <a:gd name="connsiteX264" fmla="*/ 1046738 w 1336827"/>
              <a:gd name="connsiteY264" fmla="*/ 542925 h 1112837"/>
              <a:gd name="connsiteX265" fmla="*/ 1054781 w 1336827"/>
              <a:gd name="connsiteY265" fmla="*/ 544886 h 1112837"/>
              <a:gd name="connsiteX266" fmla="*/ 1062825 w 1336827"/>
              <a:gd name="connsiteY266" fmla="*/ 544886 h 1112837"/>
              <a:gd name="connsiteX267" fmla="*/ 1070868 w 1336827"/>
              <a:gd name="connsiteY267" fmla="*/ 544886 h 1112837"/>
              <a:gd name="connsiteX268" fmla="*/ 1074890 w 1336827"/>
              <a:gd name="connsiteY268" fmla="*/ 546847 h 1112837"/>
              <a:gd name="connsiteX269" fmla="*/ 1078911 w 1336827"/>
              <a:gd name="connsiteY269" fmla="*/ 546847 h 1112837"/>
              <a:gd name="connsiteX270" fmla="*/ 1082933 w 1336827"/>
              <a:gd name="connsiteY270" fmla="*/ 550769 h 1112837"/>
              <a:gd name="connsiteX271" fmla="*/ 1097009 w 1336827"/>
              <a:gd name="connsiteY271" fmla="*/ 556652 h 1112837"/>
              <a:gd name="connsiteX272" fmla="*/ 1105052 w 1336827"/>
              <a:gd name="connsiteY272" fmla="*/ 560574 h 1112837"/>
              <a:gd name="connsiteX273" fmla="*/ 1105052 w 1336827"/>
              <a:gd name="connsiteY273" fmla="*/ 566457 h 1112837"/>
              <a:gd name="connsiteX274" fmla="*/ 1103041 w 1336827"/>
              <a:gd name="connsiteY274" fmla="*/ 568418 h 1112837"/>
              <a:gd name="connsiteX275" fmla="*/ 1097009 w 1336827"/>
              <a:gd name="connsiteY275" fmla="*/ 564496 h 1112837"/>
              <a:gd name="connsiteX276" fmla="*/ 1092987 w 1336827"/>
              <a:gd name="connsiteY276" fmla="*/ 564496 h 1112837"/>
              <a:gd name="connsiteX277" fmla="*/ 1088965 w 1336827"/>
              <a:gd name="connsiteY277" fmla="*/ 562535 h 1112837"/>
              <a:gd name="connsiteX278" fmla="*/ 1084944 w 1336827"/>
              <a:gd name="connsiteY278" fmla="*/ 560574 h 1112837"/>
              <a:gd name="connsiteX279" fmla="*/ 1086955 w 1336827"/>
              <a:gd name="connsiteY279" fmla="*/ 564496 h 1112837"/>
              <a:gd name="connsiteX280" fmla="*/ 1090976 w 1336827"/>
              <a:gd name="connsiteY280" fmla="*/ 568418 h 1112837"/>
              <a:gd name="connsiteX281" fmla="*/ 1097009 w 1336827"/>
              <a:gd name="connsiteY281" fmla="*/ 570379 h 1112837"/>
              <a:gd name="connsiteX282" fmla="*/ 1101030 w 1336827"/>
              <a:gd name="connsiteY282" fmla="*/ 570379 h 1112837"/>
              <a:gd name="connsiteX283" fmla="*/ 1101030 w 1336827"/>
              <a:gd name="connsiteY283" fmla="*/ 576262 h 1112837"/>
              <a:gd name="connsiteX284" fmla="*/ 1092987 w 1336827"/>
              <a:gd name="connsiteY284" fmla="*/ 574301 h 1112837"/>
              <a:gd name="connsiteX285" fmla="*/ 1082933 w 1336827"/>
              <a:gd name="connsiteY285" fmla="*/ 570379 h 1112837"/>
              <a:gd name="connsiteX286" fmla="*/ 1074890 w 1336827"/>
              <a:gd name="connsiteY286" fmla="*/ 566457 h 1112837"/>
              <a:gd name="connsiteX287" fmla="*/ 1066846 w 1336827"/>
              <a:gd name="connsiteY287" fmla="*/ 562535 h 1112837"/>
              <a:gd name="connsiteX288" fmla="*/ 1058803 w 1336827"/>
              <a:gd name="connsiteY288" fmla="*/ 560574 h 1112837"/>
              <a:gd name="connsiteX289" fmla="*/ 1054781 w 1336827"/>
              <a:gd name="connsiteY289" fmla="*/ 556652 h 1112837"/>
              <a:gd name="connsiteX290" fmla="*/ 1048749 w 1336827"/>
              <a:gd name="connsiteY290" fmla="*/ 558613 h 1112837"/>
              <a:gd name="connsiteX291" fmla="*/ 1046738 w 1336827"/>
              <a:gd name="connsiteY291" fmla="*/ 552730 h 1112837"/>
              <a:gd name="connsiteX292" fmla="*/ 1046738 w 1336827"/>
              <a:gd name="connsiteY292" fmla="*/ 542925 h 1112837"/>
              <a:gd name="connsiteX293" fmla="*/ 1037319 w 1336827"/>
              <a:gd name="connsiteY293" fmla="*/ 542925 h 1112837"/>
              <a:gd name="connsiteX294" fmla="*/ 1041552 w 1336827"/>
              <a:gd name="connsiteY294" fmla="*/ 544512 h 1112837"/>
              <a:gd name="connsiteX295" fmla="*/ 1039435 w 1336827"/>
              <a:gd name="connsiteY295" fmla="*/ 546100 h 1112837"/>
              <a:gd name="connsiteX296" fmla="*/ 1035202 w 1336827"/>
              <a:gd name="connsiteY296" fmla="*/ 546100 h 1112837"/>
              <a:gd name="connsiteX297" fmla="*/ 1037319 w 1336827"/>
              <a:gd name="connsiteY297" fmla="*/ 542925 h 1112837"/>
              <a:gd name="connsiteX298" fmla="*/ 348609 w 1336827"/>
              <a:gd name="connsiteY298" fmla="*/ 538162 h 1112837"/>
              <a:gd name="connsiteX299" fmla="*/ 352313 w 1336827"/>
              <a:gd name="connsiteY299" fmla="*/ 538162 h 1112837"/>
              <a:gd name="connsiteX300" fmla="*/ 354165 w 1336827"/>
              <a:gd name="connsiteY300" fmla="*/ 540067 h 1112837"/>
              <a:gd name="connsiteX301" fmla="*/ 354165 w 1336827"/>
              <a:gd name="connsiteY301" fmla="*/ 541972 h 1112837"/>
              <a:gd name="connsiteX302" fmla="*/ 350461 w 1336827"/>
              <a:gd name="connsiteY302" fmla="*/ 543877 h 1112837"/>
              <a:gd name="connsiteX303" fmla="*/ 348609 w 1336827"/>
              <a:gd name="connsiteY303" fmla="*/ 543877 h 1112837"/>
              <a:gd name="connsiteX304" fmla="*/ 346756 w 1336827"/>
              <a:gd name="connsiteY304" fmla="*/ 545782 h 1112837"/>
              <a:gd name="connsiteX305" fmla="*/ 344904 w 1336827"/>
              <a:gd name="connsiteY305" fmla="*/ 547687 h 1112837"/>
              <a:gd name="connsiteX306" fmla="*/ 344904 w 1336827"/>
              <a:gd name="connsiteY306" fmla="*/ 543877 h 1112837"/>
              <a:gd name="connsiteX307" fmla="*/ 344904 w 1336827"/>
              <a:gd name="connsiteY307" fmla="*/ 541972 h 1112837"/>
              <a:gd name="connsiteX308" fmla="*/ 344904 w 1336827"/>
              <a:gd name="connsiteY308" fmla="*/ 540067 h 1112837"/>
              <a:gd name="connsiteX309" fmla="*/ 346756 w 1336827"/>
              <a:gd name="connsiteY309" fmla="*/ 540067 h 1112837"/>
              <a:gd name="connsiteX310" fmla="*/ 348609 w 1336827"/>
              <a:gd name="connsiteY310" fmla="*/ 538162 h 1112837"/>
              <a:gd name="connsiteX311" fmla="*/ 1050719 w 1336827"/>
              <a:gd name="connsiteY311" fmla="*/ 531812 h 1112837"/>
              <a:gd name="connsiteX312" fmla="*/ 1052716 w 1336827"/>
              <a:gd name="connsiteY312" fmla="*/ 533876 h 1112837"/>
              <a:gd name="connsiteX313" fmla="*/ 1066696 w 1336827"/>
              <a:gd name="connsiteY313" fmla="*/ 535939 h 1112837"/>
              <a:gd name="connsiteX314" fmla="*/ 1076682 w 1336827"/>
              <a:gd name="connsiteY314" fmla="*/ 535939 h 1112837"/>
              <a:gd name="connsiteX315" fmla="*/ 1082674 w 1336827"/>
              <a:gd name="connsiteY315" fmla="*/ 533876 h 1112837"/>
              <a:gd name="connsiteX316" fmla="*/ 1090663 w 1336827"/>
              <a:gd name="connsiteY316" fmla="*/ 531812 h 1112837"/>
              <a:gd name="connsiteX317" fmla="*/ 1098651 w 1336827"/>
              <a:gd name="connsiteY317" fmla="*/ 533876 h 1112837"/>
              <a:gd name="connsiteX318" fmla="*/ 1104643 w 1336827"/>
              <a:gd name="connsiteY318" fmla="*/ 535939 h 1112837"/>
              <a:gd name="connsiteX319" fmla="*/ 1106640 w 1336827"/>
              <a:gd name="connsiteY319" fmla="*/ 540067 h 1112837"/>
              <a:gd name="connsiteX320" fmla="*/ 1102646 w 1336827"/>
              <a:gd name="connsiteY320" fmla="*/ 542131 h 1112837"/>
              <a:gd name="connsiteX321" fmla="*/ 1100649 w 1336827"/>
              <a:gd name="connsiteY321" fmla="*/ 552449 h 1112837"/>
              <a:gd name="connsiteX322" fmla="*/ 1088665 w 1336827"/>
              <a:gd name="connsiteY322" fmla="*/ 546258 h 1112837"/>
              <a:gd name="connsiteX323" fmla="*/ 1078679 w 1336827"/>
              <a:gd name="connsiteY323" fmla="*/ 540067 h 1112837"/>
              <a:gd name="connsiteX324" fmla="*/ 1072688 w 1336827"/>
              <a:gd name="connsiteY324" fmla="*/ 542131 h 1112837"/>
              <a:gd name="connsiteX325" fmla="*/ 1068693 w 1336827"/>
              <a:gd name="connsiteY325" fmla="*/ 540067 h 1112837"/>
              <a:gd name="connsiteX326" fmla="*/ 1064699 w 1336827"/>
              <a:gd name="connsiteY326" fmla="*/ 538003 h 1112837"/>
              <a:gd name="connsiteX327" fmla="*/ 1046724 w 1336827"/>
              <a:gd name="connsiteY327" fmla="*/ 538003 h 1112837"/>
              <a:gd name="connsiteX328" fmla="*/ 1050719 w 1336827"/>
              <a:gd name="connsiteY328" fmla="*/ 531812 h 1112837"/>
              <a:gd name="connsiteX329" fmla="*/ 344639 w 1336827"/>
              <a:gd name="connsiteY329" fmla="*/ 530225 h 1112837"/>
              <a:gd name="connsiteX330" fmla="*/ 349402 w 1336827"/>
              <a:gd name="connsiteY330" fmla="*/ 530225 h 1112837"/>
              <a:gd name="connsiteX331" fmla="*/ 349402 w 1336827"/>
              <a:gd name="connsiteY331" fmla="*/ 536178 h 1112837"/>
              <a:gd name="connsiteX332" fmla="*/ 344639 w 1336827"/>
              <a:gd name="connsiteY332" fmla="*/ 534193 h 1112837"/>
              <a:gd name="connsiteX333" fmla="*/ 344639 w 1336827"/>
              <a:gd name="connsiteY333" fmla="*/ 530225 h 1112837"/>
              <a:gd name="connsiteX334" fmla="*/ 1043500 w 1336827"/>
              <a:gd name="connsiteY334" fmla="*/ 519112 h 1112837"/>
              <a:gd name="connsiteX335" fmla="*/ 1049345 w 1336827"/>
              <a:gd name="connsiteY335" fmla="*/ 519112 h 1112837"/>
              <a:gd name="connsiteX336" fmla="*/ 1059087 w 1336827"/>
              <a:gd name="connsiteY336" fmla="*/ 520926 h 1112837"/>
              <a:gd name="connsiteX337" fmla="*/ 1064932 w 1336827"/>
              <a:gd name="connsiteY337" fmla="*/ 522741 h 1112837"/>
              <a:gd name="connsiteX338" fmla="*/ 1072725 w 1336827"/>
              <a:gd name="connsiteY338" fmla="*/ 522741 h 1112837"/>
              <a:gd name="connsiteX339" fmla="*/ 1074674 w 1336827"/>
              <a:gd name="connsiteY339" fmla="*/ 526369 h 1112837"/>
              <a:gd name="connsiteX340" fmla="*/ 1078570 w 1336827"/>
              <a:gd name="connsiteY340" fmla="*/ 526369 h 1112837"/>
              <a:gd name="connsiteX341" fmla="*/ 1082467 w 1336827"/>
              <a:gd name="connsiteY341" fmla="*/ 529998 h 1112837"/>
              <a:gd name="connsiteX342" fmla="*/ 1074674 w 1336827"/>
              <a:gd name="connsiteY342" fmla="*/ 529998 h 1112837"/>
              <a:gd name="connsiteX343" fmla="*/ 1066880 w 1336827"/>
              <a:gd name="connsiteY343" fmla="*/ 531812 h 1112837"/>
              <a:gd name="connsiteX344" fmla="*/ 1059087 w 1336827"/>
              <a:gd name="connsiteY344" fmla="*/ 529998 h 1112837"/>
              <a:gd name="connsiteX345" fmla="*/ 1051294 w 1336827"/>
              <a:gd name="connsiteY345" fmla="*/ 526369 h 1112837"/>
              <a:gd name="connsiteX346" fmla="*/ 1043500 w 1336827"/>
              <a:gd name="connsiteY346" fmla="*/ 524555 h 1112837"/>
              <a:gd name="connsiteX347" fmla="*/ 1043500 w 1336827"/>
              <a:gd name="connsiteY347" fmla="*/ 519112 h 1112837"/>
              <a:gd name="connsiteX348" fmla="*/ 335114 w 1336827"/>
              <a:gd name="connsiteY348" fmla="*/ 518874 h 1112837"/>
              <a:gd name="connsiteX349" fmla="*/ 334585 w 1336827"/>
              <a:gd name="connsiteY349" fmla="*/ 521970 h 1112837"/>
              <a:gd name="connsiteX350" fmla="*/ 332469 w 1336827"/>
              <a:gd name="connsiteY350" fmla="*/ 523875 h 1112837"/>
              <a:gd name="connsiteX351" fmla="*/ 332469 w 1336827"/>
              <a:gd name="connsiteY351" fmla="*/ 520065 h 1112837"/>
              <a:gd name="connsiteX352" fmla="*/ 335114 w 1336827"/>
              <a:gd name="connsiteY352" fmla="*/ 518874 h 1112837"/>
              <a:gd name="connsiteX353" fmla="*/ 340935 w 1336827"/>
              <a:gd name="connsiteY353" fmla="*/ 515937 h 1112837"/>
              <a:gd name="connsiteX354" fmla="*/ 343052 w 1336827"/>
              <a:gd name="connsiteY354" fmla="*/ 518054 h 1112837"/>
              <a:gd name="connsiteX355" fmla="*/ 340935 w 1336827"/>
              <a:gd name="connsiteY355" fmla="*/ 520170 h 1112837"/>
              <a:gd name="connsiteX356" fmla="*/ 340935 w 1336827"/>
              <a:gd name="connsiteY356" fmla="*/ 515937 h 1112837"/>
              <a:gd name="connsiteX357" fmla="*/ 332997 w 1336827"/>
              <a:gd name="connsiteY357" fmla="*/ 511704 h 1112837"/>
              <a:gd name="connsiteX358" fmla="*/ 335114 w 1336827"/>
              <a:gd name="connsiteY358" fmla="*/ 511704 h 1112837"/>
              <a:gd name="connsiteX359" fmla="*/ 332997 w 1336827"/>
              <a:gd name="connsiteY359" fmla="*/ 513820 h 1112837"/>
              <a:gd name="connsiteX360" fmla="*/ 332997 w 1336827"/>
              <a:gd name="connsiteY360" fmla="*/ 511704 h 1112837"/>
              <a:gd name="connsiteX361" fmla="*/ 345433 w 1336827"/>
              <a:gd name="connsiteY361" fmla="*/ 509587 h 1112837"/>
              <a:gd name="connsiteX362" fmla="*/ 349402 w 1336827"/>
              <a:gd name="connsiteY362" fmla="*/ 509587 h 1112837"/>
              <a:gd name="connsiteX363" fmla="*/ 347418 w 1336827"/>
              <a:gd name="connsiteY363" fmla="*/ 513820 h 1112837"/>
              <a:gd name="connsiteX364" fmla="*/ 345433 w 1336827"/>
              <a:gd name="connsiteY364" fmla="*/ 509587 h 1112837"/>
              <a:gd name="connsiteX365" fmla="*/ 331146 w 1336827"/>
              <a:gd name="connsiteY365" fmla="*/ 502046 h 1112837"/>
              <a:gd name="connsiteX366" fmla="*/ 333130 w 1336827"/>
              <a:gd name="connsiteY366" fmla="*/ 502046 h 1112837"/>
              <a:gd name="connsiteX367" fmla="*/ 333130 w 1336827"/>
              <a:gd name="connsiteY367" fmla="*/ 506015 h 1112837"/>
              <a:gd name="connsiteX368" fmla="*/ 331146 w 1336827"/>
              <a:gd name="connsiteY368" fmla="*/ 502046 h 1112837"/>
              <a:gd name="connsiteX369" fmla="*/ 336702 w 1336827"/>
              <a:gd name="connsiteY369" fmla="*/ 500062 h 1112837"/>
              <a:gd name="connsiteX370" fmla="*/ 338819 w 1336827"/>
              <a:gd name="connsiteY370" fmla="*/ 500062 h 1112837"/>
              <a:gd name="connsiteX371" fmla="*/ 340935 w 1336827"/>
              <a:gd name="connsiteY371" fmla="*/ 502443 h 1112837"/>
              <a:gd name="connsiteX372" fmla="*/ 338819 w 1336827"/>
              <a:gd name="connsiteY372" fmla="*/ 502443 h 1112837"/>
              <a:gd name="connsiteX373" fmla="*/ 336702 w 1336827"/>
              <a:gd name="connsiteY373" fmla="*/ 500062 h 1112837"/>
              <a:gd name="connsiteX374" fmla="*/ 322732 w 1336827"/>
              <a:gd name="connsiteY374" fmla="*/ 498871 h 1112837"/>
              <a:gd name="connsiteX375" fmla="*/ 324637 w 1336827"/>
              <a:gd name="connsiteY375" fmla="*/ 498871 h 1112837"/>
              <a:gd name="connsiteX376" fmla="*/ 328447 w 1336827"/>
              <a:gd name="connsiteY376" fmla="*/ 500855 h 1112837"/>
              <a:gd name="connsiteX377" fmla="*/ 322732 w 1336827"/>
              <a:gd name="connsiteY377" fmla="*/ 502840 h 1112837"/>
              <a:gd name="connsiteX378" fmla="*/ 322732 w 1336827"/>
              <a:gd name="connsiteY378" fmla="*/ 498871 h 1112837"/>
              <a:gd name="connsiteX379" fmla="*/ 1146327 w 1336827"/>
              <a:gd name="connsiteY379" fmla="*/ 487997 h 1112837"/>
              <a:gd name="connsiteX380" fmla="*/ 1152281 w 1336827"/>
              <a:gd name="connsiteY380" fmla="*/ 487997 h 1112837"/>
              <a:gd name="connsiteX381" fmla="*/ 1148312 w 1336827"/>
              <a:gd name="connsiteY381" fmla="*/ 492442 h 1112837"/>
              <a:gd name="connsiteX382" fmla="*/ 1146327 w 1336827"/>
              <a:gd name="connsiteY382" fmla="*/ 487997 h 1112837"/>
              <a:gd name="connsiteX383" fmla="*/ 339347 w 1336827"/>
              <a:gd name="connsiteY383" fmla="*/ 487892 h 1112837"/>
              <a:gd name="connsiteX384" fmla="*/ 341464 w 1336827"/>
              <a:gd name="connsiteY384" fmla="*/ 487892 h 1112837"/>
              <a:gd name="connsiteX385" fmla="*/ 339347 w 1336827"/>
              <a:gd name="connsiteY385" fmla="*/ 492125 h 1112837"/>
              <a:gd name="connsiteX386" fmla="*/ 339347 w 1336827"/>
              <a:gd name="connsiteY386" fmla="*/ 487892 h 1112837"/>
              <a:gd name="connsiteX387" fmla="*/ 330881 w 1336827"/>
              <a:gd name="connsiteY387" fmla="*/ 484641 h 1112837"/>
              <a:gd name="connsiteX388" fmla="*/ 332997 w 1336827"/>
              <a:gd name="connsiteY388" fmla="*/ 484641 h 1112837"/>
              <a:gd name="connsiteX389" fmla="*/ 335114 w 1336827"/>
              <a:gd name="connsiteY389" fmla="*/ 488723 h 1112837"/>
              <a:gd name="connsiteX390" fmla="*/ 335114 w 1336827"/>
              <a:gd name="connsiteY390" fmla="*/ 492805 h 1112837"/>
              <a:gd name="connsiteX391" fmla="*/ 328764 w 1336827"/>
              <a:gd name="connsiteY391" fmla="*/ 496887 h 1112837"/>
              <a:gd name="connsiteX392" fmla="*/ 322414 w 1336827"/>
              <a:gd name="connsiteY392" fmla="*/ 492805 h 1112837"/>
              <a:gd name="connsiteX393" fmla="*/ 324531 w 1336827"/>
              <a:gd name="connsiteY393" fmla="*/ 490764 h 1112837"/>
              <a:gd name="connsiteX394" fmla="*/ 326647 w 1336827"/>
              <a:gd name="connsiteY394" fmla="*/ 490764 h 1112837"/>
              <a:gd name="connsiteX395" fmla="*/ 330881 w 1336827"/>
              <a:gd name="connsiteY395" fmla="*/ 490764 h 1112837"/>
              <a:gd name="connsiteX396" fmla="*/ 330881 w 1336827"/>
              <a:gd name="connsiteY396" fmla="*/ 484641 h 1112837"/>
              <a:gd name="connsiteX397" fmla="*/ 319080 w 1336827"/>
              <a:gd name="connsiteY397" fmla="*/ 474662 h 1112837"/>
              <a:gd name="connsiteX398" fmla="*/ 321144 w 1336827"/>
              <a:gd name="connsiteY398" fmla="*/ 476779 h 1112837"/>
              <a:gd name="connsiteX399" fmla="*/ 325272 w 1336827"/>
              <a:gd name="connsiteY399" fmla="*/ 476779 h 1112837"/>
              <a:gd name="connsiteX400" fmla="*/ 329399 w 1336827"/>
              <a:gd name="connsiteY400" fmla="*/ 474662 h 1112837"/>
              <a:gd name="connsiteX401" fmla="*/ 333527 w 1336827"/>
              <a:gd name="connsiteY401" fmla="*/ 478895 h 1112837"/>
              <a:gd name="connsiteX402" fmla="*/ 329399 w 1336827"/>
              <a:gd name="connsiteY402" fmla="*/ 481012 h 1112837"/>
              <a:gd name="connsiteX403" fmla="*/ 325272 w 1336827"/>
              <a:gd name="connsiteY403" fmla="*/ 481012 h 1112837"/>
              <a:gd name="connsiteX404" fmla="*/ 319080 w 1336827"/>
              <a:gd name="connsiteY404" fmla="*/ 474662 h 1112837"/>
              <a:gd name="connsiteX405" fmla="*/ 1131288 w 1336827"/>
              <a:gd name="connsiteY405" fmla="*/ 469205 h 1112837"/>
              <a:gd name="connsiteX406" fmla="*/ 1138306 w 1336827"/>
              <a:gd name="connsiteY406" fmla="*/ 470694 h 1112837"/>
              <a:gd name="connsiteX407" fmla="*/ 1140311 w 1336827"/>
              <a:gd name="connsiteY407" fmla="*/ 474662 h 1112837"/>
              <a:gd name="connsiteX408" fmla="*/ 1146327 w 1336827"/>
              <a:gd name="connsiteY408" fmla="*/ 480615 h 1112837"/>
              <a:gd name="connsiteX409" fmla="*/ 1144322 w 1336827"/>
              <a:gd name="connsiteY409" fmla="*/ 486568 h 1112837"/>
              <a:gd name="connsiteX410" fmla="*/ 1128280 w 1336827"/>
              <a:gd name="connsiteY410" fmla="*/ 488553 h 1112837"/>
              <a:gd name="connsiteX411" fmla="*/ 1118253 w 1336827"/>
              <a:gd name="connsiteY411" fmla="*/ 480615 h 1112837"/>
              <a:gd name="connsiteX412" fmla="*/ 1112238 w 1336827"/>
              <a:gd name="connsiteY412" fmla="*/ 478631 h 1112837"/>
              <a:gd name="connsiteX413" fmla="*/ 1110232 w 1336827"/>
              <a:gd name="connsiteY413" fmla="*/ 472678 h 1112837"/>
              <a:gd name="connsiteX414" fmla="*/ 1124269 w 1336827"/>
              <a:gd name="connsiteY414" fmla="*/ 470694 h 1112837"/>
              <a:gd name="connsiteX415" fmla="*/ 1131288 w 1336827"/>
              <a:gd name="connsiteY415" fmla="*/ 469205 h 1112837"/>
              <a:gd name="connsiteX416" fmla="*/ 335432 w 1336827"/>
              <a:gd name="connsiteY416" fmla="*/ 468312 h 1112837"/>
              <a:gd name="connsiteX417" fmla="*/ 339242 w 1336827"/>
              <a:gd name="connsiteY417" fmla="*/ 468312 h 1112837"/>
              <a:gd name="connsiteX418" fmla="*/ 341147 w 1336827"/>
              <a:gd name="connsiteY418" fmla="*/ 470429 h 1112837"/>
              <a:gd name="connsiteX419" fmla="*/ 339242 w 1336827"/>
              <a:gd name="connsiteY419" fmla="*/ 472545 h 1112837"/>
              <a:gd name="connsiteX420" fmla="*/ 335432 w 1336827"/>
              <a:gd name="connsiteY420" fmla="*/ 474662 h 1112837"/>
              <a:gd name="connsiteX421" fmla="*/ 333527 w 1336827"/>
              <a:gd name="connsiteY421" fmla="*/ 472545 h 1112837"/>
              <a:gd name="connsiteX422" fmla="*/ 335432 w 1336827"/>
              <a:gd name="connsiteY422" fmla="*/ 468312 h 1112837"/>
              <a:gd name="connsiteX423" fmla="*/ 1184427 w 1336827"/>
              <a:gd name="connsiteY423" fmla="*/ 454342 h 1112837"/>
              <a:gd name="connsiteX424" fmla="*/ 1188660 w 1336827"/>
              <a:gd name="connsiteY424" fmla="*/ 454342 h 1112837"/>
              <a:gd name="connsiteX425" fmla="*/ 1184427 w 1336827"/>
              <a:gd name="connsiteY425" fmla="*/ 454342 h 1112837"/>
              <a:gd name="connsiteX426" fmla="*/ 1174584 w 1336827"/>
              <a:gd name="connsiteY426" fmla="*/ 454025 h 1112837"/>
              <a:gd name="connsiteX427" fmla="*/ 1181252 w 1336827"/>
              <a:gd name="connsiteY427" fmla="*/ 456142 h 1112837"/>
              <a:gd name="connsiteX428" fmla="*/ 1179030 w 1336827"/>
              <a:gd name="connsiteY428" fmla="*/ 460375 h 1112837"/>
              <a:gd name="connsiteX429" fmla="*/ 1174584 w 1336827"/>
              <a:gd name="connsiteY429" fmla="*/ 460375 h 1112837"/>
              <a:gd name="connsiteX430" fmla="*/ 1170139 w 1336827"/>
              <a:gd name="connsiteY430" fmla="*/ 458258 h 1112837"/>
              <a:gd name="connsiteX431" fmla="*/ 1174584 w 1336827"/>
              <a:gd name="connsiteY431" fmla="*/ 454025 h 1112837"/>
              <a:gd name="connsiteX432" fmla="*/ 1153470 w 1336827"/>
              <a:gd name="connsiteY432" fmla="*/ 444500 h 1112837"/>
              <a:gd name="connsiteX433" fmla="*/ 1157439 w 1336827"/>
              <a:gd name="connsiteY433" fmla="*/ 446484 h 1112837"/>
              <a:gd name="connsiteX434" fmla="*/ 1153470 w 1336827"/>
              <a:gd name="connsiteY434" fmla="*/ 448468 h 1112837"/>
              <a:gd name="connsiteX435" fmla="*/ 1151486 w 1336827"/>
              <a:gd name="connsiteY435" fmla="*/ 452437 h 1112837"/>
              <a:gd name="connsiteX436" fmla="*/ 1149502 w 1336827"/>
              <a:gd name="connsiteY436" fmla="*/ 452437 h 1112837"/>
              <a:gd name="connsiteX437" fmla="*/ 1153470 w 1336827"/>
              <a:gd name="connsiteY437" fmla="*/ 444500 h 1112837"/>
              <a:gd name="connsiteX438" fmla="*/ 1148708 w 1336827"/>
              <a:gd name="connsiteY438" fmla="*/ 436562 h 1112837"/>
              <a:gd name="connsiteX439" fmla="*/ 1152677 w 1336827"/>
              <a:gd name="connsiteY439" fmla="*/ 438679 h 1112837"/>
              <a:gd name="connsiteX440" fmla="*/ 1148708 w 1336827"/>
              <a:gd name="connsiteY440" fmla="*/ 442912 h 1112837"/>
              <a:gd name="connsiteX441" fmla="*/ 1146724 w 1336827"/>
              <a:gd name="connsiteY441" fmla="*/ 442912 h 1112837"/>
              <a:gd name="connsiteX442" fmla="*/ 1146724 w 1336827"/>
              <a:gd name="connsiteY442" fmla="*/ 438679 h 1112837"/>
              <a:gd name="connsiteX443" fmla="*/ 1148708 w 1336827"/>
              <a:gd name="connsiteY443" fmla="*/ 436562 h 1112837"/>
              <a:gd name="connsiteX444" fmla="*/ 1126642 w 1336827"/>
              <a:gd name="connsiteY444" fmla="*/ 436562 h 1112837"/>
              <a:gd name="connsiteX445" fmla="*/ 1132833 w 1336827"/>
              <a:gd name="connsiteY445" fmla="*/ 436562 h 1112837"/>
              <a:gd name="connsiteX446" fmla="*/ 1136961 w 1336827"/>
              <a:gd name="connsiteY446" fmla="*/ 436562 h 1112837"/>
              <a:gd name="connsiteX447" fmla="*/ 1143152 w 1336827"/>
              <a:gd name="connsiteY447" fmla="*/ 438679 h 1112837"/>
              <a:gd name="connsiteX448" fmla="*/ 1143152 w 1336827"/>
              <a:gd name="connsiteY448" fmla="*/ 442912 h 1112837"/>
              <a:gd name="connsiteX449" fmla="*/ 1134897 w 1336827"/>
              <a:gd name="connsiteY449" fmla="*/ 442912 h 1112837"/>
              <a:gd name="connsiteX450" fmla="*/ 1124578 w 1336827"/>
              <a:gd name="connsiteY450" fmla="*/ 442912 h 1112837"/>
              <a:gd name="connsiteX451" fmla="*/ 1124578 w 1336827"/>
              <a:gd name="connsiteY451" fmla="*/ 440795 h 1112837"/>
              <a:gd name="connsiteX452" fmla="*/ 1126642 w 1336827"/>
              <a:gd name="connsiteY452" fmla="*/ 436562 h 1112837"/>
              <a:gd name="connsiteX453" fmla="*/ 1196542 w 1336827"/>
              <a:gd name="connsiteY453" fmla="*/ 419100 h 1112837"/>
              <a:gd name="connsiteX454" fmla="*/ 1202558 w 1336827"/>
              <a:gd name="connsiteY454" fmla="*/ 421084 h 1112837"/>
              <a:gd name="connsiteX455" fmla="*/ 1202558 w 1336827"/>
              <a:gd name="connsiteY455" fmla="*/ 425053 h 1112837"/>
              <a:gd name="connsiteX456" fmla="*/ 1198547 w 1336827"/>
              <a:gd name="connsiteY456" fmla="*/ 429022 h 1112837"/>
              <a:gd name="connsiteX457" fmla="*/ 1200552 w 1336827"/>
              <a:gd name="connsiteY457" fmla="*/ 434975 h 1112837"/>
              <a:gd name="connsiteX458" fmla="*/ 1208573 w 1336827"/>
              <a:gd name="connsiteY458" fmla="*/ 434975 h 1112837"/>
              <a:gd name="connsiteX459" fmla="*/ 1208573 w 1336827"/>
              <a:gd name="connsiteY459" fmla="*/ 431006 h 1112837"/>
              <a:gd name="connsiteX460" fmla="*/ 1212584 w 1336827"/>
              <a:gd name="connsiteY460" fmla="*/ 429022 h 1112837"/>
              <a:gd name="connsiteX461" fmla="*/ 1214589 w 1336827"/>
              <a:gd name="connsiteY461" fmla="*/ 434975 h 1112837"/>
              <a:gd name="connsiteX462" fmla="*/ 1212584 w 1336827"/>
              <a:gd name="connsiteY462" fmla="*/ 442912 h 1112837"/>
              <a:gd name="connsiteX463" fmla="*/ 1206568 w 1336827"/>
              <a:gd name="connsiteY463" fmla="*/ 438943 h 1112837"/>
              <a:gd name="connsiteX464" fmla="*/ 1198547 w 1336827"/>
              <a:gd name="connsiteY464" fmla="*/ 438943 h 1112837"/>
              <a:gd name="connsiteX465" fmla="*/ 1188521 w 1336827"/>
              <a:gd name="connsiteY465" fmla="*/ 440928 h 1112837"/>
              <a:gd name="connsiteX466" fmla="*/ 1180500 w 1336827"/>
              <a:gd name="connsiteY466" fmla="*/ 440928 h 1112837"/>
              <a:gd name="connsiteX467" fmla="*/ 1176489 w 1336827"/>
              <a:gd name="connsiteY467" fmla="*/ 434975 h 1112837"/>
              <a:gd name="connsiteX468" fmla="*/ 1178494 w 1336827"/>
              <a:gd name="connsiteY468" fmla="*/ 429022 h 1112837"/>
              <a:gd name="connsiteX469" fmla="*/ 1178494 w 1336827"/>
              <a:gd name="connsiteY469" fmla="*/ 421084 h 1112837"/>
              <a:gd name="connsiteX470" fmla="*/ 1184510 w 1336827"/>
              <a:gd name="connsiteY470" fmla="*/ 421084 h 1112837"/>
              <a:gd name="connsiteX471" fmla="*/ 1190526 w 1336827"/>
              <a:gd name="connsiteY471" fmla="*/ 423069 h 1112837"/>
              <a:gd name="connsiteX472" fmla="*/ 1194536 w 1336827"/>
              <a:gd name="connsiteY472" fmla="*/ 423069 h 1112837"/>
              <a:gd name="connsiteX473" fmla="*/ 1196542 w 1336827"/>
              <a:gd name="connsiteY473" fmla="*/ 419100 h 1112837"/>
              <a:gd name="connsiteX474" fmla="*/ 160886 w 1336827"/>
              <a:gd name="connsiteY474" fmla="*/ 384175 h 1112837"/>
              <a:gd name="connsiteX475" fmla="*/ 164855 w 1336827"/>
              <a:gd name="connsiteY475" fmla="*/ 386292 h 1112837"/>
              <a:gd name="connsiteX476" fmla="*/ 164855 w 1336827"/>
              <a:gd name="connsiteY476" fmla="*/ 390525 h 1112837"/>
              <a:gd name="connsiteX477" fmla="*/ 160886 w 1336827"/>
              <a:gd name="connsiteY477" fmla="*/ 390525 h 1112837"/>
              <a:gd name="connsiteX478" fmla="*/ 158902 w 1336827"/>
              <a:gd name="connsiteY478" fmla="*/ 386292 h 1112837"/>
              <a:gd name="connsiteX479" fmla="*/ 160886 w 1336827"/>
              <a:gd name="connsiteY479" fmla="*/ 384175 h 1112837"/>
              <a:gd name="connsiteX480" fmla="*/ 141439 w 1336827"/>
              <a:gd name="connsiteY480" fmla="*/ 379412 h 1112837"/>
              <a:gd name="connsiteX481" fmla="*/ 147789 w 1336827"/>
              <a:gd name="connsiteY481" fmla="*/ 379412 h 1112837"/>
              <a:gd name="connsiteX482" fmla="*/ 147789 w 1336827"/>
              <a:gd name="connsiteY482" fmla="*/ 382587 h 1112837"/>
              <a:gd name="connsiteX483" fmla="*/ 141439 w 1336827"/>
              <a:gd name="connsiteY483" fmla="*/ 382587 h 1112837"/>
              <a:gd name="connsiteX484" fmla="*/ 141439 w 1336827"/>
              <a:gd name="connsiteY484" fmla="*/ 379412 h 1112837"/>
              <a:gd name="connsiteX485" fmla="*/ 1140374 w 1336827"/>
              <a:gd name="connsiteY485" fmla="*/ 370522 h 1112837"/>
              <a:gd name="connsiteX486" fmla="*/ 1144343 w 1336827"/>
              <a:gd name="connsiteY486" fmla="*/ 370522 h 1112837"/>
              <a:gd name="connsiteX487" fmla="*/ 1146327 w 1336827"/>
              <a:gd name="connsiteY487" fmla="*/ 374967 h 1112837"/>
              <a:gd name="connsiteX488" fmla="*/ 1142358 w 1336827"/>
              <a:gd name="connsiteY488" fmla="*/ 377190 h 1112837"/>
              <a:gd name="connsiteX489" fmla="*/ 1138389 w 1336827"/>
              <a:gd name="connsiteY489" fmla="*/ 374967 h 1112837"/>
              <a:gd name="connsiteX490" fmla="*/ 1140374 w 1336827"/>
              <a:gd name="connsiteY490" fmla="*/ 370522 h 1112837"/>
              <a:gd name="connsiteX491" fmla="*/ 1138707 w 1336827"/>
              <a:gd name="connsiteY491" fmla="*/ 362584 h 1112837"/>
              <a:gd name="connsiteX492" fmla="*/ 1142517 w 1336827"/>
              <a:gd name="connsiteY492" fmla="*/ 362584 h 1112837"/>
              <a:gd name="connsiteX493" fmla="*/ 1140612 w 1336827"/>
              <a:gd name="connsiteY493" fmla="*/ 369252 h 1112837"/>
              <a:gd name="connsiteX494" fmla="*/ 1136802 w 1336827"/>
              <a:gd name="connsiteY494" fmla="*/ 367029 h 1112837"/>
              <a:gd name="connsiteX495" fmla="*/ 1138707 w 1336827"/>
              <a:gd name="connsiteY495" fmla="*/ 362584 h 1112837"/>
              <a:gd name="connsiteX496" fmla="*/ 1180723 w 1336827"/>
              <a:gd name="connsiteY496" fmla="*/ 352425 h 1112837"/>
              <a:gd name="connsiteX497" fmla="*/ 1182575 w 1336827"/>
              <a:gd name="connsiteY497" fmla="*/ 354479 h 1112837"/>
              <a:gd name="connsiteX498" fmla="*/ 1180723 w 1336827"/>
              <a:gd name="connsiteY498" fmla="*/ 368860 h 1112837"/>
              <a:gd name="connsiteX499" fmla="*/ 1182575 w 1336827"/>
              <a:gd name="connsiteY499" fmla="*/ 383241 h 1112837"/>
              <a:gd name="connsiteX500" fmla="*/ 1178871 w 1336827"/>
              <a:gd name="connsiteY500" fmla="*/ 383241 h 1112837"/>
              <a:gd name="connsiteX501" fmla="*/ 1173314 w 1336827"/>
              <a:gd name="connsiteY501" fmla="*/ 370915 h 1112837"/>
              <a:gd name="connsiteX502" fmla="*/ 1177018 w 1336827"/>
              <a:gd name="connsiteY502" fmla="*/ 356534 h 1112837"/>
              <a:gd name="connsiteX503" fmla="*/ 1180723 w 1336827"/>
              <a:gd name="connsiteY503" fmla="*/ 352425 h 1112837"/>
              <a:gd name="connsiteX504" fmla="*/ 1145193 w 1336827"/>
              <a:gd name="connsiteY504" fmla="*/ 346075 h 1112837"/>
              <a:gd name="connsiteX505" fmla="*/ 1148821 w 1336827"/>
              <a:gd name="connsiteY505" fmla="*/ 348192 h 1112837"/>
              <a:gd name="connsiteX506" fmla="*/ 1147007 w 1336827"/>
              <a:gd name="connsiteY506" fmla="*/ 354542 h 1112837"/>
              <a:gd name="connsiteX507" fmla="*/ 1148821 w 1336827"/>
              <a:gd name="connsiteY507" fmla="*/ 356658 h 1112837"/>
              <a:gd name="connsiteX508" fmla="*/ 1150636 w 1336827"/>
              <a:gd name="connsiteY508" fmla="*/ 358775 h 1112837"/>
              <a:gd name="connsiteX509" fmla="*/ 1152450 w 1336827"/>
              <a:gd name="connsiteY509" fmla="*/ 363008 h 1112837"/>
              <a:gd name="connsiteX510" fmla="*/ 1154264 w 1336827"/>
              <a:gd name="connsiteY510" fmla="*/ 369358 h 1112837"/>
              <a:gd name="connsiteX511" fmla="*/ 1150636 w 1336827"/>
              <a:gd name="connsiteY511" fmla="*/ 369358 h 1112837"/>
              <a:gd name="connsiteX512" fmla="*/ 1147007 w 1336827"/>
              <a:gd name="connsiteY512" fmla="*/ 363008 h 1112837"/>
              <a:gd name="connsiteX513" fmla="*/ 1145193 w 1336827"/>
              <a:gd name="connsiteY513" fmla="*/ 358775 h 1112837"/>
              <a:gd name="connsiteX514" fmla="*/ 1143378 w 1336827"/>
              <a:gd name="connsiteY514" fmla="*/ 352425 h 1112837"/>
              <a:gd name="connsiteX515" fmla="*/ 1141564 w 1336827"/>
              <a:gd name="connsiteY515" fmla="*/ 350308 h 1112837"/>
              <a:gd name="connsiteX516" fmla="*/ 1145193 w 1336827"/>
              <a:gd name="connsiteY516" fmla="*/ 346075 h 1112837"/>
              <a:gd name="connsiteX517" fmla="*/ 115673 w 1336827"/>
              <a:gd name="connsiteY517" fmla="*/ 312737 h 1112837"/>
              <a:gd name="connsiteX518" fmla="*/ 123732 w 1336827"/>
              <a:gd name="connsiteY518" fmla="*/ 314778 h 1112837"/>
              <a:gd name="connsiteX519" fmla="*/ 129777 w 1336827"/>
              <a:gd name="connsiteY519" fmla="*/ 316819 h 1112837"/>
              <a:gd name="connsiteX520" fmla="*/ 137837 w 1336827"/>
              <a:gd name="connsiteY520" fmla="*/ 320901 h 1112837"/>
              <a:gd name="connsiteX521" fmla="*/ 135822 w 1336827"/>
              <a:gd name="connsiteY521" fmla="*/ 327024 h 1112837"/>
              <a:gd name="connsiteX522" fmla="*/ 127762 w 1336827"/>
              <a:gd name="connsiteY522" fmla="*/ 324983 h 1112837"/>
              <a:gd name="connsiteX523" fmla="*/ 121718 w 1336827"/>
              <a:gd name="connsiteY523" fmla="*/ 324983 h 1112837"/>
              <a:gd name="connsiteX524" fmla="*/ 113658 w 1336827"/>
              <a:gd name="connsiteY524" fmla="*/ 322942 h 1112837"/>
              <a:gd name="connsiteX525" fmla="*/ 107613 w 1336827"/>
              <a:gd name="connsiteY525" fmla="*/ 322942 h 1112837"/>
              <a:gd name="connsiteX526" fmla="*/ 99553 w 1336827"/>
              <a:gd name="connsiteY526" fmla="*/ 322942 h 1112837"/>
              <a:gd name="connsiteX527" fmla="*/ 91494 w 1336827"/>
              <a:gd name="connsiteY527" fmla="*/ 322942 h 1112837"/>
              <a:gd name="connsiteX528" fmla="*/ 87464 w 1336827"/>
              <a:gd name="connsiteY528" fmla="*/ 318860 h 1112837"/>
              <a:gd name="connsiteX529" fmla="*/ 91494 w 1336827"/>
              <a:gd name="connsiteY529" fmla="*/ 314778 h 1112837"/>
              <a:gd name="connsiteX530" fmla="*/ 97538 w 1336827"/>
              <a:gd name="connsiteY530" fmla="*/ 314778 h 1112837"/>
              <a:gd name="connsiteX531" fmla="*/ 105598 w 1336827"/>
              <a:gd name="connsiteY531" fmla="*/ 314778 h 1112837"/>
              <a:gd name="connsiteX532" fmla="*/ 111643 w 1336827"/>
              <a:gd name="connsiteY532" fmla="*/ 314778 h 1112837"/>
              <a:gd name="connsiteX533" fmla="*/ 115673 w 1336827"/>
              <a:gd name="connsiteY533" fmla="*/ 312737 h 1112837"/>
              <a:gd name="connsiteX534" fmla="*/ 1152941 w 1336827"/>
              <a:gd name="connsiteY534" fmla="*/ 309562 h 1112837"/>
              <a:gd name="connsiteX535" fmla="*/ 1156646 w 1336827"/>
              <a:gd name="connsiteY535" fmla="*/ 309562 h 1112837"/>
              <a:gd name="connsiteX536" fmla="*/ 1162202 w 1336827"/>
              <a:gd name="connsiteY536" fmla="*/ 311149 h 1112837"/>
              <a:gd name="connsiteX537" fmla="*/ 1162202 w 1336827"/>
              <a:gd name="connsiteY537" fmla="*/ 314324 h 1112837"/>
              <a:gd name="connsiteX538" fmla="*/ 1156646 w 1336827"/>
              <a:gd name="connsiteY538" fmla="*/ 312737 h 1112837"/>
              <a:gd name="connsiteX539" fmla="*/ 1152941 w 1336827"/>
              <a:gd name="connsiteY539" fmla="*/ 312737 h 1112837"/>
              <a:gd name="connsiteX540" fmla="*/ 1152941 w 1336827"/>
              <a:gd name="connsiteY540" fmla="*/ 309562 h 1112837"/>
              <a:gd name="connsiteX541" fmla="*/ 1208920 w 1336827"/>
              <a:gd name="connsiteY541" fmla="*/ 292576 h 1112837"/>
              <a:gd name="connsiteX542" fmla="*/ 1213002 w 1336827"/>
              <a:gd name="connsiteY542" fmla="*/ 292576 h 1112837"/>
              <a:gd name="connsiteX543" fmla="*/ 1210961 w 1336827"/>
              <a:gd name="connsiteY543" fmla="*/ 300830 h 1112837"/>
              <a:gd name="connsiteX544" fmla="*/ 1206879 w 1336827"/>
              <a:gd name="connsiteY544" fmla="*/ 307022 h 1112837"/>
              <a:gd name="connsiteX545" fmla="*/ 1204838 w 1336827"/>
              <a:gd name="connsiteY545" fmla="*/ 309085 h 1112837"/>
              <a:gd name="connsiteX546" fmla="*/ 1198714 w 1336827"/>
              <a:gd name="connsiteY546" fmla="*/ 304958 h 1112837"/>
              <a:gd name="connsiteX547" fmla="*/ 1200755 w 1336827"/>
              <a:gd name="connsiteY547" fmla="*/ 302894 h 1112837"/>
              <a:gd name="connsiteX548" fmla="*/ 1204838 w 1336827"/>
              <a:gd name="connsiteY548" fmla="*/ 296703 h 1112837"/>
              <a:gd name="connsiteX549" fmla="*/ 1208920 w 1336827"/>
              <a:gd name="connsiteY549" fmla="*/ 292576 h 1112837"/>
              <a:gd name="connsiteX550" fmla="*/ 1170140 w 1336827"/>
              <a:gd name="connsiteY550" fmla="*/ 292100 h 1112837"/>
              <a:gd name="connsiteX551" fmla="*/ 1174108 w 1336827"/>
              <a:gd name="connsiteY551" fmla="*/ 294217 h 1112837"/>
              <a:gd name="connsiteX552" fmla="*/ 1178077 w 1336827"/>
              <a:gd name="connsiteY552" fmla="*/ 296333 h 1112837"/>
              <a:gd name="connsiteX553" fmla="*/ 1178077 w 1336827"/>
              <a:gd name="connsiteY553" fmla="*/ 298450 h 1112837"/>
              <a:gd name="connsiteX554" fmla="*/ 1168155 w 1336827"/>
              <a:gd name="connsiteY554" fmla="*/ 298450 h 1112837"/>
              <a:gd name="connsiteX555" fmla="*/ 1164187 w 1336827"/>
              <a:gd name="connsiteY555" fmla="*/ 296333 h 1112837"/>
              <a:gd name="connsiteX556" fmla="*/ 1164187 w 1336827"/>
              <a:gd name="connsiteY556" fmla="*/ 294217 h 1112837"/>
              <a:gd name="connsiteX557" fmla="*/ 1170140 w 1336827"/>
              <a:gd name="connsiteY557" fmla="*/ 292100 h 1112837"/>
              <a:gd name="connsiteX558" fmla="*/ 1164847 w 1336827"/>
              <a:gd name="connsiteY558" fmla="*/ 284162 h 1112837"/>
              <a:gd name="connsiteX559" fmla="*/ 1164847 w 1336827"/>
              <a:gd name="connsiteY559" fmla="*/ 288395 h 1112837"/>
              <a:gd name="connsiteX560" fmla="*/ 1162731 w 1336827"/>
              <a:gd name="connsiteY560" fmla="*/ 290512 h 1112837"/>
              <a:gd name="connsiteX561" fmla="*/ 1160614 w 1336827"/>
              <a:gd name="connsiteY561" fmla="*/ 286279 h 1112837"/>
              <a:gd name="connsiteX562" fmla="*/ 1164847 w 1336827"/>
              <a:gd name="connsiteY562" fmla="*/ 284162 h 1112837"/>
              <a:gd name="connsiteX563" fmla="*/ 1180458 w 1336827"/>
              <a:gd name="connsiteY563" fmla="*/ 280987 h 1112837"/>
              <a:gd name="connsiteX564" fmla="*/ 1184427 w 1336827"/>
              <a:gd name="connsiteY564" fmla="*/ 284955 h 1112837"/>
              <a:gd name="connsiteX565" fmla="*/ 1182443 w 1336827"/>
              <a:gd name="connsiteY565" fmla="*/ 288924 h 1112837"/>
              <a:gd name="connsiteX566" fmla="*/ 1178474 w 1336827"/>
              <a:gd name="connsiteY566" fmla="*/ 288924 h 1112837"/>
              <a:gd name="connsiteX567" fmla="*/ 1176489 w 1336827"/>
              <a:gd name="connsiteY567" fmla="*/ 284955 h 1112837"/>
              <a:gd name="connsiteX568" fmla="*/ 1176489 w 1336827"/>
              <a:gd name="connsiteY568" fmla="*/ 282971 h 1112837"/>
              <a:gd name="connsiteX569" fmla="*/ 1180458 w 1336827"/>
              <a:gd name="connsiteY569" fmla="*/ 280987 h 1112837"/>
              <a:gd name="connsiteX570" fmla="*/ 1174372 w 1336827"/>
              <a:gd name="connsiteY570" fmla="*/ 279400 h 1112837"/>
              <a:gd name="connsiteX571" fmla="*/ 1176489 w 1336827"/>
              <a:gd name="connsiteY571" fmla="*/ 282575 h 1112837"/>
              <a:gd name="connsiteX572" fmla="*/ 1174372 w 1336827"/>
              <a:gd name="connsiteY572" fmla="*/ 284162 h 1112837"/>
              <a:gd name="connsiteX573" fmla="*/ 1170139 w 1336827"/>
              <a:gd name="connsiteY573" fmla="*/ 282575 h 1112837"/>
              <a:gd name="connsiteX574" fmla="*/ 1174372 w 1336827"/>
              <a:gd name="connsiteY574" fmla="*/ 279400 h 1112837"/>
              <a:gd name="connsiteX575" fmla="*/ 1148709 w 1336827"/>
              <a:gd name="connsiteY575" fmla="*/ 274637 h 1112837"/>
              <a:gd name="connsiteX576" fmla="*/ 1154265 w 1336827"/>
              <a:gd name="connsiteY576" fmla="*/ 278605 h 1112837"/>
              <a:gd name="connsiteX577" fmla="*/ 1154265 w 1336827"/>
              <a:gd name="connsiteY577" fmla="*/ 280590 h 1112837"/>
              <a:gd name="connsiteX578" fmla="*/ 1154265 w 1336827"/>
              <a:gd name="connsiteY578" fmla="*/ 282574 h 1112837"/>
              <a:gd name="connsiteX579" fmla="*/ 1150561 w 1336827"/>
              <a:gd name="connsiteY579" fmla="*/ 280590 h 1112837"/>
              <a:gd name="connsiteX580" fmla="*/ 1145004 w 1336827"/>
              <a:gd name="connsiteY580" fmla="*/ 280590 h 1112837"/>
              <a:gd name="connsiteX581" fmla="*/ 1143152 w 1336827"/>
              <a:gd name="connsiteY581" fmla="*/ 278605 h 1112837"/>
              <a:gd name="connsiteX582" fmla="*/ 1146856 w 1336827"/>
              <a:gd name="connsiteY582" fmla="*/ 276621 h 1112837"/>
              <a:gd name="connsiteX583" fmla="*/ 1148709 w 1336827"/>
              <a:gd name="connsiteY583" fmla="*/ 274637 h 1112837"/>
              <a:gd name="connsiteX584" fmla="*/ 1180617 w 1336827"/>
              <a:gd name="connsiteY584" fmla="*/ 270271 h 1112837"/>
              <a:gd name="connsiteX585" fmla="*/ 1184427 w 1336827"/>
              <a:gd name="connsiteY585" fmla="*/ 270271 h 1112837"/>
              <a:gd name="connsiteX586" fmla="*/ 1182522 w 1336827"/>
              <a:gd name="connsiteY586" fmla="*/ 276224 h 1112837"/>
              <a:gd name="connsiteX587" fmla="*/ 1178712 w 1336827"/>
              <a:gd name="connsiteY587" fmla="*/ 276224 h 1112837"/>
              <a:gd name="connsiteX588" fmla="*/ 1176807 w 1336827"/>
              <a:gd name="connsiteY588" fmla="*/ 276224 h 1112837"/>
              <a:gd name="connsiteX589" fmla="*/ 1176807 w 1336827"/>
              <a:gd name="connsiteY589" fmla="*/ 272255 h 1112837"/>
              <a:gd name="connsiteX590" fmla="*/ 1180617 w 1336827"/>
              <a:gd name="connsiteY590" fmla="*/ 270271 h 1112837"/>
              <a:gd name="connsiteX591" fmla="*/ 1166171 w 1336827"/>
              <a:gd name="connsiteY591" fmla="*/ 267096 h 1112837"/>
              <a:gd name="connsiteX592" fmla="*/ 1168156 w 1336827"/>
              <a:gd name="connsiteY592" fmla="*/ 271065 h 1112837"/>
              <a:gd name="connsiteX593" fmla="*/ 1168156 w 1336827"/>
              <a:gd name="connsiteY593" fmla="*/ 273049 h 1112837"/>
              <a:gd name="connsiteX594" fmla="*/ 1162202 w 1336827"/>
              <a:gd name="connsiteY594" fmla="*/ 273049 h 1112837"/>
              <a:gd name="connsiteX595" fmla="*/ 1164187 w 1336827"/>
              <a:gd name="connsiteY595" fmla="*/ 269080 h 1112837"/>
              <a:gd name="connsiteX596" fmla="*/ 1166171 w 1336827"/>
              <a:gd name="connsiteY596" fmla="*/ 267096 h 1112837"/>
              <a:gd name="connsiteX597" fmla="*/ 1174902 w 1336827"/>
              <a:gd name="connsiteY597" fmla="*/ 265112 h 1112837"/>
              <a:gd name="connsiteX598" fmla="*/ 1176489 w 1336827"/>
              <a:gd name="connsiteY598" fmla="*/ 267017 h 1112837"/>
              <a:gd name="connsiteX599" fmla="*/ 1173314 w 1336827"/>
              <a:gd name="connsiteY599" fmla="*/ 268922 h 1112837"/>
              <a:gd name="connsiteX600" fmla="*/ 1174902 w 1336827"/>
              <a:gd name="connsiteY600" fmla="*/ 265112 h 1112837"/>
              <a:gd name="connsiteX601" fmla="*/ 1178474 w 1336827"/>
              <a:gd name="connsiteY601" fmla="*/ 263525 h 1112837"/>
              <a:gd name="connsiteX602" fmla="*/ 1182443 w 1336827"/>
              <a:gd name="connsiteY602" fmla="*/ 265112 h 1112837"/>
              <a:gd name="connsiteX603" fmla="*/ 1176489 w 1336827"/>
              <a:gd name="connsiteY603" fmla="*/ 265112 h 1112837"/>
              <a:gd name="connsiteX604" fmla="*/ 1178474 w 1336827"/>
              <a:gd name="connsiteY604" fmla="*/ 263525 h 1112837"/>
              <a:gd name="connsiteX605" fmla="*/ 1198079 w 1336827"/>
              <a:gd name="connsiteY605" fmla="*/ 250825 h 1112837"/>
              <a:gd name="connsiteX606" fmla="*/ 1199984 w 1336827"/>
              <a:gd name="connsiteY606" fmla="*/ 255058 h 1112837"/>
              <a:gd name="connsiteX607" fmla="*/ 1192364 w 1336827"/>
              <a:gd name="connsiteY607" fmla="*/ 257175 h 1112837"/>
              <a:gd name="connsiteX608" fmla="*/ 1198079 w 1336827"/>
              <a:gd name="connsiteY608" fmla="*/ 250825 h 1112837"/>
              <a:gd name="connsiteX609" fmla="*/ 1201096 w 1336827"/>
              <a:gd name="connsiteY609" fmla="*/ 242887 h 1112837"/>
              <a:gd name="connsiteX610" fmla="*/ 1203081 w 1336827"/>
              <a:gd name="connsiteY610" fmla="*/ 244871 h 1112837"/>
              <a:gd name="connsiteX611" fmla="*/ 1199112 w 1336827"/>
              <a:gd name="connsiteY611" fmla="*/ 246855 h 1112837"/>
              <a:gd name="connsiteX612" fmla="*/ 1201096 w 1336827"/>
              <a:gd name="connsiteY612" fmla="*/ 242887 h 1112837"/>
              <a:gd name="connsiteX613" fmla="*/ 1177283 w 1336827"/>
              <a:gd name="connsiteY613" fmla="*/ 242887 h 1112837"/>
              <a:gd name="connsiteX614" fmla="*/ 1181252 w 1336827"/>
              <a:gd name="connsiteY614" fmla="*/ 246855 h 1112837"/>
              <a:gd name="connsiteX615" fmla="*/ 1175299 w 1336827"/>
              <a:gd name="connsiteY615" fmla="*/ 250824 h 1112837"/>
              <a:gd name="connsiteX616" fmla="*/ 1173314 w 1336827"/>
              <a:gd name="connsiteY616" fmla="*/ 246855 h 1112837"/>
              <a:gd name="connsiteX617" fmla="*/ 1177283 w 1336827"/>
              <a:gd name="connsiteY617" fmla="*/ 242887 h 1112837"/>
              <a:gd name="connsiteX618" fmla="*/ 1208013 w 1336827"/>
              <a:gd name="connsiteY618" fmla="*/ 222779 h 1112837"/>
              <a:gd name="connsiteX619" fmla="*/ 1212095 w 1336827"/>
              <a:gd name="connsiteY619" fmla="*/ 222779 h 1112837"/>
              <a:gd name="connsiteX620" fmla="*/ 1216177 w 1336827"/>
              <a:gd name="connsiteY620" fmla="*/ 231245 h 1112837"/>
              <a:gd name="connsiteX621" fmla="*/ 1214136 w 1336827"/>
              <a:gd name="connsiteY621" fmla="*/ 235479 h 1112837"/>
              <a:gd name="connsiteX622" fmla="*/ 1203930 w 1336827"/>
              <a:gd name="connsiteY622" fmla="*/ 233362 h 1112837"/>
              <a:gd name="connsiteX623" fmla="*/ 1208013 w 1336827"/>
              <a:gd name="connsiteY623" fmla="*/ 229129 h 1112837"/>
              <a:gd name="connsiteX624" fmla="*/ 1208013 w 1336827"/>
              <a:gd name="connsiteY624" fmla="*/ 222779 h 1112837"/>
              <a:gd name="connsiteX625" fmla="*/ 1188509 w 1336827"/>
              <a:gd name="connsiteY625" fmla="*/ 83079 h 1112837"/>
              <a:gd name="connsiteX626" fmla="*/ 1192138 w 1336827"/>
              <a:gd name="connsiteY626" fmla="*/ 87312 h 1112837"/>
              <a:gd name="connsiteX627" fmla="*/ 1186695 w 1336827"/>
              <a:gd name="connsiteY627" fmla="*/ 95779 h 1112837"/>
              <a:gd name="connsiteX628" fmla="*/ 1183066 w 1336827"/>
              <a:gd name="connsiteY628" fmla="*/ 85195 h 1112837"/>
              <a:gd name="connsiteX629" fmla="*/ 1188509 w 1336827"/>
              <a:gd name="connsiteY629" fmla="*/ 83079 h 1112837"/>
              <a:gd name="connsiteX630" fmla="*/ 1145106 w 1336827"/>
              <a:gd name="connsiteY630" fmla="*/ 63500 h 1112837"/>
              <a:gd name="connsiteX631" fmla="*/ 1150968 w 1336827"/>
              <a:gd name="connsiteY631" fmla="*/ 63500 h 1112837"/>
              <a:gd name="connsiteX632" fmla="*/ 1154875 w 1336827"/>
              <a:gd name="connsiteY632" fmla="*/ 71437 h 1112837"/>
              <a:gd name="connsiteX633" fmla="*/ 1162691 w 1336827"/>
              <a:gd name="connsiteY633" fmla="*/ 75406 h 1112837"/>
              <a:gd name="connsiteX634" fmla="*/ 1168552 w 1336827"/>
              <a:gd name="connsiteY634" fmla="*/ 81359 h 1112837"/>
              <a:gd name="connsiteX635" fmla="*/ 1166598 w 1336827"/>
              <a:gd name="connsiteY635" fmla="*/ 85328 h 1112837"/>
              <a:gd name="connsiteX636" fmla="*/ 1150968 w 1336827"/>
              <a:gd name="connsiteY636" fmla="*/ 77390 h 1112837"/>
              <a:gd name="connsiteX637" fmla="*/ 1147060 w 1336827"/>
              <a:gd name="connsiteY637" fmla="*/ 71437 h 1112837"/>
              <a:gd name="connsiteX638" fmla="*/ 1145106 w 1336827"/>
              <a:gd name="connsiteY638" fmla="*/ 65484 h 1112837"/>
              <a:gd name="connsiteX639" fmla="*/ 1145106 w 1336827"/>
              <a:gd name="connsiteY639" fmla="*/ 63500 h 1112837"/>
              <a:gd name="connsiteX640" fmla="*/ 1177283 w 1336827"/>
              <a:gd name="connsiteY640" fmla="*/ 60801 h 1112837"/>
              <a:gd name="connsiteX641" fmla="*/ 1181252 w 1336827"/>
              <a:gd name="connsiteY641" fmla="*/ 69055 h 1112837"/>
              <a:gd name="connsiteX642" fmla="*/ 1185220 w 1336827"/>
              <a:gd name="connsiteY642" fmla="*/ 73183 h 1112837"/>
              <a:gd name="connsiteX643" fmla="*/ 1189189 w 1336827"/>
              <a:gd name="connsiteY643" fmla="*/ 77310 h 1112837"/>
              <a:gd name="connsiteX644" fmla="*/ 1179267 w 1336827"/>
              <a:gd name="connsiteY644" fmla="*/ 75247 h 1112837"/>
              <a:gd name="connsiteX645" fmla="*/ 1175299 w 1336827"/>
              <a:gd name="connsiteY645" fmla="*/ 69055 h 1112837"/>
              <a:gd name="connsiteX646" fmla="*/ 1173314 w 1336827"/>
              <a:gd name="connsiteY646" fmla="*/ 62864 h 1112837"/>
              <a:gd name="connsiteX647" fmla="*/ 1177283 w 1336827"/>
              <a:gd name="connsiteY647" fmla="*/ 60801 h 1112837"/>
              <a:gd name="connsiteX648" fmla="*/ 570064 w 1336827"/>
              <a:gd name="connsiteY648" fmla="*/ 55562 h 1112837"/>
              <a:gd name="connsiteX649" fmla="*/ 576188 w 1336827"/>
              <a:gd name="connsiteY649" fmla="*/ 55562 h 1112837"/>
              <a:gd name="connsiteX650" fmla="*/ 580270 w 1336827"/>
              <a:gd name="connsiteY650" fmla="*/ 59530 h 1112837"/>
              <a:gd name="connsiteX651" fmla="*/ 582311 w 1336827"/>
              <a:gd name="connsiteY651" fmla="*/ 61515 h 1112837"/>
              <a:gd name="connsiteX652" fmla="*/ 576188 w 1336827"/>
              <a:gd name="connsiteY652" fmla="*/ 63499 h 1112837"/>
              <a:gd name="connsiteX653" fmla="*/ 572105 w 1336827"/>
              <a:gd name="connsiteY653" fmla="*/ 59530 h 1112837"/>
              <a:gd name="connsiteX654" fmla="*/ 570064 w 1336827"/>
              <a:gd name="connsiteY654" fmla="*/ 55562 h 1112837"/>
              <a:gd name="connsiteX655" fmla="*/ 456232 w 1336827"/>
              <a:gd name="connsiteY655" fmla="*/ 50800 h 1112837"/>
              <a:gd name="connsiteX656" fmla="*/ 466504 w 1336827"/>
              <a:gd name="connsiteY656" fmla="*/ 54952 h 1112837"/>
              <a:gd name="connsiteX657" fmla="*/ 474721 w 1336827"/>
              <a:gd name="connsiteY657" fmla="*/ 63255 h 1112837"/>
              <a:gd name="connsiteX658" fmla="*/ 478830 w 1336827"/>
              <a:gd name="connsiteY658" fmla="*/ 65331 h 1112837"/>
              <a:gd name="connsiteX659" fmla="*/ 484993 w 1336827"/>
              <a:gd name="connsiteY659" fmla="*/ 65331 h 1112837"/>
              <a:gd name="connsiteX660" fmla="*/ 489102 w 1336827"/>
              <a:gd name="connsiteY660" fmla="*/ 73635 h 1112837"/>
              <a:gd name="connsiteX661" fmla="*/ 487048 w 1336827"/>
              <a:gd name="connsiteY661" fmla="*/ 77787 h 1112837"/>
              <a:gd name="connsiteX662" fmla="*/ 476776 w 1336827"/>
              <a:gd name="connsiteY662" fmla="*/ 75711 h 1112837"/>
              <a:gd name="connsiteX663" fmla="*/ 468558 w 1336827"/>
              <a:gd name="connsiteY663" fmla="*/ 69483 h 1112837"/>
              <a:gd name="connsiteX664" fmla="*/ 462395 w 1336827"/>
              <a:gd name="connsiteY664" fmla="*/ 67407 h 1112837"/>
              <a:gd name="connsiteX665" fmla="*/ 458286 w 1336827"/>
              <a:gd name="connsiteY665" fmla="*/ 65331 h 1112837"/>
              <a:gd name="connsiteX666" fmla="*/ 456232 w 1336827"/>
              <a:gd name="connsiteY666" fmla="*/ 57028 h 1112837"/>
              <a:gd name="connsiteX667" fmla="*/ 456232 w 1336827"/>
              <a:gd name="connsiteY667" fmla="*/ 50800 h 1112837"/>
              <a:gd name="connsiteX668" fmla="*/ 594441 w 1336827"/>
              <a:gd name="connsiteY668" fmla="*/ 41275 h 1112837"/>
              <a:gd name="connsiteX669" fmla="*/ 602429 w 1336827"/>
              <a:gd name="connsiteY669" fmla="*/ 43329 h 1112837"/>
              <a:gd name="connsiteX670" fmla="*/ 608421 w 1336827"/>
              <a:gd name="connsiteY670" fmla="*/ 47438 h 1112837"/>
              <a:gd name="connsiteX671" fmla="*/ 616410 w 1336827"/>
              <a:gd name="connsiteY671" fmla="*/ 49493 h 1112837"/>
              <a:gd name="connsiteX672" fmla="*/ 622401 w 1336827"/>
              <a:gd name="connsiteY672" fmla="*/ 51547 h 1112837"/>
              <a:gd name="connsiteX673" fmla="*/ 628393 w 1336827"/>
              <a:gd name="connsiteY673" fmla="*/ 53601 h 1112837"/>
              <a:gd name="connsiteX674" fmla="*/ 628393 w 1336827"/>
              <a:gd name="connsiteY674" fmla="*/ 57710 h 1112837"/>
              <a:gd name="connsiteX675" fmla="*/ 620404 w 1336827"/>
              <a:gd name="connsiteY675" fmla="*/ 57710 h 1112837"/>
              <a:gd name="connsiteX676" fmla="*/ 618407 w 1336827"/>
              <a:gd name="connsiteY676" fmla="*/ 61819 h 1112837"/>
              <a:gd name="connsiteX677" fmla="*/ 622401 w 1336827"/>
              <a:gd name="connsiteY677" fmla="*/ 67982 h 1112837"/>
              <a:gd name="connsiteX678" fmla="*/ 620404 w 1336827"/>
              <a:gd name="connsiteY678" fmla="*/ 76200 h 1112837"/>
              <a:gd name="connsiteX679" fmla="*/ 614413 w 1336827"/>
              <a:gd name="connsiteY679" fmla="*/ 74146 h 1112837"/>
              <a:gd name="connsiteX680" fmla="*/ 600432 w 1336827"/>
              <a:gd name="connsiteY680" fmla="*/ 63873 h 1112837"/>
              <a:gd name="connsiteX681" fmla="*/ 592443 w 1336827"/>
              <a:gd name="connsiteY681" fmla="*/ 61819 h 1112837"/>
              <a:gd name="connsiteX682" fmla="*/ 590446 w 1336827"/>
              <a:gd name="connsiteY682" fmla="*/ 59765 h 1112837"/>
              <a:gd name="connsiteX683" fmla="*/ 586452 w 1336827"/>
              <a:gd name="connsiteY683" fmla="*/ 57710 h 1112837"/>
              <a:gd name="connsiteX684" fmla="*/ 580460 w 1336827"/>
              <a:gd name="connsiteY684" fmla="*/ 57710 h 1112837"/>
              <a:gd name="connsiteX685" fmla="*/ 578463 w 1336827"/>
              <a:gd name="connsiteY685" fmla="*/ 53601 h 1112837"/>
              <a:gd name="connsiteX686" fmla="*/ 574469 w 1336827"/>
              <a:gd name="connsiteY686" fmla="*/ 49493 h 1112837"/>
              <a:gd name="connsiteX687" fmla="*/ 570474 w 1336827"/>
              <a:gd name="connsiteY687" fmla="*/ 49493 h 1112837"/>
              <a:gd name="connsiteX688" fmla="*/ 570474 w 1336827"/>
              <a:gd name="connsiteY688" fmla="*/ 45384 h 1112837"/>
              <a:gd name="connsiteX689" fmla="*/ 574469 w 1336827"/>
              <a:gd name="connsiteY689" fmla="*/ 43329 h 1112837"/>
              <a:gd name="connsiteX690" fmla="*/ 580460 w 1336827"/>
              <a:gd name="connsiteY690" fmla="*/ 45384 h 1112837"/>
              <a:gd name="connsiteX691" fmla="*/ 588449 w 1336827"/>
              <a:gd name="connsiteY691" fmla="*/ 43329 h 1112837"/>
              <a:gd name="connsiteX692" fmla="*/ 594441 w 1336827"/>
              <a:gd name="connsiteY692" fmla="*/ 41275 h 1112837"/>
              <a:gd name="connsiteX693" fmla="*/ 694287 w 1336827"/>
              <a:gd name="connsiteY693" fmla="*/ 33337 h 1112837"/>
              <a:gd name="connsiteX694" fmla="*/ 700240 w 1336827"/>
              <a:gd name="connsiteY694" fmla="*/ 35718 h 1112837"/>
              <a:gd name="connsiteX695" fmla="*/ 698256 w 1336827"/>
              <a:gd name="connsiteY695" fmla="*/ 38099 h 1112837"/>
              <a:gd name="connsiteX696" fmla="*/ 694287 w 1336827"/>
              <a:gd name="connsiteY696" fmla="*/ 35718 h 1112837"/>
              <a:gd name="connsiteX697" fmla="*/ 694287 w 1336827"/>
              <a:gd name="connsiteY697" fmla="*/ 33337 h 1112837"/>
              <a:gd name="connsiteX698" fmla="*/ 768414 w 1336827"/>
              <a:gd name="connsiteY698" fmla="*/ 0 h 1112837"/>
              <a:gd name="connsiteX699" fmla="*/ 788359 w 1336827"/>
              <a:gd name="connsiteY699" fmla="*/ 0 h 1112837"/>
              <a:gd name="connsiteX700" fmla="*/ 792348 w 1336827"/>
              <a:gd name="connsiteY700" fmla="*/ 3989 h 1112837"/>
              <a:gd name="connsiteX701" fmla="*/ 798331 w 1336827"/>
              <a:gd name="connsiteY701" fmla="*/ 5983 h 1112837"/>
              <a:gd name="connsiteX702" fmla="*/ 798331 w 1336827"/>
              <a:gd name="connsiteY702" fmla="*/ 0 h 1112837"/>
              <a:gd name="connsiteX703" fmla="*/ 1033674 w 1336827"/>
              <a:gd name="connsiteY703" fmla="*/ 0 h 1112837"/>
              <a:gd name="connsiteX704" fmla="*/ 1035668 w 1336827"/>
              <a:gd name="connsiteY704" fmla="*/ 3989 h 1112837"/>
              <a:gd name="connsiteX705" fmla="*/ 1033674 w 1336827"/>
              <a:gd name="connsiteY705" fmla="*/ 7977 h 1112837"/>
              <a:gd name="connsiteX706" fmla="*/ 1029685 w 1336827"/>
              <a:gd name="connsiteY706" fmla="*/ 9972 h 1112837"/>
              <a:gd name="connsiteX707" fmla="*/ 1023702 w 1336827"/>
              <a:gd name="connsiteY707" fmla="*/ 9972 h 1112837"/>
              <a:gd name="connsiteX708" fmla="*/ 1017718 w 1336827"/>
              <a:gd name="connsiteY708" fmla="*/ 9972 h 1112837"/>
              <a:gd name="connsiteX709" fmla="*/ 1007746 w 1336827"/>
              <a:gd name="connsiteY709" fmla="*/ 9972 h 1112837"/>
              <a:gd name="connsiteX710" fmla="*/ 999768 w 1336827"/>
              <a:gd name="connsiteY710" fmla="*/ 9972 h 1112837"/>
              <a:gd name="connsiteX711" fmla="*/ 989796 w 1336827"/>
              <a:gd name="connsiteY711" fmla="*/ 9972 h 1112837"/>
              <a:gd name="connsiteX712" fmla="*/ 981818 w 1336827"/>
              <a:gd name="connsiteY712" fmla="*/ 9972 h 1112837"/>
              <a:gd name="connsiteX713" fmla="*/ 969852 w 1336827"/>
              <a:gd name="connsiteY713" fmla="*/ 9972 h 1112837"/>
              <a:gd name="connsiteX714" fmla="*/ 955891 w 1336827"/>
              <a:gd name="connsiteY714" fmla="*/ 5983 h 1112837"/>
              <a:gd name="connsiteX715" fmla="*/ 939935 w 1336827"/>
              <a:gd name="connsiteY715" fmla="*/ 3989 h 1112837"/>
              <a:gd name="connsiteX716" fmla="*/ 927969 w 1336827"/>
              <a:gd name="connsiteY716" fmla="*/ 3989 h 1112837"/>
              <a:gd name="connsiteX717" fmla="*/ 919991 w 1336827"/>
              <a:gd name="connsiteY717" fmla="*/ 5983 h 1112837"/>
              <a:gd name="connsiteX718" fmla="*/ 902041 w 1336827"/>
              <a:gd name="connsiteY718" fmla="*/ 11966 h 1112837"/>
              <a:gd name="connsiteX719" fmla="*/ 886086 w 1336827"/>
              <a:gd name="connsiteY719" fmla="*/ 17949 h 1112837"/>
              <a:gd name="connsiteX720" fmla="*/ 874119 w 1336827"/>
              <a:gd name="connsiteY720" fmla="*/ 15955 h 1112837"/>
              <a:gd name="connsiteX721" fmla="*/ 866142 w 1336827"/>
              <a:gd name="connsiteY721" fmla="*/ 9972 h 1112837"/>
              <a:gd name="connsiteX722" fmla="*/ 868136 w 1336827"/>
              <a:gd name="connsiteY722" fmla="*/ 15955 h 1112837"/>
              <a:gd name="connsiteX723" fmla="*/ 872125 w 1336827"/>
              <a:gd name="connsiteY723" fmla="*/ 19943 h 1112837"/>
              <a:gd name="connsiteX724" fmla="*/ 866142 w 1336827"/>
              <a:gd name="connsiteY724" fmla="*/ 21938 h 1112837"/>
              <a:gd name="connsiteX725" fmla="*/ 856169 w 1336827"/>
              <a:gd name="connsiteY725" fmla="*/ 23932 h 1112837"/>
              <a:gd name="connsiteX726" fmla="*/ 846197 w 1336827"/>
              <a:gd name="connsiteY726" fmla="*/ 23932 h 1112837"/>
              <a:gd name="connsiteX727" fmla="*/ 834231 w 1336827"/>
              <a:gd name="connsiteY727" fmla="*/ 23932 h 1112837"/>
              <a:gd name="connsiteX728" fmla="*/ 824258 w 1336827"/>
              <a:gd name="connsiteY728" fmla="*/ 27921 h 1112837"/>
              <a:gd name="connsiteX729" fmla="*/ 816281 w 1336827"/>
              <a:gd name="connsiteY729" fmla="*/ 27921 h 1112837"/>
              <a:gd name="connsiteX730" fmla="*/ 818275 w 1336827"/>
              <a:gd name="connsiteY730" fmla="*/ 37892 h 1112837"/>
              <a:gd name="connsiteX731" fmla="*/ 820270 w 1336827"/>
              <a:gd name="connsiteY731" fmla="*/ 43875 h 1112837"/>
              <a:gd name="connsiteX732" fmla="*/ 824258 w 1336827"/>
              <a:gd name="connsiteY732" fmla="*/ 35898 h 1112837"/>
              <a:gd name="connsiteX733" fmla="*/ 832236 w 1336827"/>
              <a:gd name="connsiteY733" fmla="*/ 29915 h 1112837"/>
              <a:gd name="connsiteX734" fmla="*/ 848192 w 1336827"/>
              <a:gd name="connsiteY734" fmla="*/ 29915 h 1112837"/>
              <a:gd name="connsiteX735" fmla="*/ 856169 w 1336827"/>
              <a:gd name="connsiteY735" fmla="*/ 33904 h 1112837"/>
              <a:gd name="connsiteX736" fmla="*/ 862153 w 1336827"/>
              <a:gd name="connsiteY736" fmla="*/ 35898 h 1112837"/>
              <a:gd name="connsiteX737" fmla="*/ 862153 w 1336827"/>
              <a:gd name="connsiteY737" fmla="*/ 29915 h 1112837"/>
              <a:gd name="connsiteX738" fmla="*/ 872125 w 1336827"/>
              <a:gd name="connsiteY738" fmla="*/ 29915 h 1112837"/>
              <a:gd name="connsiteX739" fmla="*/ 882097 w 1336827"/>
              <a:gd name="connsiteY739" fmla="*/ 25926 h 1112837"/>
              <a:gd name="connsiteX740" fmla="*/ 892069 w 1336827"/>
              <a:gd name="connsiteY740" fmla="*/ 21938 h 1112837"/>
              <a:gd name="connsiteX741" fmla="*/ 896058 w 1336827"/>
              <a:gd name="connsiteY741" fmla="*/ 25926 h 1112837"/>
              <a:gd name="connsiteX742" fmla="*/ 900047 w 1336827"/>
              <a:gd name="connsiteY742" fmla="*/ 29915 h 1112837"/>
              <a:gd name="connsiteX743" fmla="*/ 904036 w 1336827"/>
              <a:gd name="connsiteY743" fmla="*/ 19943 h 1112837"/>
              <a:gd name="connsiteX744" fmla="*/ 910019 w 1336827"/>
              <a:gd name="connsiteY744" fmla="*/ 15955 h 1112837"/>
              <a:gd name="connsiteX745" fmla="*/ 917997 w 1336827"/>
              <a:gd name="connsiteY745" fmla="*/ 13960 h 1112837"/>
              <a:gd name="connsiteX746" fmla="*/ 923980 w 1336827"/>
              <a:gd name="connsiteY746" fmla="*/ 17949 h 1112837"/>
              <a:gd name="connsiteX747" fmla="*/ 933952 w 1336827"/>
              <a:gd name="connsiteY747" fmla="*/ 15955 h 1112837"/>
              <a:gd name="connsiteX748" fmla="*/ 943924 w 1336827"/>
              <a:gd name="connsiteY748" fmla="*/ 15955 h 1112837"/>
              <a:gd name="connsiteX749" fmla="*/ 951902 w 1336827"/>
              <a:gd name="connsiteY749" fmla="*/ 15955 h 1112837"/>
              <a:gd name="connsiteX750" fmla="*/ 963869 w 1336827"/>
              <a:gd name="connsiteY750" fmla="*/ 13960 h 1112837"/>
              <a:gd name="connsiteX751" fmla="*/ 973841 w 1336827"/>
              <a:gd name="connsiteY751" fmla="*/ 19943 h 1112837"/>
              <a:gd name="connsiteX752" fmla="*/ 981818 w 1336827"/>
              <a:gd name="connsiteY752" fmla="*/ 19943 h 1112837"/>
              <a:gd name="connsiteX753" fmla="*/ 997774 w 1336827"/>
              <a:gd name="connsiteY753" fmla="*/ 17949 h 1112837"/>
              <a:gd name="connsiteX754" fmla="*/ 1021707 w 1336827"/>
              <a:gd name="connsiteY754" fmla="*/ 17949 h 1112837"/>
              <a:gd name="connsiteX755" fmla="*/ 1029685 w 1336827"/>
              <a:gd name="connsiteY755" fmla="*/ 15955 h 1112837"/>
              <a:gd name="connsiteX756" fmla="*/ 1041651 w 1336827"/>
              <a:gd name="connsiteY756" fmla="*/ 9972 h 1112837"/>
              <a:gd name="connsiteX757" fmla="*/ 1051624 w 1336827"/>
              <a:gd name="connsiteY757" fmla="*/ 9972 h 1112837"/>
              <a:gd name="connsiteX758" fmla="*/ 1053618 w 1336827"/>
              <a:gd name="connsiteY758" fmla="*/ 19943 h 1112837"/>
              <a:gd name="connsiteX759" fmla="*/ 1057607 w 1336827"/>
              <a:gd name="connsiteY759" fmla="*/ 23932 h 1112837"/>
              <a:gd name="connsiteX760" fmla="*/ 1049629 w 1336827"/>
              <a:gd name="connsiteY760" fmla="*/ 25926 h 1112837"/>
              <a:gd name="connsiteX761" fmla="*/ 1047635 w 1336827"/>
              <a:gd name="connsiteY761" fmla="*/ 31909 h 1112837"/>
              <a:gd name="connsiteX762" fmla="*/ 1041651 w 1336827"/>
              <a:gd name="connsiteY762" fmla="*/ 35898 h 1112837"/>
              <a:gd name="connsiteX763" fmla="*/ 1049629 w 1336827"/>
              <a:gd name="connsiteY763" fmla="*/ 37892 h 1112837"/>
              <a:gd name="connsiteX764" fmla="*/ 1059601 w 1336827"/>
              <a:gd name="connsiteY764" fmla="*/ 29915 h 1112837"/>
              <a:gd name="connsiteX765" fmla="*/ 1067579 w 1336827"/>
              <a:gd name="connsiteY765" fmla="*/ 31909 h 1112837"/>
              <a:gd name="connsiteX766" fmla="*/ 1071568 w 1336827"/>
              <a:gd name="connsiteY766" fmla="*/ 27921 h 1112837"/>
              <a:gd name="connsiteX767" fmla="*/ 1077551 w 1336827"/>
              <a:gd name="connsiteY767" fmla="*/ 29915 h 1112837"/>
              <a:gd name="connsiteX768" fmla="*/ 1083534 w 1336827"/>
              <a:gd name="connsiteY768" fmla="*/ 29915 h 1112837"/>
              <a:gd name="connsiteX769" fmla="*/ 1087523 w 1336827"/>
              <a:gd name="connsiteY769" fmla="*/ 25926 h 1112837"/>
              <a:gd name="connsiteX770" fmla="*/ 1093507 w 1336827"/>
              <a:gd name="connsiteY770" fmla="*/ 27921 h 1112837"/>
              <a:gd name="connsiteX771" fmla="*/ 1101484 w 1336827"/>
              <a:gd name="connsiteY771" fmla="*/ 31909 h 1112837"/>
              <a:gd name="connsiteX772" fmla="*/ 1107468 w 1336827"/>
              <a:gd name="connsiteY772" fmla="*/ 31909 h 1112837"/>
              <a:gd name="connsiteX773" fmla="*/ 1113451 w 1336827"/>
              <a:gd name="connsiteY773" fmla="*/ 31909 h 1112837"/>
              <a:gd name="connsiteX774" fmla="*/ 1115445 w 1336827"/>
              <a:gd name="connsiteY774" fmla="*/ 27921 h 1112837"/>
              <a:gd name="connsiteX775" fmla="*/ 1121429 w 1336827"/>
              <a:gd name="connsiteY775" fmla="*/ 31909 h 1112837"/>
              <a:gd name="connsiteX776" fmla="*/ 1127412 w 1336827"/>
              <a:gd name="connsiteY776" fmla="*/ 33904 h 1112837"/>
              <a:gd name="connsiteX777" fmla="*/ 1135390 w 1336827"/>
              <a:gd name="connsiteY777" fmla="*/ 37892 h 1112837"/>
              <a:gd name="connsiteX778" fmla="*/ 1123423 w 1336827"/>
              <a:gd name="connsiteY778" fmla="*/ 47864 h 1112837"/>
              <a:gd name="connsiteX779" fmla="*/ 1113451 w 1336827"/>
              <a:gd name="connsiteY779" fmla="*/ 51853 h 1112837"/>
              <a:gd name="connsiteX780" fmla="*/ 1107468 w 1336827"/>
              <a:gd name="connsiteY780" fmla="*/ 59830 h 1112837"/>
              <a:gd name="connsiteX781" fmla="*/ 1093507 w 1336827"/>
              <a:gd name="connsiteY781" fmla="*/ 63819 h 1112837"/>
              <a:gd name="connsiteX782" fmla="*/ 1087523 w 1336827"/>
              <a:gd name="connsiteY782" fmla="*/ 65813 h 1112837"/>
              <a:gd name="connsiteX783" fmla="*/ 1079546 w 1336827"/>
              <a:gd name="connsiteY783" fmla="*/ 61824 h 1112837"/>
              <a:gd name="connsiteX784" fmla="*/ 1065585 w 1336827"/>
              <a:gd name="connsiteY784" fmla="*/ 65813 h 1112837"/>
              <a:gd name="connsiteX785" fmla="*/ 1051624 w 1336827"/>
              <a:gd name="connsiteY785" fmla="*/ 69802 h 1112837"/>
              <a:gd name="connsiteX786" fmla="*/ 1041651 w 1336827"/>
              <a:gd name="connsiteY786" fmla="*/ 67807 h 1112837"/>
              <a:gd name="connsiteX787" fmla="*/ 1027690 w 1336827"/>
              <a:gd name="connsiteY787" fmla="*/ 65813 h 1112837"/>
              <a:gd name="connsiteX788" fmla="*/ 1009741 w 1336827"/>
              <a:gd name="connsiteY788" fmla="*/ 65813 h 1112837"/>
              <a:gd name="connsiteX789" fmla="*/ 1005752 w 1336827"/>
              <a:gd name="connsiteY789" fmla="*/ 113677 h 1112837"/>
              <a:gd name="connsiteX790" fmla="*/ 1009741 w 1336827"/>
              <a:gd name="connsiteY790" fmla="*/ 113677 h 1112837"/>
              <a:gd name="connsiteX791" fmla="*/ 1015724 w 1336827"/>
              <a:gd name="connsiteY791" fmla="*/ 107694 h 1112837"/>
              <a:gd name="connsiteX792" fmla="*/ 1027690 w 1336827"/>
              <a:gd name="connsiteY792" fmla="*/ 103705 h 1112837"/>
              <a:gd name="connsiteX793" fmla="*/ 1037663 w 1336827"/>
              <a:gd name="connsiteY793" fmla="*/ 99717 h 1112837"/>
              <a:gd name="connsiteX794" fmla="*/ 1049629 w 1336827"/>
              <a:gd name="connsiteY794" fmla="*/ 99717 h 1112837"/>
              <a:gd name="connsiteX795" fmla="*/ 1057607 w 1336827"/>
              <a:gd name="connsiteY795" fmla="*/ 95728 h 1112837"/>
              <a:gd name="connsiteX796" fmla="*/ 1067579 w 1336827"/>
              <a:gd name="connsiteY796" fmla="*/ 91739 h 1112837"/>
              <a:gd name="connsiteX797" fmla="*/ 1073562 w 1336827"/>
              <a:gd name="connsiteY797" fmla="*/ 81768 h 1112837"/>
              <a:gd name="connsiteX798" fmla="*/ 1079546 w 1336827"/>
              <a:gd name="connsiteY798" fmla="*/ 75785 h 1112837"/>
              <a:gd name="connsiteX799" fmla="*/ 1089518 w 1336827"/>
              <a:gd name="connsiteY799" fmla="*/ 73790 h 1112837"/>
              <a:gd name="connsiteX800" fmla="*/ 1095501 w 1336827"/>
              <a:gd name="connsiteY800" fmla="*/ 73790 h 1112837"/>
              <a:gd name="connsiteX801" fmla="*/ 1101484 w 1336827"/>
              <a:gd name="connsiteY801" fmla="*/ 71796 h 1112837"/>
              <a:gd name="connsiteX802" fmla="*/ 1105473 w 1336827"/>
              <a:gd name="connsiteY802" fmla="*/ 71796 h 1112837"/>
              <a:gd name="connsiteX803" fmla="*/ 1109462 w 1336827"/>
              <a:gd name="connsiteY803" fmla="*/ 73790 h 1112837"/>
              <a:gd name="connsiteX804" fmla="*/ 1113451 w 1336827"/>
              <a:gd name="connsiteY804" fmla="*/ 75785 h 1112837"/>
              <a:gd name="connsiteX805" fmla="*/ 1115445 w 1336827"/>
              <a:gd name="connsiteY805" fmla="*/ 79773 h 1112837"/>
              <a:gd name="connsiteX806" fmla="*/ 1115445 w 1336827"/>
              <a:gd name="connsiteY806" fmla="*/ 85756 h 1112837"/>
              <a:gd name="connsiteX807" fmla="*/ 1117440 w 1336827"/>
              <a:gd name="connsiteY807" fmla="*/ 89745 h 1112837"/>
              <a:gd name="connsiteX808" fmla="*/ 1117440 w 1336827"/>
              <a:gd name="connsiteY808" fmla="*/ 93734 h 1112837"/>
              <a:gd name="connsiteX809" fmla="*/ 1117440 w 1336827"/>
              <a:gd name="connsiteY809" fmla="*/ 99717 h 1112837"/>
              <a:gd name="connsiteX810" fmla="*/ 1117440 w 1336827"/>
              <a:gd name="connsiteY810" fmla="*/ 103705 h 1112837"/>
              <a:gd name="connsiteX811" fmla="*/ 1113451 w 1336827"/>
              <a:gd name="connsiteY811" fmla="*/ 105700 h 1112837"/>
              <a:gd name="connsiteX812" fmla="*/ 1109462 w 1336827"/>
              <a:gd name="connsiteY812" fmla="*/ 107694 h 1112837"/>
              <a:gd name="connsiteX813" fmla="*/ 1103479 w 1336827"/>
              <a:gd name="connsiteY813" fmla="*/ 107694 h 1112837"/>
              <a:gd name="connsiteX814" fmla="*/ 1101484 w 1336827"/>
              <a:gd name="connsiteY814" fmla="*/ 107694 h 1112837"/>
              <a:gd name="connsiteX815" fmla="*/ 1103479 w 1336827"/>
              <a:gd name="connsiteY815" fmla="*/ 113677 h 1112837"/>
              <a:gd name="connsiteX816" fmla="*/ 1103479 w 1336827"/>
              <a:gd name="connsiteY816" fmla="*/ 115671 h 1112837"/>
              <a:gd name="connsiteX817" fmla="*/ 1099490 w 1336827"/>
              <a:gd name="connsiteY817" fmla="*/ 117665 h 1112837"/>
              <a:gd name="connsiteX818" fmla="*/ 1095501 w 1336827"/>
              <a:gd name="connsiteY818" fmla="*/ 119660 h 1112837"/>
              <a:gd name="connsiteX819" fmla="*/ 1093507 w 1336827"/>
              <a:gd name="connsiteY819" fmla="*/ 119660 h 1112837"/>
              <a:gd name="connsiteX820" fmla="*/ 1089518 w 1336827"/>
              <a:gd name="connsiteY820" fmla="*/ 121654 h 1112837"/>
              <a:gd name="connsiteX821" fmla="*/ 1087523 w 1336827"/>
              <a:gd name="connsiteY821" fmla="*/ 125643 h 1112837"/>
              <a:gd name="connsiteX822" fmla="*/ 1087523 w 1336827"/>
              <a:gd name="connsiteY822" fmla="*/ 129631 h 1112837"/>
              <a:gd name="connsiteX823" fmla="*/ 1085529 w 1336827"/>
              <a:gd name="connsiteY823" fmla="*/ 133620 h 1112837"/>
              <a:gd name="connsiteX824" fmla="*/ 1083534 w 1336827"/>
              <a:gd name="connsiteY824" fmla="*/ 137609 h 1112837"/>
              <a:gd name="connsiteX825" fmla="*/ 1081540 w 1336827"/>
              <a:gd name="connsiteY825" fmla="*/ 141597 h 1112837"/>
              <a:gd name="connsiteX826" fmla="*/ 1079546 w 1336827"/>
              <a:gd name="connsiteY826" fmla="*/ 143592 h 1112837"/>
              <a:gd name="connsiteX827" fmla="*/ 1079546 w 1336827"/>
              <a:gd name="connsiteY827" fmla="*/ 145586 h 1112837"/>
              <a:gd name="connsiteX828" fmla="*/ 1075557 w 1336827"/>
              <a:gd name="connsiteY828" fmla="*/ 145586 h 1112837"/>
              <a:gd name="connsiteX829" fmla="*/ 1075557 w 1336827"/>
              <a:gd name="connsiteY829" fmla="*/ 143592 h 1112837"/>
              <a:gd name="connsiteX830" fmla="*/ 1071568 w 1336827"/>
              <a:gd name="connsiteY830" fmla="*/ 141597 h 1112837"/>
              <a:gd name="connsiteX831" fmla="*/ 1069573 w 1336827"/>
              <a:gd name="connsiteY831" fmla="*/ 141597 h 1112837"/>
              <a:gd name="connsiteX832" fmla="*/ 1071568 w 1336827"/>
              <a:gd name="connsiteY832" fmla="*/ 147580 h 1112837"/>
              <a:gd name="connsiteX833" fmla="*/ 1067579 w 1336827"/>
              <a:gd name="connsiteY833" fmla="*/ 151569 h 1112837"/>
              <a:gd name="connsiteX834" fmla="*/ 1049629 w 1336827"/>
              <a:gd name="connsiteY834" fmla="*/ 163535 h 1112837"/>
              <a:gd name="connsiteX835" fmla="*/ 1045640 w 1336827"/>
              <a:gd name="connsiteY835" fmla="*/ 169518 h 1112837"/>
              <a:gd name="connsiteX836" fmla="*/ 1043646 w 1336827"/>
              <a:gd name="connsiteY836" fmla="*/ 171512 h 1112837"/>
              <a:gd name="connsiteX837" fmla="*/ 1039657 w 1336827"/>
              <a:gd name="connsiteY837" fmla="*/ 173507 h 1112837"/>
              <a:gd name="connsiteX838" fmla="*/ 1037663 w 1336827"/>
              <a:gd name="connsiteY838" fmla="*/ 177495 h 1112837"/>
              <a:gd name="connsiteX839" fmla="*/ 1043646 w 1336827"/>
              <a:gd name="connsiteY839" fmla="*/ 177495 h 1112837"/>
              <a:gd name="connsiteX840" fmla="*/ 1049629 w 1336827"/>
              <a:gd name="connsiteY840" fmla="*/ 171512 h 1112837"/>
              <a:gd name="connsiteX841" fmla="*/ 1055612 w 1336827"/>
              <a:gd name="connsiteY841" fmla="*/ 169518 h 1112837"/>
              <a:gd name="connsiteX842" fmla="*/ 1063590 w 1336827"/>
              <a:gd name="connsiteY842" fmla="*/ 167524 h 1112837"/>
              <a:gd name="connsiteX843" fmla="*/ 1067579 w 1336827"/>
              <a:gd name="connsiteY843" fmla="*/ 167524 h 1112837"/>
              <a:gd name="connsiteX844" fmla="*/ 1067579 w 1336827"/>
              <a:gd name="connsiteY844" fmla="*/ 161541 h 1112837"/>
              <a:gd name="connsiteX845" fmla="*/ 1067579 w 1336827"/>
              <a:gd name="connsiteY845" fmla="*/ 157552 h 1112837"/>
              <a:gd name="connsiteX846" fmla="*/ 1075557 w 1336827"/>
              <a:gd name="connsiteY846" fmla="*/ 153563 h 1112837"/>
              <a:gd name="connsiteX847" fmla="*/ 1081540 w 1336827"/>
              <a:gd name="connsiteY847" fmla="*/ 153563 h 1112837"/>
              <a:gd name="connsiteX848" fmla="*/ 1085529 w 1336827"/>
              <a:gd name="connsiteY848" fmla="*/ 153563 h 1112837"/>
              <a:gd name="connsiteX849" fmla="*/ 1089518 w 1336827"/>
              <a:gd name="connsiteY849" fmla="*/ 147580 h 1112837"/>
              <a:gd name="connsiteX850" fmla="*/ 1089518 w 1336827"/>
              <a:gd name="connsiteY850" fmla="*/ 145586 h 1112837"/>
              <a:gd name="connsiteX851" fmla="*/ 1093507 w 1336827"/>
              <a:gd name="connsiteY851" fmla="*/ 143592 h 1112837"/>
              <a:gd name="connsiteX852" fmla="*/ 1093507 w 1336827"/>
              <a:gd name="connsiteY852" fmla="*/ 137609 h 1112837"/>
              <a:gd name="connsiteX853" fmla="*/ 1099490 w 1336827"/>
              <a:gd name="connsiteY853" fmla="*/ 135614 h 1112837"/>
              <a:gd name="connsiteX854" fmla="*/ 1105473 w 1336827"/>
              <a:gd name="connsiteY854" fmla="*/ 131626 h 1112837"/>
              <a:gd name="connsiteX855" fmla="*/ 1107468 w 1336827"/>
              <a:gd name="connsiteY855" fmla="*/ 125643 h 1112837"/>
              <a:gd name="connsiteX856" fmla="*/ 1109462 w 1336827"/>
              <a:gd name="connsiteY856" fmla="*/ 123648 h 1112837"/>
              <a:gd name="connsiteX857" fmla="*/ 1113451 w 1336827"/>
              <a:gd name="connsiteY857" fmla="*/ 121654 h 1112837"/>
              <a:gd name="connsiteX858" fmla="*/ 1117440 w 1336827"/>
              <a:gd name="connsiteY858" fmla="*/ 119660 h 1112837"/>
              <a:gd name="connsiteX859" fmla="*/ 1121429 w 1336827"/>
              <a:gd name="connsiteY859" fmla="*/ 119660 h 1112837"/>
              <a:gd name="connsiteX860" fmla="*/ 1125418 w 1336827"/>
              <a:gd name="connsiteY860" fmla="*/ 115671 h 1112837"/>
              <a:gd name="connsiteX861" fmla="*/ 1129406 w 1336827"/>
              <a:gd name="connsiteY861" fmla="*/ 113677 h 1112837"/>
              <a:gd name="connsiteX862" fmla="*/ 1133395 w 1336827"/>
              <a:gd name="connsiteY862" fmla="*/ 111682 h 1112837"/>
              <a:gd name="connsiteX863" fmla="*/ 1137384 w 1336827"/>
              <a:gd name="connsiteY863" fmla="*/ 109688 h 1112837"/>
              <a:gd name="connsiteX864" fmla="*/ 1141373 w 1336827"/>
              <a:gd name="connsiteY864" fmla="*/ 109688 h 1112837"/>
              <a:gd name="connsiteX865" fmla="*/ 1143367 w 1336827"/>
              <a:gd name="connsiteY865" fmla="*/ 107694 h 1112837"/>
              <a:gd name="connsiteX866" fmla="*/ 1147356 w 1336827"/>
              <a:gd name="connsiteY866" fmla="*/ 101711 h 1112837"/>
              <a:gd name="connsiteX867" fmla="*/ 1151345 w 1336827"/>
              <a:gd name="connsiteY867" fmla="*/ 97722 h 1112837"/>
              <a:gd name="connsiteX868" fmla="*/ 1153340 w 1336827"/>
              <a:gd name="connsiteY868" fmla="*/ 95728 h 1112837"/>
              <a:gd name="connsiteX869" fmla="*/ 1159323 w 1336827"/>
              <a:gd name="connsiteY869" fmla="*/ 91739 h 1112837"/>
              <a:gd name="connsiteX870" fmla="*/ 1161317 w 1336827"/>
              <a:gd name="connsiteY870" fmla="*/ 91739 h 1112837"/>
              <a:gd name="connsiteX871" fmla="*/ 1161317 w 1336827"/>
              <a:gd name="connsiteY871" fmla="*/ 99717 h 1112837"/>
              <a:gd name="connsiteX872" fmla="*/ 1161317 w 1336827"/>
              <a:gd name="connsiteY872" fmla="*/ 109688 h 1112837"/>
              <a:gd name="connsiteX873" fmla="*/ 1165306 w 1336827"/>
              <a:gd name="connsiteY873" fmla="*/ 111682 h 1112837"/>
              <a:gd name="connsiteX874" fmla="*/ 1167301 w 1336827"/>
              <a:gd name="connsiteY874" fmla="*/ 107694 h 1112837"/>
              <a:gd name="connsiteX875" fmla="*/ 1169295 w 1336827"/>
              <a:gd name="connsiteY875" fmla="*/ 103705 h 1112837"/>
              <a:gd name="connsiteX876" fmla="*/ 1175278 w 1336827"/>
              <a:gd name="connsiteY876" fmla="*/ 103705 h 1112837"/>
              <a:gd name="connsiteX877" fmla="*/ 1185250 w 1336827"/>
              <a:gd name="connsiteY877" fmla="*/ 103705 h 1112837"/>
              <a:gd name="connsiteX878" fmla="*/ 1191234 w 1336827"/>
              <a:gd name="connsiteY878" fmla="*/ 103705 h 1112837"/>
              <a:gd name="connsiteX879" fmla="*/ 1195223 w 1336827"/>
              <a:gd name="connsiteY879" fmla="*/ 101711 h 1112837"/>
              <a:gd name="connsiteX880" fmla="*/ 1199211 w 1336827"/>
              <a:gd name="connsiteY880" fmla="*/ 103705 h 1112837"/>
              <a:gd name="connsiteX881" fmla="*/ 1205195 w 1336827"/>
              <a:gd name="connsiteY881" fmla="*/ 105700 h 1112837"/>
              <a:gd name="connsiteX882" fmla="*/ 1209184 w 1336827"/>
              <a:gd name="connsiteY882" fmla="*/ 103705 h 1112837"/>
              <a:gd name="connsiteX883" fmla="*/ 1215167 w 1336827"/>
              <a:gd name="connsiteY883" fmla="*/ 97722 h 1112837"/>
              <a:gd name="connsiteX884" fmla="*/ 1225139 w 1336827"/>
              <a:gd name="connsiteY884" fmla="*/ 91739 h 1112837"/>
              <a:gd name="connsiteX885" fmla="*/ 1231122 w 1336827"/>
              <a:gd name="connsiteY885" fmla="*/ 89745 h 1112837"/>
              <a:gd name="connsiteX886" fmla="*/ 1235111 w 1336827"/>
              <a:gd name="connsiteY886" fmla="*/ 87751 h 1112837"/>
              <a:gd name="connsiteX887" fmla="*/ 1237106 w 1336827"/>
              <a:gd name="connsiteY887" fmla="*/ 83762 h 1112837"/>
              <a:gd name="connsiteX888" fmla="*/ 1239100 w 1336827"/>
              <a:gd name="connsiteY888" fmla="*/ 83762 h 1112837"/>
              <a:gd name="connsiteX889" fmla="*/ 1247078 w 1336827"/>
              <a:gd name="connsiteY889" fmla="*/ 85756 h 1112837"/>
              <a:gd name="connsiteX890" fmla="*/ 1253061 w 1336827"/>
              <a:gd name="connsiteY890" fmla="*/ 83762 h 1112837"/>
              <a:gd name="connsiteX891" fmla="*/ 1259044 w 1336827"/>
              <a:gd name="connsiteY891" fmla="*/ 83762 h 1112837"/>
              <a:gd name="connsiteX892" fmla="*/ 1275000 w 1336827"/>
              <a:gd name="connsiteY892" fmla="*/ 85756 h 1112837"/>
              <a:gd name="connsiteX893" fmla="*/ 1284972 w 1336827"/>
              <a:gd name="connsiteY893" fmla="*/ 89745 h 1112837"/>
              <a:gd name="connsiteX894" fmla="*/ 1290955 w 1336827"/>
              <a:gd name="connsiteY894" fmla="*/ 91739 h 1112837"/>
              <a:gd name="connsiteX895" fmla="*/ 1298933 w 1336827"/>
              <a:gd name="connsiteY895" fmla="*/ 91739 h 1112837"/>
              <a:gd name="connsiteX896" fmla="*/ 1302922 w 1336827"/>
              <a:gd name="connsiteY896" fmla="*/ 91739 h 1112837"/>
              <a:gd name="connsiteX897" fmla="*/ 1310900 w 1336827"/>
              <a:gd name="connsiteY897" fmla="*/ 93734 h 1112837"/>
              <a:gd name="connsiteX898" fmla="*/ 1318877 w 1336827"/>
              <a:gd name="connsiteY898" fmla="*/ 93734 h 1112837"/>
              <a:gd name="connsiteX899" fmla="*/ 1322866 w 1336827"/>
              <a:gd name="connsiteY899" fmla="*/ 97722 h 1112837"/>
              <a:gd name="connsiteX900" fmla="*/ 1330844 w 1336827"/>
              <a:gd name="connsiteY900" fmla="*/ 97722 h 1112837"/>
              <a:gd name="connsiteX901" fmla="*/ 1336827 w 1336827"/>
              <a:gd name="connsiteY901" fmla="*/ 101711 h 1112837"/>
              <a:gd name="connsiteX902" fmla="*/ 1332838 w 1336827"/>
              <a:gd name="connsiteY902" fmla="*/ 105700 h 1112837"/>
              <a:gd name="connsiteX903" fmla="*/ 1324861 w 1336827"/>
              <a:gd name="connsiteY903" fmla="*/ 107694 h 1112837"/>
              <a:gd name="connsiteX904" fmla="*/ 1320872 w 1336827"/>
              <a:gd name="connsiteY904" fmla="*/ 111682 h 1112837"/>
              <a:gd name="connsiteX905" fmla="*/ 1314888 w 1336827"/>
              <a:gd name="connsiteY905" fmla="*/ 117665 h 1112837"/>
              <a:gd name="connsiteX906" fmla="*/ 1306911 w 1336827"/>
              <a:gd name="connsiteY906" fmla="*/ 117665 h 1112837"/>
              <a:gd name="connsiteX907" fmla="*/ 1300927 w 1336827"/>
              <a:gd name="connsiteY907" fmla="*/ 117665 h 1112837"/>
              <a:gd name="connsiteX908" fmla="*/ 1294944 w 1336827"/>
              <a:gd name="connsiteY908" fmla="*/ 121654 h 1112837"/>
              <a:gd name="connsiteX909" fmla="*/ 1288961 w 1336827"/>
              <a:gd name="connsiteY909" fmla="*/ 121654 h 1112837"/>
              <a:gd name="connsiteX910" fmla="*/ 1282978 w 1336827"/>
              <a:gd name="connsiteY910" fmla="*/ 119660 h 1112837"/>
              <a:gd name="connsiteX911" fmla="*/ 1276994 w 1336827"/>
              <a:gd name="connsiteY911" fmla="*/ 119660 h 1112837"/>
              <a:gd name="connsiteX912" fmla="*/ 1278989 w 1336827"/>
              <a:gd name="connsiteY912" fmla="*/ 127637 h 1112837"/>
              <a:gd name="connsiteX913" fmla="*/ 1276994 w 1336827"/>
              <a:gd name="connsiteY913" fmla="*/ 133620 h 1112837"/>
              <a:gd name="connsiteX914" fmla="*/ 1273005 w 1336827"/>
              <a:gd name="connsiteY914" fmla="*/ 137609 h 1112837"/>
              <a:gd name="connsiteX915" fmla="*/ 1267022 w 1336827"/>
              <a:gd name="connsiteY915" fmla="*/ 137609 h 1112837"/>
              <a:gd name="connsiteX916" fmla="*/ 1261039 w 1336827"/>
              <a:gd name="connsiteY916" fmla="*/ 139603 h 1112837"/>
              <a:gd name="connsiteX917" fmla="*/ 1259044 w 1336827"/>
              <a:gd name="connsiteY917" fmla="*/ 145586 h 1112837"/>
              <a:gd name="connsiteX918" fmla="*/ 1257050 w 1336827"/>
              <a:gd name="connsiteY918" fmla="*/ 147580 h 1112837"/>
              <a:gd name="connsiteX919" fmla="*/ 1247078 w 1336827"/>
              <a:gd name="connsiteY919" fmla="*/ 145586 h 1112837"/>
              <a:gd name="connsiteX920" fmla="*/ 1239100 w 1336827"/>
              <a:gd name="connsiteY920" fmla="*/ 145586 h 1112837"/>
              <a:gd name="connsiteX921" fmla="*/ 1231122 w 1336827"/>
              <a:gd name="connsiteY921" fmla="*/ 147580 h 1112837"/>
              <a:gd name="connsiteX922" fmla="*/ 1223145 w 1336827"/>
              <a:gd name="connsiteY922" fmla="*/ 147580 h 1112837"/>
              <a:gd name="connsiteX923" fmla="*/ 1219156 w 1336827"/>
              <a:gd name="connsiteY923" fmla="*/ 145586 h 1112837"/>
              <a:gd name="connsiteX924" fmla="*/ 1215167 w 1336827"/>
              <a:gd name="connsiteY924" fmla="*/ 141597 h 1112837"/>
              <a:gd name="connsiteX925" fmla="*/ 1213172 w 1336827"/>
              <a:gd name="connsiteY925" fmla="*/ 139603 h 1112837"/>
              <a:gd name="connsiteX926" fmla="*/ 1209184 w 1336827"/>
              <a:gd name="connsiteY926" fmla="*/ 145586 h 1112837"/>
              <a:gd name="connsiteX927" fmla="*/ 1207189 w 1336827"/>
              <a:gd name="connsiteY927" fmla="*/ 149575 h 1112837"/>
              <a:gd name="connsiteX928" fmla="*/ 1197217 w 1336827"/>
              <a:gd name="connsiteY928" fmla="*/ 151569 h 1112837"/>
              <a:gd name="connsiteX929" fmla="*/ 1189239 w 1336827"/>
              <a:gd name="connsiteY929" fmla="*/ 149575 h 1112837"/>
              <a:gd name="connsiteX930" fmla="*/ 1181262 w 1336827"/>
              <a:gd name="connsiteY930" fmla="*/ 147580 h 1112837"/>
              <a:gd name="connsiteX931" fmla="*/ 1175278 w 1336827"/>
              <a:gd name="connsiteY931" fmla="*/ 145586 h 1112837"/>
              <a:gd name="connsiteX932" fmla="*/ 1169295 w 1336827"/>
              <a:gd name="connsiteY932" fmla="*/ 145586 h 1112837"/>
              <a:gd name="connsiteX933" fmla="*/ 1159323 w 1336827"/>
              <a:gd name="connsiteY933" fmla="*/ 145586 h 1112837"/>
              <a:gd name="connsiteX934" fmla="*/ 1151345 w 1336827"/>
              <a:gd name="connsiteY934" fmla="*/ 149575 h 1112837"/>
              <a:gd name="connsiteX935" fmla="*/ 1143367 w 1336827"/>
              <a:gd name="connsiteY935" fmla="*/ 153563 h 1112837"/>
              <a:gd name="connsiteX936" fmla="*/ 1143367 w 1336827"/>
              <a:gd name="connsiteY936" fmla="*/ 157552 h 1112837"/>
              <a:gd name="connsiteX937" fmla="*/ 1151345 w 1336827"/>
              <a:gd name="connsiteY937" fmla="*/ 159546 h 1112837"/>
              <a:gd name="connsiteX938" fmla="*/ 1159323 w 1336827"/>
              <a:gd name="connsiteY938" fmla="*/ 153563 h 1112837"/>
              <a:gd name="connsiteX939" fmla="*/ 1163312 w 1336827"/>
              <a:gd name="connsiteY939" fmla="*/ 151569 h 1112837"/>
              <a:gd name="connsiteX940" fmla="*/ 1169295 w 1336827"/>
              <a:gd name="connsiteY940" fmla="*/ 151569 h 1112837"/>
              <a:gd name="connsiteX941" fmla="*/ 1179267 w 1336827"/>
              <a:gd name="connsiteY941" fmla="*/ 153563 h 1112837"/>
              <a:gd name="connsiteX942" fmla="*/ 1189239 w 1336827"/>
              <a:gd name="connsiteY942" fmla="*/ 155558 h 1112837"/>
              <a:gd name="connsiteX943" fmla="*/ 1197217 w 1336827"/>
              <a:gd name="connsiteY943" fmla="*/ 155558 h 1112837"/>
              <a:gd name="connsiteX944" fmla="*/ 1205195 w 1336827"/>
              <a:gd name="connsiteY944" fmla="*/ 153563 h 1112837"/>
              <a:gd name="connsiteX945" fmla="*/ 1211178 w 1336827"/>
              <a:gd name="connsiteY945" fmla="*/ 151569 h 1112837"/>
              <a:gd name="connsiteX946" fmla="*/ 1219156 w 1336827"/>
              <a:gd name="connsiteY946" fmla="*/ 151569 h 1112837"/>
              <a:gd name="connsiteX947" fmla="*/ 1225139 w 1336827"/>
              <a:gd name="connsiteY947" fmla="*/ 151569 h 1112837"/>
              <a:gd name="connsiteX948" fmla="*/ 1231122 w 1336827"/>
              <a:gd name="connsiteY948" fmla="*/ 153563 h 1112837"/>
              <a:gd name="connsiteX949" fmla="*/ 1233117 w 1336827"/>
              <a:gd name="connsiteY949" fmla="*/ 155558 h 1112837"/>
              <a:gd name="connsiteX950" fmla="*/ 1243089 w 1336827"/>
              <a:gd name="connsiteY950" fmla="*/ 155558 h 1112837"/>
              <a:gd name="connsiteX951" fmla="*/ 1251067 w 1336827"/>
              <a:gd name="connsiteY951" fmla="*/ 157552 h 1112837"/>
              <a:gd name="connsiteX952" fmla="*/ 1251067 w 1336827"/>
              <a:gd name="connsiteY952" fmla="*/ 163535 h 1112837"/>
              <a:gd name="connsiteX953" fmla="*/ 1245083 w 1336827"/>
              <a:gd name="connsiteY953" fmla="*/ 165529 h 1112837"/>
              <a:gd name="connsiteX954" fmla="*/ 1239100 w 1336827"/>
              <a:gd name="connsiteY954" fmla="*/ 165529 h 1112837"/>
              <a:gd name="connsiteX955" fmla="*/ 1237106 w 1336827"/>
              <a:gd name="connsiteY955" fmla="*/ 171512 h 1112837"/>
              <a:gd name="connsiteX956" fmla="*/ 1231122 w 1336827"/>
              <a:gd name="connsiteY956" fmla="*/ 173507 h 1112837"/>
              <a:gd name="connsiteX957" fmla="*/ 1223145 w 1336827"/>
              <a:gd name="connsiteY957" fmla="*/ 175501 h 1112837"/>
              <a:gd name="connsiteX958" fmla="*/ 1215167 w 1336827"/>
              <a:gd name="connsiteY958" fmla="*/ 175501 h 1112837"/>
              <a:gd name="connsiteX959" fmla="*/ 1211178 w 1336827"/>
              <a:gd name="connsiteY959" fmla="*/ 173507 h 1112837"/>
              <a:gd name="connsiteX960" fmla="*/ 1205195 w 1336827"/>
              <a:gd name="connsiteY960" fmla="*/ 175501 h 1112837"/>
              <a:gd name="connsiteX961" fmla="*/ 1199211 w 1336827"/>
              <a:gd name="connsiteY961" fmla="*/ 175501 h 1112837"/>
              <a:gd name="connsiteX962" fmla="*/ 1195223 w 1336827"/>
              <a:gd name="connsiteY962" fmla="*/ 173507 h 1112837"/>
              <a:gd name="connsiteX963" fmla="*/ 1187245 w 1336827"/>
              <a:gd name="connsiteY963" fmla="*/ 171512 h 1112837"/>
              <a:gd name="connsiteX964" fmla="*/ 1185250 w 1336827"/>
              <a:gd name="connsiteY964" fmla="*/ 171512 h 1112837"/>
              <a:gd name="connsiteX965" fmla="*/ 1179267 w 1336827"/>
              <a:gd name="connsiteY965" fmla="*/ 175501 h 1112837"/>
              <a:gd name="connsiteX966" fmla="*/ 1177273 w 1336827"/>
              <a:gd name="connsiteY966" fmla="*/ 179490 h 1112837"/>
              <a:gd name="connsiteX967" fmla="*/ 1183256 w 1336827"/>
              <a:gd name="connsiteY967" fmla="*/ 183478 h 1112837"/>
              <a:gd name="connsiteX968" fmla="*/ 1189239 w 1336827"/>
              <a:gd name="connsiteY968" fmla="*/ 181484 h 1112837"/>
              <a:gd name="connsiteX969" fmla="*/ 1193228 w 1336827"/>
              <a:gd name="connsiteY969" fmla="*/ 181484 h 1112837"/>
              <a:gd name="connsiteX970" fmla="*/ 1201206 w 1336827"/>
              <a:gd name="connsiteY970" fmla="*/ 179490 h 1112837"/>
              <a:gd name="connsiteX971" fmla="*/ 1211178 w 1336827"/>
              <a:gd name="connsiteY971" fmla="*/ 179490 h 1112837"/>
              <a:gd name="connsiteX972" fmla="*/ 1215167 w 1336827"/>
              <a:gd name="connsiteY972" fmla="*/ 179490 h 1112837"/>
              <a:gd name="connsiteX973" fmla="*/ 1219156 w 1336827"/>
              <a:gd name="connsiteY973" fmla="*/ 183478 h 1112837"/>
              <a:gd name="connsiteX974" fmla="*/ 1213172 w 1336827"/>
              <a:gd name="connsiteY974" fmla="*/ 189461 h 1112837"/>
              <a:gd name="connsiteX975" fmla="*/ 1209184 w 1336827"/>
              <a:gd name="connsiteY975" fmla="*/ 195444 h 1112837"/>
              <a:gd name="connsiteX976" fmla="*/ 1203200 w 1336827"/>
              <a:gd name="connsiteY976" fmla="*/ 197439 h 1112837"/>
              <a:gd name="connsiteX977" fmla="*/ 1199211 w 1336827"/>
              <a:gd name="connsiteY977" fmla="*/ 195444 h 1112837"/>
              <a:gd name="connsiteX978" fmla="*/ 1193228 w 1336827"/>
              <a:gd name="connsiteY978" fmla="*/ 191456 h 1112837"/>
              <a:gd name="connsiteX979" fmla="*/ 1189239 w 1336827"/>
              <a:gd name="connsiteY979" fmla="*/ 191456 h 1112837"/>
              <a:gd name="connsiteX980" fmla="*/ 1185250 w 1336827"/>
              <a:gd name="connsiteY980" fmla="*/ 193450 h 1112837"/>
              <a:gd name="connsiteX981" fmla="*/ 1177273 w 1336827"/>
              <a:gd name="connsiteY981" fmla="*/ 195444 h 1112837"/>
              <a:gd name="connsiteX982" fmla="*/ 1173284 w 1336827"/>
              <a:gd name="connsiteY982" fmla="*/ 201427 h 1112837"/>
              <a:gd name="connsiteX983" fmla="*/ 1173284 w 1336827"/>
              <a:gd name="connsiteY983" fmla="*/ 207410 h 1112837"/>
              <a:gd name="connsiteX984" fmla="*/ 1171289 w 1336827"/>
              <a:gd name="connsiteY984" fmla="*/ 215388 h 1112837"/>
              <a:gd name="connsiteX985" fmla="*/ 1169295 w 1336827"/>
              <a:gd name="connsiteY985" fmla="*/ 223365 h 1112837"/>
              <a:gd name="connsiteX986" fmla="*/ 1169295 w 1336827"/>
              <a:gd name="connsiteY986" fmla="*/ 227354 h 1112837"/>
              <a:gd name="connsiteX987" fmla="*/ 1173284 w 1336827"/>
              <a:gd name="connsiteY987" fmla="*/ 227354 h 1112837"/>
              <a:gd name="connsiteX988" fmla="*/ 1177273 w 1336827"/>
              <a:gd name="connsiteY988" fmla="*/ 223365 h 1112837"/>
              <a:gd name="connsiteX989" fmla="*/ 1181262 w 1336827"/>
              <a:gd name="connsiteY989" fmla="*/ 223365 h 1112837"/>
              <a:gd name="connsiteX990" fmla="*/ 1181262 w 1336827"/>
              <a:gd name="connsiteY990" fmla="*/ 227354 h 1112837"/>
              <a:gd name="connsiteX991" fmla="*/ 1177273 w 1336827"/>
              <a:gd name="connsiteY991" fmla="*/ 229348 h 1112837"/>
              <a:gd name="connsiteX992" fmla="*/ 1177273 w 1336827"/>
              <a:gd name="connsiteY992" fmla="*/ 233337 h 1112837"/>
              <a:gd name="connsiteX993" fmla="*/ 1175278 w 1336827"/>
              <a:gd name="connsiteY993" fmla="*/ 235331 h 1112837"/>
              <a:gd name="connsiteX994" fmla="*/ 1173284 w 1336827"/>
              <a:gd name="connsiteY994" fmla="*/ 233337 h 1112837"/>
              <a:gd name="connsiteX995" fmla="*/ 1169295 w 1336827"/>
              <a:gd name="connsiteY995" fmla="*/ 235331 h 1112837"/>
              <a:gd name="connsiteX996" fmla="*/ 1167301 w 1336827"/>
              <a:gd name="connsiteY996" fmla="*/ 237325 h 1112837"/>
              <a:gd name="connsiteX997" fmla="*/ 1165306 w 1336827"/>
              <a:gd name="connsiteY997" fmla="*/ 243308 h 1112837"/>
              <a:gd name="connsiteX998" fmla="*/ 1159323 w 1336827"/>
              <a:gd name="connsiteY998" fmla="*/ 245303 h 1112837"/>
              <a:gd name="connsiteX999" fmla="*/ 1153340 w 1336827"/>
              <a:gd name="connsiteY999" fmla="*/ 241314 h 1112837"/>
              <a:gd name="connsiteX1000" fmla="*/ 1149351 w 1336827"/>
              <a:gd name="connsiteY1000" fmla="*/ 239320 h 1112837"/>
              <a:gd name="connsiteX1001" fmla="*/ 1149351 w 1336827"/>
              <a:gd name="connsiteY1001" fmla="*/ 245303 h 1112837"/>
              <a:gd name="connsiteX1002" fmla="*/ 1145362 w 1336827"/>
              <a:gd name="connsiteY1002" fmla="*/ 245303 h 1112837"/>
              <a:gd name="connsiteX1003" fmla="*/ 1141373 w 1336827"/>
              <a:gd name="connsiteY1003" fmla="*/ 243308 h 1112837"/>
              <a:gd name="connsiteX1004" fmla="*/ 1141373 w 1336827"/>
              <a:gd name="connsiteY1004" fmla="*/ 247297 h 1112837"/>
              <a:gd name="connsiteX1005" fmla="*/ 1143367 w 1336827"/>
              <a:gd name="connsiteY1005" fmla="*/ 249291 h 1112837"/>
              <a:gd name="connsiteX1006" fmla="*/ 1141373 w 1336827"/>
              <a:gd name="connsiteY1006" fmla="*/ 251286 h 1112837"/>
              <a:gd name="connsiteX1007" fmla="*/ 1135390 w 1336827"/>
              <a:gd name="connsiteY1007" fmla="*/ 253280 h 1112837"/>
              <a:gd name="connsiteX1008" fmla="*/ 1135390 w 1336827"/>
              <a:gd name="connsiteY1008" fmla="*/ 257269 h 1112837"/>
              <a:gd name="connsiteX1009" fmla="*/ 1141373 w 1336827"/>
              <a:gd name="connsiteY1009" fmla="*/ 259263 h 1112837"/>
              <a:gd name="connsiteX1010" fmla="*/ 1139379 w 1336827"/>
              <a:gd name="connsiteY1010" fmla="*/ 261257 h 1112837"/>
              <a:gd name="connsiteX1011" fmla="*/ 1135390 w 1336827"/>
              <a:gd name="connsiteY1011" fmla="*/ 263252 h 1112837"/>
              <a:gd name="connsiteX1012" fmla="*/ 1137384 w 1336827"/>
              <a:gd name="connsiteY1012" fmla="*/ 267240 h 1112837"/>
              <a:gd name="connsiteX1013" fmla="*/ 1135390 w 1336827"/>
              <a:gd name="connsiteY1013" fmla="*/ 269235 h 1112837"/>
              <a:gd name="connsiteX1014" fmla="*/ 1135390 w 1336827"/>
              <a:gd name="connsiteY1014" fmla="*/ 273223 h 1112837"/>
              <a:gd name="connsiteX1015" fmla="*/ 1135390 w 1336827"/>
              <a:gd name="connsiteY1015" fmla="*/ 279206 h 1112837"/>
              <a:gd name="connsiteX1016" fmla="*/ 1131401 w 1336827"/>
              <a:gd name="connsiteY1016" fmla="*/ 281201 h 1112837"/>
              <a:gd name="connsiteX1017" fmla="*/ 1129406 w 1336827"/>
              <a:gd name="connsiteY1017" fmla="*/ 281201 h 1112837"/>
              <a:gd name="connsiteX1018" fmla="*/ 1129406 w 1336827"/>
              <a:gd name="connsiteY1018" fmla="*/ 285189 h 1112837"/>
              <a:gd name="connsiteX1019" fmla="*/ 1133395 w 1336827"/>
              <a:gd name="connsiteY1019" fmla="*/ 287184 h 1112837"/>
              <a:gd name="connsiteX1020" fmla="*/ 1133395 w 1336827"/>
              <a:gd name="connsiteY1020" fmla="*/ 291172 h 1112837"/>
              <a:gd name="connsiteX1021" fmla="*/ 1129406 w 1336827"/>
              <a:gd name="connsiteY1021" fmla="*/ 295161 h 1112837"/>
              <a:gd name="connsiteX1022" fmla="*/ 1125418 w 1336827"/>
              <a:gd name="connsiteY1022" fmla="*/ 299150 h 1112837"/>
              <a:gd name="connsiteX1023" fmla="*/ 1123423 w 1336827"/>
              <a:gd name="connsiteY1023" fmla="*/ 303138 h 1112837"/>
              <a:gd name="connsiteX1024" fmla="*/ 1129406 w 1336827"/>
              <a:gd name="connsiteY1024" fmla="*/ 303138 h 1112837"/>
              <a:gd name="connsiteX1025" fmla="*/ 1135390 w 1336827"/>
              <a:gd name="connsiteY1025" fmla="*/ 299150 h 1112837"/>
              <a:gd name="connsiteX1026" fmla="*/ 1135390 w 1336827"/>
              <a:gd name="connsiteY1026" fmla="*/ 295161 h 1112837"/>
              <a:gd name="connsiteX1027" fmla="*/ 1137384 w 1336827"/>
              <a:gd name="connsiteY1027" fmla="*/ 291172 h 1112837"/>
              <a:gd name="connsiteX1028" fmla="*/ 1143367 w 1336827"/>
              <a:gd name="connsiteY1028" fmla="*/ 289178 h 1112837"/>
              <a:gd name="connsiteX1029" fmla="*/ 1147356 w 1336827"/>
              <a:gd name="connsiteY1029" fmla="*/ 289178 h 1112837"/>
              <a:gd name="connsiteX1030" fmla="*/ 1149351 w 1336827"/>
              <a:gd name="connsiteY1030" fmla="*/ 293167 h 1112837"/>
              <a:gd name="connsiteX1031" fmla="*/ 1153340 w 1336827"/>
              <a:gd name="connsiteY1031" fmla="*/ 295161 h 1112837"/>
              <a:gd name="connsiteX1032" fmla="*/ 1157328 w 1336827"/>
              <a:gd name="connsiteY1032" fmla="*/ 295161 h 1112837"/>
              <a:gd name="connsiteX1033" fmla="*/ 1163312 w 1336827"/>
              <a:gd name="connsiteY1033" fmla="*/ 297155 h 1112837"/>
              <a:gd name="connsiteX1034" fmla="*/ 1163312 w 1336827"/>
              <a:gd name="connsiteY1034" fmla="*/ 299150 h 1112837"/>
              <a:gd name="connsiteX1035" fmla="*/ 1163312 w 1336827"/>
              <a:gd name="connsiteY1035" fmla="*/ 303138 h 1112837"/>
              <a:gd name="connsiteX1036" fmla="*/ 1167301 w 1336827"/>
              <a:gd name="connsiteY1036" fmla="*/ 303138 h 1112837"/>
              <a:gd name="connsiteX1037" fmla="*/ 1171289 w 1336827"/>
              <a:gd name="connsiteY1037" fmla="*/ 303138 h 1112837"/>
              <a:gd name="connsiteX1038" fmla="*/ 1177273 w 1336827"/>
              <a:gd name="connsiteY1038" fmla="*/ 303138 h 1112837"/>
              <a:gd name="connsiteX1039" fmla="*/ 1179267 w 1336827"/>
              <a:gd name="connsiteY1039" fmla="*/ 307127 h 1112837"/>
              <a:gd name="connsiteX1040" fmla="*/ 1175278 w 1336827"/>
              <a:gd name="connsiteY1040" fmla="*/ 313110 h 1112837"/>
              <a:gd name="connsiteX1041" fmla="*/ 1169295 w 1336827"/>
              <a:gd name="connsiteY1041" fmla="*/ 313110 h 1112837"/>
              <a:gd name="connsiteX1042" fmla="*/ 1163312 w 1336827"/>
              <a:gd name="connsiteY1042" fmla="*/ 309121 h 1112837"/>
              <a:gd name="connsiteX1043" fmla="*/ 1161317 w 1336827"/>
              <a:gd name="connsiteY1043" fmla="*/ 305133 h 1112837"/>
              <a:gd name="connsiteX1044" fmla="*/ 1157328 w 1336827"/>
              <a:gd name="connsiteY1044" fmla="*/ 305133 h 1112837"/>
              <a:gd name="connsiteX1045" fmla="*/ 1151345 w 1336827"/>
              <a:gd name="connsiteY1045" fmla="*/ 305133 h 1112837"/>
              <a:gd name="connsiteX1046" fmla="*/ 1147356 w 1336827"/>
              <a:gd name="connsiteY1046" fmla="*/ 303138 h 1112837"/>
              <a:gd name="connsiteX1047" fmla="*/ 1145362 w 1336827"/>
              <a:gd name="connsiteY1047" fmla="*/ 301144 h 1112837"/>
              <a:gd name="connsiteX1048" fmla="*/ 1141373 w 1336827"/>
              <a:gd name="connsiteY1048" fmla="*/ 303138 h 1112837"/>
              <a:gd name="connsiteX1049" fmla="*/ 1145362 w 1336827"/>
              <a:gd name="connsiteY1049" fmla="*/ 307127 h 1112837"/>
              <a:gd name="connsiteX1050" fmla="*/ 1147356 w 1336827"/>
              <a:gd name="connsiteY1050" fmla="*/ 311116 h 1112837"/>
              <a:gd name="connsiteX1051" fmla="*/ 1151345 w 1336827"/>
              <a:gd name="connsiteY1051" fmla="*/ 313110 h 1112837"/>
              <a:gd name="connsiteX1052" fmla="*/ 1155334 w 1336827"/>
              <a:gd name="connsiteY1052" fmla="*/ 319093 h 1112837"/>
              <a:gd name="connsiteX1053" fmla="*/ 1163312 w 1336827"/>
              <a:gd name="connsiteY1053" fmla="*/ 319093 h 1112837"/>
              <a:gd name="connsiteX1054" fmla="*/ 1169295 w 1336827"/>
              <a:gd name="connsiteY1054" fmla="*/ 325076 h 1112837"/>
              <a:gd name="connsiteX1055" fmla="*/ 1173284 w 1336827"/>
              <a:gd name="connsiteY1055" fmla="*/ 327070 h 1112837"/>
              <a:gd name="connsiteX1056" fmla="*/ 1179267 w 1336827"/>
              <a:gd name="connsiteY1056" fmla="*/ 327070 h 1112837"/>
              <a:gd name="connsiteX1057" fmla="*/ 1185250 w 1336827"/>
              <a:gd name="connsiteY1057" fmla="*/ 325076 h 1112837"/>
              <a:gd name="connsiteX1058" fmla="*/ 1189239 w 1336827"/>
              <a:gd name="connsiteY1058" fmla="*/ 323082 h 1112837"/>
              <a:gd name="connsiteX1059" fmla="*/ 1197217 w 1336827"/>
              <a:gd name="connsiteY1059" fmla="*/ 325076 h 1112837"/>
              <a:gd name="connsiteX1060" fmla="*/ 1199211 w 1336827"/>
              <a:gd name="connsiteY1060" fmla="*/ 333053 h 1112837"/>
              <a:gd name="connsiteX1061" fmla="*/ 1199211 w 1336827"/>
              <a:gd name="connsiteY1061" fmla="*/ 341031 h 1112837"/>
              <a:gd name="connsiteX1062" fmla="*/ 1195223 w 1336827"/>
              <a:gd name="connsiteY1062" fmla="*/ 347014 h 1112837"/>
              <a:gd name="connsiteX1063" fmla="*/ 1193228 w 1336827"/>
              <a:gd name="connsiteY1063" fmla="*/ 351002 h 1112837"/>
              <a:gd name="connsiteX1064" fmla="*/ 1189239 w 1336827"/>
              <a:gd name="connsiteY1064" fmla="*/ 351002 h 1112837"/>
              <a:gd name="connsiteX1065" fmla="*/ 1185250 w 1336827"/>
              <a:gd name="connsiteY1065" fmla="*/ 347014 h 1112837"/>
              <a:gd name="connsiteX1066" fmla="*/ 1177273 w 1336827"/>
              <a:gd name="connsiteY1066" fmla="*/ 347014 h 1112837"/>
              <a:gd name="connsiteX1067" fmla="*/ 1171289 w 1336827"/>
              <a:gd name="connsiteY1067" fmla="*/ 347014 h 1112837"/>
              <a:gd name="connsiteX1068" fmla="*/ 1163312 w 1336827"/>
              <a:gd name="connsiteY1068" fmla="*/ 347014 h 1112837"/>
              <a:gd name="connsiteX1069" fmla="*/ 1157328 w 1336827"/>
              <a:gd name="connsiteY1069" fmla="*/ 343025 h 1112837"/>
              <a:gd name="connsiteX1070" fmla="*/ 1147356 w 1336827"/>
              <a:gd name="connsiteY1070" fmla="*/ 345019 h 1112837"/>
              <a:gd name="connsiteX1071" fmla="*/ 1137384 w 1336827"/>
              <a:gd name="connsiteY1071" fmla="*/ 343025 h 1112837"/>
              <a:gd name="connsiteX1072" fmla="*/ 1129406 w 1336827"/>
              <a:gd name="connsiteY1072" fmla="*/ 341031 h 1112837"/>
              <a:gd name="connsiteX1073" fmla="*/ 1125418 w 1336827"/>
              <a:gd name="connsiteY1073" fmla="*/ 339036 h 1112837"/>
              <a:gd name="connsiteX1074" fmla="*/ 1119434 w 1336827"/>
              <a:gd name="connsiteY1074" fmla="*/ 341031 h 1112837"/>
              <a:gd name="connsiteX1075" fmla="*/ 1117440 w 1336827"/>
              <a:gd name="connsiteY1075" fmla="*/ 343025 h 1112837"/>
              <a:gd name="connsiteX1076" fmla="*/ 1119434 w 1336827"/>
              <a:gd name="connsiteY1076" fmla="*/ 345019 h 1112837"/>
              <a:gd name="connsiteX1077" fmla="*/ 1125418 w 1336827"/>
              <a:gd name="connsiteY1077" fmla="*/ 345019 h 1112837"/>
              <a:gd name="connsiteX1078" fmla="*/ 1131401 w 1336827"/>
              <a:gd name="connsiteY1078" fmla="*/ 347014 h 1112837"/>
              <a:gd name="connsiteX1079" fmla="*/ 1135390 w 1336827"/>
              <a:gd name="connsiteY1079" fmla="*/ 349008 h 1112837"/>
              <a:gd name="connsiteX1080" fmla="*/ 1133395 w 1336827"/>
              <a:gd name="connsiteY1080" fmla="*/ 354991 h 1112837"/>
              <a:gd name="connsiteX1081" fmla="*/ 1129406 w 1336827"/>
              <a:gd name="connsiteY1081" fmla="*/ 356985 h 1112837"/>
              <a:gd name="connsiteX1082" fmla="*/ 1123423 w 1336827"/>
              <a:gd name="connsiteY1082" fmla="*/ 358980 h 1112837"/>
              <a:gd name="connsiteX1083" fmla="*/ 1117440 w 1336827"/>
              <a:gd name="connsiteY1083" fmla="*/ 356985 h 1112837"/>
              <a:gd name="connsiteX1084" fmla="*/ 1115445 w 1336827"/>
              <a:gd name="connsiteY1084" fmla="*/ 351002 h 1112837"/>
              <a:gd name="connsiteX1085" fmla="*/ 1111457 w 1336827"/>
              <a:gd name="connsiteY1085" fmla="*/ 345019 h 1112837"/>
              <a:gd name="connsiteX1086" fmla="*/ 1109462 w 1336827"/>
              <a:gd name="connsiteY1086" fmla="*/ 347014 h 1112837"/>
              <a:gd name="connsiteX1087" fmla="*/ 1109462 w 1336827"/>
              <a:gd name="connsiteY1087" fmla="*/ 352997 h 1112837"/>
              <a:gd name="connsiteX1088" fmla="*/ 1103479 w 1336827"/>
              <a:gd name="connsiteY1088" fmla="*/ 352997 h 1112837"/>
              <a:gd name="connsiteX1089" fmla="*/ 1101484 w 1336827"/>
              <a:gd name="connsiteY1089" fmla="*/ 354991 h 1112837"/>
              <a:gd name="connsiteX1090" fmla="*/ 1107468 w 1336827"/>
              <a:gd name="connsiteY1090" fmla="*/ 366957 h 1112837"/>
              <a:gd name="connsiteX1091" fmla="*/ 1117440 w 1336827"/>
              <a:gd name="connsiteY1091" fmla="*/ 366957 h 1112837"/>
              <a:gd name="connsiteX1092" fmla="*/ 1121429 w 1336827"/>
              <a:gd name="connsiteY1092" fmla="*/ 370946 h 1112837"/>
              <a:gd name="connsiteX1093" fmla="*/ 1119434 w 1336827"/>
              <a:gd name="connsiteY1093" fmla="*/ 376929 h 1112837"/>
              <a:gd name="connsiteX1094" fmla="*/ 1121429 w 1336827"/>
              <a:gd name="connsiteY1094" fmla="*/ 380917 h 1112837"/>
              <a:gd name="connsiteX1095" fmla="*/ 1123423 w 1336827"/>
              <a:gd name="connsiteY1095" fmla="*/ 378923 h 1112837"/>
              <a:gd name="connsiteX1096" fmla="*/ 1125418 w 1336827"/>
              <a:gd name="connsiteY1096" fmla="*/ 380917 h 1112837"/>
              <a:gd name="connsiteX1097" fmla="*/ 1129406 w 1336827"/>
              <a:gd name="connsiteY1097" fmla="*/ 382912 h 1112837"/>
              <a:gd name="connsiteX1098" fmla="*/ 1129406 w 1336827"/>
              <a:gd name="connsiteY1098" fmla="*/ 376929 h 1112837"/>
              <a:gd name="connsiteX1099" fmla="*/ 1129406 w 1336827"/>
              <a:gd name="connsiteY1099" fmla="*/ 374934 h 1112837"/>
              <a:gd name="connsiteX1100" fmla="*/ 1135390 w 1336827"/>
              <a:gd name="connsiteY1100" fmla="*/ 374934 h 1112837"/>
              <a:gd name="connsiteX1101" fmla="*/ 1139379 w 1336827"/>
              <a:gd name="connsiteY1101" fmla="*/ 378923 h 1112837"/>
              <a:gd name="connsiteX1102" fmla="*/ 1145362 w 1336827"/>
              <a:gd name="connsiteY1102" fmla="*/ 378923 h 1112837"/>
              <a:gd name="connsiteX1103" fmla="*/ 1153340 w 1336827"/>
              <a:gd name="connsiteY1103" fmla="*/ 378923 h 1112837"/>
              <a:gd name="connsiteX1104" fmla="*/ 1159323 w 1336827"/>
              <a:gd name="connsiteY1104" fmla="*/ 378923 h 1112837"/>
              <a:gd name="connsiteX1105" fmla="*/ 1161317 w 1336827"/>
              <a:gd name="connsiteY1105" fmla="*/ 382912 h 1112837"/>
              <a:gd name="connsiteX1106" fmla="*/ 1157328 w 1336827"/>
              <a:gd name="connsiteY1106" fmla="*/ 386900 h 1112837"/>
              <a:gd name="connsiteX1107" fmla="*/ 1151345 w 1336827"/>
              <a:gd name="connsiteY1107" fmla="*/ 386900 h 1112837"/>
              <a:gd name="connsiteX1108" fmla="*/ 1147356 w 1336827"/>
              <a:gd name="connsiteY1108" fmla="*/ 388895 h 1112837"/>
              <a:gd name="connsiteX1109" fmla="*/ 1137384 w 1336827"/>
              <a:gd name="connsiteY1109" fmla="*/ 390889 h 1112837"/>
              <a:gd name="connsiteX1110" fmla="*/ 1129406 w 1336827"/>
              <a:gd name="connsiteY1110" fmla="*/ 390889 h 1112837"/>
              <a:gd name="connsiteX1111" fmla="*/ 1125418 w 1336827"/>
              <a:gd name="connsiteY1111" fmla="*/ 390889 h 1112837"/>
              <a:gd name="connsiteX1112" fmla="*/ 1121429 w 1336827"/>
              <a:gd name="connsiteY1112" fmla="*/ 392883 h 1112837"/>
              <a:gd name="connsiteX1113" fmla="*/ 1117440 w 1336827"/>
              <a:gd name="connsiteY1113" fmla="*/ 392883 h 1112837"/>
              <a:gd name="connsiteX1114" fmla="*/ 1113451 w 1336827"/>
              <a:gd name="connsiteY1114" fmla="*/ 388895 h 1112837"/>
              <a:gd name="connsiteX1115" fmla="*/ 1111457 w 1336827"/>
              <a:gd name="connsiteY1115" fmla="*/ 388895 h 1112837"/>
              <a:gd name="connsiteX1116" fmla="*/ 1111457 w 1336827"/>
              <a:gd name="connsiteY1116" fmla="*/ 394878 h 1112837"/>
              <a:gd name="connsiteX1117" fmla="*/ 1117440 w 1336827"/>
              <a:gd name="connsiteY1117" fmla="*/ 396872 h 1112837"/>
              <a:gd name="connsiteX1118" fmla="*/ 1123423 w 1336827"/>
              <a:gd name="connsiteY1118" fmla="*/ 394878 h 1112837"/>
              <a:gd name="connsiteX1119" fmla="*/ 1133395 w 1336827"/>
              <a:gd name="connsiteY1119" fmla="*/ 396872 h 1112837"/>
              <a:gd name="connsiteX1120" fmla="*/ 1141373 w 1336827"/>
              <a:gd name="connsiteY1120" fmla="*/ 396872 h 1112837"/>
              <a:gd name="connsiteX1121" fmla="*/ 1149351 w 1336827"/>
              <a:gd name="connsiteY1121" fmla="*/ 398866 h 1112837"/>
              <a:gd name="connsiteX1122" fmla="*/ 1157328 w 1336827"/>
              <a:gd name="connsiteY1122" fmla="*/ 396872 h 1112837"/>
              <a:gd name="connsiteX1123" fmla="*/ 1163312 w 1336827"/>
              <a:gd name="connsiteY1123" fmla="*/ 398866 h 1112837"/>
              <a:gd name="connsiteX1124" fmla="*/ 1167301 w 1336827"/>
              <a:gd name="connsiteY1124" fmla="*/ 402855 h 1112837"/>
              <a:gd name="connsiteX1125" fmla="*/ 1163312 w 1336827"/>
              <a:gd name="connsiteY1125" fmla="*/ 404849 h 1112837"/>
              <a:gd name="connsiteX1126" fmla="*/ 1161317 w 1336827"/>
              <a:gd name="connsiteY1126" fmla="*/ 406844 h 1112837"/>
              <a:gd name="connsiteX1127" fmla="*/ 1165306 w 1336827"/>
              <a:gd name="connsiteY1127" fmla="*/ 410832 h 1112837"/>
              <a:gd name="connsiteX1128" fmla="*/ 1167301 w 1336827"/>
              <a:gd name="connsiteY1128" fmla="*/ 412827 h 1112837"/>
              <a:gd name="connsiteX1129" fmla="*/ 1165306 w 1336827"/>
              <a:gd name="connsiteY1129" fmla="*/ 418810 h 1112837"/>
              <a:gd name="connsiteX1130" fmla="*/ 1165306 w 1336827"/>
              <a:gd name="connsiteY1130" fmla="*/ 426787 h 1112837"/>
              <a:gd name="connsiteX1131" fmla="*/ 1161317 w 1336827"/>
              <a:gd name="connsiteY1131" fmla="*/ 430776 h 1112837"/>
              <a:gd name="connsiteX1132" fmla="*/ 1155334 w 1336827"/>
              <a:gd name="connsiteY1132" fmla="*/ 432770 h 1112837"/>
              <a:gd name="connsiteX1133" fmla="*/ 1153340 w 1336827"/>
              <a:gd name="connsiteY1133" fmla="*/ 426787 h 1112837"/>
              <a:gd name="connsiteX1134" fmla="*/ 1151345 w 1336827"/>
              <a:gd name="connsiteY1134" fmla="*/ 420804 h 1112837"/>
              <a:gd name="connsiteX1135" fmla="*/ 1149351 w 1336827"/>
              <a:gd name="connsiteY1135" fmla="*/ 422798 h 1112837"/>
              <a:gd name="connsiteX1136" fmla="*/ 1143367 w 1336827"/>
              <a:gd name="connsiteY1136" fmla="*/ 422798 h 1112837"/>
              <a:gd name="connsiteX1137" fmla="*/ 1137384 w 1336827"/>
              <a:gd name="connsiteY1137" fmla="*/ 422798 h 1112837"/>
              <a:gd name="connsiteX1138" fmla="*/ 1131401 w 1336827"/>
              <a:gd name="connsiteY1138" fmla="*/ 418810 h 1112837"/>
              <a:gd name="connsiteX1139" fmla="*/ 1125418 w 1336827"/>
              <a:gd name="connsiteY1139" fmla="*/ 412827 h 1112837"/>
              <a:gd name="connsiteX1140" fmla="*/ 1119434 w 1336827"/>
              <a:gd name="connsiteY1140" fmla="*/ 406844 h 1112837"/>
              <a:gd name="connsiteX1141" fmla="*/ 1115445 w 1336827"/>
              <a:gd name="connsiteY1141" fmla="*/ 404849 h 1112837"/>
              <a:gd name="connsiteX1142" fmla="*/ 1109462 w 1336827"/>
              <a:gd name="connsiteY1142" fmla="*/ 402855 h 1112837"/>
              <a:gd name="connsiteX1143" fmla="*/ 1105473 w 1336827"/>
              <a:gd name="connsiteY1143" fmla="*/ 404849 h 1112837"/>
              <a:gd name="connsiteX1144" fmla="*/ 1107315 w 1336827"/>
              <a:gd name="connsiteY1144" fmla="*/ 408534 h 1112837"/>
              <a:gd name="connsiteX1145" fmla="*/ 1112328 w 1336827"/>
              <a:gd name="connsiteY1145" fmla="*/ 409972 h 1112837"/>
              <a:gd name="connsiteX1146" fmla="*/ 1120575 w 1336827"/>
              <a:gd name="connsiteY1146" fmla="*/ 414564 h 1112837"/>
              <a:gd name="connsiteX1147" fmla="*/ 1120575 w 1336827"/>
              <a:gd name="connsiteY1147" fmla="*/ 418646 h 1112837"/>
              <a:gd name="connsiteX1148" fmla="*/ 1113056 w 1336827"/>
              <a:gd name="connsiteY1148" fmla="*/ 415840 h 1112837"/>
              <a:gd name="connsiteX1149" fmla="*/ 1107318 w 1336827"/>
              <a:gd name="connsiteY1149" fmla="*/ 408838 h 1112837"/>
              <a:gd name="connsiteX1150" fmla="*/ 1103479 w 1336827"/>
              <a:gd name="connsiteY1150" fmla="*/ 408838 h 1112837"/>
              <a:gd name="connsiteX1151" fmla="*/ 1101484 w 1336827"/>
              <a:gd name="connsiteY1151" fmla="*/ 412827 h 1112837"/>
              <a:gd name="connsiteX1152" fmla="*/ 1101484 w 1336827"/>
              <a:gd name="connsiteY1152" fmla="*/ 416815 h 1112837"/>
              <a:gd name="connsiteX1153" fmla="*/ 1109462 w 1336827"/>
              <a:gd name="connsiteY1153" fmla="*/ 418810 h 1112837"/>
              <a:gd name="connsiteX1154" fmla="*/ 1117440 w 1336827"/>
              <a:gd name="connsiteY1154" fmla="*/ 420804 h 1112837"/>
              <a:gd name="connsiteX1155" fmla="*/ 1127412 w 1336827"/>
              <a:gd name="connsiteY1155" fmla="*/ 422798 h 1112837"/>
              <a:gd name="connsiteX1156" fmla="*/ 1131401 w 1336827"/>
              <a:gd name="connsiteY1156" fmla="*/ 424793 h 1112837"/>
              <a:gd name="connsiteX1157" fmla="*/ 1137384 w 1336827"/>
              <a:gd name="connsiteY1157" fmla="*/ 426787 h 1112837"/>
              <a:gd name="connsiteX1158" fmla="*/ 1139379 w 1336827"/>
              <a:gd name="connsiteY1158" fmla="*/ 430776 h 1112837"/>
              <a:gd name="connsiteX1159" fmla="*/ 1133395 w 1336827"/>
              <a:gd name="connsiteY1159" fmla="*/ 432770 h 1112837"/>
              <a:gd name="connsiteX1160" fmla="*/ 1123423 w 1336827"/>
              <a:gd name="connsiteY1160" fmla="*/ 430776 h 1112837"/>
              <a:gd name="connsiteX1161" fmla="*/ 1119434 w 1336827"/>
              <a:gd name="connsiteY1161" fmla="*/ 432770 h 1112837"/>
              <a:gd name="connsiteX1162" fmla="*/ 1117440 w 1336827"/>
              <a:gd name="connsiteY1162" fmla="*/ 436759 h 1112837"/>
              <a:gd name="connsiteX1163" fmla="*/ 1111457 w 1336827"/>
              <a:gd name="connsiteY1163" fmla="*/ 430776 h 1112837"/>
              <a:gd name="connsiteX1164" fmla="*/ 1105473 w 1336827"/>
              <a:gd name="connsiteY1164" fmla="*/ 428781 h 1112837"/>
              <a:gd name="connsiteX1165" fmla="*/ 1099490 w 1336827"/>
              <a:gd name="connsiteY1165" fmla="*/ 428781 h 1112837"/>
              <a:gd name="connsiteX1166" fmla="*/ 1099490 w 1336827"/>
              <a:gd name="connsiteY1166" fmla="*/ 432770 h 1112837"/>
              <a:gd name="connsiteX1167" fmla="*/ 1107468 w 1336827"/>
              <a:gd name="connsiteY1167" fmla="*/ 436759 h 1112837"/>
              <a:gd name="connsiteX1168" fmla="*/ 1111457 w 1336827"/>
              <a:gd name="connsiteY1168" fmla="*/ 440747 h 1112837"/>
              <a:gd name="connsiteX1169" fmla="*/ 1115445 w 1336827"/>
              <a:gd name="connsiteY1169" fmla="*/ 442742 h 1112837"/>
              <a:gd name="connsiteX1170" fmla="*/ 1123423 w 1336827"/>
              <a:gd name="connsiteY1170" fmla="*/ 442742 h 1112837"/>
              <a:gd name="connsiteX1171" fmla="*/ 1125418 w 1336827"/>
              <a:gd name="connsiteY1171" fmla="*/ 444736 h 1112837"/>
              <a:gd name="connsiteX1172" fmla="*/ 1131401 w 1336827"/>
              <a:gd name="connsiteY1172" fmla="*/ 444736 h 1112837"/>
              <a:gd name="connsiteX1173" fmla="*/ 1137384 w 1336827"/>
              <a:gd name="connsiteY1173" fmla="*/ 444736 h 1112837"/>
              <a:gd name="connsiteX1174" fmla="*/ 1141373 w 1336827"/>
              <a:gd name="connsiteY1174" fmla="*/ 448725 h 1112837"/>
              <a:gd name="connsiteX1175" fmla="*/ 1139379 w 1336827"/>
              <a:gd name="connsiteY1175" fmla="*/ 452713 h 1112837"/>
              <a:gd name="connsiteX1176" fmla="*/ 1137384 w 1336827"/>
              <a:gd name="connsiteY1176" fmla="*/ 456702 h 1112837"/>
              <a:gd name="connsiteX1177" fmla="*/ 1137384 w 1336827"/>
              <a:gd name="connsiteY1177" fmla="*/ 458696 h 1112837"/>
              <a:gd name="connsiteX1178" fmla="*/ 1141373 w 1336827"/>
              <a:gd name="connsiteY1178" fmla="*/ 456702 h 1112837"/>
              <a:gd name="connsiteX1179" fmla="*/ 1147356 w 1336827"/>
              <a:gd name="connsiteY1179" fmla="*/ 460691 h 1112837"/>
              <a:gd name="connsiteX1180" fmla="*/ 1149351 w 1336827"/>
              <a:gd name="connsiteY1180" fmla="*/ 462685 h 1112837"/>
              <a:gd name="connsiteX1181" fmla="*/ 1153340 w 1336827"/>
              <a:gd name="connsiteY1181" fmla="*/ 460691 h 1112837"/>
              <a:gd name="connsiteX1182" fmla="*/ 1155334 w 1336827"/>
              <a:gd name="connsiteY1182" fmla="*/ 458696 h 1112837"/>
              <a:gd name="connsiteX1183" fmla="*/ 1159323 w 1336827"/>
              <a:gd name="connsiteY1183" fmla="*/ 458696 h 1112837"/>
              <a:gd name="connsiteX1184" fmla="*/ 1161317 w 1336827"/>
              <a:gd name="connsiteY1184" fmla="*/ 458696 h 1112837"/>
              <a:gd name="connsiteX1185" fmla="*/ 1163312 w 1336827"/>
              <a:gd name="connsiteY1185" fmla="*/ 456702 h 1112837"/>
              <a:gd name="connsiteX1186" fmla="*/ 1167301 w 1336827"/>
              <a:gd name="connsiteY1186" fmla="*/ 454708 h 1112837"/>
              <a:gd name="connsiteX1187" fmla="*/ 1167301 w 1336827"/>
              <a:gd name="connsiteY1187" fmla="*/ 462685 h 1112837"/>
              <a:gd name="connsiteX1188" fmla="*/ 1169295 w 1336827"/>
              <a:gd name="connsiteY1188" fmla="*/ 464679 h 1112837"/>
              <a:gd name="connsiteX1189" fmla="*/ 1171289 w 1336827"/>
              <a:gd name="connsiteY1189" fmla="*/ 466674 h 1112837"/>
              <a:gd name="connsiteX1190" fmla="*/ 1167301 w 1336827"/>
              <a:gd name="connsiteY1190" fmla="*/ 470662 h 1112837"/>
              <a:gd name="connsiteX1191" fmla="*/ 1159323 w 1336827"/>
              <a:gd name="connsiteY1191" fmla="*/ 474651 h 1112837"/>
              <a:gd name="connsiteX1192" fmla="*/ 1151345 w 1336827"/>
              <a:gd name="connsiteY1192" fmla="*/ 474651 h 1112837"/>
              <a:gd name="connsiteX1193" fmla="*/ 1147356 w 1336827"/>
              <a:gd name="connsiteY1193" fmla="*/ 470662 h 1112837"/>
              <a:gd name="connsiteX1194" fmla="*/ 1141373 w 1336827"/>
              <a:gd name="connsiteY1194" fmla="*/ 466674 h 1112837"/>
              <a:gd name="connsiteX1195" fmla="*/ 1135390 w 1336827"/>
              <a:gd name="connsiteY1195" fmla="*/ 462685 h 1112837"/>
              <a:gd name="connsiteX1196" fmla="*/ 1129406 w 1336827"/>
              <a:gd name="connsiteY1196" fmla="*/ 462685 h 1112837"/>
              <a:gd name="connsiteX1197" fmla="*/ 1123423 w 1336827"/>
              <a:gd name="connsiteY1197" fmla="*/ 462685 h 1112837"/>
              <a:gd name="connsiteX1198" fmla="*/ 1117440 w 1336827"/>
              <a:gd name="connsiteY1198" fmla="*/ 462685 h 1112837"/>
              <a:gd name="connsiteX1199" fmla="*/ 1113451 w 1336827"/>
              <a:gd name="connsiteY1199" fmla="*/ 460691 h 1112837"/>
              <a:gd name="connsiteX1200" fmla="*/ 1109462 w 1336827"/>
              <a:gd name="connsiteY1200" fmla="*/ 458696 h 1112837"/>
              <a:gd name="connsiteX1201" fmla="*/ 1109462 w 1336827"/>
              <a:gd name="connsiteY1201" fmla="*/ 462685 h 1112837"/>
              <a:gd name="connsiteX1202" fmla="*/ 1109462 w 1336827"/>
              <a:gd name="connsiteY1202" fmla="*/ 466674 h 1112837"/>
              <a:gd name="connsiteX1203" fmla="*/ 1107468 w 1336827"/>
              <a:gd name="connsiteY1203" fmla="*/ 468668 h 1112837"/>
              <a:gd name="connsiteX1204" fmla="*/ 1105473 w 1336827"/>
              <a:gd name="connsiteY1204" fmla="*/ 468668 h 1112837"/>
              <a:gd name="connsiteX1205" fmla="*/ 1103479 w 1336827"/>
              <a:gd name="connsiteY1205" fmla="*/ 466674 h 1112837"/>
              <a:gd name="connsiteX1206" fmla="*/ 1099490 w 1336827"/>
              <a:gd name="connsiteY1206" fmla="*/ 470662 h 1112837"/>
              <a:gd name="connsiteX1207" fmla="*/ 1103479 w 1336827"/>
              <a:gd name="connsiteY1207" fmla="*/ 474651 h 1112837"/>
              <a:gd name="connsiteX1208" fmla="*/ 1105473 w 1336827"/>
              <a:gd name="connsiteY1208" fmla="*/ 478639 h 1112837"/>
              <a:gd name="connsiteX1209" fmla="*/ 1101484 w 1336827"/>
              <a:gd name="connsiteY1209" fmla="*/ 482628 h 1112837"/>
              <a:gd name="connsiteX1210" fmla="*/ 1103479 w 1336827"/>
              <a:gd name="connsiteY1210" fmla="*/ 488611 h 1112837"/>
              <a:gd name="connsiteX1211" fmla="*/ 1107468 w 1336827"/>
              <a:gd name="connsiteY1211" fmla="*/ 490605 h 1112837"/>
              <a:gd name="connsiteX1212" fmla="*/ 1107468 w 1336827"/>
              <a:gd name="connsiteY1212" fmla="*/ 496588 h 1112837"/>
              <a:gd name="connsiteX1213" fmla="*/ 1111457 w 1336827"/>
              <a:gd name="connsiteY1213" fmla="*/ 500577 h 1112837"/>
              <a:gd name="connsiteX1214" fmla="*/ 1113451 w 1336827"/>
              <a:gd name="connsiteY1214" fmla="*/ 496588 h 1112837"/>
              <a:gd name="connsiteX1215" fmla="*/ 1109462 w 1336827"/>
              <a:gd name="connsiteY1215" fmla="*/ 490605 h 1112837"/>
              <a:gd name="connsiteX1216" fmla="*/ 1111457 w 1336827"/>
              <a:gd name="connsiteY1216" fmla="*/ 486617 h 1112837"/>
              <a:gd name="connsiteX1217" fmla="*/ 1115445 w 1336827"/>
              <a:gd name="connsiteY1217" fmla="*/ 484622 h 1112837"/>
              <a:gd name="connsiteX1218" fmla="*/ 1121429 w 1336827"/>
              <a:gd name="connsiteY1218" fmla="*/ 484622 h 1112837"/>
              <a:gd name="connsiteX1219" fmla="*/ 1125418 w 1336827"/>
              <a:gd name="connsiteY1219" fmla="*/ 490605 h 1112837"/>
              <a:gd name="connsiteX1220" fmla="*/ 1127412 w 1336827"/>
              <a:gd name="connsiteY1220" fmla="*/ 492600 h 1112837"/>
              <a:gd name="connsiteX1221" fmla="*/ 1137384 w 1336827"/>
              <a:gd name="connsiteY1221" fmla="*/ 490605 h 1112837"/>
              <a:gd name="connsiteX1222" fmla="*/ 1143367 w 1336827"/>
              <a:gd name="connsiteY1222" fmla="*/ 492600 h 1112837"/>
              <a:gd name="connsiteX1223" fmla="*/ 1143367 w 1336827"/>
              <a:gd name="connsiteY1223" fmla="*/ 496588 h 1112837"/>
              <a:gd name="connsiteX1224" fmla="*/ 1141373 w 1336827"/>
              <a:gd name="connsiteY1224" fmla="*/ 500577 h 1112837"/>
              <a:gd name="connsiteX1225" fmla="*/ 1139379 w 1336827"/>
              <a:gd name="connsiteY1225" fmla="*/ 506560 h 1112837"/>
              <a:gd name="connsiteX1226" fmla="*/ 1141373 w 1336827"/>
              <a:gd name="connsiteY1226" fmla="*/ 508554 h 1112837"/>
              <a:gd name="connsiteX1227" fmla="*/ 1143367 w 1336827"/>
              <a:gd name="connsiteY1227" fmla="*/ 512543 h 1112837"/>
              <a:gd name="connsiteX1228" fmla="*/ 1137384 w 1336827"/>
              <a:gd name="connsiteY1228" fmla="*/ 512543 h 1112837"/>
              <a:gd name="connsiteX1229" fmla="*/ 1131401 w 1336827"/>
              <a:gd name="connsiteY1229" fmla="*/ 512543 h 1112837"/>
              <a:gd name="connsiteX1230" fmla="*/ 1127412 w 1336827"/>
              <a:gd name="connsiteY1230" fmla="*/ 514537 h 1112837"/>
              <a:gd name="connsiteX1231" fmla="*/ 1123423 w 1336827"/>
              <a:gd name="connsiteY1231" fmla="*/ 514537 h 1112837"/>
              <a:gd name="connsiteX1232" fmla="*/ 1117440 w 1336827"/>
              <a:gd name="connsiteY1232" fmla="*/ 512543 h 1112837"/>
              <a:gd name="connsiteX1233" fmla="*/ 1113451 w 1336827"/>
              <a:gd name="connsiteY1233" fmla="*/ 514537 h 1112837"/>
              <a:gd name="connsiteX1234" fmla="*/ 1109462 w 1336827"/>
              <a:gd name="connsiteY1234" fmla="*/ 518526 h 1112837"/>
              <a:gd name="connsiteX1235" fmla="*/ 1105473 w 1336827"/>
              <a:gd name="connsiteY1235" fmla="*/ 518526 h 1112837"/>
              <a:gd name="connsiteX1236" fmla="*/ 1103479 w 1336827"/>
              <a:gd name="connsiteY1236" fmla="*/ 520520 h 1112837"/>
              <a:gd name="connsiteX1237" fmla="*/ 1101484 w 1336827"/>
              <a:gd name="connsiteY1237" fmla="*/ 522515 h 1112837"/>
              <a:gd name="connsiteX1238" fmla="*/ 1097496 w 1336827"/>
              <a:gd name="connsiteY1238" fmla="*/ 522515 h 1112837"/>
              <a:gd name="connsiteX1239" fmla="*/ 1093507 w 1336827"/>
              <a:gd name="connsiteY1239" fmla="*/ 520520 h 1112837"/>
              <a:gd name="connsiteX1240" fmla="*/ 1087523 w 1336827"/>
              <a:gd name="connsiteY1240" fmla="*/ 518526 h 1112837"/>
              <a:gd name="connsiteX1241" fmla="*/ 1081540 w 1336827"/>
              <a:gd name="connsiteY1241" fmla="*/ 516532 h 1112837"/>
              <a:gd name="connsiteX1242" fmla="*/ 1073562 w 1336827"/>
              <a:gd name="connsiteY1242" fmla="*/ 514537 h 1112837"/>
              <a:gd name="connsiteX1243" fmla="*/ 1067579 w 1336827"/>
              <a:gd name="connsiteY1243" fmla="*/ 514537 h 1112837"/>
              <a:gd name="connsiteX1244" fmla="*/ 1063590 w 1336827"/>
              <a:gd name="connsiteY1244" fmla="*/ 508554 h 1112837"/>
              <a:gd name="connsiteX1245" fmla="*/ 1061596 w 1336827"/>
              <a:gd name="connsiteY1245" fmla="*/ 502571 h 1112837"/>
              <a:gd name="connsiteX1246" fmla="*/ 1063590 w 1336827"/>
              <a:gd name="connsiteY1246" fmla="*/ 502571 h 1112837"/>
              <a:gd name="connsiteX1247" fmla="*/ 1069573 w 1336827"/>
              <a:gd name="connsiteY1247" fmla="*/ 504566 h 1112837"/>
              <a:gd name="connsiteX1248" fmla="*/ 1077551 w 1336827"/>
              <a:gd name="connsiteY1248" fmla="*/ 508554 h 1112837"/>
              <a:gd name="connsiteX1249" fmla="*/ 1085529 w 1336827"/>
              <a:gd name="connsiteY1249" fmla="*/ 508554 h 1112837"/>
              <a:gd name="connsiteX1250" fmla="*/ 1091512 w 1336827"/>
              <a:gd name="connsiteY1250" fmla="*/ 508554 h 1112837"/>
              <a:gd name="connsiteX1251" fmla="*/ 1095501 w 1336827"/>
              <a:gd name="connsiteY1251" fmla="*/ 508554 h 1112837"/>
              <a:gd name="connsiteX1252" fmla="*/ 1095501 w 1336827"/>
              <a:gd name="connsiteY1252" fmla="*/ 506560 h 1112837"/>
              <a:gd name="connsiteX1253" fmla="*/ 1089518 w 1336827"/>
              <a:gd name="connsiteY1253" fmla="*/ 504566 h 1112837"/>
              <a:gd name="connsiteX1254" fmla="*/ 1079546 w 1336827"/>
              <a:gd name="connsiteY1254" fmla="*/ 502571 h 1112837"/>
              <a:gd name="connsiteX1255" fmla="*/ 1073562 w 1336827"/>
              <a:gd name="connsiteY1255" fmla="*/ 500577 h 1112837"/>
              <a:gd name="connsiteX1256" fmla="*/ 1065585 w 1336827"/>
              <a:gd name="connsiteY1256" fmla="*/ 498583 h 1112837"/>
              <a:gd name="connsiteX1257" fmla="*/ 1053618 w 1336827"/>
              <a:gd name="connsiteY1257" fmla="*/ 496588 h 1112837"/>
              <a:gd name="connsiteX1258" fmla="*/ 1049629 w 1336827"/>
              <a:gd name="connsiteY1258" fmla="*/ 498583 h 1112837"/>
              <a:gd name="connsiteX1259" fmla="*/ 1049629 w 1336827"/>
              <a:gd name="connsiteY1259" fmla="*/ 504566 h 1112837"/>
              <a:gd name="connsiteX1260" fmla="*/ 1051624 w 1336827"/>
              <a:gd name="connsiteY1260" fmla="*/ 508554 h 1112837"/>
              <a:gd name="connsiteX1261" fmla="*/ 1053618 w 1336827"/>
              <a:gd name="connsiteY1261" fmla="*/ 512543 h 1112837"/>
              <a:gd name="connsiteX1262" fmla="*/ 1047635 w 1336827"/>
              <a:gd name="connsiteY1262" fmla="*/ 512543 h 1112837"/>
              <a:gd name="connsiteX1263" fmla="*/ 1041651 w 1336827"/>
              <a:gd name="connsiteY1263" fmla="*/ 506560 h 1112837"/>
              <a:gd name="connsiteX1264" fmla="*/ 1039657 w 1336827"/>
              <a:gd name="connsiteY1264" fmla="*/ 502571 h 1112837"/>
              <a:gd name="connsiteX1265" fmla="*/ 1035668 w 1336827"/>
              <a:gd name="connsiteY1265" fmla="*/ 498583 h 1112837"/>
              <a:gd name="connsiteX1266" fmla="*/ 1033674 w 1336827"/>
              <a:gd name="connsiteY1266" fmla="*/ 496588 h 1112837"/>
              <a:gd name="connsiteX1267" fmla="*/ 1029685 w 1336827"/>
              <a:gd name="connsiteY1267" fmla="*/ 492600 h 1112837"/>
              <a:gd name="connsiteX1268" fmla="*/ 1025696 w 1336827"/>
              <a:gd name="connsiteY1268" fmla="*/ 492600 h 1112837"/>
              <a:gd name="connsiteX1269" fmla="*/ 1021707 w 1336827"/>
              <a:gd name="connsiteY1269" fmla="*/ 490605 h 1112837"/>
              <a:gd name="connsiteX1270" fmla="*/ 1021707 w 1336827"/>
              <a:gd name="connsiteY1270" fmla="*/ 494594 h 1112837"/>
              <a:gd name="connsiteX1271" fmla="*/ 1025696 w 1336827"/>
              <a:gd name="connsiteY1271" fmla="*/ 496588 h 1112837"/>
              <a:gd name="connsiteX1272" fmla="*/ 1037663 w 1336827"/>
              <a:gd name="connsiteY1272" fmla="*/ 506560 h 1112837"/>
              <a:gd name="connsiteX1273" fmla="*/ 1039657 w 1336827"/>
              <a:gd name="connsiteY1273" fmla="*/ 512543 h 1112837"/>
              <a:gd name="connsiteX1274" fmla="*/ 1037663 w 1336827"/>
              <a:gd name="connsiteY1274" fmla="*/ 514537 h 1112837"/>
              <a:gd name="connsiteX1275" fmla="*/ 1029685 w 1336827"/>
              <a:gd name="connsiteY1275" fmla="*/ 514537 h 1112837"/>
              <a:gd name="connsiteX1276" fmla="*/ 1027690 w 1336827"/>
              <a:gd name="connsiteY1276" fmla="*/ 514537 h 1112837"/>
              <a:gd name="connsiteX1277" fmla="*/ 1025696 w 1336827"/>
              <a:gd name="connsiteY1277" fmla="*/ 522515 h 1112837"/>
              <a:gd name="connsiteX1278" fmla="*/ 1021707 w 1336827"/>
              <a:gd name="connsiteY1278" fmla="*/ 526503 h 1112837"/>
              <a:gd name="connsiteX1279" fmla="*/ 1015724 w 1336827"/>
              <a:gd name="connsiteY1279" fmla="*/ 524509 h 1112837"/>
              <a:gd name="connsiteX1280" fmla="*/ 1007746 w 1336827"/>
              <a:gd name="connsiteY1280" fmla="*/ 522515 h 1112837"/>
              <a:gd name="connsiteX1281" fmla="*/ 1007746 w 1336827"/>
              <a:gd name="connsiteY1281" fmla="*/ 518526 h 1112837"/>
              <a:gd name="connsiteX1282" fmla="*/ 1001763 w 1336827"/>
              <a:gd name="connsiteY1282" fmla="*/ 520520 h 1112837"/>
              <a:gd name="connsiteX1283" fmla="*/ 995780 w 1336827"/>
              <a:gd name="connsiteY1283" fmla="*/ 518526 h 1112837"/>
              <a:gd name="connsiteX1284" fmla="*/ 987802 w 1336827"/>
              <a:gd name="connsiteY1284" fmla="*/ 514537 h 1112837"/>
              <a:gd name="connsiteX1285" fmla="*/ 985807 w 1336827"/>
              <a:gd name="connsiteY1285" fmla="*/ 516532 h 1112837"/>
              <a:gd name="connsiteX1286" fmla="*/ 987802 w 1336827"/>
              <a:gd name="connsiteY1286" fmla="*/ 520520 h 1112837"/>
              <a:gd name="connsiteX1287" fmla="*/ 993785 w 1336827"/>
              <a:gd name="connsiteY1287" fmla="*/ 522515 h 1112837"/>
              <a:gd name="connsiteX1288" fmla="*/ 999768 w 1336827"/>
              <a:gd name="connsiteY1288" fmla="*/ 522515 h 1112837"/>
              <a:gd name="connsiteX1289" fmla="*/ 999768 w 1336827"/>
              <a:gd name="connsiteY1289" fmla="*/ 526503 h 1112837"/>
              <a:gd name="connsiteX1290" fmla="*/ 995780 w 1336827"/>
              <a:gd name="connsiteY1290" fmla="*/ 526503 h 1112837"/>
              <a:gd name="connsiteX1291" fmla="*/ 985807 w 1336827"/>
              <a:gd name="connsiteY1291" fmla="*/ 524509 h 1112837"/>
              <a:gd name="connsiteX1292" fmla="*/ 981818 w 1336827"/>
              <a:gd name="connsiteY1292" fmla="*/ 522515 h 1112837"/>
              <a:gd name="connsiteX1293" fmla="*/ 977830 w 1336827"/>
              <a:gd name="connsiteY1293" fmla="*/ 526503 h 1112837"/>
              <a:gd name="connsiteX1294" fmla="*/ 979824 w 1336827"/>
              <a:gd name="connsiteY1294" fmla="*/ 528498 h 1112837"/>
              <a:gd name="connsiteX1295" fmla="*/ 981818 w 1336827"/>
              <a:gd name="connsiteY1295" fmla="*/ 530492 h 1112837"/>
              <a:gd name="connsiteX1296" fmla="*/ 981818 w 1336827"/>
              <a:gd name="connsiteY1296" fmla="*/ 534481 h 1112837"/>
              <a:gd name="connsiteX1297" fmla="*/ 981818 w 1336827"/>
              <a:gd name="connsiteY1297" fmla="*/ 536475 h 1112837"/>
              <a:gd name="connsiteX1298" fmla="*/ 985807 w 1336827"/>
              <a:gd name="connsiteY1298" fmla="*/ 536475 h 1112837"/>
              <a:gd name="connsiteX1299" fmla="*/ 987802 w 1336827"/>
              <a:gd name="connsiteY1299" fmla="*/ 534481 h 1112837"/>
              <a:gd name="connsiteX1300" fmla="*/ 989796 w 1336827"/>
              <a:gd name="connsiteY1300" fmla="*/ 530492 h 1112837"/>
              <a:gd name="connsiteX1301" fmla="*/ 993785 w 1336827"/>
              <a:gd name="connsiteY1301" fmla="*/ 530492 h 1112837"/>
              <a:gd name="connsiteX1302" fmla="*/ 997774 w 1336827"/>
              <a:gd name="connsiteY1302" fmla="*/ 530492 h 1112837"/>
              <a:gd name="connsiteX1303" fmla="*/ 1001763 w 1336827"/>
              <a:gd name="connsiteY1303" fmla="*/ 530492 h 1112837"/>
              <a:gd name="connsiteX1304" fmla="*/ 1003757 w 1336827"/>
              <a:gd name="connsiteY1304" fmla="*/ 530492 h 1112837"/>
              <a:gd name="connsiteX1305" fmla="*/ 1009741 w 1336827"/>
              <a:gd name="connsiteY1305" fmla="*/ 526503 h 1112837"/>
              <a:gd name="connsiteX1306" fmla="*/ 1019713 w 1336827"/>
              <a:gd name="connsiteY1306" fmla="*/ 528498 h 1112837"/>
              <a:gd name="connsiteX1307" fmla="*/ 1025696 w 1336827"/>
              <a:gd name="connsiteY1307" fmla="*/ 530492 h 1112837"/>
              <a:gd name="connsiteX1308" fmla="*/ 1029685 w 1336827"/>
              <a:gd name="connsiteY1308" fmla="*/ 530492 h 1112837"/>
              <a:gd name="connsiteX1309" fmla="*/ 1033674 w 1336827"/>
              <a:gd name="connsiteY1309" fmla="*/ 530492 h 1112837"/>
              <a:gd name="connsiteX1310" fmla="*/ 1037663 w 1336827"/>
              <a:gd name="connsiteY1310" fmla="*/ 530492 h 1112837"/>
              <a:gd name="connsiteX1311" fmla="*/ 1037663 w 1336827"/>
              <a:gd name="connsiteY1311" fmla="*/ 532486 h 1112837"/>
              <a:gd name="connsiteX1312" fmla="*/ 1033674 w 1336827"/>
              <a:gd name="connsiteY1312" fmla="*/ 536475 h 1112837"/>
              <a:gd name="connsiteX1313" fmla="*/ 1029685 w 1336827"/>
              <a:gd name="connsiteY1313" fmla="*/ 536475 h 1112837"/>
              <a:gd name="connsiteX1314" fmla="*/ 1021707 w 1336827"/>
              <a:gd name="connsiteY1314" fmla="*/ 538470 h 1112837"/>
              <a:gd name="connsiteX1315" fmla="*/ 1015724 w 1336827"/>
              <a:gd name="connsiteY1315" fmla="*/ 538470 h 1112837"/>
              <a:gd name="connsiteX1316" fmla="*/ 1011735 w 1336827"/>
              <a:gd name="connsiteY1316" fmla="*/ 542458 h 1112837"/>
              <a:gd name="connsiteX1317" fmla="*/ 1005752 w 1336827"/>
              <a:gd name="connsiteY1317" fmla="*/ 542458 h 1112837"/>
              <a:gd name="connsiteX1318" fmla="*/ 1001763 w 1336827"/>
              <a:gd name="connsiteY1318" fmla="*/ 540464 h 1112837"/>
              <a:gd name="connsiteX1319" fmla="*/ 997774 w 1336827"/>
              <a:gd name="connsiteY1319" fmla="*/ 538470 h 1112837"/>
              <a:gd name="connsiteX1320" fmla="*/ 985807 w 1336827"/>
              <a:gd name="connsiteY1320" fmla="*/ 538470 h 1112837"/>
              <a:gd name="connsiteX1321" fmla="*/ 981818 w 1336827"/>
              <a:gd name="connsiteY1321" fmla="*/ 540464 h 1112837"/>
              <a:gd name="connsiteX1322" fmla="*/ 981818 w 1336827"/>
              <a:gd name="connsiteY1322" fmla="*/ 546447 h 1112837"/>
              <a:gd name="connsiteX1323" fmla="*/ 985807 w 1336827"/>
              <a:gd name="connsiteY1323" fmla="*/ 546447 h 1112837"/>
              <a:gd name="connsiteX1324" fmla="*/ 991791 w 1336827"/>
              <a:gd name="connsiteY1324" fmla="*/ 546447 h 1112837"/>
              <a:gd name="connsiteX1325" fmla="*/ 997774 w 1336827"/>
              <a:gd name="connsiteY1325" fmla="*/ 544453 h 1112837"/>
              <a:gd name="connsiteX1326" fmla="*/ 1003757 w 1336827"/>
              <a:gd name="connsiteY1326" fmla="*/ 548441 h 1112837"/>
              <a:gd name="connsiteX1327" fmla="*/ 1007746 w 1336827"/>
              <a:gd name="connsiteY1327" fmla="*/ 552430 h 1112837"/>
              <a:gd name="connsiteX1328" fmla="*/ 1015724 w 1336827"/>
              <a:gd name="connsiteY1328" fmla="*/ 550436 h 1112837"/>
              <a:gd name="connsiteX1329" fmla="*/ 1019713 w 1336827"/>
              <a:gd name="connsiteY1329" fmla="*/ 546447 h 1112837"/>
              <a:gd name="connsiteX1330" fmla="*/ 1023702 w 1336827"/>
              <a:gd name="connsiteY1330" fmla="*/ 546447 h 1112837"/>
              <a:gd name="connsiteX1331" fmla="*/ 1027690 w 1336827"/>
              <a:gd name="connsiteY1331" fmla="*/ 546447 h 1112837"/>
              <a:gd name="connsiteX1332" fmla="*/ 1029685 w 1336827"/>
              <a:gd name="connsiteY1332" fmla="*/ 548441 h 1112837"/>
              <a:gd name="connsiteX1333" fmla="*/ 1035668 w 1336827"/>
              <a:gd name="connsiteY1333" fmla="*/ 550436 h 1112837"/>
              <a:gd name="connsiteX1334" fmla="*/ 1039657 w 1336827"/>
              <a:gd name="connsiteY1334" fmla="*/ 556419 h 1112837"/>
              <a:gd name="connsiteX1335" fmla="*/ 1039657 w 1336827"/>
              <a:gd name="connsiteY1335" fmla="*/ 558413 h 1112837"/>
              <a:gd name="connsiteX1336" fmla="*/ 1033674 w 1336827"/>
              <a:gd name="connsiteY1336" fmla="*/ 560407 h 1112837"/>
              <a:gd name="connsiteX1337" fmla="*/ 1025696 w 1336827"/>
              <a:gd name="connsiteY1337" fmla="*/ 560407 h 1112837"/>
              <a:gd name="connsiteX1338" fmla="*/ 1015724 w 1336827"/>
              <a:gd name="connsiteY1338" fmla="*/ 560407 h 1112837"/>
              <a:gd name="connsiteX1339" fmla="*/ 1011735 w 1336827"/>
              <a:gd name="connsiteY1339" fmla="*/ 562402 h 1112837"/>
              <a:gd name="connsiteX1340" fmla="*/ 1005752 w 1336827"/>
              <a:gd name="connsiteY1340" fmla="*/ 562402 h 1112837"/>
              <a:gd name="connsiteX1341" fmla="*/ 1007746 w 1336827"/>
              <a:gd name="connsiteY1341" fmla="*/ 566390 h 1112837"/>
              <a:gd name="connsiteX1342" fmla="*/ 1017718 w 1336827"/>
              <a:gd name="connsiteY1342" fmla="*/ 564396 h 1112837"/>
              <a:gd name="connsiteX1343" fmla="*/ 1021707 w 1336827"/>
              <a:gd name="connsiteY1343" fmla="*/ 566390 h 1112837"/>
              <a:gd name="connsiteX1344" fmla="*/ 1019713 w 1336827"/>
              <a:gd name="connsiteY1344" fmla="*/ 570379 h 1112837"/>
              <a:gd name="connsiteX1345" fmla="*/ 1019713 w 1336827"/>
              <a:gd name="connsiteY1345" fmla="*/ 576362 h 1112837"/>
              <a:gd name="connsiteX1346" fmla="*/ 1023702 w 1336827"/>
              <a:gd name="connsiteY1346" fmla="*/ 576362 h 1112837"/>
              <a:gd name="connsiteX1347" fmla="*/ 1025696 w 1336827"/>
              <a:gd name="connsiteY1347" fmla="*/ 572373 h 1112837"/>
              <a:gd name="connsiteX1348" fmla="*/ 1029685 w 1336827"/>
              <a:gd name="connsiteY1348" fmla="*/ 568385 h 1112837"/>
              <a:gd name="connsiteX1349" fmla="*/ 1037663 w 1336827"/>
              <a:gd name="connsiteY1349" fmla="*/ 564396 h 1112837"/>
              <a:gd name="connsiteX1350" fmla="*/ 1041651 w 1336827"/>
              <a:gd name="connsiteY1350" fmla="*/ 568385 h 1112837"/>
              <a:gd name="connsiteX1351" fmla="*/ 1047635 w 1336827"/>
              <a:gd name="connsiteY1351" fmla="*/ 570379 h 1112837"/>
              <a:gd name="connsiteX1352" fmla="*/ 1049629 w 1336827"/>
              <a:gd name="connsiteY1352" fmla="*/ 572373 h 1112837"/>
              <a:gd name="connsiteX1353" fmla="*/ 1055612 w 1336827"/>
              <a:gd name="connsiteY1353" fmla="*/ 576362 h 1112837"/>
              <a:gd name="connsiteX1354" fmla="*/ 1061596 w 1336827"/>
              <a:gd name="connsiteY1354" fmla="*/ 576362 h 1112837"/>
              <a:gd name="connsiteX1355" fmla="*/ 1067579 w 1336827"/>
              <a:gd name="connsiteY1355" fmla="*/ 576362 h 1112837"/>
              <a:gd name="connsiteX1356" fmla="*/ 1069573 w 1336827"/>
              <a:gd name="connsiteY1356" fmla="*/ 580351 h 1112837"/>
              <a:gd name="connsiteX1357" fmla="*/ 1073562 w 1336827"/>
              <a:gd name="connsiteY1357" fmla="*/ 584339 h 1112837"/>
              <a:gd name="connsiteX1358" fmla="*/ 1081540 w 1336827"/>
              <a:gd name="connsiteY1358" fmla="*/ 586334 h 1112837"/>
              <a:gd name="connsiteX1359" fmla="*/ 1085529 w 1336827"/>
              <a:gd name="connsiteY1359" fmla="*/ 586334 h 1112837"/>
              <a:gd name="connsiteX1360" fmla="*/ 1087523 w 1336827"/>
              <a:gd name="connsiteY1360" fmla="*/ 586334 h 1112837"/>
              <a:gd name="connsiteX1361" fmla="*/ 1085529 w 1336827"/>
              <a:gd name="connsiteY1361" fmla="*/ 590322 h 1112837"/>
              <a:gd name="connsiteX1362" fmla="*/ 1081540 w 1336827"/>
              <a:gd name="connsiteY1362" fmla="*/ 592317 h 1112837"/>
              <a:gd name="connsiteX1363" fmla="*/ 1079546 w 1336827"/>
              <a:gd name="connsiteY1363" fmla="*/ 594311 h 1112837"/>
              <a:gd name="connsiteX1364" fmla="*/ 1075557 w 1336827"/>
              <a:gd name="connsiteY1364" fmla="*/ 596305 h 1112837"/>
              <a:gd name="connsiteX1365" fmla="*/ 1073562 w 1336827"/>
              <a:gd name="connsiteY1365" fmla="*/ 600294 h 1112837"/>
              <a:gd name="connsiteX1366" fmla="*/ 1071568 w 1336827"/>
              <a:gd name="connsiteY1366" fmla="*/ 604283 h 1112837"/>
              <a:gd name="connsiteX1367" fmla="*/ 1075557 w 1336827"/>
              <a:gd name="connsiteY1367" fmla="*/ 606277 h 1112837"/>
              <a:gd name="connsiteX1368" fmla="*/ 1079546 w 1336827"/>
              <a:gd name="connsiteY1368" fmla="*/ 604283 h 1112837"/>
              <a:gd name="connsiteX1369" fmla="*/ 1085529 w 1336827"/>
              <a:gd name="connsiteY1369" fmla="*/ 598300 h 1112837"/>
              <a:gd name="connsiteX1370" fmla="*/ 1089518 w 1336827"/>
              <a:gd name="connsiteY1370" fmla="*/ 594311 h 1112837"/>
              <a:gd name="connsiteX1371" fmla="*/ 1091512 w 1336827"/>
              <a:gd name="connsiteY1371" fmla="*/ 596305 h 1112837"/>
              <a:gd name="connsiteX1372" fmla="*/ 1087523 w 1336827"/>
              <a:gd name="connsiteY1372" fmla="*/ 600294 h 1112837"/>
              <a:gd name="connsiteX1373" fmla="*/ 1087523 w 1336827"/>
              <a:gd name="connsiteY1373" fmla="*/ 606277 h 1112837"/>
              <a:gd name="connsiteX1374" fmla="*/ 1087523 w 1336827"/>
              <a:gd name="connsiteY1374" fmla="*/ 610266 h 1112837"/>
              <a:gd name="connsiteX1375" fmla="*/ 1087523 w 1336827"/>
              <a:gd name="connsiteY1375" fmla="*/ 616249 h 1112837"/>
              <a:gd name="connsiteX1376" fmla="*/ 1091512 w 1336827"/>
              <a:gd name="connsiteY1376" fmla="*/ 614254 h 1112837"/>
              <a:gd name="connsiteX1377" fmla="*/ 1093507 w 1336827"/>
              <a:gd name="connsiteY1377" fmla="*/ 610266 h 1112837"/>
              <a:gd name="connsiteX1378" fmla="*/ 1097496 w 1336827"/>
              <a:gd name="connsiteY1378" fmla="*/ 610266 h 1112837"/>
              <a:gd name="connsiteX1379" fmla="*/ 1101484 w 1336827"/>
              <a:gd name="connsiteY1379" fmla="*/ 608271 h 1112837"/>
              <a:gd name="connsiteX1380" fmla="*/ 1105473 w 1336827"/>
              <a:gd name="connsiteY1380" fmla="*/ 608271 h 1112837"/>
              <a:gd name="connsiteX1381" fmla="*/ 1107468 w 1336827"/>
              <a:gd name="connsiteY1381" fmla="*/ 614254 h 1112837"/>
              <a:gd name="connsiteX1382" fmla="*/ 1107468 w 1336827"/>
              <a:gd name="connsiteY1382" fmla="*/ 616249 h 1112837"/>
              <a:gd name="connsiteX1383" fmla="*/ 1105473 w 1336827"/>
              <a:gd name="connsiteY1383" fmla="*/ 620237 h 1112837"/>
              <a:gd name="connsiteX1384" fmla="*/ 1097496 w 1336827"/>
              <a:gd name="connsiteY1384" fmla="*/ 622232 h 1112837"/>
              <a:gd name="connsiteX1385" fmla="*/ 1093507 w 1336827"/>
              <a:gd name="connsiteY1385" fmla="*/ 624226 h 1112837"/>
              <a:gd name="connsiteX1386" fmla="*/ 1093507 w 1336827"/>
              <a:gd name="connsiteY1386" fmla="*/ 626220 h 1112837"/>
              <a:gd name="connsiteX1387" fmla="*/ 1099490 w 1336827"/>
              <a:gd name="connsiteY1387" fmla="*/ 626220 h 1112837"/>
              <a:gd name="connsiteX1388" fmla="*/ 1105473 w 1336827"/>
              <a:gd name="connsiteY1388" fmla="*/ 628215 h 1112837"/>
              <a:gd name="connsiteX1389" fmla="*/ 1107468 w 1336827"/>
              <a:gd name="connsiteY1389" fmla="*/ 632203 h 1112837"/>
              <a:gd name="connsiteX1390" fmla="*/ 1107468 w 1336827"/>
              <a:gd name="connsiteY1390" fmla="*/ 634198 h 1112837"/>
              <a:gd name="connsiteX1391" fmla="*/ 1105473 w 1336827"/>
              <a:gd name="connsiteY1391" fmla="*/ 636192 h 1112837"/>
              <a:gd name="connsiteX1392" fmla="*/ 1105473 w 1336827"/>
              <a:gd name="connsiteY1392" fmla="*/ 638186 h 1112837"/>
              <a:gd name="connsiteX1393" fmla="*/ 1107468 w 1336827"/>
              <a:gd name="connsiteY1393" fmla="*/ 642175 h 1112837"/>
              <a:gd name="connsiteX1394" fmla="*/ 1113451 w 1336827"/>
              <a:gd name="connsiteY1394" fmla="*/ 648158 h 1112837"/>
              <a:gd name="connsiteX1395" fmla="*/ 1109462 w 1336827"/>
              <a:gd name="connsiteY1395" fmla="*/ 648158 h 1112837"/>
              <a:gd name="connsiteX1396" fmla="*/ 1105473 w 1336827"/>
              <a:gd name="connsiteY1396" fmla="*/ 650152 h 1112837"/>
              <a:gd name="connsiteX1397" fmla="*/ 1103479 w 1336827"/>
              <a:gd name="connsiteY1397" fmla="*/ 652147 h 1112837"/>
              <a:gd name="connsiteX1398" fmla="*/ 1099490 w 1336827"/>
              <a:gd name="connsiteY1398" fmla="*/ 652147 h 1112837"/>
              <a:gd name="connsiteX1399" fmla="*/ 1095501 w 1336827"/>
              <a:gd name="connsiteY1399" fmla="*/ 652147 h 1112837"/>
              <a:gd name="connsiteX1400" fmla="*/ 1089518 w 1336827"/>
              <a:gd name="connsiteY1400" fmla="*/ 652147 h 1112837"/>
              <a:gd name="connsiteX1401" fmla="*/ 1089518 w 1336827"/>
              <a:gd name="connsiteY1401" fmla="*/ 642175 h 1112837"/>
              <a:gd name="connsiteX1402" fmla="*/ 1091512 w 1336827"/>
              <a:gd name="connsiteY1402" fmla="*/ 636192 h 1112837"/>
              <a:gd name="connsiteX1403" fmla="*/ 1087523 w 1336827"/>
              <a:gd name="connsiteY1403" fmla="*/ 636192 h 1112837"/>
              <a:gd name="connsiteX1404" fmla="*/ 1085529 w 1336827"/>
              <a:gd name="connsiteY1404" fmla="*/ 640181 h 1112837"/>
              <a:gd name="connsiteX1405" fmla="*/ 1083534 w 1336827"/>
              <a:gd name="connsiteY1405" fmla="*/ 648158 h 1112837"/>
              <a:gd name="connsiteX1406" fmla="*/ 1077551 w 1336827"/>
              <a:gd name="connsiteY1406" fmla="*/ 654141 h 1112837"/>
              <a:gd name="connsiteX1407" fmla="*/ 1073562 w 1336827"/>
              <a:gd name="connsiteY1407" fmla="*/ 656135 h 1112837"/>
              <a:gd name="connsiteX1408" fmla="*/ 1067579 w 1336827"/>
              <a:gd name="connsiteY1408" fmla="*/ 654141 h 1112837"/>
              <a:gd name="connsiteX1409" fmla="*/ 1057607 w 1336827"/>
              <a:gd name="connsiteY1409" fmla="*/ 648158 h 1112837"/>
              <a:gd name="connsiteX1410" fmla="*/ 1053618 w 1336827"/>
              <a:gd name="connsiteY1410" fmla="*/ 642175 h 1112837"/>
              <a:gd name="connsiteX1411" fmla="*/ 1051624 w 1336827"/>
              <a:gd name="connsiteY1411" fmla="*/ 632203 h 1112837"/>
              <a:gd name="connsiteX1412" fmla="*/ 1049629 w 1336827"/>
              <a:gd name="connsiteY1412" fmla="*/ 624226 h 1112837"/>
              <a:gd name="connsiteX1413" fmla="*/ 1043646 w 1336827"/>
              <a:gd name="connsiteY1413" fmla="*/ 618243 h 1112837"/>
              <a:gd name="connsiteX1414" fmla="*/ 1037663 w 1336827"/>
              <a:gd name="connsiteY1414" fmla="*/ 614254 h 1112837"/>
              <a:gd name="connsiteX1415" fmla="*/ 1033674 w 1336827"/>
              <a:gd name="connsiteY1415" fmla="*/ 614254 h 1112837"/>
              <a:gd name="connsiteX1416" fmla="*/ 1023702 w 1336827"/>
              <a:gd name="connsiteY1416" fmla="*/ 612260 h 1112837"/>
              <a:gd name="connsiteX1417" fmla="*/ 1021707 w 1336827"/>
              <a:gd name="connsiteY1417" fmla="*/ 608271 h 1112837"/>
              <a:gd name="connsiteX1418" fmla="*/ 1019713 w 1336827"/>
              <a:gd name="connsiteY1418" fmla="*/ 604283 h 1112837"/>
              <a:gd name="connsiteX1419" fmla="*/ 1015724 w 1336827"/>
              <a:gd name="connsiteY1419" fmla="*/ 604283 h 1112837"/>
              <a:gd name="connsiteX1420" fmla="*/ 1009741 w 1336827"/>
              <a:gd name="connsiteY1420" fmla="*/ 604283 h 1112837"/>
              <a:gd name="connsiteX1421" fmla="*/ 1005752 w 1336827"/>
              <a:gd name="connsiteY1421" fmla="*/ 602288 h 1112837"/>
              <a:gd name="connsiteX1422" fmla="*/ 1001763 w 1336827"/>
              <a:gd name="connsiteY1422" fmla="*/ 602288 h 1112837"/>
              <a:gd name="connsiteX1423" fmla="*/ 995780 w 1336827"/>
              <a:gd name="connsiteY1423" fmla="*/ 602288 h 1112837"/>
              <a:gd name="connsiteX1424" fmla="*/ 995780 w 1336827"/>
              <a:gd name="connsiteY1424" fmla="*/ 598300 h 1112837"/>
              <a:gd name="connsiteX1425" fmla="*/ 991791 w 1336827"/>
              <a:gd name="connsiteY1425" fmla="*/ 598300 h 1112837"/>
              <a:gd name="connsiteX1426" fmla="*/ 989796 w 1336827"/>
              <a:gd name="connsiteY1426" fmla="*/ 602288 h 1112837"/>
              <a:gd name="connsiteX1427" fmla="*/ 983813 w 1336827"/>
              <a:gd name="connsiteY1427" fmla="*/ 602288 h 1112837"/>
              <a:gd name="connsiteX1428" fmla="*/ 981818 w 1336827"/>
              <a:gd name="connsiteY1428" fmla="*/ 598300 h 1112837"/>
              <a:gd name="connsiteX1429" fmla="*/ 977830 w 1336827"/>
              <a:gd name="connsiteY1429" fmla="*/ 592317 h 1112837"/>
              <a:gd name="connsiteX1430" fmla="*/ 973841 w 1336827"/>
              <a:gd name="connsiteY1430" fmla="*/ 586334 h 1112837"/>
              <a:gd name="connsiteX1431" fmla="*/ 969852 w 1336827"/>
              <a:gd name="connsiteY1431" fmla="*/ 582345 h 1112837"/>
              <a:gd name="connsiteX1432" fmla="*/ 963869 w 1336827"/>
              <a:gd name="connsiteY1432" fmla="*/ 580351 h 1112837"/>
              <a:gd name="connsiteX1433" fmla="*/ 959880 w 1336827"/>
              <a:gd name="connsiteY1433" fmla="*/ 580351 h 1112837"/>
              <a:gd name="connsiteX1434" fmla="*/ 955891 w 1336827"/>
              <a:gd name="connsiteY1434" fmla="*/ 578356 h 1112837"/>
              <a:gd name="connsiteX1435" fmla="*/ 951902 w 1336827"/>
              <a:gd name="connsiteY1435" fmla="*/ 578356 h 1112837"/>
              <a:gd name="connsiteX1436" fmla="*/ 951902 w 1336827"/>
              <a:gd name="connsiteY1436" fmla="*/ 586334 h 1112837"/>
              <a:gd name="connsiteX1437" fmla="*/ 957885 w 1336827"/>
              <a:gd name="connsiteY1437" fmla="*/ 588328 h 1112837"/>
              <a:gd name="connsiteX1438" fmla="*/ 963869 w 1336827"/>
              <a:gd name="connsiteY1438" fmla="*/ 590322 h 1112837"/>
              <a:gd name="connsiteX1439" fmla="*/ 969852 w 1336827"/>
              <a:gd name="connsiteY1439" fmla="*/ 594311 h 1112837"/>
              <a:gd name="connsiteX1440" fmla="*/ 973841 w 1336827"/>
              <a:gd name="connsiteY1440" fmla="*/ 596305 h 1112837"/>
              <a:gd name="connsiteX1441" fmla="*/ 967857 w 1336827"/>
              <a:gd name="connsiteY1441" fmla="*/ 598300 h 1112837"/>
              <a:gd name="connsiteX1442" fmla="*/ 963869 w 1336827"/>
              <a:gd name="connsiteY1442" fmla="*/ 600294 h 1112837"/>
              <a:gd name="connsiteX1443" fmla="*/ 959880 w 1336827"/>
              <a:gd name="connsiteY1443" fmla="*/ 600294 h 1112837"/>
              <a:gd name="connsiteX1444" fmla="*/ 955891 w 1336827"/>
              <a:gd name="connsiteY1444" fmla="*/ 598300 h 1112837"/>
              <a:gd name="connsiteX1445" fmla="*/ 953896 w 1336827"/>
              <a:gd name="connsiteY1445" fmla="*/ 598300 h 1112837"/>
              <a:gd name="connsiteX1446" fmla="*/ 953896 w 1336827"/>
              <a:gd name="connsiteY1446" fmla="*/ 602288 h 1112837"/>
              <a:gd name="connsiteX1447" fmla="*/ 957885 w 1336827"/>
              <a:gd name="connsiteY1447" fmla="*/ 606277 h 1112837"/>
              <a:gd name="connsiteX1448" fmla="*/ 961874 w 1336827"/>
              <a:gd name="connsiteY1448" fmla="*/ 604283 h 1112837"/>
              <a:gd name="connsiteX1449" fmla="*/ 965863 w 1336827"/>
              <a:gd name="connsiteY1449" fmla="*/ 606277 h 1112837"/>
              <a:gd name="connsiteX1450" fmla="*/ 971846 w 1336827"/>
              <a:gd name="connsiteY1450" fmla="*/ 604283 h 1112837"/>
              <a:gd name="connsiteX1451" fmla="*/ 975835 w 1336827"/>
              <a:gd name="connsiteY1451" fmla="*/ 606277 h 1112837"/>
              <a:gd name="connsiteX1452" fmla="*/ 977830 w 1336827"/>
              <a:gd name="connsiteY1452" fmla="*/ 610266 h 1112837"/>
              <a:gd name="connsiteX1453" fmla="*/ 981818 w 1336827"/>
              <a:gd name="connsiteY1453" fmla="*/ 610266 h 1112837"/>
              <a:gd name="connsiteX1454" fmla="*/ 991791 w 1336827"/>
              <a:gd name="connsiteY1454" fmla="*/ 608271 h 1112837"/>
              <a:gd name="connsiteX1455" fmla="*/ 997774 w 1336827"/>
              <a:gd name="connsiteY1455" fmla="*/ 608271 h 1112837"/>
              <a:gd name="connsiteX1456" fmla="*/ 1005752 w 1336827"/>
              <a:gd name="connsiteY1456" fmla="*/ 610266 h 1112837"/>
              <a:gd name="connsiteX1457" fmla="*/ 1011735 w 1336827"/>
              <a:gd name="connsiteY1457" fmla="*/ 610266 h 1112837"/>
              <a:gd name="connsiteX1458" fmla="*/ 1017718 w 1336827"/>
              <a:gd name="connsiteY1458" fmla="*/ 612260 h 1112837"/>
              <a:gd name="connsiteX1459" fmla="*/ 1019713 w 1336827"/>
              <a:gd name="connsiteY1459" fmla="*/ 614254 h 1112837"/>
              <a:gd name="connsiteX1460" fmla="*/ 1015724 w 1336827"/>
              <a:gd name="connsiteY1460" fmla="*/ 618243 h 1112837"/>
              <a:gd name="connsiteX1461" fmla="*/ 1011735 w 1336827"/>
              <a:gd name="connsiteY1461" fmla="*/ 620237 h 1112837"/>
              <a:gd name="connsiteX1462" fmla="*/ 1009741 w 1336827"/>
              <a:gd name="connsiteY1462" fmla="*/ 622232 h 1112837"/>
              <a:gd name="connsiteX1463" fmla="*/ 1001763 w 1336827"/>
              <a:gd name="connsiteY1463" fmla="*/ 624226 h 1112837"/>
              <a:gd name="connsiteX1464" fmla="*/ 993785 w 1336827"/>
              <a:gd name="connsiteY1464" fmla="*/ 626220 h 1112837"/>
              <a:gd name="connsiteX1465" fmla="*/ 989796 w 1336827"/>
              <a:gd name="connsiteY1465" fmla="*/ 628215 h 1112837"/>
              <a:gd name="connsiteX1466" fmla="*/ 983813 w 1336827"/>
              <a:gd name="connsiteY1466" fmla="*/ 630209 h 1112837"/>
              <a:gd name="connsiteX1467" fmla="*/ 977830 w 1336827"/>
              <a:gd name="connsiteY1467" fmla="*/ 630209 h 1112837"/>
              <a:gd name="connsiteX1468" fmla="*/ 973841 w 1336827"/>
              <a:gd name="connsiteY1468" fmla="*/ 630209 h 1112837"/>
              <a:gd name="connsiteX1469" fmla="*/ 969852 w 1336827"/>
              <a:gd name="connsiteY1469" fmla="*/ 628215 h 1112837"/>
              <a:gd name="connsiteX1470" fmla="*/ 965863 w 1336827"/>
              <a:gd name="connsiteY1470" fmla="*/ 628215 h 1112837"/>
              <a:gd name="connsiteX1471" fmla="*/ 955891 w 1336827"/>
              <a:gd name="connsiteY1471" fmla="*/ 628215 h 1112837"/>
              <a:gd name="connsiteX1472" fmla="*/ 951902 w 1336827"/>
              <a:gd name="connsiteY1472" fmla="*/ 628215 h 1112837"/>
              <a:gd name="connsiteX1473" fmla="*/ 951902 w 1336827"/>
              <a:gd name="connsiteY1473" fmla="*/ 632203 h 1112837"/>
              <a:gd name="connsiteX1474" fmla="*/ 955891 w 1336827"/>
              <a:gd name="connsiteY1474" fmla="*/ 634198 h 1112837"/>
              <a:gd name="connsiteX1475" fmla="*/ 959880 w 1336827"/>
              <a:gd name="connsiteY1475" fmla="*/ 634198 h 1112837"/>
              <a:gd name="connsiteX1476" fmla="*/ 961874 w 1336827"/>
              <a:gd name="connsiteY1476" fmla="*/ 636192 h 1112837"/>
              <a:gd name="connsiteX1477" fmla="*/ 955891 w 1336827"/>
              <a:gd name="connsiteY1477" fmla="*/ 646164 h 1112837"/>
              <a:gd name="connsiteX1478" fmla="*/ 951902 w 1336827"/>
              <a:gd name="connsiteY1478" fmla="*/ 652147 h 1112837"/>
              <a:gd name="connsiteX1479" fmla="*/ 949908 w 1336827"/>
              <a:gd name="connsiteY1479" fmla="*/ 652147 h 1112837"/>
              <a:gd name="connsiteX1480" fmla="*/ 943924 w 1336827"/>
              <a:gd name="connsiteY1480" fmla="*/ 652147 h 1112837"/>
              <a:gd name="connsiteX1481" fmla="*/ 937941 w 1336827"/>
              <a:gd name="connsiteY1481" fmla="*/ 652147 h 1112837"/>
              <a:gd name="connsiteX1482" fmla="*/ 933952 w 1336827"/>
              <a:gd name="connsiteY1482" fmla="*/ 656135 h 1112837"/>
              <a:gd name="connsiteX1483" fmla="*/ 931958 w 1336827"/>
              <a:gd name="connsiteY1483" fmla="*/ 662118 h 1112837"/>
              <a:gd name="connsiteX1484" fmla="*/ 935947 w 1336827"/>
              <a:gd name="connsiteY1484" fmla="*/ 662118 h 1112837"/>
              <a:gd name="connsiteX1485" fmla="*/ 939935 w 1336827"/>
              <a:gd name="connsiteY1485" fmla="*/ 660124 h 1112837"/>
              <a:gd name="connsiteX1486" fmla="*/ 943924 w 1336827"/>
              <a:gd name="connsiteY1486" fmla="*/ 658130 h 1112837"/>
              <a:gd name="connsiteX1487" fmla="*/ 947913 w 1336827"/>
              <a:gd name="connsiteY1487" fmla="*/ 656135 h 1112837"/>
              <a:gd name="connsiteX1488" fmla="*/ 953896 w 1336827"/>
              <a:gd name="connsiteY1488" fmla="*/ 656135 h 1112837"/>
              <a:gd name="connsiteX1489" fmla="*/ 957885 w 1336827"/>
              <a:gd name="connsiteY1489" fmla="*/ 660124 h 1112837"/>
              <a:gd name="connsiteX1490" fmla="*/ 961874 w 1336827"/>
              <a:gd name="connsiteY1490" fmla="*/ 662118 h 1112837"/>
              <a:gd name="connsiteX1491" fmla="*/ 967857 w 1336827"/>
              <a:gd name="connsiteY1491" fmla="*/ 662118 h 1112837"/>
              <a:gd name="connsiteX1492" fmla="*/ 973841 w 1336827"/>
              <a:gd name="connsiteY1492" fmla="*/ 660124 h 1112837"/>
              <a:gd name="connsiteX1493" fmla="*/ 979824 w 1336827"/>
              <a:gd name="connsiteY1493" fmla="*/ 658130 h 1112837"/>
              <a:gd name="connsiteX1494" fmla="*/ 987802 w 1336827"/>
              <a:gd name="connsiteY1494" fmla="*/ 658130 h 1112837"/>
              <a:gd name="connsiteX1495" fmla="*/ 997774 w 1336827"/>
              <a:gd name="connsiteY1495" fmla="*/ 658130 h 1112837"/>
              <a:gd name="connsiteX1496" fmla="*/ 997774 w 1336827"/>
              <a:gd name="connsiteY1496" fmla="*/ 664112 h 1112837"/>
              <a:gd name="connsiteX1497" fmla="*/ 985807 w 1336827"/>
              <a:gd name="connsiteY1497" fmla="*/ 664112 h 1112837"/>
              <a:gd name="connsiteX1498" fmla="*/ 979824 w 1336827"/>
              <a:gd name="connsiteY1498" fmla="*/ 664112 h 1112837"/>
              <a:gd name="connsiteX1499" fmla="*/ 973841 w 1336827"/>
              <a:gd name="connsiteY1499" fmla="*/ 664112 h 1112837"/>
              <a:gd name="connsiteX1500" fmla="*/ 969852 w 1336827"/>
              <a:gd name="connsiteY1500" fmla="*/ 666107 h 1112837"/>
              <a:gd name="connsiteX1501" fmla="*/ 963869 w 1336827"/>
              <a:gd name="connsiteY1501" fmla="*/ 668101 h 1112837"/>
              <a:gd name="connsiteX1502" fmla="*/ 955891 w 1336827"/>
              <a:gd name="connsiteY1502" fmla="*/ 668101 h 1112837"/>
              <a:gd name="connsiteX1503" fmla="*/ 949908 w 1336827"/>
              <a:gd name="connsiteY1503" fmla="*/ 670095 h 1112837"/>
              <a:gd name="connsiteX1504" fmla="*/ 947913 w 1336827"/>
              <a:gd name="connsiteY1504" fmla="*/ 674084 h 1112837"/>
              <a:gd name="connsiteX1505" fmla="*/ 953896 w 1336827"/>
              <a:gd name="connsiteY1505" fmla="*/ 674084 h 1112837"/>
              <a:gd name="connsiteX1506" fmla="*/ 959880 w 1336827"/>
              <a:gd name="connsiteY1506" fmla="*/ 672090 h 1112837"/>
              <a:gd name="connsiteX1507" fmla="*/ 961874 w 1336827"/>
              <a:gd name="connsiteY1507" fmla="*/ 676078 h 1112837"/>
              <a:gd name="connsiteX1508" fmla="*/ 965863 w 1336827"/>
              <a:gd name="connsiteY1508" fmla="*/ 674084 h 1112837"/>
              <a:gd name="connsiteX1509" fmla="*/ 969852 w 1336827"/>
              <a:gd name="connsiteY1509" fmla="*/ 674084 h 1112837"/>
              <a:gd name="connsiteX1510" fmla="*/ 973841 w 1336827"/>
              <a:gd name="connsiteY1510" fmla="*/ 676078 h 1112837"/>
              <a:gd name="connsiteX1511" fmla="*/ 977830 w 1336827"/>
              <a:gd name="connsiteY1511" fmla="*/ 676078 h 1112837"/>
              <a:gd name="connsiteX1512" fmla="*/ 981818 w 1336827"/>
              <a:gd name="connsiteY1512" fmla="*/ 672090 h 1112837"/>
              <a:gd name="connsiteX1513" fmla="*/ 995780 w 1336827"/>
              <a:gd name="connsiteY1513" fmla="*/ 670095 h 1112837"/>
              <a:gd name="connsiteX1514" fmla="*/ 1005752 w 1336827"/>
              <a:gd name="connsiteY1514" fmla="*/ 668101 h 1112837"/>
              <a:gd name="connsiteX1515" fmla="*/ 1015724 w 1336827"/>
              <a:gd name="connsiteY1515" fmla="*/ 664112 h 1112837"/>
              <a:gd name="connsiteX1516" fmla="*/ 1021707 w 1336827"/>
              <a:gd name="connsiteY1516" fmla="*/ 660124 h 1112837"/>
              <a:gd name="connsiteX1517" fmla="*/ 1023702 w 1336827"/>
              <a:gd name="connsiteY1517" fmla="*/ 660124 h 1112837"/>
              <a:gd name="connsiteX1518" fmla="*/ 1025696 w 1336827"/>
              <a:gd name="connsiteY1518" fmla="*/ 664112 h 1112837"/>
              <a:gd name="connsiteX1519" fmla="*/ 1027690 w 1336827"/>
              <a:gd name="connsiteY1519" fmla="*/ 664112 h 1112837"/>
              <a:gd name="connsiteX1520" fmla="*/ 1031679 w 1336827"/>
              <a:gd name="connsiteY1520" fmla="*/ 664112 h 1112837"/>
              <a:gd name="connsiteX1521" fmla="*/ 1035668 w 1336827"/>
              <a:gd name="connsiteY1521" fmla="*/ 664112 h 1112837"/>
              <a:gd name="connsiteX1522" fmla="*/ 1039657 w 1336827"/>
              <a:gd name="connsiteY1522" fmla="*/ 668101 h 1112837"/>
              <a:gd name="connsiteX1523" fmla="*/ 1045640 w 1336827"/>
              <a:gd name="connsiteY1523" fmla="*/ 668101 h 1112837"/>
              <a:gd name="connsiteX1524" fmla="*/ 1055612 w 1336827"/>
              <a:gd name="connsiteY1524" fmla="*/ 668101 h 1112837"/>
              <a:gd name="connsiteX1525" fmla="*/ 1067579 w 1336827"/>
              <a:gd name="connsiteY1525" fmla="*/ 670095 h 1112837"/>
              <a:gd name="connsiteX1526" fmla="*/ 1075557 w 1336827"/>
              <a:gd name="connsiteY1526" fmla="*/ 670095 h 1112837"/>
              <a:gd name="connsiteX1527" fmla="*/ 1087523 w 1336827"/>
              <a:gd name="connsiteY1527" fmla="*/ 672090 h 1112837"/>
              <a:gd name="connsiteX1528" fmla="*/ 1095501 w 1336827"/>
              <a:gd name="connsiteY1528" fmla="*/ 672090 h 1112837"/>
              <a:gd name="connsiteX1529" fmla="*/ 1093507 w 1336827"/>
              <a:gd name="connsiteY1529" fmla="*/ 676078 h 1112837"/>
              <a:gd name="connsiteX1530" fmla="*/ 1087523 w 1336827"/>
              <a:gd name="connsiteY1530" fmla="*/ 680067 h 1112837"/>
              <a:gd name="connsiteX1531" fmla="*/ 1083534 w 1336827"/>
              <a:gd name="connsiteY1531" fmla="*/ 680067 h 1112837"/>
              <a:gd name="connsiteX1532" fmla="*/ 1079546 w 1336827"/>
              <a:gd name="connsiteY1532" fmla="*/ 682061 h 1112837"/>
              <a:gd name="connsiteX1533" fmla="*/ 1077551 w 1336827"/>
              <a:gd name="connsiteY1533" fmla="*/ 684056 h 1112837"/>
              <a:gd name="connsiteX1534" fmla="*/ 1075557 w 1336827"/>
              <a:gd name="connsiteY1534" fmla="*/ 682061 h 1112837"/>
              <a:gd name="connsiteX1535" fmla="*/ 1071568 w 1336827"/>
              <a:gd name="connsiteY1535" fmla="*/ 686050 h 1112837"/>
              <a:gd name="connsiteX1536" fmla="*/ 1069573 w 1336827"/>
              <a:gd name="connsiteY1536" fmla="*/ 688044 h 1112837"/>
              <a:gd name="connsiteX1537" fmla="*/ 1067579 w 1336827"/>
              <a:gd name="connsiteY1537" fmla="*/ 688044 h 1112837"/>
              <a:gd name="connsiteX1538" fmla="*/ 1063590 w 1336827"/>
              <a:gd name="connsiteY1538" fmla="*/ 688044 h 1112837"/>
              <a:gd name="connsiteX1539" fmla="*/ 1057607 w 1336827"/>
              <a:gd name="connsiteY1539" fmla="*/ 688044 h 1112837"/>
              <a:gd name="connsiteX1540" fmla="*/ 1055612 w 1336827"/>
              <a:gd name="connsiteY1540" fmla="*/ 688044 h 1112837"/>
              <a:gd name="connsiteX1541" fmla="*/ 1055612 w 1336827"/>
              <a:gd name="connsiteY1541" fmla="*/ 692033 h 1112837"/>
              <a:gd name="connsiteX1542" fmla="*/ 1057607 w 1336827"/>
              <a:gd name="connsiteY1542" fmla="*/ 698016 h 1112837"/>
              <a:gd name="connsiteX1543" fmla="*/ 1057607 w 1336827"/>
              <a:gd name="connsiteY1543" fmla="*/ 700010 h 1112837"/>
              <a:gd name="connsiteX1544" fmla="*/ 1051624 w 1336827"/>
              <a:gd name="connsiteY1544" fmla="*/ 698016 h 1112837"/>
              <a:gd name="connsiteX1545" fmla="*/ 1049629 w 1336827"/>
              <a:gd name="connsiteY1545" fmla="*/ 696022 h 1112837"/>
              <a:gd name="connsiteX1546" fmla="*/ 1047635 w 1336827"/>
              <a:gd name="connsiteY1546" fmla="*/ 698016 h 1112837"/>
              <a:gd name="connsiteX1547" fmla="*/ 1045640 w 1336827"/>
              <a:gd name="connsiteY1547" fmla="*/ 702005 h 1112837"/>
              <a:gd name="connsiteX1548" fmla="*/ 1045640 w 1336827"/>
              <a:gd name="connsiteY1548" fmla="*/ 703999 h 1112837"/>
              <a:gd name="connsiteX1549" fmla="*/ 1039657 w 1336827"/>
              <a:gd name="connsiteY1549" fmla="*/ 703999 h 1112837"/>
              <a:gd name="connsiteX1550" fmla="*/ 1037663 w 1336827"/>
              <a:gd name="connsiteY1550" fmla="*/ 705993 h 1112837"/>
              <a:gd name="connsiteX1551" fmla="*/ 1035668 w 1336827"/>
              <a:gd name="connsiteY1551" fmla="*/ 703999 h 1112837"/>
              <a:gd name="connsiteX1552" fmla="*/ 1033674 w 1336827"/>
              <a:gd name="connsiteY1552" fmla="*/ 703999 h 1112837"/>
              <a:gd name="connsiteX1553" fmla="*/ 1031679 w 1336827"/>
              <a:gd name="connsiteY1553" fmla="*/ 705993 h 1112837"/>
              <a:gd name="connsiteX1554" fmla="*/ 1027690 w 1336827"/>
              <a:gd name="connsiteY1554" fmla="*/ 705993 h 1112837"/>
              <a:gd name="connsiteX1555" fmla="*/ 1023702 w 1336827"/>
              <a:gd name="connsiteY1555" fmla="*/ 707988 h 1112837"/>
              <a:gd name="connsiteX1556" fmla="*/ 1019713 w 1336827"/>
              <a:gd name="connsiteY1556" fmla="*/ 709982 h 1112837"/>
              <a:gd name="connsiteX1557" fmla="*/ 1025696 w 1336827"/>
              <a:gd name="connsiteY1557" fmla="*/ 711976 h 1112837"/>
              <a:gd name="connsiteX1558" fmla="*/ 1027690 w 1336827"/>
              <a:gd name="connsiteY1558" fmla="*/ 715965 h 1112837"/>
              <a:gd name="connsiteX1559" fmla="*/ 1021707 w 1336827"/>
              <a:gd name="connsiteY1559" fmla="*/ 717959 h 1112837"/>
              <a:gd name="connsiteX1560" fmla="*/ 1017718 w 1336827"/>
              <a:gd name="connsiteY1560" fmla="*/ 719954 h 1112837"/>
              <a:gd name="connsiteX1561" fmla="*/ 1013729 w 1336827"/>
              <a:gd name="connsiteY1561" fmla="*/ 717959 h 1112837"/>
              <a:gd name="connsiteX1562" fmla="*/ 1009741 w 1336827"/>
              <a:gd name="connsiteY1562" fmla="*/ 715965 h 1112837"/>
              <a:gd name="connsiteX1563" fmla="*/ 1007746 w 1336827"/>
              <a:gd name="connsiteY1563" fmla="*/ 717959 h 1112837"/>
              <a:gd name="connsiteX1564" fmla="*/ 1007746 w 1336827"/>
              <a:gd name="connsiteY1564" fmla="*/ 723942 h 1112837"/>
              <a:gd name="connsiteX1565" fmla="*/ 1007746 w 1336827"/>
              <a:gd name="connsiteY1565" fmla="*/ 727931 h 1112837"/>
              <a:gd name="connsiteX1566" fmla="*/ 1005752 w 1336827"/>
              <a:gd name="connsiteY1566" fmla="*/ 729925 h 1112837"/>
              <a:gd name="connsiteX1567" fmla="*/ 999768 w 1336827"/>
              <a:gd name="connsiteY1567" fmla="*/ 733914 h 1112837"/>
              <a:gd name="connsiteX1568" fmla="*/ 993785 w 1336827"/>
              <a:gd name="connsiteY1568" fmla="*/ 733914 h 1112837"/>
              <a:gd name="connsiteX1569" fmla="*/ 991791 w 1336827"/>
              <a:gd name="connsiteY1569" fmla="*/ 735908 h 1112837"/>
              <a:gd name="connsiteX1570" fmla="*/ 989796 w 1336827"/>
              <a:gd name="connsiteY1570" fmla="*/ 737903 h 1112837"/>
              <a:gd name="connsiteX1571" fmla="*/ 983813 w 1336827"/>
              <a:gd name="connsiteY1571" fmla="*/ 739897 h 1112837"/>
              <a:gd name="connsiteX1572" fmla="*/ 977830 w 1336827"/>
              <a:gd name="connsiteY1572" fmla="*/ 739897 h 1112837"/>
              <a:gd name="connsiteX1573" fmla="*/ 973841 w 1336827"/>
              <a:gd name="connsiteY1573" fmla="*/ 741891 h 1112837"/>
              <a:gd name="connsiteX1574" fmla="*/ 969852 w 1336827"/>
              <a:gd name="connsiteY1574" fmla="*/ 743886 h 1112837"/>
              <a:gd name="connsiteX1575" fmla="*/ 967857 w 1336827"/>
              <a:gd name="connsiteY1575" fmla="*/ 743886 h 1112837"/>
              <a:gd name="connsiteX1576" fmla="*/ 965863 w 1336827"/>
              <a:gd name="connsiteY1576" fmla="*/ 743886 h 1112837"/>
              <a:gd name="connsiteX1577" fmla="*/ 961874 w 1336827"/>
              <a:gd name="connsiteY1577" fmla="*/ 741891 h 1112837"/>
              <a:gd name="connsiteX1578" fmla="*/ 961874 w 1336827"/>
              <a:gd name="connsiteY1578" fmla="*/ 745880 h 1112837"/>
              <a:gd name="connsiteX1579" fmla="*/ 959880 w 1336827"/>
              <a:gd name="connsiteY1579" fmla="*/ 747874 h 1112837"/>
              <a:gd name="connsiteX1580" fmla="*/ 957885 w 1336827"/>
              <a:gd name="connsiteY1580" fmla="*/ 745880 h 1112837"/>
              <a:gd name="connsiteX1581" fmla="*/ 955891 w 1336827"/>
              <a:gd name="connsiteY1581" fmla="*/ 741891 h 1112837"/>
              <a:gd name="connsiteX1582" fmla="*/ 953896 w 1336827"/>
              <a:gd name="connsiteY1582" fmla="*/ 741891 h 1112837"/>
              <a:gd name="connsiteX1583" fmla="*/ 953896 w 1336827"/>
              <a:gd name="connsiteY1583" fmla="*/ 747874 h 1112837"/>
              <a:gd name="connsiteX1584" fmla="*/ 951902 w 1336827"/>
              <a:gd name="connsiteY1584" fmla="*/ 749869 h 1112837"/>
              <a:gd name="connsiteX1585" fmla="*/ 947913 w 1336827"/>
              <a:gd name="connsiteY1585" fmla="*/ 745880 h 1112837"/>
              <a:gd name="connsiteX1586" fmla="*/ 945919 w 1336827"/>
              <a:gd name="connsiteY1586" fmla="*/ 747874 h 1112837"/>
              <a:gd name="connsiteX1587" fmla="*/ 943924 w 1336827"/>
              <a:gd name="connsiteY1587" fmla="*/ 751863 h 1112837"/>
              <a:gd name="connsiteX1588" fmla="*/ 939935 w 1336827"/>
              <a:gd name="connsiteY1588" fmla="*/ 749869 h 1112837"/>
              <a:gd name="connsiteX1589" fmla="*/ 937941 w 1336827"/>
              <a:gd name="connsiteY1589" fmla="*/ 751863 h 1112837"/>
              <a:gd name="connsiteX1590" fmla="*/ 933952 w 1336827"/>
              <a:gd name="connsiteY1590" fmla="*/ 753857 h 1112837"/>
              <a:gd name="connsiteX1591" fmla="*/ 929963 w 1336827"/>
              <a:gd name="connsiteY1591" fmla="*/ 751863 h 1112837"/>
              <a:gd name="connsiteX1592" fmla="*/ 925974 w 1336827"/>
              <a:gd name="connsiteY1592" fmla="*/ 753857 h 1112837"/>
              <a:gd name="connsiteX1593" fmla="*/ 925974 w 1336827"/>
              <a:gd name="connsiteY1593" fmla="*/ 757846 h 1112837"/>
              <a:gd name="connsiteX1594" fmla="*/ 921986 w 1336827"/>
              <a:gd name="connsiteY1594" fmla="*/ 753857 h 1112837"/>
              <a:gd name="connsiteX1595" fmla="*/ 919991 w 1336827"/>
              <a:gd name="connsiteY1595" fmla="*/ 755852 h 1112837"/>
              <a:gd name="connsiteX1596" fmla="*/ 917997 w 1336827"/>
              <a:gd name="connsiteY1596" fmla="*/ 755852 h 1112837"/>
              <a:gd name="connsiteX1597" fmla="*/ 916002 w 1336827"/>
              <a:gd name="connsiteY1597" fmla="*/ 753857 h 1112837"/>
              <a:gd name="connsiteX1598" fmla="*/ 912013 w 1336827"/>
              <a:gd name="connsiteY1598" fmla="*/ 753857 h 1112837"/>
              <a:gd name="connsiteX1599" fmla="*/ 910019 w 1336827"/>
              <a:gd name="connsiteY1599" fmla="*/ 755852 h 1112837"/>
              <a:gd name="connsiteX1600" fmla="*/ 906030 w 1336827"/>
              <a:gd name="connsiteY1600" fmla="*/ 757846 h 1112837"/>
              <a:gd name="connsiteX1601" fmla="*/ 904036 w 1336827"/>
              <a:gd name="connsiteY1601" fmla="*/ 755852 h 1112837"/>
              <a:gd name="connsiteX1602" fmla="*/ 902041 w 1336827"/>
              <a:gd name="connsiteY1602" fmla="*/ 753857 h 1112837"/>
              <a:gd name="connsiteX1603" fmla="*/ 900047 w 1336827"/>
              <a:gd name="connsiteY1603" fmla="*/ 757846 h 1112837"/>
              <a:gd name="connsiteX1604" fmla="*/ 902041 w 1336827"/>
              <a:gd name="connsiteY1604" fmla="*/ 761835 h 1112837"/>
              <a:gd name="connsiteX1605" fmla="*/ 900047 w 1336827"/>
              <a:gd name="connsiteY1605" fmla="*/ 763829 h 1112837"/>
              <a:gd name="connsiteX1606" fmla="*/ 898052 w 1336827"/>
              <a:gd name="connsiteY1606" fmla="*/ 757846 h 1112837"/>
              <a:gd name="connsiteX1607" fmla="*/ 894064 w 1336827"/>
              <a:gd name="connsiteY1607" fmla="*/ 755852 h 1112837"/>
              <a:gd name="connsiteX1608" fmla="*/ 892069 w 1336827"/>
              <a:gd name="connsiteY1608" fmla="*/ 757846 h 1112837"/>
              <a:gd name="connsiteX1609" fmla="*/ 892069 w 1336827"/>
              <a:gd name="connsiteY1609" fmla="*/ 761835 h 1112837"/>
              <a:gd name="connsiteX1610" fmla="*/ 888080 w 1336827"/>
              <a:gd name="connsiteY1610" fmla="*/ 761835 h 1112837"/>
              <a:gd name="connsiteX1611" fmla="*/ 886086 w 1336827"/>
              <a:gd name="connsiteY1611" fmla="*/ 757846 h 1112837"/>
              <a:gd name="connsiteX1612" fmla="*/ 884091 w 1336827"/>
              <a:gd name="connsiteY1612" fmla="*/ 761835 h 1112837"/>
              <a:gd name="connsiteX1613" fmla="*/ 882097 w 1336827"/>
              <a:gd name="connsiteY1613" fmla="*/ 761835 h 1112837"/>
              <a:gd name="connsiteX1614" fmla="*/ 876114 w 1336827"/>
              <a:gd name="connsiteY1614" fmla="*/ 761835 h 1112837"/>
              <a:gd name="connsiteX1615" fmla="*/ 872125 w 1336827"/>
              <a:gd name="connsiteY1615" fmla="*/ 761835 h 1112837"/>
              <a:gd name="connsiteX1616" fmla="*/ 868136 w 1336827"/>
              <a:gd name="connsiteY1616" fmla="*/ 759840 h 1112837"/>
              <a:gd name="connsiteX1617" fmla="*/ 864147 w 1336827"/>
              <a:gd name="connsiteY1617" fmla="*/ 761835 h 1112837"/>
              <a:gd name="connsiteX1618" fmla="*/ 860158 w 1336827"/>
              <a:gd name="connsiteY1618" fmla="*/ 759840 h 1112837"/>
              <a:gd name="connsiteX1619" fmla="*/ 858164 w 1336827"/>
              <a:gd name="connsiteY1619" fmla="*/ 757846 h 1112837"/>
              <a:gd name="connsiteX1620" fmla="*/ 852180 w 1336827"/>
              <a:gd name="connsiteY1620" fmla="*/ 757846 h 1112837"/>
              <a:gd name="connsiteX1621" fmla="*/ 852180 w 1336827"/>
              <a:gd name="connsiteY1621" fmla="*/ 759840 h 1112837"/>
              <a:gd name="connsiteX1622" fmla="*/ 858164 w 1336827"/>
              <a:gd name="connsiteY1622" fmla="*/ 763829 h 1112837"/>
              <a:gd name="connsiteX1623" fmla="*/ 860158 w 1336827"/>
              <a:gd name="connsiteY1623" fmla="*/ 765823 h 1112837"/>
              <a:gd name="connsiteX1624" fmla="*/ 858164 w 1336827"/>
              <a:gd name="connsiteY1624" fmla="*/ 769812 h 1112837"/>
              <a:gd name="connsiteX1625" fmla="*/ 856169 w 1336827"/>
              <a:gd name="connsiteY1625" fmla="*/ 773801 h 1112837"/>
              <a:gd name="connsiteX1626" fmla="*/ 854175 w 1336827"/>
              <a:gd name="connsiteY1626" fmla="*/ 771806 h 1112837"/>
              <a:gd name="connsiteX1627" fmla="*/ 852180 w 1336827"/>
              <a:gd name="connsiteY1627" fmla="*/ 771806 h 1112837"/>
              <a:gd name="connsiteX1628" fmla="*/ 848192 w 1336827"/>
              <a:gd name="connsiteY1628" fmla="*/ 773801 h 1112837"/>
              <a:gd name="connsiteX1629" fmla="*/ 844203 w 1336827"/>
              <a:gd name="connsiteY1629" fmla="*/ 775795 h 1112837"/>
              <a:gd name="connsiteX1630" fmla="*/ 840214 w 1336827"/>
              <a:gd name="connsiteY1630" fmla="*/ 777789 h 1112837"/>
              <a:gd name="connsiteX1631" fmla="*/ 836225 w 1336827"/>
              <a:gd name="connsiteY1631" fmla="*/ 779784 h 1112837"/>
              <a:gd name="connsiteX1632" fmla="*/ 832236 w 1336827"/>
              <a:gd name="connsiteY1632" fmla="*/ 779784 h 1112837"/>
              <a:gd name="connsiteX1633" fmla="*/ 830242 w 1336827"/>
              <a:gd name="connsiteY1633" fmla="*/ 783772 h 1112837"/>
              <a:gd name="connsiteX1634" fmla="*/ 828247 w 1336827"/>
              <a:gd name="connsiteY1634" fmla="*/ 785767 h 1112837"/>
              <a:gd name="connsiteX1635" fmla="*/ 828247 w 1336827"/>
              <a:gd name="connsiteY1635" fmla="*/ 787761 h 1112837"/>
              <a:gd name="connsiteX1636" fmla="*/ 824258 w 1336827"/>
              <a:gd name="connsiteY1636" fmla="*/ 787761 h 1112837"/>
              <a:gd name="connsiteX1637" fmla="*/ 824258 w 1336827"/>
              <a:gd name="connsiteY1637" fmla="*/ 793744 h 1112837"/>
              <a:gd name="connsiteX1638" fmla="*/ 822264 w 1336827"/>
              <a:gd name="connsiteY1638" fmla="*/ 795738 h 1112837"/>
              <a:gd name="connsiteX1639" fmla="*/ 820270 w 1336827"/>
              <a:gd name="connsiteY1639" fmla="*/ 797733 h 1112837"/>
              <a:gd name="connsiteX1640" fmla="*/ 820270 w 1336827"/>
              <a:gd name="connsiteY1640" fmla="*/ 801721 h 1112837"/>
              <a:gd name="connsiteX1641" fmla="*/ 818275 w 1336827"/>
              <a:gd name="connsiteY1641" fmla="*/ 803716 h 1112837"/>
              <a:gd name="connsiteX1642" fmla="*/ 818275 w 1336827"/>
              <a:gd name="connsiteY1642" fmla="*/ 807704 h 1112837"/>
              <a:gd name="connsiteX1643" fmla="*/ 814286 w 1336827"/>
              <a:gd name="connsiteY1643" fmla="*/ 811693 h 1112837"/>
              <a:gd name="connsiteX1644" fmla="*/ 810297 w 1336827"/>
              <a:gd name="connsiteY1644" fmla="*/ 817676 h 1112837"/>
              <a:gd name="connsiteX1645" fmla="*/ 808303 w 1336827"/>
              <a:gd name="connsiteY1645" fmla="*/ 821665 h 1112837"/>
              <a:gd name="connsiteX1646" fmla="*/ 804314 w 1336827"/>
              <a:gd name="connsiteY1646" fmla="*/ 825653 h 1112837"/>
              <a:gd name="connsiteX1647" fmla="*/ 802320 w 1336827"/>
              <a:gd name="connsiteY1647" fmla="*/ 829642 h 1112837"/>
              <a:gd name="connsiteX1648" fmla="*/ 800325 w 1336827"/>
              <a:gd name="connsiteY1648" fmla="*/ 829642 h 1112837"/>
              <a:gd name="connsiteX1649" fmla="*/ 796336 w 1336827"/>
              <a:gd name="connsiteY1649" fmla="*/ 823659 h 1112837"/>
              <a:gd name="connsiteX1650" fmla="*/ 794342 w 1336827"/>
              <a:gd name="connsiteY1650" fmla="*/ 823659 h 1112837"/>
              <a:gd name="connsiteX1651" fmla="*/ 794342 w 1336827"/>
              <a:gd name="connsiteY1651" fmla="*/ 827648 h 1112837"/>
              <a:gd name="connsiteX1652" fmla="*/ 794342 w 1336827"/>
              <a:gd name="connsiteY1652" fmla="*/ 833631 h 1112837"/>
              <a:gd name="connsiteX1653" fmla="*/ 790353 w 1336827"/>
              <a:gd name="connsiteY1653" fmla="*/ 837619 h 1112837"/>
              <a:gd name="connsiteX1654" fmla="*/ 788359 w 1336827"/>
              <a:gd name="connsiteY1654" fmla="*/ 837619 h 1112837"/>
              <a:gd name="connsiteX1655" fmla="*/ 786364 w 1336827"/>
              <a:gd name="connsiteY1655" fmla="*/ 841608 h 1112837"/>
              <a:gd name="connsiteX1656" fmla="*/ 780381 w 1336827"/>
              <a:gd name="connsiteY1656" fmla="*/ 841608 h 1112837"/>
              <a:gd name="connsiteX1657" fmla="*/ 778387 w 1336827"/>
              <a:gd name="connsiteY1657" fmla="*/ 843602 h 1112837"/>
              <a:gd name="connsiteX1658" fmla="*/ 776392 w 1336827"/>
              <a:gd name="connsiteY1658" fmla="*/ 841608 h 1112837"/>
              <a:gd name="connsiteX1659" fmla="*/ 776392 w 1336827"/>
              <a:gd name="connsiteY1659" fmla="*/ 837619 h 1112837"/>
              <a:gd name="connsiteX1660" fmla="*/ 774398 w 1336827"/>
              <a:gd name="connsiteY1660" fmla="*/ 831636 h 1112837"/>
              <a:gd name="connsiteX1661" fmla="*/ 770409 w 1336827"/>
              <a:gd name="connsiteY1661" fmla="*/ 831636 h 1112837"/>
              <a:gd name="connsiteX1662" fmla="*/ 766420 w 1336827"/>
              <a:gd name="connsiteY1662" fmla="*/ 833631 h 1112837"/>
              <a:gd name="connsiteX1663" fmla="*/ 764426 w 1336827"/>
              <a:gd name="connsiteY1663" fmla="*/ 839614 h 1112837"/>
              <a:gd name="connsiteX1664" fmla="*/ 768414 w 1336827"/>
              <a:gd name="connsiteY1664" fmla="*/ 845597 h 1112837"/>
              <a:gd name="connsiteX1665" fmla="*/ 766420 w 1336827"/>
              <a:gd name="connsiteY1665" fmla="*/ 847591 h 1112837"/>
              <a:gd name="connsiteX1666" fmla="*/ 764426 w 1336827"/>
              <a:gd name="connsiteY1666" fmla="*/ 851580 h 1112837"/>
              <a:gd name="connsiteX1667" fmla="*/ 762431 w 1336827"/>
              <a:gd name="connsiteY1667" fmla="*/ 855568 h 1112837"/>
              <a:gd name="connsiteX1668" fmla="*/ 758442 w 1336827"/>
              <a:gd name="connsiteY1668" fmla="*/ 857563 h 1112837"/>
              <a:gd name="connsiteX1669" fmla="*/ 752459 w 1336827"/>
              <a:gd name="connsiteY1669" fmla="*/ 853574 h 1112837"/>
              <a:gd name="connsiteX1670" fmla="*/ 752459 w 1336827"/>
              <a:gd name="connsiteY1670" fmla="*/ 847591 h 1112837"/>
              <a:gd name="connsiteX1671" fmla="*/ 750465 w 1336827"/>
              <a:gd name="connsiteY1671" fmla="*/ 847591 h 1112837"/>
              <a:gd name="connsiteX1672" fmla="*/ 746476 w 1336827"/>
              <a:gd name="connsiteY1672" fmla="*/ 847591 h 1112837"/>
              <a:gd name="connsiteX1673" fmla="*/ 746476 w 1336827"/>
              <a:gd name="connsiteY1673" fmla="*/ 851580 h 1112837"/>
              <a:gd name="connsiteX1674" fmla="*/ 746476 w 1336827"/>
              <a:gd name="connsiteY1674" fmla="*/ 855568 h 1112837"/>
              <a:gd name="connsiteX1675" fmla="*/ 742487 w 1336827"/>
              <a:gd name="connsiteY1675" fmla="*/ 859557 h 1112837"/>
              <a:gd name="connsiteX1676" fmla="*/ 738498 w 1336827"/>
              <a:gd name="connsiteY1676" fmla="*/ 859557 h 1112837"/>
              <a:gd name="connsiteX1677" fmla="*/ 736504 w 1336827"/>
              <a:gd name="connsiteY1677" fmla="*/ 855568 h 1112837"/>
              <a:gd name="connsiteX1678" fmla="*/ 732515 w 1336827"/>
              <a:gd name="connsiteY1678" fmla="*/ 851580 h 1112837"/>
              <a:gd name="connsiteX1679" fmla="*/ 730520 w 1336827"/>
              <a:gd name="connsiteY1679" fmla="*/ 851580 h 1112837"/>
              <a:gd name="connsiteX1680" fmla="*/ 726531 w 1336827"/>
              <a:gd name="connsiteY1680" fmla="*/ 853574 h 1112837"/>
              <a:gd name="connsiteX1681" fmla="*/ 724537 w 1336827"/>
              <a:gd name="connsiteY1681" fmla="*/ 855568 h 1112837"/>
              <a:gd name="connsiteX1682" fmla="*/ 722543 w 1336827"/>
              <a:gd name="connsiteY1682" fmla="*/ 857563 h 1112837"/>
              <a:gd name="connsiteX1683" fmla="*/ 728526 w 1336827"/>
              <a:gd name="connsiteY1683" fmla="*/ 859557 h 1112837"/>
              <a:gd name="connsiteX1684" fmla="*/ 732515 w 1336827"/>
              <a:gd name="connsiteY1684" fmla="*/ 861551 h 1112837"/>
              <a:gd name="connsiteX1685" fmla="*/ 730520 w 1336827"/>
              <a:gd name="connsiteY1685" fmla="*/ 865540 h 1112837"/>
              <a:gd name="connsiteX1686" fmla="*/ 726531 w 1336827"/>
              <a:gd name="connsiteY1686" fmla="*/ 865540 h 1112837"/>
              <a:gd name="connsiteX1687" fmla="*/ 724537 w 1336827"/>
              <a:gd name="connsiteY1687" fmla="*/ 863546 h 1112837"/>
              <a:gd name="connsiteX1688" fmla="*/ 722543 w 1336827"/>
              <a:gd name="connsiteY1688" fmla="*/ 863546 h 1112837"/>
              <a:gd name="connsiteX1689" fmla="*/ 722543 w 1336827"/>
              <a:gd name="connsiteY1689" fmla="*/ 867534 h 1112837"/>
              <a:gd name="connsiteX1690" fmla="*/ 722543 w 1336827"/>
              <a:gd name="connsiteY1690" fmla="*/ 871523 h 1112837"/>
              <a:gd name="connsiteX1691" fmla="*/ 718554 w 1336827"/>
              <a:gd name="connsiteY1691" fmla="*/ 873517 h 1112837"/>
              <a:gd name="connsiteX1692" fmla="*/ 712570 w 1336827"/>
              <a:gd name="connsiteY1692" fmla="*/ 871523 h 1112837"/>
              <a:gd name="connsiteX1693" fmla="*/ 708581 w 1336827"/>
              <a:gd name="connsiteY1693" fmla="*/ 867534 h 1112837"/>
              <a:gd name="connsiteX1694" fmla="*/ 704593 w 1336827"/>
              <a:gd name="connsiteY1694" fmla="*/ 865540 h 1112837"/>
              <a:gd name="connsiteX1695" fmla="*/ 700604 w 1336827"/>
              <a:gd name="connsiteY1695" fmla="*/ 867534 h 1112837"/>
              <a:gd name="connsiteX1696" fmla="*/ 702598 w 1336827"/>
              <a:gd name="connsiteY1696" fmla="*/ 873517 h 1112837"/>
              <a:gd name="connsiteX1697" fmla="*/ 698609 w 1336827"/>
              <a:gd name="connsiteY1697" fmla="*/ 875512 h 1112837"/>
              <a:gd name="connsiteX1698" fmla="*/ 694620 w 1336827"/>
              <a:gd name="connsiteY1698" fmla="*/ 871523 h 1112837"/>
              <a:gd name="connsiteX1699" fmla="*/ 690632 w 1336827"/>
              <a:gd name="connsiteY1699" fmla="*/ 871523 h 1112837"/>
              <a:gd name="connsiteX1700" fmla="*/ 688637 w 1336827"/>
              <a:gd name="connsiteY1700" fmla="*/ 875512 h 1112837"/>
              <a:gd name="connsiteX1701" fmla="*/ 684648 w 1336827"/>
              <a:gd name="connsiteY1701" fmla="*/ 867534 h 1112837"/>
              <a:gd name="connsiteX1702" fmla="*/ 682654 w 1336827"/>
              <a:gd name="connsiteY1702" fmla="*/ 865540 h 1112837"/>
              <a:gd name="connsiteX1703" fmla="*/ 678665 w 1336827"/>
              <a:gd name="connsiteY1703" fmla="*/ 865540 h 1112837"/>
              <a:gd name="connsiteX1704" fmla="*/ 678665 w 1336827"/>
              <a:gd name="connsiteY1704" fmla="*/ 871523 h 1112837"/>
              <a:gd name="connsiteX1705" fmla="*/ 674676 w 1336827"/>
              <a:gd name="connsiteY1705" fmla="*/ 871523 h 1112837"/>
              <a:gd name="connsiteX1706" fmla="*/ 672682 w 1336827"/>
              <a:gd name="connsiteY1706" fmla="*/ 869529 h 1112837"/>
              <a:gd name="connsiteX1707" fmla="*/ 668693 w 1336827"/>
              <a:gd name="connsiteY1707" fmla="*/ 867534 h 1112837"/>
              <a:gd name="connsiteX1708" fmla="*/ 670687 w 1336827"/>
              <a:gd name="connsiteY1708" fmla="*/ 871523 h 1112837"/>
              <a:gd name="connsiteX1709" fmla="*/ 668693 w 1336827"/>
              <a:gd name="connsiteY1709" fmla="*/ 873517 h 1112837"/>
              <a:gd name="connsiteX1710" fmla="*/ 664704 w 1336827"/>
              <a:gd name="connsiteY1710" fmla="*/ 871523 h 1112837"/>
              <a:gd name="connsiteX1711" fmla="*/ 660715 w 1336827"/>
              <a:gd name="connsiteY1711" fmla="*/ 873517 h 1112837"/>
              <a:gd name="connsiteX1712" fmla="*/ 656726 w 1336827"/>
              <a:gd name="connsiteY1712" fmla="*/ 875512 h 1112837"/>
              <a:gd name="connsiteX1713" fmla="*/ 656726 w 1336827"/>
              <a:gd name="connsiteY1713" fmla="*/ 877506 h 1112837"/>
              <a:gd name="connsiteX1714" fmla="*/ 658721 w 1336827"/>
              <a:gd name="connsiteY1714" fmla="*/ 881495 h 1112837"/>
              <a:gd name="connsiteX1715" fmla="*/ 662710 w 1336827"/>
              <a:gd name="connsiteY1715" fmla="*/ 877506 h 1112837"/>
              <a:gd name="connsiteX1716" fmla="*/ 666698 w 1336827"/>
              <a:gd name="connsiteY1716" fmla="*/ 877506 h 1112837"/>
              <a:gd name="connsiteX1717" fmla="*/ 666698 w 1336827"/>
              <a:gd name="connsiteY1717" fmla="*/ 881495 h 1112837"/>
              <a:gd name="connsiteX1718" fmla="*/ 666698 w 1336827"/>
              <a:gd name="connsiteY1718" fmla="*/ 883489 h 1112837"/>
              <a:gd name="connsiteX1719" fmla="*/ 668693 w 1336827"/>
              <a:gd name="connsiteY1719" fmla="*/ 885483 h 1112837"/>
              <a:gd name="connsiteX1720" fmla="*/ 666698 w 1336827"/>
              <a:gd name="connsiteY1720" fmla="*/ 889472 h 1112837"/>
              <a:gd name="connsiteX1721" fmla="*/ 664704 w 1336827"/>
              <a:gd name="connsiteY1721" fmla="*/ 891466 h 1112837"/>
              <a:gd name="connsiteX1722" fmla="*/ 662710 w 1336827"/>
              <a:gd name="connsiteY1722" fmla="*/ 893461 h 1112837"/>
              <a:gd name="connsiteX1723" fmla="*/ 658721 w 1336827"/>
              <a:gd name="connsiteY1723" fmla="*/ 895455 h 1112837"/>
              <a:gd name="connsiteX1724" fmla="*/ 652737 w 1336827"/>
              <a:gd name="connsiteY1724" fmla="*/ 895455 h 1112837"/>
              <a:gd name="connsiteX1725" fmla="*/ 648749 w 1336827"/>
              <a:gd name="connsiteY1725" fmla="*/ 891466 h 1112837"/>
              <a:gd name="connsiteX1726" fmla="*/ 644760 w 1336827"/>
              <a:gd name="connsiteY1726" fmla="*/ 893461 h 1112837"/>
              <a:gd name="connsiteX1727" fmla="*/ 640771 w 1336827"/>
              <a:gd name="connsiteY1727" fmla="*/ 893461 h 1112837"/>
              <a:gd name="connsiteX1728" fmla="*/ 638776 w 1336827"/>
              <a:gd name="connsiteY1728" fmla="*/ 893461 h 1112837"/>
              <a:gd name="connsiteX1729" fmla="*/ 636782 w 1336827"/>
              <a:gd name="connsiteY1729" fmla="*/ 889472 h 1112837"/>
              <a:gd name="connsiteX1730" fmla="*/ 634788 w 1336827"/>
              <a:gd name="connsiteY1730" fmla="*/ 889472 h 1112837"/>
              <a:gd name="connsiteX1731" fmla="*/ 634788 w 1336827"/>
              <a:gd name="connsiteY1731" fmla="*/ 893461 h 1112837"/>
              <a:gd name="connsiteX1732" fmla="*/ 636782 w 1336827"/>
              <a:gd name="connsiteY1732" fmla="*/ 895455 h 1112837"/>
              <a:gd name="connsiteX1733" fmla="*/ 640771 w 1336827"/>
              <a:gd name="connsiteY1733" fmla="*/ 897449 h 1112837"/>
              <a:gd name="connsiteX1734" fmla="*/ 636782 w 1336827"/>
              <a:gd name="connsiteY1734" fmla="*/ 899444 h 1112837"/>
              <a:gd name="connsiteX1735" fmla="*/ 634788 w 1336827"/>
              <a:gd name="connsiteY1735" fmla="*/ 903432 h 1112837"/>
              <a:gd name="connsiteX1736" fmla="*/ 636782 w 1336827"/>
              <a:gd name="connsiteY1736" fmla="*/ 905427 h 1112837"/>
              <a:gd name="connsiteX1737" fmla="*/ 640771 w 1336827"/>
              <a:gd name="connsiteY1737" fmla="*/ 907421 h 1112837"/>
              <a:gd name="connsiteX1738" fmla="*/ 644760 w 1336827"/>
              <a:gd name="connsiteY1738" fmla="*/ 911410 h 1112837"/>
              <a:gd name="connsiteX1739" fmla="*/ 644760 w 1336827"/>
              <a:gd name="connsiteY1739" fmla="*/ 909415 h 1112837"/>
              <a:gd name="connsiteX1740" fmla="*/ 646754 w 1336827"/>
              <a:gd name="connsiteY1740" fmla="*/ 905427 h 1112837"/>
              <a:gd name="connsiteX1741" fmla="*/ 652737 w 1336827"/>
              <a:gd name="connsiteY1741" fmla="*/ 905427 h 1112837"/>
              <a:gd name="connsiteX1742" fmla="*/ 652737 w 1336827"/>
              <a:gd name="connsiteY1742" fmla="*/ 913404 h 1112837"/>
              <a:gd name="connsiteX1743" fmla="*/ 654732 w 1336827"/>
              <a:gd name="connsiteY1743" fmla="*/ 915398 h 1112837"/>
              <a:gd name="connsiteX1744" fmla="*/ 652737 w 1336827"/>
              <a:gd name="connsiteY1744" fmla="*/ 923376 h 1112837"/>
              <a:gd name="connsiteX1745" fmla="*/ 648749 w 1336827"/>
              <a:gd name="connsiteY1745" fmla="*/ 925370 h 1112837"/>
              <a:gd name="connsiteX1746" fmla="*/ 644760 w 1336827"/>
              <a:gd name="connsiteY1746" fmla="*/ 923376 h 1112837"/>
              <a:gd name="connsiteX1747" fmla="*/ 640771 w 1336827"/>
              <a:gd name="connsiteY1747" fmla="*/ 927364 h 1112837"/>
              <a:gd name="connsiteX1748" fmla="*/ 640771 w 1336827"/>
              <a:gd name="connsiteY1748" fmla="*/ 931353 h 1112837"/>
              <a:gd name="connsiteX1749" fmla="*/ 636782 w 1336827"/>
              <a:gd name="connsiteY1749" fmla="*/ 933347 h 1112837"/>
              <a:gd name="connsiteX1750" fmla="*/ 632793 w 1336827"/>
              <a:gd name="connsiteY1750" fmla="*/ 927364 h 1112837"/>
              <a:gd name="connsiteX1751" fmla="*/ 628804 w 1336827"/>
              <a:gd name="connsiteY1751" fmla="*/ 927364 h 1112837"/>
              <a:gd name="connsiteX1752" fmla="*/ 624815 w 1336827"/>
              <a:gd name="connsiteY1752" fmla="*/ 927364 h 1112837"/>
              <a:gd name="connsiteX1753" fmla="*/ 624815 w 1336827"/>
              <a:gd name="connsiteY1753" fmla="*/ 933347 h 1112837"/>
              <a:gd name="connsiteX1754" fmla="*/ 628804 w 1336827"/>
              <a:gd name="connsiteY1754" fmla="*/ 935342 h 1112837"/>
              <a:gd name="connsiteX1755" fmla="*/ 634788 w 1336827"/>
              <a:gd name="connsiteY1755" fmla="*/ 935342 h 1112837"/>
              <a:gd name="connsiteX1756" fmla="*/ 640771 w 1336827"/>
              <a:gd name="connsiteY1756" fmla="*/ 937336 h 1112837"/>
              <a:gd name="connsiteX1757" fmla="*/ 644760 w 1336827"/>
              <a:gd name="connsiteY1757" fmla="*/ 941325 h 1112837"/>
              <a:gd name="connsiteX1758" fmla="*/ 642765 w 1336827"/>
              <a:gd name="connsiteY1758" fmla="*/ 945313 h 1112837"/>
              <a:gd name="connsiteX1759" fmla="*/ 644760 w 1336827"/>
              <a:gd name="connsiteY1759" fmla="*/ 949302 h 1112837"/>
              <a:gd name="connsiteX1760" fmla="*/ 642765 w 1336827"/>
              <a:gd name="connsiteY1760" fmla="*/ 955285 h 1112837"/>
              <a:gd name="connsiteX1761" fmla="*/ 636782 w 1336827"/>
              <a:gd name="connsiteY1761" fmla="*/ 953291 h 1112837"/>
              <a:gd name="connsiteX1762" fmla="*/ 630799 w 1336827"/>
              <a:gd name="connsiteY1762" fmla="*/ 953291 h 1112837"/>
              <a:gd name="connsiteX1763" fmla="*/ 626810 w 1336827"/>
              <a:gd name="connsiteY1763" fmla="*/ 951296 h 1112837"/>
              <a:gd name="connsiteX1764" fmla="*/ 620827 w 1336827"/>
              <a:gd name="connsiteY1764" fmla="*/ 949302 h 1112837"/>
              <a:gd name="connsiteX1765" fmla="*/ 616838 w 1336827"/>
              <a:gd name="connsiteY1765" fmla="*/ 951296 h 1112837"/>
              <a:gd name="connsiteX1766" fmla="*/ 618832 w 1336827"/>
              <a:gd name="connsiteY1766" fmla="*/ 955285 h 1112837"/>
              <a:gd name="connsiteX1767" fmla="*/ 626810 w 1336827"/>
              <a:gd name="connsiteY1767" fmla="*/ 957279 h 1112837"/>
              <a:gd name="connsiteX1768" fmla="*/ 628804 w 1336827"/>
              <a:gd name="connsiteY1768" fmla="*/ 959274 h 1112837"/>
              <a:gd name="connsiteX1769" fmla="*/ 632793 w 1336827"/>
              <a:gd name="connsiteY1769" fmla="*/ 957279 h 1112837"/>
              <a:gd name="connsiteX1770" fmla="*/ 636782 w 1336827"/>
              <a:gd name="connsiteY1770" fmla="*/ 959274 h 1112837"/>
              <a:gd name="connsiteX1771" fmla="*/ 636782 w 1336827"/>
              <a:gd name="connsiteY1771" fmla="*/ 963262 h 1112837"/>
              <a:gd name="connsiteX1772" fmla="*/ 636782 w 1336827"/>
              <a:gd name="connsiteY1772" fmla="*/ 967251 h 1112837"/>
              <a:gd name="connsiteX1773" fmla="*/ 632793 w 1336827"/>
              <a:gd name="connsiteY1773" fmla="*/ 967251 h 1112837"/>
              <a:gd name="connsiteX1774" fmla="*/ 628804 w 1336827"/>
              <a:gd name="connsiteY1774" fmla="*/ 965257 h 1112837"/>
              <a:gd name="connsiteX1775" fmla="*/ 626810 w 1336827"/>
              <a:gd name="connsiteY1775" fmla="*/ 967251 h 1112837"/>
              <a:gd name="connsiteX1776" fmla="*/ 622821 w 1336827"/>
              <a:gd name="connsiteY1776" fmla="*/ 969245 h 1112837"/>
              <a:gd name="connsiteX1777" fmla="*/ 618832 w 1336827"/>
              <a:gd name="connsiteY1777" fmla="*/ 969245 h 1112837"/>
              <a:gd name="connsiteX1778" fmla="*/ 618832 w 1336827"/>
              <a:gd name="connsiteY1778" fmla="*/ 973234 h 1112837"/>
              <a:gd name="connsiteX1779" fmla="*/ 618832 w 1336827"/>
              <a:gd name="connsiteY1779" fmla="*/ 977223 h 1112837"/>
              <a:gd name="connsiteX1780" fmla="*/ 622821 w 1336827"/>
              <a:gd name="connsiteY1780" fmla="*/ 981211 h 1112837"/>
              <a:gd name="connsiteX1781" fmla="*/ 616838 w 1336827"/>
              <a:gd name="connsiteY1781" fmla="*/ 983206 h 1112837"/>
              <a:gd name="connsiteX1782" fmla="*/ 612849 w 1336827"/>
              <a:gd name="connsiteY1782" fmla="*/ 983206 h 1112837"/>
              <a:gd name="connsiteX1783" fmla="*/ 610854 w 1336827"/>
              <a:gd name="connsiteY1783" fmla="*/ 977223 h 1112837"/>
              <a:gd name="connsiteX1784" fmla="*/ 608860 w 1336827"/>
              <a:gd name="connsiteY1784" fmla="*/ 977223 h 1112837"/>
              <a:gd name="connsiteX1785" fmla="*/ 608860 w 1336827"/>
              <a:gd name="connsiteY1785" fmla="*/ 983206 h 1112837"/>
              <a:gd name="connsiteX1786" fmla="*/ 612849 w 1336827"/>
              <a:gd name="connsiteY1786" fmla="*/ 985200 h 1112837"/>
              <a:gd name="connsiteX1787" fmla="*/ 614843 w 1336827"/>
              <a:gd name="connsiteY1787" fmla="*/ 987194 h 1112837"/>
              <a:gd name="connsiteX1788" fmla="*/ 620827 w 1336827"/>
              <a:gd name="connsiteY1788" fmla="*/ 987194 h 1112837"/>
              <a:gd name="connsiteX1789" fmla="*/ 624815 w 1336827"/>
              <a:gd name="connsiteY1789" fmla="*/ 989189 h 1112837"/>
              <a:gd name="connsiteX1790" fmla="*/ 618832 w 1336827"/>
              <a:gd name="connsiteY1790" fmla="*/ 991183 h 1112837"/>
              <a:gd name="connsiteX1791" fmla="*/ 614843 w 1336827"/>
              <a:gd name="connsiteY1791" fmla="*/ 995172 h 1112837"/>
              <a:gd name="connsiteX1792" fmla="*/ 612849 w 1336827"/>
              <a:gd name="connsiteY1792" fmla="*/ 993177 h 1112837"/>
              <a:gd name="connsiteX1793" fmla="*/ 606866 w 1336827"/>
              <a:gd name="connsiteY1793" fmla="*/ 995172 h 1112837"/>
              <a:gd name="connsiteX1794" fmla="*/ 604871 w 1336827"/>
              <a:gd name="connsiteY1794" fmla="*/ 995172 h 1112837"/>
              <a:gd name="connsiteX1795" fmla="*/ 600882 w 1336827"/>
              <a:gd name="connsiteY1795" fmla="*/ 995172 h 1112837"/>
              <a:gd name="connsiteX1796" fmla="*/ 596893 w 1336827"/>
              <a:gd name="connsiteY1796" fmla="*/ 993177 h 1112837"/>
              <a:gd name="connsiteX1797" fmla="*/ 592905 w 1336827"/>
              <a:gd name="connsiteY1797" fmla="*/ 995172 h 1112837"/>
              <a:gd name="connsiteX1798" fmla="*/ 590910 w 1336827"/>
              <a:gd name="connsiteY1798" fmla="*/ 997166 h 1112837"/>
              <a:gd name="connsiteX1799" fmla="*/ 584927 w 1336827"/>
              <a:gd name="connsiteY1799" fmla="*/ 997166 h 1112837"/>
              <a:gd name="connsiteX1800" fmla="*/ 580938 w 1336827"/>
              <a:gd name="connsiteY1800" fmla="*/ 997166 h 1112837"/>
              <a:gd name="connsiteX1801" fmla="*/ 582932 w 1336827"/>
              <a:gd name="connsiteY1801" fmla="*/ 1001155 h 1112837"/>
              <a:gd name="connsiteX1802" fmla="*/ 588916 w 1336827"/>
              <a:gd name="connsiteY1802" fmla="*/ 1001155 h 1112837"/>
              <a:gd name="connsiteX1803" fmla="*/ 594899 w 1336827"/>
              <a:gd name="connsiteY1803" fmla="*/ 1003149 h 1112837"/>
              <a:gd name="connsiteX1804" fmla="*/ 594899 w 1336827"/>
              <a:gd name="connsiteY1804" fmla="*/ 1007138 h 1112837"/>
              <a:gd name="connsiteX1805" fmla="*/ 594899 w 1336827"/>
              <a:gd name="connsiteY1805" fmla="*/ 1009132 h 1112837"/>
              <a:gd name="connsiteX1806" fmla="*/ 598888 w 1336827"/>
              <a:gd name="connsiteY1806" fmla="*/ 1007138 h 1112837"/>
              <a:gd name="connsiteX1807" fmla="*/ 602877 w 1336827"/>
              <a:gd name="connsiteY1807" fmla="*/ 1007138 h 1112837"/>
              <a:gd name="connsiteX1808" fmla="*/ 600882 w 1336827"/>
              <a:gd name="connsiteY1808" fmla="*/ 1011126 h 1112837"/>
              <a:gd name="connsiteX1809" fmla="*/ 598888 w 1336827"/>
              <a:gd name="connsiteY1809" fmla="*/ 1015115 h 1112837"/>
              <a:gd name="connsiteX1810" fmla="*/ 598888 w 1336827"/>
              <a:gd name="connsiteY1810" fmla="*/ 1021098 h 1112837"/>
              <a:gd name="connsiteX1811" fmla="*/ 600882 w 1336827"/>
              <a:gd name="connsiteY1811" fmla="*/ 1023092 h 1112837"/>
              <a:gd name="connsiteX1812" fmla="*/ 598888 w 1336827"/>
              <a:gd name="connsiteY1812" fmla="*/ 1029075 h 1112837"/>
              <a:gd name="connsiteX1813" fmla="*/ 598888 w 1336827"/>
              <a:gd name="connsiteY1813" fmla="*/ 1033064 h 1112837"/>
              <a:gd name="connsiteX1814" fmla="*/ 602877 w 1336827"/>
              <a:gd name="connsiteY1814" fmla="*/ 1037053 h 1112837"/>
              <a:gd name="connsiteX1815" fmla="*/ 596893 w 1336827"/>
              <a:gd name="connsiteY1815" fmla="*/ 1041041 h 1112837"/>
              <a:gd name="connsiteX1816" fmla="*/ 592905 w 1336827"/>
              <a:gd name="connsiteY1816" fmla="*/ 1041041 h 1112837"/>
              <a:gd name="connsiteX1817" fmla="*/ 588916 w 1336827"/>
              <a:gd name="connsiteY1817" fmla="*/ 1039047 h 1112837"/>
              <a:gd name="connsiteX1818" fmla="*/ 588916 w 1336827"/>
              <a:gd name="connsiteY1818" fmla="*/ 1041041 h 1112837"/>
              <a:gd name="connsiteX1819" fmla="*/ 594899 w 1336827"/>
              <a:gd name="connsiteY1819" fmla="*/ 1045030 h 1112837"/>
              <a:gd name="connsiteX1820" fmla="*/ 594899 w 1336827"/>
              <a:gd name="connsiteY1820" fmla="*/ 1047024 h 1112837"/>
              <a:gd name="connsiteX1821" fmla="*/ 588916 w 1336827"/>
              <a:gd name="connsiteY1821" fmla="*/ 1049019 h 1112837"/>
              <a:gd name="connsiteX1822" fmla="*/ 582932 w 1336827"/>
              <a:gd name="connsiteY1822" fmla="*/ 1047024 h 1112837"/>
              <a:gd name="connsiteX1823" fmla="*/ 584927 w 1336827"/>
              <a:gd name="connsiteY1823" fmla="*/ 1049019 h 1112837"/>
              <a:gd name="connsiteX1824" fmla="*/ 590910 w 1336827"/>
              <a:gd name="connsiteY1824" fmla="*/ 1051013 h 1112837"/>
              <a:gd name="connsiteX1825" fmla="*/ 594899 w 1336827"/>
              <a:gd name="connsiteY1825" fmla="*/ 1053007 h 1112837"/>
              <a:gd name="connsiteX1826" fmla="*/ 594899 w 1336827"/>
              <a:gd name="connsiteY1826" fmla="*/ 1058990 h 1112837"/>
              <a:gd name="connsiteX1827" fmla="*/ 590910 w 1336827"/>
              <a:gd name="connsiteY1827" fmla="*/ 1058990 h 1112837"/>
              <a:gd name="connsiteX1828" fmla="*/ 584927 w 1336827"/>
              <a:gd name="connsiteY1828" fmla="*/ 1056996 h 1112837"/>
              <a:gd name="connsiteX1829" fmla="*/ 578943 w 1336827"/>
              <a:gd name="connsiteY1829" fmla="*/ 1055002 h 1112837"/>
              <a:gd name="connsiteX1830" fmla="*/ 572960 w 1336827"/>
              <a:gd name="connsiteY1830" fmla="*/ 1055002 h 1112837"/>
              <a:gd name="connsiteX1831" fmla="*/ 572960 w 1336827"/>
              <a:gd name="connsiteY1831" fmla="*/ 1056996 h 1112837"/>
              <a:gd name="connsiteX1832" fmla="*/ 578943 w 1336827"/>
              <a:gd name="connsiteY1832" fmla="*/ 1058990 h 1112837"/>
              <a:gd name="connsiteX1833" fmla="*/ 582932 w 1336827"/>
              <a:gd name="connsiteY1833" fmla="*/ 1058990 h 1112837"/>
              <a:gd name="connsiteX1834" fmla="*/ 586921 w 1336827"/>
              <a:gd name="connsiteY1834" fmla="*/ 1060985 h 1112837"/>
              <a:gd name="connsiteX1835" fmla="*/ 582932 w 1336827"/>
              <a:gd name="connsiteY1835" fmla="*/ 1062979 h 1112837"/>
              <a:gd name="connsiteX1836" fmla="*/ 576949 w 1336827"/>
              <a:gd name="connsiteY1836" fmla="*/ 1062979 h 1112837"/>
              <a:gd name="connsiteX1837" fmla="*/ 572960 w 1336827"/>
              <a:gd name="connsiteY1837" fmla="*/ 1062979 h 1112837"/>
              <a:gd name="connsiteX1838" fmla="*/ 578943 w 1336827"/>
              <a:gd name="connsiteY1838" fmla="*/ 1066968 h 1112837"/>
              <a:gd name="connsiteX1839" fmla="*/ 584927 w 1336827"/>
              <a:gd name="connsiteY1839" fmla="*/ 1068962 h 1112837"/>
              <a:gd name="connsiteX1840" fmla="*/ 584927 w 1336827"/>
              <a:gd name="connsiteY1840" fmla="*/ 1074945 h 1112837"/>
              <a:gd name="connsiteX1841" fmla="*/ 580938 w 1336827"/>
              <a:gd name="connsiteY1841" fmla="*/ 1074945 h 1112837"/>
              <a:gd name="connsiteX1842" fmla="*/ 572960 w 1336827"/>
              <a:gd name="connsiteY1842" fmla="*/ 1072951 h 1112837"/>
              <a:gd name="connsiteX1843" fmla="*/ 566977 w 1336827"/>
              <a:gd name="connsiteY1843" fmla="*/ 1072951 h 1112837"/>
              <a:gd name="connsiteX1844" fmla="*/ 568971 w 1336827"/>
              <a:gd name="connsiteY1844" fmla="*/ 1074945 h 1112837"/>
              <a:gd name="connsiteX1845" fmla="*/ 578943 w 1336827"/>
              <a:gd name="connsiteY1845" fmla="*/ 1078934 h 1112837"/>
              <a:gd name="connsiteX1846" fmla="*/ 574955 w 1336827"/>
              <a:gd name="connsiteY1846" fmla="*/ 1080928 h 1112837"/>
              <a:gd name="connsiteX1847" fmla="*/ 570966 w 1336827"/>
              <a:gd name="connsiteY1847" fmla="*/ 1080928 h 1112837"/>
              <a:gd name="connsiteX1848" fmla="*/ 568971 w 1336827"/>
              <a:gd name="connsiteY1848" fmla="*/ 1082922 h 1112837"/>
              <a:gd name="connsiteX1849" fmla="*/ 576949 w 1336827"/>
              <a:gd name="connsiteY1849" fmla="*/ 1082922 h 1112837"/>
              <a:gd name="connsiteX1850" fmla="*/ 578943 w 1336827"/>
              <a:gd name="connsiteY1850" fmla="*/ 1084917 h 1112837"/>
              <a:gd name="connsiteX1851" fmla="*/ 574955 w 1336827"/>
              <a:gd name="connsiteY1851" fmla="*/ 1086911 h 1112837"/>
              <a:gd name="connsiteX1852" fmla="*/ 570966 w 1336827"/>
              <a:gd name="connsiteY1852" fmla="*/ 1088905 h 1112837"/>
              <a:gd name="connsiteX1853" fmla="*/ 564982 w 1336827"/>
              <a:gd name="connsiteY1853" fmla="*/ 1088905 h 1112837"/>
              <a:gd name="connsiteX1854" fmla="*/ 564982 w 1336827"/>
              <a:gd name="connsiteY1854" fmla="*/ 1084917 h 1112837"/>
              <a:gd name="connsiteX1855" fmla="*/ 560994 w 1336827"/>
              <a:gd name="connsiteY1855" fmla="*/ 1082922 h 1112837"/>
              <a:gd name="connsiteX1856" fmla="*/ 558999 w 1336827"/>
              <a:gd name="connsiteY1856" fmla="*/ 1084917 h 1112837"/>
              <a:gd name="connsiteX1857" fmla="*/ 557005 w 1336827"/>
              <a:gd name="connsiteY1857" fmla="*/ 1088905 h 1112837"/>
              <a:gd name="connsiteX1858" fmla="*/ 551021 w 1336827"/>
              <a:gd name="connsiteY1858" fmla="*/ 1086911 h 1112837"/>
              <a:gd name="connsiteX1859" fmla="*/ 549027 w 1336827"/>
              <a:gd name="connsiteY1859" fmla="*/ 1086911 h 1112837"/>
              <a:gd name="connsiteX1860" fmla="*/ 547033 w 1336827"/>
              <a:gd name="connsiteY1860" fmla="*/ 1088905 h 1112837"/>
              <a:gd name="connsiteX1861" fmla="*/ 551021 w 1336827"/>
              <a:gd name="connsiteY1861" fmla="*/ 1090900 h 1112837"/>
              <a:gd name="connsiteX1862" fmla="*/ 555010 w 1336827"/>
              <a:gd name="connsiteY1862" fmla="*/ 1092894 h 1112837"/>
              <a:gd name="connsiteX1863" fmla="*/ 558999 w 1336827"/>
              <a:gd name="connsiteY1863" fmla="*/ 1094888 h 1112837"/>
              <a:gd name="connsiteX1864" fmla="*/ 560994 w 1336827"/>
              <a:gd name="connsiteY1864" fmla="*/ 1096883 h 1112837"/>
              <a:gd name="connsiteX1865" fmla="*/ 564982 w 1336827"/>
              <a:gd name="connsiteY1865" fmla="*/ 1098877 h 1112837"/>
              <a:gd name="connsiteX1866" fmla="*/ 570966 w 1336827"/>
              <a:gd name="connsiteY1866" fmla="*/ 1098877 h 1112837"/>
              <a:gd name="connsiteX1867" fmla="*/ 572960 w 1336827"/>
              <a:gd name="connsiteY1867" fmla="*/ 1102866 h 1112837"/>
              <a:gd name="connsiteX1868" fmla="*/ 568971 w 1336827"/>
              <a:gd name="connsiteY1868" fmla="*/ 1106854 h 1112837"/>
              <a:gd name="connsiteX1869" fmla="*/ 568971 w 1336827"/>
              <a:gd name="connsiteY1869" fmla="*/ 1112837 h 1112837"/>
              <a:gd name="connsiteX1870" fmla="*/ 560994 w 1336827"/>
              <a:gd name="connsiteY1870" fmla="*/ 1108849 h 1112837"/>
              <a:gd name="connsiteX1871" fmla="*/ 555010 w 1336827"/>
              <a:gd name="connsiteY1871" fmla="*/ 1108849 h 1112837"/>
              <a:gd name="connsiteX1872" fmla="*/ 549027 w 1336827"/>
              <a:gd name="connsiteY1872" fmla="*/ 1110843 h 1112837"/>
              <a:gd name="connsiteX1873" fmla="*/ 547033 w 1336827"/>
              <a:gd name="connsiteY1873" fmla="*/ 1106854 h 1112837"/>
              <a:gd name="connsiteX1874" fmla="*/ 549027 w 1336827"/>
              <a:gd name="connsiteY1874" fmla="*/ 1098877 h 1112837"/>
              <a:gd name="connsiteX1875" fmla="*/ 547033 w 1336827"/>
              <a:gd name="connsiteY1875" fmla="*/ 1094888 h 1112837"/>
              <a:gd name="connsiteX1876" fmla="*/ 543044 w 1336827"/>
              <a:gd name="connsiteY1876" fmla="*/ 1098877 h 1112837"/>
              <a:gd name="connsiteX1877" fmla="*/ 543044 w 1336827"/>
              <a:gd name="connsiteY1877" fmla="*/ 1104860 h 1112837"/>
              <a:gd name="connsiteX1878" fmla="*/ 543044 w 1336827"/>
              <a:gd name="connsiteY1878" fmla="*/ 1106854 h 1112837"/>
              <a:gd name="connsiteX1879" fmla="*/ 537060 w 1336827"/>
              <a:gd name="connsiteY1879" fmla="*/ 1106854 h 1112837"/>
              <a:gd name="connsiteX1880" fmla="*/ 535066 w 1336827"/>
              <a:gd name="connsiteY1880" fmla="*/ 1108849 h 1112837"/>
              <a:gd name="connsiteX1881" fmla="*/ 531077 w 1336827"/>
              <a:gd name="connsiteY1881" fmla="*/ 1108849 h 1112837"/>
              <a:gd name="connsiteX1882" fmla="*/ 531077 w 1336827"/>
              <a:gd name="connsiteY1882" fmla="*/ 1104860 h 1112837"/>
              <a:gd name="connsiteX1883" fmla="*/ 537060 w 1336827"/>
              <a:gd name="connsiteY1883" fmla="*/ 1100871 h 1112837"/>
              <a:gd name="connsiteX1884" fmla="*/ 537060 w 1336827"/>
              <a:gd name="connsiteY1884" fmla="*/ 1096883 h 1112837"/>
              <a:gd name="connsiteX1885" fmla="*/ 533072 w 1336827"/>
              <a:gd name="connsiteY1885" fmla="*/ 1096883 h 1112837"/>
              <a:gd name="connsiteX1886" fmla="*/ 529083 w 1336827"/>
              <a:gd name="connsiteY1886" fmla="*/ 1098877 h 1112837"/>
              <a:gd name="connsiteX1887" fmla="*/ 527088 w 1336827"/>
              <a:gd name="connsiteY1887" fmla="*/ 1096883 h 1112837"/>
              <a:gd name="connsiteX1888" fmla="*/ 531077 w 1336827"/>
              <a:gd name="connsiteY1888" fmla="*/ 1092894 h 1112837"/>
              <a:gd name="connsiteX1889" fmla="*/ 535066 w 1336827"/>
              <a:gd name="connsiteY1889" fmla="*/ 1088905 h 1112837"/>
              <a:gd name="connsiteX1890" fmla="*/ 535066 w 1336827"/>
              <a:gd name="connsiteY1890" fmla="*/ 1086911 h 1112837"/>
              <a:gd name="connsiteX1891" fmla="*/ 531077 w 1336827"/>
              <a:gd name="connsiteY1891" fmla="*/ 1086911 h 1112837"/>
              <a:gd name="connsiteX1892" fmla="*/ 529083 w 1336827"/>
              <a:gd name="connsiteY1892" fmla="*/ 1082922 h 1112837"/>
              <a:gd name="connsiteX1893" fmla="*/ 525094 w 1336827"/>
              <a:gd name="connsiteY1893" fmla="*/ 1082922 h 1112837"/>
              <a:gd name="connsiteX1894" fmla="*/ 523099 w 1336827"/>
              <a:gd name="connsiteY1894" fmla="*/ 1078934 h 1112837"/>
              <a:gd name="connsiteX1895" fmla="*/ 529083 w 1336827"/>
              <a:gd name="connsiteY1895" fmla="*/ 1076939 h 1112837"/>
              <a:gd name="connsiteX1896" fmla="*/ 527088 w 1336827"/>
              <a:gd name="connsiteY1896" fmla="*/ 1072951 h 1112837"/>
              <a:gd name="connsiteX1897" fmla="*/ 517116 w 1336827"/>
              <a:gd name="connsiteY1897" fmla="*/ 1076939 h 1112837"/>
              <a:gd name="connsiteX1898" fmla="*/ 515122 w 1336827"/>
              <a:gd name="connsiteY1898" fmla="*/ 1080928 h 1112837"/>
              <a:gd name="connsiteX1899" fmla="*/ 519111 w 1336827"/>
              <a:gd name="connsiteY1899" fmla="*/ 1084917 h 1112837"/>
              <a:gd name="connsiteX1900" fmla="*/ 517116 w 1336827"/>
              <a:gd name="connsiteY1900" fmla="*/ 1090900 h 1112837"/>
              <a:gd name="connsiteX1901" fmla="*/ 509138 w 1336827"/>
              <a:gd name="connsiteY1901" fmla="*/ 1090900 h 1112837"/>
              <a:gd name="connsiteX1902" fmla="*/ 505150 w 1336827"/>
              <a:gd name="connsiteY1902" fmla="*/ 1082922 h 1112837"/>
              <a:gd name="connsiteX1903" fmla="*/ 505150 w 1336827"/>
              <a:gd name="connsiteY1903" fmla="*/ 1076939 h 1112837"/>
              <a:gd name="connsiteX1904" fmla="*/ 511133 w 1336827"/>
              <a:gd name="connsiteY1904" fmla="*/ 1074945 h 1112837"/>
              <a:gd name="connsiteX1905" fmla="*/ 519111 w 1336827"/>
              <a:gd name="connsiteY1905" fmla="*/ 1072951 h 1112837"/>
              <a:gd name="connsiteX1906" fmla="*/ 523099 w 1336827"/>
              <a:gd name="connsiteY1906" fmla="*/ 1070956 h 1112837"/>
              <a:gd name="connsiteX1907" fmla="*/ 525094 w 1336827"/>
              <a:gd name="connsiteY1907" fmla="*/ 1068962 h 1112837"/>
              <a:gd name="connsiteX1908" fmla="*/ 523099 w 1336827"/>
              <a:gd name="connsiteY1908" fmla="*/ 1066968 h 1112837"/>
              <a:gd name="connsiteX1909" fmla="*/ 517116 w 1336827"/>
              <a:gd name="connsiteY1909" fmla="*/ 1064973 h 1112837"/>
              <a:gd name="connsiteX1910" fmla="*/ 515122 w 1336827"/>
              <a:gd name="connsiteY1910" fmla="*/ 1066968 h 1112837"/>
              <a:gd name="connsiteX1911" fmla="*/ 513127 w 1336827"/>
              <a:gd name="connsiteY1911" fmla="*/ 1062979 h 1112837"/>
              <a:gd name="connsiteX1912" fmla="*/ 517116 w 1336827"/>
              <a:gd name="connsiteY1912" fmla="*/ 1058990 h 1112837"/>
              <a:gd name="connsiteX1913" fmla="*/ 511133 w 1336827"/>
              <a:gd name="connsiteY1913" fmla="*/ 1055002 h 1112837"/>
              <a:gd name="connsiteX1914" fmla="*/ 507144 w 1336827"/>
              <a:gd name="connsiteY1914" fmla="*/ 1062979 h 1112837"/>
              <a:gd name="connsiteX1915" fmla="*/ 503155 w 1336827"/>
              <a:gd name="connsiteY1915" fmla="*/ 1070956 h 1112837"/>
              <a:gd name="connsiteX1916" fmla="*/ 495177 w 1336827"/>
              <a:gd name="connsiteY1916" fmla="*/ 1070956 h 1112837"/>
              <a:gd name="connsiteX1917" fmla="*/ 485205 w 1336827"/>
              <a:gd name="connsiteY1917" fmla="*/ 1076939 h 1112837"/>
              <a:gd name="connsiteX1918" fmla="*/ 479222 w 1336827"/>
              <a:gd name="connsiteY1918" fmla="*/ 1078934 h 1112837"/>
              <a:gd name="connsiteX1919" fmla="*/ 475233 w 1336827"/>
              <a:gd name="connsiteY1919" fmla="*/ 1074945 h 1112837"/>
              <a:gd name="connsiteX1920" fmla="*/ 467255 w 1336827"/>
              <a:gd name="connsiteY1920" fmla="*/ 1072951 h 1112837"/>
              <a:gd name="connsiteX1921" fmla="*/ 463266 w 1336827"/>
              <a:gd name="connsiteY1921" fmla="*/ 1070956 h 1112837"/>
              <a:gd name="connsiteX1922" fmla="*/ 461272 w 1336827"/>
              <a:gd name="connsiteY1922" fmla="*/ 1066968 h 1112837"/>
              <a:gd name="connsiteX1923" fmla="*/ 459278 w 1336827"/>
              <a:gd name="connsiteY1923" fmla="*/ 1064973 h 1112837"/>
              <a:gd name="connsiteX1924" fmla="*/ 457283 w 1336827"/>
              <a:gd name="connsiteY1924" fmla="*/ 1060985 h 1112837"/>
              <a:gd name="connsiteX1925" fmla="*/ 457283 w 1336827"/>
              <a:gd name="connsiteY1925" fmla="*/ 1056996 h 1112837"/>
              <a:gd name="connsiteX1926" fmla="*/ 459278 w 1336827"/>
              <a:gd name="connsiteY1926" fmla="*/ 1051013 h 1112837"/>
              <a:gd name="connsiteX1927" fmla="*/ 455289 w 1336827"/>
              <a:gd name="connsiteY1927" fmla="*/ 1047024 h 1112837"/>
              <a:gd name="connsiteX1928" fmla="*/ 451300 w 1336827"/>
              <a:gd name="connsiteY1928" fmla="*/ 1047024 h 1112837"/>
              <a:gd name="connsiteX1929" fmla="*/ 447311 w 1336827"/>
              <a:gd name="connsiteY1929" fmla="*/ 1049019 h 1112837"/>
              <a:gd name="connsiteX1930" fmla="*/ 445317 w 1336827"/>
              <a:gd name="connsiteY1930" fmla="*/ 1047024 h 1112837"/>
              <a:gd name="connsiteX1931" fmla="*/ 445317 w 1336827"/>
              <a:gd name="connsiteY1931" fmla="*/ 1043036 h 1112837"/>
              <a:gd name="connsiteX1932" fmla="*/ 439333 w 1336827"/>
              <a:gd name="connsiteY1932" fmla="*/ 1043036 h 1112837"/>
              <a:gd name="connsiteX1933" fmla="*/ 437339 w 1336827"/>
              <a:gd name="connsiteY1933" fmla="*/ 1039047 h 1112837"/>
              <a:gd name="connsiteX1934" fmla="*/ 439333 w 1336827"/>
              <a:gd name="connsiteY1934" fmla="*/ 1033064 h 1112837"/>
              <a:gd name="connsiteX1935" fmla="*/ 437339 w 1336827"/>
              <a:gd name="connsiteY1935" fmla="*/ 1031070 h 1112837"/>
              <a:gd name="connsiteX1936" fmla="*/ 437339 w 1336827"/>
              <a:gd name="connsiteY1936" fmla="*/ 1027081 h 1112837"/>
              <a:gd name="connsiteX1937" fmla="*/ 433350 w 1336827"/>
              <a:gd name="connsiteY1937" fmla="*/ 1025087 h 1112837"/>
              <a:gd name="connsiteX1938" fmla="*/ 429361 w 1336827"/>
              <a:gd name="connsiteY1938" fmla="*/ 1023092 h 1112837"/>
              <a:gd name="connsiteX1939" fmla="*/ 429361 w 1336827"/>
              <a:gd name="connsiteY1939" fmla="*/ 1017109 h 1112837"/>
              <a:gd name="connsiteX1940" fmla="*/ 429361 w 1336827"/>
              <a:gd name="connsiteY1940" fmla="*/ 1015115 h 1112837"/>
              <a:gd name="connsiteX1941" fmla="*/ 421383 w 1336827"/>
              <a:gd name="connsiteY1941" fmla="*/ 1015115 h 1112837"/>
              <a:gd name="connsiteX1942" fmla="*/ 417395 w 1336827"/>
              <a:gd name="connsiteY1942" fmla="*/ 1013121 h 1112837"/>
              <a:gd name="connsiteX1943" fmla="*/ 411411 w 1336827"/>
              <a:gd name="connsiteY1943" fmla="*/ 1007138 h 1112837"/>
              <a:gd name="connsiteX1944" fmla="*/ 411411 w 1336827"/>
              <a:gd name="connsiteY1944" fmla="*/ 1001155 h 1112837"/>
              <a:gd name="connsiteX1945" fmla="*/ 417395 w 1336827"/>
              <a:gd name="connsiteY1945" fmla="*/ 995172 h 1112837"/>
              <a:gd name="connsiteX1946" fmla="*/ 419389 w 1336827"/>
              <a:gd name="connsiteY1946" fmla="*/ 993177 h 1112837"/>
              <a:gd name="connsiteX1947" fmla="*/ 421383 w 1336827"/>
              <a:gd name="connsiteY1947" fmla="*/ 991183 h 1112837"/>
              <a:gd name="connsiteX1948" fmla="*/ 413406 w 1336827"/>
              <a:gd name="connsiteY1948" fmla="*/ 991183 h 1112837"/>
              <a:gd name="connsiteX1949" fmla="*/ 411411 w 1336827"/>
              <a:gd name="connsiteY1949" fmla="*/ 989189 h 1112837"/>
              <a:gd name="connsiteX1950" fmla="*/ 417395 w 1336827"/>
              <a:gd name="connsiteY1950" fmla="*/ 987194 h 1112837"/>
              <a:gd name="connsiteX1951" fmla="*/ 423378 w 1336827"/>
              <a:gd name="connsiteY1951" fmla="*/ 985200 h 1112837"/>
              <a:gd name="connsiteX1952" fmla="*/ 423378 w 1336827"/>
              <a:gd name="connsiteY1952" fmla="*/ 983206 h 1112837"/>
              <a:gd name="connsiteX1953" fmla="*/ 417395 w 1336827"/>
              <a:gd name="connsiteY1953" fmla="*/ 983206 h 1112837"/>
              <a:gd name="connsiteX1954" fmla="*/ 411411 w 1336827"/>
              <a:gd name="connsiteY1954" fmla="*/ 987194 h 1112837"/>
              <a:gd name="connsiteX1955" fmla="*/ 407422 w 1336827"/>
              <a:gd name="connsiteY1955" fmla="*/ 983206 h 1112837"/>
              <a:gd name="connsiteX1956" fmla="*/ 411411 w 1336827"/>
              <a:gd name="connsiteY1956" fmla="*/ 979217 h 1112837"/>
              <a:gd name="connsiteX1957" fmla="*/ 415400 w 1336827"/>
              <a:gd name="connsiteY1957" fmla="*/ 977223 h 1112837"/>
              <a:gd name="connsiteX1958" fmla="*/ 409417 w 1336827"/>
              <a:gd name="connsiteY1958" fmla="*/ 977223 h 1112837"/>
              <a:gd name="connsiteX1959" fmla="*/ 403434 w 1336827"/>
              <a:gd name="connsiteY1959" fmla="*/ 975228 h 1112837"/>
              <a:gd name="connsiteX1960" fmla="*/ 401439 w 1336827"/>
              <a:gd name="connsiteY1960" fmla="*/ 975228 h 1112837"/>
              <a:gd name="connsiteX1961" fmla="*/ 403434 w 1336827"/>
              <a:gd name="connsiteY1961" fmla="*/ 973234 h 1112837"/>
              <a:gd name="connsiteX1962" fmla="*/ 409417 w 1336827"/>
              <a:gd name="connsiteY1962" fmla="*/ 973234 h 1112837"/>
              <a:gd name="connsiteX1963" fmla="*/ 409417 w 1336827"/>
              <a:gd name="connsiteY1963" fmla="*/ 969245 h 1112837"/>
              <a:gd name="connsiteX1964" fmla="*/ 407422 w 1336827"/>
              <a:gd name="connsiteY1964" fmla="*/ 967251 h 1112837"/>
              <a:gd name="connsiteX1965" fmla="*/ 403434 w 1336827"/>
              <a:gd name="connsiteY1965" fmla="*/ 965257 h 1112837"/>
              <a:gd name="connsiteX1966" fmla="*/ 403434 w 1336827"/>
              <a:gd name="connsiteY1966" fmla="*/ 961268 h 1112837"/>
              <a:gd name="connsiteX1967" fmla="*/ 401439 w 1336827"/>
              <a:gd name="connsiteY1967" fmla="*/ 959274 h 1112837"/>
              <a:gd name="connsiteX1968" fmla="*/ 397450 w 1336827"/>
              <a:gd name="connsiteY1968" fmla="*/ 963262 h 1112837"/>
              <a:gd name="connsiteX1969" fmla="*/ 391467 w 1336827"/>
              <a:gd name="connsiteY1969" fmla="*/ 961268 h 1112837"/>
              <a:gd name="connsiteX1970" fmla="*/ 389473 w 1336827"/>
              <a:gd name="connsiteY1970" fmla="*/ 957279 h 1112837"/>
              <a:gd name="connsiteX1971" fmla="*/ 393461 w 1336827"/>
              <a:gd name="connsiteY1971" fmla="*/ 953291 h 1112837"/>
              <a:gd name="connsiteX1972" fmla="*/ 397450 w 1336827"/>
              <a:gd name="connsiteY1972" fmla="*/ 953291 h 1112837"/>
              <a:gd name="connsiteX1973" fmla="*/ 399445 w 1336827"/>
              <a:gd name="connsiteY1973" fmla="*/ 949302 h 1112837"/>
              <a:gd name="connsiteX1974" fmla="*/ 397450 w 1336827"/>
              <a:gd name="connsiteY1974" fmla="*/ 947308 h 1112837"/>
              <a:gd name="connsiteX1975" fmla="*/ 399445 w 1336827"/>
              <a:gd name="connsiteY1975" fmla="*/ 939330 h 1112837"/>
              <a:gd name="connsiteX1976" fmla="*/ 405428 w 1336827"/>
              <a:gd name="connsiteY1976" fmla="*/ 937336 h 1112837"/>
              <a:gd name="connsiteX1977" fmla="*/ 411411 w 1336827"/>
              <a:gd name="connsiteY1977" fmla="*/ 935342 h 1112837"/>
              <a:gd name="connsiteX1978" fmla="*/ 421383 w 1336827"/>
              <a:gd name="connsiteY1978" fmla="*/ 931353 h 1112837"/>
              <a:gd name="connsiteX1979" fmla="*/ 417395 w 1336827"/>
              <a:gd name="connsiteY1979" fmla="*/ 929359 h 1112837"/>
              <a:gd name="connsiteX1980" fmla="*/ 409417 w 1336827"/>
              <a:gd name="connsiteY1980" fmla="*/ 933347 h 1112837"/>
              <a:gd name="connsiteX1981" fmla="*/ 401439 w 1336827"/>
              <a:gd name="connsiteY1981" fmla="*/ 933347 h 1112837"/>
              <a:gd name="connsiteX1982" fmla="*/ 403434 w 1336827"/>
              <a:gd name="connsiteY1982" fmla="*/ 927364 h 1112837"/>
              <a:gd name="connsiteX1983" fmla="*/ 407422 w 1336827"/>
              <a:gd name="connsiteY1983" fmla="*/ 927364 h 1112837"/>
              <a:gd name="connsiteX1984" fmla="*/ 413406 w 1336827"/>
              <a:gd name="connsiteY1984" fmla="*/ 927364 h 1112837"/>
              <a:gd name="connsiteX1985" fmla="*/ 417395 w 1336827"/>
              <a:gd name="connsiteY1985" fmla="*/ 925370 h 1112837"/>
              <a:gd name="connsiteX1986" fmla="*/ 417395 w 1336827"/>
              <a:gd name="connsiteY1986" fmla="*/ 923376 h 1112837"/>
              <a:gd name="connsiteX1987" fmla="*/ 411411 w 1336827"/>
              <a:gd name="connsiteY1987" fmla="*/ 921381 h 1112837"/>
              <a:gd name="connsiteX1988" fmla="*/ 407422 w 1336827"/>
              <a:gd name="connsiteY1988" fmla="*/ 921381 h 1112837"/>
              <a:gd name="connsiteX1989" fmla="*/ 407422 w 1336827"/>
              <a:gd name="connsiteY1989" fmla="*/ 917393 h 1112837"/>
              <a:gd name="connsiteX1990" fmla="*/ 413406 w 1336827"/>
              <a:gd name="connsiteY1990" fmla="*/ 911410 h 1112837"/>
              <a:gd name="connsiteX1991" fmla="*/ 417395 w 1336827"/>
              <a:gd name="connsiteY1991" fmla="*/ 911410 h 1112837"/>
              <a:gd name="connsiteX1992" fmla="*/ 419389 w 1336827"/>
              <a:gd name="connsiteY1992" fmla="*/ 915398 h 1112837"/>
              <a:gd name="connsiteX1993" fmla="*/ 421383 w 1336827"/>
              <a:gd name="connsiteY1993" fmla="*/ 919387 h 1112837"/>
              <a:gd name="connsiteX1994" fmla="*/ 425372 w 1336827"/>
              <a:gd name="connsiteY1994" fmla="*/ 923376 h 1112837"/>
              <a:gd name="connsiteX1995" fmla="*/ 435344 w 1336827"/>
              <a:gd name="connsiteY1995" fmla="*/ 927364 h 1112837"/>
              <a:gd name="connsiteX1996" fmla="*/ 439333 w 1336827"/>
              <a:gd name="connsiteY1996" fmla="*/ 923376 h 1112837"/>
              <a:gd name="connsiteX1997" fmla="*/ 437339 w 1336827"/>
              <a:gd name="connsiteY1997" fmla="*/ 919387 h 1112837"/>
              <a:gd name="connsiteX1998" fmla="*/ 431356 w 1336827"/>
              <a:gd name="connsiteY1998" fmla="*/ 919387 h 1112837"/>
              <a:gd name="connsiteX1999" fmla="*/ 425372 w 1336827"/>
              <a:gd name="connsiteY1999" fmla="*/ 917393 h 1112837"/>
              <a:gd name="connsiteX2000" fmla="*/ 425372 w 1336827"/>
              <a:gd name="connsiteY2000" fmla="*/ 913404 h 1112837"/>
              <a:gd name="connsiteX2001" fmla="*/ 425372 w 1336827"/>
              <a:gd name="connsiteY2001" fmla="*/ 909415 h 1112837"/>
              <a:gd name="connsiteX2002" fmla="*/ 421383 w 1336827"/>
              <a:gd name="connsiteY2002" fmla="*/ 903432 h 1112837"/>
              <a:gd name="connsiteX2003" fmla="*/ 417395 w 1336827"/>
              <a:gd name="connsiteY2003" fmla="*/ 901438 h 1112837"/>
              <a:gd name="connsiteX2004" fmla="*/ 413406 w 1336827"/>
              <a:gd name="connsiteY2004" fmla="*/ 903432 h 1112837"/>
              <a:gd name="connsiteX2005" fmla="*/ 413406 w 1336827"/>
              <a:gd name="connsiteY2005" fmla="*/ 907421 h 1112837"/>
              <a:gd name="connsiteX2006" fmla="*/ 411411 w 1336827"/>
              <a:gd name="connsiteY2006" fmla="*/ 907421 h 1112837"/>
              <a:gd name="connsiteX2007" fmla="*/ 407422 w 1336827"/>
              <a:gd name="connsiteY2007" fmla="*/ 909415 h 1112837"/>
              <a:gd name="connsiteX2008" fmla="*/ 405428 w 1336827"/>
              <a:gd name="connsiteY2008" fmla="*/ 911410 h 1112837"/>
              <a:gd name="connsiteX2009" fmla="*/ 403434 w 1336827"/>
              <a:gd name="connsiteY2009" fmla="*/ 909415 h 1112837"/>
              <a:gd name="connsiteX2010" fmla="*/ 399445 w 1336827"/>
              <a:gd name="connsiteY2010" fmla="*/ 909415 h 1112837"/>
              <a:gd name="connsiteX2011" fmla="*/ 399445 w 1336827"/>
              <a:gd name="connsiteY2011" fmla="*/ 913404 h 1112837"/>
              <a:gd name="connsiteX2012" fmla="*/ 397450 w 1336827"/>
              <a:gd name="connsiteY2012" fmla="*/ 917393 h 1112837"/>
              <a:gd name="connsiteX2013" fmla="*/ 391467 w 1336827"/>
              <a:gd name="connsiteY2013" fmla="*/ 917393 h 1112837"/>
              <a:gd name="connsiteX2014" fmla="*/ 389473 w 1336827"/>
              <a:gd name="connsiteY2014" fmla="*/ 917393 h 1112837"/>
              <a:gd name="connsiteX2015" fmla="*/ 389473 w 1336827"/>
              <a:gd name="connsiteY2015" fmla="*/ 925370 h 1112837"/>
              <a:gd name="connsiteX2016" fmla="*/ 387478 w 1336827"/>
              <a:gd name="connsiteY2016" fmla="*/ 929359 h 1112837"/>
              <a:gd name="connsiteX2017" fmla="*/ 383489 w 1336827"/>
              <a:gd name="connsiteY2017" fmla="*/ 931353 h 1112837"/>
              <a:gd name="connsiteX2018" fmla="*/ 377506 w 1336827"/>
              <a:gd name="connsiteY2018" fmla="*/ 933347 h 1112837"/>
              <a:gd name="connsiteX2019" fmla="*/ 377506 w 1336827"/>
              <a:gd name="connsiteY2019" fmla="*/ 929359 h 1112837"/>
              <a:gd name="connsiteX2020" fmla="*/ 381495 w 1336827"/>
              <a:gd name="connsiteY2020" fmla="*/ 927364 h 1112837"/>
              <a:gd name="connsiteX2021" fmla="*/ 383489 w 1336827"/>
              <a:gd name="connsiteY2021" fmla="*/ 925370 h 1112837"/>
              <a:gd name="connsiteX2022" fmla="*/ 381495 w 1336827"/>
              <a:gd name="connsiteY2022" fmla="*/ 921381 h 1112837"/>
              <a:gd name="connsiteX2023" fmla="*/ 377506 w 1336827"/>
              <a:gd name="connsiteY2023" fmla="*/ 917393 h 1112837"/>
              <a:gd name="connsiteX2024" fmla="*/ 379500 w 1336827"/>
              <a:gd name="connsiteY2024" fmla="*/ 911410 h 1112837"/>
              <a:gd name="connsiteX2025" fmla="*/ 383489 w 1336827"/>
              <a:gd name="connsiteY2025" fmla="*/ 909415 h 1112837"/>
              <a:gd name="connsiteX2026" fmla="*/ 387478 w 1336827"/>
              <a:gd name="connsiteY2026" fmla="*/ 909415 h 1112837"/>
              <a:gd name="connsiteX2027" fmla="*/ 387478 w 1336827"/>
              <a:gd name="connsiteY2027" fmla="*/ 905427 h 1112837"/>
              <a:gd name="connsiteX2028" fmla="*/ 391467 w 1336827"/>
              <a:gd name="connsiteY2028" fmla="*/ 905427 h 1112837"/>
              <a:gd name="connsiteX2029" fmla="*/ 393461 w 1336827"/>
              <a:gd name="connsiteY2029" fmla="*/ 901438 h 1112837"/>
              <a:gd name="connsiteX2030" fmla="*/ 391467 w 1336827"/>
              <a:gd name="connsiteY2030" fmla="*/ 899444 h 1112837"/>
              <a:gd name="connsiteX2031" fmla="*/ 387478 w 1336827"/>
              <a:gd name="connsiteY2031" fmla="*/ 901438 h 1112837"/>
              <a:gd name="connsiteX2032" fmla="*/ 381495 w 1336827"/>
              <a:gd name="connsiteY2032" fmla="*/ 903432 h 1112837"/>
              <a:gd name="connsiteX2033" fmla="*/ 379500 w 1336827"/>
              <a:gd name="connsiteY2033" fmla="*/ 901438 h 1112837"/>
              <a:gd name="connsiteX2034" fmla="*/ 383489 w 1336827"/>
              <a:gd name="connsiteY2034" fmla="*/ 897449 h 1112837"/>
              <a:gd name="connsiteX2035" fmla="*/ 383489 w 1336827"/>
              <a:gd name="connsiteY2035" fmla="*/ 889472 h 1112837"/>
              <a:gd name="connsiteX2036" fmla="*/ 383489 w 1336827"/>
              <a:gd name="connsiteY2036" fmla="*/ 885483 h 1112837"/>
              <a:gd name="connsiteX2037" fmla="*/ 379500 w 1336827"/>
              <a:gd name="connsiteY2037" fmla="*/ 885483 h 1112837"/>
              <a:gd name="connsiteX2038" fmla="*/ 379500 w 1336827"/>
              <a:gd name="connsiteY2038" fmla="*/ 881495 h 1112837"/>
              <a:gd name="connsiteX2039" fmla="*/ 379500 w 1336827"/>
              <a:gd name="connsiteY2039" fmla="*/ 877506 h 1112837"/>
              <a:gd name="connsiteX2040" fmla="*/ 373517 w 1336827"/>
              <a:gd name="connsiteY2040" fmla="*/ 875512 h 1112837"/>
              <a:gd name="connsiteX2041" fmla="*/ 371523 w 1336827"/>
              <a:gd name="connsiteY2041" fmla="*/ 871523 h 1112837"/>
              <a:gd name="connsiteX2042" fmla="*/ 371523 w 1336827"/>
              <a:gd name="connsiteY2042" fmla="*/ 867534 h 1112837"/>
              <a:gd name="connsiteX2043" fmla="*/ 369528 w 1336827"/>
              <a:gd name="connsiteY2043" fmla="*/ 865540 h 1112837"/>
              <a:gd name="connsiteX2044" fmla="*/ 365539 w 1336827"/>
              <a:gd name="connsiteY2044" fmla="*/ 867534 h 1112837"/>
              <a:gd name="connsiteX2045" fmla="*/ 363545 w 1336827"/>
              <a:gd name="connsiteY2045" fmla="*/ 867534 h 1112837"/>
              <a:gd name="connsiteX2046" fmla="*/ 361551 w 1336827"/>
              <a:gd name="connsiteY2046" fmla="*/ 865540 h 1112837"/>
              <a:gd name="connsiteX2047" fmla="*/ 365539 w 1336827"/>
              <a:gd name="connsiteY2047" fmla="*/ 861551 h 1112837"/>
              <a:gd name="connsiteX2048" fmla="*/ 371523 w 1336827"/>
              <a:gd name="connsiteY2048" fmla="*/ 859557 h 1112837"/>
              <a:gd name="connsiteX2049" fmla="*/ 377506 w 1336827"/>
              <a:gd name="connsiteY2049" fmla="*/ 859557 h 1112837"/>
              <a:gd name="connsiteX2050" fmla="*/ 381495 w 1336827"/>
              <a:gd name="connsiteY2050" fmla="*/ 863546 h 1112837"/>
              <a:gd name="connsiteX2051" fmla="*/ 385484 w 1336827"/>
              <a:gd name="connsiteY2051" fmla="*/ 861551 h 1112837"/>
              <a:gd name="connsiteX2052" fmla="*/ 385484 w 1336827"/>
              <a:gd name="connsiteY2052" fmla="*/ 859557 h 1112837"/>
              <a:gd name="connsiteX2053" fmla="*/ 389473 w 1336827"/>
              <a:gd name="connsiteY2053" fmla="*/ 857563 h 1112837"/>
              <a:gd name="connsiteX2054" fmla="*/ 395456 w 1336827"/>
              <a:gd name="connsiteY2054" fmla="*/ 857563 h 1112837"/>
              <a:gd name="connsiteX2055" fmla="*/ 395456 w 1336827"/>
              <a:gd name="connsiteY2055" fmla="*/ 853574 h 1112837"/>
              <a:gd name="connsiteX2056" fmla="*/ 391467 w 1336827"/>
              <a:gd name="connsiteY2056" fmla="*/ 851580 h 1112837"/>
              <a:gd name="connsiteX2057" fmla="*/ 387478 w 1336827"/>
              <a:gd name="connsiteY2057" fmla="*/ 851580 h 1112837"/>
              <a:gd name="connsiteX2058" fmla="*/ 385484 w 1336827"/>
              <a:gd name="connsiteY2058" fmla="*/ 853574 h 1112837"/>
              <a:gd name="connsiteX2059" fmla="*/ 379500 w 1336827"/>
              <a:gd name="connsiteY2059" fmla="*/ 855568 h 1112837"/>
              <a:gd name="connsiteX2060" fmla="*/ 375512 w 1336827"/>
              <a:gd name="connsiteY2060" fmla="*/ 851580 h 1112837"/>
              <a:gd name="connsiteX2061" fmla="*/ 371523 w 1336827"/>
              <a:gd name="connsiteY2061" fmla="*/ 853574 h 1112837"/>
              <a:gd name="connsiteX2062" fmla="*/ 365539 w 1336827"/>
              <a:gd name="connsiteY2062" fmla="*/ 857563 h 1112837"/>
              <a:gd name="connsiteX2063" fmla="*/ 361551 w 1336827"/>
              <a:gd name="connsiteY2063" fmla="*/ 855568 h 1112837"/>
              <a:gd name="connsiteX2064" fmla="*/ 363545 w 1336827"/>
              <a:gd name="connsiteY2064" fmla="*/ 851580 h 1112837"/>
              <a:gd name="connsiteX2065" fmla="*/ 365539 w 1336827"/>
              <a:gd name="connsiteY2065" fmla="*/ 849585 h 1112837"/>
              <a:gd name="connsiteX2066" fmla="*/ 373517 w 1336827"/>
              <a:gd name="connsiteY2066" fmla="*/ 843602 h 1112837"/>
              <a:gd name="connsiteX2067" fmla="*/ 377506 w 1336827"/>
              <a:gd name="connsiteY2067" fmla="*/ 843602 h 1112837"/>
              <a:gd name="connsiteX2068" fmla="*/ 379500 w 1336827"/>
              <a:gd name="connsiteY2068" fmla="*/ 839614 h 1112837"/>
              <a:gd name="connsiteX2069" fmla="*/ 387478 w 1336827"/>
              <a:gd name="connsiteY2069" fmla="*/ 835625 h 1112837"/>
              <a:gd name="connsiteX2070" fmla="*/ 395456 w 1336827"/>
              <a:gd name="connsiteY2070" fmla="*/ 831636 h 1112837"/>
              <a:gd name="connsiteX2071" fmla="*/ 399445 w 1336827"/>
              <a:gd name="connsiteY2071" fmla="*/ 827648 h 1112837"/>
              <a:gd name="connsiteX2072" fmla="*/ 405428 w 1336827"/>
              <a:gd name="connsiteY2072" fmla="*/ 825653 h 1112837"/>
              <a:gd name="connsiteX2073" fmla="*/ 407422 w 1336827"/>
              <a:gd name="connsiteY2073" fmla="*/ 821665 h 1112837"/>
              <a:gd name="connsiteX2074" fmla="*/ 411411 w 1336827"/>
              <a:gd name="connsiteY2074" fmla="*/ 819670 h 1112837"/>
              <a:gd name="connsiteX2075" fmla="*/ 417395 w 1336827"/>
              <a:gd name="connsiteY2075" fmla="*/ 819670 h 1112837"/>
              <a:gd name="connsiteX2076" fmla="*/ 423378 w 1336827"/>
              <a:gd name="connsiteY2076" fmla="*/ 817676 h 1112837"/>
              <a:gd name="connsiteX2077" fmla="*/ 423378 w 1336827"/>
              <a:gd name="connsiteY2077" fmla="*/ 813687 h 1112837"/>
              <a:gd name="connsiteX2078" fmla="*/ 425372 w 1336827"/>
              <a:gd name="connsiteY2078" fmla="*/ 809699 h 1112837"/>
              <a:gd name="connsiteX2079" fmla="*/ 435344 w 1336827"/>
              <a:gd name="connsiteY2079" fmla="*/ 809699 h 1112837"/>
              <a:gd name="connsiteX2080" fmla="*/ 435344 w 1336827"/>
              <a:gd name="connsiteY2080" fmla="*/ 805710 h 1112837"/>
              <a:gd name="connsiteX2081" fmla="*/ 429361 w 1336827"/>
              <a:gd name="connsiteY2081" fmla="*/ 805710 h 1112837"/>
              <a:gd name="connsiteX2082" fmla="*/ 423378 w 1336827"/>
              <a:gd name="connsiteY2082" fmla="*/ 809699 h 1112837"/>
              <a:gd name="connsiteX2083" fmla="*/ 417395 w 1336827"/>
              <a:gd name="connsiteY2083" fmla="*/ 813687 h 1112837"/>
              <a:gd name="connsiteX2084" fmla="*/ 411411 w 1336827"/>
              <a:gd name="connsiteY2084" fmla="*/ 817676 h 1112837"/>
              <a:gd name="connsiteX2085" fmla="*/ 405428 w 1336827"/>
              <a:gd name="connsiteY2085" fmla="*/ 817676 h 1112837"/>
              <a:gd name="connsiteX2086" fmla="*/ 399445 w 1336827"/>
              <a:gd name="connsiteY2086" fmla="*/ 821665 h 1112837"/>
              <a:gd name="connsiteX2087" fmla="*/ 393461 w 1336827"/>
              <a:gd name="connsiteY2087" fmla="*/ 823659 h 1112837"/>
              <a:gd name="connsiteX2088" fmla="*/ 387478 w 1336827"/>
              <a:gd name="connsiteY2088" fmla="*/ 831636 h 1112837"/>
              <a:gd name="connsiteX2089" fmla="*/ 381495 w 1336827"/>
              <a:gd name="connsiteY2089" fmla="*/ 833631 h 1112837"/>
              <a:gd name="connsiteX2090" fmla="*/ 375512 w 1336827"/>
              <a:gd name="connsiteY2090" fmla="*/ 837619 h 1112837"/>
              <a:gd name="connsiteX2091" fmla="*/ 369528 w 1336827"/>
              <a:gd name="connsiteY2091" fmla="*/ 841608 h 1112837"/>
              <a:gd name="connsiteX2092" fmla="*/ 363545 w 1336827"/>
              <a:gd name="connsiteY2092" fmla="*/ 845597 h 1112837"/>
              <a:gd name="connsiteX2093" fmla="*/ 359556 w 1336827"/>
              <a:gd name="connsiteY2093" fmla="*/ 847591 h 1112837"/>
              <a:gd name="connsiteX2094" fmla="*/ 353573 w 1336827"/>
              <a:gd name="connsiteY2094" fmla="*/ 845597 h 1112837"/>
              <a:gd name="connsiteX2095" fmla="*/ 353573 w 1336827"/>
              <a:gd name="connsiteY2095" fmla="*/ 837619 h 1112837"/>
              <a:gd name="connsiteX2096" fmla="*/ 355567 w 1336827"/>
              <a:gd name="connsiteY2096" fmla="*/ 833631 h 1112837"/>
              <a:gd name="connsiteX2097" fmla="*/ 361551 w 1336827"/>
              <a:gd name="connsiteY2097" fmla="*/ 833631 h 1112837"/>
              <a:gd name="connsiteX2098" fmla="*/ 367534 w 1336827"/>
              <a:gd name="connsiteY2098" fmla="*/ 835625 h 1112837"/>
              <a:gd name="connsiteX2099" fmla="*/ 377506 w 1336827"/>
              <a:gd name="connsiteY2099" fmla="*/ 833631 h 1112837"/>
              <a:gd name="connsiteX2100" fmla="*/ 379500 w 1336827"/>
              <a:gd name="connsiteY2100" fmla="*/ 829642 h 1112837"/>
              <a:gd name="connsiteX2101" fmla="*/ 379500 w 1336827"/>
              <a:gd name="connsiteY2101" fmla="*/ 827648 h 1112837"/>
              <a:gd name="connsiteX2102" fmla="*/ 373517 w 1336827"/>
              <a:gd name="connsiteY2102" fmla="*/ 829642 h 1112837"/>
              <a:gd name="connsiteX2103" fmla="*/ 365539 w 1336827"/>
              <a:gd name="connsiteY2103" fmla="*/ 829642 h 1112837"/>
              <a:gd name="connsiteX2104" fmla="*/ 363545 w 1336827"/>
              <a:gd name="connsiteY2104" fmla="*/ 827648 h 1112837"/>
              <a:gd name="connsiteX2105" fmla="*/ 369528 w 1336827"/>
              <a:gd name="connsiteY2105" fmla="*/ 825653 h 1112837"/>
              <a:gd name="connsiteX2106" fmla="*/ 373517 w 1336827"/>
              <a:gd name="connsiteY2106" fmla="*/ 823659 h 1112837"/>
              <a:gd name="connsiteX2107" fmla="*/ 369528 w 1336827"/>
              <a:gd name="connsiteY2107" fmla="*/ 819670 h 1112837"/>
              <a:gd name="connsiteX2108" fmla="*/ 375512 w 1336827"/>
              <a:gd name="connsiteY2108" fmla="*/ 817676 h 1112837"/>
              <a:gd name="connsiteX2109" fmla="*/ 383489 w 1336827"/>
              <a:gd name="connsiteY2109" fmla="*/ 817676 h 1112837"/>
              <a:gd name="connsiteX2110" fmla="*/ 387478 w 1336827"/>
              <a:gd name="connsiteY2110" fmla="*/ 821665 h 1112837"/>
              <a:gd name="connsiteX2111" fmla="*/ 391467 w 1336827"/>
              <a:gd name="connsiteY2111" fmla="*/ 817676 h 1112837"/>
              <a:gd name="connsiteX2112" fmla="*/ 393461 w 1336827"/>
              <a:gd name="connsiteY2112" fmla="*/ 815682 h 1112837"/>
              <a:gd name="connsiteX2113" fmla="*/ 393461 w 1336827"/>
              <a:gd name="connsiteY2113" fmla="*/ 813687 h 1112837"/>
              <a:gd name="connsiteX2114" fmla="*/ 391467 w 1336827"/>
              <a:gd name="connsiteY2114" fmla="*/ 811693 h 1112837"/>
              <a:gd name="connsiteX2115" fmla="*/ 387478 w 1336827"/>
              <a:gd name="connsiteY2115" fmla="*/ 811693 h 1112837"/>
              <a:gd name="connsiteX2116" fmla="*/ 383489 w 1336827"/>
              <a:gd name="connsiteY2116" fmla="*/ 813687 h 1112837"/>
              <a:gd name="connsiteX2117" fmla="*/ 377506 w 1336827"/>
              <a:gd name="connsiteY2117" fmla="*/ 813687 h 1112837"/>
              <a:gd name="connsiteX2118" fmla="*/ 375512 w 1336827"/>
              <a:gd name="connsiteY2118" fmla="*/ 811693 h 1112837"/>
              <a:gd name="connsiteX2119" fmla="*/ 369528 w 1336827"/>
              <a:gd name="connsiteY2119" fmla="*/ 811693 h 1112837"/>
              <a:gd name="connsiteX2120" fmla="*/ 361551 w 1336827"/>
              <a:gd name="connsiteY2120" fmla="*/ 813687 h 1112837"/>
              <a:gd name="connsiteX2121" fmla="*/ 357562 w 1336827"/>
              <a:gd name="connsiteY2121" fmla="*/ 811693 h 1112837"/>
              <a:gd name="connsiteX2122" fmla="*/ 359556 w 1336827"/>
              <a:gd name="connsiteY2122" fmla="*/ 805710 h 1112837"/>
              <a:gd name="connsiteX2123" fmla="*/ 365539 w 1336827"/>
              <a:gd name="connsiteY2123" fmla="*/ 803716 h 1112837"/>
              <a:gd name="connsiteX2124" fmla="*/ 371523 w 1336827"/>
              <a:gd name="connsiteY2124" fmla="*/ 803716 h 1112837"/>
              <a:gd name="connsiteX2125" fmla="*/ 379500 w 1336827"/>
              <a:gd name="connsiteY2125" fmla="*/ 801721 h 1112837"/>
              <a:gd name="connsiteX2126" fmla="*/ 385484 w 1336827"/>
              <a:gd name="connsiteY2126" fmla="*/ 799727 h 1112837"/>
              <a:gd name="connsiteX2127" fmla="*/ 389473 w 1336827"/>
              <a:gd name="connsiteY2127" fmla="*/ 797733 h 1112837"/>
              <a:gd name="connsiteX2128" fmla="*/ 399445 w 1336827"/>
              <a:gd name="connsiteY2128" fmla="*/ 797733 h 1112837"/>
              <a:gd name="connsiteX2129" fmla="*/ 403434 w 1336827"/>
              <a:gd name="connsiteY2129" fmla="*/ 799727 h 1112837"/>
              <a:gd name="connsiteX2130" fmla="*/ 409417 w 1336827"/>
              <a:gd name="connsiteY2130" fmla="*/ 801721 h 1112837"/>
              <a:gd name="connsiteX2131" fmla="*/ 413406 w 1336827"/>
              <a:gd name="connsiteY2131" fmla="*/ 799727 h 1112837"/>
              <a:gd name="connsiteX2132" fmla="*/ 411411 w 1336827"/>
              <a:gd name="connsiteY2132" fmla="*/ 795738 h 1112837"/>
              <a:gd name="connsiteX2133" fmla="*/ 407422 w 1336827"/>
              <a:gd name="connsiteY2133" fmla="*/ 793744 h 1112837"/>
              <a:gd name="connsiteX2134" fmla="*/ 401439 w 1336827"/>
              <a:gd name="connsiteY2134" fmla="*/ 795738 h 1112837"/>
              <a:gd name="connsiteX2135" fmla="*/ 393461 w 1336827"/>
              <a:gd name="connsiteY2135" fmla="*/ 793744 h 1112837"/>
              <a:gd name="connsiteX2136" fmla="*/ 387478 w 1336827"/>
              <a:gd name="connsiteY2136" fmla="*/ 793744 h 1112837"/>
              <a:gd name="connsiteX2137" fmla="*/ 381495 w 1336827"/>
              <a:gd name="connsiteY2137" fmla="*/ 795738 h 1112837"/>
              <a:gd name="connsiteX2138" fmla="*/ 377506 w 1336827"/>
              <a:gd name="connsiteY2138" fmla="*/ 795738 h 1112837"/>
              <a:gd name="connsiteX2139" fmla="*/ 371523 w 1336827"/>
              <a:gd name="connsiteY2139" fmla="*/ 797733 h 1112837"/>
              <a:gd name="connsiteX2140" fmla="*/ 365539 w 1336827"/>
              <a:gd name="connsiteY2140" fmla="*/ 797733 h 1112837"/>
              <a:gd name="connsiteX2141" fmla="*/ 359556 w 1336827"/>
              <a:gd name="connsiteY2141" fmla="*/ 795738 h 1112837"/>
              <a:gd name="connsiteX2142" fmla="*/ 361551 w 1336827"/>
              <a:gd name="connsiteY2142" fmla="*/ 791750 h 1112837"/>
              <a:gd name="connsiteX2143" fmla="*/ 367534 w 1336827"/>
              <a:gd name="connsiteY2143" fmla="*/ 787761 h 1112837"/>
              <a:gd name="connsiteX2144" fmla="*/ 373517 w 1336827"/>
              <a:gd name="connsiteY2144" fmla="*/ 781778 h 1112837"/>
              <a:gd name="connsiteX2145" fmla="*/ 381495 w 1336827"/>
              <a:gd name="connsiteY2145" fmla="*/ 781778 h 1112837"/>
              <a:gd name="connsiteX2146" fmla="*/ 385484 w 1336827"/>
              <a:gd name="connsiteY2146" fmla="*/ 779784 h 1112837"/>
              <a:gd name="connsiteX2147" fmla="*/ 387478 w 1336827"/>
              <a:gd name="connsiteY2147" fmla="*/ 775795 h 1112837"/>
              <a:gd name="connsiteX2148" fmla="*/ 393461 w 1336827"/>
              <a:gd name="connsiteY2148" fmla="*/ 781778 h 1112837"/>
              <a:gd name="connsiteX2149" fmla="*/ 397450 w 1336827"/>
              <a:gd name="connsiteY2149" fmla="*/ 785767 h 1112837"/>
              <a:gd name="connsiteX2150" fmla="*/ 401439 w 1336827"/>
              <a:gd name="connsiteY2150" fmla="*/ 787761 h 1112837"/>
              <a:gd name="connsiteX2151" fmla="*/ 407422 w 1336827"/>
              <a:gd name="connsiteY2151" fmla="*/ 787761 h 1112837"/>
              <a:gd name="connsiteX2152" fmla="*/ 411411 w 1336827"/>
              <a:gd name="connsiteY2152" fmla="*/ 783772 h 1112837"/>
              <a:gd name="connsiteX2153" fmla="*/ 417395 w 1336827"/>
              <a:gd name="connsiteY2153" fmla="*/ 785767 h 1112837"/>
              <a:gd name="connsiteX2154" fmla="*/ 423378 w 1336827"/>
              <a:gd name="connsiteY2154" fmla="*/ 787761 h 1112837"/>
              <a:gd name="connsiteX2155" fmla="*/ 425372 w 1336827"/>
              <a:gd name="connsiteY2155" fmla="*/ 789755 h 1112837"/>
              <a:gd name="connsiteX2156" fmla="*/ 429361 w 1336827"/>
              <a:gd name="connsiteY2156" fmla="*/ 791750 h 1112837"/>
              <a:gd name="connsiteX2157" fmla="*/ 439333 w 1336827"/>
              <a:gd name="connsiteY2157" fmla="*/ 791750 h 1112837"/>
              <a:gd name="connsiteX2158" fmla="*/ 439333 w 1336827"/>
              <a:gd name="connsiteY2158" fmla="*/ 787761 h 1112837"/>
              <a:gd name="connsiteX2159" fmla="*/ 433350 w 1336827"/>
              <a:gd name="connsiteY2159" fmla="*/ 785767 h 1112837"/>
              <a:gd name="connsiteX2160" fmla="*/ 427367 w 1336827"/>
              <a:gd name="connsiteY2160" fmla="*/ 785767 h 1112837"/>
              <a:gd name="connsiteX2161" fmla="*/ 425372 w 1336827"/>
              <a:gd name="connsiteY2161" fmla="*/ 781778 h 1112837"/>
              <a:gd name="connsiteX2162" fmla="*/ 425372 w 1336827"/>
              <a:gd name="connsiteY2162" fmla="*/ 779784 h 1112837"/>
              <a:gd name="connsiteX2163" fmla="*/ 431356 w 1336827"/>
              <a:gd name="connsiteY2163" fmla="*/ 777789 h 1112837"/>
              <a:gd name="connsiteX2164" fmla="*/ 435344 w 1336827"/>
              <a:gd name="connsiteY2164" fmla="*/ 777789 h 1112837"/>
              <a:gd name="connsiteX2165" fmla="*/ 435344 w 1336827"/>
              <a:gd name="connsiteY2165" fmla="*/ 773801 h 1112837"/>
              <a:gd name="connsiteX2166" fmla="*/ 429361 w 1336827"/>
              <a:gd name="connsiteY2166" fmla="*/ 773801 h 1112837"/>
              <a:gd name="connsiteX2167" fmla="*/ 423378 w 1336827"/>
              <a:gd name="connsiteY2167" fmla="*/ 775795 h 1112837"/>
              <a:gd name="connsiteX2168" fmla="*/ 421383 w 1336827"/>
              <a:gd name="connsiteY2168" fmla="*/ 773801 h 1112837"/>
              <a:gd name="connsiteX2169" fmla="*/ 419389 w 1336827"/>
              <a:gd name="connsiteY2169" fmla="*/ 771806 h 1112837"/>
              <a:gd name="connsiteX2170" fmla="*/ 411411 w 1336827"/>
              <a:gd name="connsiteY2170" fmla="*/ 769812 h 1112837"/>
              <a:gd name="connsiteX2171" fmla="*/ 405428 w 1336827"/>
              <a:gd name="connsiteY2171" fmla="*/ 767818 h 1112837"/>
              <a:gd name="connsiteX2172" fmla="*/ 401439 w 1336827"/>
              <a:gd name="connsiteY2172" fmla="*/ 767818 h 1112837"/>
              <a:gd name="connsiteX2173" fmla="*/ 399445 w 1336827"/>
              <a:gd name="connsiteY2173" fmla="*/ 769812 h 1112837"/>
              <a:gd name="connsiteX2174" fmla="*/ 393461 w 1336827"/>
              <a:gd name="connsiteY2174" fmla="*/ 769812 h 1112837"/>
              <a:gd name="connsiteX2175" fmla="*/ 389473 w 1336827"/>
              <a:gd name="connsiteY2175" fmla="*/ 769812 h 1112837"/>
              <a:gd name="connsiteX2176" fmla="*/ 385484 w 1336827"/>
              <a:gd name="connsiteY2176" fmla="*/ 773801 h 1112837"/>
              <a:gd name="connsiteX2177" fmla="*/ 379500 w 1336827"/>
              <a:gd name="connsiteY2177" fmla="*/ 775795 h 1112837"/>
              <a:gd name="connsiteX2178" fmla="*/ 375512 w 1336827"/>
              <a:gd name="connsiteY2178" fmla="*/ 775795 h 1112837"/>
              <a:gd name="connsiteX2179" fmla="*/ 371523 w 1336827"/>
              <a:gd name="connsiteY2179" fmla="*/ 779784 h 1112837"/>
              <a:gd name="connsiteX2180" fmla="*/ 367534 w 1336827"/>
              <a:gd name="connsiteY2180" fmla="*/ 783772 h 1112837"/>
              <a:gd name="connsiteX2181" fmla="*/ 357562 w 1336827"/>
              <a:gd name="connsiteY2181" fmla="*/ 789755 h 1112837"/>
              <a:gd name="connsiteX2182" fmla="*/ 353573 w 1336827"/>
              <a:gd name="connsiteY2182" fmla="*/ 787761 h 1112837"/>
              <a:gd name="connsiteX2183" fmla="*/ 357562 w 1336827"/>
              <a:gd name="connsiteY2183" fmla="*/ 779784 h 1112837"/>
              <a:gd name="connsiteX2184" fmla="*/ 363545 w 1336827"/>
              <a:gd name="connsiteY2184" fmla="*/ 775795 h 1112837"/>
              <a:gd name="connsiteX2185" fmla="*/ 369528 w 1336827"/>
              <a:gd name="connsiteY2185" fmla="*/ 769812 h 1112837"/>
              <a:gd name="connsiteX2186" fmla="*/ 369528 w 1336827"/>
              <a:gd name="connsiteY2186" fmla="*/ 763829 h 1112837"/>
              <a:gd name="connsiteX2187" fmla="*/ 371523 w 1336827"/>
              <a:gd name="connsiteY2187" fmla="*/ 757846 h 1112837"/>
              <a:gd name="connsiteX2188" fmla="*/ 377506 w 1336827"/>
              <a:gd name="connsiteY2188" fmla="*/ 761835 h 1112837"/>
              <a:gd name="connsiteX2189" fmla="*/ 383489 w 1336827"/>
              <a:gd name="connsiteY2189" fmla="*/ 767818 h 1112837"/>
              <a:gd name="connsiteX2190" fmla="*/ 387478 w 1336827"/>
              <a:gd name="connsiteY2190" fmla="*/ 765823 h 1112837"/>
              <a:gd name="connsiteX2191" fmla="*/ 385484 w 1336827"/>
              <a:gd name="connsiteY2191" fmla="*/ 761835 h 1112837"/>
              <a:gd name="connsiteX2192" fmla="*/ 387478 w 1336827"/>
              <a:gd name="connsiteY2192" fmla="*/ 759840 h 1112837"/>
              <a:gd name="connsiteX2193" fmla="*/ 395456 w 1336827"/>
              <a:gd name="connsiteY2193" fmla="*/ 763829 h 1112837"/>
              <a:gd name="connsiteX2194" fmla="*/ 401439 w 1336827"/>
              <a:gd name="connsiteY2194" fmla="*/ 765823 h 1112837"/>
              <a:gd name="connsiteX2195" fmla="*/ 413406 w 1336827"/>
              <a:gd name="connsiteY2195" fmla="*/ 765823 h 1112837"/>
              <a:gd name="connsiteX2196" fmla="*/ 421383 w 1336827"/>
              <a:gd name="connsiteY2196" fmla="*/ 763829 h 1112837"/>
              <a:gd name="connsiteX2197" fmla="*/ 421383 w 1336827"/>
              <a:gd name="connsiteY2197" fmla="*/ 759840 h 1112837"/>
              <a:gd name="connsiteX2198" fmla="*/ 423378 w 1336827"/>
              <a:gd name="connsiteY2198" fmla="*/ 751863 h 1112837"/>
              <a:gd name="connsiteX2199" fmla="*/ 427367 w 1336827"/>
              <a:gd name="connsiteY2199" fmla="*/ 747874 h 1112837"/>
              <a:gd name="connsiteX2200" fmla="*/ 425372 w 1336827"/>
              <a:gd name="connsiteY2200" fmla="*/ 745880 h 1112837"/>
              <a:gd name="connsiteX2201" fmla="*/ 421383 w 1336827"/>
              <a:gd name="connsiteY2201" fmla="*/ 741891 h 1112837"/>
              <a:gd name="connsiteX2202" fmla="*/ 427367 w 1336827"/>
              <a:gd name="connsiteY2202" fmla="*/ 737903 h 1112837"/>
              <a:gd name="connsiteX2203" fmla="*/ 429361 w 1336827"/>
              <a:gd name="connsiteY2203" fmla="*/ 733914 h 1112837"/>
              <a:gd name="connsiteX2204" fmla="*/ 431356 w 1336827"/>
              <a:gd name="connsiteY2204" fmla="*/ 729925 h 1112837"/>
              <a:gd name="connsiteX2205" fmla="*/ 437339 w 1336827"/>
              <a:gd name="connsiteY2205" fmla="*/ 727931 h 1112837"/>
              <a:gd name="connsiteX2206" fmla="*/ 437339 w 1336827"/>
              <a:gd name="connsiteY2206" fmla="*/ 723942 h 1112837"/>
              <a:gd name="connsiteX2207" fmla="*/ 431356 w 1336827"/>
              <a:gd name="connsiteY2207" fmla="*/ 725937 h 1112837"/>
              <a:gd name="connsiteX2208" fmla="*/ 427367 w 1336827"/>
              <a:gd name="connsiteY2208" fmla="*/ 725937 h 1112837"/>
              <a:gd name="connsiteX2209" fmla="*/ 425372 w 1336827"/>
              <a:gd name="connsiteY2209" fmla="*/ 717959 h 1112837"/>
              <a:gd name="connsiteX2210" fmla="*/ 427367 w 1336827"/>
              <a:gd name="connsiteY2210" fmla="*/ 709982 h 1112837"/>
              <a:gd name="connsiteX2211" fmla="*/ 429361 w 1336827"/>
              <a:gd name="connsiteY2211" fmla="*/ 705993 h 1112837"/>
              <a:gd name="connsiteX2212" fmla="*/ 433350 w 1336827"/>
              <a:gd name="connsiteY2212" fmla="*/ 702005 h 1112837"/>
              <a:gd name="connsiteX2213" fmla="*/ 435344 w 1336827"/>
              <a:gd name="connsiteY2213" fmla="*/ 700010 h 1112837"/>
              <a:gd name="connsiteX2214" fmla="*/ 443322 w 1336827"/>
              <a:gd name="connsiteY2214" fmla="*/ 700010 h 1112837"/>
              <a:gd name="connsiteX2215" fmla="*/ 445317 w 1336827"/>
              <a:gd name="connsiteY2215" fmla="*/ 696022 h 1112837"/>
              <a:gd name="connsiteX2216" fmla="*/ 449305 w 1336827"/>
              <a:gd name="connsiteY2216" fmla="*/ 692033 h 1112837"/>
              <a:gd name="connsiteX2217" fmla="*/ 443322 w 1336827"/>
              <a:gd name="connsiteY2217" fmla="*/ 692033 h 1112837"/>
              <a:gd name="connsiteX2218" fmla="*/ 439333 w 1336827"/>
              <a:gd name="connsiteY2218" fmla="*/ 690039 h 1112837"/>
              <a:gd name="connsiteX2219" fmla="*/ 439333 w 1336827"/>
              <a:gd name="connsiteY2219" fmla="*/ 686050 h 1112837"/>
              <a:gd name="connsiteX2220" fmla="*/ 443322 w 1336827"/>
              <a:gd name="connsiteY2220" fmla="*/ 684056 h 1112837"/>
              <a:gd name="connsiteX2221" fmla="*/ 449305 w 1336827"/>
              <a:gd name="connsiteY2221" fmla="*/ 686050 h 1112837"/>
              <a:gd name="connsiteX2222" fmla="*/ 451300 w 1336827"/>
              <a:gd name="connsiteY2222" fmla="*/ 682061 h 1112837"/>
              <a:gd name="connsiteX2223" fmla="*/ 445317 w 1336827"/>
              <a:gd name="connsiteY2223" fmla="*/ 680067 h 1112837"/>
              <a:gd name="connsiteX2224" fmla="*/ 443322 w 1336827"/>
              <a:gd name="connsiteY2224" fmla="*/ 678073 h 1112837"/>
              <a:gd name="connsiteX2225" fmla="*/ 449305 w 1336827"/>
              <a:gd name="connsiteY2225" fmla="*/ 674084 h 1112837"/>
              <a:gd name="connsiteX2226" fmla="*/ 451300 w 1336827"/>
              <a:gd name="connsiteY2226" fmla="*/ 672090 h 1112837"/>
              <a:gd name="connsiteX2227" fmla="*/ 451300 w 1336827"/>
              <a:gd name="connsiteY2227" fmla="*/ 668101 h 1112837"/>
              <a:gd name="connsiteX2228" fmla="*/ 445317 w 1336827"/>
              <a:gd name="connsiteY2228" fmla="*/ 668101 h 1112837"/>
              <a:gd name="connsiteX2229" fmla="*/ 439333 w 1336827"/>
              <a:gd name="connsiteY2229" fmla="*/ 674084 h 1112837"/>
              <a:gd name="connsiteX2230" fmla="*/ 433350 w 1336827"/>
              <a:gd name="connsiteY2230" fmla="*/ 676078 h 1112837"/>
              <a:gd name="connsiteX2231" fmla="*/ 431356 w 1336827"/>
              <a:gd name="connsiteY2231" fmla="*/ 674084 h 1112837"/>
              <a:gd name="connsiteX2232" fmla="*/ 437339 w 1336827"/>
              <a:gd name="connsiteY2232" fmla="*/ 672090 h 1112837"/>
              <a:gd name="connsiteX2233" fmla="*/ 437339 w 1336827"/>
              <a:gd name="connsiteY2233" fmla="*/ 668101 h 1112837"/>
              <a:gd name="connsiteX2234" fmla="*/ 433350 w 1336827"/>
              <a:gd name="connsiteY2234" fmla="*/ 668101 h 1112837"/>
              <a:gd name="connsiteX2235" fmla="*/ 427367 w 1336827"/>
              <a:gd name="connsiteY2235" fmla="*/ 670095 h 1112837"/>
              <a:gd name="connsiteX2236" fmla="*/ 425372 w 1336827"/>
              <a:gd name="connsiteY2236" fmla="*/ 674084 h 1112837"/>
              <a:gd name="connsiteX2237" fmla="*/ 417395 w 1336827"/>
              <a:gd name="connsiteY2237" fmla="*/ 672090 h 1112837"/>
              <a:gd name="connsiteX2238" fmla="*/ 411411 w 1336827"/>
              <a:gd name="connsiteY2238" fmla="*/ 670095 h 1112837"/>
              <a:gd name="connsiteX2239" fmla="*/ 407422 w 1336827"/>
              <a:gd name="connsiteY2239" fmla="*/ 670095 h 1112837"/>
              <a:gd name="connsiteX2240" fmla="*/ 403434 w 1336827"/>
              <a:gd name="connsiteY2240" fmla="*/ 670095 h 1112837"/>
              <a:gd name="connsiteX2241" fmla="*/ 399445 w 1336827"/>
              <a:gd name="connsiteY2241" fmla="*/ 666107 h 1112837"/>
              <a:gd name="connsiteX2242" fmla="*/ 395456 w 1336827"/>
              <a:gd name="connsiteY2242" fmla="*/ 666107 h 1112837"/>
              <a:gd name="connsiteX2243" fmla="*/ 389473 w 1336827"/>
              <a:gd name="connsiteY2243" fmla="*/ 664112 h 1112837"/>
              <a:gd name="connsiteX2244" fmla="*/ 385484 w 1336827"/>
              <a:gd name="connsiteY2244" fmla="*/ 662118 h 1112837"/>
              <a:gd name="connsiteX2245" fmla="*/ 379500 w 1336827"/>
              <a:gd name="connsiteY2245" fmla="*/ 660124 h 1112837"/>
              <a:gd name="connsiteX2246" fmla="*/ 375512 w 1336827"/>
              <a:gd name="connsiteY2246" fmla="*/ 658130 h 1112837"/>
              <a:gd name="connsiteX2247" fmla="*/ 367534 w 1336827"/>
              <a:gd name="connsiteY2247" fmla="*/ 658130 h 1112837"/>
              <a:gd name="connsiteX2248" fmla="*/ 365539 w 1336827"/>
              <a:gd name="connsiteY2248" fmla="*/ 654141 h 1112837"/>
              <a:gd name="connsiteX2249" fmla="*/ 363545 w 1336827"/>
              <a:gd name="connsiteY2249" fmla="*/ 652147 h 1112837"/>
              <a:gd name="connsiteX2250" fmla="*/ 361551 w 1336827"/>
              <a:gd name="connsiteY2250" fmla="*/ 648158 h 1112837"/>
              <a:gd name="connsiteX2251" fmla="*/ 357562 w 1336827"/>
              <a:gd name="connsiteY2251" fmla="*/ 646164 h 1112837"/>
              <a:gd name="connsiteX2252" fmla="*/ 355567 w 1336827"/>
              <a:gd name="connsiteY2252" fmla="*/ 644169 h 1112837"/>
              <a:gd name="connsiteX2253" fmla="*/ 357562 w 1336827"/>
              <a:gd name="connsiteY2253" fmla="*/ 638186 h 1112837"/>
              <a:gd name="connsiteX2254" fmla="*/ 361551 w 1336827"/>
              <a:gd name="connsiteY2254" fmla="*/ 636192 h 1112837"/>
              <a:gd name="connsiteX2255" fmla="*/ 365539 w 1336827"/>
              <a:gd name="connsiteY2255" fmla="*/ 636192 h 1112837"/>
              <a:gd name="connsiteX2256" fmla="*/ 371523 w 1336827"/>
              <a:gd name="connsiteY2256" fmla="*/ 634198 h 1112837"/>
              <a:gd name="connsiteX2257" fmla="*/ 373517 w 1336827"/>
              <a:gd name="connsiteY2257" fmla="*/ 636192 h 1112837"/>
              <a:gd name="connsiteX2258" fmla="*/ 377506 w 1336827"/>
              <a:gd name="connsiteY2258" fmla="*/ 636192 h 1112837"/>
              <a:gd name="connsiteX2259" fmla="*/ 383489 w 1336827"/>
              <a:gd name="connsiteY2259" fmla="*/ 636192 h 1112837"/>
              <a:gd name="connsiteX2260" fmla="*/ 389473 w 1336827"/>
              <a:gd name="connsiteY2260" fmla="*/ 638186 h 1112837"/>
              <a:gd name="connsiteX2261" fmla="*/ 397450 w 1336827"/>
              <a:gd name="connsiteY2261" fmla="*/ 636192 h 1112837"/>
              <a:gd name="connsiteX2262" fmla="*/ 403434 w 1336827"/>
              <a:gd name="connsiteY2262" fmla="*/ 640181 h 1112837"/>
              <a:gd name="connsiteX2263" fmla="*/ 407422 w 1336827"/>
              <a:gd name="connsiteY2263" fmla="*/ 644169 h 1112837"/>
              <a:gd name="connsiteX2264" fmla="*/ 411411 w 1336827"/>
              <a:gd name="connsiteY2264" fmla="*/ 648158 h 1112837"/>
              <a:gd name="connsiteX2265" fmla="*/ 419389 w 1336827"/>
              <a:gd name="connsiteY2265" fmla="*/ 652147 h 1112837"/>
              <a:gd name="connsiteX2266" fmla="*/ 427367 w 1336827"/>
              <a:gd name="connsiteY2266" fmla="*/ 656135 h 1112837"/>
              <a:gd name="connsiteX2267" fmla="*/ 433350 w 1336827"/>
              <a:gd name="connsiteY2267" fmla="*/ 658130 h 1112837"/>
              <a:gd name="connsiteX2268" fmla="*/ 443322 w 1336827"/>
              <a:gd name="connsiteY2268" fmla="*/ 658130 h 1112837"/>
              <a:gd name="connsiteX2269" fmla="*/ 449305 w 1336827"/>
              <a:gd name="connsiteY2269" fmla="*/ 656135 h 1112837"/>
              <a:gd name="connsiteX2270" fmla="*/ 449305 w 1336827"/>
              <a:gd name="connsiteY2270" fmla="*/ 648158 h 1112837"/>
              <a:gd name="connsiteX2271" fmla="*/ 447311 w 1336827"/>
              <a:gd name="connsiteY2271" fmla="*/ 638186 h 1112837"/>
              <a:gd name="connsiteX2272" fmla="*/ 445317 w 1336827"/>
              <a:gd name="connsiteY2272" fmla="*/ 636192 h 1112837"/>
              <a:gd name="connsiteX2273" fmla="*/ 443322 w 1336827"/>
              <a:gd name="connsiteY2273" fmla="*/ 632203 h 1112837"/>
              <a:gd name="connsiteX2274" fmla="*/ 441328 w 1336827"/>
              <a:gd name="connsiteY2274" fmla="*/ 628215 h 1112837"/>
              <a:gd name="connsiteX2275" fmla="*/ 433350 w 1336827"/>
              <a:gd name="connsiteY2275" fmla="*/ 628215 h 1112837"/>
              <a:gd name="connsiteX2276" fmla="*/ 431356 w 1336827"/>
              <a:gd name="connsiteY2276" fmla="*/ 628215 h 1112837"/>
              <a:gd name="connsiteX2277" fmla="*/ 431356 w 1336827"/>
              <a:gd name="connsiteY2277" fmla="*/ 624226 h 1112837"/>
              <a:gd name="connsiteX2278" fmla="*/ 431356 w 1336827"/>
              <a:gd name="connsiteY2278" fmla="*/ 622232 h 1112837"/>
              <a:gd name="connsiteX2279" fmla="*/ 433350 w 1336827"/>
              <a:gd name="connsiteY2279" fmla="*/ 618243 h 1112837"/>
              <a:gd name="connsiteX2280" fmla="*/ 427367 w 1336827"/>
              <a:gd name="connsiteY2280" fmla="*/ 618243 h 1112837"/>
              <a:gd name="connsiteX2281" fmla="*/ 415400 w 1336827"/>
              <a:gd name="connsiteY2281" fmla="*/ 622232 h 1112837"/>
              <a:gd name="connsiteX2282" fmla="*/ 415400 w 1336827"/>
              <a:gd name="connsiteY2282" fmla="*/ 616249 h 1112837"/>
              <a:gd name="connsiteX2283" fmla="*/ 419389 w 1336827"/>
              <a:gd name="connsiteY2283" fmla="*/ 614254 h 1112837"/>
              <a:gd name="connsiteX2284" fmla="*/ 423378 w 1336827"/>
              <a:gd name="connsiteY2284" fmla="*/ 608271 h 1112837"/>
              <a:gd name="connsiteX2285" fmla="*/ 427367 w 1336827"/>
              <a:gd name="connsiteY2285" fmla="*/ 606277 h 1112837"/>
              <a:gd name="connsiteX2286" fmla="*/ 429361 w 1336827"/>
              <a:gd name="connsiteY2286" fmla="*/ 602288 h 1112837"/>
              <a:gd name="connsiteX2287" fmla="*/ 425372 w 1336827"/>
              <a:gd name="connsiteY2287" fmla="*/ 602288 h 1112837"/>
              <a:gd name="connsiteX2288" fmla="*/ 417395 w 1336827"/>
              <a:gd name="connsiteY2288" fmla="*/ 606277 h 1112837"/>
              <a:gd name="connsiteX2289" fmla="*/ 407422 w 1336827"/>
              <a:gd name="connsiteY2289" fmla="*/ 612260 h 1112837"/>
              <a:gd name="connsiteX2290" fmla="*/ 401439 w 1336827"/>
              <a:gd name="connsiteY2290" fmla="*/ 610266 h 1112837"/>
              <a:gd name="connsiteX2291" fmla="*/ 399445 w 1336827"/>
              <a:gd name="connsiteY2291" fmla="*/ 606277 h 1112837"/>
              <a:gd name="connsiteX2292" fmla="*/ 403434 w 1336827"/>
              <a:gd name="connsiteY2292" fmla="*/ 602288 h 1112837"/>
              <a:gd name="connsiteX2293" fmla="*/ 419389 w 1336827"/>
              <a:gd name="connsiteY2293" fmla="*/ 598300 h 1112837"/>
              <a:gd name="connsiteX2294" fmla="*/ 425372 w 1336827"/>
              <a:gd name="connsiteY2294" fmla="*/ 596305 h 1112837"/>
              <a:gd name="connsiteX2295" fmla="*/ 427367 w 1336827"/>
              <a:gd name="connsiteY2295" fmla="*/ 590322 h 1112837"/>
              <a:gd name="connsiteX2296" fmla="*/ 421383 w 1336827"/>
              <a:gd name="connsiteY2296" fmla="*/ 592317 h 1112837"/>
              <a:gd name="connsiteX2297" fmla="*/ 413406 w 1336827"/>
              <a:gd name="connsiteY2297" fmla="*/ 596305 h 1112837"/>
              <a:gd name="connsiteX2298" fmla="*/ 405428 w 1336827"/>
              <a:gd name="connsiteY2298" fmla="*/ 594311 h 1112837"/>
              <a:gd name="connsiteX2299" fmla="*/ 397450 w 1336827"/>
              <a:gd name="connsiteY2299" fmla="*/ 600294 h 1112837"/>
              <a:gd name="connsiteX2300" fmla="*/ 389473 w 1336827"/>
              <a:gd name="connsiteY2300" fmla="*/ 602288 h 1112837"/>
              <a:gd name="connsiteX2301" fmla="*/ 391467 w 1336827"/>
              <a:gd name="connsiteY2301" fmla="*/ 596305 h 1112837"/>
              <a:gd name="connsiteX2302" fmla="*/ 399445 w 1336827"/>
              <a:gd name="connsiteY2302" fmla="*/ 588328 h 1112837"/>
              <a:gd name="connsiteX2303" fmla="*/ 403434 w 1336827"/>
              <a:gd name="connsiteY2303" fmla="*/ 582345 h 1112837"/>
              <a:gd name="connsiteX2304" fmla="*/ 405428 w 1336827"/>
              <a:gd name="connsiteY2304" fmla="*/ 578356 h 1112837"/>
              <a:gd name="connsiteX2305" fmla="*/ 401439 w 1336827"/>
              <a:gd name="connsiteY2305" fmla="*/ 580351 h 1112837"/>
              <a:gd name="connsiteX2306" fmla="*/ 395456 w 1336827"/>
              <a:gd name="connsiteY2306" fmla="*/ 586334 h 1112837"/>
              <a:gd name="connsiteX2307" fmla="*/ 391467 w 1336827"/>
              <a:gd name="connsiteY2307" fmla="*/ 584339 h 1112837"/>
              <a:gd name="connsiteX2308" fmla="*/ 391467 w 1336827"/>
              <a:gd name="connsiteY2308" fmla="*/ 574368 h 1112837"/>
              <a:gd name="connsiteX2309" fmla="*/ 385484 w 1336827"/>
              <a:gd name="connsiteY2309" fmla="*/ 568385 h 1112837"/>
              <a:gd name="connsiteX2310" fmla="*/ 381495 w 1336827"/>
              <a:gd name="connsiteY2310" fmla="*/ 572373 h 1112837"/>
              <a:gd name="connsiteX2311" fmla="*/ 387478 w 1336827"/>
              <a:gd name="connsiteY2311" fmla="*/ 582345 h 1112837"/>
              <a:gd name="connsiteX2312" fmla="*/ 385484 w 1336827"/>
              <a:gd name="connsiteY2312" fmla="*/ 594311 h 1112837"/>
              <a:gd name="connsiteX2313" fmla="*/ 377506 w 1336827"/>
              <a:gd name="connsiteY2313" fmla="*/ 592317 h 1112837"/>
              <a:gd name="connsiteX2314" fmla="*/ 371523 w 1336827"/>
              <a:gd name="connsiteY2314" fmla="*/ 594311 h 1112837"/>
              <a:gd name="connsiteX2315" fmla="*/ 373517 w 1336827"/>
              <a:gd name="connsiteY2315" fmla="*/ 600294 h 1112837"/>
              <a:gd name="connsiteX2316" fmla="*/ 375512 w 1336827"/>
              <a:gd name="connsiteY2316" fmla="*/ 606277 h 1112837"/>
              <a:gd name="connsiteX2317" fmla="*/ 365539 w 1336827"/>
              <a:gd name="connsiteY2317" fmla="*/ 608271 h 1112837"/>
              <a:gd name="connsiteX2318" fmla="*/ 343601 w 1336827"/>
              <a:gd name="connsiteY2318" fmla="*/ 608271 h 1112837"/>
              <a:gd name="connsiteX2319" fmla="*/ 337617 w 1336827"/>
              <a:gd name="connsiteY2319" fmla="*/ 598300 h 1112837"/>
              <a:gd name="connsiteX2320" fmla="*/ 339612 w 1336827"/>
              <a:gd name="connsiteY2320" fmla="*/ 590322 h 1112837"/>
              <a:gd name="connsiteX2321" fmla="*/ 349584 w 1336827"/>
              <a:gd name="connsiteY2321" fmla="*/ 584339 h 1112837"/>
              <a:gd name="connsiteX2322" fmla="*/ 343601 w 1336827"/>
              <a:gd name="connsiteY2322" fmla="*/ 580351 h 1112837"/>
              <a:gd name="connsiteX2323" fmla="*/ 339612 w 1336827"/>
              <a:gd name="connsiteY2323" fmla="*/ 578356 h 1112837"/>
              <a:gd name="connsiteX2324" fmla="*/ 349584 w 1336827"/>
              <a:gd name="connsiteY2324" fmla="*/ 574368 h 1112837"/>
              <a:gd name="connsiteX2325" fmla="*/ 349584 w 1336827"/>
              <a:gd name="connsiteY2325" fmla="*/ 568385 h 1112837"/>
              <a:gd name="connsiteX2326" fmla="*/ 357562 w 1336827"/>
              <a:gd name="connsiteY2326" fmla="*/ 566390 h 1112837"/>
              <a:gd name="connsiteX2327" fmla="*/ 363545 w 1336827"/>
              <a:gd name="connsiteY2327" fmla="*/ 556419 h 1112837"/>
              <a:gd name="connsiteX2328" fmla="*/ 363545 w 1336827"/>
              <a:gd name="connsiteY2328" fmla="*/ 546447 h 1112837"/>
              <a:gd name="connsiteX2329" fmla="*/ 363545 w 1336827"/>
              <a:gd name="connsiteY2329" fmla="*/ 542458 h 1112837"/>
              <a:gd name="connsiteX2330" fmla="*/ 365539 w 1336827"/>
              <a:gd name="connsiteY2330" fmla="*/ 536475 h 1112837"/>
              <a:gd name="connsiteX2331" fmla="*/ 363545 w 1336827"/>
              <a:gd name="connsiteY2331" fmla="*/ 524509 h 1112837"/>
              <a:gd name="connsiteX2332" fmla="*/ 357562 w 1336827"/>
              <a:gd name="connsiteY2332" fmla="*/ 520520 h 1112837"/>
              <a:gd name="connsiteX2333" fmla="*/ 355567 w 1336827"/>
              <a:gd name="connsiteY2333" fmla="*/ 518526 h 1112837"/>
              <a:gd name="connsiteX2334" fmla="*/ 357562 w 1336827"/>
              <a:gd name="connsiteY2334" fmla="*/ 512543 h 1112837"/>
              <a:gd name="connsiteX2335" fmla="*/ 351578 w 1336827"/>
              <a:gd name="connsiteY2335" fmla="*/ 508554 h 1112837"/>
              <a:gd name="connsiteX2336" fmla="*/ 347590 w 1336827"/>
              <a:gd name="connsiteY2336" fmla="*/ 500577 h 1112837"/>
              <a:gd name="connsiteX2337" fmla="*/ 349584 w 1336827"/>
              <a:gd name="connsiteY2337" fmla="*/ 498583 h 1112837"/>
              <a:gd name="connsiteX2338" fmla="*/ 351578 w 1336827"/>
              <a:gd name="connsiteY2338" fmla="*/ 496588 h 1112837"/>
              <a:gd name="connsiteX2339" fmla="*/ 345595 w 1336827"/>
              <a:gd name="connsiteY2339" fmla="*/ 492600 h 1112837"/>
              <a:gd name="connsiteX2340" fmla="*/ 345595 w 1336827"/>
              <a:gd name="connsiteY2340" fmla="*/ 484622 h 1112837"/>
              <a:gd name="connsiteX2341" fmla="*/ 339612 w 1336827"/>
              <a:gd name="connsiteY2341" fmla="*/ 480634 h 1112837"/>
              <a:gd name="connsiteX2342" fmla="*/ 339612 w 1336827"/>
              <a:gd name="connsiteY2342" fmla="*/ 476645 h 1112837"/>
              <a:gd name="connsiteX2343" fmla="*/ 343601 w 1336827"/>
              <a:gd name="connsiteY2343" fmla="*/ 472656 h 1112837"/>
              <a:gd name="connsiteX2344" fmla="*/ 341606 w 1336827"/>
              <a:gd name="connsiteY2344" fmla="*/ 466674 h 1112837"/>
              <a:gd name="connsiteX2345" fmla="*/ 327645 w 1336827"/>
              <a:gd name="connsiteY2345" fmla="*/ 462685 h 1112837"/>
              <a:gd name="connsiteX2346" fmla="*/ 319667 w 1336827"/>
              <a:gd name="connsiteY2346" fmla="*/ 462685 h 1112837"/>
              <a:gd name="connsiteX2347" fmla="*/ 319667 w 1336827"/>
              <a:gd name="connsiteY2347" fmla="*/ 458696 h 1112837"/>
              <a:gd name="connsiteX2348" fmla="*/ 329639 w 1336827"/>
              <a:gd name="connsiteY2348" fmla="*/ 458696 h 1112837"/>
              <a:gd name="connsiteX2349" fmla="*/ 341606 w 1336827"/>
              <a:gd name="connsiteY2349" fmla="*/ 460691 h 1112837"/>
              <a:gd name="connsiteX2350" fmla="*/ 343601 w 1336827"/>
              <a:gd name="connsiteY2350" fmla="*/ 460691 h 1112837"/>
              <a:gd name="connsiteX2351" fmla="*/ 339612 w 1336827"/>
              <a:gd name="connsiteY2351" fmla="*/ 456702 h 1112837"/>
              <a:gd name="connsiteX2352" fmla="*/ 333628 w 1336827"/>
              <a:gd name="connsiteY2352" fmla="*/ 456702 h 1112837"/>
              <a:gd name="connsiteX2353" fmla="*/ 329639 w 1336827"/>
              <a:gd name="connsiteY2353" fmla="*/ 452713 h 1112837"/>
              <a:gd name="connsiteX2354" fmla="*/ 323656 w 1336827"/>
              <a:gd name="connsiteY2354" fmla="*/ 446730 h 1112837"/>
              <a:gd name="connsiteX2355" fmla="*/ 327645 w 1336827"/>
              <a:gd name="connsiteY2355" fmla="*/ 442742 h 1112837"/>
              <a:gd name="connsiteX2356" fmla="*/ 321662 w 1336827"/>
              <a:gd name="connsiteY2356" fmla="*/ 440747 h 1112837"/>
              <a:gd name="connsiteX2357" fmla="*/ 319667 w 1336827"/>
              <a:gd name="connsiteY2357" fmla="*/ 436759 h 1112837"/>
              <a:gd name="connsiteX2358" fmla="*/ 315678 w 1336827"/>
              <a:gd name="connsiteY2358" fmla="*/ 432770 h 1112837"/>
              <a:gd name="connsiteX2359" fmla="*/ 307701 w 1336827"/>
              <a:gd name="connsiteY2359" fmla="*/ 434764 h 1112837"/>
              <a:gd name="connsiteX2360" fmla="*/ 305706 w 1336827"/>
              <a:gd name="connsiteY2360" fmla="*/ 428781 h 1112837"/>
              <a:gd name="connsiteX2361" fmla="*/ 305706 w 1336827"/>
              <a:gd name="connsiteY2361" fmla="*/ 420804 h 1112837"/>
              <a:gd name="connsiteX2362" fmla="*/ 301717 w 1336827"/>
              <a:gd name="connsiteY2362" fmla="*/ 418810 h 1112837"/>
              <a:gd name="connsiteX2363" fmla="*/ 295734 w 1336827"/>
              <a:gd name="connsiteY2363" fmla="*/ 418810 h 1112837"/>
              <a:gd name="connsiteX2364" fmla="*/ 299723 w 1336827"/>
              <a:gd name="connsiteY2364" fmla="*/ 414821 h 1112837"/>
              <a:gd name="connsiteX2365" fmla="*/ 305706 w 1336827"/>
              <a:gd name="connsiteY2365" fmla="*/ 412827 h 1112837"/>
              <a:gd name="connsiteX2366" fmla="*/ 305706 w 1336827"/>
              <a:gd name="connsiteY2366" fmla="*/ 400861 h 1112837"/>
              <a:gd name="connsiteX2367" fmla="*/ 301717 w 1336827"/>
              <a:gd name="connsiteY2367" fmla="*/ 398866 h 1112837"/>
              <a:gd name="connsiteX2368" fmla="*/ 291745 w 1336827"/>
              <a:gd name="connsiteY2368" fmla="*/ 400861 h 1112837"/>
              <a:gd name="connsiteX2369" fmla="*/ 285762 w 1336827"/>
              <a:gd name="connsiteY2369" fmla="*/ 398866 h 1112837"/>
              <a:gd name="connsiteX2370" fmla="*/ 283767 w 1336827"/>
              <a:gd name="connsiteY2370" fmla="*/ 392883 h 1112837"/>
              <a:gd name="connsiteX2371" fmla="*/ 273795 w 1336827"/>
              <a:gd name="connsiteY2371" fmla="*/ 394878 h 1112837"/>
              <a:gd name="connsiteX2372" fmla="*/ 267812 w 1336827"/>
              <a:gd name="connsiteY2372" fmla="*/ 396872 h 1112837"/>
              <a:gd name="connsiteX2373" fmla="*/ 267812 w 1336827"/>
              <a:gd name="connsiteY2373" fmla="*/ 386900 h 1112837"/>
              <a:gd name="connsiteX2374" fmla="*/ 257840 w 1336827"/>
              <a:gd name="connsiteY2374" fmla="*/ 380917 h 1112837"/>
              <a:gd name="connsiteX2375" fmla="*/ 253851 w 1336827"/>
              <a:gd name="connsiteY2375" fmla="*/ 382912 h 1112837"/>
              <a:gd name="connsiteX2376" fmla="*/ 243879 w 1336827"/>
              <a:gd name="connsiteY2376" fmla="*/ 378923 h 1112837"/>
              <a:gd name="connsiteX2377" fmla="*/ 233907 w 1336827"/>
              <a:gd name="connsiteY2377" fmla="*/ 378923 h 1112837"/>
              <a:gd name="connsiteX2378" fmla="*/ 223935 w 1336827"/>
              <a:gd name="connsiteY2378" fmla="*/ 376929 h 1112837"/>
              <a:gd name="connsiteX2379" fmla="*/ 217951 w 1336827"/>
              <a:gd name="connsiteY2379" fmla="*/ 374934 h 1112837"/>
              <a:gd name="connsiteX2380" fmla="*/ 213962 w 1336827"/>
              <a:gd name="connsiteY2380" fmla="*/ 374934 h 1112837"/>
              <a:gd name="connsiteX2381" fmla="*/ 209974 w 1336827"/>
              <a:gd name="connsiteY2381" fmla="*/ 370946 h 1112837"/>
              <a:gd name="connsiteX2382" fmla="*/ 205985 w 1336827"/>
              <a:gd name="connsiteY2382" fmla="*/ 368951 h 1112837"/>
              <a:gd name="connsiteX2383" fmla="*/ 203990 w 1336827"/>
              <a:gd name="connsiteY2383" fmla="*/ 364963 h 1112837"/>
              <a:gd name="connsiteX2384" fmla="*/ 200001 w 1336827"/>
              <a:gd name="connsiteY2384" fmla="*/ 368951 h 1112837"/>
              <a:gd name="connsiteX2385" fmla="*/ 196013 w 1336827"/>
              <a:gd name="connsiteY2385" fmla="*/ 372940 h 1112837"/>
              <a:gd name="connsiteX2386" fmla="*/ 192024 w 1336827"/>
              <a:gd name="connsiteY2386" fmla="*/ 376929 h 1112837"/>
              <a:gd name="connsiteX2387" fmla="*/ 188035 w 1336827"/>
              <a:gd name="connsiteY2387" fmla="*/ 378923 h 1112837"/>
              <a:gd name="connsiteX2388" fmla="*/ 184046 w 1336827"/>
              <a:gd name="connsiteY2388" fmla="*/ 376929 h 1112837"/>
              <a:gd name="connsiteX2389" fmla="*/ 186040 w 1336827"/>
              <a:gd name="connsiteY2389" fmla="*/ 370946 h 1112837"/>
              <a:gd name="connsiteX2390" fmla="*/ 184046 w 1336827"/>
              <a:gd name="connsiteY2390" fmla="*/ 366957 h 1112837"/>
              <a:gd name="connsiteX2391" fmla="*/ 178063 w 1336827"/>
              <a:gd name="connsiteY2391" fmla="*/ 368951 h 1112837"/>
              <a:gd name="connsiteX2392" fmla="*/ 172079 w 1336827"/>
              <a:gd name="connsiteY2392" fmla="*/ 374934 h 1112837"/>
              <a:gd name="connsiteX2393" fmla="*/ 168090 w 1336827"/>
              <a:gd name="connsiteY2393" fmla="*/ 374934 h 1112837"/>
              <a:gd name="connsiteX2394" fmla="*/ 166096 w 1336827"/>
              <a:gd name="connsiteY2394" fmla="*/ 380917 h 1112837"/>
              <a:gd name="connsiteX2395" fmla="*/ 158118 w 1336827"/>
              <a:gd name="connsiteY2395" fmla="*/ 382912 h 1112837"/>
              <a:gd name="connsiteX2396" fmla="*/ 154129 w 1336827"/>
              <a:gd name="connsiteY2396" fmla="*/ 384906 h 1112837"/>
              <a:gd name="connsiteX2397" fmla="*/ 152135 w 1336827"/>
              <a:gd name="connsiteY2397" fmla="*/ 380917 h 1112837"/>
              <a:gd name="connsiteX2398" fmla="*/ 154129 w 1336827"/>
              <a:gd name="connsiteY2398" fmla="*/ 376929 h 1112837"/>
              <a:gd name="connsiteX2399" fmla="*/ 154129 w 1336827"/>
              <a:gd name="connsiteY2399" fmla="*/ 372940 h 1112837"/>
              <a:gd name="connsiteX2400" fmla="*/ 146152 w 1336827"/>
              <a:gd name="connsiteY2400" fmla="*/ 370946 h 1112837"/>
              <a:gd name="connsiteX2401" fmla="*/ 140168 w 1336827"/>
              <a:gd name="connsiteY2401" fmla="*/ 370946 h 1112837"/>
              <a:gd name="connsiteX2402" fmla="*/ 136180 w 1336827"/>
              <a:gd name="connsiteY2402" fmla="*/ 376929 h 1112837"/>
              <a:gd name="connsiteX2403" fmla="*/ 128202 w 1336827"/>
              <a:gd name="connsiteY2403" fmla="*/ 374934 h 1112837"/>
              <a:gd name="connsiteX2404" fmla="*/ 122219 w 1336827"/>
              <a:gd name="connsiteY2404" fmla="*/ 372940 h 1112837"/>
              <a:gd name="connsiteX2405" fmla="*/ 114241 w 1336827"/>
              <a:gd name="connsiteY2405" fmla="*/ 370946 h 1112837"/>
              <a:gd name="connsiteX2406" fmla="*/ 118230 w 1336827"/>
              <a:gd name="connsiteY2406" fmla="*/ 378923 h 1112837"/>
              <a:gd name="connsiteX2407" fmla="*/ 130196 w 1336827"/>
              <a:gd name="connsiteY2407" fmla="*/ 386900 h 1112837"/>
              <a:gd name="connsiteX2408" fmla="*/ 130196 w 1336827"/>
              <a:gd name="connsiteY2408" fmla="*/ 390889 h 1112837"/>
              <a:gd name="connsiteX2409" fmla="*/ 122219 w 1336827"/>
              <a:gd name="connsiteY2409" fmla="*/ 386900 h 1112837"/>
              <a:gd name="connsiteX2410" fmla="*/ 116235 w 1336827"/>
              <a:gd name="connsiteY2410" fmla="*/ 386900 h 1112837"/>
              <a:gd name="connsiteX2411" fmla="*/ 106263 w 1336827"/>
              <a:gd name="connsiteY2411" fmla="*/ 384906 h 1112837"/>
              <a:gd name="connsiteX2412" fmla="*/ 98285 w 1336827"/>
              <a:gd name="connsiteY2412" fmla="*/ 382912 h 1112837"/>
              <a:gd name="connsiteX2413" fmla="*/ 90308 w 1336827"/>
              <a:gd name="connsiteY2413" fmla="*/ 382912 h 1112837"/>
              <a:gd name="connsiteX2414" fmla="*/ 80336 w 1336827"/>
              <a:gd name="connsiteY2414" fmla="*/ 378923 h 1112837"/>
              <a:gd name="connsiteX2415" fmla="*/ 72358 w 1336827"/>
              <a:gd name="connsiteY2415" fmla="*/ 374934 h 1112837"/>
              <a:gd name="connsiteX2416" fmla="*/ 72358 w 1336827"/>
              <a:gd name="connsiteY2416" fmla="*/ 378923 h 1112837"/>
              <a:gd name="connsiteX2417" fmla="*/ 62386 w 1336827"/>
              <a:gd name="connsiteY2417" fmla="*/ 372940 h 1112837"/>
              <a:gd name="connsiteX2418" fmla="*/ 58397 w 1336827"/>
              <a:gd name="connsiteY2418" fmla="*/ 366957 h 1112837"/>
              <a:gd name="connsiteX2419" fmla="*/ 64380 w 1336827"/>
              <a:gd name="connsiteY2419" fmla="*/ 366957 h 1112837"/>
              <a:gd name="connsiteX2420" fmla="*/ 76347 w 1336827"/>
              <a:gd name="connsiteY2420" fmla="*/ 362968 h 1112837"/>
              <a:gd name="connsiteX2421" fmla="*/ 82330 w 1336827"/>
              <a:gd name="connsiteY2421" fmla="*/ 358980 h 1112837"/>
              <a:gd name="connsiteX2422" fmla="*/ 88313 w 1336827"/>
              <a:gd name="connsiteY2422" fmla="*/ 356985 h 1112837"/>
              <a:gd name="connsiteX2423" fmla="*/ 96291 w 1336827"/>
              <a:gd name="connsiteY2423" fmla="*/ 356985 h 1112837"/>
              <a:gd name="connsiteX2424" fmla="*/ 100280 w 1336827"/>
              <a:gd name="connsiteY2424" fmla="*/ 351002 h 1112837"/>
              <a:gd name="connsiteX2425" fmla="*/ 94297 w 1336827"/>
              <a:gd name="connsiteY2425" fmla="*/ 349008 h 1112837"/>
              <a:gd name="connsiteX2426" fmla="*/ 86319 w 1336827"/>
              <a:gd name="connsiteY2426" fmla="*/ 352997 h 1112837"/>
              <a:gd name="connsiteX2427" fmla="*/ 78341 w 1336827"/>
              <a:gd name="connsiteY2427" fmla="*/ 352997 h 1112837"/>
              <a:gd name="connsiteX2428" fmla="*/ 68369 w 1336827"/>
              <a:gd name="connsiteY2428" fmla="*/ 354991 h 1112837"/>
              <a:gd name="connsiteX2429" fmla="*/ 64380 w 1336827"/>
              <a:gd name="connsiteY2429" fmla="*/ 352997 h 1112837"/>
              <a:gd name="connsiteX2430" fmla="*/ 56402 w 1336827"/>
              <a:gd name="connsiteY2430" fmla="*/ 351002 h 1112837"/>
              <a:gd name="connsiteX2431" fmla="*/ 58397 w 1336827"/>
              <a:gd name="connsiteY2431" fmla="*/ 345019 h 1112837"/>
              <a:gd name="connsiteX2432" fmla="*/ 64380 w 1336827"/>
              <a:gd name="connsiteY2432" fmla="*/ 341031 h 1112837"/>
              <a:gd name="connsiteX2433" fmla="*/ 62386 w 1336827"/>
              <a:gd name="connsiteY2433" fmla="*/ 337042 h 1112837"/>
              <a:gd name="connsiteX2434" fmla="*/ 54408 w 1336827"/>
              <a:gd name="connsiteY2434" fmla="*/ 341031 h 1112837"/>
              <a:gd name="connsiteX2435" fmla="*/ 50419 w 1336827"/>
              <a:gd name="connsiteY2435" fmla="*/ 347014 h 1112837"/>
              <a:gd name="connsiteX2436" fmla="*/ 44436 w 1336827"/>
              <a:gd name="connsiteY2436" fmla="*/ 351002 h 1112837"/>
              <a:gd name="connsiteX2437" fmla="*/ 38452 w 1336827"/>
              <a:gd name="connsiteY2437" fmla="*/ 349008 h 1112837"/>
              <a:gd name="connsiteX2438" fmla="*/ 36458 w 1336827"/>
              <a:gd name="connsiteY2438" fmla="*/ 345019 h 1112837"/>
              <a:gd name="connsiteX2439" fmla="*/ 28480 w 1336827"/>
              <a:gd name="connsiteY2439" fmla="*/ 345019 h 1112837"/>
              <a:gd name="connsiteX2440" fmla="*/ 24491 w 1336827"/>
              <a:gd name="connsiteY2440" fmla="*/ 337042 h 1112837"/>
              <a:gd name="connsiteX2441" fmla="*/ 36458 w 1336827"/>
              <a:gd name="connsiteY2441" fmla="*/ 335048 h 1112837"/>
              <a:gd name="connsiteX2442" fmla="*/ 38452 w 1336827"/>
              <a:gd name="connsiteY2442" fmla="*/ 327070 h 1112837"/>
              <a:gd name="connsiteX2443" fmla="*/ 50419 w 1336827"/>
              <a:gd name="connsiteY2443" fmla="*/ 327070 h 1112837"/>
              <a:gd name="connsiteX2444" fmla="*/ 58397 w 1336827"/>
              <a:gd name="connsiteY2444" fmla="*/ 329065 h 1112837"/>
              <a:gd name="connsiteX2445" fmla="*/ 66375 w 1336827"/>
              <a:gd name="connsiteY2445" fmla="*/ 327070 h 1112837"/>
              <a:gd name="connsiteX2446" fmla="*/ 72358 w 1336827"/>
              <a:gd name="connsiteY2446" fmla="*/ 327070 h 1112837"/>
              <a:gd name="connsiteX2447" fmla="*/ 82330 w 1336827"/>
              <a:gd name="connsiteY2447" fmla="*/ 325076 h 1112837"/>
              <a:gd name="connsiteX2448" fmla="*/ 94297 w 1336827"/>
              <a:gd name="connsiteY2448" fmla="*/ 327070 h 1112837"/>
              <a:gd name="connsiteX2449" fmla="*/ 104269 w 1336827"/>
              <a:gd name="connsiteY2449" fmla="*/ 329065 h 1112837"/>
              <a:gd name="connsiteX2450" fmla="*/ 112246 w 1336827"/>
              <a:gd name="connsiteY2450" fmla="*/ 325076 h 1112837"/>
              <a:gd name="connsiteX2451" fmla="*/ 122219 w 1336827"/>
              <a:gd name="connsiteY2451" fmla="*/ 329065 h 1112837"/>
              <a:gd name="connsiteX2452" fmla="*/ 136180 w 1336827"/>
              <a:gd name="connsiteY2452" fmla="*/ 331059 h 1112837"/>
              <a:gd name="connsiteX2453" fmla="*/ 144157 w 1336827"/>
              <a:gd name="connsiteY2453" fmla="*/ 329065 h 1112837"/>
              <a:gd name="connsiteX2454" fmla="*/ 150141 w 1336827"/>
              <a:gd name="connsiteY2454" fmla="*/ 331059 h 1112837"/>
              <a:gd name="connsiteX2455" fmla="*/ 156124 w 1336827"/>
              <a:gd name="connsiteY2455" fmla="*/ 327070 h 1112837"/>
              <a:gd name="connsiteX2456" fmla="*/ 154129 w 1336827"/>
              <a:gd name="connsiteY2456" fmla="*/ 323082 h 1112837"/>
              <a:gd name="connsiteX2457" fmla="*/ 142163 w 1336827"/>
              <a:gd name="connsiteY2457" fmla="*/ 319093 h 1112837"/>
              <a:gd name="connsiteX2458" fmla="*/ 138174 w 1336827"/>
              <a:gd name="connsiteY2458" fmla="*/ 315104 h 1112837"/>
              <a:gd name="connsiteX2459" fmla="*/ 148146 w 1336827"/>
              <a:gd name="connsiteY2459" fmla="*/ 313110 h 1112837"/>
              <a:gd name="connsiteX2460" fmla="*/ 154129 w 1336827"/>
              <a:gd name="connsiteY2460" fmla="*/ 311116 h 1112837"/>
              <a:gd name="connsiteX2461" fmla="*/ 150141 w 1336827"/>
              <a:gd name="connsiteY2461" fmla="*/ 303138 h 1112837"/>
              <a:gd name="connsiteX2462" fmla="*/ 148146 w 1336827"/>
              <a:gd name="connsiteY2462" fmla="*/ 295161 h 1112837"/>
              <a:gd name="connsiteX2463" fmla="*/ 138174 w 1336827"/>
              <a:gd name="connsiteY2463" fmla="*/ 297155 h 1112837"/>
              <a:gd name="connsiteX2464" fmla="*/ 130196 w 1336827"/>
              <a:gd name="connsiteY2464" fmla="*/ 293167 h 1112837"/>
              <a:gd name="connsiteX2465" fmla="*/ 126207 w 1336827"/>
              <a:gd name="connsiteY2465" fmla="*/ 301144 h 1112837"/>
              <a:gd name="connsiteX2466" fmla="*/ 116235 w 1336827"/>
              <a:gd name="connsiteY2466" fmla="*/ 307127 h 1112837"/>
              <a:gd name="connsiteX2467" fmla="*/ 104269 w 1336827"/>
              <a:gd name="connsiteY2467" fmla="*/ 311116 h 1112837"/>
              <a:gd name="connsiteX2468" fmla="*/ 98285 w 1336827"/>
              <a:gd name="connsiteY2468" fmla="*/ 309121 h 1112837"/>
              <a:gd name="connsiteX2469" fmla="*/ 96291 w 1336827"/>
              <a:gd name="connsiteY2469" fmla="*/ 301144 h 1112837"/>
              <a:gd name="connsiteX2470" fmla="*/ 94297 w 1336827"/>
              <a:gd name="connsiteY2470" fmla="*/ 299150 h 1112837"/>
              <a:gd name="connsiteX2471" fmla="*/ 90308 w 1336827"/>
              <a:gd name="connsiteY2471" fmla="*/ 305133 h 1112837"/>
              <a:gd name="connsiteX2472" fmla="*/ 86319 w 1336827"/>
              <a:gd name="connsiteY2472" fmla="*/ 309121 h 1112837"/>
              <a:gd name="connsiteX2473" fmla="*/ 80336 w 1336827"/>
              <a:gd name="connsiteY2473" fmla="*/ 311116 h 1112837"/>
              <a:gd name="connsiteX2474" fmla="*/ 74352 w 1336827"/>
              <a:gd name="connsiteY2474" fmla="*/ 313110 h 1112837"/>
              <a:gd name="connsiteX2475" fmla="*/ 70363 w 1336827"/>
              <a:gd name="connsiteY2475" fmla="*/ 311116 h 1112837"/>
              <a:gd name="connsiteX2476" fmla="*/ 70363 w 1336827"/>
              <a:gd name="connsiteY2476" fmla="*/ 315104 h 1112837"/>
              <a:gd name="connsiteX2477" fmla="*/ 66375 w 1336827"/>
              <a:gd name="connsiteY2477" fmla="*/ 313110 h 1112837"/>
              <a:gd name="connsiteX2478" fmla="*/ 58397 w 1336827"/>
              <a:gd name="connsiteY2478" fmla="*/ 313110 h 1112837"/>
              <a:gd name="connsiteX2479" fmla="*/ 54408 w 1336827"/>
              <a:gd name="connsiteY2479" fmla="*/ 311116 h 1112837"/>
              <a:gd name="connsiteX2480" fmla="*/ 58397 w 1336827"/>
              <a:gd name="connsiteY2480" fmla="*/ 307127 h 1112837"/>
              <a:gd name="connsiteX2481" fmla="*/ 56402 w 1336827"/>
              <a:gd name="connsiteY2481" fmla="*/ 307127 h 1112837"/>
              <a:gd name="connsiteX2482" fmla="*/ 46430 w 1336827"/>
              <a:gd name="connsiteY2482" fmla="*/ 305133 h 1112837"/>
              <a:gd name="connsiteX2483" fmla="*/ 44436 w 1336827"/>
              <a:gd name="connsiteY2483" fmla="*/ 303138 h 1112837"/>
              <a:gd name="connsiteX2484" fmla="*/ 52414 w 1336827"/>
              <a:gd name="connsiteY2484" fmla="*/ 297155 h 1112837"/>
              <a:gd name="connsiteX2485" fmla="*/ 60391 w 1336827"/>
              <a:gd name="connsiteY2485" fmla="*/ 297155 h 1112837"/>
              <a:gd name="connsiteX2486" fmla="*/ 54408 w 1336827"/>
              <a:gd name="connsiteY2486" fmla="*/ 293167 h 1112837"/>
              <a:gd name="connsiteX2487" fmla="*/ 48425 w 1336827"/>
              <a:gd name="connsiteY2487" fmla="*/ 293167 h 1112837"/>
              <a:gd name="connsiteX2488" fmla="*/ 42441 w 1336827"/>
              <a:gd name="connsiteY2488" fmla="*/ 297155 h 1112837"/>
              <a:gd name="connsiteX2489" fmla="*/ 36458 w 1336827"/>
              <a:gd name="connsiteY2489" fmla="*/ 299150 h 1112837"/>
              <a:gd name="connsiteX2490" fmla="*/ 28480 w 1336827"/>
              <a:gd name="connsiteY2490" fmla="*/ 297155 h 1112837"/>
              <a:gd name="connsiteX2491" fmla="*/ 26486 w 1336827"/>
              <a:gd name="connsiteY2491" fmla="*/ 295161 h 1112837"/>
              <a:gd name="connsiteX2492" fmla="*/ 20503 w 1336827"/>
              <a:gd name="connsiteY2492" fmla="*/ 291172 h 1112837"/>
              <a:gd name="connsiteX2493" fmla="*/ 14519 w 1336827"/>
              <a:gd name="connsiteY2493" fmla="*/ 291172 h 1112837"/>
              <a:gd name="connsiteX2494" fmla="*/ 8536 w 1336827"/>
              <a:gd name="connsiteY2494" fmla="*/ 287184 h 1112837"/>
              <a:gd name="connsiteX2495" fmla="*/ 4547 w 1336827"/>
              <a:gd name="connsiteY2495" fmla="*/ 285189 h 1112837"/>
              <a:gd name="connsiteX2496" fmla="*/ 2553 w 1336827"/>
              <a:gd name="connsiteY2496" fmla="*/ 281201 h 1112837"/>
              <a:gd name="connsiteX2497" fmla="*/ 2553 w 1336827"/>
              <a:gd name="connsiteY2497" fmla="*/ 277212 h 1112837"/>
              <a:gd name="connsiteX2498" fmla="*/ 558 w 1336827"/>
              <a:gd name="connsiteY2498" fmla="*/ 273223 h 1112837"/>
              <a:gd name="connsiteX2499" fmla="*/ 4547 w 1336827"/>
              <a:gd name="connsiteY2499" fmla="*/ 269235 h 1112837"/>
              <a:gd name="connsiteX2500" fmla="*/ 4547 w 1336827"/>
              <a:gd name="connsiteY2500" fmla="*/ 263252 h 1112837"/>
              <a:gd name="connsiteX2501" fmla="*/ 6542 w 1336827"/>
              <a:gd name="connsiteY2501" fmla="*/ 259263 h 1112837"/>
              <a:gd name="connsiteX2502" fmla="*/ 12525 w 1336827"/>
              <a:gd name="connsiteY2502" fmla="*/ 259263 h 1112837"/>
              <a:gd name="connsiteX2503" fmla="*/ 22497 w 1336827"/>
              <a:gd name="connsiteY2503" fmla="*/ 261257 h 1112837"/>
              <a:gd name="connsiteX2504" fmla="*/ 30475 w 1336827"/>
              <a:gd name="connsiteY2504" fmla="*/ 255274 h 1112837"/>
              <a:gd name="connsiteX2505" fmla="*/ 40447 w 1336827"/>
              <a:gd name="connsiteY2505" fmla="*/ 255274 h 1112837"/>
              <a:gd name="connsiteX2506" fmla="*/ 46430 w 1336827"/>
              <a:gd name="connsiteY2506" fmla="*/ 253280 h 1112837"/>
              <a:gd name="connsiteX2507" fmla="*/ 56402 w 1336827"/>
              <a:gd name="connsiteY2507" fmla="*/ 253280 h 1112837"/>
              <a:gd name="connsiteX2508" fmla="*/ 62386 w 1336827"/>
              <a:gd name="connsiteY2508" fmla="*/ 251286 h 1112837"/>
              <a:gd name="connsiteX2509" fmla="*/ 72358 w 1336827"/>
              <a:gd name="connsiteY2509" fmla="*/ 247297 h 1112837"/>
              <a:gd name="connsiteX2510" fmla="*/ 82330 w 1336827"/>
              <a:gd name="connsiteY2510" fmla="*/ 245303 h 1112837"/>
              <a:gd name="connsiteX2511" fmla="*/ 94297 w 1336827"/>
              <a:gd name="connsiteY2511" fmla="*/ 247297 h 1112837"/>
              <a:gd name="connsiteX2512" fmla="*/ 88313 w 1336827"/>
              <a:gd name="connsiteY2512" fmla="*/ 237325 h 1112837"/>
              <a:gd name="connsiteX2513" fmla="*/ 90308 w 1336827"/>
              <a:gd name="connsiteY2513" fmla="*/ 231342 h 1112837"/>
              <a:gd name="connsiteX2514" fmla="*/ 102274 w 1336827"/>
              <a:gd name="connsiteY2514" fmla="*/ 229348 h 1112837"/>
              <a:gd name="connsiteX2515" fmla="*/ 110252 w 1336827"/>
              <a:gd name="connsiteY2515" fmla="*/ 227354 h 1112837"/>
              <a:gd name="connsiteX2516" fmla="*/ 116235 w 1336827"/>
              <a:gd name="connsiteY2516" fmla="*/ 227354 h 1112837"/>
              <a:gd name="connsiteX2517" fmla="*/ 124213 w 1336827"/>
              <a:gd name="connsiteY2517" fmla="*/ 229348 h 1112837"/>
              <a:gd name="connsiteX2518" fmla="*/ 132191 w 1336827"/>
              <a:gd name="connsiteY2518" fmla="*/ 225359 h 1112837"/>
              <a:gd name="connsiteX2519" fmla="*/ 138174 w 1336827"/>
              <a:gd name="connsiteY2519" fmla="*/ 227354 h 1112837"/>
              <a:gd name="connsiteX2520" fmla="*/ 142163 w 1336827"/>
              <a:gd name="connsiteY2520" fmla="*/ 229348 h 1112837"/>
              <a:gd name="connsiteX2521" fmla="*/ 150141 w 1336827"/>
              <a:gd name="connsiteY2521" fmla="*/ 229348 h 1112837"/>
              <a:gd name="connsiteX2522" fmla="*/ 154129 w 1336827"/>
              <a:gd name="connsiteY2522" fmla="*/ 229348 h 1112837"/>
              <a:gd name="connsiteX2523" fmla="*/ 158118 w 1336827"/>
              <a:gd name="connsiteY2523" fmla="*/ 229348 h 1112837"/>
              <a:gd name="connsiteX2524" fmla="*/ 162107 w 1336827"/>
              <a:gd name="connsiteY2524" fmla="*/ 225359 h 1112837"/>
              <a:gd name="connsiteX2525" fmla="*/ 168090 w 1336827"/>
              <a:gd name="connsiteY2525" fmla="*/ 221371 h 1112837"/>
              <a:gd name="connsiteX2526" fmla="*/ 174074 w 1336827"/>
              <a:gd name="connsiteY2526" fmla="*/ 217382 h 1112837"/>
              <a:gd name="connsiteX2527" fmla="*/ 188035 w 1336827"/>
              <a:gd name="connsiteY2527" fmla="*/ 209405 h 1112837"/>
              <a:gd name="connsiteX2528" fmla="*/ 194018 w 1336827"/>
              <a:gd name="connsiteY2528" fmla="*/ 199433 h 1112837"/>
              <a:gd name="connsiteX2529" fmla="*/ 194018 w 1336827"/>
              <a:gd name="connsiteY2529" fmla="*/ 191456 h 1112837"/>
              <a:gd name="connsiteX2530" fmla="*/ 200001 w 1336827"/>
              <a:gd name="connsiteY2530" fmla="*/ 191456 h 1112837"/>
              <a:gd name="connsiteX2531" fmla="*/ 205985 w 1336827"/>
              <a:gd name="connsiteY2531" fmla="*/ 191456 h 1112837"/>
              <a:gd name="connsiteX2532" fmla="*/ 203990 w 1336827"/>
              <a:gd name="connsiteY2532" fmla="*/ 187467 h 1112837"/>
              <a:gd name="connsiteX2533" fmla="*/ 196013 w 1336827"/>
              <a:gd name="connsiteY2533" fmla="*/ 187467 h 1112837"/>
              <a:gd name="connsiteX2534" fmla="*/ 196013 w 1336827"/>
              <a:gd name="connsiteY2534" fmla="*/ 183478 h 1112837"/>
              <a:gd name="connsiteX2535" fmla="*/ 201996 w 1336827"/>
              <a:gd name="connsiteY2535" fmla="*/ 181484 h 1112837"/>
              <a:gd name="connsiteX2536" fmla="*/ 205985 w 1336827"/>
              <a:gd name="connsiteY2536" fmla="*/ 179490 h 1112837"/>
              <a:gd name="connsiteX2537" fmla="*/ 207979 w 1336827"/>
              <a:gd name="connsiteY2537" fmla="*/ 175501 h 1112837"/>
              <a:gd name="connsiteX2538" fmla="*/ 211968 w 1336827"/>
              <a:gd name="connsiteY2538" fmla="*/ 173507 h 1112837"/>
              <a:gd name="connsiteX2539" fmla="*/ 211968 w 1336827"/>
              <a:gd name="connsiteY2539" fmla="*/ 167524 h 1112837"/>
              <a:gd name="connsiteX2540" fmla="*/ 203990 w 1336827"/>
              <a:gd name="connsiteY2540" fmla="*/ 173507 h 1112837"/>
              <a:gd name="connsiteX2541" fmla="*/ 192024 w 1336827"/>
              <a:gd name="connsiteY2541" fmla="*/ 175501 h 1112837"/>
              <a:gd name="connsiteX2542" fmla="*/ 186040 w 1336827"/>
              <a:gd name="connsiteY2542" fmla="*/ 175501 h 1112837"/>
              <a:gd name="connsiteX2543" fmla="*/ 180057 w 1336827"/>
              <a:gd name="connsiteY2543" fmla="*/ 179490 h 1112837"/>
              <a:gd name="connsiteX2544" fmla="*/ 176068 w 1336827"/>
              <a:gd name="connsiteY2544" fmla="*/ 179490 h 1112837"/>
              <a:gd name="connsiteX2545" fmla="*/ 168090 w 1336827"/>
              <a:gd name="connsiteY2545" fmla="*/ 177495 h 1112837"/>
              <a:gd name="connsiteX2546" fmla="*/ 162107 w 1336827"/>
              <a:gd name="connsiteY2546" fmla="*/ 177495 h 1112837"/>
              <a:gd name="connsiteX2547" fmla="*/ 162107 w 1336827"/>
              <a:gd name="connsiteY2547" fmla="*/ 173507 h 1112837"/>
              <a:gd name="connsiteX2548" fmla="*/ 158118 w 1336827"/>
              <a:gd name="connsiteY2548" fmla="*/ 179490 h 1112837"/>
              <a:gd name="connsiteX2549" fmla="*/ 150141 w 1336827"/>
              <a:gd name="connsiteY2549" fmla="*/ 179490 h 1112837"/>
              <a:gd name="connsiteX2550" fmla="*/ 150141 w 1336827"/>
              <a:gd name="connsiteY2550" fmla="*/ 175501 h 1112837"/>
              <a:gd name="connsiteX2551" fmla="*/ 144157 w 1336827"/>
              <a:gd name="connsiteY2551" fmla="*/ 171512 h 1112837"/>
              <a:gd name="connsiteX2552" fmla="*/ 148146 w 1336827"/>
              <a:gd name="connsiteY2552" fmla="*/ 165529 h 1112837"/>
              <a:gd name="connsiteX2553" fmla="*/ 158118 w 1336827"/>
              <a:gd name="connsiteY2553" fmla="*/ 161541 h 1112837"/>
              <a:gd name="connsiteX2554" fmla="*/ 162107 w 1336827"/>
              <a:gd name="connsiteY2554" fmla="*/ 155558 h 1112837"/>
              <a:gd name="connsiteX2555" fmla="*/ 168090 w 1336827"/>
              <a:gd name="connsiteY2555" fmla="*/ 153563 h 1112837"/>
              <a:gd name="connsiteX2556" fmla="*/ 178063 w 1336827"/>
              <a:gd name="connsiteY2556" fmla="*/ 151569 h 1112837"/>
              <a:gd name="connsiteX2557" fmla="*/ 180057 w 1336827"/>
              <a:gd name="connsiteY2557" fmla="*/ 149575 h 1112837"/>
              <a:gd name="connsiteX2558" fmla="*/ 188035 w 1336827"/>
              <a:gd name="connsiteY2558" fmla="*/ 149575 h 1112837"/>
              <a:gd name="connsiteX2559" fmla="*/ 194018 w 1336827"/>
              <a:gd name="connsiteY2559" fmla="*/ 145586 h 1112837"/>
              <a:gd name="connsiteX2560" fmla="*/ 198007 w 1336827"/>
              <a:gd name="connsiteY2560" fmla="*/ 143592 h 1112837"/>
              <a:gd name="connsiteX2561" fmla="*/ 203990 w 1336827"/>
              <a:gd name="connsiteY2561" fmla="*/ 137609 h 1112837"/>
              <a:gd name="connsiteX2562" fmla="*/ 207979 w 1336827"/>
              <a:gd name="connsiteY2562" fmla="*/ 133620 h 1112837"/>
              <a:gd name="connsiteX2563" fmla="*/ 209974 w 1336827"/>
              <a:gd name="connsiteY2563" fmla="*/ 127637 h 1112837"/>
              <a:gd name="connsiteX2564" fmla="*/ 221940 w 1336827"/>
              <a:gd name="connsiteY2564" fmla="*/ 125643 h 1112837"/>
              <a:gd name="connsiteX2565" fmla="*/ 231912 w 1336827"/>
              <a:gd name="connsiteY2565" fmla="*/ 129631 h 1112837"/>
              <a:gd name="connsiteX2566" fmla="*/ 241884 w 1336827"/>
              <a:gd name="connsiteY2566" fmla="*/ 145586 h 1112837"/>
              <a:gd name="connsiteX2567" fmla="*/ 243879 w 1336827"/>
              <a:gd name="connsiteY2567" fmla="*/ 141597 h 1112837"/>
              <a:gd name="connsiteX2568" fmla="*/ 239890 w 1336827"/>
              <a:gd name="connsiteY2568" fmla="*/ 133620 h 1112837"/>
              <a:gd name="connsiteX2569" fmla="*/ 239890 w 1336827"/>
              <a:gd name="connsiteY2569" fmla="*/ 129631 h 1112837"/>
              <a:gd name="connsiteX2570" fmla="*/ 233907 w 1336827"/>
              <a:gd name="connsiteY2570" fmla="*/ 123648 h 1112837"/>
              <a:gd name="connsiteX2571" fmla="*/ 237896 w 1336827"/>
              <a:gd name="connsiteY2571" fmla="*/ 119660 h 1112837"/>
              <a:gd name="connsiteX2572" fmla="*/ 249862 w 1336827"/>
              <a:gd name="connsiteY2572" fmla="*/ 121654 h 1112837"/>
              <a:gd name="connsiteX2573" fmla="*/ 255845 w 1336827"/>
              <a:gd name="connsiteY2573" fmla="*/ 121654 h 1112837"/>
              <a:gd name="connsiteX2574" fmla="*/ 263823 w 1336827"/>
              <a:gd name="connsiteY2574" fmla="*/ 121654 h 1112837"/>
              <a:gd name="connsiteX2575" fmla="*/ 271801 w 1336827"/>
              <a:gd name="connsiteY2575" fmla="*/ 125643 h 1112837"/>
              <a:gd name="connsiteX2576" fmla="*/ 275790 w 1336827"/>
              <a:gd name="connsiteY2576" fmla="*/ 123648 h 1112837"/>
              <a:gd name="connsiteX2577" fmla="*/ 277784 w 1336827"/>
              <a:gd name="connsiteY2577" fmla="*/ 117665 h 1112837"/>
              <a:gd name="connsiteX2578" fmla="*/ 279779 w 1336827"/>
              <a:gd name="connsiteY2578" fmla="*/ 111682 h 1112837"/>
              <a:gd name="connsiteX2579" fmla="*/ 285762 w 1336827"/>
              <a:gd name="connsiteY2579" fmla="*/ 119660 h 1112837"/>
              <a:gd name="connsiteX2580" fmla="*/ 367534 w 1336827"/>
              <a:gd name="connsiteY2580" fmla="*/ 107694 h 1112837"/>
              <a:gd name="connsiteX2581" fmla="*/ 373517 w 1336827"/>
              <a:gd name="connsiteY2581" fmla="*/ 109688 h 1112837"/>
              <a:gd name="connsiteX2582" fmla="*/ 381495 w 1336827"/>
              <a:gd name="connsiteY2582" fmla="*/ 111682 h 1112837"/>
              <a:gd name="connsiteX2583" fmla="*/ 383489 w 1336827"/>
              <a:gd name="connsiteY2583" fmla="*/ 109688 h 1112837"/>
              <a:gd name="connsiteX2584" fmla="*/ 373517 w 1336827"/>
              <a:gd name="connsiteY2584" fmla="*/ 103705 h 1112837"/>
              <a:gd name="connsiteX2585" fmla="*/ 369528 w 1336827"/>
              <a:gd name="connsiteY2585" fmla="*/ 103705 h 1112837"/>
              <a:gd name="connsiteX2586" fmla="*/ 371523 w 1336827"/>
              <a:gd name="connsiteY2586" fmla="*/ 91739 h 1112837"/>
              <a:gd name="connsiteX2587" fmla="*/ 367534 w 1336827"/>
              <a:gd name="connsiteY2587" fmla="*/ 61824 h 1112837"/>
              <a:gd name="connsiteX2588" fmla="*/ 377506 w 1336827"/>
              <a:gd name="connsiteY2588" fmla="*/ 57836 h 1112837"/>
              <a:gd name="connsiteX2589" fmla="*/ 381495 w 1336827"/>
              <a:gd name="connsiteY2589" fmla="*/ 55841 h 1112837"/>
              <a:gd name="connsiteX2590" fmla="*/ 387478 w 1336827"/>
              <a:gd name="connsiteY2590" fmla="*/ 57836 h 1112837"/>
              <a:gd name="connsiteX2591" fmla="*/ 391467 w 1336827"/>
              <a:gd name="connsiteY2591" fmla="*/ 57836 h 1112837"/>
              <a:gd name="connsiteX2592" fmla="*/ 395456 w 1336827"/>
              <a:gd name="connsiteY2592" fmla="*/ 53847 h 1112837"/>
              <a:gd name="connsiteX2593" fmla="*/ 399445 w 1336827"/>
              <a:gd name="connsiteY2593" fmla="*/ 55841 h 1112837"/>
              <a:gd name="connsiteX2594" fmla="*/ 401439 w 1336827"/>
              <a:gd name="connsiteY2594" fmla="*/ 59830 h 1112837"/>
              <a:gd name="connsiteX2595" fmla="*/ 405428 w 1336827"/>
              <a:gd name="connsiteY2595" fmla="*/ 57836 h 1112837"/>
              <a:gd name="connsiteX2596" fmla="*/ 409417 w 1336827"/>
              <a:gd name="connsiteY2596" fmla="*/ 59830 h 1112837"/>
              <a:gd name="connsiteX2597" fmla="*/ 415400 w 1336827"/>
              <a:gd name="connsiteY2597" fmla="*/ 59830 h 1112837"/>
              <a:gd name="connsiteX2598" fmla="*/ 423378 w 1336827"/>
              <a:gd name="connsiteY2598" fmla="*/ 61824 h 1112837"/>
              <a:gd name="connsiteX2599" fmla="*/ 425372 w 1336827"/>
              <a:gd name="connsiteY2599" fmla="*/ 57836 h 1112837"/>
              <a:gd name="connsiteX2600" fmla="*/ 431356 w 1336827"/>
              <a:gd name="connsiteY2600" fmla="*/ 59830 h 1112837"/>
              <a:gd name="connsiteX2601" fmla="*/ 441328 w 1336827"/>
              <a:gd name="connsiteY2601" fmla="*/ 61824 h 1112837"/>
              <a:gd name="connsiteX2602" fmla="*/ 449305 w 1336827"/>
              <a:gd name="connsiteY2602" fmla="*/ 63819 h 1112837"/>
              <a:gd name="connsiteX2603" fmla="*/ 449305 w 1336827"/>
              <a:gd name="connsiteY2603" fmla="*/ 73790 h 1112837"/>
              <a:gd name="connsiteX2604" fmla="*/ 447311 w 1336827"/>
              <a:gd name="connsiteY2604" fmla="*/ 83762 h 1112837"/>
              <a:gd name="connsiteX2605" fmla="*/ 443322 w 1336827"/>
              <a:gd name="connsiteY2605" fmla="*/ 95728 h 1112837"/>
              <a:gd name="connsiteX2606" fmla="*/ 441328 w 1336827"/>
              <a:gd name="connsiteY2606" fmla="*/ 103705 h 1112837"/>
              <a:gd name="connsiteX2607" fmla="*/ 443322 w 1336827"/>
              <a:gd name="connsiteY2607" fmla="*/ 107694 h 1112837"/>
              <a:gd name="connsiteX2608" fmla="*/ 447311 w 1336827"/>
              <a:gd name="connsiteY2608" fmla="*/ 101711 h 1112837"/>
              <a:gd name="connsiteX2609" fmla="*/ 451300 w 1336827"/>
              <a:gd name="connsiteY2609" fmla="*/ 87751 h 1112837"/>
              <a:gd name="connsiteX2610" fmla="*/ 459278 w 1336827"/>
              <a:gd name="connsiteY2610" fmla="*/ 73790 h 1112837"/>
              <a:gd name="connsiteX2611" fmla="*/ 463266 w 1336827"/>
              <a:gd name="connsiteY2611" fmla="*/ 71796 h 1112837"/>
              <a:gd name="connsiteX2612" fmla="*/ 471244 w 1336827"/>
              <a:gd name="connsiteY2612" fmla="*/ 77779 h 1112837"/>
              <a:gd name="connsiteX2613" fmla="*/ 483211 w 1336827"/>
              <a:gd name="connsiteY2613" fmla="*/ 83762 h 1112837"/>
              <a:gd name="connsiteX2614" fmla="*/ 493183 w 1336827"/>
              <a:gd name="connsiteY2614" fmla="*/ 89745 h 1112837"/>
              <a:gd name="connsiteX2615" fmla="*/ 503155 w 1336827"/>
              <a:gd name="connsiteY2615" fmla="*/ 93734 h 1112837"/>
              <a:gd name="connsiteX2616" fmla="*/ 507144 w 1336827"/>
              <a:gd name="connsiteY2616" fmla="*/ 91739 h 1112837"/>
              <a:gd name="connsiteX2617" fmla="*/ 505150 w 1336827"/>
              <a:gd name="connsiteY2617" fmla="*/ 87751 h 1112837"/>
              <a:gd name="connsiteX2618" fmla="*/ 495177 w 1336827"/>
              <a:gd name="connsiteY2618" fmla="*/ 83762 h 1112837"/>
              <a:gd name="connsiteX2619" fmla="*/ 493183 w 1336827"/>
              <a:gd name="connsiteY2619" fmla="*/ 79773 h 1112837"/>
              <a:gd name="connsiteX2620" fmla="*/ 501161 w 1336827"/>
              <a:gd name="connsiteY2620" fmla="*/ 79773 h 1112837"/>
              <a:gd name="connsiteX2621" fmla="*/ 515122 w 1336827"/>
              <a:gd name="connsiteY2621" fmla="*/ 83762 h 1112837"/>
              <a:gd name="connsiteX2622" fmla="*/ 515122 w 1336827"/>
              <a:gd name="connsiteY2622" fmla="*/ 73790 h 1112837"/>
              <a:gd name="connsiteX2623" fmla="*/ 509138 w 1336827"/>
              <a:gd name="connsiteY2623" fmla="*/ 69802 h 1112837"/>
              <a:gd name="connsiteX2624" fmla="*/ 509138 w 1336827"/>
              <a:gd name="connsiteY2624" fmla="*/ 65813 h 1112837"/>
              <a:gd name="connsiteX2625" fmla="*/ 503155 w 1336827"/>
              <a:gd name="connsiteY2625" fmla="*/ 61824 h 1112837"/>
              <a:gd name="connsiteX2626" fmla="*/ 501161 w 1336827"/>
              <a:gd name="connsiteY2626" fmla="*/ 51853 h 1112837"/>
              <a:gd name="connsiteX2627" fmla="*/ 503155 w 1336827"/>
              <a:gd name="connsiteY2627" fmla="*/ 47864 h 1112837"/>
              <a:gd name="connsiteX2628" fmla="*/ 507144 w 1336827"/>
              <a:gd name="connsiteY2628" fmla="*/ 49858 h 1112837"/>
              <a:gd name="connsiteX2629" fmla="*/ 511133 w 1336827"/>
              <a:gd name="connsiteY2629" fmla="*/ 47864 h 1112837"/>
              <a:gd name="connsiteX2630" fmla="*/ 513127 w 1336827"/>
              <a:gd name="connsiteY2630" fmla="*/ 45870 h 1112837"/>
              <a:gd name="connsiteX2631" fmla="*/ 517116 w 1336827"/>
              <a:gd name="connsiteY2631" fmla="*/ 47864 h 1112837"/>
              <a:gd name="connsiteX2632" fmla="*/ 519111 w 1336827"/>
              <a:gd name="connsiteY2632" fmla="*/ 49858 h 1112837"/>
              <a:gd name="connsiteX2633" fmla="*/ 523099 w 1336827"/>
              <a:gd name="connsiteY2633" fmla="*/ 47864 h 1112837"/>
              <a:gd name="connsiteX2634" fmla="*/ 529083 w 1336827"/>
              <a:gd name="connsiteY2634" fmla="*/ 49858 h 1112837"/>
              <a:gd name="connsiteX2635" fmla="*/ 539055 w 1336827"/>
              <a:gd name="connsiteY2635" fmla="*/ 51853 h 1112837"/>
              <a:gd name="connsiteX2636" fmla="*/ 545038 w 1336827"/>
              <a:gd name="connsiteY2636" fmla="*/ 53847 h 1112837"/>
              <a:gd name="connsiteX2637" fmla="*/ 549824 w 1336827"/>
              <a:gd name="connsiteY2637" fmla="*/ 55898 h 1112837"/>
              <a:gd name="connsiteX2638" fmla="*/ 549824 w 1336827"/>
              <a:gd name="connsiteY2638" fmla="*/ 53294 h 1112837"/>
              <a:gd name="connsiteX2639" fmla="*/ 553792 w 1336827"/>
              <a:gd name="connsiteY2639" fmla="*/ 49212 h 1112837"/>
              <a:gd name="connsiteX2640" fmla="*/ 557761 w 1336827"/>
              <a:gd name="connsiteY2640" fmla="*/ 53294 h 1112837"/>
              <a:gd name="connsiteX2641" fmla="*/ 561730 w 1336827"/>
              <a:gd name="connsiteY2641" fmla="*/ 59417 h 1112837"/>
              <a:gd name="connsiteX2642" fmla="*/ 561003 w 1336827"/>
              <a:gd name="connsiteY2642" fmla="*/ 60164 h 1112837"/>
              <a:gd name="connsiteX2643" fmla="*/ 570966 w 1336827"/>
              <a:gd name="connsiteY2643" fmla="*/ 61824 h 1112837"/>
              <a:gd name="connsiteX2644" fmla="*/ 576949 w 1336827"/>
              <a:gd name="connsiteY2644" fmla="*/ 65813 h 1112837"/>
              <a:gd name="connsiteX2645" fmla="*/ 584927 w 1336827"/>
              <a:gd name="connsiteY2645" fmla="*/ 67807 h 1112837"/>
              <a:gd name="connsiteX2646" fmla="*/ 592905 w 1336827"/>
              <a:gd name="connsiteY2646" fmla="*/ 67807 h 1112837"/>
              <a:gd name="connsiteX2647" fmla="*/ 600882 w 1336827"/>
              <a:gd name="connsiteY2647" fmla="*/ 73790 h 1112837"/>
              <a:gd name="connsiteX2648" fmla="*/ 604871 w 1336827"/>
              <a:gd name="connsiteY2648" fmla="*/ 81768 h 1112837"/>
              <a:gd name="connsiteX2649" fmla="*/ 610854 w 1336827"/>
              <a:gd name="connsiteY2649" fmla="*/ 87751 h 1112837"/>
              <a:gd name="connsiteX2650" fmla="*/ 618832 w 1336827"/>
              <a:gd name="connsiteY2650" fmla="*/ 89745 h 1112837"/>
              <a:gd name="connsiteX2651" fmla="*/ 626810 w 1336827"/>
              <a:gd name="connsiteY2651" fmla="*/ 93734 h 1112837"/>
              <a:gd name="connsiteX2652" fmla="*/ 632793 w 1336827"/>
              <a:gd name="connsiteY2652" fmla="*/ 93734 h 1112837"/>
              <a:gd name="connsiteX2653" fmla="*/ 634788 w 1336827"/>
              <a:gd name="connsiteY2653" fmla="*/ 89745 h 1112837"/>
              <a:gd name="connsiteX2654" fmla="*/ 630799 w 1336827"/>
              <a:gd name="connsiteY2654" fmla="*/ 81768 h 1112837"/>
              <a:gd name="connsiteX2655" fmla="*/ 626810 w 1336827"/>
              <a:gd name="connsiteY2655" fmla="*/ 75785 h 1112837"/>
              <a:gd name="connsiteX2656" fmla="*/ 626810 w 1336827"/>
              <a:gd name="connsiteY2656" fmla="*/ 71796 h 1112837"/>
              <a:gd name="connsiteX2657" fmla="*/ 632793 w 1336827"/>
              <a:gd name="connsiteY2657" fmla="*/ 71796 h 1112837"/>
              <a:gd name="connsiteX2658" fmla="*/ 642765 w 1336827"/>
              <a:gd name="connsiteY2658" fmla="*/ 73790 h 1112837"/>
              <a:gd name="connsiteX2659" fmla="*/ 644760 w 1336827"/>
              <a:gd name="connsiteY2659" fmla="*/ 71796 h 1112837"/>
              <a:gd name="connsiteX2660" fmla="*/ 638776 w 1336827"/>
              <a:gd name="connsiteY2660" fmla="*/ 69802 h 1112837"/>
              <a:gd name="connsiteX2661" fmla="*/ 628804 w 1336827"/>
              <a:gd name="connsiteY2661" fmla="*/ 67807 h 1112837"/>
              <a:gd name="connsiteX2662" fmla="*/ 628804 w 1336827"/>
              <a:gd name="connsiteY2662" fmla="*/ 61824 h 1112837"/>
              <a:gd name="connsiteX2663" fmla="*/ 634788 w 1336827"/>
              <a:gd name="connsiteY2663" fmla="*/ 59830 h 1112837"/>
              <a:gd name="connsiteX2664" fmla="*/ 642765 w 1336827"/>
              <a:gd name="connsiteY2664" fmla="*/ 61824 h 1112837"/>
              <a:gd name="connsiteX2665" fmla="*/ 640771 w 1336827"/>
              <a:gd name="connsiteY2665" fmla="*/ 55841 h 1112837"/>
              <a:gd name="connsiteX2666" fmla="*/ 634788 w 1336827"/>
              <a:gd name="connsiteY2666" fmla="*/ 51853 h 1112837"/>
              <a:gd name="connsiteX2667" fmla="*/ 628804 w 1336827"/>
              <a:gd name="connsiteY2667" fmla="*/ 47864 h 1112837"/>
              <a:gd name="connsiteX2668" fmla="*/ 620827 w 1336827"/>
              <a:gd name="connsiteY2668" fmla="*/ 47864 h 1112837"/>
              <a:gd name="connsiteX2669" fmla="*/ 618832 w 1336827"/>
              <a:gd name="connsiteY2669" fmla="*/ 45870 h 1112837"/>
              <a:gd name="connsiteX2670" fmla="*/ 614843 w 1336827"/>
              <a:gd name="connsiteY2670" fmla="*/ 41881 h 1112837"/>
              <a:gd name="connsiteX2671" fmla="*/ 608860 w 1336827"/>
              <a:gd name="connsiteY2671" fmla="*/ 39887 h 1112837"/>
              <a:gd name="connsiteX2672" fmla="*/ 604871 w 1336827"/>
              <a:gd name="connsiteY2672" fmla="*/ 39887 h 1112837"/>
              <a:gd name="connsiteX2673" fmla="*/ 598888 w 1336827"/>
              <a:gd name="connsiteY2673" fmla="*/ 35898 h 1112837"/>
              <a:gd name="connsiteX2674" fmla="*/ 592905 w 1336827"/>
              <a:gd name="connsiteY2674" fmla="*/ 31909 h 1112837"/>
              <a:gd name="connsiteX2675" fmla="*/ 586921 w 1336827"/>
              <a:gd name="connsiteY2675" fmla="*/ 27921 h 1112837"/>
              <a:gd name="connsiteX2676" fmla="*/ 588916 w 1336827"/>
              <a:gd name="connsiteY2676" fmla="*/ 25926 h 1112837"/>
              <a:gd name="connsiteX2677" fmla="*/ 596893 w 1336827"/>
              <a:gd name="connsiteY2677" fmla="*/ 29915 h 1112837"/>
              <a:gd name="connsiteX2678" fmla="*/ 598888 w 1336827"/>
              <a:gd name="connsiteY2678" fmla="*/ 27921 h 1112837"/>
              <a:gd name="connsiteX2679" fmla="*/ 594899 w 1336827"/>
              <a:gd name="connsiteY2679" fmla="*/ 23932 h 1112837"/>
              <a:gd name="connsiteX2680" fmla="*/ 590910 w 1336827"/>
              <a:gd name="connsiteY2680" fmla="*/ 19943 h 1112837"/>
              <a:gd name="connsiteX2681" fmla="*/ 594899 w 1336827"/>
              <a:gd name="connsiteY2681" fmla="*/ 17949 h 1112837"/>
              <a:gd name="connsiteX2682" fmla="*/ 598888 w 1336827"/>
              <a:gd name="connsiteY2682" fmla="*/ 15955 h 1112837"/>
              <a:gd name="connsiteX2683" fmla="*/ 602877 w 1336827"/>
              <a:gd name="connsiteY2683" fmla="*/ 11966 h 1112837"/>
              <a:gd name="connsiteX2684" fmla="*/ 606866 w 1336827"/>
              <a:gd name="connsiteY2684" fmla="*/ 15955 h 1112837"/>
              <a:gd name="connsiteX2685" fmla="*/ 612849 w 1336827"/>
              <a:gd name="connsiteY2685" fmla="*/ 19943 h 1112837"/>
              <a:gd name="connsiteX2686" fmla="*/ 614843 w 1336827"/>
              <a:gd name="connsiteY2686" fmla="*/ 23932 h 1112837"/>
              <a:gd name="connsiteX2687" fmla="*/ 618832 w 1336827"/>
              <a:gd name="connsiteY2687" fmla="*/ 27921 h 1112837"/>
              <a:gd name="connsiteX2688" fmla="*/ 622821 w 1336827"/>
              <a:gd name="connsiteY2688" fmla="*/ 31909 h 1112837"/>
              <a:gd name="connsiteX2689" fmla="*/ 622821 w 1336827"/>
              <a:gd name="connsiteY2689" fmla="*/ 35898 h 1112837"/>
              <a:gd name="connsiteX2690" fmla="*/ 626810 w 1336827"/>
              <a:gd name="connsiteY2690" fmla="*/ 39887 h 1112837"/>
              <a:gd name="connsiteX2691" fmla="*/ 632793 w 1336827"/>
              <a:gd name="connsiteY2691" fmla="*/ 43875 h 1112837"/>
              <a:gd name="connsiteX2692" fmla="*/ 640771 w 1336827"/>
              <a:gd name="connsiteY2692" fmla="*/ 43875 h 1112837"/>
              <a:gd name="connsiteX2693" fmla="*/ 646754 w 1336827"/>
              <a:gd name="connsiteY2693" fmla="*/ 41881 h 1112837"/>
              <a:gd name="connsiteX2694" fmla="*/ 654732 w 1336827"/>
              <a:gd name="connsiteY2694" fmla="*/ 41881 h 1112837"/>
              <a:gd name="connsiteX2695" fmla="*/ 666698 w 1336827"/>
              <a:gd name="connsiteY2695" fmla="*/ 41881 h 1112837"/>
              <a:gd name="connsiteX2696" fmla="*/ 674676 w 1336827"/>
              <a:gd name="connsiteY2696" fmla="*/ 39887 h 1112837"/>
              <a:gd name="connsiteX2697" fmla="*/ 680659 w 1336827"/>
              <a:gd name="connsiteY2697" fmla="*/ 39887 h 1112837"/>
              <a:gd name="connsiteX2698" fmla="*/ 682654 w 1336827"/>
              <a:gd name="connsiteY2698" fmla="*/ 45870 h 1112837"/>
              <a:gd name="connsiteX2699" fmla="*/ 684648 w 1336827"/>
              <a:gd name="connsiteY2699" fmla="*/ 53847 h 1112837"/>
              <a:gd name="connsiteX2700" fmla="*/ 686643 w 1336827"/>
              <a:gd name="connsiteY2700" fmla="*/ 49858 h 1112837"/>
              <a:gd name="connsiteX2701" fmla="*/ 686643 w 1336827"/>
              <a:gd name="connsiteY2701" fmla="*/ 37892 h 1112837"/>
              <a:gd name="connsiteX2702" fmla="*/ 692626 w 1336827"/>
              <a:gd name="connsiteY2702" fmla="*/ 35898 h 1112837"/>
              <a:gd name="connsiteX2703" fmla="*/ 704593 w 1336827"/>
              <a:gd name="connsiteY2703" fmla="*/ 39887 h 1112837"/>
              <a:gd name="connsiteX2704" fmla="*/ 705347 w 1336827"/>
              <a:gd name="connsiteY2704" fmla="*/ 40286 h 1112837"/>
              <a:gd name="connsiteX2705" fmla="*/ 705796 w 1336827"/>
              <a:gd name="connsiteY2705" fmla="*/ 39687 h 1112837"/>
              <a:gd name="connsiteX2706" fmla="*/ 708177 w 1336827"/>
              <a:gd name="connsiteY2706" fmla="*/ 41274 h 1112837"/>
              <a:gd name="connsiteX2707" fmla="*/ 707751 w 1336827"/>
              <a:gd name="connsiteY2707" fmla="*/ 41559 h 1112837"/>
              <a:gd name="connsiteX2708" fmla="*/ 708831 w 1336827"/>
              <a:gd name="connsiteY2708" fmla="*/ 42130 h 1112837"/>
              <a:gd name="connsiteX2709" fmla="*/ 714565 w 1336827"/>
              <a:gd name="connsiteY2709" fmla="*/ 45870 h 1112837"/>
              <a:gd name="connsiteX2710" fmla="*/ 720548 w 1336827"/>
              <a:gd name="connsiteY2710" fmla="*/ 51853 h 1112837"/>
              <a:gd name="connsiteX2711" fmla="*/ 724537 w 1336827"/>
              <a:gd name="connsiteY2711" fmla="*/ 59830 h 1112837"/>
              <a:gd name="connsiteX2712" fmla="*/ 726531 w 1336827"/>
              <a:gd name="connsiteY2712" fmla="*/ 53847 h 1112837"/>
              <a:gd name="connsiteX2713" fmla="*/ 725742 w 1336827"/>
              <a:gd name="connsiteY2713" fmla="*/ 48522 h 1112837"/>
              <a:gd name="connsiteX2714" fmla="*/ 724449 w 1336827"/>
              <a:gd name="connsiteY2714" fmla="*/ 49212 h 1112837"/>
              <a:gd name="connsiteX2715" fmla="*/ 722465 w 1336827"/>
              <a:gd name="connsiteY2715" fmla="*/ 47095 h 1112837"/>
              <a:gd name="connsiteX2716" fmla="*/ 718496 w 1336827"/>
              <a:gd name="connsiteY2716" fmla="*/ 42862 h 1112837"/>
              <a:gd name="connsiteX2717" fmla="*/ 722465 w 1336827"/>
              <a:gd name="connsiteY2717" fmla="*/ 42862 h 1112837"/>
              <a:gd name="connsiteX2718" fmla="*/ 724979 w 1336827"/>
              <a:gd name="connsiteY2718" fmla="*/ 44203 h 1112837"/>
              <a:gd name="connsiteX2719" fmla="*/ 724537 w 1336827"/>
              <a:gd name="connsiteY2719" fmla="*/ 41881 h 1112837"/>
              <a:gd name="connsiteX2720" fmla="*/ 722689 w 1336827"/>
              <a:gd name="connsiteY2720" fmla="*/ 40957 h 1112837"/>
              <a:gd name="connsiteX2721" fmla="*/ 720480 w 1336827"/>
              <a:gd name="connsiteY2721" fmla="*/ 40957 h 1112837"/>
              <a:gd name="connsiteX2722" fmla="*/ 716511 w 1336827"/>
              <a:gd name="connsiteY2722" fmla="*/ 40957 h 1112837"/>
              <a:gd name="connsiteX2723" fmla="*/ 709105 w 1336827"/>
              <a:gd name="connsiteY2723" fmla="*/ 37402 h 1112837"/>
              <a:gd name="connsiteX2724" fmla="*/ 704593 w 1336827"/>
              <a:gd name="connsiteY2724" fmla="*/ 35898 h 1112837"/>
              <a:gd name="connsiteX2725" fmla="*/ 700604 w 1336827"/>
              <a:gd name="connsiteY2725" fmla="*/ 33904 h 1112837"/>
              <a:gd name="connsiteX2726" fmla="*/ 694620 w 1336827"/>
              <a:gd name="connsiteY2726" fmla="*/ 31909 h 1112837"/>
              <a:gd name="connsiteX2727" fmla="*/ 686643 w 1336827"/>
              <a:gd name="connsiteY2727" fmla="*/ 31909 h 1112837"/>
              <a:gd name="connsiteX2728" fmla="*/ 678665 w 1336827"/>
              <a:gd name="connsiteY2728" fmla="*/ 33904 h 1112837"/>
              <a:gd name="connsiteX2729" fmla="*/ 670687 w 1336827"/>
              <a:gd name="connsiteY2729" fmla="*/ 35898 h 1112837"/>
              <a:gd name="connsiteX2730" fmla="*/ 662710 w 1336827"/>
              <a:gd name="connsiteY2730" fmla="*/ 37892 h 1112837"/>
              <a:gd name="connsiteX2731" fmla="*/ 652737 w 1336827"/>
              <a:gd name="connsiteY2731" fmla="*/ 37892 h 1112837"/>
              <a:gd name="connsiteX2732" fmla="*/ 644760 w 1336827"/>
              <a:gd name="connsiteY2732" fmla="*/ 37892 h 1112837"/>
              <a:gd name="connsiteX2733" fmla="*/ 638776 w 1336827"/>
              <a:gd name="connsiteY2733" fmla="*/ 39887 h 1112837"/>
              <a:gd name="connsiteX2734" fmla="*/ 630799 w 1336827"/>
              <a:gd name="connsiteY2734" fmla="*/ 35898 h 1112837"/>
              <a:gd name="connsiteX2735" fmla="*/ 626810 w 1336827"/>
              <a:gd name="connsiteY2735" fmla="*/ 31909 h 1112837"/>
              <a:gd name="connsiteX2736" fmla="*/ 626810 w 1336827"/>
              <a:gd name="connsiteY2736" fmla="*/ 29915 h 1112837"/>
              <a:gd name="connsiteX2737" fmla="*/ 632793 w 1336827"/>
              <a:gd name="connsiteY2737" fmla="*/ 29915 h 1112837"/>
              <a:gd name="connsiteX2738" fmla="*/ 644760 w 1336827"/>
              <a:gd name="connsiteY2738" fmla="*/ 35898 h 1112837"/>
              <a:gd name="connsiteX2739" fmla="*/ 658721 w 1336827"/>
              <a:gd name="connsiteY2739" fmla="*/ 33904 h 1112837"/>
              <a:gd name="connsiteX2740" fmla="*/ 664704 w 1336827"/>
              <a:gd name="connsiteY2740" fmla="*/ 33904 h 1112837"/>
              <a:gd name="connsiteX2741" fmla="*/ 662710 w 1336827"/>
              <a:gd name="connsiteY2741" fmla="*/ 29915 h 1112837"/>
              <a:gd name="connsiteX2742" fmla="*/ 656726 w 1336827"/>
              <a:gd name="connsiteY2742" fmla="*/ 27921 h 1112837"/>
              <a:gd name="connsiteX2743" fmla="*/ 644760 w 1336827"/>
              <a:gd name="connsiteY2743" fmla="*/ 27921 h 1112837"/>
              <a:gd name="connsiteX2744" fmla="*/ 636782 w 1336827"/>
              <a:gd name="connsiteY2744" fmla="*/ 27921 h 1112837"/>
              <a:gd name="connsiteX2745" fmla="*/ 630799 w 1336827"/>
              <a:gd name="connsiteY2745" fmla="*/ 25926 h 1112837"/>
              <a:gd name="connsiteX2746" fmla="*/ 626810 w 1336827"/>
              <a:gd name="connsiteY2746" fmla="*/ 25926 h 1112837"/>
              <a:gd name="connsiteX2747" fmla="*/ 622821 w 1336827"/>
              <a:gd name="connsiteY2747" fmla="*/ 23932 h 1112837"/>
              <a:gd name="connsiteX2748" fmla="*/ 618832 w 1336827"/>
              <a:gd name="connsiteY2748" fmla="*/ 21938 h 1112837"/>
              <a:gd name="connsiteX2749" fmla="*/ 614843 w 1336827"/>
              <a:gd name="connsiteY2749" fmla="*/ 19943 h 1112837"/>
              <a:gd name="connsiteX2750" fmla="*/ 610854 w 1336827"/>
              <a:gd name="connsiteY2750" fmla="*/ 13960 h 1112837"/>
              <a:gd name="connsiteX2751" fmla="*/ 610854 w 1336827"/>
              <a:gd name="connsiteY2751" fmla="*/ 7977 h 1112837"/>
              <a:gd name="connsiteX2752" fmla="*/ 614843 w 1336827"/>
              <a:gd name="connsiteY2752" fmla="*/ 9972 h 1112837"/>
              <a:gd name="connsiteX2753" fmla="*/ 616838 w 1336827"/>
              <a:gd name="connsiteY2753" fmla="*/ 11966 h 1112837"/>
              <a:gd name="connsiteX2754" fmla="*/ 620827 w 1336827"/>
              <a:gd name="connsiteY2754" fmla="*/ 11966 h 1112837"/>
              <a:gd name="connsiteX2755" fmla="*/ 626810 w 1336827"/>
              <a:gd name="connsiteY2755" fmla="*/ 15955 h 1112837"/>
              <a:gd name="connsiteX2756" fmla="*/ 632793 w 1336827"/>
              <a:gd name="connsiteY2756" fmla="*/ 11966 h 1112837"/>
              <a:gd name="connsiteX2757" fmla="*/ 642765 w 1336827"/>
              <a:gd name="connsiteY2757" fmla="*/ 13960 h 1112837"/>
              <a:gd name="connsiteX2758" fmla="*/ 648749 w 1336827"/>
              <a:gd name="connsiteY2758" fmla="*/ 15955 h 1112837"/>
              <a:gd name="connsiteX2759" fmla="*/ 654732 w 1336827"/>
              <a:gd name="connsiteY2759" fmla="*/ 17949 h 1112837"/>
              <a:gd name="connsiteX2760" fmla="*/ 662710 w 1336827"/>
              <a:gd name="connsiteY2760" fmla="*/ 19943 h 1112837"/>
              <a:gd name="connsiteX2761" fmla="*/ 664704 w 1336827"/>
              <a:gd name="connsiteY2761" fmla="*/ 19943 h 1112837"/>
              <a:gd name="connsiteX2762" fmla="*/ 660715 w 1336827"/>
              <a:gd name="connsiteY2762" fmla="*/ 15955 h 1112837"/>
              <a:gd name="connsiteX2763" fmla="*/ 656726 w 1336827"/>
              <a:gd name="connsiteY2763" fmla="*/ 13960 h 1112837"/>
              <a:gd name="connsiteX2764" fmla="*/ 660715 w 1336827"/>
              <a:gd name="connsiteY2764" fmla="*/ 9972 h 1112837"/>
              <a:gd name="connsiteX2765" fmla="*/ 666698 w 1336827"/>
              <a:gd name="connsiteY2765" fmla="*/ 7977 h 1112837"/>
              <a:gd name="connsiteX2766" fmla="*/ 672682 w 1336827"/>
              <a:gd name="connsiteY2766" fmla="*/ 7977 h 1112837"/>
              <a:gd name="connsiteX2767" fmla="*/ 676671 w 1336827"/>
              <a:gd name="connsiteY2767" fmla="*/ 9972 h 1112837"/>
              <a:gd name="connsiteX2768" fmla="*/ 682654 w 1336827"/>
              <a:gd name="connsiteY2768" fmla="*/ 7977 h 1112837"/>
              <a:gd name="connsiteX2769" fmla="*/ 686643 w 1336827"/>
              <a:gd name="connsiteY2769" fmla="*/ 11966 h 1112837"/>
              <a:gd name="connsiteX2770" fmla="*/ 688637 w 1336827"/>
              <a:gd name="connsiteY2770" fmla="*/ 15955 h 1112837"/>
              <a:gd name="connsiteX2771" fmla="*/ 698609 w 1336827"/>
              <a:gd name="connsiteY2771" fmla="*/ 15955 h 1112837"/>
              <a:gd name="connsiteX2772" fmla="*/ 708581 w 1336827"/>
              <a:gd name="connsiteY2772" fmla="*/ 17949 h 1112837"/>
              <a:gd name="connsiteX2773" fmla="*/ 716559 w 1336827"/>
              <a:gd name="connsiteY2773" fmla="*/ 23932 h 1112837"/>
              <a:gd name="connsiteX2774" fmla="*/ 726531 w 1336827"/>
              <a:gd name="connsiteY2774" fmla="*/ 27921 h 1112837"/>
              <a:gd name="connsiteX2775" fmla="*/ 727680 w 1336827"/>
              <a:gd name="connsiteY2775" fmla="*/ 27633 h 1112837"/>
              <a:gd name="connsiteX2776" fmla="*/ 727680 w 1336827"/>
              <a:gd name="connsiteY2776" fmla="*/ 27517 h 1112837"/>
              <a:gd name="connsiteX2777" fmla="*/ 728147 w 1336827"/>
              <a:gd name="connsiteY2777" fmla="*/ 27517 h 1112837"/>
              <a:gd name="connsiteX2778" fmla="*/ 734509 w 1336827"/>
              <a:gd name="connsiteY2778" fmla="*/ 25926 h 1112837"/>
              <a:gd name="connsiteX2779" fmla="*/ 740492 w 1336827"/>
              <a:gd name="connsiteY2779" fmla="*/ 25926 h 1112837"/>
              <a:gd name="connsiteX2780" fmla="*/ 744481 w 1336827"/>
              <a:gd name="connsiteY2780" fmla="*/ 31909 h 1112837"/>
              <a:gd name="connsiteX2781" fmla="*/ 752459 w 1336827"/>
              <a:gd name="connsiteY2781" fmla="*/ 35898 h 1112837"/>
              <a:gd name="connsiteX2782" fmla="*/ 752459 w 1336827"/>
              <a:gd name="connsiteY2782" fmla="*/ 29915 h 1112837"/>
              <a:gd name="connsiteX2783" fmla="*/ 746476 w 1336827"/>
              <a:gd name="connsiteY2783" fmla="*/ 27921 h 1112837"/>
              <a:gd name="connsiteX2784" fmla="*/ 746476 w 1336827"/>
              <a:gd name="connsiteY2784" fmla="*/ 21938 h 1112837"/>
              <a:gd name="connsiteX2785" fmla="*/ 754453 w 1336827"/>
              <a:gd name="connsiteY2785" fmla="*/ 23932 h 1112837"/>
              <a:gd name="connsiteX2786" fmla="*/ 762431 w 1336827"/>
              <a:gd name="connsiteY2786" fmla="*/ 23932 h 1112837"/>
              <a:gd name="connsiteX2787" fmla="*/ 770409 w 1336827"/>
              <a:gd name="connsiteY2787" fmla="*/ 23932 h 1112837"/>
              <a:gd name="connsiteX2788" fmla="*/ 770409 w 1336827"/>
              <a:gd name="connsiteY2788" fmla="*/ 21938 h 1112837"/>
              <a:gd name="connsiteX2789" fmla="*/ 762431 w 1336827"/>
              <a:gd name="connsiteY2789" fmla="*/ 17949 h 1112837"/>
              <a:gd name="connsiteX2790" fmla="*/ 762431 w 1336827"/>
              <a:gd name="connsiteY2790" fmla="*/ 15955 h 1112837"/>
              <a:gd name="connsiteX2791" fmla="*/ 770409 w 1336827"/>
              <a:gd name="connsiteY2791" fmla="*/ 17949 h 1112837"/>
              <a:gd name="connsiteX2792" fmla="*/ 776392 w 1336827"/>
              <a:gd name="connsiteY2792" fmla="*/ 17949 h 1112837"/>
              <a:gd name="connsiteX2793" fmla="*/ 776392 w 1336827"/>
              <a:gd name="connsiteY2793" fmla="*/ 13960 h 1112837"/>
              <a:gd name="connsiteX2794" fmla="*/ 768414 w 1336827"/>
              <a:gd name="connsiteY2794" fmla="*/ 13960 h 1112837"/>
              <a:gd name="connsiteX2795" fmla="*/ 758442 w 1336827"/>
              <a:gd name="connsiteY2795" fmla="*/ 13960 h 1112837"/>
              <a:gd name="connsiteX2796" fmla="*/ 754453 w 1336827"/>
              <a:gd name="connsiteY2796" fmla="*/ 9972 h 1112837"/>
              <a:gd name="connsiteX2797" fmla="*/ 752459 w 1336827"/>
              <a:gd name="connsiteY2797" fmla="*/ 3989 h 1112837"/>
              <a:gd name="connsiteX2798" fmla="*/ 754453 w 1336827"/>
              <a:gd name="connsiteY2798" fmla="*/ 1994 h 1112837"/>
              <a:gd name="connsiteX2799" fmla="*/ 762431 w 1336827"/>
              <a:gd name="connsiteY2799" fmla="*/ 7977 h 1112837"/>
              <a:gd name="connsiteX2800" fmla="*/ 770409 w 1336827"/>
              <a:gd name="connsiteY2800" fmla="*/ 7977 h 1112837"/>
              <a:gd name="connsiteX2801" fmla="*/ 770409 w 1336827"/>
              <a:gd name="connsiteY2801" fmla="*/ 5983 h 1112837"/>
              <a:gd name="connsiteX2802" fmla="*/ 768414 w 1336827"/>
              <a:gd name="connsiteY2802"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Lst>
            <a:rect l="l" t="t" r="r" b="b"/>
            <a:pathLst>
              <a:path w="1336827" h="1112837">
                <a:moveTo>
                  <a:pt x="526672" y="1102360"/>
                </a:moveTo>
                <a:cubicBezTo>
                  <a:pt x="528789" y="1102360"/>
                  <a:pt x="526672" y="1106804"/>
                  <a:pt x="526672" y="1106804"/>
                </a:cubicBezTo>
                <a:cubicBezTo>
                  <a:pt x="526672" y="1106804"/>
                  <a:pt x="524556" y="1109027"/>
                  <a:pt x="522439" y="1109027"/>
                </a:cubicBezTo>
                <a:cubicBezTo>
                  <a:pt x="520322" y="1111249"/>
                  <a:pt x="518206" y="1111249"/>
                  <a:pt x="518206" y="1109027"/>
                </a:cubicBezTo>
                <a:cubicBezTo>
                  <a:pt x="516089" y="1106804"/>
                  <a:pt x="518206" y="1104582"/>
                  <a:pt x="520322" y="1104582"/>
                </a:cubicBezTo>
                <a:cubicBezTo>
                  <a:pt x="520322" y="1102360"/>
                  <a:pt x="524556" y="1100137"/>
                  <a:pt x="526672" y="1102360"/>
                </a:cubicBezTo>
                <a:close/>
                <a:moveTo>
                  <a:pt x="520217" y="1096962"/>
                </a:moveTo>
                <a:cubicBezTo>
                  <a:pt x="520217" y="1096962"/>
                  <a:pt x="524027" y="1096962"/>
                  <a:pt x="522122" y="1098946"/>
                </a:cubicBezTo>
                <a:cubicBezTo>
                  <a:pt x="522122" y="1100931"/>
                  <a:pt x="518312" y="1102915"/>
                  <a:pt x="518312" y="1102915"/>
                </a:cubicBezTo>
                <a:cubicBezTo>
                  <a:pt x="518312" y="1102915"/>
                  <a:pt x="514502" y="1104899"/>
                  <a:pt x="514502" y="1102915"/>
                </a:cubicBezTo>
                <a:cubicBezTo>
                  <a:pt x="514502" y="1100931"/>
                  <a:pt x="518312" y="1096962"/>
                  <a:pt x="520217" y="1096962"/>
                </a:cubicBezTo>
                <a:close/>
                <a:moveTo>
                  <a:pt x="528260" y="1086908"/>
                </a:moveTo>
                <a:cubicBezTo>
                  <a:pt x="530377" y="1089025"/>
                  <a:pt x="528260" y="1093258"/>
                  <a:pt x="526144" y="1093258"/>
                </a:cubicBezTo>
                <a:cubicBezTo>
                  <a:pt x="517677" y="1095375"/>
                  <a:pt x="521910" y="1082675"/>
                  <a:pt x="528260" y="1086908"/>
                </a:cubicBezTo>
                <a:close/>
                <a:moveTo>
                  <a:pt x="452688" y="1078012"/>
                </a:moveTo>
                <a:cubicBezTo>
                  <a:pt x="454673" y="1076391"/>
                  <a:pt x="458145" y="1075928"/>
                  <a:pt x="460130" y="1078706"/>
                </a:cubicBezTo>
                <a:cubicBezTo>
                  <a:pt x="462114" y="1082410"/>
                  <a:pt x="456161" y="1084262"/>
                  <a:pt x="454177" y="1084262"/>
                </a:cubicBezTo>
                <a:cubicBezTo>
                  <a:pt x="450208" y="1082410"/>
                  <a:pt x="450704" y="1079632"/>
                  <a:pt x="452688" y="1078012"/>
                </a:cubicBezTo>
                <a:close/>
                <a:moveTo>
                  <a:pt x="462114" y="1075267"/>
                </a:moveTo>
                <a:cubicBezTo>
                  <a:pt x="464337" y="1073150"/>
                  <a:pt x="468782" y="1073150"/>
                  <a:pt x="468782" y="1075267"/>
                </a:cubicBezTo>
                <a:cubicBezTo>
                  <a:pt x="473227" y="1079500"/>
                  <a:pt x="462114" y="1079500"/>
                  <a:pt x="462114" y="1075267"/>
                </a:cubicBezTo>
                <a:close/>
                <a:moveTo>
                  <a:pt x="452272" y="1049337"/>
                </a:moveTo>
                <a:cubicBezTo>
                  <a:pt x="452272" y="1049337"/>
                  <a:pt x="454177" y="1053041"/>
                  <a:pt x="454177" y="1053041"/>
                </a:cubicBezTo>
                <a:cubicBezTo>
                  <a:pt x="454177" y="1054893"/>
                  <a:pt x="454177" y="1054893"/>
                  <a:pt x="454177" y="1056745"/>
                </a:cubicBezTo>
                <a:cubicBezTo>
                  <a:pt x="454177" y="1056745"/>
                  <a:pt x="452272" y="1056745"/>
                  <a:pt x="450367" y="1058597"/>
                </a:cubicBezTo>
                <a:cubicBezTo>
                  <a:pt x="450367" y="1058597"/>
                  <a:pt x="448462" y="1058597"/>
                  <a:pt x="448462" y="1058597"/>
                </a:cubicBezTo>
                <a:cubicBezTo>
                  <a:pt x="448462" y="1058597"/>
                  <a:pt x="446557" y="1060449"/>
                  <a:pt x="444652" y="1058597"/>
                </a:cubicBezTo>
                <a:cubicBezTo>
                  <a:pt x="444652" y="1058597"/>
                  <a:pt x="444652" y="1056745"/>
                  <a:pt x="444652" y="1054893"/>
                </a:cubicBezTo>
                <a:cubicBezTo>
                  <a:pt x="444652" y="1054893"/>
                  <a:pt x="444652" y="1053041"/>
                  <a:pt x="446557" y="1053041"/>
                </a:cubicBezTo>
                <a:cubicBezTo>
                  <a:pt x="446557" y="1053041"/>
                  <a:pt x="448462" y="1053041"/>
                  <a:pt x="450367" y="1051189"/>
                </a:cubicBezTo>
                <a:cubicBezTo>
                  <a:pt x="450367" y="1051189"/>
                  <a:pt x="452272" y="1049337"/>
                  <a:pt x="452272" y="1049337"/>
                </a:cubicBezTo>
                <a:close/>
                <a:moveTo>
                  <a:pt x="436185" y="1044575"/>
                </a:moveTo>
                <a:cubicBezTo>
                  <a:pt x="436185" y="1044575"/>
                  <a:pt x="440419" y="1046616"/>
                  <a:pt x="440419" y="1048657"/>
                </a:cubicBezTo>
                <a:cubicBezTo>
                  <a:pt x="440419" y="1048657"/>
                  <a:pt x="444652" y="1050698"/>
                  <a:pt x="444652" y="1050698"/>
                </a:cubicBezTo>
                <a:cubicBezTo>
                  <a:pt x="444652" y="1052739"/>
                  <a:pt x="444652" y="1052739"/>
                  <a:pt x="444652" y="1054780"/>
                </a:cubicBezTo>
                <a:cubicBezTo>
                  <a:pt x="444652" y="1054780"/>
                  <a:pt x="442535" y="1056821"/>
                  <a:pt x="442535" y="1056821"/>
                </a:cubicBezTo>
                <a:cubicBezTo>
                  <a:pt x="442535" y="1056821"/>
                  <a:pt x="438302" y="1058862"/>
                  <a:pt x="438302" y="1056821"/>
                </a:cubicBezTo>
                <a:cubicBezTo>
                  <a:pt x="438302" y="1054780"/>
                  <a:pt x="438302" y="1052739"/>
                  <a:pt x="436185" y="1052739"/>
                </a:cubicBezTo>
                <a:cubicBezTo>
                  <a:pt x="436185" y="1050698"/>
                  <a:pt x="434069" y="1048657"/>
                  <a:pt x="434069" y="1046616"/>
                </a:cubicBezTo>
                <a:cubicBezTo>
                  <a:pt x="431952" y="1044575"/>
                  <a:pt x="431952" y="1044575"/>
                  <a:pt x="436185" y="1044575"/>
                </a:cubicBezTo>
                <a:close/>
                <a:moveTo>
                  <a:pt x="426237" y="1036637"/>
                </a:moveTo>
                <a:cubicBezTo>
                  <a:pt x="426237" y="1036637"/>
                  <a:pt x="426237" y="1036637"/>
                  <a:pt x="428459" y="1036637"/>
                </a:cubicBezTo>
                <a:cubicBezTo>
                  <a:pt x="428459" y="1036637"/>
                  <a:pt x="432905" y="1036637"/>
                  <a:pt x="432905" y="1036637"/>
                </a:cubicBezTo>
                <a:cubicBezTo>
                  <a:pt x="432905" y="1036637"/>
                  <a:pt x="435127" y="1036637"/>
                  <a:pt x="435127" y="1036637"/>
                </a:cubicBezTo>
                <a:cubicBezTo>
                  <a:pt x="435127" y="1036637"/>
                  <a:pt x="435127" y="1039018"/>
                  <a:pt x="432905" y="1041399"/>
                </a:cubicBezTo>
                <a:cubicBezTo>
                  <a:pt x="432905" y="1041399"/>
                  <a:pt x="428459" y="1041399"/>
                  <a:pt x="428459" y="1041399"/>
                </a:cubicBezTo>
                <a:cubicBezTo>
                  <a:pt x="426237" y="1041399"/>
                  <a:pt x="424014" y="1039018"/>
                  <a:pt x="426237" y="1036637"/>
                </a:cubicBezTo>
                <a:close/>
                <a:moveTo>
                  <a:pt x="409021" y="771525"/>
                </a:moveTo>
                <a:cubicBezTo>
                  <a:pt x="410962" y="771525"/>
                  <a:pt x="412902" y="775494"/>
                  <a:pt x="412902" y="775494"/>
                </a:cubicBezTo>
                <a:cubicBezTo>
                  <a:pt x="410962" y="777478"/>
                  <a:pt x="412902" y="779462"/>
                  <a:pt x="410962" y="779462"/>
                </a:cubicBezTo>
                <a:cubicBezTo>
                  <a:pt x="410962" y="777478"/>
                  <a:pt x="409021" y="777478"/>
                  <a:pt x="407081" y="777478"/>
                </a:cubicBezTo>
                <a:cubicBezTo>
                  <a:pt x="407081" y="777478"/>
                  <a:pt x="405141" y="777478"/>
                  <a:pt x="403200" y="779462"/>
                </a:cubicBezTo>
                <a:cubicBezTo>
                  <a:pt x="403200" y="779462"/>
                  <a:pt x="401260" y="779462"/>
                  <a:pt x="399320" y="779462"/>
                </a:cubicBezTo>
                <a:cubicBezTo>
                  <a:pt x="399320" y="779462"/>
                  <a:pt x="399320" y="779462"/>
                  <a:pt x="397379" y="777478"/>
                </a:cubicBezTo>
                <a:cubicBezTo>
                  <a:pt x="395439" y="777478"/>
                  <a:pt x="395439" y="775494"/>
                  <a:pt x="395439" y="775494"/>
                </a:cubicBezTo>
                <a:cubicBezTo>
                  <a:pt x="395439" y="773509"/>
                  <a:pt x="399320" y="773509"/>
                  <a:pt x="399320" y="773509"/>
                </a:cubicBezTo>
                <a:cubicBezTo>
                  <a:pt x="403200" y="773509"/>
                  <a:pt x="403200" y="773509"/>
                  <a:pt x="405141" y="773509"/>
                </a:cubicBezTo>
                <a:cubicBezTo>
                  <a:pt x="407081" y="773509"/>
                  <a:pt x="409021" y="771525"/>
                  <a:pt x="409021" y="771525"/>
                </a:cubicBezTo>
                <a:close/>
                <a:moveTo>
                  <a:pt x="369510" y="752475"/>
                </a:moveTo>
                <a:cubicBezTo>
                  <a:pt x="371627" y="752475"/>
                  <a:pt x="371627" y="754063"/>
                  <a:pt x="369510" y="754063"/>
                </a:cubicBezTo>
                <a:cubicBezTo>
                  <a:pt x="369510" y="754063"/>
                  <a:pt x="369510" y="755650"/>
                  <a:pt x="367394" y="755650"/>
                </a:cubicBezTo>
                <a:cubicBezTo>
                  <a:pt x="365277" y="755650"/>
                  <a:pt x="365277" y="754063"/>
                  <a:pt x="365277" y="754063"/>
                </a:cubicBezTo>
                <a:cubicBezTo>
                  <a:pt x="365277" y="752475"/>
                  <a:pt x="365277" y="752475"/>
                  <a:pt x="369510" y="752475"/>
                </a:cubicBezTo>
                <a:close/>
                <a:moveTo>
                  <a:pt x="378175" y="746025"/>
                </a:moveTo>
                <a:cubicBezTo>
                  <a:pt x="379664" y="745529"/>
                  <a:pt x="381152" y="745529"/>
                  <a:pt x="381152" y="746521"/>
                </a:cubicBezTo>
                <a:cubicBezTo>
                  <a:pt x="381152" y="752474"/>
                  <a:pt x="373214" y="750490"/>
                  <a:pt x="375199" y="748506"/>
                </a:cubicBezTo>
                <a:cubicBezTo>
                  <a:pt x="375199" y="747513"/>
                  <a:pt x="376687" y="746521"/>
                  <a:pt x="378175" y="746025"/>
                </a:cubicBezTo>
                <a:close/>
                <a:moveTo>
                  <a:pt x="400786" y="741362"/>
                </a:moveTo>
                <a:cubicBezTo>
                  <a:pt x="400786" y="741362"/>
                  <a:pt x="404797" y="743346"/>
                  <a:pt x="404797" y="743346"/>
                </a:cubicBezTo>
                <a:cubicBezTo>
                  <a:pt x="404797" y="743346"/>
                  <a:pt x="406802" y="743346"/>
                  <a:pt x="408808" y="743346"/>
                </a:cubicBezTo>
                <a:cubicBezTo>
                  <a:pt x="410813" y="743346"/>
                  <a:pt x="410813" y="743346"/>
                  <a:pt x="414823" y="743346"/>
                </a:cubicBezTo>
                <a:cubicBezTo>
                  <a:pt x="416829" y="745331"/>
                  <a:pt x="420839" y="743346"/>
                  <a:pt x="418834" y="745331"/>
                </a:cubicBezTo>
                <a:cubicBezTo>
                  <a:pt x="418834" y="745331"/>
                  <a:pt x="414823" y="745331"/>
                  <a:pt x="412818" y="747315"/>
                </a:cubicBezTo>
                <a:cubicBezTo>
                  <a:pt x="412818" y="747315"/>
                  <a:pt x="416829" y="749300"/>
                  <a:pt x="416829" y="751284"/>
                </a:cubicBezTo>
                <a:cubicBezTo>
                  <a:pt x="416829" y="753268"/>
                  <a:pt x="414823" y="753268"/>
                  <a:pt x="410813" y="753268"/>
                </a:cubicBezTo>
                <a:cubicBezTo>
                  <a:pt x="410813" y="753268"/>
                  <a:pt x="406802" y="753268"/>
                  <a:pt x="406802" y="753268"/>
                </a:cubicBezTo>
                <a:cubicBezTo>
                  <a:pt x="404797" y="755253"/>
                  <a:pt x="402792" y="757237"/>
                  <a:pt x="400786" y="755253"/>
                </a:cubicBezTo>
                <a:cubicBezTo>
                  <a:pt x="398781" y="755253"/>
                  <a:pt x="396776" y="755253"/>
                  <a:pt x="394771" y="755253"/>
                </a:cubicBezTo>
                <a:cubicBezTo>
                  <a:pt x="394771" y="755253"/>
                  <a:pt x="390760" y="755253"/>
                  <a:pt x="388755" y="753268"/>
                </a:cubicBezTo>
                <a:cubicBezTo>
                  <a:pt x="388755" y="753268"/>
                  <a:pt x="386750" y="753268"/>
                  <a:pt x="386750" y="753268"/>
                </a:cubicBezTo>
                <a:cubicBezTo>
                  <a:pt x="384744" y="753268"/>
                  <a:pt x="382739" y="753268"/>
                  <a:pt x="382739" y="751284"/>
                </a:cubicBezTo>
                <a:cubicBezTo>
                  <a:pt x="382739" y="751284"/>
                  <a:pt x="386750" y="749300"/>
                  <a:pt x="386750" y="749300"/>
                </a:cubicBezTo>
                <a:cubicBezTo>
                  <a:pt x="386750" y="749300"/>
                  <a:pt x="388755" y="749300"/>
                  <a:pt x="388755" y="745331"/>
                </a:cubicBezTo>
                <a:cubicBezTo>
                  <a:pt x="388755" y="745331"/>
                  <a:pt x="386750" y="743346"/>
                  <a:pt x="388755" y="743346"/>
                </a:cubicBezTo>
                <a:cubicBezTo>
                  <a:pt x="390760" y="741362"/>
                  <a:pt x="392765" y="743346"/>
                  <a:pt x="394771" y="743346"/>
                </a:cubicBezTo>
                <a:cubicBezTo>
                  <a:pt x="396776" y="743346"/>
                  <a:pt x="398781" y="743346"/>
                  <a:pt x="400786" y="741362"/>
                </a:cubicBezTo>
                <a:close/>
                <a:moveTo>
                  <a:pt x="383269" y="741362"/>
                </a:moveTo>
                <a:cubicBezTo>
                  <a:pt x="385385" y="741362"/>
                  <a:pt x="387502" y="741362"/>
                  <a:pt x="387502" y="741362"/>
                </a:cubicBezTo>
                <a:cubicBezTo>
                  <a:pt x="387502" y="743743"/>
                  <a:pt x="381152" y="746124"/>
                  <a:pt x="381152" y="743743"/>
                </a:cubicBezTo>
                <a:cubicBezTo>
                  <a:pt x="381152" y="741362"/>
                  <a:pt x="381152" y="741362"/>
                  <a:pt x="383269" y="741362"/>
                </a:cubicBezTo>
                <a:close/>
                <a:moveTo>
                  <a:pt x="394487" y="736600"/>
                </a:moveTo>
                <a:cubicBezTo>
                  <a:pt x="396709" y="736600"/>
                  <a:pt x="396709" y="736600"/>
                  <a:pt x="398932" y="736600"/>
                </a:cubicBezTo>
                <a:cubicBezTo>
                  <a:pt x="403377" y="738188"/>
                  <a:pt x="403377" y="738188"/>
                  <a:pt x="401155" y="738188"/>
                </a:cubicBezTo>
                <a:cubicBezTo>
                  <a:pt x="401155" y="739775"/>
                  <a:pt x="394487" y="739775"/>
                  <a:pt x="394487" y="739775"/>
                </a:cubicBezTo>
                <a:cubicBezTo>
                  <a:pt x="394487" y="738188"/>
                  <a:pt x="392264" y="738188"/>
                  <a:pt x="394487" y="736600"/>
                </a:cubicBezTo>
                <a:close/>
                <a:moveTo>
                  <a:pt x="383057" y="731837"/>
                </a:moveTo>
                <a:cubicBezTo>
                  <a:pt x="385121" y="731837"/>
                  <a:pt x="387185" y="731837"/>
                  <a:pt x="389249" y="731837"/>
                </a:cubicBezTo>
                <a:cubicBezTo>
                  <a:pt x="391313" y="731837"/>
                  <a:pt x="391313" y="731837"/>
                  <a:pt x="393376" y="733742"/>
                </a:cubicBezTo>
                <a:cubicBezTo>
                  <a:pt x="395440" y="733742"/>
                  <a:pt x="393376" y="733742"/>
                  <a:pt x="391313" y="733742"/>
                </a:cubicBezTo>
                <a:cubicBezTo>
                  <a:pt x="391313" y="735647"/>
                  <a:pt x="389249" y="735647"/>
                  <a:pt x="387185" y="735647"/>
                </a:cubicBezTo>
                <a:cubicBezTo>
                  <a:pt x="385121" y="735647"/>
                  <a:pt x="383057" y="737552"/>
                  <a:pt x="383057" y="737552"/>
                </a:cubicBezTo>
                <a:cubicBezTo>
                  <a:pt x="383057" y="737552"/>
                  <a:pt x="380994" y="739457"/>
                  <a:pt x="378930" y="739457"/>
                </a:cubicBezTo>
                <a:cubicBezTo>
                  <a:pt x="376866" y="741362"/>
                  <a:pt x="374802" y="739457"/>
                  <a:pt x="374802" y="739457"/>
                </a:cubicBezTo>
                <a:cubicBezTo>
                  <a:pt x="374802" y="737552"/>
                  <a:pt x="376866" y="735647"/>
                  <a:pt x="376866" y="735647"/>
                </a:cubicBezTo>
                <a:cubicBezTo>
                  <a:pt x="376866" y="733742"/>
                  <a:pt x="383057" y="731837"/>
                  <a:pt x="383057" y="731837"/>
                </a:cubicBezTo>
                <a:close/>
                <a:moveTo>
                  <a:pt x="424014" y="677862"/>
                </a:moveTo>
                <a:cubicBezTo>
                  <a:pt x="426131" y="677862"/>
                  <a:pt x="428247" y="679846"/>
                  <a:pt x="430364" y="679846"/>
                </a:cubicBezTo>
                <a:cubicBezTo>
                  <a:pt x="432481" y="679846"/>
                  <a:pt x="434597" y="679846"/>
                  <a:pt x="434597" y="681831"/>
                </a:cubicBezTo>
                <a:cubicBezTo>
                  <a:pt x="436714" y="681831"/>
                  <a:pt x="432481" y="683815"/>
                  <a:pt x="432481" y="685800"/>
                </a:cubicBezTo>
                <a:cubicBezTo>
                  <a:pt x="432481" y="689768"/>
                  <a:pt x="434597" y="689768"/>
                  <a:pt x="430364" y="691753"/>
                </a:cubicBezTo>
                <a:cubicBezTo>
                  <a:pt x="424014" y="693737"/>
                  <a:pt x="426131" y="691753"/>
                  <a:pt x="424014" y="683815"/>
                </a:cubicBezTo>
                <a:cubicBezTo>
                  <a:pt x="424014" y="679846"/>
                  <a:pt x="424014" y="677862"/>
                  <a:pt x="424014" y="677862"/>
                </a:cubicBezTo>
                <a:close/>
                <a:moveTo>
                  <a:pt x="349447" y="657636"/>
                </a:moveTo>
                <a:cubicBezTo>
                  <a:pt x="351443" y="657636"/>
                  <a:pt x="353438" y="655637"/>
                  <a:pt x="353438" y="657636"/>
                </a:cubicBezTo>
                <a:cubicBezTo>
                  <a:pt x="355434" y="657636"/>
                  <a:pt x="357430" y="661634"/>
                  <a:pt x="361421" y="659635"/>
                </a:cubicBezTo>
                <a:cubicBezTo>
                  <a:pt x="361421" y="659635"/>
                  <a:pt x="361421" y="659635"/>
                  <a:pt x="365413" y="659635"/>
                </a:cubicBezTo>
                <a:cubicBezTo>
                  <a:pt x="365413" y="659635"/>
                  <a:pt x="367408" y="661634"/>
                  <a:pt x="369404" y="661634"/>
                </a:cubicBezTo>
                <a:cubicBezTo>
                  <a:pt x="369404" y="661634"/>
                  <a:pt x="373396" y="661634"/>
                  <a:pt x="375391" y="661634"/>
                </a:cubicBezTo>
                <a:cubicBezTo>
                  <a:pt x="379383" y="661634"/>
                  <a:pt x="383374" y="665632"/>
                  <a:pt x="383374" y="667632"/>
                </a:cubicBezTo>
                <a:cubicBezTo>
                  <a:pt x="385370" y="669631"/>
                  <a:pt x="387366" y="671630"/>
                  <a:pt x="391357" y="671630"/>
                </a:cubicBezTo>
                <a:cubicBezTo>
                  <a:pt x="393353" y="673629"/>
                  <a:pt x="403331" y="677627"/>
                  <a:pt x="405327" y="679626"/>
                </a:cubicBezTo>
                <a:cubicBezTo>
                  <a:pt x="407323" y="681625"/>
                  <a:pt x="409318" y="683624"/>
                  <a:pt x="409318" y="685623"/>
                </a:cubicBezTo>
                <a:cubicBezTo>
                  <a:pt x="409318" y="685623"/>
                  <a:pt x="411314" y="689621"/>
                  <a:pt x="411314" y="691620"/>
                </a:cubicBezTo>
                <a:cubicBezTo>
                  <a:pt x="411314" y="693619"/>
                  <a:pt x="409318" y="695619"/>
                  <a:pt x="407323" y="697618"/>
                </a:cubicBezTo>
                <a:cubicBezTo>
                  <a:pt x="403331" y="699617"/>
                  <a:pt x="399340" y="699617"/>
                  <a:pt x="399340" y="699617"/>
                </a:cubicBezTo>
                <a:cubicBezTo>
                  <a:pt x="395348" y="699617"/>
                  <a:pt x="391357" y="701616"/>
                  <a:pt x="389361" y="701616"/>
                </a:cubicBezTo>
                <a:cubicBezTo>
                  <a:pt x="387366" y="703615"/>
                  <a:pt x="387366" y="703615"/>
                  <a:pt x="385370" y="705614"/>
                </a:cubicBezTo>
                <a:cubicBezTo>
                  <a:pt x="385370" y="707613"/>
                  <a:pt x="381378" y="707613"/>
                  <a:pt x="377387" y="707613"/>
                </a:cubicBezTo>
                <a:cubicBezTo>
                  <a:pt x="377387" y="707613"/>
                  <a:pt x="373396" y="707613"/>
                  <a:pt x="373396" y="709612"/>
                </a:cubicBezTo>
                <a:cubicBezTo>
                  <a:pt x="371400" y="709612"/>
                  <a:pt x="367408" y="709612"/>
                  <a:pt x="367408" y="709612"/>
                </a:cubicBezTo>
                <a:cubicBezTo>
                  <a:pt x="365413" y="707613"/>
                  <a:pt x="363417" y="705614"/>
                  <a:pt x="361421" y="705614"/>
                </a:cubicBezTo>
                <a:cubicBezTo>
                  <a:pt x="361421" y="705614"/>
                  <a:pt x="357430" y="703615"/>
                  <a:pt x="355434" y="703615"/>
                </a:cubicBezTo>
                <a:cubicBezTo>
                  <a:pt x="353438" y="701616"/>
                  <a:pt x="355434" y="699617"/>
                  <a:pt x="357430" y="699617"/>
                </a:cubicBezTo>
                <a:cubicBezTo>
                  <a:pt x="357430" y="699617"/>
                  <a:pt x="361421" y="699617"/>
                  <a:pt x="365413" y="699617"/>
                </a:cubicBezTo>
                <a:cubicBezTo>
                  <a:pt x="365413" y="699617"/>
                  <a:pt x="369404" y="699617"/>
                  <a:pt x="373396" y="699617"/>
                </a:cubicBezTo>
                <a:cubicBezTo>
                  <a:pt x="375391" y="699617"/>
                  <a:pt x="379383" y="697618"/>
                  <a:pt x="379383" y="697618"/>
                </a:cubicBezTo>
                <a:cubicBezTo>
                  <a:pt x="379383" y="697618"/>
                  <a:pt x="383374" y="697618"/>
                  <a:pt x="385370" y="695619"/>
                </a:cubicBezTo>
                <a:cubicBezTo>
                  <a:pt x="387366" y="695619"/>
                  <a:pt x="387366" y="691620"/>
                  <a:pt x="389361" y="689621"/>
                </a:cubicBezTo>
                <a:cubicBezTo>
                  <a:pt x="389361" y="689621"/>
                  <a:pt x="391357" y="685623"/>
                  <a:pt x="391357" y="683624"/>
                </a:cubicBezTo>
                <a:cubicBezTo>
                  <a:pt x="389361" y="681625"/>
                  <a:pt x="385370" y="679626"/>
                  <a:pt x="383374" y="677627"/>
                </a:cubicBezTo>
                <a:cubicBezTo>
                  <a:pt x="383374" y="677627"/>
                  <a:pt x="377387" y="675628"/>
                  <a:pt x="375391" y="675628"/>
                </a:cubicBezTo>
                <a:cubicBezTo>
                  <a:pt x="373396" y="675628"/>
                  <a:pt x="371400" y="675628"/>
                  <a:pt x="369404" y="677627"/>
                </a:cubicBezTo>
                <a:cubicBezTo>
                  <a:pt x="365413" y="677627"/>
                  <a:pt x="363417" y="679626"/>
                  <a:pt x="361421" y="681625"/>
                </a:cubicBezTo>
                <a:cubicBezTo>
                  <a:pt x="359426" y="683624"/>
                  <a:pt x="357430" y="685623"/>
                  <a:pt x="359426" y="685623"/>
                </a:cubicBezTo>
                <a:cubicBezTo>
                  <a:pt x="361421" y="685623"/>
                  <a:pt x="363417" y="685623"/>
                  <a:pt x="367408" y="685623"/>
                </a:cubicBezTo>
                <a:cubicBezTo>
                  <a:pt x="369404" y="685623"/>
                  <a:pt x="375391" y="685623"/>
                  <a:pt x="377387" y="689621"/>
                </a:cubicBezTo>
                <a:cubicBezTo>
                  <a:pt x="377387" y="691620"/>
                  <a:pt x="375391" y="693619"/>
                  <a:pt x="373396" y="693619"/>
                </a:cubicBezTo>
                <a:cubicBezTo>
                  <a:pt x="371400" y="693619"/>
                  <a:pt x="367408" y="695619"/>
                  <a:pt x="365413" y="695619"/>
                </a:cubicBezTo>
                <a:cubicBezTo>
                  <a:pt x="363417" y="695619"/>
                  <a:pt x="359426" y="693619"/>
                  <a:pt x="357430" y="693619"/>
                </a:cubicBezTo>
                <a:cubicBezTo>
                  <a:pt x="357430" y="693619"/>
                  <a:pt x="353438" y="693619"/>
                  <a:pt x="353438" y="693619"/>
                </a:cubicBezTo>
                <a:cubicBezTo>
                  <a:pt x="353438" y="693619"/>
                  <a:pt x="349447" y="693619"/>
                  <a:pt x="347451" y="693619"/>
                </a:cubicBezTo>
                <a:cubicBezTo>
                  <a:pt x="345456" y="691620"/>
                  <a:pt x="343460" y="689621"/>
                  <a:pt x="341464" y="685623"/>
                </a:cubicBezTo>
                <a:cubicBezTo>
                  <a:pt x="341464" y="683624"/>
                  <a:pt x="343460" y="681625"/>
                  <a:pt x="343460" y="683624"/>
                </a:cubicBezTo>
                <a:cubicBezTo>
                  <a:pt x="345456" y="683624"/>
                  <a:pt x="349447" y="685623"/>
                  <a:pt x="349447" y="685623"/>
                </a:cubicBezTo>
                <a:cubicBezTo>
                  <a:pt x="351443" y="685623"/>
                  <a:pt x="353438" y="685623"/>
                  <a:pt x="351443" y="683624"/>
                </a:cubicBezTo>
                <a:cubicBezTo>
                  <a:pt x="349447" y="681625"/>
                  <a:pt x="347451" y="681625"/>
                  <a:pt x="347451" y="681625"/>
                </a:cubicBezTo>
                <a:cubicBezTo>
                  <a:pt x="347451" y="679626"/>
                  <a:pt x="345456" y="677627"/>
                  <a:pt x="347451" y="677627"/>
                </a:cubicBezTo>
                <a:cubicBezTo>
                  <a:pt x="349447" y="675628"/>
                  <a:pt x="353438" y="677627"/>
                  <a:pt x="353438" y="677627"/>
                </a:cubicBezTo>
                <a:cubicBezTo>
                  <a:pt x="353438" y="677627"/>
                  <a:pt x="357430" y="677627"/>
                  <a:pt x="357430" y="677627"/>
                </a:cubicBezTo>
                <a:cubicBezTo>
                  <a:pt x="357430" y="675628"/>
                  <a:pt x="357430" y="673629"/>
                  <a:pt x="357430" y="673629"/>
                </a:cubicBezTo>
                <a:cubicBezTo>
                  <a:pt x="355434" y="673629"/>
                  <a:pt x="351443" y="671630"/>
                  <a:pt x="351443" y="671630"/>
                </a:cubicBezTo>
                <a:cubicBezTo>
                  <a:pt x="349447" y="671630"/>
                  <a:pt x="349447" y="669631"/>
                  <a:pt x="349447" y="669631"/>
                </a:cubicBezTo>
                <a:cubicBezTo>
                  <a:pt x="349447" y="667632"/>
                  <a:pt x="349447" y="665632"/>
                  <a:pt x="349447" y="665632"/>
                </a:cubicBezTo>
                <a:cubicBezTo>
                  <a:pt x="349447" y="665632"/>
                  <a:pt x="347451" y="665632"/>
                  <a:pt x="347451" y="663633"/>
                </a:cubicBezTo>
                <a:cubicBezTo>
                  <a:pt x="345456" y="661634"/>
                  <a:pt x="345456" y="659635"/>
                  <a:pt x="349447" y="657636"/>
                </a:cubicBezTo>
                <a:close/>
                <a:moveTo>
                  <a:pt x="440419" y="649684"/>
                </a:moveTo>
                <a:cubicBezTo>
                  <a:pt x="440419" y="647700"/>
                  <a:pt x="442535" y="647700"/>
                  <a:pt x="444652" y="649684"/>
                </a:cubicBezTo>
                <a:cubicBezTo>
                  <a:pt x="444652" y="649684"/>
                  <a:pt x="444652" y="651669"/>
                  <a:pt x="444652" y="651669"/>
                </a:cubicBezTo>
                <a:cubicBezTo>
                  <a:pt x="442535" y="655637"/>
                  <a:pt x="438302" y="651669"/>
                  <a:pt x="440419" y="649684"/>
                </a:cubicBezTo>
                <a:close/>
                <a:moveTo>
                  <a:pt x="345433" y="649287"/>
                </a:moveTo>
                <a:cubicBezTo>
                  <a:pt x="349402" y="649287"/>
                  <a:pt x="349402" y="657224"/>
                  <a:pt x="345433" y="655240"/>
                </a:cubicBezTo>
                <a:cubicBezTo>
                  <a:pt x="343449" y="655240"/>
                  <a:pt x="341464" y="655240"/>
                  <a:pt x="343449" y="653256"/>
                </a:cubicBezTo>
                <a:cubicBezTo>
                  <a:pt x="343449" y="651271"/>
                  <a:pt x="343449" y="649287"/>
                  <a:pt x="345433" y="649287"/>
                </a:cubicBezTo>
                <a:close/>
                <a:moveTo>
                  <a:pt x="418458" y="638175"/>
                </a:moveTo>
                <a:cubicBezTo>
                  <a:pt x="418458" y="638175"/>
                  <a:pt x="420443" y="640292"/>
                  <a:pt x="420443" y="640292"/>
                </a:cubicBezTo>
                <a:cubicBezTo>
                  <a:pt x="422427" y="644525"/>
                  <a:pt x="414489" y="644525"/>
                  <a:pt x="414489" y="640292"/>
                </a:cubicBezTo>
                <a:cubicBezTo>
                  <a:pt x="414489" y="638175"/>
                  <a:pt x="416474" y="638175"/>
                  <a:pt x="418458" y="638175"/>
                </a:cubicBezTo>
                <a:close/>
                <a:moveTo>
                  <a:pt x="969056" y="636587"/>
                </a:moveTo>
                <a:cubicBezTo>
                  <a:pt x="969056" y="636587"/>
                  <a:pt x="971172" y="636587"/>
                  <a:pt x="973289" y="636587"/>
                </a:cubicBezTo>
                <a:cubicBezTo>
                  <a:pt x="973289" y="638175"/>
                  <a:pt x="973289" y="639762"/>
                  <a:pt x="973289" y="639762"/>
                </a:cubicBezTo>
                <a:cubicBezTo>
                  <a:pt x="973289" y="639762"/>
                  <a:pt x="969056" y="639762"/>
                  <a:pt x="966939" y="639762"/>
                </a:cubicBezTo>
                <a:cubicBezTo>
                  <a:pt x="966939" y="638175"/>
                  <a:pt x="966939" y="636587"/>
                  <a:pt x="969056" y="636587"/>
                </a:cubicBezTo>
                <a:close/>
                <a:moveTo>
                  <a:pt x="430138" y="633412"/>
                </a:moveTo>
                <a:cubicBezTo>
                  <a:pt x="430138" y="633412"/>
                  <a:pt x="432179" y="633412"/>
                  <a:pt x="434220" y="635396"/>
                </a:cubicBezTo>
                <a:cubicBezTo>
                  <a:pt x="436261" y="635396"/>
                  <a:pt x="436261" y="637381"/>
                  <a:pt x="438302" y="639365"/>
                </a:cubicBezTo>
                <a:cubicBezTo>
                  <a:pt x="438302" y="639365"/>
                  <a:pt x="438302" y="641349"/>
                  <a:pt x="436261" y="641349"/>
                </a:cubicBezTo>
                <a:cubicBezTo>
                  <a:pt x="434220" y="641349"/>
                  <a:pt x="434220" y="639365"/>
                  <a:pt x="432179" y="639365"/>
                </a:cubicBezTo>
                <a:cubicBezTo>
                  <a:pt x="432179" y="637381"/>
                  <a:pt x="430138" y="639365"/>
                  <a:pt x="430138" y="639365"/>
                </a:cubicBezTo>
                <a:cubicBezTo>
                  <a:pt x="430138" y="639365"/>
                  <a:pt x="428096" y="639365"/>
                  <a:pt x="426055" y="639365"/>
                </a:cubicBezTo>
                <a:cubicBezTo>
                  <a:pt x="426055" y="639365"/>
                  <a:pt x="424014" y="637381"/>
                  <a:pt x="426055" y="635396"/>
                </a:cubicBezTo>
                <a:cubicBezTo>
                  <a:pt x="426055" y="635396"/>
                  <a:pt x="428096" y="633412"/>
                  <a:pt x="430138" y="633412"/>
                </a:cubicBezTo>
                <a:close/>
                <a:moveTo>
                  <a:pt x="414555" y="626219"/>
                </a:moveTo>
                <a:cubicBezTo>
                  <a:pt x="415945" y="625971"/>
                  <a:pt x="417797" y="626467"/>
                  <a:pt x="418723" y="627459"/>
                </a:cubicBezTo>
                <a:cubicBezTo>
                  <a:pt x="422427" y="629444"/>
                  <a:pt x="420575" y="633412"/>
                  <a:pt x="416871" y="631428"/>
                </a:cubicBezTo>
                <a:cubicBezTo>
                  <a:pt x="415018" y="631428"/>
                  <a:pt x="413166" y="631428"/>
                  <a:pt x="413166" y="629444"/>
                </a:cubicBezTo>
                <a:cubicBezTo>
                  <a:pt x="412240" y="627459"/>
                  <a:pt x="413166" y="626467"/>
                  <a:pt x="414555" y="626219"/>
                </a:cubicBezTo>
                <a:close/>
                <a:moveTo>
                  <a:pt x="1013631" y="625475"/>
                </a:moveTo>
                <a:cubicBezTo>
                  <a:pt x="1015638" y="625475"/>
                  <a:pt x="1019654" y="625475"/>
                  <a:pt x="1017646" y="627459"/>
                </a:cubicBezTo>
                <a:cubicBezTo>
                  <a:pt x="1017646" y="629444"/>
                  <a:pt x="1017646" y="631428"/>
                  <a:pt x="1019654" y="631428"/>
                </a:cubicBezTo>
                <a:cubicBezTo>
                  <a:pt x="1023669" y="631428"/>
                  <a:pt x="1025677" y="631428"/>
                  <a:pt x="1025677" y="633413"/>
                </a:cubicBezTo>
                <a:cubicBezTo>
                  <a:pt x="1025677" y="635397"/>
                  <a:pt x="1023669" y="637381"/>
                  <a:pt x="1021662" y="637381"/>
                </a:cubicBezTo>
                <a:cubicBezTo>
                  <a:pt x="1021662" y="639366"/>
                  <a:pt x="1019654" y="637381"/>
                  <a:pt x="1019654" y="639366"/>
                </a:cubicBezTo>
                <a:cubicBezTo>
                  <a:pt x="1019654" y="641350"/>
                  <a:pt x="1023669" y="643334"/>
                  <a:pt x="1021662" y="643334"/>
                </a:cubicBezTo>
                <a:cubicBezTo>
                  <a:pt x="1019654" y="645319"/>
                  <a:pt x="1015638" y="645319"/>
                  <a:pt x="1015638" y="645319"/>
                </a:cubicBezTo>
                <a:cubicBezTo>
                  <a:pt x="1015638" y="645319"/>
                  <a:pt x="1013631" y="647303"/>
                  <a:pt x="1011623" y="647303"/>
                </a:cubicBezTo>
                <a:cubicBezTo>
                  <a:pt x="1011623" y="647303"/>
                  <a:pt x="1009615" y="649288"/>
                  <a:pt x="1007608" y="649288"/>
                </a:cubicBezTo>
                <a:cubicBezTo>
                  <a:pt x="1005600" y="649288"/>
                  <a:pt x="1001584" y="649288"/>
                  <a:pt x="1001584" y="649288"/>
                </a:cubicBezTo>
                <a:cubicBezTo>
                  <a:pt x="999577" y="647303"/>
                  <a:pt x="999577" y="645319"/>
                  <a:pt x="997569" y="645319"/>
                </a:cubicBezTo>
                <a:cubicBezTo>
                  <a:pt x="995561" y="647303"/>
                  <a:pt x="995561" y="647303"/>
                  <a:pt x="995561" y="649288"/>
                </a:cubicBezTo>
                <a:cubicBezTo>
                  <a:pt x="995561" y="649288"/>
                  <a:pt x="991546" y="651272"/>
                  <a:pt x="991546" y="651272"/>
                </a:cubicBezTo>
                <a:cubicBezTo>
                  <a:pt x="989538" y="653256"/>
                  <a:pt x="985522" y="653256"/>
                  <a:pt x="985522" y="653256"/>
                </a:cubicBezTo>
                <a:cubicBezTo>
                  <a:pt x="983515" y="653256"/>
                  <a:pt x="981507" y="651272"/>
                  <a:pt x="979499" y="653256"/>
                </a:cubicBezTo>
                <a:cubicBezTo>
                  <a:pt x="977491" y="653256"/>
                  <a:pt x="975484" y="655241"/>
                  <a:pt x="975484" y="655241"/>
                </a:cubicBezTo>
                <a:cubicBezTo>
                  <a:pt x="973476" y="655241"/>
                  <a:pt x="969461" y="655241"/>
                  <a:pt x="969461" y="655241"/>
                </a:cubicBezTo>
                <a:cubicBezTo>
                  <a:pt x="961430" y="657225"/>
                  <a:pt x="957414" y="645319"/>
                  <a:pt x="965445" y="647303"/>
                </a:cubicBezTo>
                <a:cubicBezTo>
                  <a:pt x="967453" y="647303"/>
                  <a:pt x="969461" y="647303"/>
                  <a:pt x="973476" y="645319"/>
                </a:cubicBezTo>
                <a:cubicBezTo>
                  <a:pt x="973476" y="643334"/>
                  <a:pt x="977491" y="639366"/>
                  <a:pt x="977491" y="637381"/>
                </a:cubicBezTo>
                <a:cubicBezTo>
                  <a:pt x="979499" y="635397"/>
                  <a:pt x="981507" y="635397"/>
                  <a:pt x="983515" y="635397"/>
                </a:cubicBezTo>
                <a:cubicBezTo>
                  <a:pt x="985522" y="635397"/>
                  <a:pt x="987530" y="635397"/>
                  <a:pt x="991546" y="635397"/>
                </a:cubicBezTo>
                <a:cubicBezTo>
                  <a:pt x="995561" y="635397"/>
                  <a:pt x="997569" y="633413"/>
                  <a:pt x="999577" y="631428"/>
                </a:cubicBezTo>
                <a:cubicBezTo>
                  <a:pt x="1001584" y="631428"/>
                  <a:pt x="1001584" y="631428"/>
                  <a:pt x="1003592" y="629444"/>
                </a:cubicBezTo>
                <a:cubicBezTo>
                  <a:pt x="1005600" y="629444"/>
                  <a:pt x="1007608" y="627459"/>
                  <a:pt x="1009615" y="627459"/>
                </a:cubicBezTo>
                <a:cubicBezTo>
                  <a:pt x="1011623" y="627459"/>
                  <a:pt x="1011623" y="627459"/>
                  <a:pt x="1013631" y="625475"/>
                </a:cubicBezTo>
                <a:close/>
                <a:moveTo>
                  <a:pt x="421157" y="623887"/>
                </a:moveTo>
                <a:cubicBezTo>
                  <a:pt x="421157" y="623887"/>
                  <a:pt x="423062" y="623887"/>
                  <a:pt x="423062" y="623887"/>
                </a:cubicBezTo>
                <a:cubicBezTo>
                  <a:pt x="424967" y="623887"/>
                  <a:pt x="424967" y="623887"/>
                  <a:pt x="426872" y="626004"/>
                </a:cubicBezTo>
                <a:cubicBezTo>
                  <a:pt x="428777" y="626004"/>
                  <a:pt x="428777" y="628120"/>
                  <a:pt x="426872" y="630237"/>
                </a:cubicBezTo>
                <a:cubicBezTo>
                  <a:pt x="424967" y="630237"/>
                  <a:pt x="421157" y="628120"/>
                  <a:pt x="421157" y="628120"/>
                </a:cubicBezTo>
                <a:cubicBezTo>
                  <a:pt x="419252" y="626004"/>
                  <a:pt x="421157" y="626004"/>
                  <a:pt x="421157" y="623887"/>
                </a:cubicBezTo>
                <a:close/>
                <a:moveTo>
                  <a:pt x="380888" y="611584"/>
                </a:moveTo>
                <a:cubicBezTo>
                  <a:pt x="380888" y="611584"/>
                  <a:pt x="382740" y="613569"/>
                  <a:pt x="382740" y="615553"/>
                </a:cubicBezTo>
                <a:cubicBezTo>
                  <a:pt x="382740" y="617538"/>
                  <a:pt x="382740" y="621506"/>
                  <a:pt x="382740" y="621506"/>
                </a:cubicBezTo>
                <a:cubicBezTo>
                  <a:pt x="382740" y="623491"/>
                  <a:pt x="379036" y="623491"/>
                  <a:pt x="377184" y="623491"/>
                </a:cubicBezTo>
                <a:cubicBezTo>
                  <a:pt x="375331" y="623491"/>
                  <a:pt x="373479" y="625475"/>
                  <a:pt x="373479" y="623491"/>
                </a:cubicBezTo>
                <a:cubicBezTo>
                  <a:pt x="371627" y="621506"/>
                  <a:pt x="373479" y="617538"/>
                  <a:pt x="373479" y="617538"/>
                </a:cubicBezTo>
                <a:cubicBezTo>
                  <a:pt x="373479" y="617538"/>
                  <a:pt x="375331" y="615553"/>
                  <a:pt x="377184" y="613569"/>
                </a:cubicBezTo>
                <a:cubicBezTo>
                  <a:pt x="377184" y="611584"/>
                  <a:pt x="379036" y="609600"/>
                  <a:pt x="380888" y="611584"/>
                </a:cubicBezTo>
                <a:close/>
                <a:moveTo>
                  <a:pt x="392662" y="609600"/>
                </a:moveTo>
                <a:cubicBezTo>
                  <a:pt x="394646" y="609600"/>
                  <a:pt x="396630" y="609600"/>
                  <a:pt x="398615" y="609600"/>
                </a:cubicBezTo>
                <a:cubicBezTo>
                  <a:pt x="400599" y="609600"/>
                  <a:pt x="402583" y="609600"/>
                  <a:pt x="404568" y="611584"/>
                </a:cubicBezTo>
                <a:cubicBezTo>
                  <a:pt x="406552" y="611584"/>
                  <a:pt x="406552" y="613569"/>
                  <a:pt x="404568" y="615553"/>
                </a:cubicBezTo>
                <a:cubicBezTo>
                  <a:pt x="402583" y="615553"/>
                  <a:pt x="400599" y="617537"/>
                  <a:pt x="400599" y="617537"/>
                </a:cubicBezTo>
                <a:cubicBezTo>
                  <a:pt x="398615" y="617537"/>
                  <a:pt x="394646" y="617537"/>
                  <a:pt x="394646" y="617537"/>
                </a:cubicBezTo>
                <a:cubicBezTo>
                  <a:pt x="394646" y="617537"/>
                  <a:pt x="390677" y="613569"/>
                  <a:pt x="390677" y="613569"/>
                </a:cubicBezTo>
                <a:cubicBezTo>
                  <a:pt x="390677" y="611584"/>
                  <a:pt x="390677" y="609600"/>
                  <a:pt x="392662" y="609600"/>
                </a:cubicBezTo>
                <a:close/>
                <a:moveTo>
                  <a:pt x="335114" y="581818"/>
                </a:moveTo>
                <a:cubicBezTo>
                  <a:pt x="335114" y="579437"/>
                  <a:pt x="337231" y="579437"/>
                  <a:pt x="339347" y="581818"/>
                </a:cubicBezTo>
                <a:cubicBezTo>
                  <a:pt x="341464" y="581818"/>
                  <a:pt x="341464" y="584200"/>
                  <a:pt x="341464" y="584200"/>
                </a:cubicBezTo>
                <a:cubicBezTo>
                  <a:pt x="341464" y="588962"/>
                  <a:pt x="337231" y="588962"/>
                  <a:pt x="335114" y="586581"/>
                </a:cubicBezTo>
                <a:cubicBezTo>
                  <a:pt x="335114" y="584200"/>
                  <a:pt x="335114" y="584200"/>
                  <a:pt x="335114" y="581818"/>
                </a:cubicBezTo>
                <a:close/>
                <a:moveTo>
                  <a:pt x="341464" y="563880"/>
                </a:moveTo>
                <a:cubicBezTo>
                  <a:pt x="341464" y="561975"/>
                  <a:pt x="343052" y="563880"/>
                  <a:pt x="344639" y="563880"/>
                </a:cubicBezTo>
                <a:cubicBezTo>
                  <a:pt x="346227" y="565785"/>
                  <a:pt x="346227" y="565785"/>
                  <a:pt x="346227" y="567690"/>
                </a:cubicBezTo>
                <a:cubicBezTo>
                  <a:pt x="346227" y="567690"/>
                  <a:pt x="344639" y="571500"/>
                  <a:pt x="343052" y="571500"/>
                </a:cubicBezTo>
                <a:cubicBezTo>
                  <a:pt x="341464" y="569595"/>
                  <a:pt x="341464" y="569595"/>
                  <a:pt x="343052" y="567690"/>
                </a:cubicBezTo>
                <a:cubicBezTo>
                  <a:pt x="343052" y="565785"/>
                  <a:pt x="341464" y="563880"/>
                  <a:pt x="341464" y="563880"/>
                </a:cubicBezTo>
                <a:close/>
                <a:moveTo>
                  <a:pt x="343052" y="555625"/>
                </a:moveTo>
                <a:cubicBezTo>
                  <a:pt x="344904" y="555625"/>
                  <a:pt x="346756" y="555625"/>
                  <a:pt x="348609" y="555625"/>
                </a:cubicBezTo>
                <a:cubicBezTo>
                  <a:pt x="348609" y="555625"/>
                  <a:pt x="350461" y="555625"/>
                  <a:pt x="352313" y="555625"/>
                </a:cubicBezTo>
                <a:cubicBezTo>
                  <a:pt x="354165" y="555625"/>
                  <a:pt x="354165" y="557609"/>
                  <a:pt x="354165" y="557609"/>
                </a:cubicBezTo>
                <a:cubicBezTo>
                  <a:pt x="354165" y="559594"/>
                  <a:pt x="354165" y="561578"/>
                  <a:pt x="354165" y="561578"/>
                </a:cubicBezTo>
                <a:cubicBezTo>
                  <a:pt x="350461" y="563562"/>
                  <a:pt x="350461" y="563562"/>
                  <a:pt x="348609" y="561578"/>
                </a:cubicBezTo>
                <a:cubicBezTo>
                  <a:pt x="346756" y="559594"/>
                  <a:pt x="344904" y="559594"/>
                  <a:pt x="343052" y="559594"/>
                </a:cubicBezTo>
                <a:cubicBezTo>
                  <a:pt x="343052" y="557609"/>
                  <a:pt x="343052" y="555625"/>
                  <a:pt x="343052" y="555625"/>
                </a:cubicBezTo>
                <a:close/>
                <a:moveTo>
                  <a:pt x="1046738" y="542925"/>
                </a:moveTo>
                <a:cubicBezTo>
                  <a:pt x="1048749" y="542925"/>
                  <a:pt x="1052770" y="542925"/>
                  <a:pt x="1054781" y="544886"/>
                </a:cubicBezTo>
                <a:cubicBezTo>
                  <a:pt x="1056792" y="544886"/>
                  <a:pt x="1060814" y="544886"/>
                  <a:pt x="1062825" y="544886"/>
                </a:cubicBezTo>
                <a:cubicBezTo>
                  <a:pt x="1064835" y="544886"/>
                  <a:pt x="1068857" y="544886"/>
                  <a:pt x="1070868" y="544886"/>
                </a:cubicBezTo>
                <a:cubicBezTo>
                  <a:pt x="1072879" y="546847"/>
                  <a:pt x="1074890" y="546847"/>
                  <a:pt x="1074890" y="546847"/>
                </a:cubicBezTo>
                <a:cubicBezTo>
                  <a:pt x="1076900" y="546847"/>
                  <a:pt x="1078911" y="546847"/>
                  <a:pt x="1078911" y="546847"/>
                </a:cubicBezTo>
                <a:cubicBezTo>
                  <a:pt x="1080922" y="546847"/>
                  <a:pt x="1078911" y="548808"/>
                  <a:pt x="1082933" y="550769"/>
                </a:cubicBezTo>
                <a:cubicBezTo>
                  <a:pt x="1088965" y="552730"/>
                  <a:pt x="1094998" y="556652"/>
                  <a:pt x="1097009" y="556652"/>
                </a:cubicBezTo>
                <a:cubicBezTo>
                  <a:pt x="1099020" y="558613"/>
                  <a:pt x="1101030" y="558613"/>
                  <a:pt x="1105052" y="560574"/>
                </a:cubicBezTo>
                <a:cubicBezTo>
                  <a:pt x="1105052" y="562535"/>
                  <a:pt x="1105052" y="564496"/>
                  <a:pt x="1105052" y="566457"/>
                </a:cubicBezTo>
                <a:cubicBezTo>
                  <a:pt x="1105052" y="566457"/>
                  <a:pt x="1105052" y="568418"/>
                  <a:pt x="1103041" y="568418"/>
                </a:cubicBezTo>
                <a:cubicBezTo>
                  <a:pt x="1103041" y="566457"/>
                  <a:pt x="1101030" y="564496"/>
                  <a:pt x="1097009" y="564496"/>
                </a:cubicBezTo>
                <a:cubicBezTo>
                  <a:pt x="1094998" y="564496"/>
                  <a:pt x="1092987" y="566457"/>
                  <a:pt x="1092987" y="564496"/>
                </a:cubicBezTo>
                <a:cubicBezTo>
                  <a:pt x="1090976" y="564496"/>
                  <a:pt x="1090976" y="564496"/>
                  <a:pt x="1088965" y="562535"/>
                </a:cubicBezTo>
                <a:cubicBezTo>
                  <a:pt x="1088965" y="562535"/>
                  <a:pt x="1086955" y="560574"/>
                  <a:pt x="1084944" y="560574"/>
                </a:cubicBezTo>
                <a:cubicBezTo>
                  <a:pt x="1082933" y="562535"/>
                  <a:pt x="1084944" y="564496"/>
                  <a:pt x="1086955" y="564496"/>
                </a:cubicBezTo>
                <a:cubicBezTo>
                  <a:pt x="1088965" y="566457"/>
                  <a:pt x="1088965" y="568418"/>
                  <a:pt x="1090976" y="568418"/>
                </a:cubicBezTo>
                <a:cubicBezTo>
                  <a:pt x="1092987" y="570379"/>
                  <a:pt x="1094998" y="570379"/>
                  <a:pt x="1097009" y="570379"/>
                </a:cubicBezTo>
                <a:cubicBezTo>
                  <a:pt x="1099020" y="570379"/>
                  <a:pt x="1101030" y="568418"/>
                  <a:pt x="1101030" y="570379"/>
                </a:cubicBezTo>
                <a:cubicBezTo>
                  <a:pt x="1103041" y="574301"/>
                  <a:pt x="1101030" y="576262"/>
                  <a:pt x="1101030" y="576262"/>
                </a:cubicBezTo>
                <a:cubicBezTo>
                  <a:pt x="1099020" y="576262"/>
                  <a:pt x="1094998" y="574301"/>
                  <a:pt x="1092987" y="574301"/>
                </a:cubicBezTo>
                <a:cubicBezTo>
                  <a:pt x="1092987" y="574301"/>
                  <a:pt x="1084944" y="572340"/>
                  <a:pt x="1082933" y="570379"/>
                </a:cubicBezTo>
                <a:cubicBezTo>
                  <a:pt x="1082933" y="568418"/>
                  <a:pt x="1076900" y="566457"/>
                  <a:pt x="1074890" y="566457"/>
                </a:cubicBezTo>
                <a:cubicBezTo>
                  <a:pt x="1072879" y="564496"/>
                  <a:pt x="1068857" y="562535"/>
                  <a:pt x="1066846" y="562535"/>
                </a:cubicBezTo>
                <a:cubicBezTo>
                  <a:pt x="1064835" y="562535"/>
                  <a:pt x="1060814" y="562535"/>
                  <a:pt x="1058803" y="560574"/>
                </a:cubicBezTo>
                <a:cubicBezTo>
                  <a:pt x="1058803" y="560574"/>
                  <a:pt x="1056792" y="556652"/>
                  <a:pt x="1054781" y="556652"/>
                </a:cubicBezTo>
                <a:cubicBezTo>
                  <a:pt x="1052770" y="556652"/>
                  <a:pt x="1050760" y="558613"/>
                  <a:pt x="1048749" y="558613"/>
                </a:cubicBezTo>
                <a:cubicBezTo>
                  <a:pt x="1046738" y="556652"/>
                  <a:pt x="1046738" y="554691"/>
                  <a:pt x="1046738" y="552730"/>
                </a:cubicBezTo>
                <a:cubicBezTo>
                  <a:pt x="1046738" y="552730"/>
                  <a:pt x="1044727" y="542925"/>
                  <a:pt x="1046738" y="542925"/>
                </a:cubicBezTo>
                <a:close/>
                <a:moveTo>
                  <a:pt x="1037319" y="542925"/>
                </a:moveTo>
                <a:cubicBezTo>
                  <a:pt x="1039435" y="542925"/>
                  <a:pt x="1041552" y="542925"/>
                  <a:pt x="1041552" y="544512"/>
                </a:cubicBezTo>
                <a:cubicBezTo>
                  <a:pt x="1041552" y="546100"/>
                  <a:pt x="1039435" y="546100"/>
                  <a:pt x="1039435" y="546100"/>
                </a:cubicBezTo>
                <a:cubicBezTo>
                  <a:pt x="1039435" y="546100"/>
                  <a:pt x="1037319" y="547687"/>
                  <a:pt x="1035202" y="546100"/>
                </a:cubicBezTo>
                <a:cubicBezTo>
                  <a:pt x="1035202" y="546100"/>
                  <a:pt x="1035202" y="544512"/>
                  <a:pt x="1037319" y="542925"/>
                </a:cubicBezTo>
                <a:close/>
                <a:moveTo>
                  <a:pt x="348609" y="538162"/>
                </a:moveTo>
                <a:cubicBezTo>
                  <a:pt x="350461" y="538162"/>
                  <a:pt x="350461" y="538162"/>
                  <a:pt x="352313" y="538162"/>
                </a:cubicBezTo>
                <a:cubicBezTo>
                  <a:pt x="352313" y="538162"/>
                  <a:pt x="354165" y="538162"/>
                  <a:pt x="354165" y="540067"/>
                </a:cubicBezTo>
                <a:cubicBezTo>
                  <a:pt x="354165" y="540067"/>
                  <a:pt x="354165" y="541972"/>
                  <a:pt x="354165" y="541972"/>
                </a:cubicBezTo>
                <a:cubicBezTo>
                  <a:pt x="352313" y="541972"/>
                  <a:pt x="350461" y="543877"/>
                  <a:pt x="350461" y="543877"/>
                </a:cubicBezTo>
                <a:cubicBezTo>
                  <a:pt x="350461" y="543877"/>
                  <a:pt x="348609" y="543877"/>
                  <a:pt x="348609" y="543877"/>
                </a:cubicBezTo>
                <a:cubicBezTo>
                  <a:pt x="348609" y="543877"/>
                  <a:pt x="346756" y="545782"/>
                  <a:pt x="346756" y="545782"/>
                </a:cubicBezTo>
                <a:cubicBezTo>
                  <a:pt x="346756" y="545782"/>
                  <a:pt x="344904" y="547687"/>
                  <a:pt x="344904" y="547687"/>
                </a:cubicBezTo>
                <a:cubicBezTo>
                  <a:pt x="344904" y="547687"/>
                  <a:pt x="344904" y="543877"/>
                  <a:pt x="344904" y="543877"/>
                </a:cubicBezTo>
                <a:cubicBezTo>
                  <a:pt x="344904" y="541972"/>
                  <a:pt x="344904" y="541972"/>
                  <a:pt x="344904" y="541972"/>
                </a:cubicBezTo>
                <a:cubicBezTo>
                  <a:pt x="343052" y="540067"/>
                  <a:pt x="344904" y="540067"/>
                  <a:pt x="344904" y="540067"/>
                </a:cubicBezTo>
                <a:cubicBezTo>
                  <a:pt x="344904" y="540067"/>
                  <a:pt x="346756" y="540067"/>
                  <a:pt x="346756" y="540067"/>
                </a:cubicBezTo>
                <a:cubicBezTo>
                  <a:pt x="346756" y="540067"/>
                  <a:pt x="348609" y="538162"/>
                  <a:pt x="348609" y="538162"/>
                </a:cubicBezTo>
                <a:close/>
                <a:moveTo>
                  <a:pt x="1050719" y="531812"/>
                </a:moveTo>
                <a:cubicBezTo>
                  <a:pt x="1050719" y="533876"/>
                  <a:pt x="1052716" y="533876"/>
                  <a:pt x="1052716" y="533876"/>
                </a:cubicBezTo>
                <a:cubicBezTo>
                  <a:pt x="1054713" y="533876"/>
                  <a:pt x="1062702" y="535939"/>
                  <a:pt x="1066696" y="535939"/>
                </a:cubicBezTo>
                <a:cubicBezTo>
                  <a:pt x="1068693" y="535939"/>
                  <a:pt x="1074685" y="535939"/>
                  <a:pt x="1076682" y="535939"/>
                </a:cubicBezTo>
                <a:cubicBezTo>
                  <a:pt x="1078679" y="533876"/>
                  <a:pt x="1082674" y="533876"/>
                  <a:pt x="1082674" y="533876"/>
                </a:cubicBezTo>
                <a:cubicBezTo>
                  <a:pt x="1084671" y="533876"/>
                  <a:pt x="1088665" y="531812"/>
                  <a:pt x="1090663" y="531812"/>
                </a:cubicBezTo>
                <a:cubicBezTo>
                  <a:pt x="1094657" y="531812"/>
                  <a:pt x="1096654" y="531812"/>
                  <a:pt x="1098651" y="533876"/>
                </a:cubicBezTo>
                <a:cubicBezTo>
                  <a:pt x="1100649" y="533876"/>
                  <a:pt x="1102646" y="535939"/>
                  <a:pt x="1104643" y="535939"/>
                </a:cubicBezTo>
                <a:cubicBezTo>
                  <a:pt x="1104643" y="538003"/>
                  <a:pt x="1106640" y="538003"/>
                  <a:pt x="1106640" y="540067"/>
                </a:cubicBezTo>
                <a:cubicBezTo>
                  <a:pt x="1104643" y="542131"/>
                  <a:pt x="1102646" y="542131"/>
                  <a:pt x="1102646" y="542131"/>
                </a:cubicBezTo>
                <a:cubicBezTo>
                  <a:pt x="1102646" y="544194"/>
                  <a:pt x="1104643" y="552449"/>
                  <a:pt x="1100649" y="552449"/>
                </a:cubicBezTo>
                <a:cubicBezTo>
                  <a:pt x="1100649" y="552449"/>
                  <a:pt x="1090663" y="548322"/>
                  <a:pt x="1088665" y="546258"/>
                </a:cubicBezTo>
                <a:cubicBezTo>
                  <a:pt x="1086668" y="544194"/>
                  <a:pt x="1080677" y="540067"/>
                  <a:pt x="1078679" y="540067"/>
                </a:cubicBezTo>
                <a:cubicBezTo>
                  <a:pt x="1076682" y="540067"/>
                  <a:pt x="1072688" y="540067"/>
                  <a:pt x="1072688" y="542131"/>
                </a:cubicBezTo>
                <a:cubicBezTo>
                  <a:pt x="1070691" y="542131"/>
                  <a:pt x="1068693" y="542131"/>
                  <a:pt x="1068693" y="540067"/>
                </a:cubicBezTo>
                <a:cubicBezTo>
                  <a:pt x="1066696" y="540067"/>
                  <a:pt x="1066696" y="538003"/>
                  <a:pt x="1064699" y="538003"/>
                </a:cubicBezTo>
                <a:cubicBezTo>
                  <a:pt x="1060705" y="538003"/>
                  <a:pt x="1048722" y="542131"/>
                  <a:pt x="1046724" y="538003"/>
                </a:cubicBezTo>
                <a:cubicBezTo>
                  <a:pt x="1044727" y="535939"/>
                  <a:pt x="1046724" y="531812"/>
                  <a:pt x="1050719" y="531812"/>
                </a:cubicBezTo>
                <a:close/>
                <a:moveTo>
                  <a:pt x="344639" y="530225"/>
                </a:moveTo>
                <a:cubicBezTo>
                  <a:pt x="347021" y="530225"/>
                  <a:pt x="349402" y="530225"/>
                  <a:pt x="349402" y="530225"/>
                </a:cubicBezTo>
                <a:cubicBezTo>
                  <a:pt x="349402" y="532209"/>
                  <a:pt x="349402" y="536178"/>
                  <a:pt x="349402" y="536178"/>
                </a:cubicBezTo>
                <a:cubicBezTo>
                  <a:pt x="349402" y="536178"/>
                  <a:pt x="344639" y="538162"/>
                  <a:pt x="344639" y="534193"/>
                </a:cubicBezTo>
                <a:cubicBezTo>
                  <a:pt x="344639" y="534193"/>
                  <a:pt x="344639" y="532209"/>
                  <a:pt x="344639" y="530225"/>
                </a:cubicBezTo>
                <a:close/>
                <a:moveTo>
                  <a:pt x="1043500" y="519112"/>
                </a:moveTo>
                <a:cubicBezTo>
                  <a:pt x="1045449" y="519112"/>
                  <a:pt x="1049345" y="519112"/>
                  <a:pt x="1049345" y="519112"/>
                </a:cubicBezTo>
                <a:cubicBezTo>
                  <a:pt x="1049345" y="519112"/>
                  <a:pt x="1057139" y="519112"/>
                  <a:pt x="1059087" y="520926"/>
                </a:cubicBezTo>
                <a:cubicBezTo>
                  <a:pt x="1061035" y="522741"/>
                  <a:pt x="1062984" y="522741"/>
                  <a:pt x="1064932" y="522741"/>
                </a:cubicBezTo>
                <a:cubicBezTo>
                  <a:pt x="1066880" y="522741"/>
                  <a:pt x="1070777" y="522741"/>
                  <a:pt x="1072725" y="522741"/>
                </a:cubicBezTo>
                <a:cubicBezTo>
                  <a:pt x="1072725" y="522741"/>
                  <a:pt x="1074674" y="524555"/>
                  <a:pt x="1074674" y="526369"/>
                </a:cubicBezTo>
                <a:cubicBezTo>
                  <a:pt x="1074674" y="526369"/>
                  <a:pt x="1076622" y="526369"/>
                  <a:pt x="1078570" y="526369"/>
                </a:cubicBezTo>
                <a:cubicBezTo>
                  <a:pt x="1082467" y="526369"/>
                  <a:pt x="1084415" y="528183"/>
                  <a:pt x="1082467" y="529998"/>
                </a:cubicBezTo>
                <a:cubicBezTo>
                  <a:pt x="1082467" y="529998"/>
                  <a:pt x="1076622" y="529998"/>
                  <a:pt x="1074674" y="529998"/>
                </a:cubicBezTo>
                <a:cubicBezTo>
                  <a:pt x="1074674" y="529998"/>
                  <a:pt x="1068829" y="531812"/>
                  <a:pt x="1066880" y="531812"/>
                </a:cubicBezTo>
                <a:cubicBezTo>
                  <a:pt x="1064932" y="529998"/>
                  <a:pt x="1061035" y="529998"/>
                  <a:pt x="1059087" y="529998"/>
                </a:cubicBezTo>
                <a:cubicBezTo>
                  <a:pt x="1057139" y="528183"/>
                  <a:pt x="1053242" y="526369"/>
                  <a:pt x="1051294" y="526369"/>
                </a:cubicBezTo>
                <a:cubicBezTo>
                  <a:pt x="1049345" y="526369"/>
                  <a:pt x="1045449" y="524555"/>
                  <a:pt x="1043500" y="524555"/>
                </a:cubicBezTo>
                <a:cubicBezTo>
                  <a:pt x="1041552" y="522741"/>
                  <a:pt x="1041552" y="520926"/>
                  <a:pt x="1043500" y="519112"/>
                </a:cubicBezTo>
                <a:close/>
                <a:moveTo>
                  <a:pt x="335114" y="518874"/>
                </a:moveTo>
                <a:cubicBezTo>
                  <a:pt x="335644" y="520065"/>
                  <a:pt x="335644" y="521970"/>
                  <a:pt x="334585" y="521970"/>
                </a:cubicBezTo>
                <a:cubicBezTo>
                  <a:pt x="334585" y="521970"/>
                  <a:pt x="332469" y="523875"/>
                  <a:pt x="332469" y="523875"/>
                </a:cubicBezTo>
                <a:cubicBezTo>
                  <a:pt x="330352" y="521970"/>
                  <a:pt x="330352" y="520065"/>
                  <a:pt x="332469" y="520065"/>
                </a:cubicBezTo>
                <a:cubicBezTo>
                  <a:pt x="333527" y="517207"/>
                  <a:pt x="334585" y="517684"/>
                  <a:pt x="335114" y="518874"/>
                </a:cubicBezTo>
                <a:close/>
                <a:moveTo>
                  <a:pt x="340935" y="515937"/>
                </a:moveTo>
                <a:cubicBezTo>
                  <a:pt x="340935" y="515937"/>
                  <a:pt x="343052" y="515937"/>
                  <a:pt x="343052" y="518054"/>
                </a:cubicBezTo>
                <a:cubicBezTo>
                  <a:pt x="343052" y="518054"/>
                  <a:pt x="343052" y="520170"/>
                  <a:pt x="340935" y="520170"/>
                </a:cubicBezTo>
                <a:cubicBezTo>
                  <a:pt x="338819" y="522287"/>
                  <a:pt x="336702" y="518054"/>
                  <a:pt x="340935" y="515937"/>
                </a:cubicBezTo>
                <a:close/>
                <a:moveTo>
                  <a:pt x="332997" y="511704"/>
                </a:moveTo>
                <a:cubicBezTo>
                  <a:pt x="335114" y="509587"/>
                  <a:pt x="335114" y="511704"/>
                  <a:pt x="335114" y="511704"/>
                </a:cubicBezTo>
                <a:cubicBezTo>
                  <a:pt x="335114" y="511704"/>
                  <a:pt x="335114" y="513820"/>
                  <a:pt x="332997" y="513820"/>
                </a:cubicBezTo>
                <a:cubicBezTo>
                  <a:pt x="330881" y="515937"/>
                  <a:pt x="328764" y="511704"/>
                  <a:pt x="332997" y="511704"/>
                </a:cubicBezTo>
                <a:close/>
                <a:moveTo>
                  <a:pt x="345433" y="509587"/>
                </a:moveTo>
                <a:cubicBezTo>
                  <a:pt x="347418" y="509587"/>
                  <a:pt x="349402" y="509587"/>
                  <a:pt x="349402" y="509587"/>
                </a:cubicBezTo>
                <a:cubicBezTo>
                  <a:pt x="349402" y="511704"/>
                  <a:pt x="349402" y="513820"/>
                  <a:pt x="347418" y="513820"/>
                </a:cubicBezTo>
                <a:cubicBezTo>
                  <a:pt x="345433" y="515937"/>
                  <a:pt x="341464" y="511704"/>
                  <a:pt x="345433" y="509587"/>
                </a:cubicBezTo>
                <a:close/>
                <a:moveTo>
                  <a:pt x="331146" y="502046"/>
                </a:moveTo>
                <a:cubicBezTo>
                  <a:pt x="333130" y="500062"/>
                  <a:pt x="333130" y="502046"/>
                  <a:pt x="333130" y="502046"/>
                </a:cubicBezTo>
                <a:cubicBezTo>
                  <a:pt x="335115" y="504030"/>
                  <a:pt x="333130" y="506015"/>
                  <a:pt x="333130" y="506015"/>
                </a:cubicBezTo>
                <a:cubicBezTo>
                  <a:pt x="329161" y="507999"/>
                  <a:pt x="327177" y="502046"/>
                  <a:pt x="331146" y="502046"/>
                </a:cubicBezTo>
                <a:close/>
                <a:moveTo>
                  <a:pt x="336702" y="500062"/>
                </a:moveTo>
                <a:cubicBezTo>
                  <a:pt x="336702" y="500062"/>
                  <a:pt x="338819" y="500062"/>
                  <a:pt x="338819" y="500062"/>
                </a:cubicBezTo>
                <a:cubicBezTo>
                  <a:pt x="340935" y="500062"/>
                  <a:pt x="343052" y="502443"/>
                  <a:pt x="340935" y="502443"/>
                </a:cubicBezTo>
                <a:cubicBezTo>
                  <a:pt x="338819" y="504824"/>
                  <a:pt x="338819" y="502443"/>
                  <a:pt x="338819" y="502443"/>
                </a:cubicBezTo>
                <a:cubicBezTo>
                  <a:pt x="338819" y="502443"/>
                  <a:pt x="336702" y="502443"/>
                  <a:pt x="336702" y="500062"/>
                </a:cubicBezTo>
                <a:close/>
                <a:moveTo>
                  <a:pt x="322732" y="498871"/>
                </a:moveTo>
                <a:cubicBezTo>
                  <a:pt x="322732" y="498871"/>
                  <a:pt x="322732" y="496887"/>
                  <a:pt x="324637" y="498871"/>
                </a:cubicBezTo>
                <a:cubicBezTo>
                  <a:pt x="326542" y="498871"/>
                  <a:pt x="328447" y="498871"/>
                  <a:pt x="328447" y="500855"/>
                </a:cubicBezTo>
                <a:cubicBezTo>
                  <a:pt x="330352" y="502840"/>
                  <a:pt x="324637" y="504824"/>
                  <a:pt x="322732" y="502840"/>
                </a:cubicBezTo>
                <a:cubicBezTo>
                  <a:pt x="322732" y="502840"/>
                  <a:pt x="320827" y="500855"/>
                  <a:pt x="322732" y="498871"/>
                </a:cubicBezTo>
                <a:close/>
                <a:moveTo>
                  <a:pt x="1146327" y="487997"/>
                </a:moveTo>
                <a:cubicBezTo>
                  <a:pt x="1148312" y="487997"/>
                  <a:pt x="1152281" y="485775"/>
                  <a:pt x="1152281" y="487997"/>
                </a:cubicBezTo>
                <a:cubicBezTo>
                  <a:pt x="1154265" y="490220"/>
                  <a:pt x="1150296" y="496887"/>
                  <a:pt x="1148312" y="492442"/>
                </a:cubicBezTo>
                <a:cubicBezTo>
                  <a:pt x="1146327" y="490220"/>
                  <a:pt x="1146327" y="490220"/>
                  <a:pt x="1146327" y="487997"/>
                </a:cubicBezTo>
                <a:close/>
                <a:moveTo>
                  <a:pt x="339347" y="487892"/>
                </a:moveTo>
                <a:cubicBezTo>
                  <a:pt x="339347" y="485775"/>
                  <a:pt x="339347" y="487892"/>
                  <a:pt x="341464" y="487892"/>
                </a:cubicBezTo>
                <a:cubicBezTo>
                  <a:pt x="341464" y="490008"/>
                  <a:pt x="341464" y="492125"/>
                  <a:pt x="339347" y="492125"/>
                </a:cubicBezTo>
                <a:cubicBezTo>
                  <a:pt x="335114" y="492125"/>
                  <a:pt x="335114" y="487892"/>
                  <a:pt x="339347" y="487892"/>
                </a:cubicBezTo>
                <a:close/>
                <a:moveTo>
                  <a:pt x="330881" y="484641"/>
                </a:moveTo>
                <a:cubicBezTo>
                  <a:pt x="330881" y="484641"/>
                  <a:pt x="332997" y="482600"/>
                  <a:pt x="332997" y="484641"/>
                </a:cubicBezTo>
                <a:cubicBezTo>
                  <a:pt x="335114" y="484641"/>
                  <a:pt x="335114" y="486682"/>
                  <a:pt x="335114" y="488723"/>
                </a:cubicBezTo>
                <a:cubicBezTo>
                  <a:pt x="335114" y="488723"/>
                  <a:pt x="335114" y="492805"/>
                  <a:pt x="335114" y="492805"/>
                </a:cubicBezTo>
                <a:cubicBezTo>
                  <a:pt x="332997" y="494846"/>
                  <a:pt x="330881" y="496887"/>
                  <a:pt x="328764" y="496887"/>
                </a:cubicBezTo>
                <a:cubicBezTo>
                  <a:pt x="326647" y="496887"/>
                  <a:pt x="322414" y="496887"/>
                  <a:pt x="322414" y="492805"/>
                </a:cubicBezTo>
                <a:cubicBezTo>
                  <a:pt x="322414" y="490764"/>
                  <a:pt x="322414" y="490764"/>
                  <a:pt x="324531" y="490764"/>
                </a:cubicBezTo>
                <a:cubicBezTo>
                  <a:pt x="326647" y="490764"/>
                  <a:pt x="326647" y="490764"/>
                  <a:pt x="326647" y="490764"/>
                </a:cubicBezTo>
                <a:cubicBezTo>
                  <a:pt x="326647" y="490764"/>
                  <a:pt x="328764" y="490764"/>
                  <a:pt x="330881" y="490764"/>
                </a:cubicBezTo>
                <a:cubicBezTo>
                  <a:pt x="330881" y="488723"/>
                  <a:pt x="328764" y="486682"/>
                  <a:pt x="330881" y="484641"/>
                </a:cubicBezTo>
                <a:close/>
                <a:moveTo>
                  <a:pt x="319080" y="474662"/>
                </a:moveTo>
                <a:cubicBezTo>
                  <a:pt x="319080" y="474662"/>
                  <a:pt x="321144" y="474662"/>
                  <a:pt x="321144" y="476779"/>
                </a:cubicBezTo>
                <a:cubicBezTo>
                  <a:pt x="323208" y="478895"/>
                  <a:pt x="323208" y="478895"/>
                  <a:pt x="325272" y="476779"/>
                </a:cubicBezTo>
                <a:cubicBezTo>
                  <a:pt x="325272" y="476779"/>
                  <a:pt x="329399" y="474662"/>
                  <a:pt x="329399" y="474662"/>
                </a:cubicBezTo>
                <a:cubicBezTo>
                  <a:pt x="331463" y="474662"/>
                  <a:pt x="333527" y="476779"/>
                  <a:pt x="333527" y="478895"/>
                </a:cubicBezTo>
                <a:cubicBezTo>
                  <a:pt x="333527" y="481012"/>
                  <a:pt x="329399" y="481012"/>
                  <a:pt x="329399" y="481012"/>
                </a:cubicBezTo>
                <a:cubicBezTo>
                  <a:pt x="329399" y="481012"/>
                  <a:pt x="327335" y="481012"/>
                  <a:pt x="325272" y="481012"/>
                </a:cubicBezTo>
                <a:cubicBezTo>
                  <a:pt x="323208" y="481012"/>
                  <a:pt x="312889" y="481012"/>
                  <a:pt x="319080" y="474662"/>
                </a:cubicBezTo>
                <a:close/>
                <a:moveTo>
                  <a:pt x="1131288" y="469205"/>
                </a:moveTo>
                <a:cubicBezTo>
                  <a:pt x="1133794" y="468709"/>
                  <a:pt x="1136301" y="468709"/>
                  <a:pt x="1138306" y="470694"/>
                </a:cubicBezTo>
                <a:cubicBezTo>
                  <a:pt x="1138306" y="470694"/>
                  <a:pt x="1138306" y="474662"/>
                  <a:pt x="1140311" y="474662"/>
                </a:cubicBezTo>
                <a:cubicBezTo>
                  <a:pt x="1142317" y="476647"/>
                  <a:pt x="1144322" y="478631"/>
                  <a:pt x="1146327" y="480615"/>
                </a:cubicBezTo>
                <a:cubicBezTo>
                  <a:pt x="1146327" y="482600"/>
                  <a:pt x="1144322" y="484584"/>
                  <a:pt x="1144322" y="486568"/>
                </a:cubicBezTo>
                <a:cubicBezTo>
                  <a:pt x="1142317" y="488553"/>
                  <a:pt x="1132290" y="490537"/>
                  <a:pt x="1128280" y="488553"/>
                </a:cubicBezTo>
                <a:cubicBezTo>
                  <a:pt x="1126274" y="484584"/>
                  <a:pt x="1122264" y="480615"/>
                  <a:pt x="1118253" y="480615"/>
                </a:cubicBezTo>
                <a:cubicBezTo>
                  <a:pt x="1116248" y="478631"/>
                  <a:pt x="1112238" y="478631"/>
                  <a:pt x="1112238" y="478631"/>
                </a:cubicBezTo>
                <a:cubicBezTo>
                  <a:pt x="1110232" y="476647"/>
                  <a:pt x="1108227" y="474662"/>
                  <a:pt x="1110232" y="472678"/>
                </a:cubicBezTo>
                <a:cubicBezTo>
                  <a:pt x="1112238" y="466725"/>
                  <a:pt x="1120259" y="470694"/>
                  <a:pt x="1124269" y="470694"/>
                </a:cubicBezTo>
                <a:cubicBezTo>
                  <a:pt x="1126275" y="470694"/>
                  <a:pt x="1128781" y="469701"/>
                  <a:pt x="1131288" y="469205"/>
                </a:cubicBezTo>
                <a:close/>
                <a:moveTo>
                  <a:pt x="335432" y="468312"/>
                </a:moveTo>
                <a:cubicBezTo>
                  <a:pt x="335432" y="468312"/>
                  <a:pt x="335432" y="468312"/>
                  <a:pt x="339242" y="468312"/>
                </a:cubicBezTo>
                <a:cubicBezTo>
                  <a:pt x="341147" y="468312"/>
                  <a:pt x="343052" y="470429"/>
                  <a:pt x="341147" y="470429"/>
                </a:cubicBezTo>
                <a:cubicBezTo>
                  <a:pt x="341147" y="472545"/>
                  <a:pt x="339242" y="472545"/>
                  <a:pt x="339242" y="472545"/>
                </a:cubicBezTo>
                <a:cubicBezTo>
                  <a:pt x="339242" y="472545"/>
                  <a:pt x="337337" y="474662"/>
                  <a:pt x="335432" y="474662"/>
                </a:cubicBezTo>
                <a:cubicBezTo>
                  <a:pt x="335432" y="474662"/>
                  <a:pt x="333527" y="474662"/>
                  <a:pt x="333527" y="472545"/>
                </a:cubicBezTo>
                <a:cubicBezTo>
                  <a:pt x="333527" y="470429"/>
                  <a:pt x="333527" y="470429"/>
                  <a:pt x="335432" y="468312"/>
                </a:cubicBezTo>
                <a:close/>
                <a:moveTo>
                  <a:pt x="1184427" y="454342"/>
                </a:moveTo>
                <a:cubicBezTo>
                  <a:pt x="1184427" y="454342"/>
                  <a:pt x="1188660" y="452437"/>
                  <a:pt x="1188660" y="454342"/>
                </a:cubicBezTo>
                <a:cubicBezTo>
                  <a:pt x="1190777" y="461962"/>
                  <a:pt x="1178077" y="456247"/>
                  <a:pt x="1184427" y="454342"/>
                </a:cubicBezTo>
                <a:close/>
                <a:moveTo>
                  <a:pt x="1174584" y="454025"/>
                </a:moveTo>
                <a:cubicBezTo>
                  <a:pt x="1176807" y="454025"/>
                  <a:pt x="1181252" y="454025"/>
                  <a:pt x="1181252" y="456142"/>
                </a:cubicBezTo>
                <a:cubicBezTo>
                  <a:pt x="1181252" y="458258"/>
                  <a:pt x="1181252" y="460375"/>
                  <a:pt x="1179030" y="460375"/>
                </a:cubicBezTo>
                <a:cubicBezTo>
                  <a:pt x="1179030" y="460375"/>
                  <a:pt x="1174584" y="460375"/>
                  <a:pt x="1174584" y="460375"/>
                </a:cubicBezTo>
                <a:cubicBezTo>
                  <a:pt x="1174584" y="460375"/>
                  <a:pt x="1170139" y="460375"/>
                  <a:pt x="1170139" y="458258"/>
                </a:cubicBezTo>
                <a:cubicBezTo>
                  <a:pt x="1172362" y="454025"/>
                  <a:pt x="1172362" y="454025"/>
                  <a:pt x="1174584" y="454025"/>
                </a:cubicBezTo>
                <a:close/>
                <a:moveTo>
                  <a:pt x="1153470" y="444500"/>
                </a:moveTo>
                <a:cubicBezTo>
                  <a:pt x="1153470" y="444500"/>
                  <a:pt x="1157439" y="446484"/>
                  <a:pt x="1157439" y="446484"/>
                </a:cubicBezTo>
                <a:cubicBezTo>
                  <a:pt x="1155455" y="446484"/>
                  <a:pt x="1153470" y="448468"/>
                  <a:pt x="1153470" y="448468"/>
                </a:cubicBezTo>
                <a:cubicBezTo>
                  <a:pt x="1153470" y="450453"/>
                  <a:pt x="1153470" y="452437"/>
                  <a:pt x="1151486" y="452437"/>
                </a:cubicBezTo>
                <a:cubicBezTo>
                  <a:pt x="1151486" y="452437"/>
                  <a:pt x="1151486" y="452437"/>
                  <a:pt x="1149502" y="452437"/>
                </a:cubicBezTo>
                <a:cubicBezTo>
                  <a:pt x="1141564" y="450453"/>
                  <a:pt x="1147517" y="444500"/>
                  <a:pt x="1153470" y="444500"/>
                </a:cubicBezTo>
                <a:close/>
                <a:moveTo>
                  <a:pt x="1148708" y="436562"/>
                </a:moveTo>
                <a:cubicBezTo>
                  <a:pt x="1150693" y="436562"/>
                  <a:pt x="1152677" y="436562"/>
                  <a:pt x="1152677" y="438679"/>
                </a:cubicBezTo>
                <a:cubicBezTo>
                  <a:pt x="1150693" y="440795"/>
                  <a:pt x="1148708" y="442912"/>
                  <a:pt x="1148708" y="442912"/>
                </a:cubicBezTo>
                <a:cubicBezTo>
                  <a:pt x="1148708" y="442912"/>
                  <a:pt x="1146724" y="442912"/>
                  <a:pt x="1146724" y="442912"/>
                </a:cubicBezTo>
                <a:cubicBezTo>
                  <a:pt x="1144739" y="440795"/>
                  <a:pt x="1144739" y="440795"/>
                  <a:pt x="1146724" y="438679"/>
                </a:cubicBezTo>
                <a:cubicBezTo>
                  <a:pt x="1146724" y="436562"/>
                  <a:pt x="1148708" y="436562"/>
                  <a:pt x="1148708" y="436562"/>
                </a:cubicBezTo>
                <a:close/>
                <a:moveTo>
                  <a:pt x="1126642" y="436562"/>
                </a:moveTo>
                <a:cubicBezTo>
                  <a:pt x="1128706" y="436562"/>
                  <a:pt x="1130769" y="436562"/>
                  <a:pt x="1132833" y="436562"/>
                </a:cubicBezTo>
                <a:cubicBezTo>
                  <a:pt x="1134897" y="436562"/>
                  <a:pt x="1136961" y="436562"/>
                  <a:pt x="1136961" y="436562"/>
                </a:cubicBezTo>
                <a:cubicBezTo>
                  <a:pt x="1139025" y="436562"/>
                  <a:pt x="1141088" y="438679"/>
                  <a:pt x="1143152" y="438679"/>
                </a:cubicBezTo>
                <a:cubicBezTo>
                  <a:pt x="1143152" y="440795"/>
                  <a:pt x="1143152" y="440795"/>
                  <a:pt x="1143152" y="442912"/>
                </a:cubicBezTo>
                <a:cubicBezTo>
                  <a:pt x="1141088" y="442912"/>
                  <a:pt x="1136961" y="442912"/>
                  <a:pt x="1134897" y="442912"/>
                </a:cubicBezTo>
                <a:cubicBezTo>
                  <a:pt x="1130769" y="442912"/>
                  <a:pt x="1124578" y="442912"/>
                  <a:pt x="1124578" y="442912"/>
                </a:cubicBezTo>
                <a:cubicBezTo>
                  <a:pt x="1124578" y="442912"/>
                  <a:pt x="1122514" y="442912"/>
                  <a:pt x="1124578" y="440795"/>
                </a:cubicBezTo>
                <a:cubicBezTo>
                  <a:pt x="1124578" y="438679"/>
                  <a:pt x="1124578" y="438679"/>
                  <a:pt x="1126642" y="436562"/>
                </a:cubicBezTo>
                <a:close/>
                <a:moveTo>
                  <a:pt x="1196542" y="419100"/>
                </a:moveTo>
                <a:cubicBezTo>
                  <a:pt x="1196542" y="419100"/>
                  <a:pt x="1202558" y="419100"/>
                  <a:pt x="1202558" y="421084"/>
                </a:cubicBezTo>
                <a:cubicBezTo>
                  <a:pt x="1202558" y="421084"/>
                  <a:pt x="1202558" y="423069"/>
                  <a:pt x="1202558" y="425053"/>
                </a:cubicBezTo>
                <a:cubicBezTo>
                  <a:pt x="1200552" y="425053"/>
                  <a:pt x="1198547" y="427037"/>
                  <a:pt x="1198547" y="429022"/>
                </a:cubicBezTo>
                <a:cubicBezTo>
                  <a:pt x="1196542" y="431006"/>
                  <a:pt x="1198547" y="432990"/>
                  <a:pt x="1200552" y="434975"/>
                </a:cubicBezTo>
                <a:cubicBezTo>
                  <a:pt x="1204563" y="434975"/>
                  <a:pt x="1206568" y="436959"/>
                  <a:pt x="1208573" y="434975"/>
                </a:cubicBezTo>
                <a:cubicBezTo>
                  <a:pt x="1208573" y="432990"/>
                  <a:pt x="1208573" y="432990"/>
                  <a:pt x="1208573" y="431006"/>
                </a:cubicBezTo>
                <a:cubicBezTo>
                  <a:pt x="1210579" y="429022"/>
                  <a:pt x="1212584" y="427037"/>
                  <a:pt x="1212584" y="429022"/>
                </a:cubicBezTo>
                <a:cubicBezTo>
                  <a:pt x="1214589" y="429022"/>
                  <a:pt x="1214589" y="434975"/>
                  <a:pt x="1214589" y="434975"/>
                </a:cubicBezTo>
                <a:cubicBezTo>
                  <a:pt x="1214589" y="436959"/>
                  <a:pt x="1214589" y="442912"/>
                  <a:pt x="1212584" y="442912"/>
                </a:cubicBezTo>
                <a:cubicBezTo>
                  <a:pt x="1210579" y="442912"/>
                  <a:pt x="1208573" y="440928"/>
                  <a:pt x="1206568" y="438943"/>
                </a:cubicBezTo>
                <a:cubicBezTo>
                  <a:pt x="1206568" y="436959"/>
                  <a:pt x="1200552" y="438943"/>
                  <a:pt x="1198547" y="438943"/>
                </a:cubicBezTo>
                <a:cubicBezTo>
                  <a:pt x="1196542" y="440928"/>
                  <a:pt x="1190526" y="440928"/>
                  <a:pt x="1188521" y="440928"/>
                </a:cubicBezTo>
                <a:cubicBezTo>
                  <a:pt x="1188521" y="440928"/>
                  <a:pt x="1182505" y="440928"/>
                  <a:pt x="1180500" y="440928"/>
                </a:cubicBezTo>
                <a:cubicBezTo>
                  <a:pt x="1178494" y="438943"/>
                  <a:pt x="1176489" y="436959"/>
                  <a:pt x="1176489" y="434975"/>
                </a:cubicBezTo>
                <a:cubicBezTo>
                  <a:pt x="1176489" y="432990"/>
                  <a:pt x="1178494" y="432990"/>
                  <a:pt x="1178494" y="429022"/>
                </a:cubicBezTo>
                <a:cubicBezTo>
                  <a:pt x="1176489" y="429022"/>
                  <a:pt x="1176489" y="423069"/>
                  <a:pt x="1178494" y="421084"/>
                </a:cubicBezTo>
                <a:cubicBezTo>
                  <a:pt x="1180500" y="419100"/>
                  <a:pt x="1182505" y="419100"/>
                  <a:pt x="1184510" y="421084"/>
                </a:cubicBezTo>
                <a:cubicBezTo>
                  <a:pt x="1186515" y="421084"/>
                  <a:pt x="1188521" y="421084"/>
                  <a:pt x="1190526" y="423069"/>
                </a:cubicBezTo>
                <a:cubicBezTo>
                  <a:pt x="1190526" y="425053"/>
                  <a:pt x="1194536" y="429022"/>
                  <a:pt x="1194536" y="423069"/>
                </a:cubicBezTo>
                <a:cubicBezTo>
                  <a:pt x="1194536" y="421084"/>
                  <a:pt x="1194536" y="419100"/>
                  <a:pt x="1196542" y="419100"/>
                </a:cubicBezTo>
                <a:close/>
                <a:moveTo>
                  <a:pt x="160886" y="384175"/>
                </a:moveTo>
                <a:cubicBezTo>
                  <a:pt x="162871" y="384175"/>
                  <a:pt x="164855" y="384175"/>
                  <a:pt x="164855" y="386292"/>
                </a:cubicBezTo>
                <a:cubicBezTo>
                  <a:pt x="164855" y="388408"/>
                  <a:pt x="166840" y="390525"/>
                  <a:pt x="164855" y="390525"/>
                </a:cubicBezTo>
                <a:cubicBezTo>
                  <a:pt x="162871" y="390525"/>
                  <a:pt x="160886" y="390525"/>
                  <a:pt x="160886" y="390525"/>
                </a:cubicBezTo>
                <a:cubicBezTo>
                  <a:pt x="160886" y="388408"/>
                  <a:pt x="158902" y="386292"/>
                  <a:pt x="158902" y="386292"/>
                </a:cubicBezTo>
                <a:cubicBezTo>
                  <a:pt x="158902" y="386292"/>
                  <a:pt x="158902" y="384175"/>
                  <a:pt x="160886" y="384175"/>
                </a:cubicBezTo>
                <a:close/>
                <a:moveTo>
                  <a:pt x="141439" y="379412"/>
                </a:moveTo>
                <a:cubicBezTo>
                  <a:pt x="143556" y="379412"/>
                  <a:pt x="145672" y="379412"/>
                  <a:pt x="147789" y="379412"/>
                </a:cubicBezTo>
                <a:cubicBezTo>
                  <a:pt x="147789" y="380999"/>
                  <a:pt x="147789" y="382587"/>
                  <a:pt x="147789" y="382587"/>
                </a:cubicBezTo>
                <a:cubicBezTo>
                  <a:pt x="147789" y="382587"/>
                  <a:pt x="143556" y="382587"/>
                  <a:pt x="141439" y="382587"/>
                </a:cubicBezTo>
                <a:cubicBezTo>
                  <a:pt x="141439" y="380999"/>
                  <a:pt x="141439" y="379412"/>
                  <a:pt x="141439" y="379412"/>
                </a:cubicBezTo>
                <a:close/>
                <a:moveTo>
                  <a:pt x="1140374" y="370522"/>
                </a:moveTo>
                <a:cubicBezTo>
                  <a:pt x="1142358" y="368300"/>
                  <a:pt x="1144343" y="368300"/>
                  <a:pt x="1144343" y="370522"/>
                </a:cubicBezTo>
                <a:cubicBezTo>
                  <a:pt x="1146327" y="372745"/>
                  <a:pt x="1146327" y="374967"/>
                  <a:pt x="1146327" y="374967"/>
                </a:cubicBezTo>
                <a:cubicBezTo>
                  <a:pt x="1146327" y="377190"/>
                  <a:pt x="1144343" y="379412"/>
                  <a:pt x="1142358" y="377190"/>
                </a:cubicBezTo>
                <a:cubicBezTo>
                  <a:pt x="1140374" y="377190"/>
                  <a:pt x="1138389" y="374967"/>
                  <a:pt x="1138389" y="374967"/>
                </a:cubicBezTo>
                <a:cubicBezTo>
                  <a:pt x="1138389" y="372745"/>
                  <a:pt x="1138389" y="372745"/>
                  <a:pt x="1140374" y="370522"/>
                </a:cubicBezTo>
                <a:close/>
                <a:moveTo>
                  <a:pt x="1138707" y="362584"/>
                </a:moveTo>
                <a:cubicBezTo>
                  <a:pt x="1140612" y="360362"/>
                  <a:pt x="1142517" y="360362"/>
                  <a:pt x="1142517" y="362584"/>
                </a:cubicBezTo>
                <a:cubicBezTo>
                  <a:pt x="1146327" y="364807"/>
                  <a:pt x="1144422" y="371474"/>
                  <a:pt x="1140612" y="369252"/>
                </a:cubicBezTo>
                <a:cubicBezTo>
                  <a:pt x="1138707" y="369252"/>
                  <a:pt x="1136802" y="367029"/>
                  <a:pt x="1136802" y="367029"/>
                </a:cubicBezTo>
                <a:cubicBezTo>
                  <a:pt x="1136802" y="364807"/>
                  <a:pt x="1136802" y="362584"/>
                  <a:pt x="1138707" y="362584"/>
                </a:cubicBezTo>
                <a:close/>
                <a:moveTo>
                  <a:pt x="1180723" y="352425"/>
                </a:moveTo>
                <a:cubicBezTo>
                  <a:pt x="1182575" y="352425"/>
                  <a:pt x="1182575" y="352425"/>
                  <a:pt x="1182575" y="354479"/>
                </a:cubicBezTo>
                <a:cubicBezTo>
                  <a:pt x="1184427" y="358588"/>
                  <a:pt x="1180723" y="364751"/>
                  <a:pt x="1180723" y="368860"/>
                </a:cubicBezTo>
                <a:cubicBezTo>
                  <a:pt x="1182575" y="375023"/>
                  <a:pt x="1182575" y="379132"/>
                  <a:pt x="1182575" y="383241"/>
                </a:cubicBezTo>
                <a:cubicBezTo>
                  <a:pt x="1184427" y="387350"/>
                  <a:pt x="1180723" y="387350"/>
                  <a:pt x="1178871" y="383241"/>
                </a:cubicBezTo>
                <a:cubicBezTo>
                  <a:pt x="1175166" y="381187"/>
                  <a:pt x="1175166" y="375023"/>
                  <a:pt x="1173314" y="370915"/>
                </a:cubicBezTo>
                <a:cubicBezTo>
                  <a:pt x="1173314" y="364751"/>
                  <a:pt x="1177018" y="360643"/>
                  <a:pt x="1177018" y="356534"/>
                </a:cubicBezTo>
                <a:cubicBezTo>
                  <a:pt x="1177018" y="356534"/>
                  <a:pt x="1177018" y="352425"/>
                  <a:pt x="1180723" y="352425"/>
                </a:cubicBezTo>
                <a:close/>
                <a:moveTo>
                  <a:pt x="1145193" y="346075"/>
                </a:moveTo>
                <a:cubicBezTo>
                  <a:pt x="1145193" y="346075"/>
                  <a:pt x="1148821" y="346075"/>
                  <a:pt x="1148821" y="348192"/>
                </a:cubicBezTo>
                <a:cubicBezTo>
                  <a:pt x="1150636" y="348192"/>
                  <a:pt x="1147007" y="350308"/>
                  <a:pt x="1147007" y="354542"/>
                </a:cubicBezTo>
                <a:cubicBezTo>
                  <a:pt x="1147007" y="354542"/>
                  <a:pt x="1148821" y="356658"/>
                  <a:pt x="1148821" y="356658"/>
                </a:cubicBezTo>
                <a:cubicBezTo>
                  <a:pt x="1150636" y="358775"/>
                  <a:pt x="1150636" y="358775"/>
                  <a:pt x="1150636" y="358775"/>
                </a:cubicBezTo>
                <a:cubicBezTo>
                  <a:pt x="1152450" y="360892"/>
                  <a:pt x="1152450" y="360892"/>
                  <a:pt x="1152450" y="363008"/>
                </a:cubicBezTo>
                <a:cubicBezTo>
                  <a:pt x="1154264" y="363008"/>
                  <a:pt x="1154264" y="369358"/>
                  <a:pt x="1154264" y="369358"/>
                </a:cubicBezTo>
                <a:cubicBezTo>
                  <a:pt x="1154264" y="371475"/>
                  <a:pt x="1152450" y="371475"/>
                  <a:pt x="1150636" y="369358"/>
                </a:cubicBezTo>
                <a:cubicBezTo>
                  <a:pt x="1148821" y="369358"/>
                  <a:pt x="1148821" y="365125"/>
                  <a:pt x="1147007" y="363008"/>
                </a:cubicBezTo>
                <a:cubicBezTo>
                  <a:pt x="1147007" y="360892"/>
                  <a:pt x="1147007" y="358775"/>
                  <a:pt x="1145193" y="358775"/>
                </a:cubicBezTo>
                <a:cubicBezTo>
                  <a:pt x="1145193" y="358775"/>
                  <a:pt x="1143378" y="354542"/>
                  <a:pt x="1143378" y="352425"/>
                </a:cubicBezTo>
                <a:cubicBezTo>
                  <a:pt x="1143378" y="352425"/>
                  <a:pt x="1141564" y="352425"/>
                  <a:pt x="1141564" y="350308"/>
                </a:cubicBezTo>
                <a:cubicBezTo>
                  <a:pt x="1141564" y="348192"/>
                  <a:pt x="1141564" y="348192"/>
                  <a:pt x="1145193" y="346075"/>
                </a:cubicBezTo>
                <a:close/>
                <a:moveTo>
                  <a:pt x="115673" y="312737"/>
                </a:moveTo>
                <a:cubicBezTo>
                  <a:pt x="117688" y="312737"/>
                  <a:pt x="121718" y="314778"/>
                  <a:pt x="123732" y="314778"/>
                </a:cubicBezTo>
                <a:cubicBezTo>
                  <a:pt x="123732" y="314778"/>
                  <a:pt x="129777" y="314778"/>
                  <a:pt x="129777" y="316819"/>
                </a:cubicBezTo>
                <a:cubicBezTo>
                  <a:pt x="131792" y="316819"/>
                  <a:pt x="137837" y="318860"/>
                  <a:pt x="137837" y="320901"/>
                </a:cubicBezTo>
                <a:cubicBezTo>
                  <a:pt x="139852" y="322942"/>
                  <a:pt x="137837" y="327024"/>
                  <a:pt x="135822" y="327024"/>
                </a:cubicBezTo>
                <a:cubicBezTo>
                  <a:pt x="133807" y="327024"/>
                  <a:pt x="129777" y="327024"/>
                  <a:pt x="127762" y="324983"/>
                </a:cubicBezTo>
                <a:cubicBezTo>
                  <a:pt x="125747" y="324983"/>
                  <a:pt x="123732" y="324983"/>
                  <a:pt x="121718" y="324983"/>
                </a:cubicBezTo>
                <a:cubicBezTo>
                  <a:pt x="119703" y="324983"/>
                  <a:pt x="115673" y="322942"/>
                  <a:pt x="113658" y="322942"/>
                </a:cubicBezTo>
                <a:cubicBezTo>
                  <a:pt x="111643" y="322942"/>
                  <a:pt x="109628" y="322942"/>
                  <a:pt x="107613" y="322942"/>
                </a:cubicBezTo>
                <a:cubicBezTo>
                  <a:pt x="105598" y="322942"/>
                  <a:pt x="101568" y="322942"/>
                  <a:pt x="99553" y="322942"/>
                </a:cubicBezTo>
                <a:cubicBezTo>
                  <a:pt x="99553" y="322942"/>
                  <a:pt x="95524" y="322942"/>
                  <a:pt x="91494" y="322942"/>
                </a:cubicBezTo>
                <a:cubicBezTo>
                  <a:pt x="89479" y="320901"/>
                  <a:pt x="87464" y="318860"/>
                  <a:pt x="87464" y="318860"/>
                </a:cubicBezTo>
                <a:cubicBezTo>
                  <a:pt x="89479" y="316819"/>
                  <a:pt x="91494" y="314778"/>
                  <a:pt x="91494" y="314778"/>
                </a:cubicBezTo>
                <a:cubicBezTo>
                  <a:pt x="91494" y="314778"/>
                  <a:pt x="95524" y="314778"/>
                  <a:pt x="97538" y="314778"/>
                </a:cubicBezTo>
                <a:cubicBezTo>
                  <a:pt x="99553" y="314778"/>
                  <a:pt x="103583" y="314778"/>
                  <a:pt x="105598" y="314778"/>
                </a:cubicBezTo>
                <a:cubicBezTo>
                  <a:pt x="107613" y="314778"/>
                  <a:pt x="109628" y="314778"/>
                  <a:pt x="111643" y="314778"/>
                </a:cubicBezTo>
                <a:cubicBezTo>
                  <a:pt x="111643" y="312737"/>
                  <a:pt x="113658" y="312737"/>
                  <a:pt x="115673" y="312737"/>
                </a:cubicBezTo>
                <a:close/>
                <a:moveTo>
                  <a:pt x="1152941" y="309562"/>
                </a:moveTo>
                <a:cubicBezTo>
                  <a:pt x="1152941" y="309562"/>
                  <a:pt x="1154793" y="309562"/>
                  <a:pt x="1156646" y="309562"/>
                </a:cubicBezTo>
                <a:cubicBezTo>
                  <a:pt x="1158498" y="309562"/>
                  <a:pt x="1162202" y="311149"/>
                  <a:pt x="1162202" y="311149"/>
                </a:cubicBezTo>
                <a:cubicBezTo>
                  <a:pt x="1162202" y="312737"/>
                  <a:pt x="1162202" y="314324"/>
                  <a:pt x="1162202" y="314324"/>
                </a:cubicBezTo>
                <a:cubicBezTo>
                  <a:pt x="1162202" y="314324"/>
                  <a:pt x="1158498" y="314324"/>
                  <a:pt x="1156646" y="312737"/>
                </a:cubicBezTo>
                <a:cubicBezTo>
                  <a:pt x="1156646" y="312737"/>
                  <a:pt x="1152941" y="312737"/>
                  <a:pt x="1152941" y="312737"/>
                </a:cubicBezTo>
                <a:cubicBezTo>
                  <a:pt x="1151089" y="312737"/>
                  <a:pt x="1151089" y="311149"/>
                  <a:pt x="1152941" y="309562"/>
                </a:cubicBezTo>
                <a:close/>
                <a:moveTo>
                  <a:pt x="1208920" y="292576"/>
                </a:moveTo>
                <a:cubicBezTo>
                  <a:pt x="1208920" y="292576"/>
                  <a:pt x="1213002" y="290512"/>
                  <a:pt x="1213002" y="292576"/>
                </a:cubicBezTo>
                <a:cubicBezTo>
                  <a:pt x="1213002" y="294639"/>
                  <a:pt x="1210961" y="300830"/>
                  <a:pt x="1210961" y="300830"/>
                </a:cubicBezTo>
                <a:cubicBezTo>
                  <a:pt x="1210961" y="302894"/>
                  <a:pt x="1206879" y="307022"/>
                  <a:pt x="1206879" y="307022"/>
                </a:cubicBezTo>
                <a:cubicBezTo>
                  <a:pt x="1206879" y="307022"/>
                  <a:pt x="1204838" y="309085"/>
                  <a:pt x="1204838" y="309085"/>
                </a:cubicBezTo>
                <a:cubicBezTo>
                  <a:pt x="1200755" y="311149"/>
                  <a:pt x="1198714" y="307022"/>
                  <a:pt x="1198714" y="304958"/>
                </a:cubicBezTo>
                <a:cubicBezTo>
                  <a:pt x="1200755" y="302894"/>
                  <a:pt x="1200755" y="302894"/>
                  <a:pt x="1200755" y="302894"/>
                </a:cubicBezTo>
                <a:cubicBezTo>
                  <a:pt x="1202796" y="300830"/>
                  <a:pt x="1202796" y="298767"/>
                  <a:pt x="1204838" y="296703"/>
                </a:cubicBezTo>
                <a:cubicBezTo>
                  <a:pt x="1206879" y="294639"/>
                  <a:pt x="1206879" y="292576"/>
                  <a:pt x="1208920" y="292576"/>
                </a:cubicBezTo>
                <a:close/>
                <a:moveTo>
                  <a:pt x="1170140" y="292100"/>
                </a:moveTo>
                <a:cubicBezTo>
                  <a:pt x="1172124" y="292100"/>
                  <a:pt x="1170140" y="292100"/>
                  <a:pt x="1174108" y="294217"/>
                </a:cubicBezTo>
                <a:cubicBezTo>
                  <a:pt x="1176093" y="296333"/>
                  <a:pt x="1176093" y="294217"/>
                  <a:pt x="1178077" y="296333"/>
                </a:cubicBezTo>
                <a:cubicBezTo>
                  <a:pt x="1178077" y="296333"/>
                  <a:pt x="1178077" y="298450"/>
                  <a:pt x="1178077" y="298450"/>
                </a:cubicBezTo>
                <a:cubicBezTo>
                  <a:pt x="1178077" y="298450"/>
                  <a:pt x="1170140" y="298450"/>
                  <a:pt x="1168155" y="298450"/>
                </a:cubicBezTo>
                <a:cubicBezTo>
                  <a:pt x="1168155" y="298450"/>
                  <a:pt x="1164187" y="296333"/>
                  <a:pt x="1164187" y="296333"/>
                </a:cubicBezTo>
                <a:cubicBezTo>
                  <a:pt x="1164187" y="296333"/>
                  <a:pt x="1162202" y="294217"/>
                  <a:pt x="1164187" y="294217"/>
                </a:cubicBezTo>
                <a:cubicBezTo>
                  <a:pt x="1166171" y="292100"/>
                  <a:pt x="1170140" y="292100"/>
                  <a:pt x="1170140" y="292100"/>
                </a:cubicBezTo>
                <a:close/>
                <a:moveTo>
                  <a:pt x="1164847" y="284162"/>
                </a:moveTo>
                <a:cubicBezTo>
                  <a:pt x="1166964" y="284162"/>
                  <a:pt x="1164847" y="288395"/>
                  <a:pt x="1164847" y="288395"/>
                </a:cubicBezTo>
                <a:cubicBezTo>
                  <a:pt x="1164847" y="288395"/>
                  <a:pt x="1162731" y="290512"/>
                  <a:pt x="1162731" y="290512"/>
                </a:cubicBezTo>
                <a:cubicBezTo>
                  <a:pt x="1160614" y="288395"/>
                  <a:pt x="1160614" y="286279"/>
                  <a:pt x="1160614" y="286279"/>
                </a:cubicBezTo>
                <a:cubicBezTo>
                  <a:pt x="1162731" y="284162"/>
                  <a:pt x="1162731" y="284162"/>
                  <a:pt x="1164847" y="284162"/>
                </a:cubicBezTo>
                <a:close/>
                <a:moveTo>
                  <a:pt x="1180458" y="280987"/>
                </a:moveTo>
                <a:cubicBezTo>
                  <a:pt x="1182443" y="280987"/>
                  <a:pt x="1184427" y="282971"/>
                  <a:pt x="1184427" y="284955"/>
                </a:cubicBezTo>
                <a:cubicBezTo>
                  <a:pt x="1184427" y="284955"/>
                  <a:pt x="1184427" y="288924"/>
                  <a:pt x="1182443" y="288924"/>
                </a:cubicBezTo>
                <a:cubicBezTo>
                  <a:pt x="1180458" y="288924"/>
                  <a:pt x="1180458" y="288924"/>
                  <a:pt x="1178474" y="288924"/>
                </a:cubicBezTo>
                <a:cubicBezTo>
                  <a:pt x="1176489" y="288924"/>
                  <a:pt x="1176489" y="286940"/>
                  <a:pt x="1176489" y="284955"/>
                </a:cubicBezTo>
                <a:cubicBezTo>
                  <a:pt x="1176489" y="284955"/>
                  <a:pt x="1176489" y="282971"/>
                  <a:pt x="1176489" y="282971"/>
                </a:cubicBezTo>
                <a:cubicBezTo>
                  <a:pt x="1176489" y="282971"/>
                  <a:pt x="1180458" y="280987"/>
                  <a:pt x="1180458" y="280987"/>
                </a:cubicBezTo>
                <a:close/>
                <a:moveTo>
                  <a:pt x="1174372" y="279400"/>
                </a:moveTo>
                <a:cubicBezTo>
                  <a:pt x="1176489" y="280987"/>
                  <a:pt x="1176489" y="280987"/>
                  <a:pt x="1176489" y="282575"/>
                </a:cubicBezTo>
                <a:cubicBezTo>
                  <a:pt x="1176489" y="284162"/>
                  <a:pt x="1174372" y="284162"/>
                  <a:pt x="1174372" y="284162"/>
                </a:cubicBezTo>
                <a:cubicBezTo>
                  <a:pt x="1174372" y="284162"/>
                  <a:pt x="1170139" y="282575"/>
                  <a:pt x="1170139" y="282575"/>
                </a:cubicBezTo>
                <a:cubicBezTo>
                  <a:pt x="1172256" y="280987"/>
                  <a:pt x="1174372" y="279400"/>
                  <a:pt x="1174372" y="279400"/>
                </a:cubicBezTo>
                <a:close/>
                <a:moveTo>
                  <a:pt x="1148709" y="274637"/>
                </a:moveTo>
                <a:cubicBezTo>
                  <a:pt x="1150561" y="274637"/>
                  <a:pt x="1152413" y="276621"/>
                  <a:pt x="1154265" y="278605"/>
                </a:cubicBezTo>
                <a:cubicBezTo>
                  <a:pt x="1154265" y="280590"/>
                  <a:pt x="1154265" y="280590"/>
                  <a:pt x="1154265" y="280590"/>
                </a:cubicBezTo>
                <a:cubicBezTo>
                  <a:pt x="1154265" y="282574"/>
                  <a:pt x="1154265" y="282574"/>
                  <a:pt x="1154265" y="282574"/>
                </a:cubicBezTo>
                <a:cubicBezTo>
                  <a:pt x="1150561" y="280590"/>
                  <a:pt x="1150561" y="280590"/>
                  <a:pt x="1150561" y="280590"/>
                </a:cubicBezTo>
                <a:cubicBezTo>
                  <a:pt x="1150561" y="280590"/>
                  <a:pt x="1146856" y="280590"/>
                  <a:pt x="1145004" y="280590"/>
                </a:cubicBezTo>
                <a:cubicBezTo>
                  <a:pt x="1145004" y="280590"/>
                  <a:pt x="1143152" y="280590"/>
                  <a:pt x="1143152" y="278605"/>
                </a:cubicBezTo>
                <a:cubicBezTo>
                  <a:pt x="1143152" y="276621"/>
                  <a:pt x="1145004" y="278605"/>
                  <a:pt x="1146856" y="276621"/>
                </a:cubicBezTo>
                <a:cubicBezTo>
                  <a:pt x="1146856" y="276621"/>
                  <a:pt x="1146856" y="274637"/>
                  <a:pt x="1148709" y="274637"/>
                </a:cubicBezTo>
                <a:close/>
                <a:moveTo>
                  <a:pt x="1180617" y="270271"/>
                </a:moveTo>
                <a:cubicBezTo>
                  <a:pt x="1180617" y="268287"/>
                  <a:pt x="1182522" y="268287"/>
                  <a:pt x="1184427" y="270271"/>
                </a:cubicBezTo>
                <a:cubicBezTo>
                  <a:pt x="1184427" y="272255"/>
                  <a:pt x="1184427" y="274240"/>
                  <a:pt x="1182522" y="276224"/>
                </a:cubicBezTo>
                <a:cubicBezTo>
                  <a:pt x="1182522" y="276224"/>
                  <a:pt x="1180617" y="276224"/>
                  <a:pt x="1178712" y="276224"/>
                </a:cubicBezTo>
                <a:cubicBezTo>
                  <a:pt x="1178712" y="276224"/>
                  <a:pt x="1176807" y="276224"/>
                  <a:pt x="1176807" y="276224"/>
                </a:cubicBezTo>
                <a:cubicBezTo>
                  <a:pt x="1176807" y="276224"/>
                  <a:pt x="1174902" y="274240"/>
                  <a:pt x="1176807" y="272255"/>
                </a:cubicBezTo>
                <a:cubicBezTo>
                  <a:pt x="1176807" y="272255"/>
                  <a:pt x="1178712" y="270271"/>
                  <a:pt x="1180617" y="270271"/>
                </a:cubicBezTo>
                <a:close/>
                <a:moveTo>
                  <a:pt x="1166171" y="267096"/>
                </a:moveTo>
                <a:cubicBezTo>
                  <a:pt x="1168156" y="267096"/>
                  <a:pt x="1168156" y="269080"/>
                  <a:pt x="1168156" y="271065"/>
                </a:cubicBezTo>
                <a:cubicBezTo>
                  <a:pt x="1170140" y="273049"/>
                  <a:pt x="1168156" y="273049"/>
                  <a:pt x="1168156" y="273049"/>
                </a:cubicBezTo>
                <a:cubicBezTo>
                  <a:pt x="1168156" y="273049"/>
                  <a:pt x="1162202" y="273049"/>
                  <a:pt x="1162202" y="273049"/>
                </a:cubicBezTo>
                <a:cubicBezTo>
                  <a:pt x="1162202" y="273049"/>
                  <a:pt x="1162202" y="269080"/>
                  <a:pt x="1164187" y="269080"/>
                </a:cubicBezTo>
                <a:cubicBezTo>
                  <a:pt x="1166171" y="267096"/>
                  <a:pt x="1166171" y="265112"/>
                  <a:pt x="1166171" y="267096"/>
                </a:cubicBezTo>
                <a:close/>
                <a:moveTo>
                  <a:pt x="1174902" y="265112"/>
                </a:moveTo>
                <a:cubicBezTo>
                  <a:pt x="1174902" y="265112"/>
                  <a:pt x="1176489" y="265112"/>
                  <a:pt x="1176489" y="267017"/>
                </a:cubicBezTo>
                <a:cubicBezTo>
                  <a:pt x="1176489" y="270827"/>
                  <a:pt x="1173314" y="274637"/>
                  <a:pt x="1173314" y="268922"/>
                </a:cubicBezTo>
                <a:cubicBezTo>
                  <a:pt x="1173314" y="268922"/>
                  <a:pt x="1174902" y="265112"/>
                  <a:pt x="1174902" y="265112"/>
                </a:cubicBezTo>
                <a:close/>
                <a:moveTo>
                  <a:pt x="1178474" y="263525"/>
                </a:moveTo>
                <a:cubicBezTo>
                  <a:pt x="1180458" y="263525"/>
                  <a:pt x="1182443" y="263525"/>
                  <a:pt x="1182443" y="265112"/>
                </a:cubicBezTo>
                <a:cubicBezTo>
                  <a:pt x="1184427" y="268287"/>
                  <a:pt x="1176489" y="268287"/>
                  <a:pt x="1176489" y="265112"/>
                </a:cubicBezTo>
                <a:cubicBezTo>
                  <a:pt x="1176489" y="263525"/>
                  <a:pt x="1176489" y="263525"/>
                  <a:pt x="1178474" y="263525"/>
                </a:cubicBezTo>
                <a:close/>
                <a:moveTo>
                  <a:pt x="1198079" y="250825"/>
                </a:moveTo>
                <a:cubicBezTo>
                  <a:pt x="1198079" y="250825"/>
                  <a:pt x="1201889" y="252942"/>
                  <a:pt x="1199984" y="255058"/>
                </a:cubicBezTo>
                <a:cubicBezTo>
                  <a:pt x="1199984" y="255058"/>
                  <a:pt x="1194269" y="263525"/>
                  <a:pt x="1192364" y="257175"/>
                </a:cubicBezTo>
                <a:cubicBezTo>
                  <a:pt x="1192364" y="255058"/>
                  <a:pt x="1196174" y="252942"/>
                  <a:pt x="1198079" y="250825"/>
                </a:cubicBezTo>
                <a:close/>
                <a:moveTo>
                  <a:pt x="1201096" y="242887"/>
                </a:moveTo>
                <a:cubicBezTo>
                  <a:pt x="1201096" y="242887"/>
                  <a:pt x="1203081" y="242887"/>
                  <a:pt x="1203081" y="244871"/>
                </a:cubicBezTo>
                <a:cubicBezTo>
                  <a:pt x="1205065" y="250824"/>
                  <a:pt x="1201096" y="250824"/>
                  <a:pt x="1199112" y="246855"/>
                </a:cubicBezTo>
                <a:cubicBezTo>
                  <a:pt x="1197127" y="244871"/>
                  <a:pt x="1199112" y="242887"/>
                  <a:pt x="1201096" y="242887"/>
                </a:cubicBezTo>
                <a:close/>
                <a:moveTo>
                  <a:pt x="1177283" y="242887"/>
                </a:moveTo>
                <a:cubicBezTo>
                  <a:pt x="1179268" y="242887"/>
                  <a:pt x="1181252" y="244871"/>
                  <a:pt x="1181252" y="246855"/>
                </a:cubicBezTo>
                <a:cubicBezTo>
                  <a:pt x="1181252" y="250824"/>
                  <a:pt x="1177283" y="250824"/>
                  <a:pt x="1175299" y="250824"/>
                </a:cubicBezTo>
                <a:cubicBezTo>
                  <a:pt x="1173314" y="248840"/>
                  <a:pt x="1173314" y="248840"/>
                  <a:pt x="1173314" y="246855"/>
                </a:cubicBezTo>
                <a:cubicBezTo>
                  <a:pt x="1173314" y="244871"/>
                  <a:pt x="1175299" y="242887"/>
                  <a:pt x="1177283" y="242887"/>
                </a:cubicBezTo>
                <a:close/>
                <a:moveTo>
                  <a:pt x="1208013" y="222779"/>
                </a:moveTo>
                <a:cubicBezTo>
                  <a:pt x="1210054" y="220662"/>
                  <a:pt x="1210054" y="220662"/>
                  <a:pt x="1212095" y="222779"/>
                </a:cubicBezTo>
                <a:cubicBezTo>
                  <a:pt x="1216177" y="224895"/>
                  <a:pt x="1216177" y="229129"/>
                  <a:pt x="1216177" y="231245"/>
                </a:cubicBezTo>
                <a:cubicBezTo>
                  <a:pt x="1216177" y="231245"/>
                  <a:pt x="1214136" y="235479"/>
                  <a:pt x="1214136" y="235479"/>
                </a:cubicBezTo>
                <a:cubicBezTo>
                  <a:pt x="1212095" y="237595"/>
                  <a:pt x="1201889" y="239712"/>
                  <a:pt x="1203930" y="233362"/>
                </a:cubicBezTo>
                <a:cubicBezTo>
                  <a:pt x="1205971" y="231245"/>
                  <a:pt x="1205971" y="231245"/>
                  <a:pt x="1208013" y="229129"/>
                </a:cubicBezTo>
                <a:cubicBezTo>
                  <a:pt x="1208013" y="227012"/>
                  <a:pt x="1205971" y="224895"/>
                  <a:pt x="1208013" y="222779"/>
                </a:cubicBezTo>
                <a:close/>
                <a:moveTo>
                  <a:pt x="1188509" y="83079"/>
                </a:moveTo>
                <a:cubicBezTo>
                  <a:pt x="1190324" y="85195"/>
                  <a:pt x="1192138" y="85195"/>
                  <a:pt x="1192138" y="87312"/>
                </a:cubicBezTo>
                <a:cubicBezTo>
                  <a:pt x="1193952" y="93662"/>
                  <a:pt x="1193952" y="100012"/>
                  <a:pt x="1186695" y="95779"/>
                </a:cubicBezTo>
                <a:cubicBezTo>
                  <a:pt x="1183066" y="95779"/>
                  <a:pt x="1181252" y="91545"/>
                  <a:pt x="1183066" y="85195"/>
                </a:cubicBezTo>
                <a:cubicBezTo>
                  <a:pt x="1184881" y="85195"/>
                  <a:pt x="1186695" y="80962"/>
                  <a:pt x="1188509" y="83079"/>
                </a:cubicBezTo>
                <a:close/>
                <a:moveTo>
                  <a:pt x="1145106" y="63500"/>
                </a:moveTo>
                <a:cubicBezTo>
                  <a:pt x="1145106" y="63500"/>
                  <a:pt x="1150968" y="63500"/>
                  <a:pt x="1150968" y="63500"/>
                </a:cubicBezTo>
                <a:cubicBezTo>
                  <a:pt x="1152921" y="65484"/>
                  <a:pt x="1154875" y="69453"/>
                  <a:pt x="1154875" y="71437"/>
                </a:cubicBezTo>
                <a:cubicBezTo>
                  <a:pt x="1156829" y="73422"/>
                  <a:pt x="1160737" y="75406"/>
                  <a:pt x="1162691" y="75406"/>
                </a:cubicBezTo>
                <a:cubicBezTo>
                  <a:pt x="1164644" y="77390"/>
                  <a:pt x="1168552" y="79375"/>
                  <a:pt x="1168552" y="81359"/>
                </a:cubicBezTo>
                <a:cubicBezTo>
                  <a:pt x="1166598" y="83343"/>
                  <a:pt x="1166598" y="85328"/>
                  <a:pt x="1166598" y="85328"/>
                </a:cubicBezTo>
                <a:cubicBezTo>
                  <a:pt x="1160737" y="87312"/>
                  <a:pt x="1154875" y="81359"/>
                  <a:pt x="1150968" y="77390"/>
                </a:cubicBezTo>
                <a:cubicBezTo>
                  <a:pt x="1150968" y="77390"/>
                  <a:pt x="1147060" y="73422"/>
                  <a:pt x="1147060" y="71437"/>
                </a:cubicBezTo>
                <a:cubicBezTo>
                  <a:pt x="1145106" y="69453"/>
                  <a:pt x="1143152" y="67469"/>
                  <a:pt x="1145106" y="65484"/>
                </a:cubicBezTo>
                <a:cubicBezTo>
                  <a:pt x="1145106" y="65484"/>
                  <a:pt x="1145106" y="63500"/>
                  <a:pt x="1145106" y="63500"/>
                </a:cubicBezTo>
                <a:close/>
                <a:moveTo>
                  <a:pt x="1177283" y="60801"/>
                </a:moveTo>
                <a:cubicBezTo>
                  <a:pt x="1179267" y="62864"/>
                  <a:pt x="1181252" y="66992"/>
                  <a:pt x="1181252" y="69055"/>
                </a:cubicBezTo>
                <a:cubicBezTo>
                  <a:pt x="1181252" y="69055"/>
                  <a:pt x="1183236" y="71119"/>
                  <a:pt x="1185220" y="73183"/>
                </a:cubicBezTo>
                <a:cubicBezTo>
                  <a:pt x="1189189" y="73183"/>
                  <a:pt x="1189189" y="77310"/>
                  <a:pt x="1189189" y="77310"/>
                </a:cubicBezTo>
                <a:cubicBezTo>
                  <a:pt x="1185220" y="79374"/>
                  <a:pt x="1181252" y="79374"/>
                  <a:pt x="1179267" y="75247"/>
                </a:cubicBezTo>
                <a:cubicBezTo>
                  <a:pt x="1177283" y="75247"/>
                  <a:pt x="1175299" y="71119"/>
                  <a:pt x="1175299" y="69055"/>
                </a:cubicBezTo>
                <a:cubicBezTo>
                  <a:pt x="1173314" y="69055"/>
                  <a:pt x="1173314" y="64928"/>
                  <a:pt x="1173314" y="62864"/>
                </a:cubicBezTo>
                <a:cubicBezTo>
                  <a:pt x="1173314" y="60801"/>
                  <a:pt x="1177283" y="58737"/>
                  <a:pt x="1177283" y="60801"/>
                </a:cubicBezTo>
                <a:close/>
                <a:moveTo>
                  <a:pt x="570064" y="55562"/>
                </a:moveTo>
                <a:cubicBezTo>
                  <a:pt x="572105" y="55562"/>
                  <a:pt x="574146" y="55562"/>
                  <a:pt x="576188" y="55562"/>
                </a:cubicBezTo>
                <a:cubicBezTo>
                  <a:pt x="576188" y="57546"/>
                  <a:pt x="578229" y="57546"/>
                  <a:pt x="580270" y="59530"/>
                </a:cubicBezTo>
                <a:cubicBezTo>
                  <a:pt x="582311" y="59530"/>
                  <a:pt x="584352" y="59530"/>
                  <a:pt x="582311" y="61515"/>
                </a:cubicBezTo>
                <a:cubicBezTo>
                  <a:pt x="582311" y="63499"/>
                  <a:pt x="576188" y="63499"/>
                  <a:pt x="576188" y="63499"/>
                </a:cubicBezTo>
                <a:cubicBezTo>
                  <a:pt x="576188" y="63499"/>
                  <a:pt x="572105" y="61515"/>
                  <a:pt x="572105" y="59530"/>
                </a:cubicBezTo>
                <a:cubicBezTo>
                  <a:pt x="572105" y="59530"/>
                  <a:pt x="570064" y="57546"/>
                  <a:pt x="570064" y="55562"/>
                </a:cubicBezTo>
                <a:close/>
                <a:moveTo>
                  <a:pt x="456232" y="50800"/>
                </a:moveTo>
                <a:cubicBezTo>
                  <a:pt x="456232" y="50800"/>
                  <a:pt x="464449" y="52876"/>
                  <a:pt x="466504" y="54952"/>
                </a:cubicBezTo>
                <a:cubicBezTo>
                  <a:pt x="468558" y="57028"/>
                  <a:pt x="472667" y="61180"/>
                  <a:pt x="474721" y="63255"/>
                </a:cubicBezTo>
                <a:cubicBezTo>
                  <a:pt x="474721" y="63255"/>
                  <a:pt x="478830" y="65331"/>
                  <a:pt x="478830" y="65331"/>
                </a:cubicBezTo>
                <a:cubicBezTo>
                  <a:pt x="480884" y="65331"/>
                  <a:pt x="482939" y="65331"/>
                  <a:pt x="484993" y="65331"/>
                </a:cubicBezTo>
                <a:cubicBezTo>
                  <a:pt x="487048" y="67407"/>
                  <a:pt x="489102" y="71559"/>
                  <a:pt x="489102" y="73635"/>
                </a:cubicBezTo>
                <a:cubicBezTo>
                  <a:pt x="489102" y="73635"/>
                  <a:pt x="489102" y="77787"/>
                  <a:pt x="487048" y="77787"/>
                </a:cubicBezTo>
                <a:cubicBezTo>
                  <a:pt x="484993" y="77787"/>
                  <a:pt x="478830" y="75711"/>
                  <a:pt x="476776" y="75711"/>
                </a:cubicBezTo>
                <a:cubicBezTo>
                  <a:pt x="474721" y="73635"/>
                  <a:pt x="470612" y="69483"/>
                  <a:pt x="468558" y="69483"/>
                </a:cubicBezTo>
                <a:cubicBezTo>
                  <a:pt x="466504" y="69483"/>
                  <a:pt x="462395" y="69483"/>
                  <a:pt x="462395" y="67407"/>
                </a:cubicBezTo>
                <a:cubicBezTo>
                  <a:pt x="460340" y="67407"/>
                  <a:pt x="458286" y="65331"/>
                  <a:pt x="458286" y="65331"/>
                </a:cubicBezTo>
                <a:cubicBezTo>
                  <a:pt x="456232" y="63255"/>
                  <a:pt x="456232" y="59104"/>
                  <a:pt x="456232" y="57028"/>
                </a:cubicBezTo>
                <a:cubicBezTo>
                  <a:pt x="454177" y="54952"/>
                  <a:pt x="456232" y="50800"/>
                  <a:pt x="456232" y="50800"/>
                </a:cubicBezTo>
                <a:close/>
                <a:moveTo>
                  <a:pt x="594441" y="41275"/>
                </a:moveTo>
                <a:cubicBezTo>
                  <a:pt x="596438" y="41275"/>
                  <a:pt x="600432" y="43329"/>
                  <a:pt x="602429" y="43329"/>
                </a:cubicBezTo>
                <a:cubicBezTo>
                  <a:pt x="602429" y="43329"/>
                  <a:pt x="606424" y="47438"/>
                  <a:pt x="608421" y="47438"/>
                </a:cubicBezTo>
                <a:cubicBezTo>
                  <a:pt x="610418" y="49493"/>
                  <a:pt x="614413" y="49493"/>
                  <a:pt x="616410" y="49493"/>
                </a:cubicBezTo>
                <a:cubicBezTo>
                  <a:pt x="618407" y="49493"/>
                  <a:pt x="620404" y="49493"/>
                  <a:pt x="622401" y="51547"/>
                </a:cubicBezTo>
                <a:cubicBezTo>
                  <a:pt x="622401" y="51547"/>
                  <a:pt x="628393" y="51547"/>
                  <a:pt x="628393" y="53601"/>
                </a:cubicBezTo>
                <a:cubicBezTo>
                  <a:pt x="630390" y="55656"/>
                  <a:pt x="628393" y="55656"/>
                  <a:pt x="628393" y="57710"/>
                </a:cubicBezTo>
                <a:cubicBezTo>
                  <a:pt x="626396" y="57710"/>
                  <a:pt x="622401" y="57710"/>
                  <a:pt x="620404" y="57710"/>
                </a:cubicBezTo>
                <a:cubicBezTo>
                  <a:pt x="618407" y="59765"/>
                  <a:pt x="616410" y="59765"/>
                  <a:pt x="618407" y="61819"/>
                </a:cubicBezTo>
                <a:cubicBezTo>
                  <a:pt x="620404" y="61819"/>
                  <a:pt x="622401" y="63873"/>
                  <a:pt x="622401" y="67982"/>
                </a:cubicBezTo>
                <a:cubicBezTo>
                  <a:pt x="622401" y="70037"/>
                  <a:pt x="622401" y="74146"/>
                  <a:pt x="620404" y="76200"/>
                </a:cubicBezTo>
                <a:cubicBezTo>
                  <a:pt x="618407" y="76200"/>
                  <a:pt x="614413" y="74146"/>
                  <a:pt x="614413" y="74146"/>
                </a:cubicBezTo>
                <a:cubicBezTo>
                  <a:pt x="610418" y="67982"/>
                  <a:pt x="604427" y="65928"/>
                  <a:pt x="600432" y="63873"/>
                </a:cubicBezTo>
                <a:cubicBezTo>
                  <a:pt x="598435" y="63873"/>
                  <a:pt x="594441" y="61819"/>
                  <a:pt x="592443" y="61819"/>
                </a:cubicBezTo>
                <a:cubicBezTo>
                  <a:pt x="592443" y="61819"/>
                  <a:pt x="592443" y="61819"/>
                  <a:pt x="590446" y="59765"/>
                </a:cubicBezTo>
                <a:cubicBezTo>
                  <a:pt x="588449" y="57710"/>
                  <a:pt x="586452" y="57710"/>
                  <a:pt x="586452" y="57710"/>
                </a:cubicBezTo>
                <a:cubicBezTo>
                  <a:pt x="584455" y="57710"/>
                  <a:pt x="582457" y="57710"/>
                  <a:pt x="580460" y="57710"/>
                </a:cubicBezTo>
                <a:cubicBezTo>
                  <a:pt x="580460" y="57710"/>
                  <a:pt x="580460" y="55656"/>
                  <a:pt x="578463" y="53601"/>
                </a:cubicBezTo>
                <a:cubicBezTo>
                  <a:pt x="576466" y="51547"/>
                  <a:pt x="576466" y="51547"/>
                  <a:pt x="574469" y="49493"/>
                </a:cubicBezTo>
                <a:cubicBezTo>
                  <a:pt x="572472" y="49493"/>
                  <a:pt x="570474" y="51547"/>
                  <a:pt x="570474" y="49493"/>
                </a:cubicBezTo>
                <a:cubicBezTo>
                  <a:pt x="568477" y="47438"/>
                  <a:pt x="570474" y="45384"/>
                  <a:pt x="570474" y="45384"/>
                </a:cubicBezTo>
                <a:cubicBezTo>
                  <a:pt x="570474" y="45384"/>
                  <a:pt x="574469" y="43329"/>
                  <a:pt x="574469" y="43329"/>
                </a:cubicBezTo>
                <a:cubicBezTo>
                  <a:pt x="574469" y="43329"/>
                  <a:pt x="578463" y="43329"/>
                  <a:pt x="580460" y="45384"/>
                </a:cubicBezTo>
                <a:cubicBezTo>
                  <a:pt x="584455" y="45384"/>
                  <a:pt x="586452" y="45384"/>
                  <a:pt x="588449" y="43329"/>
                </a:cubicBezTo>
                <a:cubicBezTo>
                  <a:pt x="590446" y="43329"/>
                  <a:pt x="592443" y="41275"/>
                  <a:pt x="594441" y="41275"/>
                </a:cubicBezTo>
                <a:close/>
                <a:moveTo>
                  <a:pt x="694287" y="33337"/>
                </a:moveTo>
                <a:cubicBezTo>
                  <a:pt x="694287" y="33337"/>
                  <a:pt x="698256" y="33337"/>
                  <a:pt x="700240" y="35718"/>
                </a:cubicBezTo>
                <a:cubicBezTo>
                  <a:pt x="700240" y="35718"/>
                  <a:pt x="700240" y="38099"/>
                  <a:pt x="698256" y="38099"/>
                </a:cubicBezTo>
                <a:cubicBezTo>
                  <a:pt x="698256" y="38099"/>
                  <a:pt x="694287" y="38099"/>
                  <a:pt x="694287" y="35718"/>
                </a:cubicBezTo>
                <a:cubicBezTo>
                  <a:pt x="692302" y="35718"/>
                  <a:pt x="694287" y="33337"/>
                  <a:pt x="694287" y="33337"/>
                </a:cubicBezTo>
                <a:close/>
                <a:moveTo>
                  <a:pt x="768414" y="0"/>
                </a:moveTo>
                <a:cubicBezTo>
                  <a:pt x="788359" y="0"/>
                  <a:pt x="788359" y="0"/>
                  <a:pt x="788359" y="0"/>
                </a:cubicBezTo>
                <a:cubicBezTo>
                  <a:pt x="788359" y="0"/>
                  <a:pt x="792348" y="3989"/>
                  <a:pt x="792348" y="3989"/>
                </a:cubicBezTo>
                <a:cubicBezTo>
                  <a:pt x="794342" y="3989"/>
                  <a:pt x="798331" y="5983"/>
                  <a:pt x="798331" y="5983"/>
                </a:cubicBezTo>
                <a:cubicBezTo>
                  <a:pt x="800325" y="3989"/>
                  <a:pt x="798331" y="0"/>
                  <a:pt x="798331" y="0"/>
                </a:cubicBezTo>
                <a:cubicBezTo>
                  <a:pt x="1033674" y="0"/>
                  <a:pt x="1033674" y="0"/>
                  <a:pt x="1033674" y="0"/>
                </a:cubicBezTo>
                <a:cubicBezTo>
                  <a:pt x="1033674" y="0"/>
                  <a:pt x="1035668" y="1994"/>
                  <a:pt x="1035668" y="3989"/>
                </a:cubicBezTo>
                <a:cubicBezTo>
                  <a:pt x="1035668" y="5983"/>
                  <a:pt x="1033674" y="7977"/>
                  <a:pt x="1033674" y="7977"/>
                </a:cubicBezTo>
                <a:cubicBezTo>
                  <a:pt x="1033674" y="9972"/>
                  <a:pt x="1029685" y="9972"/>
                  <a:pt x="1029685" y="9972"/>
                </a:cubicBezTo>
                <a:cubicBezTo>
                  <a:pt x="1027690" y="9972"/>
                  <a:pt x="1025696" y="9972"/>
                  <a:pt x="1023702" y="9972"/>
                </a:cubicBezTo>
                <a:cubicBezTo>
                  <a:pt x="1021707" y="9972"/>
                  <a:pt x="1019713" y="9972"/>
                  <a:pt x="1017718" y="9972"/>
                </a:cubicBezTo>
                <a:cubicBezTo>
                  <a:pt x="1015724" y="9972"/>
                  <a:pt x="1007746" y="9972"/>
                  <a:pt x="1007746" y="9972"/>
                </a:cubicBezTo>
                <a:cubicBezTo>
                  <a:pt x="1007746" y="9972"/>
                  <a:pt x="999768" y="9972"/>
                  <a:pt x="999768" y="9972"/>
                </a:cubicBezTo>
                <a:cubicBezTo>
                  <a:pt x="997774" y="9972"/>
                  <a:pt x="991791" y="9972"/>
                  <a:pt x="989796" y="9972"/>
                </a:cubicBezTo>
                <a:cubicBezTo>
                  <a:pt x="989796" y="9972"/>
                  <a:pt x="983813" y="9972"/>
                  <a:pt x="981818" y="9972"/>
                </a:cubicBezTo>
                <a:cubicBezTo>
                  <a:pt x="981818" y="9972"/>
                  <a:pt x="973841" y="9972"/>
                  <a:pt x="969852" y="9972"/>
                </a:cubicBezTo>
                <a:cubicBezTo>
                  <a:pt x="967857" y="9972"/>
                  <a:pt x="957885" y="5983"/>
                  <a:pt x="955891" y="5983"/>
                </a:cubicBezTo>
                <a:cubicBezTo>
                  <a:pt x="953896" y="3989"/>
                  <a:pt x="939935" y="3989"/>
                  <a:pt x="939935" y="3989"/>
                </a:cubicBezTo>
                <a:cubicBezTo>
                  <a:pt x="937941" y="3989"/>
                  <a:pt x="931958" y="3989"/>
                  <a:pt x="927969" y="3989"/>
                </a:cubicBezTo>
                <a:cubicBezTo>
                  <a:pt x="925974" y="3989"/>
                  <a:pt x="921986" y="3989"/>
                  <a:pt x="919991" y="5983"/>
                </a:cubicBezTo>
                <a:cubicBezTo>
                  <a:pt x="917997" y="5983"/>
                  <a:pt x="904036" y="11966"/>
                  <a:pt x="902041" y="11966"/>
                </a:cubicBezTo>
                <a:cubicBezTo>
                  <a:pt x="900047" y="13960"/>
                  <a:pt x="888080" y="17949"/>
                  <a:pt x="886086" y="17949"/>
                </a:cubicBezTo>
                <a:cubicBezTo>
                  <a:pt x="882097" y="17949"/>
                  <a:pt x="876114" y="15955"/>
                  <a:pt x="874119" y="15955"/>
                </a:cubicBezTo>
                <a:cubicBezTo>
                  <a:pt x="872125" y="13960"/>
                  <a:pt x="868136" y="9972"/>
                  <a:pt x="866142" y="9972"/>
                </a:cubicBezTo>
                <a:cubicBezTo>
                  <a:pt x="866142" y="9972"/>
                  <a:pt x="866142" y="13960"/>
                  <a:pt x="868136" y="15955"/>
                </a:cubicBezTo>
                <a:cubicBezTo>
                  <a:pt x="868136" y="15955"/>
                  <a:pt x="872125" y="17949"/>
                  <a:pt x="872125" y="19943"/>
                </a:cubicBezTo>
                <a:cubicBezTo>
                  <a:pt x="872125" y="19943"/>
                  <a:pt x="866142" y="21938"/>
                  <a:pt x="866142" y="21938"/>
                </a:cubicBezTo>
                <a:cubicBezTo>
                  <a:pt x="864147" y="21938"/>
                  <a:pt x="858164" y="23932"/>
                  <a:pt x="856169" y="23932"/>
                </a:cubicBezTo>
                <a:cubicBezTo>
                  <a:pt x="854175" y="23932"/>
                  <a:pt x="848192" y="23932"/>
                  <a:pt x="846197" y="23932"/>
                </a:cubicBezTo>
                <a:cubicBezTo>
                  <a:pt x="844203" y="23932"/>
                  <a:pt x="836225" y="23932"/>
                  <a:pt x="834231" y="23932"/>
                </a:cubicBezTo>
                <a:cubicBezTo>
                  <a:pt x="832236" y="23932"/>
                  <a:pt x="826253" y="27921"/>
                  <a:pt x="824258" y="27921"/>
                </a:cubicBezTo>
                <a:cubicBezTo>
                  <a:pt x="822264" y="27921"/>
                  <a:pt x="816281" y="25926"/>
                  <a:pt x="816281" y="27921"/>
                </a:cubicBezTo>
                <a:cubicBezTo>
                  <a:pt x="816281" y="27921"/>
                  <a:pt x="818275" y="35898"/>
                  <a:pt x="818275" y="37892"/>
                </a:cubicBezTo>
                <a:cubicBezTo>
                  <a:pt x="818275" y="39887"/>
                  <a:pt x="818275" y="43875"/>
                  <a:pt x="820270" y="43875"/>
                </a:cubicBezTo>
                <a:cubicBezTo>
                  <a:pt x="822264" y="43875"/>
                  <a:pt x="822264" y="39887"/>
                  <a:pt x="824258" y="35898"/>
                </a:cubicBezTo>
                <a:cubicBezTo>
                  <a:pt x="824258" y="33904"/>
                  <a:pt x="830242" y="29915"/>
                  <a:pt x="832236" y="29915"/>
                </a:cubicBezTo>
                <a:cubicBezTo>
                  <a:pt x="836225" y="29915"/>
                  <a:pt x="844203" y="29915"/>
                  <a:pt x="848192" y="29915"/>
                </a:cubicBezTo>
                <a:cubicBezTo>
                  <a:pt x="852180" y="29915"/>
                  <a:pt x="854175" y="29915"/>
                  <a:pt x="856169" y="33904"/>
                </a:cubicBezTo>
                <a:cubicBezTo>
                  <a:pt x="858164" y="37892"/>
                  <a:pt x="862153" y="37892"/>
                  <a:pt x="862153" y="35898"/>
                </a:cubicBezTo>
                <a:cubicBezTo>
                  <a:pt x="862153" y="31909"/>
                  <a:pt x="860158" y="31909"/>
                  <a:pt x="862153" y="29915"/>
                </a:cubicBezTo>
                <a:cubicBezTo>
                  <a:pt x="864147" y="27921"/>
                  <a:pt x="872125" y="29915"/>
                  <a:pt x="872125" y="29915"/>
                </a:cubicBezTo>
                <a:cubicBezTo>
                  <a:pt x="872125" y="29915"/>
                  <a:pt x="880103" y="25926"/>
                  <a:pt x="882097" y="25926"/>
                </a:cubicBezTo>
                <a:cubicBezTo>
                  <a:pt x="886086" y="23932"/>
                  <a:pt x="890075" y="21938"/>
                  <a:pt x="892069" y="21938"/>
                </a:cubicBezTo>
                <a:cubicBezTo>
                  <a:pt x="894064" y="21938"/>
                  <a:pt x="896058" y="23932"/>
                  <a:pt x="896058" y="25926"/>
                </a:cubicBezTo>
                <a:cubicBezTo>
                  <a:pt x="898052" y="27921"/>
                  <a:pt x="898052" y="29915"/>
                  <a:pt x="900047" y="29915"/>
                </a:cubicBezTo>
                <a:cubicBezTo>
                  <a:pt x="900047" y="27921"/>
                  <a:pt x="902041" y="23932"/>
                  <a:pt x="904036" y="19943"/>
                </a:cubicBezTo>
                <a:cubicBezTo>
                  <a:pt x="906030" y="17949"/>
                  <a:pt x="908025" y="15955"/>
                  <a:pt x="910019" y="15955"/>
                </a:cubicBezTo>
                <a:cubicBezTo>
                  <a:pt x="914008" y="15955"/>
                  <a:pt x="914008" y="13960"/>
                  <a:pt x="917997" y="13960"/>
                </a:cubicBezTo>
                <a:cubicBezTo>
                  <a:pt x="919991" y="15955"/>
                  <a:pt x="923980" y="17949"/>
                  <a:pt x="923980" y="17949"/>
                </a:cubicBezTo>
                <a:cubicBezTo>
                  <a:pt x="925974" y="19943"/>
                  <a:pt x="931958" y="17949"/>
                  <a:pt x="933952" y="15955"/>
                </a:cubicBezTo>
                <a:cubicBezTo>
                  <a:pt x="935947" y="13960"/>
                  <a:pt x="941930" y="15955"/>
                  <a:pt x="943924" y="15955"/>
                </a:cubicBezTo>
                <a:cubicBezTo>
                  <a:pt x="947913" y="17949"/>
                  <a:pt x="949908" y="15955"/>
                  <a:pt x="951902" y="15955"/>
                </a:cubicBezTo>
                <a:cubicBezTo>
                  <a:pt x="955891" y="13960"/>
                  <a:pt x="961874" y="11966"/>
                  <a:pt x="963869" y="13960"/>
                </a:cubicBezTo>
                <a:cubicBezTo>
                  <a:pt x="965863" y="13960"/>
                  <a:pt x="971846" y="15955"/>
                  <a:pt x="973841" y="19943"/>
                </a:cubicBezTo>
                <a:cubicBezTo>
                  <a:pt x="975835" y="21938"/>
                  <a:pt x="979824" y="21938"/>
                  <a:pt x="981818" y="19943"/>
                </a:cubicBezTo>
                <a:cubicBezTo>
                  <a:pt x="985807" y="17949"/>
                  <a:pt x="993785" y="17949"/>
                  <a:pt x="997774" y="17949"/>
                </a:cubicBezTo>
                <a:cubicBezTo>
                  <a:pt x="999768" y="17949"/>
                  <a:pt x="1019713" y="17949"/>
                  <a:pt x="1021707" y="17949"/>
                </a:cubicBezTo>
                <a:cubicBezTo>
                  <a:pt x="1023702" y="17949"/>
                  <a:pt x="1027690" y="17949"/>
                  <a:pt x="1029685" y="15955"/>
                </a:cubicBezTo>
                <a:cubicBezTo>
                  <a:pt x="1033674" y="13960"/>
                  <a:pt x="1039657" y="9972"/>
                  <a:pt x="1041651" y="9972"/>
                </a:cubicBezTo>
                <a:cubicBezTo>
                  <a:pt x="1043646" y="9972"/>
                  <a:pt x="1049629" y="7977"/>
                  <a:pt x="1051624" y="9972"/>
                </a:cubicBezTo>
                <a:cubicBezTo>
                  <a:pt x="1053618" y="11966"/>
                  <a:pt x="1051624" y="15955"/>
                  <a:pt x="1053618" y="19943"/>
                </a:cubicBezTo>
                <a:cubicBezTo>
                  <a:pt x="1055612" y="21938"/>
                  <a:pt x="1057607" y="23932"/>
                  <a:pt x="1057607" y="23932"/>
                </a:cubicBezTo>
                <a:cubicBezTo>
                  <a:pt x="1055612" y="25926"/>
                  <a:pt x="1049629" y="23932"/>
                  <a:pt x="1049629" y="25926"/>
                </a:cubicBezTo>
                <a:cubicBezTo>
                  <a:pt x="1047635" y="27921"/>
                  <a:pt x="1049629" y="29915"/>
                  <a:pt x="1047635" y="31909"/>
                </a:cubicBezTo>
                <a:cubicBezTo>
                  <a:pt x="1045640" y="31909"/>
                  <a:pt x="1041651" y="33904"/>
                  <a:pt x="1041651" y="35898"/>
                </a:cubicBezTo>
                <a:cubicBezTo>
                  <a:pt x="1043646" y="37892"/>
                  <a:pt x="1045640" y="37892"/>
                  <a:pt x="1049629" y="37892"/>
                </a:cubicBezTo>
                <a:cubicBezTo>
                  <a:pt x="1053618" y="35898"/>
                  <a:pt x="1055612" y="31909"/>
                  <a:pt x="1059601" y="29915"/>
                </a:cubicBezTo>
                <a:cubicBezTo>
                  <a:pt x="1063590" y="29915"/>
                  <a:pt x="1065585" y="33904"/>
                  <a:pt x="1067579" y="31909"/>
                </a:cubicBezTo>
                <a:cubicBezTo>
                  <a:pt x="1069573" y="29915"/>
                  <a:pt x="1069573" y="27921"/>
                  <a:pt x="1071568" y="27921"/>
                </a:cubicBezTo>
                <a:cubicBezTo>
                  <a:pt x="1071568" y="25926"/>
                  <a:pt x="1075557" y="27921"/>
                  <a:pt x="1077551" y="29915"/>
                </a:cubicBezTo>
                <a:cubicBezTo>
                  <a:pt x="1079546" y="31909"/>
                  <a:pt x="1081540" y="31909"/>
                  <a:pt x="1083534" y="29915"/>
                </a:cubicBezTo>
                <a:cubicBezTo>
                  <a:pt x="1085529" y="25926"/>
                  <a:pt x="1085529" y="25926"/>
                  <a:pt x="1087523" y="25926"/>
                </a:cubicBezTo>
                <a:cubicBezTo>
                  <a:pt x="1087523" y="25926"/>
                  <a:pt x="1091512" y="25926"/>
                  <a:pt x="1093507" y="27921"/>
                </a:cubicBezTo>
                <a:cubicBezTo>
                  <a:pt x="1095501" y="29915"/>
                  <a:pt x="1101484" y="31909"/>
                  <a:pt x="1101484" y="31909"/>
                </a:cubicBezTo>
                <a:cubicBezTo>
                  <a:pt x="1105473" y="31909"/>
                  <a:pt x="1105473" y="31909"/>
                  <a:pt x="1107468" y="31909"/>
                </a:cubicBezTo>
                <a:cubicBezTo>
                  <a:pt x="1109462" y="33904"/>
                  <a:pt x="1111457" y="33904"/>
                  <a:pt x="1113451" y="31909"/>
                </a:cubicBezTo>
                <a:cubicBezTo>
                  <a:pt x="1113451" y="29915"/>
                  <a:pt x="1115445" y="27921"/>
                  <a:pt x="1115445" y="27921"/>
                </a:cubicBezTo>
                <a:cubicBezTo>
                  <a:pt x="1117440" y="27921"/>
                  <a:pt x="1119434" y="29915"/>
                  <a:pt x="1121429" y="31909"/>
                </a:cubicBezTo>
                <a:cubicBezTo>
                  <a:pt x="1121429" y="33904"/>
                  <a:pt x="1123423" y="33904"/>
                  <a:pt x="1127412" y="33904"/>
                </a:cubicBezTo>
                <a:cubicBezTo>
                  <a:pt x="1133395" y="33904"/>
                  <a:pt x="1135390" y="35898"/>
                  <a:pt x="1135390" y="37892"/>
                </a:cubicBezTo>
                <a:cubicBezTo>
                  <a:pt x="1133395" y="39887"/>
                  <a:pt x="1127412" y="45870"/>
                  <a:pt x="1123423" y="47864"/>
                </a:cubicBezTo>
                <a:cubicBezTo>
                  <a:pt x="1121429" y="47864"/>
                  <a:pt x="1115445" y="47864"/>
                  <a:pt x="1113451" y="51853"/>
                </a:cubicBezTo>
                <a:cubicBezTo>
                  <a:pt x="1111457" y="53847"/>
                  <a:pt x="1109462" y="57836"/>
                  <a:pt x="1107468" y="59830"/>
                </a:cubicBezTo>
                <a:cubicBezTo>
                  <a:pt x="1107468" y="59830"/>
                  <a:pt x="1095501" y="61824"/>
                  <a:pt x="1093507" y="63819"/>
                </a:cubicBezTo>
                <a:cubicBezTo>
                  <a:pt x="1091512" y="63819"/>
                  <a:pt x="1091512" y="65813"/>
                  <a:pt x="1087523" y="65813"/>
                </a:cubicBezTo>
                <a:cubicBezTo>
                  <a:pt x="1087523" y="63819"/>
                  <a:pt x="1081540" y="61824"/>
                  <a:pt x="1079546" y="61824"/>
                </a:cubicBezTo>
                <a:cubicBezTo>
                  <a:pt x="1077551" y="61824"/>
                  <a:pt x="1067579" y="65813"/>
                  <a:pt x="1065585" y="65813"/>
                </a:cubicBezTo>
                <a:cubicBezTo>
                  <a:pt x="1063590" y="67807"/>
                  <a:pt x="1053618" y="69802"/>
                  <a:pt x="1051624" y="69802"/>
                </a:cubicBezTo>
                <a:cubicBezTo>
                  <a:pt x="1049629" y="69802"/>
                  <a:pt x="1045640" y="67807"/>
                  <a:pt x="1041651" y="67807"/>
                </a:cubicBezTo>
                <a:cubicBezTo>
                  <a:pt x="1037663" y="67807"/>
                  <a:pt x="1031679" y="67807"/>
                  <a:pt x="1027690" y="65813"/>
                </a:cubicBezTo>
                <a:cubicBezTo>
                  <a:pt x="1021707" y="65813"/>
                  <a:pt x="1009741" y="65813"/>
                  <a:pt x="1009741" y="65813"/>
                </a:cubicBezTo>
                <a:cubicBezTo>
                  <a:pt x="1015724" y="85756"/>
                  <a:pt x="1013729" y="95728"/>
                  <a:pt x="1005752" y="113677"/>
                </a:cubicBezTo>
                <a:cubicBezTo>
                  <a:pt x="1005752" y="113677"/>
                  <a:pt x="1007746" y="115671"/>
                  <a:pt x="1009741" y="113677"/>
                </a:cubicBezTo>
                <a:cubicBezTo>
                  <a:pt x="1011735" y="111682"/>
                  <a:pt x="1011735" y="107694"/>
                  <a:pt x="1015724" y="107694"/>
                </a:cubicBezTo>
                <a:cubicBezTo>
                  <a:pt x="1019713" y="107694"/>
                  <a:pt x="1023702" y="103705"/>
                  <a:pt x="1027690" y="103705"/>
                </a:cubicBezTo>
                <a:cubicBezTo>
                  <a:pt x="1029685" y="101711"/>
                  <a:pt x="1037663" y="99717"/>
                  <a:pt x="1037663" y="99717"/>
                </a:cubicBezTo>
                <a:cubicBezTo>
                  <a:pt x="1037663" y="99717"/>
                  <a:pt x="1047635" y="99717"/>
                  <a:pt x="1049629" y="99717"/>
                </a:cubicBezTo>
                <a:cubicBezTo>
                  <a:pt x="1051624" y="97722"/>
                  <a:pt x="1055612" y="97722"/>
                  <a:pt x="1057607" y="95728"/>
                </a:cubicBezTo>
                <a:cubicBezTo>
                  <a:pt x="1061596" y="95728"/>
                  <a:pt x="1067579" y="93734"/>
                  <a:pt x="1067579" y="91739"/>
                </a:cubicBezTo>
                <a:cubicBezTo>
                  <a:pt x="1067579" y="91739"/>
                  <a:pt x="1071568" y="83762"/>
                  <a:pt x="1073562" y="81768"/>
                </a:cubicBezTo>
                <a:cubicBezTo>
                  <a:pt x="1075557" y="79773"/>
                  <a:pt x="1077551" y="77779"/>
                  <a:pt x="1079546" y="75785"/>
                </a:cubicBezTo>
                <a:cubicBezTo>
                  <a:pt x="1081540" y="73790"/>
                  <a:pt x="1089518" y="73790"/>
                  <a:pt x="1089518" y="73790"/>
                </a:cubicBezTo>
                <a:cubicBezTo>
                  <a:pt x="1089518" y="73790"/>
                  <a:pt x="1095501" y="73790"/>
                  <a:pt x="1095501" y="73790"/>
                </a:cubicBezTo>
                <a:cubicBezTo>
                  <a:pt x="1097496" y="73790"/>
                  <a:pt x="1101484" y="73790"/>
                  <a:pt x="1101484" y="71796"/>
                </a:cubicBezTo>
                <a:cubicBezTo>
                  <a:pt x="1101484" y="71796"/>
                  <a:pt x="1105473" y="71796"/>
                  <a:pt x="1105473" y="71796"/>
                </a:cubicBezTo>
                <a:cubicBezTo>
                  <a:pt x="1105473" y="71796"/>
                  <a:pt x="1107468" y="71796"/>
                  <a:pt x="1109462" y="73790"/>
                </a:cubicBezTo>
                <a:cubicBezTo>
                  <a:pt x="1109462" y="73790"/>
                  <a:pt x="1111457" y="73790"/>
                  <a:pt x="1113451" y="75785"/>
                </a:cubicBezTo>
                <a:cubicBezTo>
                  <a:pt x="1113451" y="75785"/>
                  <a:pt x="1115445" y="77779"/>
                  <a:pt x="1115445" y="79773"/>
                </a:cubicBezTo>
                <a:cubicBezTo>
                  <a:pt x="1115445" y="81768"/>
                  <a:pt x="1115445" y="83762"/>
                  <a:pt x="1115445" y="85756"/>
                </a:cubicBezTo>
                <a:cubicBezTo>
                  <a:pt x="1115445" y="85756"/>
                  <a:pt x="1115445" y="87751"/>
                  <a:pt x="1117440" y="89745"/>
                </a:cubicBezTo>
                <a:cubicBezTo>
                  <a:pt x="1117440" y="91739"/>
                  <a:pt x="1117440" y="91739"/>
                  <a:pt x="1117440" y="93734"/>
                </a:cubicBezTo>
                <a:cubicBezTo>
                  <a:pt x="1117440" y="95728"/>
                  <a:pt x="1117440" y="97722"/>
                  <a:pt x="1117440" y="99717"/>
                </a:cubicBezTo>
                <a:cubicBezTo>
                  <a:pt x="1117440" y="99717"/>
                  <a:pt x="1117440" y="101711"/>
                  <a:pt x="1117440" y="103705"/>
                </a:cubicBezTo>
                <a:cubicBezTo>
                  <a:pt x="1115445" y="103705"/>
                  <a:pt x="1115445" y="105700"/>
                  <a:pt x="1113451" y="105700"/>
                </a:cubicBezTo>
                <a:cubicBezTo>
                  <a:pt x="1111457" y="105700"/>
                  <a:pt x="1109462" y="107694"/>
                  <a:pt x="1109462" y="107694"/>
                </a:cubicBezTo>
                <a:cubicBezTo>
                  <a:pt x="1107468" y="107694"/>
                  <a:pt x="1105473" y="105700"/>
                  <a:pt x="1103479" y="107694"/>
                </a:cubicBezTo>
                <a:cubicBezTo>
                  <a:pt x="1101484" y="107694"/>
                  <a:pt x="1101484" y="107694"/>
                  <a:pt x="1101484" y="107694"/>
                </a:cubicBezTo>
                <a:cubicBezTo>
                  <a:pt x="1101484" y="109688"/>
                  <a:pt x="1103479" y="111682"/>
                  <a:pt x="1103479" y="113677"/>
                </a:cubicBezTo>
                <a:cubicBezTo>
                  <a:pt x="1103479" y="113677"/>
                  <a:pt x="1103479" y="115671"/>
                  <a:pt x="1103479" y="115671"/>
                </a:cubicBezTo>
                <a:cubicBezTo>
                  <a:pt x="1103479" y="115671"/>
                  <a:pt x="1101484" y="115671"/>
                  <a:pt x="1099490" y="117665"/>
                </a:cubicBezTo>
                <a:cubicBezTo>
                  <a:pt x="1099490" y="117665"/>
                  <a:pt x="1095501" y="117665"/>
                  <a:pt x="1095501" y="119660"/>
                </a:cubicBezTo>
                <a:cubicBezTo>
                  <a:pt x="1095501" y="119660"/>
                  <a:pt x="1095501" y="119660"/>
                  <a:pt x="1093507" y="119660"/>
                </a:cubicBezTo>
                <a:cubicBezTo>
                  <a:pt x="1091512" y="121654"/>
                  <a:pt x="1091512" y="119660"/>
                  <a:pt x="1089518" y="121654"/>
                </a:cubicBezTo>
                <a:cubicBezTo>
                  <a:pt x="1087523" y="123648"/>
                  <a:pt x="1087523" y="123648"/>
                  <a:pt x="1087523" y="125643"/>
                </a:cubicBezTo>
                <a:cubicBezTo>
                  <a:pt x="1087523" y="125643"/>
                  <a:pt x="1087523" y="127637"/>
                  <a:pt x="1087523" y="129631"/>
                </a:cubicBezTo>
                <a:cubicBezTo>
                  <a:pt x="1085529" y="129631"/>
                  <a:pt x="1085529" y="133620"/>
                  <a:pt x="1085529" y="133620"/>
                </a:cubicBezTo>
                <a:cubicBezTo>
                  <a:pt x="1085529" y="133620"/>
                  <a:pt x="1083534" y="135614"/>
                  <a:pt x="1083534" y="137609"/>
                </a:cubicBezTo>
                <a:cubicBezTo>
                  <a:pt x="1083534" y="137609"/>
                  <a:pt x="1081540" y="139603"/>
                  <a:pt x="1081540" y="141597"/>
                </a:cubicBezTo>
                <a:cubicBezTo>
                  <a:pt x="1079546" y="141597"/>
                  <a:pt x="1079546" y="143592"/>
                  <a:pt x="1079546" y="143592"/>
                </a:cubicBezTo>
                <a:cubicBezTo>
                  <a:pt x="1079546" y="145586"/>
                  <a:pt x="1079546" y="145586"/>
                  <a:pt x="1079546" y="145586"/>
                </a:cubicBezTo>
                <a:cubicBezTo>
                  <a:pt x="1077551" y="145586"/>
                  <a:pt x="1075557" y="145586"/>
                  <a:pt x="1075557" y="145586"/>
                </a:cubicBezTo>
                <a:cubicBezTo>
                  <a:pt x="1075557" y="145586"/>
                  <a:pt x="1075557" y="143592"/>
                  <a:pt x="1075557" y="143592"/>
                </a:cubicBezTo>
                <a:cubicBezTo>
                  <a:pt x="1073562" y="141597"/>
                  <a:pt x="1071568" y="141597"/>
                  <a:pt x="1071568" y="141597"/>
                </a:cubicBezTo>
                <a:cubicBezTo>
                  <a:pt x="1071568" y="141597"/>
                  <a:pt x="1069573" y="141597"/>
                  <a:pt x="1069573" y="141597"/>
                </a:cubicBezTo>
                <a:cubicBezTo>
                  <a:pt x="1069573" y="143592"/>
                  <a:pt x="1071568" y="147580"/>
                  <a:pt x="1071568" y="147580"/>
                </a:cubicBezTo>
                <a:cubicBezTo>
                  <a:pt x="1071568" y="149575"/>
                  <a:pt x="1069573" y="149575"/>
                  <a:pt x="1067579" y="151569"/>
                </a:cubicBezTo>
                <a:cubicBezTo>
                  <a:pt x="1067579" y="151569"/>
                  <a:pt x="1049629" y="163535"/>
                  <a:pt x="1049629" y="163535"/>
                </a:cubicBezTo>
                <a:cubicBezTo>
                  <a:pt x="1049629" y="165529"/>
                  <a:pt x="1047635" y="167524"/>
                  <a:pt x="1045640" y="169518"/>
                </a:cubicBezTo>
                <a:cubicBezTo>
                  <a:pt x="1045640" y="169518"/>
                  <a:pt x="1043646" y="169518"/>
                  <a:pt x="1043646" y="171512"/>
                </a:cubicBezTo>
                <a:cubicBezTo>
                  <a:pt x="1041651" y="171512"/>
                  <a:pt x="1041651" y="171512"/>
                  <a:pt x="1039657" y="173507"/>
                </a:cubicBezTo>
                <a:cubicBezTo>
                  <a:pt x="1039657" y="173507"/>
                  <a:pt x="1037663" y="175501"/>
                  <a:pt x="1037663" y="177495"/>
                </a:cubicBezTo>
                <a:cubicBezTo>
                  <a:pt x="1039657" y="179490"/>
                  <a:pt x="1043646" y="177495"/>
                  <a:pt x="1043646" y="177495"/>
                </a:cubicBezTo>
                <a:cubicBezTo>
                  <a:pt x="1045640" y="175501"/>
                  <a:pt x="1049629" y="171512"/>
                  <a:pt x="1049629" y="171512"/>
                </a:cubicBezTo>
                <a:cubicBezTo>
                  <a:pt x="1051624" y="171512"/>
                  <a:pt x="1053618" y="169518"/>
                  <a:pt x="1055612" y="169518"/>
                </a:cubicBezTo>
                <a:cubicBezTo>
                  <a:pt x="1057607" y="169518"/>
                  <a:pt x="1061596" y="167524"/>
                  <a:pt x="1063590" y="167524"/>
                </a:cubicBezTo>
                <a:cubicBezTo>
                  <a:pt x="1063590" y="167524"/>
                  <a:pt x="1067579" y="167524"/>
                  <a:pt x="1067579" y="167524"/>
                </a:cubicBezTo>
                <a:cubicBezTo>
                  <a:pt x="1067579" y="167524"/>
                  <a:pt x="1067579" y="163535"/>
                  <a:pt x="1067579" y="161541"/>
                </a:cubicBezTo>
                <a:cubicBezTo>
                  <a:pt x="1067579" y="159546"/>
                  <a:pt x="1067579" y="159546"/>
                  <a:pt x="1067579" y="157552"/>
                </a:cubicBezTo>
                <a:cubicBezTo>
                  <a:pt x="1069573" y="157552"/>
                  <a:pt x="1075557" y="153563"/>
                  <a:pt x="1075557" y="153563"/>
                </a:cubicBezTo>
                <a:cubicBezTo>
                  <a:pt x="1077551" y="153563"/>
                  <a:pt x="1079546" y="153563"/>
                  <a:pt x="1081540" y="153563"/>
                </a:cubicBezTo>
                <a:cubicBezTo>
                  <a:pt x="1083534" y="155558"/>
                  <a:pt x="1085529" y="155558"/>
                  <a:pt x="1085529" y="153563"/>
                </a:cubicBezTo>
                <a:cubicBezTo>
                  <a:pt x="1087523" y="153563"/>
                  <a:pt x="1089518" y="149575"/>
                  <a:pt x="1089518" y="147580"/>
                </a:cubicBezTo>
                <a:cubicBezTo>
                  <a:pt x="1089518" y="147580"/>
                  <a:pt x="1089518" y="145586"/>
                  <a:pt x="1089518" y="145586"/>
                </a:cubicBezTo>
                <a:cubicBezTo>
                  <a:pt x="1091512" y="145586"/>
                  <a:pt x="1093507" y="145586"/>
                  <a:pt x="1093507" y="143592"/>
                </a:cubicBezTo>
                <a:cubicBezTo>
                  <a:pt x="1093507" y="141597"/>
                  <a:pt x="1091512" y="139603"/>
                  <a:pt x="1093507" y="137609"/>
                </a:cubicBezTo>
                <a:cubicBezTo>
                  <a:pt x="1093507" y="137609"/>
                  <a:pt x="1099490" y="135614"/>
                  <a:pt x="1099490" y="135614"/>
                </a:cubicBezTo>
                <a:cubicBezTo>
                  <a:pt x="1099490" y="135614"/>
                  <a:pt x="1103479" y="131626"/>
                  <a:pt x="1105473" y="131626"/>
                </a:cubicBezTo>
                <a:cubicBezTo>
                  <a:pt x="1105473" y="129631"/>
                  <a:pt x="1105473" y="127637"/>
                  <a:pt x="1107468" y="125643"/>
                </a:cubicBezTo>
                <a:cubicBezTo>
                  <a:pt x="1109462" y="125643"/>
                  <a:pt x="1107468" y="125643"/>
                  <a:pt x="1109462" y="123648"/>
                </a:cubicBezTo>
                <a:cubicBezTo>
                  <a:pt x="1111457" y="121654"/>
                  <a:pt x="1111457" y="121654"/>
                  <a:pt x="1113451" y="121654"/>
                </a:cubicBezTo>
                <a:cubicBezTo>
                  <a:pt x="1115445" y="119660"/>
                  <a:pt x="1115445" y="119660"/>
                  <a:pt x="1117440" y="119660"/>
                </a:cubicBezTo>
                <a:cubicBezTo>
                  <a:pt x="1119434" y="119660"/>
                  <a:pt x="1119434" y="121654"/>
                  <a:pt x="1121429" y="119660"/>
                </a:cubicBezTo>
                <a:cubicBezTo>
                  <a:pt x="1123423" y="117665"/>
                  <a:pt x="1121429" y="115671"/>
                  <a:pt x="1125418" y="115671"/>
                </a:cubicBezTo>
                <a:cubicBezTo>
                  <a:pt x="1129406" y="115671"/>
                  <a:pt x="1129406" y="115671"/>
                  <a:pt x="1129406" y="113677"/>
                </a:cubicBezTo>
                <a:cubicBezTo>
                  <a:pt x="1131401" y="113677"/>
                  <a:pt x="1131401" y="111682"/>
                  <a:pt x="1133395" y="111682"/>
                </a:cubicBezTo>
                <a:cubicBezTo>
                  <a:pt x="1135390" y="109688"/>
                  <a:pt x="1135390" y="109688"/>
                  <a:pt x="1137384" y="109688"/>
                </a:cubicBezTo>
                <a:cubicBezTo>
                  <a:pt x="1139379" y="109688"/>
                  <a:pt x="1139379" y="111682"/>
                  <a:pt x="1141373" y="109688"/>
                </a:cubicBezTo>
                <a:cubicBezTo>
                  <a:pt x="1141373" y="109688"/>
                  <a:pt x="1143367" y="107694"/>
                  <a:pt x="1143367" y="107694"/>
                </a:cubicBezTo>
                <a:cubicBezTo>
                  <a:pt x="1145362" y="105700"/>
                  <a:pt x="1147356" y="103705"/>
                  <a:pt x="1147356" y="101711"/>
                </a:cubicBezTo>
                <a:cubicBezTo>
                  <a:pt x="1147356" y="101711"/>
                  <a:pt x="1149351" y="99717"/>
                  <a:pt x="1151345" y="97722"/>
                </a:cubicBezTo>
                <a:cubicBezTo>
                  <a:pt x="1151345" y="97722"/>
                  <a:pt x="1151345" y="97722"/>
                  <a:pt x="1153340" y="95728"/>
                </a:cubicBezTo>
                <a:cubicBezTo>
                  <a:pt x="1155334" y="93734"/>
                  <a:pt x="1157328" y="93734"/>
                  <a:pt x="1159323" y="91739"/>
                </a:cubicBezTo>
                <a:cubicBezTo>
                  <a:pt x="1159323" y="91739"/>
                  <a:pt x="1161317" y="91739"/>
                  <a:pt x="1161317" y="91739"/>
                </a:cubicBezTo>
                <a:cubicBezTo>
                  <a:pt x="1161317" y="93734"/>
                  <a:pt x="1161317" y="97722"/>
                  <a:pt x="1161317" y="99717"/>
                </a:cubicBezTo>
                <a:cubicBezTo>
                  <a:pt x="1161317" y="99717"/>
                  <a:pt x="1159323" y="109688"/>
                  <a:pt x="1161317" y="109688"/>
                </a:cubicBezTo>
                <a:cubicBezTo>
                  <a:pt x="1163312" y="111682"/>
                  <a:pt x="1165306" y="111682"/>
                  <a:pt x="1165306" y="111682"/>
                </a:cubicBezTo>
                <a:cubicBezTo>
                  <a:pt x="1165306" y="111682"/>
                  <a:pt x="1167301" y="107694"/>
                  <a:pt x="1167301" y="107694"/>
                </a:cubicBezTo>
                <a:cubicBezTo>
                  <a:pt x="1167301" y="105700"/>
                  <a:pt x="1169295" y="105700"/>
                  <a:pt x="1169295" y="103705"/>
                </a:cubicBezTo>
                <a:cubicBezTo>
                  <a:pt x="1171289" y="103705"/>
                  <a:pt x="1173284" y="103705"/>
                  <a:pt x="1175278" y="103705"/>
                </a:cubicBezTo>
                <a:cubicBezTo>
                  <a:pt x="1177273" y="103705"/>
                  <a:pt x="1185250" y="103705"/>
                  <a:pt x="1185250" y="103705"/>
                </a:cubicBezTo>
                <a:cubicBezTo>
                  <a:pt x="1185250" y="103705"/>
                  <a:pt x="1189239" y="103705"/>
                  <a:pt x="1191234" y="103705"/>
                </a:cubicBezTo>
                <a:cubicBezTo>
                  <a:pt x="1193228" y="103705"/>
                  <a:pt x="1193228" y="101711"/>
                  <a:pt x="1195223" y="101711"/>
                </a:cubicBezTo>
                <a:cubicBezTo>
                  <a:pt x="1197217" y="101711"/>
                  <a:pt x="1199211" y="103705"/>
                  <a:pt x="1199211" y="103705"/>
                </a:cubicBezTo>
                <a:cubicBezTo>
                  <a:pt x="1201206" y="103705"/>
                  <a:pt x="1203200" y="107694"/>
                  <a:pt x="1205195" y="105700"/>
                </a:cubicBezTo>
                <a:cubicBezTo>
                  <a:pt x="1207189" y="105700"/>
                  <a:pt x="1209184" y="103705"/>
                  <a:pt x="1209184" y="103705"/>
                </a:cubicBezTo>
                <a:cubicBezTo>
                  <a:pt x="1209184" y="103705"/>
                  <a:pt x="1215167" y="99717"/>
                  <a:pt x="1215167" y="97722"/>
                </a:cubicBezTo>
                <a:cubicBezTo>
                  <a:pt x="1217161" y="97722"/>
                  <a:pt x="1225139" y="91739"/>
                  <a:pt x="1225139" y="91739"/>
                </a:cubicBezTo>
                <a:cubicBezTo>
                  <a:pt x="1227133" y="91739"/>
                  <a:pt x="1229128" y="91739"/>
                  <a:pt x="1231122" y="89745"/>
                </a:cubicBezTo>
                <a:cubicBezTo>
                  <a:pt x="1231122" y="89745"/>
                  <a:pt x="1233117" y="87751"/>
                  <a:pt x="1235111" y="87751"/>
                </a:cubicBezTo>
                <a:cubicBezTo>
                  <a:pt x="1235111" y="85756"/>
                  <a:pt x="1235111" y="85756"/>
                  <a:pt x="1237106" y="83762"/>
                </a:cubicBezTo>
                <a:cubicBezTo>
                  <a:pt x="1237106" y="81768"/>
                  <a:pt x="1239100" y="81768"/>
                  <a:pt x="1239100" y="83762"/>
                </a:cubicBezTo>
                <a:cubicBezTo>
                  <a:pt x="1241095" y="83762"/>
                  <a:pt x="1245083" y="85756"/>
                  <a:pt x="1247078" y="85756"/>
                </a:cubicBezTo>
                <a:cubicBezTo>
                  <a:pt x="1249072" y="83762"/>
                  <a:pt x="1249072" y="83762"/>
                  <a:pt x="1253061" y="83762"/>
                </a:cubicBezTo>
                <a:cubicBezTo>
                  <a:pt x="1255056" y="83762"/>
                  <a:pt x="1257050" y="83762"/>
                  <a:pt x="1259044" y="83762"/>
                </a:cubicBezTo>
                <a:cubicBezTo>
                  <a:pt x="1259044" y="81768"/>
                  <a:pt x="1271011" y="83762"/>
                  <a:pt x="1275000" y="85756"/>
                </a:cubicBezTo>
                <a:cubicBezTo>
                  <a:pt x="1280983" y="87751"/>
                  <a:pt x="1284972" y="89745"/>
                  <a:pt x="1284972" y="89745"/>
                </a:cubicBezTo>
                <a:cubicBezTo>
                  <a:pt x="1284972" y="89745"/>
                  <a:pt x="1290955" y="91739"/>
                  <a:pt x="1290955" y="91739"/>
                </a:cubicBezTo>
                <a:cubicBezTo>
                  <a:pt x="1292950" y="91739"/>
                  <a:pt x="1296939" y="91739"/>
                  <a:pt x="1298933" y="91739"/>
                </a:cubicBezTo>
                <a:cubicBezTo>
                  <a:pt x="1298933" y="91739"/>
                  <a:pt x="1302922" y="91739"/>
                  <a:pt x="1302922" y="91739"/>
                </a:cubicBezTo>
                <a:cubicBezTo>
                  <a:pt x="1302922" y="91739"/>
                  <a:pt x="1310900" y="93734"/>
                  <a:pt x="1310900" y="93734"/>
                </a:cubicBezTo>
                <a:cubicBezTo>
                  <a:pt x="1312894" y="91739"/>
                  <a:pt x="1316883" y="91739"/>
                  <a:pt x="1318877" y="93734"/>
                </a:cubicBezTo>
                <a:cubicBezTo>
                  <a:pt x="1320872" y="95728"/>
                  <a:pt x="1320872" y="97722"/>
                  <a:pt x="1322866" y="97722"/>
                </a:cubicBezTo>
                <a:cubicBezTo>
                  <a:pt x="1324861" y="97722"/>
                  <a:pt x="1328849" y="97722"/>
                  <a:pt x="1330844" y="97722"/>
                </a:cubicBezTo>
                <a:cubicBezTo>
                  <a:pt x="1332838" y="99717"/>
                  <a:pt x="1336827" y="99717"/>
                  <a:pt x="1336827" y="101711"/>
                </a:cubicBezTo>
                <a:cubicBezTo>
                  <a:pt x="1336827" y="103705"/>
                  <a:pt x="1334833" y="105700"/>
                  <a:pt x="1332838" y="105700"/>
                </a:cubicBezTo>
                <a:cubicBezTo>
                  <a:pt x="1332838" y="107694"/>
                  <a:pt x="1328849" y="107694"/>
                  <a:pt x="1324861" y="107694"/>
                </a:cubicBezTo>
                <a:cubicBezTo>
                  <a:pt x="1322866" y="107694"/>
                  <a:pt x="1320872" y="109688"/>
                  <a:pt x="1320872" y="111682"/>
                </a:cubicBezTo>
                <a:cubicBezTo>
                  <a:pt x="1318877" y="113677"/>
                  <a:pt x="1316883" y="115671"/>
                  <a:pt x="1314888" y="117665"/>
                </a:cubicBezTo>
                <a:cubicBezTo>
                  <a:pt x="1312894" y="117665"/>
                  <a:pt x="1308905" y="117665"/>
                  <a:pt x="1306911" y="117665"/>
                </a:cubicBezTo>
                <a:cubicBezTo>
                  <a:pt x="1306911" y="117665"/>
                  <a:pt x="1300927" y="117665"/>
                  <a:pt x="1300927" y="117665"/>
                </a:cubicBezTo>
                <a:cubicBezTo>
                  <a:pt x="1298933" y="117665"/>
                  <a:pt x="1296939" y="119660"/>
                  <a:pt x="1294944" y="121654"/>
                </a:cubicBezTo>
                <a:cubicBezTo>
                  <a:pt x="1294944" y="121654"/>
                  <a:pt x="1290955" y="121654"/>
                  <a:pt x="1288961" y="121654"/>
                </a:cubicBezTo>
                <a:cubicBezTo>
                  <a:pt x="1288961" y="121654"/>
                  <a:pt x="1284972" y="119660"/>
                  <a:pt x="1282978" y="119660"/>
                </a:cubicBezTo>
                <a:cubicBezTo>
                  <a:pt x="1278989" y="119660"/>
                  <a:pt x="1276994" y="119660"/>
                  <a:pt x="1276994" y="119660"/>
                </a:cubicBezTo>
                <a:cubicBezTo>
                  <a:pt x="1276994" y="121654"/>
                  <a:pt x="1278989" y="127637"/>
                  <a:pt x="1278989" y="127637"/>
                </a:cubicBezTo>
                <a:cubicBezTo>
                  <a:pt x="1278989" y="129631"/>
                  <a:pt x="1278989" y="131626"/>
                  <a:pt x="1276994" y="133620"/>
                </a:cubicBezTo>
                <a:cubicBezTo>
                  <a:pt x="1276994" y="137609"/>
                  <a:pt x="1275000" y="137609"/>
                  <a:pt x="1273005" y="137609"/>
                </a:cubicBezTo>
                <a:cubicBezTo>
                  <a:pt x="1273005" y="137609"/>
                  <a:pt x="1269017" y="137609"/>
                  <a:pt x="1267022" y="137609"/>
                </a:cubicBezTo>
                <a:cubicBezTo>
                  <a:pt x="1267022" y="137609"/>
                  <a:pt x="1261039" y="139603"/>
                  <a:pt x="1261039" y="139603"/>
                </a:cubicBezTo>
                <a:cubicBezTo>
                  <a:pt x="1261039" y="139603"/>
                  <a:pt x="1261039" y="143592"/>
                  <a:pt x="1259044" y="145586"/>
                </a:cubicBezTo>
                <a:cubicBezTo>
                  <a:pt x="1259044" y="145586"/>
                  <a:pt x="1257050" y="147580"/>
                  <a:pt x="1257050" y="147580"/>
                </a:cubicBezTo>
                <a:cubicBezTo>
                  <a:pt x="1257050" y="147580"/>
                  <a:pt x="1247078" y="145586"/>
                  <a:pt x="1247078" y="145586"/>
                </a:cubicBezTo>
                <a:cubicBezTo>
                  <a:pt x="1245083" y="145586"/>
                  <a:pt x="1239100" y="145586"/>
                  <a:pt x="1239100" y="145586"/>
                </a:cubicBezTo>
                <a:cubicBezTo>
                  <a:pt x="1237106" y="145586"/>
                  <a:pt x="1231122" y="147580"/>
                  <a:pt x="1231122" y="147580"/>
                </a:cubicBezTo>
                <a:cubicBezTo>
                  <a:pt x="1231122" y="147580"/>
                  <a:pt x="1223145" y="147580"/>
                  <a:pt x="1223145" y="147580"/>
                </a:cubicBezTo>
                <a:cubicBezTo>
                  <a:pt x="1223145" y="147580"/>
                  <a:pt x="1221150" y="147580"/>
                  <a:pt x="1219156" y="145586"/>
                </a:cubicBezTo>
                <a:cubicBezTo>
                  <a:pt x="1219156" y="145586"/>
                  <a:pt x="1217161" y="141597"/>
                  <a:pt x="1215167" y="141597"/>
                </a:cubicBezTo>
                <a:cubicBezTo>
                  <a:pt x="1215167" y="139603"/>
                  <a:pt x="1215167" y="139603"/>
                  <a:pt x="1213172" y="139603"/>
                </a:cubicBezTo>
                <a:cubicBezTo>
                  <a:pt x="1213172" y="141597"/>
                  <a:pt x="1211178" y="143592"/>
                  <a:pt x="1209184" y="145586"/>
                </a:cubicBezTo>
                <a:cubicBezTo>
                  <a:pt x="1209184" y="145586"/>
                  <a:pt x="1207189" y="149575"/>
                  <a:pt x="1207189" y="149575"/>
                </a:cubicBezTo>
                <a:cubicBezTo>
                  <a:pt x="1205195" y="149575"/>
                  <a:pt x="1201206" y="151569"/>
                  <a:pt x="1197217" y="151569"/>
                </a:cubicBezTo>
                <a:cubicBezTo>
                  <a:pt x="1197217" y="151569"/>
                  <a:pt x="1191234" y="149575"/>
                  <a:pt x="1189239" y="149575"/>
                </a:cubicBezTo>
                <a:cubicBezTo>
                  <a:pt x="1187245" y="149575"/>
                  <a:pt x="1181262" y="147580"/>
                  <a:pt x="1181262" y="147580"/>
                </a:cubicBezTo>
                <a:cubicBezTo>
                  <a:pt x="1181262" y="147580"/>
                  <a:pt x="1177273" y="145586"/>
                  <a:pt x="1175278" y="145586"/>
                </a:cubicBezTo>
                <a:cubicBezTo>
                  <a:pt x="1173284" y="145586"/>
                  <a:pt x="1171289" y="145586"/>
                  <a:pt x="1169295" y="145586"/>
                </a:cubicBezTo>
                <a:cubicBezTo>
                  <a:pt x="1167301" y="145586"/>
                  <a:pt x="1159323" y="145586"/>
                  <a:pt x="1159323" y="145586"/>
                </a:cubicBezTo>
                <a:cubicBezTo>
                  <a:pt x="1157328" y="145586"/>
                  <a:pt x="1151345" y="149575"/>
                  <a:pt x="1151345" y="149575"/>
                </a:cubicBezTo>
                <a:cubicBezTo>
                  <a:pt x="1151345" y="149575"/>
                  <a:pt x="1143367" y="151569"/>
                  <a:pt x="1143367" y="153563"/>
                </a:cubicBezTo>
                <a:cubicBezTo>
                  <a:pt x="1141373" y="155558"/>
                  <a:pt x="1143367" y="157552"/>
                  <a:pt x="1143367" y="157552"/>
                </a:cubicBezTo>
                <a:cubicBezTo>
                  <a:pt x="1145362" y="159546"/>
                  <a:pt x="1149351" y="159546"/>
                  <a:pt x="1151345" y="159546"/>
                </a:cubicBezTo>
                <a:cubicBezTo>
                  <a:pt x="1153340" y="157552"/>
                  <a:pt x="1157328" y="153563"/>
                  <a:pt x="1159323" y="153563"/>
                </a:cubicBezTo>
                <a:cubicBezTo>
                  <a:pt x="1159323" y="153563"/>
                  <a:pt x="1163312" y="151569"/>
                  <a:pt x="1163312" y="151569"/>
                </a:cubicBezTo>
                <a:cubicBezTo>
                  <a:pt x="1167301" y="151569"/>
                  <a:pt x="1167301" y="151569"/>
                  <a:pt x="1169295" y="151569"/>
                </a:cubicBezTo>
                <a:cubicBezTo>
                  <a:pt x="1171289" y="151569"/>
                  <a:pt x="1177273" y="151569"/>
                  <a:pt x="1179267" y="153563"/>
                </a:cubicBezTo>
                <a:cubicBezTo>
                  <a:pt x="1183256" y="153563"/>
                  <a:pt x="1189239" y="155558"/>
                  <a:pt x="1189239" y="155558"/>
                </a:cubicBezTo>
                <a:cubicBezTo>
                  <a:pt x="1189239" y="155558"/>
                  <a:pt x="1195223" y="157552"/>
                  <a:pt x="1197217" y="155558"/>
                </a:cubicBezTo>
                <a:cubicBezTo>
                  <a:pt x="1199211" y="155558"/>
                  <a:pt x="1205195" y="153563"/>
                  <a:pt x="1205195" y="153563"/>
                </a:cubicBezTo>
                <a:cubicBezTo>
                  <a:pt x="1207189" y="153563"/>
                  <a:pt x="1211178" y="151569"/>
                  <a:pt x="1211178" y="151569"/>
                </a:cubicBezTo>
                <a:cubicBezTo>
                  <a:pt x="1211178" y="151569"/>
                  <a:pt x="1215167" y="151569"/>
                  <a:pt x="1219156" y="151569"/>
                </a:cubicBezTo>
                <a:cubicBezTo>
                  <a:pt x="1221150" y="149575"/>
                  <a:pt x="1223145" y="149575"/>
                  <a:pt x="1225139" y="151569"/>
                </a:cubicBezTo>
                <a:cubicBezTo>
                  <a:pt x="1227133" y="151569"/>
                  <a:pt x="1229128" y="151569"/>
                  <a:pt x="1231122" y="153563"/>
                </a:cubicBezTo>
                <a:cubicBezTo>
                  <a:pt x="1231122" y="153563"/>
                  <a:pt x="1231122" y="155558"/>
                  <a:pt x="1233117" y="155558"/>
                </a:cubicBezTo>
                <a:cubicBezTo>
                  <a:pt x="1235111" y="155558"/>
                  <a:pt x="1241095" y="155558"/>
                  <a:pt x="1243089" y="155558"/>
                </a:cubicBezTo>
                <a:cubicBezTo>
                  <a:pt x="1245083" y="155558"/>
                  <a:pt x="1249072" y="157552"/>
                  <a:pt x="1251067" y="157552"/>
                </a:cubicBezTo>
                <a:cubicBezTo>
                  <a:pt x="1251067" y="159546"/>
                  <a:pt x="1251067" y="161541"/>
                  <a:pt x="1251067" y="163535"/>
                </a:cubicBezTo>
                <a:cubicBezTo>
                  <a:pt x="1249072" y="163535"/>
                  <a:pt x="1247078" y="165529"/>
                  <a:pt x="1245083" y="165529"/>
                </a:cubicBezTo>
                <a:cubicBezTo>
                  <a:pt x="1241095" y="165529"/>
                  <a:pt x="1239100" y="165529"/>
                  <a:pt x="1239100" y="165529"/>
                </a:cubicBezTo>
                <a:cubicBezTo>
                  <a:pt x="1239100" y="167524"/>
                  <a:pt x="1239100" y="169518"/>
                  <a:pt x="1237106" y="171512"/>
                </a:cubicBezTo>
                <a:cubicBezTo>
                  <a:pt x="1237106" y="171512"/>
                  <a:pt x="1233117" y="171512"/>
                  <a:pt x="1231122" y="173507"/>
                </a:cubicBezTo>
                <a:cubicBezTo>
                  <a:pt x="1229128" y="173507"/>
                  <a:pt x="1225139" y="175501"/>
                  <a:pt x="1223145" y="175501"/>
                </a:cubicBezTo>
                <a:cubicBezTo>
                  <a:pt x="1221150" y="175501"/>
                  <a:pt x="1217161" y="175501"/>
                  <a:pt x="1215167" y="175501"/>
                </a:cubicBezTo>
                <a:cubicBezTo>
                  <a:pt x="1215167" y="175501"/>
                  <a:pt x="1213172" y="173507"/>
                  <a:pt x="1211178" y="173507"/>
                </a:cubicBezTo>
                <a:cubicBezTo>
                  <a:pt x="1209184" y="173507"/>
                  <a:pt x="1205195" y="175501"/>
                  <a:pt x="1205195" y="175501"/>
                </a:cubicBezTo>
                <a:cubicBezTo>
                  <a:pt x="1203200" y="175501"/>
                  <a:pt x="1201206" y="175501"/>
                  <a:pt x="1199211" y="175501"/>
                </a:cubicBezTo>
                <a:cubicBezTo>
                  <a:pt x="1197217" y="175501"/>
                  <a:pt x="1197217" y="175501"/>
                  <a:pt x="1195223" y="173507"/>
                </a:cubicBezTo>
                <a:cubicBezTo>
                  <a:pt x="1191234" y="173507"/>
                  <a:pt x="1189239" y="171512"/>
                  <a:pt x="1187245" y="171512"/>
                </a:cubicBezTo>
                <a:cubicBezTo>
                  <a:pt x="1187245" y="171512"/>
                  <a:pt x="1185250" y="171512"/>
                  <a:pt x="1185250" y="171512"/>
                </a:cubicBezTo>
                <a:cubicBezTo>
                  <a:pt x="1183256" y="173507"/>
                  <a:pt x="1181262" y="175501"/>
                  <a:pt x="1179267" y="175501"/>
                </a:cubicBezTo>
                <a:cubicBezTo>
                  <a:pt x="1179267" y="177495"/>
                  <a:pt x="1177273" y="177495"/>
                  <a:pt x="1177273" y="179490"/>
                </a:cubicBezTo>
                <a:cubicBezTo>
                  <a:pt x="1177273" y="181484"/>
                  <a:pt x="1181262" y="183478"/>
                  <a:pt x="1183256" y="183478"/>
                </a:cubicBezTo>
                <a:cubicBezTo>
                  <a:pt x="1185250" y="183478"/>
                  <a:pt x="1187245" y="181484"/>
                  <a:pt x="1189239" y="181484"/>
                </a:cubicBezTo>
                <a:cubicBezTo>
                  <a:pt x="1189239" y="181484"/>
                  <a:pt x="1193228" y="181484"/>
                  <a:pt x="1193228" y="181484"/>
                </a:cubicBezTo>
                <a:cubicBezTo>
                  <a:pt x="1195223" y="181484"/>
                  <a:pt x="1197217" y="179490"/>
                  <a:pt x="1201206" y="179490"/>
                </a:cubicBezTo>
                <a:cubicBezTo>
                  <a:pt x="1207189" y="179490"/>
                  <a:pt x="1209184" y="179490"/>
                  <a:pt x="1211178" y="179490"/>
                </a:cubicBezTo>
                <a:cubicBezTo>
                  <a:pt x="1211178" y="179490"/>
                  <a:pt x="1213172" y="179490"/>
                  <a:pt x="1215167" y="179490"/>
                </a:cubicBezTo>
                <a:cubicBezTo>
                  <a:pt x="1217161" y="179490"/>
                  <a:pt x="1219156" y="183478"/>
                  <a:pt x="1219156" y="183478"/>
                </a:cubicBezTo>
                <a:cubicBezTo>
                  <a:pt x="1219156" y="183478"/>
                  <a:pt x="1213172" y="189461"/>
                  <a:pt x="1213172" y="189461"/>
                </a:cubicBezTo>
                <a:cubicBezTo>
                  <a:pt x="1213172" y="189461"/>
                  <a:pt x="1209184" y="195444"/>
                  <a:pt x="1209184" y="195444"/>
                </a:cubicBezTo>
                <a:cubicBezTo>
                  <a:pt x="1207189" y="197439"/>
                  <a:pt x="1205195" y="197439"/>
                  <a:pt x="1203200" y="197439"/>
                </a:cubicBezTo>
                <a:cubicBezTo>
                  <a:pt x="1203200" y="197439"/>
                  <a:pt x="1201206" y="197439"/>
                  <a:pt x="1199211" y="195444"/>
                </a:cubicBezTo>
                <a:cubicBezTo>
                  <a:pt x="1197217" y="193450"/>
                  <a:pt x="1195223" y="193450"/>
                  <a:pt x="1193228" y="191456"/>
                </a:cubicBezTo>
                <a:cubicBezTo>
                  <a:pt x="1193228" y="191456"/>
                  <a:pt x="1191234" y="191456"/>
                  <a:pt x="1189239" y="191456"/>
                </a:cubicBezTo>
                <a:cubicBezTo>
                  <a:pt x="1187245" y="191456"/>
                  <a:pt x="1185250" y="191456"/>
                  <a:pt x="1185250" y="193450"/>
                </a:cubicBezTo>
                <a:cubicBezTo>
                  <a:pt x="1183256" y="193450"/>
                  <a:pt x="1179267" y="193450"/>
                  <a:pt x="1177273" y="195444"/>
                </a:cubicBezTo>
                <a:cubicBezTo>
                  <a:pt x="1177273" y="197439"/>
                  <a:pt x="1175278" y="201427"/>
                  <a:pt x="1173284" y="201427"/>
                </a:cubicBezTo>
                <a:cubicBezTo>
                  <a:pt x="1173284" y="203422"/>
                  <a:pt x="1173284" y="205416"/>
                  <a:pt x="1173284" y="207410"/>
                </a:cubicBezTo>
                <a:cubicBezTo>
                  <a:pt x="1173284" y="209405"/>
                  <a:pt x="1171289" y="215388"/>
                  <a:pt x="1171289" y="215388"/>
                </a:cubicBezTo>
                <a:cubicBezTo>
                  <a:pt x="1171289" y="215388"/>
                  <a:pt x="1169295" y="221371"/>
                  <a:pt x="1169295" y="223365"/>
                </a:cubicBezTo>
                <a:cubicBezTo>
                  <a:pt x="1167301" y="225359"/>
                  <a:pt x="1167301" y="225359"/>
                  <a:pt x="1169295" y="227354"/>
                </a:cubicBezTo>
                <a:cubicBezTo>
                  <a:pt x="1171289" y="229348"/>
                  <a:pt x="1173284" y="229348"/>
                  <a:pt x="1173284" y="227354"/>
                </a:cubicBezTo>
                <a:cubicBezTo>
                  <a:pt x="1173284" y="225359"/>
                  <a:pt x="1173284" y="223365"/>
                  <a:pt x="1177273" y="223365"/>
                </a:cubicBezTo>
                <a:cubicBezTo>
                  <a:pt x="1179267" y="223365"/>
                  <a:pt x="1181262" y="223365"/>
                  <a:pt x="1181262" y="223365"/>
                </a:cubicBezTo>
                <a:cubicBezTo>
                  <a:pt x="1181262" y="225359"/>
                  <a:pt x="1181262" y="227354"/>
                  <a:pt x="1181262" y="227354"/>
                </a:cubicBezTo>
                <a:cubicBezTo>
                  <a:pt x="1179267" y="227354"/>
                  <a:pt x="1177273" y="227354"/>
                  <a:pt x="1177273" y="229348"/>
                </a:cubicBezTo>
                <a:cubicBezTo>
                  <a:pt x="1177273" y="231342"/>
                  <a:pt x="1177273" y="231342"/>
                  <a:pt x="1177273" y="233337"/>
                </a:cubicBezTo>
                <a:cubicBezTo>
                  <a:pt x="1177273" y="235331"/>
                  <a:pt x="1177273" y="235331"/>
                  <a:pt x="1175278" y="235331"/>
                </a:cubicBezTo>
                <a:cubicBezTo>
                  <a:pt x="1175278" y="235331"/>
                  <a:pt x="1173284" y="233337"/>
                  <a:pt x="1173284" y="233337"/>
                </a:cubicBezTo>
                <a:cubicBezTo>
                  <a:pt x="1171289" y="233337"/>
                  <a:pt x="1169295" y="235331"/>
                  <a:pt x="1169295" y="235331"/>
                </a:cubicBezTo>
                <a:cubicBezTo>
                  <a:pt x="1169295" y="235331"/>
                  <a:pt x="1167301" y="237325"/>
                  <a:pt x="1167301" y="237325"/>
                </a:cubicBezTo>
                <a:cubicBezTo>
                  <a:pt x="1167301" y="237325"/>
                  <a:pt x="1165306" y="241314"/>
                  <a:pt x="1165306" y="243308"/>
                </a:cubicBezTo>
                <a:cubicBezTo>
                  <a:pt x="1165306" y="243308"/>
                  <a:pt x="1161317" y="245303"/>
                  <a:pt x="1159323" y="245303"/>
                </a:cubicBezTo>
                <a:cubicBezTo>
                  <a:pt x="1159323" y="243308"/>
                  <a:pt x="1155334" y="241314"/>
                  <a:pt x="1153340" y="241314"/>
                </a:cubicBezTo>
                <a:cubicBezTo>
                  <a:pt x="1153340" y="241314"/>
                  <a:pt x="1149351" y="239320"/>
                  <a:pt x="1149351" y="239320"/>
                </a:cubicBezTo>
                <a:cubicBezTo>
                  <a:pt x="1149351" y="239320"/>
                  <a:pt x="1151345" y="243308"/>
                  <a:pt x="1149351" y="245303"/>
                </a:cubicBezTo>
                <a:cubicBezTo>
                  <a:pt x="1147356" y="245303"/>
                  <a:pt x="1145362" y="245303"/>
                  <a:pt x="1145362" y="245303"/>
                </a:cubicBezTo>
                <a:cubicBezTo>
                  <a:pt x="1143367" y="243308"/>
                  <a:pt x="1143367" y="243308"/>
                  <a:pt x="1141373" y="243308"/>
                </a:cubicBezTo>
                <a:cubicBezTo>
                  <a:pt x="1141373" y="245303"/>
                  <a:pt x="1141373" y="247297"/>
                  <a:pt x="1141373" y="247297"/>
                </a:cubicBezTo>
                <a:cubicBezTo>
                  <a:pt x="1143367" y="249291"/>
                  <a:pt x="1143367" y="249291"/>
                  <a:pt x="1143367" y="249291"/>
                </a:cubicBezTo>
                <a:cubicBezTo>
                  <a:pt x="1143367" y="251286"/>
                  <a:pt x="1141373" y="251286"/>
                  <a:pt x="1141373" y="251286"/>
                </a:cubicBezTo>
                <a:cubicBezTo>
                  <a:pt x="1141373" y="251286"/>
                  <a:pt x="1137384" y="253280"/>
                  <a:pt x="1135390" y="253280"/>
                </a:cubicBezTo>
                <a:cubicBezTo>
                  <a:pt x="1135390" y="253280"/>
                  <a:pt x="1135390" y="257269"/>
                  <a:pt x="1135390" y="257269"/>
                </a:cubicBezTo>
                <a:cubicBezTo>
                  <a:pt x="1137384" y="257269"/>
                  <a:pt x="1141373" y="257269"/>
                  <a:pt x="1141373" y="259263"/>
                </a:cubicBezTo>
                <a:cubicBezTo>
                  <a:pt x="1141373" y="259263"/>
                  <a:pt x="1139379" y="261257"/>
                  <a:pt x="1139379" y="261257"/>
                </a:cubicBezTo>
                <a:cubicBezTo>
                  <a:pt x="1137384" y="261257"/>
                  <a:pt x="1135390" y="261257"/>
                  <a:pt x="1135390" y="263252"/>
                </a:cubicBezTo>
                <a:cubicBezTo>
                  <a:pt x="1135390" y="265246"/>
                  <a:pt x="1137384" y="265246"/>
                  <a:pt x="1137384" y="267240"/>
                </a:cubicBezTo>
                <a:cubicBezTo>
                  <a:pt x="1137384" y="269235"/>
                  <a:pt x="1135390" y="267240"/>
                  <a:pt x="1135390" y="269235"/>
                </a:cubicBezTo>
                <a:cubicBezTo>
                  <a:pt x="1135390" y="269235"/>
                  <a:pt x="1135390" y="273223"/>
                  <a:pt x="1135390" y="273223"/>
                </a:cubicBezTo>
                <a:cubicBezTo>
                  <a:pt x="1135390" y="275218"/>
                  <a:pt x="1137384" y="279206"/>
                  <a:pt x="1135390" y="279206"/>
                </a:cubicBezTo>
                <a:cubicBezTo>
                  <a:pt x="1135390" y="281201"/>
                  <a:pt x="1133395" y="281201"/>
                  <a:pt x="1131401" y="281201"/>
                </a:cubicBezTo>
                <a:cubicBezTo>
                  <a:pt x="1129406" y="281201"/>
                  <a:pt x="1129406" y="281201"/>
                  <a:pt x="1129406" y="281201"/>
                </a:cubicBezTo>
                <a:cubicBezTo>
                  <a:pt x="1129406" y="281201"/>
                  <a:pt x="1129406" y="283195"/>
                  <a:pt x="1129406" y="285189"/>
                </a:cubicBezTo>
                <a:cubicBezTo>
                  <a:pt x="1129406" y="285189"/>
                  <a:pt x="1133395" y="285189"/>
                  <a:pt x="1133395" y="287184"/>
                </a:cubicBezTo>
                <a:cubicBezTo>
                  <a:pt x="1133395" y="287184"/>
                  <a:pt x="1133395" y="289178"/>
                  <a:pt x="1133395" y="291172"/>
                </a:cubicBezTo>
                <a:cubicBezTo>
                  <a:pt x="1131401" y="293167"/>
                  <a:pt x="1129406" y="295161"/>
                  <a:pt x="1129406" y="295161"/>
                </a:cubicBezTo>
                <a:cubicBezTo>
                  <a:pt x="1127412" y="297155"/>
                  <a:pt x="1125418" y="297155"/>
                  <a:pt x="1125418" y="299150"/>
                </a:cubicBezTo>
                <a:cubicBezTo>
                  <a:pt x="1123423" y="301144"/>
                  <a:pt x="1123423" y="303138"/>
                  <a:pt x="1123423" y="303138"/>
                </a:cubicBezTo>
                <a:cubicBezTo>
                  <a:pt x="1125418" y="305133"/>
                  <a:pt x="1127412" y="305133"/>
                  <a:pt x="1129406" y="303138"/>
                </a:cubicBezTo>
                <a:cubicBezTo>
                  <a:pt x="1131401" y="303138"/>
                  <a:pt x="1133395" y="301144"/>
                  <a:pt x="1135390" y="299150"/>
                </a:cubicBezTo>
                <a:cubicBezTo>
                  <a:pt x="1135390" y="297155"/>
                  <a:pt x="1135390" y="295161"/>
                  <a:pt x="1135390" y="295161"/>
                </a:cubicBezTo>
                <a:cubicBezTo>
                  <a:pt x="1137384" y="293167"/>
                  <a:pt x="1137384" y="291172"/>
                  <a:pt x="1137384" y="291172"/>
                </a:cubicBezTo>
                <a:cubicBezTo>
                  <a:pt x="1139379" y="291172"/>
                  <a:pt x="1141373" y="289178"/>
                  <a:pt x="1143367" y="289178"/>
                </a:cubicBezTo>
                <a:cubicBezTo>
                  <a:pt x="1143367" y="289178"/>
                  <a:pt x="1147356" y="289178"/>
                  <a:pt x="1147356" y="289178"/>
                </a:cubicBezTo>
                <a:cubicBezTo>
                  <a:pt x="1149351" y="291172"/>
                  <a:pt x="1149351" y="293167"/>
                  <a:pt x="1149351" y="293167"/>
                </a:cubicBezTo>
                <a:cubicBezTo>
                  <a:pt x="1149351" y="295161"/>
                  <a:pt x="1151345" y="295161"/>
                  <a:pt x="1153340" y="295161"/>
                </a:cubicBezTo>
                <a:cubicBezTo>
                  <a:pt x="1153340" y="295161"/>
                  <a:pt x="1157328" y="295161"/>
                  <a:pt x="1157328" y="295161"/>
                </a:cubicBezTo>
                <a:cubicBezTo>
                  <a:pt x="1159323" y="297155"/>
                  <a:pt x="1163312" y="297155"/>
                  <a:pt x="1163312" y="297155"/>
                </a:cubicBezTo>
                <a:cubicBezTo>
                  <a:pt x="1163312" y="297155"/>
                  <a:pt x="1163312" y="299150"/>
                  <a:pt x="1163312" y="299150"/>
                </a:cubicBezTo>
                <a:cubicBezTo>
                  <a:pt x="1163312" y="301144"/>
                  <a:pt x="1161317" y="303138"/>
                  <a:pt x="1163312" y="303138"/>
                </a:cubicBezTo>
                <a:cubicBezTo>
                  <a:pt x="1163312" y="303138"/>
                  <a:pt x="1167301" y="303138"/>
                  <a:pt x="1167301" y="303138"/>
                </a:cubicBezTo>
                <a:cubicBezTo>
                  <a:pt x="1169295" y="303138"/>
                  <a:pt x="1171289" y="303138"/>
                  <a:pt x="1171289" y="303138"/>
                </a:cubicBezTo>
                <a:cubicBezTo>
                  <a:pt x="1171289" y="303138"/>
                  <a:pt x="1175278" y="303138"/>
                  <a:pt x="1177273" y="303138"/>
                </a:cubicBezTo>
                <a:cubicBezTo>
                  <a:pt x="1179267" y="305133"/>
                  <a:pt x="1179267" y="307127"/>
                  <a:pt x="1179267" y="307127"/>
                </a:cubicBezTo>
                <a:cubicBezTo>
                  <a:pt x="1179267" y="309121"/>
                  <a:pt x="1177273" y="311116"/>
                  <a:pt x="1175278" y="313110"/>
                </a:cubicBezTo>
                <a:cubicBezTo>
                  <a:pt x="1173284" y="313110"/>
                  <a:pt x="1171289" y="313110"/>
                  <a:pt x="1169295" y="313110"/>
                </a:cubicBezTo>
                <a:cubicBezTo>
                  <a:pt x="1167301" y="311116"/>
                  <a:pt x="1165306" y="309121"/>
                  <a:pt x="1163312" y="309121"/>
                </a:cubicBezTo>
                <a:cubicBezTo>
                  <a:pt x="1163312" y="307127"/>
                  <a:pt x="1161317" y="307127"/>
                  <a:pt x="1161317" y="305133"/>
                </a:cubicBezTo>
                <a:cubicBezTo>
                  <a:pt x="1159323" y="305133"/>
                  <a:pt x="1157328" y="303138"/>
                  <a:pt x="1157328" y="305133"/>
                </a:cubicBezTo>
                <a:cubicBezTo>
                  <a:pt x="1155334" y="305133"/>
                  <a:pt x="1153340" y="305133"/>
                  <a:pt x="1151345" y="305133"/>
                </a:cubicBezTo>
                <a:cubicBezTo>
                  <a:pt x="1151345" y="305133"/>
                  <a:pt x="1147356" y="303138"/>
                  <a:pt x="1147356" y="303138"/>
                </a:cubicBezTo>
                <a:cubicBezTo>
                  <a:pt x="1147356" y="303138"/>
                  <a:pt x="1145362" y="301144"/>
                  <a:pt x="1145362" y="301144"/>
                </a:cubicBezTo>
                <a:cubicBezTo>
                  <a:pt x="1143367" y="301144"/>
                  <a:pt x="1141373" y="301144"/>
                  <a:pt x="1141373" y="303138"/>
                </a:cubicBezTo>
                <a:cubicBezTo>
                  <a:pt x="1141373" y="303138"/>
                  <a:pt x="1145362" y="305133"/>
                  <a:pt x="1145362" y="307127"/>
                </a:cubicBezTo>
                <a:cubicBezTo>
                  <a:pt x="1145362" y="307127"/>
                  <a:pt x="1145362" y="311116"/>
                  <a:pt x="1147356" y="311116"/>
                </a:cubicBezTo>
                <a:cubicBezTo>
                  <a:pt x="1147356" y="313110"/>
                  <a:pt x="1151345" y="313110"/>
                  <a:pt x="1151345" y="313110"/>
                </a:cubicBezTo>
                <a:cubicBezTo>
                  <a:pt x="1151345" y="315104"/>
                  <a:pt x="1153340" y="317099"/>
                  <a:pt x="1155334" y="319093"/>
                </a:cubicBezTo>
                <a:cubicBezTo>
                  <a:pt x="1155334" y="319093"/>
                  <a:pt x="1163312" y="319093"/>
                  <a:pt x="1163312" y="319093"/>
                </a:cubicBezTo>
                <a:cubicBezTo>
                  <a:pt x="1163312" y="319093"/>
                  <a:pt x="1165306" y="323082"/>
                  <a:pt x="1169295" y="325076"/>
                </a:cubicBezTo>
                <a:cubicBezTo>
                  <a:pt x="1171289" y="327070"/>
                  <a:pt x="1171289" y="327070"/>
                  <a:pt x="1173284" y="327070"/>
                </a:cubicBezTo>
                <a:cubicBezTo>
                  <a:pt x="1175278" y="327070"/>
                  <a:pt x="1177273" y="327070"/>
                  <a:pt x="1179267" y="327070"/>
                </a:cubicBezTo>
                <a:cubicBezTo>
                  <a:pt x="1181262" y="327070"/>
                  <a:pt x="1183256" y="325076"/>
                  <a:pt x="1185250" y="325076"/>
                </a:cubicBezTo>
                <a:cubicBezTo>
                  <a:pt x="1185250" y="323082"/>
                  <a:pt x="1189239" y="323082"/>
                  <a:pt x="1189239" y="323082"/>
                </a:cubicBezTo>
                <a:cubicBezTo>
                  <a:pt x="1191234" y="323082"/>
                  <a:pt x="1197217" y="323082"/>
                  <a:pt x="1197217" y="325076"/>
                </a:cubicBezTo>
                <a:cubicBezTo>
                  <a:pt x="1199211" y="327070"/>
                  <a:pt x="1199211" y="333053"/>
                  <a:pt x="1199211" y="333053"/>
                </a:cubicBezTo>
                <a:cubicBezTo>
                  <a:pt x="1199211" y="333053"/>
                  <a:pt x="1201206" y="339036"/>
                  <a:pt x="1199211" y="341031"/>
                </a:cubicBezTo>
                <a:cubicBezTo>
                  <a:pt x="1199211" y="343025"/>
                  <a:pt x="1197217" y="345019"/>
                  <a:pt x="1195223" y="347014"/>
                </a:cubicBezTo>
                <a:cubicBezTo>
                  <a:pt x="1193228" y="347014"/>
                  <a:pt x="1195223" y="351002"/>
                  <a:pt x="1193228" y="351002"/>
                </a:cubicBezTo>
                <a:cubicBezTo>
                  <a:pt x="1193228" y="352997"/>
                  <a:pt x="1189239" y="352997"/>
                  <a:pt x="1189239" y="351002"/>
                </a:cubicBezTo>
                <a:cubicBezTo>
                  <a:pt x="1187245" y="351002"/>
                  <a:pt x="1187245" y="349008"/>
                  <a:pt x="1185250" y="347014"/>
                </a:cubicBezTo>
                <a:cubicBezTo>
                  <a:pt x="1183256" y="347014"/>
                  <a:pt x="1177273" y="347014"/>
                  <a:pt x="1177273" y="347014"/>
                </a:cubicBezTo>
                <a:cubicBezTo>
                  <a:pt x="1177273" y="347014"/>
                  <a:pt x="1171289" y="347014"/>
                  <a:pt x="1171289" y="347014"/>
                </a:cubicBezTo>
                <a:cubicBezTo>
                  <a:pt x="1169295" y="347014"/>
                  <a:pt x="1167301" y="349008"/>
                  <a:pt x="1163312" y="347014"/>
                </a:cubicBezTo>
                <a:cubicBezTo>
                  <a:pt x="1161317" y="345019"/>
                  <a:pt x="1159323" y="343025"/>
                  <a:pt x="1157328" y="343025"/>
                </a:cubicBezTo>
                <a:cubicBezTo>
                  <a:pt x="1155334" y="345019"/>
                  <a:pt x="1149351" y="345019"/>
                  <a:pt x="1147356" y="345019"/>
                </a:cubicBezTo>
                <a:cubicBezTo>
                  <a:pt x="1145362" y="343025"/>
                  <a:pt x="1141373" y="345019"/>
                  <a:pt x="1137384" y="343025"/>
                </a:cubicBezTo>
                <a:cubicBezTo>
                  <a:pt x="1135390" y="343025"/>
                  <a:pt x="1131401" y="341031"/>
                  <a:pt x="1129406" y="341031"/>
                </a:cubicBezTo>
                <a:cubicBezTo>
                  <a:pt x="1129406" y="341031"/>
                  <a:pt x="1127412" y="339036"/>
                  <a:pt x="1125418" y="339036"/>
                </a:cubicBezTo>
                <a:cubicBezTo>
                  <a:pt x="1121429" y="339036"/>
                  <a:pt x="1119434" y="339036"/>
                  <a:pt x="1119434" y="341031"/>
                </a:cubicBezTo>
                <a:cubicBezTo>
                  <a:pt x="1117440" y="341031"/>
                  <a:pt x="1115445" y="343025"/>
                  <a:pt x="1117440" y="343025"/>
                </a:cubicBezTo>
                <a:cubicBezTo>
                  <a:pt x="1117440" y="345019"/>
                  <a:pt x="1117440" y="345019"/>
                  <a:pt x="1119434" y="345019"/>
                </a:cubicBezTo>
                <a:cubicBezTo>
                  <a:pt x="1121429" y="345019"/>
                  <a:pt x="1125418" y="345019"/>
                  <a:pt x="1125418" y="345019"/>
                </a:cubicBezTo>
                <a:cubicBezTo>
                  <a:pt x="1127412" y="345019"/>
                  <a:pt x="1131401" y="345019"/>
                  <a:pt x="1131401" y="347014"/>
                </a:cubicBezTo>
                <a:cubicBezTo>
                  <a:pt x="1133395" y="347014"/>
                  <a:pt x="1135390" y="349008"/>
                  <a:pt x="1135390" y="349008"/>
                </a:cubicBezTo>
                <a:cubicBezTo>
                  <a:pt x="1135390" y="351002"/>
                  <a:pt x="1135390" y="352997"/>
                  <a:pt x="1133395" y="354991"/>
                </a:cubicBezTo>
                <a:cubicBezTo>
                  <a:pt x="1133395" y="354991"/>
                  <a:pt x="1129406" y="354991"/>
                  <a:pt x="1129406" y="356985"/>
                </a:cubicBezTo>
                <a:cubicBezTo>
                  <a:pt x="1127412" y="356985"/>
                  <a:pt x="1125418" y="358980"/>
                  <a:pt x="1123423" y="358980"/>
                </a:cubicBezTo>
                <a:cubicBezTo>
                  <a:pt x="1121429" y="356985"/>
                  <a:pt x="1119434" y="356985"/>
                  <a:pt x="1117440" y="356985"/>
                </a:cubicBezTo>
                <a:cubicBezTo>
                  <a:pt x="1117440" y="354991"/>
                  <a:pt x="1115445" y="352997"/>
                  <a:pt x="1115445" y="351002"/>
                </a:cubicBezTo>
                <a:cubicBezTo>
                  <a:pt x="1115445" y="351002"/>
                  <a:pt x="1113451" y="345019"/>
                  <a:pt x="1111457" y="345019"/>
                </a:cubicBezTo>
                <a:cubicBezTo>
                  <a:pt x="1109462" y="345019"/>
                  <a:pt x="1109462" y="345019"/>
                  <a:pt x="1109462" y="347014"/>
                </a:cubicBezTo>
                <a:cubicBezTo>
                  <a:pt x="1109462" y="349008"/>
                  <a:pt x="1109462" y="352997"/>
                  <a:pt x="1109462" y="352997"/>
                </a:cubicBezTo>
                <a:cubicBezTo>
                  <a:pt x="1109462" y="352997"/>
                  <a:pt x="1105473" y="352997"/>
                  <a:pt x="1103479" y="352997"/>
                </a:cubicBezTo>
                <a:cubicBezTo>
                  <a:pt x="1101484" y="352997"/>
                  <a:pt x="1101484" y="352997"/>
                  <a:pt x="1101484" y="354991"/>
                </a:cubicBezTo>
                <a:cubicBezTo>
                  <a:pt x="1101484" y="356985"/>
                  <a:pt x="1105473" y="364963"/>
                  <a:pt x="1107468" y="366957"/>
                </a:cubicBezTo>
                <a:cubicBezTo>
                  <a:pt x="1109462" y="368951"/>
                  <a:pt x="1115445" y="366957"/>
                  <a:pt x="1117440" y="366957"/>
                </a:cubicBezTo>
                <a:cubicBezTo>
                  <a:pt x="1117440" y="368951"/>
                  <a:pt x="1119434" y="368951"/>
                  <a:pt x="1121429" y="370946"/>
                </a:cubicBezTo>
                <a:cubicBezTo>
                  <a:pt x="1121429" y="372940"/>
                  <a:pt x="1119434" y="374934"/>
                  <a:pt x="1119434" y="376929"/>
                </a:cubicBezTo>
                <a:cubicBezTo>
                  <a:pt x="1119434" y="378923"/>
                  <a:pt x="1119434" y="380917"/>
                  <a:pt x="1121429" y="380917"/>
                </a:cubicBezTo>
                <a:cubicBezTo>
                  <a:pt x="1121429" y="378923"/>
                  <a:pt x="1121429" y="376929"/>
                  <a:pt x="1123423" y="378923"/>
                </a:cubicBezTo>
                <a:cubicBezTo>
                  <a:pt x="1125418" y="378923"/>
                  <a:pt x="1123423" y="378923"/>
                  <a:pt x="1125418" y="380917"/>
                </a:cubicBezTo>
                <a:cubicBezTo>
                  <a:pt x="1127412" y="380917"/>
                  <a:pt x="1129406" y="382912"/>
                  <a:pt x="1129406" y="382912"/>
                </a:cubicBezTo>
                <a:cubicBezTo>
                  <a:pt x="1129406" y="380917"/>
                  <a:pt x="1129406" y="378923"/>
                  <a:pt x="1129406" y="376929"/>
                </a:cubicBezTo>
                <a:cubicBezTo>
                  <a:pt x="1129406" y="374934"/>
                  <a:pt x="1129406" y="374934"/>
                  <a:pt x="1129406" y="374934"/>
                </a:cubicBezTo>
                <a:cubicBezTo>
                  <a:pt x="1131401" y="372940"/>
                  <a:pt x="1133395" y="372940"/>
                  <a:pt x="1135390" y="374934"/>
                </a:cubicBezTo>
                <a:cubicBezTo>
                  <a:pt x="1137384" y="374934"/>
                  <a:pt x="1137384" y="376929"/>
                  <a:pt x="1139379" y="378923"/>
                </a:cubicBezTo>
                <a:cubicBezTo>
                  <a:pt x="1141373" y="378923"/>
                  <a:pt x="1143367" y="380917"/>
                  <a:pt x="1145362" y="378923"/>
                </a:cubicBezTo>
                <a:cubicBezTo>
                  <a:pt x="1149351" y="378923"/>
                  <a:pt x="1151345" y="378923"/>
                  <a:pt x="1153340" y="378923"/>
                </a:cubicBezTo>
                <a:cubicBezTo>
                  <a:pt x="1155334" y="378923"/>
                  <a:pt x="1157328" y="378923"/>
                  <a:pt x="1159323" y="378923"/>
                </a:cubicBezTo>
                <a:cubicBezTo>
                  <a:pt x="1159323" y="378923"/>
                  <a:pt x="1161317" y="380917"/>
                  <a:pt x="1161317" y="382912"/>
                </a:cubicBezTo>
                <a:cubicBezTo>
                  <a:pt x="1161317" y="384906"/>
                  <a:pt x="1159323" y="386900"/>
                  <a:pt x="1157328" y="386900"/>
                </a:cubicBezTo>
                <a:cubicBezTo>
                  <a:pt x="1155334" y="386900"/>
                  <a:pt x="1153340" y="384906"/>
                  <a:pt x="1151345" y="386900"/>
                </a:cubicBezTo>
                <a:cubicBezTo>
                  <a:pt x="1151345" y="386900"/>
                  <a:pt x="1147356" y="388895"/>
                  <a:pt x="1147356" y="388895"/>
                </a:cubicBezTo>
                <a:cubicBezTo>
                  <a:pt x="1147356" y="388895"/>
                  <a:pt x="1141373" y="390889"/>
                  <a:pt x="1137384" y="390889"/>
                </a:cubicBezTo>
                <a:cubicBezTo>
                  <a:pt x="1135390" y="390889"/>
                  <a:pt x="1131401" y="390889"/>
                  <a:pt x="1129406" y="390889"/>
                </a:cubicBezTo>
                <a:cubicBezTo>
                  <a:pt x="1129406" y="390889"/>
                  <a:pt x="1127412" y="390889"/>
                  <a:pt x="1125418" y="390889"/>
                </a:cubicBezTo>
                <a:cubicBezTo>
                  <a:pt x="1125418" y="390889"/>
                  <a:pt x="1123423" y="392883"/>
                  <a:pt x="1121429" y="392883"/>
                </a:cubicBezTo>
                <a:cubicBezTo>
                  <a:pt x="1121429" y="394878"/>
                  <a:pt x="1119434" y="394878"/>
                  <a:pt x="1117440" y="392883"/>
                </a:cubicBezTo>
                <a:cubicBezTo>
                  <a:pt x="1117440" y="392883"/>
                  <a:pt x="1115445" y="388895"/>
                  <a:pt x="1113451" y="388895"/>
                </a:cubicBezTo>
                <a:cubicBezTo>
                  <a:pt x="1113451" y="388895"/>
                  <a:pt x="1111457" y="386900"/>
                  <a:pt x="1111457" y="388895"/>
                </a:cubicBezTo>
                <a:cubicBezTo>
                  <a:pt x="1111457" y="390889"/>
                  <a:pt x="1111457" y="392883"/>
                  <a:pt x="1111457" y="394878"/>
                </a:cubicBezTo>
                <a:cubicBezTo>
                  <a:pt x="1111457" y="394878"/>
                  <a:pt x="1113451" y="396872"/>
                  <a:pt x="1117440" y="396872"/>
                </a:cubicBezTo>
                <a:cubicBezTo>
                  <a:pt x="1117440" y="396872"/>
                  <a:pt x="1123423" y="394878"/>
                  <a:pt x="1123423" y="394878"/>
                </a:cubicBezTo>
                <a:cubicBezTo>
                  <a:pt x="1125418" y="394878"/>
                  <a:pt x="1131401" y="396872"/>
                  <a:pt x="1133395" y="396872"/>
                </a:cubicBezTo>
                <a:cubicBezTo>
                  <a:pt x="1133395" y="396872"/>
                  <a:pt x="1137384" y="396872"/>
                  <a:pt x="1141373" y="396872"/>
                </a:cubicBezTo>
                <a:cubicBezTo>
                  <a:pt x="1143367" y="398866"/>
                  <a:pt x="1147356" y="398866"/>
                  <a:pt x="1149351" y="398866"/>
                </a:cubicBezTo>
                <a:cubicBezTo>
                  <a:pt x="1151345" y="398866"/>
                  <a:pt x="1155334" y="396872"/>
                  <a:pt x="1157328" y="396872"/>
                </a:cubicBezTo>
                <a:cubicBezTo>
                  <a:pt x="1159323" y="396872"/>
                  <a:pt x="1163312" y="398866"/>
                  <a:pt x="1163312" y="398866"/>
                </a:cubicBezTo>
                <a:cubicBezTo>
                  <a:pt x="1163312" y="398866"/>
                  <a:pt x="1167301" y="400861"/>
                  <a:pt x="1167301" y="402855"/>
                </a:cubicBezTo>
                <a:cubicBezTo>
                  <a:pt x="1167301" y="402855"/>
                  <a:pt x="1163312" y="404849"/>
                  <a:pt x="1163312" y="404849"/>
                </a:cubicBezTo>
                <a:cubicBezTo>
                  <a:pt x="1161317" y="406844"/>
                  <a:pt x="1161317" y="406844"/>
                  <a:pt x="1161317" y="406844"/>
                </a:cubicBezTo>
                <a:cubicBezTo>
                  <a:pt x="1163312" y="408838"/>
                  <a:pt x="1163312" y="408838"/>
                  <a:pt x="1165306" y="410832"/>
                </a:cubicBezTo>
                <a:cubicBezTo>
                  <a:pt x="1167301" y="410832"/>
                  <a:pt x="1167301" y="412827"/>
                  <a:pt x="1167301" y="412827"/>
                </a:cubicBezTo>
                <a:cubicBezTo>
                  <a:pt x="1169295" y="414821"/>
                  <a:pt x="1165306" y="416815"/>
                  <a:pt x="1165306" y="418810"/>
                </a:cubicBezTo>
                <a:cubicBezTo>
                  <a:pt x="1165306" y="420804"/>
                  <a:pt x="1167301" y="424793"/>
                  <a:pt x="1165306" y="426787"/>
                </a:cubicBezTo>
                <a:cubicBezTo>
                  <a:pt x="1165306" y="428781"/>
                  <a:pt x="1163312" y="430776"/>
                  <a:pt x="1161317" y="430776"/>
                </a:cubicBezTo>
                <a:cubicBezTo>
                  <a:pt x="1159323" y="430776"/>
                  <a:pt x="1157328" y="432770"/>
                  <a:pt x="1155334" y="432770"/>
                </a:cubicBezTo>
                <a:cubicBezTo>
                  <a:pt x="1155334" y="432770"/>
                  <a:pt x="1153340" y="428781"/>
                  <a:pt x="1153340" y="426787"/>
                </a:cubicBezTo>
                <a:cubicBezTo>
                  <a:pt x="1153340" y="424793"/>
                  <a:pt x="1153340" y="420804"/>
                  <a:pt x="1151345" y="420804"/>
                </a:cubicBezTo>
                <a:cubicBezTo>
                  <a:pt x="1151345" y="420804"/>
                  <a:pt x="1149351" y="420804"/>
                  <a:pt x="1149351" y="422798"/>
                </a:cubicBezTo>
                <a:cubicBezTo>
                  <a:pt x="1147356" y="422798"/>
                  <a:pt x="1145362" y="422798"/>
                  <a:pt x="1143367" y="422798"/>
                </a:cubicBezTo>
                <a:cubicBezTo>
                  <a:pt x="1143367" y="422798"/>
                  <a:pt x="1139379" y="422798"/>
                  <a:pt x="1137384" y="422798"/>
                </a:cubicBezTo>
                <a:cubicBezTo>
                  <a:pt x="1135390" y="422798"/>
                  <a:pt x="1133395" y="418810"/>
                  <a:pt x="1131401" y="418810"/>
                </a:cubicBezTo>
                <a:cubicBezTo>
                  <a:pt x="1131401" y="418810"/>
                  <a:pt x="1125418" y="412827"/>
                  <a:pt x="1125418" y="412827"/>
                </a:cubicBezTo>
                <a:cubicBezTo>
                  <a:pt x="1125418" y="410832"/>
                  <a:pt x="1121429" y="408838"/>
                  <a:pt x="1119434" y="406844"/>
                </a:cubicBezTo>
                <a:cubicBezTo>
                  <a:pt x="1119434" y="406844"/>
                  <a:pt x="1115445" y="404849"/>
                  <a:pt x="1115445" y="404849"/>
                </a:cubicBezTo>
                <a:cubicBezTo>
                  <a:pt x="1115445" y="404849"/>
                  <a:pt x="1111457" y="402855"/>
                  <a:pt x="1109462" y="402855"/>
                </a:cubicBezTo>
                <a:cubicBezTo>
                  <a:pt x="1109462" y="402855"/>
                  <a:pt x="1105473" y="402855"/>
                  <a:pt x="1105473" y="404849"/>
                </a:cubicBezTo>
                <a:lnTo>
                  <a:pt x="1107315" y="408534"/>
                </a:lnTo>
                <a:lnTo>
                  <a:pt x="1112328" y="409972"/>
                </a:lnTo>
                <a:cubicBezTo>
                  <a:pt x="1115724" y="411502"/>
                  <a:pt x="1119605" y="413543"/>
                  <a:pt x="1120575" y="414564"/>
                </a:cubicBezTo>
                <a:cubicBezTo>
                  <a:pt x="1122515" y="414564"/>
                  <a:pt x="1120575" y="416605"/>
                  <a:pt x="1120575" y="418646"/>
                </a:cubicBezTo>
                <a:cubicBezTo>
                  <a:pt x="1118635" y="419666"/>
                  <a:pt x="1115724" y="418136"/>
                  <a:pt x="1113056" y="415840"/>
                </a:cubicBezTo>
                <a:lnTo>
                  <a:pt x="1107318" y="408838"/>
                </a:lnTo>
                <a:lnTo>
                  <a:pt x="1103479" y="408838"/>
                </a:lnTo>
                <a:cubicBezTo>
                  <a:pt x="1101484" y="408838"/>
                  <a:pt x="1101484" y="410832"/>
                  <a:pt x="1101484" y="412827"/>
                </a:cubicBezTo>
                <a:cubicBezTo>
                  <a:pt x="1101484" y="412827"/>
                  <a:pt x="1101484" y="414821"/>
                  <a:pt x="1101484" y="416815"/>
                </a:cubicBezTo>
                <a:cubicBezTo>
                  <a:pt x="1103479" y="416815"/>
                  <a:pt x="1107468" y="418810"/>
                  <a:pt x="1109462" y="418810"/>
                </a:cubicBezTo>
                <a:cubicBezTo>
                  <a:pt x="1109462" y="418810"/>
                  <a:pt x="1115445" y="420804"/>
                  <a:pt x="1117440" y="420804"/>
                </a:cubicBezTo>
                <a:cubicBezTo>
                  <a:pt x="1119434" y="420804"/>
                  <a:pt x="1125418" y="422798"/>
                  <a:pt x="1127412" y="422798"/>
                </a:cubicBezTo>
                <a:cubicBezTo>
                  <a:pt x="1129406" y="424793"/>
                  <a:pt x="1129406" y="424793"/>
                  <a:pt x="1131401" y="424793"/>
                </a:cubicBezTo>
                <a:cubicBezTo>
                  <a:pt x="1133395" y="424793"/>
                  <a:pt x="1135390" y="424793"/>
                  <a:pt x="1137384" y="426787"/>
                </a:cubicBezTo>
                <a:cubicBezTo>
                  <a:pt x="1137384" y="426787"/>
                  <a:pt x="1139379" y="428781"/>
                  <a:pt x="1139379" y="430776"/>
                </a:cubicBezTo>
                <a:cubicBezTo>
                  <a:pt x="1139379" y="432770"/>
                  <a:pt x="1135390" y="432770"/>
                  <a:pt x="1133395" y="432770"/>
                </a:cubicBezTo>
                <a:cubicBezTo>
                  <a:pt x="1131401" y="432770"/>
                  <a:pt x="1125418" y="430776"/>
                  <a:pt x="1123423" y="430776"/>
                </a:cubicBezTo>
                <a:cubicBezTo>
                  <a:pt x="1121429" y="432770"/>
                  <a:pt x="1119434" y="430776"/>
                  <a:pt x="1119434" y="432770"/>
                </a:cubicBezTo>
                <a:cubicBezTo>
                  <a:pt x="1117440" y="434764"/>
                  <a:pt x="1119434" y="436759"/>
                  <a:pt x="1117440" y="436759"/>
                </a:cubicBezTo>
                <a:cubicBezTo>
                  <a:pt x="1115445" y="436759"/>
                  <a:pt x="1113451" y="432770"/>
                  <a:pt x="1111457" y="430776"/>
                </a:cubicBezTo>
                <a:cubicBezTo>
                  <a:pt x="1109462" y="430776"/>
                  <a:pt x="1105473" y="428781"/>
                  <a:pt x="1105473" y="428781"/>
                </a:cubicBezTo>
                <a:cubicBezTo>
                  <a:pt x="1103479" y="428781"/>
                  <a:pt x="1101484" y="426787"/>
                  <a:pt x="1099490" y="428781"/>
                </a:cubicBezTo>
                <a:cubicBezTo>
                  <a:pt x="1099490" y="428781"/>
                  <a:pt x="1097496" y="430776"/>
                  <a:pt x="1099490" y="432770"/>
                </a:cubicBezTo>
                <a:cubicBezTo>
                  <a:pt x="1101484" y="432770"/>
                  <a:pt x="1105473" y="434764"/>
                  <a:pt x="1107468" y="436759"/>
                </a:cubicBezTo>
                <a:cubicBezTo>
                  <a:pt x="1109462" y="436759"/>
                  <a:pt x="1111457" y="438753"/>
                  <a:pt x="1111457" y="440747"/>
                </a:cubicBezTo>
                <a:cubicBezTo>
                  <a:pt x="1113451" y="440747"/>
                  <a:pt x="1113451" y="442742"/>
                  <a:pt x="1115445" y="442742"/>
                </a:cubicBezTo>
                <a:cubicBezTo>
                  <a:pt x="1117440" y="442742"/>
                  <a:pt x="1121429" y="442742"/>
                  <a:pt x="1123423" y="442742"/>
                </a:cubicBezTo>
                <a:cubicBezTo>
                  <a:pt x="1125418" y="442742"/>
                  <a:pt x="1125418" y="444736"/>
                  <a:pt x="1125418" y="444736"/>
                </a:cubicBezTo>
                <a:cubicBezTo>
                  <a:pt x="1127412" y="444736"/>
                  <a:pt x="1129406" y="446730"/>
                  <a:pt x="1131401" y="444736"/>
                </a:cubicBezTo>
                <a:cubicBezTo>
                  <a:pt x="1133395" y="444736"/>
                  <a:pt x="1133395" y="444736"/>
                  <a:pt x="1137384" y="444736"/>
                </a:cubicBezTo>
                <a:cubicBezTo>
                  <a:pt x="1139379" y="446730"/>
                  <a:pt x="1141373" y="446730"/>
                  <a:pt x="1141373" y="448725"/>
                </a:cubicBezTo>
                <a:cubicBezTo>
                  <a:pt x="1141373" y="450719"/>
                  <a:pt x="1141373" y="452713"/>
                  <a:pt x="1139379" y="452713"/>
                </a:cubicBezTo>
                <a:cubicBezTo>
                  <a:pt x="1139379" y="454708"/>
                  <a:pt x="1137384" y="454708"/>
                  <a:pt x="1137384" y="456702"/>
                </a:cubicBezTo>
                <a:cubicBezTo>
                  <a:pt x="1135390" y="458696"/>
                  <a:pt x="1135390" y="458696"/>
                  <a:pt x="1137384" y="458696"/>
                </a:cubicBezTo>
                <a:cubicBezTo>
                  <a:pt x="1139379" y="458696"/>
                  <a:pt x="1139379" y="456702"/>
                  <a:pt x="1141373" y="456702"/>
                </a:cubicBezTo>
                <a:cubicBezTo>
                  <a:pt x="1143367" y="456702"/>
                  <a:pt x="1145362" y="458696"/>
                  <a:pt x="1147356" y="460691"/>
                </a:cubicBezTo>
                <a:cubicBezTo>
                  <a:pt x="1147356" y="460691"/>
                  <a:pt x="1147356" y="460691"/>
                  <a:pt x="1149351" y="462685"/>
                </a:cubicBezTo>
                <a:cubicBezTo>
                  <a:pt x="1151345" y="462685"/>
                  <a:pt x="1151345" y="462685"/>
                  <a:pt x="1153340" y="460691"/>
                </a:cubicBezTo>
                <a:cubicBezTo>
                  <a:pt x="1153340" y="460691"/>
                  <a:pt x="1155334" y="458696"/>
                  <a:pt x="1155334" y="458696"/>
                </a:cubicBezTo>
                <a:cubicBezTo>
                  <a:pt x="1157328" y="458696"/>
                  <a:pt x="1159323" y="458696"/>
                  <a:pt x="1159323" y="458696"/>
                </a:cubicBezTo>
                <a:cubicBezTo>
                  <a:pt x="1161317" y="458696"/>
                  <a:pt x="1161317" y="460691"/>
                  <a:pt x="1161317" y="458696"/>
                </a:cubicBezTo>
                <a:cubicBezTo>
                  <a:pt x="1163312" y="458696"/>
                  <a:pt x="1163312" y="456702"/>
                  <a:pt x="1163312" y="456702"/>
                </a:cubicBezTo>
                <a:cubicBezTo>
                  <a:pt x="1165306" y="454708"/>
                  <a:pt x="1165306" y="454708"/>
                  <a:pt x="1167301" y="454708"/>
                </a:cubicBezTo>
                <a:cubicBezTo>
                  <a:pt x="1167301" y="456702"/>
                  <a:pt x="1167301" y="460691"/>
                  <a:pt x="1167301" y="462685"/>
                </a:cubicBezTo>
                <a:cubicBezTo>
                  <a:pt x="1167301" y="462685"/>
                  <a:pt x="1167301" y="464679"/>
                  <a:pt x="1169295" y="464679"/>
                </a:cubicBezTo>
                <a:cubicBezTo>
                  <a:pt x="1171289" y="466674"/>
                  <a:pt x="1171289" y="464679"/>
                  <a:pt x="1171289" y="466674"/>
                </a:cubicBezTo>
                <a:cubicBezTo>
                  <a:pt x="1171289" y="470662"/>
                  <a:pt x="1169295" y="470662"/>
                  <a:pt x="1167301" y="470662"/>
                </a:cubicBezTo>
                <a:cubicBezTo>
                  <a:pt x="1167301" y="472656"/>
                  <a:pt x="1161317" y="474651"/>
                  <a:pt x="1159323" y="474651"/>
                </a:cubicBezTo>
                <a:cubicBezTo>
                  <a:pt x="1157328" y="476645"/>
                  <a:pt x="1155334" y="476645"/>
                  <a:pt x="1151345" y="474651"/>
                </a:cubicBezTo>
                <a:cubicBezTo>
                  <a:pt x="1149351" y="472656"/>
                  <a:pt x="1149351" y="470662"/>
                  <a:pt x="1147356" y="470662"/>
                </a:cubicBezTo>
                <a:cubicBezTo>
                  <a:pt x="1145362" y="468668"/>
                  <a:pt x="1143367" y="466674"/>
                  <a:pt x="1141373" y="466674"/>
                </a:cubicBezTo>
                <a:cubicBezTo>
                  <a:pt x="1139379" y="464679"/>
                  <a:pt x="1137384" y="464679"/>
                  <a:pt x="1135390" y="462685"/>
                </a:cubicBezTo>
                <a:cubicBezTo>
                  <a:pt x="1135390" y="462685"/>
                  <a:pt x="1131401" y="462685"/>
                  <a:pt x="1129406" y="462685"/>
                </a:cubicBezTo>
                <a:cubicBezTo>
                  <a:pt x="1127412" y="462685"/>
                  <a:pt x="1123423" y="462685"/>
                  <a:pt x="1123423" y="462685"/>
                </a:cubicBezTo>
                <a:cubicBezTo>
                  <a:pt x="1123423" y="462685"/>
                  <a:pt x="1119434" y="462685"/>
                  <a:pt x="1117440" y="462685"/>
                </a:cubicBezTo>
                <a:cubicBezTo>
                  <a:pt x="1115445" y="462685"/>
                  <a:pt x="1113451" y="462685"/>
                  <a:pt x="1113451" y="460691"/>
                </a:cubicBezTo>
                <a:cubicBezTo>
                  <a:pt x="1113451" y="460691"/>
                  <a:pt x="1111457" y="458696"/>
                  <a:pt x="1109462" y="458696"/>
                </a:cubicBezTo>
                <a:cubicBezTo>
                  <a:pt x="1107468" y="458696"/>
                  <a:pt x="1109462" y="462685"/>
                  <a:pt x="1109462" y="462685"/>
                </a:cubicBezTo>
                <a:cubicBezTo>
                  <a:pt x="1109462" y="464679"/>
                  <a:pt x="1109462" y="466674"/>
                  <a:pt x="1109462" y="466674"/>
                </a:cubicBezTo>
                <a:cubicBezTo>
                  <a:pt x="1109462" y="466674"/>
                  <a:pt x="1109462" y="468668"/>
                  <a:pt x="1107468" y="468668"/>
                </a:cubicBezTo>
                <a:cubicBezTo>
                  <a:pt x="1107468" y="468668"/>
                  <a:pt x="1105473" y="468668"/>
                  <a:pt x="1105473" y="468668"/>
                </a:cubicBezTo>
                <a:cubicBezTo>
                  <a:pt x="1105473" y="466674"/>
                  <a:pt x="1103479" y="466674"/>
                  <a:pt x="1103479" y="466674"/>
                </a:cubicBezTo>
                <a:cubicBezTo>
                  <a:pt x="1101484" y="466674"/>
                  <a:pt x="1099490" y="468668"/>
                  <a:pt x="1099490" y="470662"/>
                </a:cubicBezTo>
                <a:cubicBezTo>
                  <a:pt x="1099490" y="470662"/>
                  <a:pt x="1103479" y="474651"/>
                  <a:pt x="1103479" y="474651"/>
                </a:cubicBezTo>
                <a:cubicBezTo>
                  <a:pt x="1105473" y="474651"/>
                  <a:pt x="1107468" y="476645"/>
                  <a:pt x="1105473" y="478639"/>
                </a:cubicBezTo>
                <a:cubicBezTo>
                  <a:pt x="1105473" y="478639"/>
                  <a:pt x="1101484" y="480634"/>
                  <a:pt x="1101484" y="482628"/>
                </a:cubicBezTo>
                <a:cubicBezTo>
                  <a:pt x="1101484" y="484622"/>
                  <a:pt x="1103479" y="486617"/>
                  <a:pt x="1103479" y="488611"/>
                </a:cubicBezTo>
                <a:cubicBezTo>
                  <a:pt x="1105473" y="488611"/>
                  <a:pt x="1107468" y="488611"/>
                  <a:pt x="1107468" y="490605"/>
                </a:cubicBezTo>
                <a:cubicBezTo>
                  <a:pt x="1107468" y="492600"/>
                  <a:pt x="1107468" y="494594"/>
                  <a:pt x="1107468" y="496588"/>
                </a:cubicBezTo>
                <a:cubicBezTo>
                  <a:pt x="1109462" y="500577"/>
                  <a:pt x="1109462" y="500577"/>
                  <a:pt x="1111457" y="500577"/>
                </a:cubicBezTo>
                <a:cubicBezTo>
                  <a:pt x="1113451" y="500577"/>
                  <a:pt x="1113451" y="498583"/>
                  <a:pt x="1113451" y="496588"/>
                </a:cubicBezTo>
                <a:cubicBezTo>
                  <a:pt x="1113451" y="496588"/>
                  <a:pt x="1109462" y="492600"/>
                  <a:pt x="1109462" y="490605"/>
                </a:cubicBezTo>
                <a:cubicBezTo>
                  <a:pt x="1109462" y="488611"/>
                  <a:pt x="1109462" y="486617"/>
                  <a:pt x="1111457" y="486617"/>
                </a:cubicBezTo>
                <a:cubicBezTo>
                  <a:pt x="1113451" y="484622"/>
                  <a:pt x="1113451" y="484622"/>
                  <a:pt x="1115445" y="484622"/>
                </a:cubicBezTo>
                <a:cubicBezTo>
                  <a:pt x="1117440" y="484622"/>
                  <a:pt x="1119434" y="484622"/>
                  <a:pt x="1121429" y="484622"/>
                </a:cubicBezTo>
                <a:cubicBezTo>
                  <a:pt x="1121429" y="486617"/>
                  <a:pt x="1125418" y="488611"/>
                  <a:pt x="1125418" y="490605"/>
                </a:cubicBezTo>
                <a:cubicBezTo>
                  <a:pt x="1125418" y="490605"/>
                  <a:pt x="1127412" y="492600"/>
                  <a:pt x="1127412" y="492600"/>
                </a:cubicBezTo>
                <a:cubicBezTo>
                  <a:pt x="1129406" y="490605"/>
                  <a:pt x="1135390" y="490605"/>
                  <a:pt x="1137384" y="490605"/>
                </a:cubicBezTo>
                <a:cubicBezTo>
                  <a:pt x="1139379" y="490605"/>
                  <a:pt x="1143367" y="490605"/>
                  <a:pt x="1143367" y="492600"/>
                </a:cubicBezTo>
                <a:cubicBezTo>
                  <a:pt x="1143367" y="492600"/>
                  <a:pt x="1143367" y="494594"/>
                  <a:pt x="1143367" y="496588"/>
                </a:cubicBezTo>
                <a:cubicBezTo>
                  <a:pt x="1143367" y="496588"/>
                  <a:pt x="1141373" y="498583"/>
                  <a:pt x="1141373" y="500577"/>
                </a:cubicBezTo>
                <a:cubicBezTo>
                  <a:pt x="1141373" y="500577"/>
                  <a:pt x="1139379" y="504566"/>
                  <a:pt x="1139379" y="506560"/>
                </a:cubicBezTo>
                <a:cubicBezTo>
                  <a:pt x="1139379" y="508554"/>
                  <a:pt x="1141373" y="508554"/>
                  <a:pt x="1141373" y="508554"/>
                </a:cubicBezTo>
                <a:cubicBezTo>
                  <a:pt x="1141373" y="510549"/>
                  <a:pt x="1143367" y="512543"/>
                  <a:pt x="1143367" y="512543"/>
                </a:cubicBezTo>
                <a:cubicBezTo>
                  <a:pt x="1141373" y="512543"/>
                  <a:pt x="1137384" y="512543"/>
                  <a:pt x="1137384" y="512543"/>
                </a:cubicBezTo>
                <a:cubicBezTo>
                  <a:pt x="1135390" y="512543"/>
                  <a:pt x="1133395" y="512543"/>
                  <a:pt x="1131401" y="512543"/>
                </a:cubicBezTo>
                <a:cubicBezTo>
                  <a:pt x="1131401" y="514537"/>
                  <a:pt x="1129406" y="514537"/>
                  <a:pt x="1127412" y="514537"/>
                </a:cubicBezTo>
                <a:cubicBezTo>
                  <a:pt x="1125418" y="514537"/>
                  <a:pt x="1125418" y="514537"/>
                  <a:pt x="1123423" y="514537"/>
                </a:cubicBezTo>
                <a:cubicBezTo>
                  <a:pt x="1121429" y="512543"/>
                  <a:pt x="1119434" y="510549"/>
                  <a:pt x="1117440" y="512543"/>
                </a:cubicBezTo>
                <a:cubicBezTo>
                  <a:pt x="1117440" y="512543"/>
                  <a:pt x="1113451" y="512543"/>
                  <a:pt x="1113451" y="514537"/>
                </a:cubicBezTo>
                <a:cubicBezTo>
                  <a:pt x="1111457" y="514537"/>
                  <a:pt x="1109462" y="518526"/>
                  <a:pt x="1109462" y="518526"/>
                </a:cubicBezTo>
                <a:cubicBezTo>
                  <a:pt x="1109462" y="518526"/>
                  <a:pt x="1107468" y="518526"/>
                  <a:pt x="1105473" y="518526"/>
                </a:cubicBezTo>
                <a:cubicBezTo>
                  <a:pt x="1105473" y="518526"/>
                  <a:pt x="1105473" y="518526"/>
                  <a:pt x="1103479" y="520520"/>
                </a:cubicBezTo>
                <a:cubicBezTo>
                  <a:pt x="1103479" y="522515"/>
                  <a:pt x="1103479" y="522515"/>
                  <a:pt x="1101484" y="522515"/>
                </a:cubicBezTo>
                <a:cubicBezTo>
                  <a:pt x="1101484" y="522515"/>
                  <a:pt x="1097496" y="522515"/>
                  <a:pt x="1097496" y="522515"/>
                </a:cubicBezTo>
                <a:cubicBezTo>
                  <a:pt x="1095501" y="522515"/>
                  <a:pt x="1095501" y="520520"/>
                  <a:pt x="1093507" y="520520"/>
                </a:cubicBezTo>
                <a:cubicBezTo>
                  <a:pt x="1091512" y="518526"/>
                  <a:pt x="1089518" y="518526"/>
                  <a:pt x="1087523" y="518526"/>
                </a:cubicBezTo>
                <a:cubicBezTo>
                  <a:pt x="1087523" y="518526"/>
                  <a:pt x="1081540" y="518526"/>
                  <a:pt x="1081540" y="516532"/>
                </a:cubicBezTo>
                <a:cubicBezTo>
                  <a:pt x="1079546" y="516532"/>
                  <a:pt x="1075557" y="514537"/>
                  <a:pt x="1073562" y="514537"/>
                </a:cubicBezTo>
                <a:cubicBezTo>
                  <a:pt x="1073562" y="516532"/>
                  <a:pt x="1069573" y="514537"/>
                  <a:pt x="1067579" y="514537"/>
                </a:cubicBezTo>
                <a:cubicBezTo>
                  <a:pt x="1067579" y="512543"/>
                  <a:pt x="1063590" y="508554"/>
                  <a:pt x="1063590" y="508554"/>
                </a:cubicBezTo>
                <a:cubicBezTo>
                  <a:pt x="1063590" y="506560"/>
                  <a:pt x="1061596" y="504566"/>
                  <a:pt x="1061596" y="502571"/>
                </a:cubicBezTo>
                <a:cubicBezTo>
                  <a:pt x="1061596" y="502571"/>
                  <a:pt x="1061596" y="500577"/>
                  <a:pt x="1063590" y="502571"/>
                </a:cubicBezTo>
                <a:cubicBezTo>
                  <a:pt x="1065585" y="502571"/>
                  <a:pt x="1067579" y="504566"/>
                  <a:pt x="1069573" y="504566"/>
                </a:cubicBezTo>
                <a:cubicBezTo>
                  <a:pt x="1071568" y="506560"/>
                  <a:pt x="1075557" y="506560"/>
                  <a:pt x="1077551" y="508554"/>
                </a:cubicBezTo>
                <a:cubicBezTo>
                  <a:pt x="1079546" y="508554"/>
                  <a:pt x="1083534" y="508554"/>
                  <a:pt x="1085529" y="508554"/>
                </a:cubicBezTo>
                <a:cubicBezTo>
                  <a:pt x="1087523" y="508554"/>
                  <a:pt x="1089518" y="508554"/>
                  <a:pt x="1091512" y="508554"/>
                </a:cubicBezTo>
                <a:cubicBezTo>
                  <a:pt x="1091512" y="508554"/>
                  <a:pt x="1095501" y="510549"/>
                  <a:pt x="1095501" y="508554"/>
                </a:cubicBezTo>
                <a:cubicBezTo>
                  <a:pt x="1095501" y="508554"/>
                  <a:pt x="1095501" y="506560"/>
                  <a:pt x="1095501" y="506560"/>
                </a:cubicBezTo>
                <a:cubicBezTo>
                  <a:pt x="1095501" y="506560"/>
                  <a:pt x="1091512" y="504566"/>
                  <a:pt x="1089518" y="504566"/>
                </a:cubicBezTo>
                <a:cubicBezTo>
                  <a:pt x="1087523" y="504566"/>
                  <a:pt x="1081540" y="502571"/>
                  <a:pt x="1079546" y="502571"/>
                </a:cubicBezTo>
                <a:cubicBezTo>
                  <a:pt x="1079546" y="500577"/>
                  <a:pt x="1073562" y="500577"/>
                  <a:pt x="1073562" y="500577"/>
                </a:cubicBezTo>
                <a:cubicBezTo>
                  <a:pt x="1071568" y="498583"/>
                  <a:pt x="1067579" y="498583"/>
                  <a:pt x="1065585" y="498583"/>
                </a:cubicBezTo>
                <a:cubicBezTo>
                  <a:pt x="1063590" y="498583"/>
                  <a:pt x="1053618" y="496588"/>
                  <a:pt x="1053618" y="496588"/>
                </a:cubicBezTo>
                <a:cubicBezTo>
                  <a:pt x="1053618" y="496588"/>
                  <a:pt x="1051624" y="498583"/>
                  <a:pt x="1049629" y="498583"/>
                </a:cubicBezTo>
                <a:cubicBezTo>
                  <a:pt x="1049629" y="500577"/>
                  <a:pt x="1049629" y="502571"/>
                  <a:pt x="1049629" y="504566"/>
                </a:cubicBezTo>
                <a:cubicBezTo>
                  <a:pt x="1051624" y="504566"/>
                  <a:pt x="1051624" y="506560"/>
                  <a:pt x="1051624" y="508554"/>
                </a:cubicBezTo>
                <a:cubicBezTo>
                  <a:pt x="1053618" y="508554"/>
                  <a:pt x="1053618" y="510549"/>
                  <a:pt x="1053618" y="512543"/>
                </a:cubicBezTo>
                <a:cubicBezTo>
                  <a:pt x="1051624" y="512543"/>
                  <a:pt x="1049629" y="512543"/>
                  <a:pt x="1047635" y="512543"/>
                </a:cubicBezTo>
                <a:cubicBezTo>
                  <a:pt x="1047635" y="510549"/>
                  <a:pt x="1043646" y="508554"/>
                  <a:pt x="1041651" y="506560"/>
                </a:cubicBezTo>
                <a:cubicBezTo>
                  <a:pt x="1041651" y="506560"/>
                  <a:pt x="1039657" y="502571"/>
                  <a:pt x="1039657" y="502571"/>
                </a:cubicBezTo>
                <a:cubicBezTo>
                  <a:pt x="1039657" y="500577"/>
                  <a:pt x="1037663" y="498583"/>
                  <a:pt x="1035668" y="498583"/>
                </a:cubicBezTo>
                <a:cubicBezTo>
                  <a:pt x="1035668" y="498583"/>
                  <a:pt x="1033674" y="496588"/>
                  <a:pt x="1033674" y="496588"/>
                </a:cubicBezTo>
                <a:cubicBezTo>
                  <a:pt x="1033674" y="496588"/>
                  <a:pt x="1031679" y="494594"/>
                  <a:pt x="1029685" y="492600"/>
                </a:cubicBezTo>
                <a:cubicBezTo>
                  <a:pt x="1029685" y="492600"/>
                  <a:pt x="1027690" y="492600"/>
                  <a:pt x="1025696" y="492600"/>
                </a:cubicBezTo>
                <a:cubicBezTo>
                  <a:pt x="1023702" y="490605"/>
                  <a:pt x="1021707" y="490605"/>
                  <a:pt x="1021707" y="490605"/>
                </a:cubicBezTo>
                <a:cubicBezTo>
                  <a:pt x="1021707" y="492600"/>
                  <a:pt x="1021707" y="494594"/>
                  <a:pt x="1021707" y="494594"/>
                </a:cubicBezTo>
                <a:cubicBezTo>
                  <a:pt x="1021707" y="494594"/>
                  <a:pt x="1023702" y="496588"/>
                  <a:pt x="1025696" y="496588"/>
                </a:cubicBezTo>
                <a:cubicBezTo>
                  <a:pt x="1025696" y="498583"/>
                  <a:pt x="1035668" y="504566"/>
                  <a:pt x="1037663" y="506560"/>
                </a:cubicBezTo>
                <a:cubicBezTo>
                  <a:pt x="1037663" y="508554"/>
                  <a:pt x="1039657" y="510549"/>
                  <a:pt x="1039657" y="512543"/>
                </a:cubicBezTo>
                <a:cubicBezTo>
                  <a:pt x="1039657" y="512543"/>
                  <a:pt x="1039657" y="514537"/>
                  <a:pt x="1037663" y="514537"/>
                </a:cubicBezTo>
                <a:cubicBezTo>
                  <a:pt x="1037663" y="516532"/>
                  <a:pt x="1031679" y="514537"/>
                  <a:pt x="1029685" y="514537"/>
                </a:cubicBezTo>
                <a:cubicBezTo>
                  <a:pt x="1029685" y="514537"/>
                  <a:pt x="1027690" y="512543"/>
                  <a:pt x="1027690" y="514537"/>
                </a:cubicBezTo>
                <a:cubicBezTo>
                  <a:pt x="1027690" y="516532"/>
                  <a:pt x="1027690" y="522515"/>
                  <a:pt x="1025696" y="522515"/>
                </a:cubicBezTo>
                <a:cubicBezTo>
                  <a:pt x="1025696" y="522515"/>
                  <a:pt x="1023702" y="524509"/>
                  <a:pt x="1021707" y="526503"/>
                </a:cubicBezTo>
                <a:cubicBezTo>
                  <a:pt x="1019713" y="526503"/>
                  <a:pt x="1015724" y="524509"/>
                  <a:pt x="1015724" y="524509"/>
                </a:cubicBezTo>
                <a:cubicBezTo>
                  <a:pt x="1013729" y="524509"/>
                  <a:pt x="1009741" y="522515"/>
                  <a:pt x="1007746" y="522515"/>
                </a:cubicBezTo>
                <a:cubicBezTo>
                  <a:pt x="1007746" y="520520"/>
                  <a:pt x="1007746" y="518526"/>
                  <a:pt x="1007746" y="518526"/>
                </a:cubicBezTo>
                <a:cubicBezTo>
                  <a:pt x="1007746" y="518526"/>
                  <a:pt x="1003757" y="520520"/>
                  <a:pt x="1001763" y="520520"/>
                </a:cubicBezTo>
                <a:cubicBezTo>
                  <a:pt x="999768" y="518526"/>
                  <a:pt x="995780" y="518526"/>
                  <a:pt x="995780" y="518526"/>
                </a:cubicBezTo>
                <a:cubicBezTo>
                  <a:pt x="995780" y="518526"/>
                  <a:pt x="989796" y="514537"/>
                  <a:pt x="987802" y="514537"/>
                </a:cubicBezTo>
                <a:cubicBezTo>
                  <a:pt x="987802" y="514537"/>
                  <a:pt x="985807" y="514537"/>
                  <a:pt x="985807" y="516532"/>
                </a:cubicBezTo>
                <a:cubicBezTo>
                  <a:pt x="985807" y="518526"/>
                  <a:pt x="987802" y="520520"/>
                  <a:pt x="987802" y="520520"/>
                </a:cubicBezTo>
                <a:cubicBezTo>
                  <a:pt x="989796" y="520520"/>
                  <a:pt x="991791" y="522515"/>
                  <a:pt x="993785" y="522515"/>
                </a:cubicBezTo>
                <a:cubicBezTo>
                  <a:pt x="995780" y="522515"/>
                  <a:pt x="997774" y="522515"/>
                  <a:pt x="999768" y="522515"/>
                </a:cubicBezTo>
                <a:cubicBezTo>
                  <a:pt x="999768" y="522515"/>
                  <a:pt x="999768" y="526503"/>
                  <a:pt x="999768" y="526503"/>
                </a:cubicBezTo>
                <a:cubicBezTo>
                  <a:pt x="999768" y="526503"/>
                  <a:pt x="995780" y="526503"/>
                  <a:pt x="995780" y="526503"/>
                </a:cubicBezTo>
                <a:cubicBezTo>
                  <a:pt x="993785" y="526503"/>
                  <a:pt x="987802" y="524509"/>
                  <a:pt x="985807" y="524509"/>
                </a:cubicBezTo>
                <a:cubicBezTo>
                  <a:pt x="985807" y="522515"/>
                  <a:pt x="983813" y="522515"/>
                  <a:pt x="981818" y="522515"/>
                </a:cubicBezTo>
                <a:cubicBezTo>
                  <a:pt x="979824" y="524509"/>
                  <a:pt x="977830" y="524509"/>
                  <a:pt x="977830" y="526503"/>
                </a:cubicBezTo>
                <a:cubicBezTo>
                  <a:pt x="977830" y="526503"/>
                  <a:pt x="979824" y="528498"/>
                  <a:pt x="979824" y="528498"/>
                </a:cubicBezTo>
                <a:cubicBezTo>
                  <a:pt x="979824" y="530492"/>
                  <a:pt x="981818" y="530492"/>
                  <a:pt x="981818" y="530492"/>
                </a:cubicBezTo>
                <a:cubicBezTo>
                  <a:pt x="981818" y="530492"/>
                  <a:pt x="981818" y="532486"/>
                  <a:pt x="981818" y="534481"/>
                </a:cubicBezTo>
                <a:cubicBezTo>
                  <a:pt x="981818" y="534481"/>
                  <a:pt x="979824" y="536475"/>
                  <a:pt x="981818" y="536475"/>
                </a:cubicBezTo>
                <a:cubicBezTo>
                  <a:pt x="983813" y="538470"/>
                  <a:pt x="985807" y="536475"/>
                  <a:pt x="985807" y="536475"/>
                </a:cubicBezTo>
                <a:cubicBezTo>
                  <a:pt x="985807" y="536475"/>
                  <a:pt x="985807" y="534481"/>
                  <a:pt x="987802" y="534481"/>
                </a:cubicBezTo>
                <a:cubicBezTo>
                  <a:pt x="987802" y="532486"/>
                  <a:pt x="989796" y="530492"/>
                  <a:pt x="989796" y="530492"/>
                </a:cubicBezTo>
                <a:cubicBezTo>
                  <a:pt x="991791" y="530492"/>
                  <a:pt x="993785" y="530492"/>
                  <a:pt x="993785" y="530492"/>
                </a:cubicBezTo>
                <a:cubicBezTo>
                  <a:pt x="995780" y="530492"/>
                  <a:pt x="997774" y="530492"/>
                  <a:pt x="997774" y="530492"/>
                </a:cubicBezTo>
                <a:cubicBezTo>
                  <a:pt x="999768" y="532486"/>
                  <a:pt x="999768" y="532486"/>
                  <a:pt x="1001763" y="530492"/>
                </a:cubicBezTo>
                <a:cubicBezTo>
                  <a:pt x="1001763" y="530492"/>
                  <a:pt x="1003757" y="530492"/>
                  <a:pt x="1003757" y="530492"/>
                </a:cubicBezTo>
                <a:cubicBezTo>
                  <a:pt x="1003757" y="528498"/>
                  <a:pt x="1007746" y="526503"/>
                  <a:pt x="1009741" y="526503"/>
                </a:cubicBezTo>
                <a:cubicBezTo>
                  <a:pt x="1011735" y="526503"/>
                  <a:pt x="1017718" y="528498"/>
                  <a:pt x="1019713" y="528498"/>
                </a:cubicBezTo>
                <a:cubicBezTo>
                  <a:pt x="1019713" y="530492"/>
                  <a:pt x="1023702" y="530492"/>
                  <a:pt x="1025696" y="530492"/>
                </a:cubicBezTo>
                <a:cubicBezTo>
                  <a:pt x="1025696" y="530492"/>
                  <a:pt x="1029685" y="530492"/>
                  <a:pt x="1029685" y="530492"/>
                </a:cubicBezTo>
                <a:cubicBezTo>
                  <a:pt x="1029685" y="530492"/>
                  <a:pt x="1031679" y="530492"/>
                  <a:pt x="1033674" y="530492"/>
                </a:cubicBezTo>
                <a:cubicBezTo>
                  <a:pt x="1033674" y="530492"/>
                  <a:pt x="1035668" y="530492"/>
                  <a:pt x="1037663" y="530492"/>
                </a:cubicBezTo>
                <a:cubicBezTo>
                  <a:pt x="1037663" y="530492"/>
                  <a:pt x="1037663" y="532486"/>
                  <a:pt x="1037663" y="532486"/>
                </a:cubicBezTo>
                <a:cubicBezTo>
                  <a:pt x="1037663" y="534481"/>
                  <a:pt x="1035668" y="536475"/>
                  <a:pt x="1033674" y="536475"/>
                </a:cubicBezTo>
                <a:cubicBezTo>
                  <a:pt x="1033674" y="536475"/>
                  <a:pt x="1029685" y="536475"/>
                  <a:pt x="1029685" y="536475"/>
                </a:cubicBezTo>
                <a:cubicBezTo>
                  <a:pt x="1027690" y="538470"/>
                  <a:pt x="1021707" y="538470"/>
                  <a:pt x="1021707" y="538470"/>
                </a:cubicBezTo>
                <a:cubicBezTo>
                  <a:pt x="1019713" y="538470"/>
                  <a:pt x="1017718" y="538470"/>
                  <a:pt x="1015724" y="538470"/>
                </a:cubicBezTo>
                <a:cubicBezTo>
                  <a:pt x="1015724" y="540464"/>
                  <a:pt x="1013729" y="542458"/>
                  <a:pt x="1011735" y="542458"/>
                </a:cubicBezTo>
                <a:cubicBezTo>
                  <a:pt x="1011735" y="542458"/>
                  <a:pt x="1007746" y="542458"/>
                  <a:pt x="1005752" y="542458"/>
                </a:cubicBezTo>
                <a:cubicBezTo>
                  <a:pt x="1005752" y="542458"/>
                  <a:pt x="1001763" y="540464"/>
                  <a:pt x="1001763" y="540464"/>
                </a:cubicBezTo>
                <a:cubicBezTo>
                  <a:pt x="999768" y="540464"/>
                  <a:pt x="997774" y="538470"/>
                  <a:pt x="997774" y="538470"/>
                </a:cubicBezTo>
                <a:cubicBezTo>
                  <a:pt x="995780" y="538470"/>
                  <a:pt x="987802" y="538470"/>
                  <a:pt x="985807" y="538470"/>
                </a:cubicBezTo>
                <a:cubicBezTo>
                  <a:pt x="985807" y="538470"/>
                  <a:pt x="983813" y="540464"/>
                  <a:pt x="981818" y="540464"/>
                </a:cubicBezTo>
                <a:cubicBezTo>
                  <a:pt x="981818" y="542458"/>
                  <a:pt x="979824" y="544453"/>
                  <a:pt x="981818" y="546447"/>
                </a:cubicBezTo>
                <a:cubicBezTo>
                  <a:pt x="981818" y="546447"/>
                  <a:pt x="985807" y="546447"/>
                  <a:pt x="985807" y="546447"/>
                </a:cubicBezTo>
                <a:cubicBezTo>
                  <a:pt x="987802" y="546447"/>
                  <a:pt x="991791" y="546447"/>
                  <a:pt x="991791" y="546447"/>
                </a:cubicBezTo>
                <a:cubicBezTo>
                  <a:pt x="993785" y="546447"/>
                  <a:pt x="995780" y="544453"/>
                  <a:pt x="997774" y="544453"/>
                </a:cubicBezTo>
                <a:cubicBezTo>
                  <a:pt x="999768" y="546447"/>
                  <a:pt x="1001763" y="546447"/>
                  <a:pt x="1003757" y="548441"/>
                </a:cubicBezTo>
                <a:cubicBezTo>
                  <a:pt x="1003757" y="550436"/>
                  <a:pt x="1005752" y="552430"/>
                  <a:pt x="1007746" y="552430"/>
                </a:cubicBezTo>
                <a:cubicBezTo>
                  <a:pt x="1009741" y="552430"/>
                  <a:pt x="1015724" y="552430"/>
                  <a:pt x="1015724" y="550436"/>
                </a:cubicBezTo>
                <a:cubicBezTo>
                  <a:pt x="1017718" y="550436"/>
                  <a:pt x="1019713" y="548441"/>
                  <a:pt x="1019713" y="546447"/>
                </a:cubicBezTo>
                <a:cubicBezTo>
                  <a:pt x="1021707" y="546447"/>
                  <a:pt x="1021707" y="546447"/>
                  <a:pt x="1023702" y="546447"/>
                </a:cubicBezTo>
                <a:cubicBezTo>
                  <a:pt x="1023702" y="546447"/>
                  <a:pt x="1027690" y="546447"/>
                  <a:pt x="1027690" y="546447"/>
                </a:cubicBezTo>
                <a:cubicBezTo>
                  <a:pt x="1027690" y="546447"/>
                  <a:pt x="1029685" y="548441"/>
                  <a:pt x="1029685" y="548441"/>
                </a:cubicBezTo>
                <a:cubicBezTo>
                  <a:pt x="1031679" y="550436"/>
                  <a:pt x="1033674" y="550436"/>
                  <a:pt x="1035668" y="550436"/>
                </a:cubicBezTo>
                <a:cubicBezTo>
                  <a:pt x="1037663" y="552430"/>
                  <a:pt x="1037663" y="554424"/>
                  <a:pt x="1039657" y="556419"/>
                </a:cubicBezTo>
                <a:cubicBezTo>
                  <a:pt x="1039657" y="556419"/>
                  <a:pt x="1039657" y="558413"/>
                  <a:pt x="1039657" y="558413"/>
                </a:cubicBezTo>
                <a:cubicBezTo>
                  <a:pt x="1037663" y="560407"/>
                  <a:pt x="1033674" y="560407"/>
                  <a:pt x="1033674" y="560407"/>
                </a:cubicBezTo>
                <a:cubicBezTo>
                  <a:pt x="1031679" y="560407"/>
                  <a:pt x="1027690" y="560407"/>
                  <a:pt x="1025696" y="560407"/>
                </a:cubicBezTo>
                <a:cubicBezTo>
                  <a:pt x="1023702" y="560407"/>
                  <a:pt x="1017718" y="560407"/>
                  <a:pt x="1015724" y="560407"/>
                </a:cubicBezTo>
                <a:cubicBezTo>
                  <a:pt x="1015724" y="560407"/>
                  <a:pt x="1011735" y="560407"/>
                  <a:pt x="1011735" y="562402"/>
                </a:cubicBezTo>
                <a:cubicBezTo>
                  <a:pt x="1009741" y="562402"/>
                  <a:pt x="1005752" y="560407"/>
                  <a:pt x="1005752" y="562402"/>
                </a:cubicBezTo>
                <a:cubicBezTo>
                  <a:pt x="1003757" y="566390"/>
                  <a:pt x="1003757" y="566390"/>
                  <a:pt x="1007746" y="566390"/>
                </a:cubicBezTo>
                <a:cubicBezTo>
                  <a:pt x="1011735" y="566390"/>
                  <a:pt x="1017718" y="564396"/>
                  <a:pt x="1017718" y="564396"/>
                </a:cubicBezTo>
                <a:cubicBezTo>
                  <a:pt x="1019713" y="564396"/>
                  <a:pt x="1021707" y="566390"/>
                  <a:pt x="1021707" y="566390"/>
                </a:cubicBezTo>
                <a:cubicBezTo>
                  <a:pt x="1021707" y="568385"/>
                  <a:pt x="1021707" y="570379"/>
                  <a:pt x="1019713" y="570379"/>
                </a:cubicBezTo>
                <a:cubicBezTo>
                  <a:pt x="1019713" y="572373"/>
                  <a:pt x="1019713" y="574368"/>
                  <a:pt x="1019713" y="576362"/>
                </a:cubicBezTo>
                <a:cubicBezTo>
                  <a:pt x="1019713" y="576362"/>
                  <a:pt x="1021707" y="578356"/>
                  <a:pt x="1023702" y="576362"/>
                </a:cubicBezTo>
                <a:cubicBezTo>
                  <a:pt x="1023702" y="576362"/>
                  <a:pt x="1025696" y="572373"/>
                  <a:pt x="1025696" y="572373"/>
                </a:cubicBezTo>
                <a:cubicBezTo>
                  <a:pt x="1027690" y="570379"/>
                  <a:pt x="1029685" y="568385"/>
                  <a:pt x="1029685" y="568385"/>
                </a:cubicBezTo>
                <a:cubicBezTo>
                  <a:pt x="1031679" y="568385"/>
                  <a:pt x="1035668" y="564396"/>
                  <a:pt x="1037663" y="564396"/>
                </a:cubicBezTo>
                <a:cubicBezTo>
                  <a:pt x="1037663" y="566390"/>
                  <a:pt x="1041651" y="568385"/>
                  <a:pt x="1041651" y="568385"/>
                </a:cubicBezTo>
                <a:cubicBezTo>
                  <a:pt x="1043646" y="568385"/>
                  <a:pt x="1045640" y="570379"/>
                  <a:pt x="1047635" y="570379"/>
                </a:cubicBezTo>
                <a:cubicBezTo>
                  <a:pt x="1047635" y="570379"/>
                  <a:pt x="1049629" y="572373"/>
                  <a:pt x="1049629" y="572373"/>
                </a:cubicBezTo>
                <a:cubicBezTo>
                  <a:pt x="1051624" y="572373"/>
                  <a:pt x="1053618" y="574368"/>
                  <a:pt x="1055612" y="576362"/>
                </a:cubicBezTo>
                <a:cubicBezTo>
                  <a:pt x="1057607" y="576362"/>
                  <a:pt x="1059601" y="576362"/>
                  <a:pt x="1061596" y="576362"/>
                </a:cubicBezTo>
                <a:cubicBezTo>
                  <a:pt x="1063590" y="576362"/>
                  <a:pt x="1065585" y="576362"/>
                  <a:pt x="1067579" y="576362"/>
                </a:cubicBezTo>
                <a:cubicBezTo>
                  <a:pt x="1067579" y="578356"/>
                  <a:pt x="1069573" y="580351"/>
                  <a:pt x="1069573" y="580351"/>
                </a:cubicBezTo>
                <a:cubicBezTo>
                  <a:pt x="1069573" y="582345"/>
                  <a:pt x="1071568" y="584339"/>
                  <a:pt x="1073562" y="584339"/>
                </a:cubicBezTo>
                <a:cubicBezTo>
                  <a:pt x="1075557" y="584339"/>
                  <a:pt x="1079546" y="586334"/>
                  <a:pt x="1081540" y="586334"/>
                </a:cubicBezTo>
                <a:cubicBezTo>
                  <a:pt x="1081540" y="586334"/>
                  <a:pt x="1085529" y="586334"/>
                  <a:pt x="1085529" y="586334"/>
                </a:cubicBezTo>
                <a:cubicBezTo>
                  <a:pt x="1085529" y="586334"/>
                  <a:pt x="1087523" y="586334"/>
                  <a:pt x="1087523" y="586334"/>
                </a:cubicBezTo>
                <a:cubicBezTo>
                  <a:pt x="1087523" y="588328"/>
                  <a:pt x="1087523" y="588328"/>
                  <a:pt x="1085529" y="590322"/>
                </a:cubicBezTo>
                <a:cubicBezTo>
                  <a:pt x="1083534" y="590322"/>
                  <a:pt x="1081540" y="590322"/>
                  <a:pt x="1081540" y="592317"/>
                </a:cubicBezTo>
                <a:cubicBezTo>
                  <a:pt x="1081540" y="592317"/>
                  <a:pt x="1079546" y="594311"/>
                  <a:pt x="1079546" y="594311"/>
                </a:cubicBezTo>
                <a:cubicBezTo>
                  <a:pt x="1077551" y="596305"/>
                  <a:pt x="1075557" y="596305"/>
                  <a:pt x="1075557" y="596305"/>
                </a:cubicBezTo>
                <a:cubicBezTo>
                  <a:pt x="1073562" y="598300"/>
                  <a:pt x="1073562" y="598300"/>
                  <a:pt x="1073562" y="600294"/>
                </a:cubicBezTo>
                <a:cubicBezTo>
                  <a:pt x="1071568" y="600294"/>
                  <a:pt x="1071568" y="602288"/>
                  <a:pt x="1071568" y="604283"/>
                </a:cubicBezTo>
                <a:cubicBezTo>
                  <a:pt x="1071568" y="606277"/>
                  <a:pt x="1073562" y="606277"/>
                  <a:pt x="1075557" y="606277"/>
                </a:cubicBezTo>
                <a:cubicBezTo>
                  <a:pt x="1075557" y="606277"/>
                  <a:pt x="1079546" y="604283"/>
                  <a:pt x="1079546" y="604283"/>
                </a:cubicBezTo>
                <a:cubicBezTo>
                  <a:pt x="1079546" y="604283"/>
                  <a:pt x="1085529" y="598300"/>
                  <a:pt x="1085529" y="598300"/>
                </a:cubicBezTo>
                <a:cubicBezTo>
                  <a:pt x="1087523" y="596305"/>
                  <a:pt x="1089518" y="594311"/>
                  <a:pt x="1089518" y="594311"/>
                </a:cubicBezTo>
                <a:cubicBezTo>
                  <a:pt x="1091512" y="594311"/>
                  <a:pt x="1093507" y="594311"/>
                  <a:pt x="1091512" y="596305"/>
                </a:cubicBezTo>
                <a:cubicBezTo>
                  <a:pt x="1091512" y="596305"/>
                  <a:pt x="1087523" y="598300"/>
                  <a:pt x="1087523" y="600294"/>
                </a:cubicBezTo>
                <a:cubicBezTo>
                  <a:pt x="1087523" y="602288"/>
                  <a:pt x="1087523" y="604283"/>
                  <a:pt x="1087523" y="606277"/>
                </a:cubicBezTo>
                <a:cubicBezTo>
                  <a:pt x="1087523" y="608271"/>
                  <a:pt x="1087523" y="610266"/>
                  <a:pt x="1087523" y="610266"/>
                </a:cubicBezTo>
                <a:cubicBezTo>
                  <a:pt x="1087523" y="612260"/>
                  <a:pt x="1087523" y="614254"/>
                  <a:pt x="1087523" y="616249"/>
                </a:cubicBezTo>
                <a:cubicBezTo>
                  <a:pt x="1089518" y="616249"/>
                  <a:pt x="1091512" y="616249"/>
                  <a:pt x="1091512" y="614254"/>
                </a:cubicBezTo>
                <a:cubicBezTo>
                  <a:pt x="1091512" y="614254"/>
                  <a:pt x="1093507" y="610266"/>
                  <a:pt x="1093507" y="610266"/>
                </a:cubicBezTo>
                <a:cubicBezTo>
                  <a:pt x="1095501" y="610266"/>
                  <a:pt x="1095501" y="610266"/>
                  <a:pt x="1097496" y="610266"/>
                </a:cubicBezTo>
                <a:cubicBezTo>
                  <a:pt x="1099490" y="610266"/>
                  <a:pt x="1101484" y="610266"/>
                  <a:pt x="1101484" y="608271"/>
                </a:cubicBezTo>
                <a:cubicBezTo>
                  <a:pt x="1103479" y="608271"/>
                  <a:pt x="1105473" y="608271"/>
                  <a:pt x="1105473" y="608271"/>
                </a:cubicBezTo>
                <a:cubicBezTo>
                  <a:pt x="1107468" y="610266"/>
                  <a:pt x="1105473" y="612260"/>
                  <a:pt x="1107468" y="614254"/>
                </a:cubicBezTo>
                <a:cubicBezTo>
                  <a:pt x="1107468" y="614254"/>
                  <a:pt x="1109462" y="614254"/>
                  <a:pt x="1107468" y="616249"/>
                </a:cubicBezTo>
                <a:cubicBezTo>
                  <a:pt x="1107468" y="618243"/>
                  <a:pt x="1105473" y="620237"/>
                  <a:pt x="1105473" y="620237"/>
                </a:cubicBezTo>
                <a:cubicBezTo>
                  <a:pt x="1103479" y="622232"/>
                  <a:pt x="1099490" y="622232"/>
                  <a:pt x="1097496" y="622232"/>
                </a:cubicBezTo>
                <a:cubicBezTo>
                  <a:pt x="1095501" y="622232"/>
                  <a:pt x="1093507" y="622232"/>
                  <a:pt x="1093507" y="624226"/>
                </a:cubicBezTo>
                <a:cubicBezTo>
                  <a:pt x="1093507" y="624226"/>
                  <a:pt x="1091512" y="626220"/>
                  <a:pt x="1093507" y="626220"/>
                </a:cubicBezTo>
                <a:cubicBezTo>
                  <a:pt x="1095501" y="626220"/>
                  <a:pt x="1097496" y="626220"/>
                  <a:pt x="1099490" y="626220"/>
                </a:cubicBezTo>
                <a:cubicBezTo>
                  <a:pt x="1101484" y="626220"/>
                  <a:pt x="1105473" y="628215"/>
                  <a:pt x="1105473" y="628215"/>
                </a:cubicBezTo>
                <a:cubicBezTo>
                  <a:pt x="1107468" y="630209"/>
                  <a:pt x="1107468" y="632203"/>
                  <a:pt x="1107468" y="632203"/>
                </a:cubicBezTo>
                <a:cubicBezTo>
                  <a:pt x="1109462" y="632203"/>
                  <a:pt x="1109462" y="634198"/>
                  <a:pt x="1107468" y="634198"/>
                </a:cubicBezTo>
                <a:cubicBezTo>
                  <a:pt x="1107468" y="634198"/>
                  <a:pt x="1105473" y="634198"/>
                  <a:pt x="1105473" y="636192"/>
                </a:cubicBezTo>
                <a:cubicBezTo>
                  <a:pt x="1103479" y="636192"/>
                  <a:pt x="1103479" y="638186"/>
                  <a:pt x="1105473" y="638186"/>
                </a:cubicBezTo>
                <a:cubicBezTo>
                  <a:pt x="1105473" y="640181"/>
                  <a:pt x="1107468" y="642175"/>
                  <a:pt x="1107468" y="642175"/>
                </a:cubicBezTo>
                <a:cubicBezTo>
                  <a:pt x="1107468" y="642175"/>
                  <a:pt x="1113451" y="644169"/>
                  <a:pt x="1113451" y="648158"/>
                </a:cubicBezTo>
                <a:cubicBezTo>
                  <a:pt x="1113451" y="648158"/>
                  <a:pt x="1109462" y="648158"/>
                  <a:pt x="1109462" y="648158"/>
                </a:cubicBezTo>
                <a:cubicBezTo>
                  <a:pt x="1105473" y="650152"/>
                  <a:pt x="1105473" y="650152"/>
                  <a:pt x="1105473" y="650152"/>
                </a:cubicBezTo>
                <a:cubicBezTo>
                  <a:pt x="1105473" y="650152"/>
                  <a:pt x="1105473" y="652147"/>
                  <a:pt x="1103479" y="652147"/>
                </a:cubicBezTo>
                <a:cubicBezTo>
                  <a:pt x="1101484" y="652147"/>
                  <a:pt x="1099490" y="652147"/>
                  <a:pt x="1099490" y="652147"/>
                </a:cubicBezTo>
                <a:cubicBezTo>
                  <a:pt x="1097496" y="652147"/>
                  <a:pt x="1095501" y="652147"/>
                  <a:pt x="1095501" y="652147"/>
                </a:cubicBezTo>
                <a:cubicBezTo>
                  <a:pt x="1093507" y="654141"/>
                  <a:pt x="1091512" y="654141"/>
                  <a:pt x="1089518" y="652147"/>
                </a:cubicBezTo>
                <a:cubicBezTo>
                  <a:pt x="1087523" y="650152"/>
                  <a:pt x="1089518" y="642175"/>
                  <a:pt x="1089518" y="642175"/>
                </a:cubicBezTo>
                <a:cubicBezTo>
                  <a:pt x="1089518" y="642175"/>
                  <a:pt x="1091512" y="638186"/>
                  <a:pt x="1091512" y="636192"/>
                </a:cubicBezTo>
                <a:cubicBezTo>
                  <a:pt x="1091512" y="636192"/>
                  <a:pt x="1089518" y="634198"/>
                  <a:pt x="1087523" y="636192"/>
                </a:cubicBezTo>
                <a:cubicBezTo>
                  <a:pt x="1083534" y="636192"/>
                  <a:pt x="1085529" y="638186"/>
                  <a:pt x="1085529" y="640181"/>
                </a:cubicBezTo>
                <a:cubicBezTo>
                  <a:pt x="1085529" y="642175"/>
                  <a:pt x="1083534" y="646164"/>
                  <a:pt x="1083534" y="648158"/>
                </a:cubicBezTo>
                <a:cubicBezTo>
                  <a:pt x="1083534" y="648158"/>
                  <a:pt x="1079546" y="654141"/>
                  <a:pt x="1077551" y="654141"/>
                </a:cubicBezTo>
                <a:cubicBezTo>
                  <a:pt x="1075557" y="656135"/>
                  <a:pt x="1075557" y="656135"/>
                  <a:pt x="1073562" y="656135"/>
                </a:cubicBezTo>
                <a:cubicBezTo>
                  <a:pt x="1071568" y="656135"/>
                  <a:pt x="1069573" y="654141"/>
                  <a:pt x="1067579" y="654141"/>
                </a:cubicBezTo>
                <a:cubicBezTo>
                  <a:pt x="1067579" y="652147"/>
                  <a:pt x="1057607" y="648158"/>
                  <a:pt x="1057607" y="648158"/>
                </a:cubicBezTo>
                <a:cubicBezTo>
                  <a:pt x="1057607" y="648158"/>
                  <a:pt x="1053618" y="644169"/>
                  <a:pt x="1053618" y="642175"/>
                </a:cubicBezTo>
                <a:cubicBezTo>
                  <a:pt x="1051624" y="640181"/>
                  <a:pt x="1051624" y="632203"/>
                  <a:pt x="1051624" y="632203"/>
                </a:cubicBezTo>
                <a:cubicBezTo>
                  <a:pt x="1051624" y="630209"/>
                  <a:pt x="1049629" y="624226"/>
                  <a:pt x="1049629" y="624226"/>
                </a:cubicBezTo>
                <a:cubicBezTo>
                  <a:pt x="1047635" y="622232"/>
                  <a:pt x="1045640" y="618243"/>
                  <a:pt x="1043646" y="618243"/>
                </a:cubicBezTo>
                <a:cubicBezTo>
                  <a:pt x="1043646" y="616249"/>
                  <a:pt x="1039657" y="616249"/>
                  <a:pt x="1037663" y="614254"/>
                </a:cubicBezTo>
                <a:cubicBezTo>
                  <a:pt x="1037663" y="614254"/>
                  <a:pt x="1033674" y="614254"/>
                  <a:pt x="1033674" y="614254"/>
                </a:cubicBezTo>
                <a:cubicBezTo>
                  <a:pt x="1031679" y="614254"/>
                  <a:pt x="1023702" y="612260"/>
                  <a:pt x="1023702" y="612260"/>
                </a:cubicBezTo>
                <a:cubicBezTo>
                  <a:pt x="1023702" y="612260"/>
                  <a:pt x="1021707" y="608271"/>
                  <a:pt x="1021707" y="608271"/>
                </a:cubicBezTo>
                <a:cubicBezTo>
                  <a:pt x="1021707" y="606277"/>
                  <a:pt x="1019713" y="604283"/>
                  <a:pt x="1019713" y="604283"/>
                </a:cubicBezTo>
                <a:cubicBezTo>
                  <a:pt x="1017718" y="604283"/>
                  <a:pt x="1015724" y="602288"/>
                  <a:pt x="1015724" y="604283"/>
                </a:cubicBezTo>
                <a:cubicBezTo>
                  <a:pt x="1013729" y="604283"/>
                  <a:pt x="1011735" y="604283"/>
                  <a:pt x="1009741" y="604283"/>
                </a:cubicBezTo>
                <a:cubicBezTo>
                  <a:pt x="1007746" y="602288"/>
                  <a:pt x="1005752" y="602288"/>
                  <a:pt x="1005752" y="602288"/>
                </a:cubicBezTo>
                <a:cubicBezTo>
                  <a:pt x="1003757" y="602288"/>
                  <a:pt x="1001763" y="602288"/>
                  <a:pt x="1001763" y="602288"/>
                </a:cubicBezTo>
                <a:cubicBezTo>
                  <a:pt x="999768" y="602288"/>
                  <a:pt x="997774" y="602288"/>
                  <a:pt x="995780" y="602288"/>
                </a:cubicBezTo>
                <a:cubicBezTo>
                  <a:pt x="995780" y="600294"/>
                  <a:pt x="995780" y="598300"/>
                  <a:pt x="995780" y="598300"/>
                </a:cubicBezTo>
                <a:cubicBezTo>
                  <a:pt x="993785" y="598300"/>
                  <a:pt x="991791" y="598300"/>
                  <a:pt x="991791" y="598300"/>
                </a:cubicBezTo>
                <a:cubicBezTo>
                  <a:pt x="991791" y="600294"/>
                  <a:pt x="991791" y="602288"/>
                  <a:pt x="989796" y="602288"/>
                </a:cubicBezTo>
                <a:cubicBezTo>
                  <a:pt x="987802" y="604283"/>
                  <a:pt x="985807" y="604283"/>
                  <a:pt x="983813" y="602288"/>
                </a:cubicBezTo>
                <a:cubicBezTo>
                  <a:pt x="981818" y="600294"/>
                  <a:pt x="981818" y="600294"/>
                  <a:pt x="981818" y="598300"/>
                </a:cubicBezTo>
                <a:cubicBezTo>
                  <a:pt x="979824" y="598300"/>
                  <a:pt x="977830" y="594311"/>
                  <a:pt x="977830" y="592317"/>
                </a:cubicBezTo>
                <a:cubicBezTo>
                  <a:pt x="977830" y="590322"/>
                  <a:pt x="973841" y="586334"/>
                  <a:pt x="973841" y="586334"/>
                </a:cubicBezTo>
                <a:cubicBezTo>
                  <a:pt x="971846" y="584339"/>
                  <a:pt x="969852" y="582345"/>
                  <a:pt x="969852" y="582345"/>
                </a:cubicBezTo>
                <a:cubicBezTo>
                  <a:pt x="967857" y="582345"/>
                  <a:pt x="965863" y="582345"/>
                  <a:pt x="963869" y="580351"/>
                </a:cubicBezTo>
                <a:cubicBezTo>
                  <a:pt x="963869" y="580351"/>
                  <a:pt x="961874" y="580351"/>
                  <a:pt x="959880" y="580351"/>
                </a:cubicBezTo>
                <a:cubicBezTo>
                  <a:pt x="959880" y="578356"/>
                  <a:pt x="957885" y="578356"/>
                  <a:pt x="955891" y="578356"/>
                </a:cubicBezTo>
                <a:cubicBezTo>
                  <a:pt x="953896" y="576362"/>
                  <a:pt x="953896" y="576362"/>
                  <a:pt x="951902" y="578356"/>
                </a:cubicBezTo>
                <a:cubicBezTo>
                  <a:pt x="951902" y="580351"/>
                  <a:pt x="951902" y="584339"/>
                  <a:pt x="951902" y="586334"/>
                </a:cubicBezTo>
                <a:cubicBezTo>
                  <a:pt x="953896" y="586334"/>
                  <a:pt x="957885" y="588328"/>
                  <a:pt x="957885" y="588328"/>
                </a:cubicBezTo>
                <a:cubicBezTo>
                  <a:pt x="959880" y="588328"/>
                  <a:pt x="961874" y="588328"/>
                  <a:pt x="963869" y="590322"/>
                </a:cubicBezTo>
                <a:cubicBezTo>
                  <a:pt x="965863" y="590322"/>
                  <a:pt x="967857" y="592317"/>
                  <a:pt x="969852" y="594311"/>
                </a:cubicBezTo>
                <a:cubicBezTo>
                  <a:pt x="971846" y="594311"/>
                  <a:pt x="973841" y="596305"/>
                  <a:pt x="973841" y="596305"/>
                </a:cubicBezTo>
                <a:cubicBezTo>
                  <a:pt x="973841" y="598300"/>
                  <a:pt x="969852" y="598300"/>
                  <a:pt x="967857" y="598300"/>
                </a:cubicBezTo>
                <a:cubicBezTo>
                  <a:pt x="965863" y="598300"/>
                  <a:pt x="965863" y="598300"/>
                  <a:pt x="963869" y="600294"/>
                </a:cubicBezTo>
                <a:cubicBezTo>
                  <a:pt x="963869" y="600294"/>
                  <a:pt x="961874" y="600294"/>
                  <a:pt x="959880" y="600294"/>
                </a:cubicBezTo>
                <a:cubicBezTo>
                  <a:pt x="957885" y="600294"/>
                  <a:pt x="957885" y="598300"/>
                  <a:pt x="955891" y="598300"/>
                </a:cubicBezTo>
                <a:cubicBezTo>
                  <a:pt x="955891" y="598300"/>
                  <a:pt x="953896" y="598300"/>
                  <a:pt x="953896" y="598300"/>
                </a:cubicBezTo>
                <a:cubicBezTo>
                  <a:pt x="951902" y="600294"/>
                  <a:pt x="951902" y="602288"/>
                  <a:pt x="953896" y="602288"/>
                </a:cubicBezTo>
                <a:cubicBezTo>
                  <a:pt x="953896" y="604283"/>
                  <a:pt x="957885" y="606277"/>
                  <a:pt x="957885" y="606277"/>
                </a:cubicBezTo>
                <a:cubicBezTo>
                  <a:pt x="959880" y="604283"/>
                  <a:pt x="961874" y="604283"/>
                  <a:pt x="961874" y="604283"/>
                </a:cubicBezTo>
                <a:cubicBezTo>
                  <a:pt x="963869" y="604283"/>
                  <a:pt x="965863" y="606277"/>
                  <a:pt x="965863" y="606277"/>
                </a:cubicBezTo>
                <a:cubicBezTo>
                  <a:pt x="967857" y="606277"/>
                  <a:pt x="969852" y="604283"/>
                  <a:pt x="971846" y="604283"/>
                </a:cubicBezTo>
                <a:cubicBezTo>
                  <a:pt x="973841" y="604283"/>
                  <a:pt x="975835" y="604283"/>
                  <a:pt x="975835" y="606277"/>
                </a:cubicBezTo>
                <a:cubicBezTo>
                  <a:pt x="975835" y="606277"/>
                  <a:pt x="975835" y="610266"/>
                  <a:pt x="977830" y="610266"/>
                </a:cubicBezTo>
                <a:cubicBezTo>
                  <a:pt x="977830" y="610266"/>
                  <a:pt x="981818" y="610266"/>
                  <a:pt x="981818" y="610266"/>
                </a:cubicBezTo>
                <a:cubicBezTo>
                  <a:pt x="981818" y="610266"/>
                  <a:pt x="991791" y="610266"/>
                  <a:pt x="991791" y="608271"/>
                </a:cubicBezTo>
                <a:cubicBezTo>
                  <a:pt x="991791" y="608271"/>
                  <a:pt x="997774" y="608271"/>
                  <a:pt x="997774" y="608271"/>
                </a:cubicBezTo>
                <a:cubicBezTo>
                  <a:pt x="999768" y="608271"/>
                  <a:pt x="1003757" y="610266"/>
                  <a:pt x="1005752" y="610266"/>
                </a:cubicBezTo>
                <a:cubicBezTo>
                  <a:pt x="1005752" y="610266"/>
                  <a:pt x="1009741" y="610266"/>
                  <a:pt x="1011735" y="610266"/>
                </a:cubicBezTo>
                <a:cubicBezTo>
                  <a:pt x="1011735" y="610266"/>
                  <a:pt x="1015724" y="612260"/>
                  <a:pt x="1017718" y="612260"/>
                </a:cubicBezTo>
                <a:cubicBezTo>
                  <a:pt x="1019713" y="612260"/>
                  <a:pt x="1019713" y="614254"/>
                  <a:pt x="1019713" y="614254"/>
                </a:cubicBezTo>
                <a:cubicBezTo>
                  <a:pt x="1019713" y="616249"/>
                  <a:pt x="1017718" y="618243"/>
                  <a:pt x="1015724" y="618243"/>
                </a:cubicBezTo>
                <a:cubicBezTo>
                  <a:pt x="1013729" y="618243"/>
                  <a:pt x="1013729" y="618243"/>
                  <a:pt x="1011735" y="620237"/>
                </a:cubicBezTo>
                <a:cubicBezTo>
                  <a:pt x="1011735" y="622232"/>
                  <a:pt x="1011735" y="622232"/>
                  <a:pt x="1009741" y="622232"/>
                </a:cubicBezTo>
                <a:cubicBezTo>
                  <a:pt x="1007746" y="624226"/>
                  <a:pt x="1003757" y="624226"/>
                  <a:pt x="1001763" y="624226"/>
                </a:cubicBezTo>
                <a:cubicBezTo>
                  <a:pt x="999768" y="626220"/>
                  <a:pt x="995780" y="626220"/>
                  <a:pt x="993785" y="626220"/>
                </a:cubicBezTo>
                <a:cubicBezTo>
                  <a:pt x="993785" y="628215"/>
                  <a:pt x="991791" y="628215"/>
                  <a:pt x="989796" y="628215"/>
                </a:cubicBezTo>
                <a:cubicBezTo>
                  <a:pt x="987802" y="630209"/>
                  <a:pt x="985807" y="630209"/>
                  <a:pt x="983813" y="630209"/>
                </a:cubicBezTo>
                <a:cubicBezTo>
                  <a:pt x="981818" y="630209"/>
                  <a:pt x="979824" y="630209"/>
                  <a:pt x="977830" y="630209"/>
                </a:cubicBezTo>
                <a:cubicBezTo>
                  <a:pt x="977830" y="630209"/>
                  <a:pt x="973841" y="630209"/>
                  <a:pt x="973841" y="630209"/>
                </a:cubicBezTo>
                <a:cubicBezTo>
                  <a:pt x="971846" y="628215"/>
                  <a:pt x="971846" y="628215"/>
                  <a:pt x="969852" y="628215"/>
                </a:cubicBezTo>
                <a:cubicBezTo>
                  <a:pt x="967857" y="628215"/>
                  <a:pt x="965863" y="628215"/>
                  <a:pt x="965863" y="628215"/>
                </a:cubicBezTo>
                <a:cubicBezTo>
                  <a:pt x="963869" y="628215"/>
                  <a:pt x="957885" y="628215"/>
                  <a:pt x="955891" y="628215"/>
                </a:cubicBezTo>
                <a:cubicBezTo>
                  <a:pt x="953896" y="628215"/>
                  <a:pt x="953896" y="628215"/>
                  <a:pt x="951902" y="628215"/>
                </a:cubicBezTo>
                <a:cubicBezTo>
                  <a:pt x="951902" y="630209"/>
                  <a:pt x="951902" y="632203"/>
                  <a:pt x="951902" y="632203"/>
                </a:cubicBezTo>
                <a:cubicBezTo>
                  <a:pt x="953896" y="634198"/>
                  <a:pt x="953896" y="634198"/>
                  <a:pt x="955891" y="634198"/>
                </a:cubicBezTo>
                <a:cubicBezTo>
                  <a:pt x="957885" y="634198"/>
                  <a:pt x="957885" y="634198"/>
                  <a:pt x="959880" y="634198"/>
                </a:cubicBezTo>
                <a:cubicBezTo>
                  <a:pt x="961874" y="636192"/>
                  <a:pt x="961874" y="636192"/>
                  <a:pt x="961874" y="636192"/>
                </a:cubicBezTo>
                <a:cubicBezTo>
                  <a:pt x="961874" y="638186"/>
                  <a:pt x="957885" y="644169"/>
                  <a:pt x="955891" y="646164"/>
                </a:cubicBezTo>
                <a:cubicBezTo>
                  <a:pt x="955891" y="648158"/>
                  <a:pt x="953896" y="650152"/>
                  <a:pt x="951902" y="652147"/>
                </a:cubicBezTo>
                <a:cubicBezTo>
                  <a:pt x="951902" y="652147"/>
                  <a:pt x="951902" y="654141"/>
                  <a:pt x="949908" y="652147"/>
                </a:cubicBezTo>
                <a:cubicBezTo>
                  <a:pt x="947913" y="652147"/>
                  <a:pt x="945919" y="652147"/>
                  <a:pt x="943924" y="652147"/>
                </a:cubicBezTo>
                <a:cubicBezTo>
                  <a:pt x="941930" y="652147"/>
                  <a:pt x="937941" y="652147"/>
                  <a:pt x="937941" y="652147"/>
                </a:cubicBezTo>
                <a:cubicBezTo>
                  <a:pt x="935947" y="652147"/>
                  <a:pt x="933952" y="656135"/>
                  <a:pt x="933952" y="656135"/>
                </a:cubicBezTo>
                <a:cubicBezTo>
                  <a:pt x="933952" y="658130"/>
                  <a:pt x="931958" y="660124"/>
                  <a:pt x="931958" y="662118"/>
                </a:cubicBezTo>
                <a:cubicBezTo>
                  <a:pt x="933952" y="662118"/>
                  <a:pt x="933952" y="662118"/>
                  <a:pt x="935947" y="662118"/>
                </a:cubicBezTo>
                <a:cubicBezTo>
                  <a:pt x="935947" y="662118"/>
                  <a:pt x="937941" y="660124"/>
                  <a:pt x="939935" y="660124"/>
                </a:cubicBezTo>
                <a:cubicBezTo>
                  <a:pt x="939935" y="660124"/>
                  <a:pt x="943924" y="658130"/>
                  <a:pt x="943924" y="658130"/>
                </a:cubicBezTo>
                <a:cubicBezTo>
                  <a:pt x="945919" y="658130"/>
                  <a:pt x="947913" y="656135"/>
                  <a:pt x="947913" y="656135"/>
                </a:cubicBezTo>
                <a:cubicBezTo>
                  <a:pt x="949908" y="656135"/>
                  <a:pt x="951902" y="656135"/>
                  <a:pt x="953896" y="656135"/>
                </a:cubicBezTo>
                <a:cubicBezTo>
                  <a:pt x="955891" y="658130"/>
                  <a:pt x="957885" y="658130"/>
                  <a:pt x="957885" y="660124"/>
                </a:cubicBezTo>
                <a:cubicBezTo>
                  <a:pt x="959880" y="660124"/>
                  <a:pt x="959880" y="662118"/>
                  <a:pt x="961874" y="662118"/>
                </a:cubicBezTo>
                <a:cubicBezTo>
                  <a:pt x="963869" y="662118"/>
                  <a:pt x="965863" y="662118"/>
                  <a:pt x="967857" y="662118"/>
                </a:cubicBezTo>
                <a:cubicBezTo>
                  <a:pt x="967857" y="662118"/>
                  <a:pt x="973841" y="662118"/>
                  <a:pt x="973841" y="660124"/>
                </a:cubicBezTo>
                <a:cubicBezTo>
                  <a:pt x="973841" y="660124"/>
                  <a:pt x="977830" y="658130"/>
                  <a:pt x="979824" y="658130"/>
                </a:cubicBezTo>
                <a:cubicBezTo>
                  <a:pt x="981818" y="658130"/>
                  <a:pt x="987802" y="658130"/>
                  <a:pt x="987802" y="658130"/>
                </a:cubicBezTo>
                <a:cubicBezTo>
                  <a:pt x="989796" y="658130"/>
                  <a:pt x="997774" y="658130"/>
                  <a:pt x="997774" y="658130"/>
                </a:cubicBezTo>
                <a:cubicBezTo>
                  <a:pt x="999768" y="660124"/>
                  <a:pt x="999768" y="662118"/>
                  <a:pt x="997774" y="664112"/>
                </a:cubicBezTo>
                <a:cubicBezTo>
                  <a:pt x="995780" y="664112"/>
                  <a:pt x="987802" y="664112"/>
                  <a:pt x="985807" y="664112"/>
                </a:cubicBezTo>
                <a:cubicBezTo>
                  <a:pt x="985807" y="664112"/>
                  <a:pt x="981818" y="664112"/>
                  <a:pt x="979824" y="664112"/>
                </a:cubicBezTo>
                <a:cubicBezTo>
                  <a:pt x="977830" y="664112"/>
                  <a:pt x="973841" y="664112"/>
                  <a:pt x="973841" y="664112"/>
                </a:cubicBezTo>
                <a:cubicBezTo>
                  <a:pt x="971846" y="664112"/>
                  <a:pt x="969852" y="664112"/>
                  <a:pt x="969852" y="666107"/>
                </a:cubicBezTo>
                <a:cubicBezTo>
                  <a:pt x="969852" y="666107"/>
                  <a:pt x="965863" y="668101"/>
                  <a:pt x="963869" y="668101"/>
                </a:cubicBezTo>
                <a:cubicBezTo>
                  <a:pt x="961874" y="668101"/>
                  <a:pt x="957885" y="668101"/>
                  <a:pt x="955891" y="668101"/>
                </a:cubicBezTo>
                <a:cubicBezTo>
                  <a:pt x="953896" y="668101"/>
                  <a:pt x="951902" y="668101"/>
                  <a:pt x="949908" y="670095"/>
                </a:cubicBezTo>
                <a:cubicBezTo>
                  <a:pt x="947913" y="670095"/>
                  <a:pt x="945919" y="672090"/>
                  <a:pt x="947913" y="674084"/>
                </a:cubicBezTo>
                <a:cubicBezTo>
                  <a:pt x="949908" y="674084"/>
                  <a:pt x="951902" y="674084"/>
                  <a:pt x="953896" y="674084"/>
                </a:cubicBezTo>
                <a:cubicBezTo>
                  <a:pt x="955891" y="672090"/>
                  <a:pt x="957885" y="672090"/>
                  <a:pt x="959880" y="672090"/>
                </a:cubicBezTo>
                <a:cubicBezTo>
                  <a:pt x="961874" y="674084"/>
                  <a:pt x="961874" y="676078"/>
                  <a:pt x="961874" y="676078"/>
                </a:cubicBezTo>
                <a:cubicBezTo>
                  <a:pt x="963869" y="676078"/>
                  <a:pt x="963869" y="676078"/>
                  <a:pt x="965863" y="674084"/>
                </a:cubicBezTo>
                <a:cubicBezTo>
                  <a:pt x="967857" y="674084"/>
                  <a:pt x="967857" y="674084"/>
                  <a:pt x="969852" y="674084"/>
                </a:cubicBezTo>
                <a:cubicBezTo>
                  <a:pt x="969852" y="674084"/>
                  <a:pt x="971846" y="676078"/>
                  <a:pt x="973841" y="676078"/>
                </a:cubicBezTo>
                <a:cubicBezTo>
                  <a:pt x="973841" y="678073"/>
                  <a:pt x="975835" y="678073"/>
                  <a:pt x="977830" y="676078"/>
                </a:cubicBezTo>
                <a:cubicBezTo>
                  <a:pt x="977830" y="676078"/>
                  <a:pt x="981818" y="672090"/>
                  <a:pt x="981818" y="672090"/>
                </a:cubicBezTo>
                <a:cubicBezTo>
                  <a:pt x="981818" y="672090"/>
                  <a:pt x="995780" y="670095"/>
                  <a:pt x="995780" y="670095"/>
                </a:cubicBezTo>
                <a:cubicBezTo>
                  <a:pt x="997774" y="668101"/>
                  <a:pt x="1003757" y="668101"/>
                  <a:pt x="1005752" y="668101"/>
                </a:cubicBezTo>
                <a:cubicBezTo>
                  <a:pt x="1007746" y="666107"/>
                  <a:pt x="1015724" y="664112"/>
                  <a:pt x="1015724" y="664112"/>
                </a:cubicBezTo>
                <a:cubicBezTo>
                  <a:pt x="1015724" y="664112"/>
                  <a:pt x="1019713" y="660124"/>
                  <a:pt x="1021707" y="660124"/>
                </a:cubicBezTo>
                <a:cubicBezTo>
                  <a:pt x="1021707" y="658130"/>
                  <a:pt x="1023702" y="658130"/>
                  <a:pt x="1023702" y="660124"/>
                </a:cubicBezTo>
                <a:cubicBezTo>
                  <a:pt x="1025696" y="662118"/>
                  <a:pt x="1025696" y="664112"/>
                  <a:pt x="1025696" y="664112"/>
                </a:cubicBezTo>
                <a:cubicBezTo>
                  <a:pt x="1025696" y="664112"/>
                  <a:pt x="1027690" y="664112"/>
                  <a:pt x="1027690" y="664112"/>
                </a:cubicBezTo>
                <a:cubicBezTo>
                  <a:pt x="1029685" y="664112"/>
                  <a:pt x="1031679" y="664112"/>
                  <a:pt x="1031679" y="664112"/>
                </a:cubicBezTo>
                <a:cubicBezTo>
                  <a:pt x="1031679" y="664112"/>
                  <a:pt x="1033674" y="664112"/>
                  <a:pt x="1035668" y="664112"/>
                </a:cubicBezTo>
                <a:cubicBezTo>
                  <a:pt x="1035668" y="666107"/>
                  <a:pt x="1037663" y="666107"/>
                  <a:pt x="1039657" y="668101"/>
                </a:cubicBezTo>
                <a:cubicBezTo>
                  <a:pt x="1039657" y="668101"/>
                  <a:pt x="1045640" y="668101"/>
                  <a:pt x="1045640" y="668101"/>
                </a:cubicBezTo>
                <a:cubicBezTo>
                  <a:pt x="1047635" y="668101"/>
                  <a:pt x="1055612" y="668101"/>
                  <a:pt x="1055612" y="668101"/>
                </a:cubicBezTo>
                <a:cubicBezTo>
                  <a:pt x="1055612" y="668101"/>
                  <a:pt x="1067579" y="670095"/>
                  <a:pt x="1067579" y="670095"/>
                </a:cubicBezTo>
                <a:cubicBezTo>
                  <a:pt x="1069573" y="670095"/>
                  <a:pt x="1075557" y="670095"/>
                  <a:pt x="1075557" y="670095"/>
                </a:cubicBezTo>
                <a:cubicBezTo>
                  <a:pt x="1075557" y="670095"/>
                  <a:pt x="1083534" y="672090"/>
                  <a:pt x="1087523" y="672090"/>
                </a:cubicBezTo>
                <a:cubicBezTo>
                  <a:pt x="1089518" y="672090"/>
                  <a:pt x="1093507" y="670095"/>
                  <a:pt x="1095501" y="672090"/>
                </a:cubicBezTo>
                <a:cubicBezTo>
                  <a:pt x="1095501" y="674084"/>
                  <a:pt x="1093507" y="676078"/>
                  <a:pt x="1093507" y="676078"/>
                </a:cubicBezTo>
                <a:cubicBezTo>
                  <a:pt x="1091512" y="676078"/>
                  <a:pt x="1089518" y="678073"/>
                  <a:pt x="1087523" y="680067"/>
                </a:cubicBezTo>
                <a:cubicBezTo>
                  <a:pt x="1087523" y="680067"/>
                  <a:pt x="1083534" y="680067"/>
                  <a:pt x="1083534" y="680067"/>
                </a:cubicBezTo>
                <a:cubicBezTo>
                  <a:pt x="1081540" y="680067"/>
                  <a:pt x="1081540" y="682061"/>
                  <a:pt x="1079546" y="682061"/>
                </a:cubicBezTo>
                <a:cubicBezTo>
                  <a:pt x="1079546" y="682061"/>
                  <a:pt x="1079546" y="684056"/>
                  <a:pt x="1077551" y="684056"/>
                </a:cubicBezTo>
                <a:cubicBezTo>
                  <a:pt x="1075557" y="684056"/>
                  <a:pt x="1075557" y="682061"/>
                  <a:pt x="1075557" y="682061"/>
                </a:cubicBezTo>
                <a:cubicBezTo>
                  <a:pt x="1073562" y="682061"/>
                  <a:pt x="1073562" y="684056"/>
                  <a:pt x="1071568" y="686050"/>
                </a:cubicBezTo>
                <a:cubicBezTo>
                  <a:pt x="1071568" y="686050"/>
                  <a:pt x="1071568" y="686050"/>
                  <a:pt x="1069573" y="688044"/>
                </a:cubicBezTo>
                <a:cubicBezTo>
                  <a:pt x="1069573" y="688044"/>
                  <a:pt x="1067579" y="686050"/>
                  <a:pt x="1067579" y="688044"/>
                </a:cubicBezTo>
                <a:cubicBezTo>
                  <a:pt x="1065585" y="688044"/>
                  <a:pt x="1065585" y="688044"/>
                  <a:pt x="1063590" y="688044"/>
                </a:cubicBezTo>
                <a:cubicBezTo>
                  <a:pt x="1061596" y="688044"/>
                  <a:pt x="1059601" y="688044"/>
                  <a:pt x="1057607" y="688044"/>
                </a:cubicBezTo>
                <a:cubicBezTo>
                  <a:pt x="1057607" y="688044"/>
                  <a:pt x="1055612" y="686050"/>
                  <a:pt x="1055612" y="688044"/>
                </a:cubicBezTo>
                <a:cubicBezTo>
                  <a:pt x="1055612" y="688044"/>
                  <a:pt x="1053618" y="690039"/>
                  <a:pt x="1055612" y="692033"/>
                </a:cubicBezTo>
                <a:cubicBezTo>
                  <a:pt x="1055612" y="692033"/>
                  <a:pt x="1057607" y="696022"/>
                  <a:pt x="1057607" y="698016"/>
                </a:cubicBezTo>
                <a:cubicBezTo>
                  <a:pt x="1057607" y="700010"/>
                  <a:pt x="1057607" y="700010"/>
                  <a:pt x="1057607" y="700010"/>
                </a:cubicBezTo>
                <a:cubicBezTo>
                  <a:pt x="1055612" y="698016"/>
                  <a:pt x="1053618" y="698016"/>
                  <a:pt x="1051624" y="698016"/>
                </a:cubicBezTo>
                <a:cubicBezTo>
                  <a:pt x="1051624" y="696022"/>
                  <a:pt x="1051624" y="696022"/>
                  <a:pt x="1049629" y="696022"/>
                </a:cubicBezTo>
                <a:cubicBezTo>
                  <a:pt x="1049629" y="696022"/>
                  <a:pt x="1047635" y="698016"/>
                  <a:pt x="1047635" y="698016"/>
                </a:cubicBezTo>
                <a:cubicBezTo>
                  <a:pt x="1047635" y="700010"/>
                  <a:pt x="1047635" y="702005"/>
                  <a:pt x="1045640" y="702005"/>
                </a:cubicBezTo>
                <a:cubicBezTo>
                  <a:pt x="1045640" y="703999"/>
                  <a:pt x="1045640" y="703999"/>
                  <a:pt x="1045640" y="703999"/>
                </a:cubicBezTo>
                <a:cubicBezTo>
                  <a:pt x="1043646" y="703999"/>
                  <a:pt x="1039657" y="703999"/>
                  <a:pt x="1039657" y="703999"/>
                </a:cubicBezTo>
                <a:cubicBezTo>
                  <a:pt x="1039657" y="703999"/>
                  <a:pt x="1039657" y="705993"/>
                  <a:pt x="1037663" y="705993"/>
                </a:cubicBezTo>
                <a:cubicBezTo>
                  <a:pt x="1037663" y="705993"/>
                  <a:pt x="1035668" y="703999"/>
                  <a:pt x="1035668" y="703999"/>
                </a:cubicBezTo>
                <a:cubicBezTo>
                  <a:pt x="1035668" y="703999"/>
                  <a:pt x="1033674" y="702005"/>
                  <a:pt x="1033674" y="703999"/>
                </a:cubicBezTo>
                <a:cubicBezTo>
                  <a:pt x="1031679" y="703999"/>
                  <a:pt x="1031679" y="705993"/>
                  <a:pt x="1031679" y="705993"/>
                </a:cubicBezTo>
                <a:cubicBezTo>
                  <a:pt x="1031679" y="705993"/>
                  <a:pt x="1027690" y="705993"/>
                  <a:pt x="1027690" y="705993"/>
                </a:cubicBezTo>
                <a:cubicBezTo>
                  <a:pt x="1025696" y="705993"/>
                  <a:pt x="1023702" y="705993"/>
                  <a:pt x="1023702" y="707988"/>
                </a:cubicBezTo>
                <a:cubicBezTo>
                  <a:pt x="1021707" y="707988"/>
                  <a:pt x="1019713" y="707988"/>
                  <a:pt x="1019713" y="709982"/>
                </a:cubicBezTo>
                <a:cubicBezTo>
                  <a:pt x="1021707" y="711976"/>
                  <a:pt x="1023702" y="711976"/>
                  <a:pt x="1025696" y="711976"/>
                </a:cubicBezTo>
                <a:cubicBezTo>
                  <a:pt x="1025696" y="713971"/>
                  <a:pt x="1027690" y="715965"/>
                  <a:pt x="1027690" y="715965"/>
                </a:cubicBezTo>
                <a:cubicBezTo>
                  <a:pt x="1025696" y="715965"/>
                  <a:pt x="1023702" y="715965"/>
                  <a:pt x="1021707" y="717959"/>
                </a:cubicBezTo>
                <a:cubicBezTo>
                  <a:pt x="1021707" y="717959"/>
                  <a:pt x="1019713" y="719954"/>
                  <a:pt x="1017718" y="719954"/>
                </a:cubicBezTo>
                <a:cubicBezTo>
                  <a:pt x="1015724" y="719954"/>
                  <a:pt x="1013729" y="717959"/>
                  <a:pt x="1013729" y="717959"/>
                </a:cubicBezTo>
                <a:cubicBezTo>
                  <a:pt x="1011735" y="717959"/>
                  <a:pt x="1011735" y="715965"/>
                  <a:pt x="1009741" y="715965"/>
                </a:cubicBezTo>
                <a:cubicBezTo>
                  <a:pt x="1007746" y="715965"/>
                  <a:pt x="1007746" y="717959"/>
                  <a:pt x="1007746" y="717959"/>
                </a:cubicBezTo>
                <a:cubicBezTo>
                  <a:pt x="1007746" y="719954"/>
                  <a:pt x="1007746" y="723942"/>
                  <a:pt x="1007746" y="723942"/>
                </a:cubicBezTo>
                <a:cubicBezTo>
                  <a:pt x="1007746" y="725937"/>
                  <a:pt x="1007746" y="725937"/>
                  <a:pt x="1007746" y="727931"/>
                </a:cubicBezTo>
                <a:cubicBezTo>
                  <a:pt x="1007746" y="727931"/>
                  <a:pt x="1007746" y="729925"/>
                  <a:pt x="1005752" y="729925"/>
                </a:cubicBezTo>
                <a:cubicBezTo>
                  <a:pt x="1005752" y="731920"/>
                  <a:pt x="1001763" y="733914"/>
                  <a:pt x="999768" y="733914"/>
                </a:cubicBezTo>
                <a:cubicBezTo>
                  <a:pt x="999768" y="733914"/>
                  <a:pt x="995780" y="731920"/>
                  <a:pt x="993785" y="733914"/>
                </a:cubicBezTo>
                <a:cubicBezTo>
                  <a:pt x="993785" y="733914"/>
                  <a:pt x="993785" y="735908"/>
                  <a:pt x="991791" y="735908"/>
                </a:cubicBezTo>
                <a:cubicBezTo>
                  <a:pt x="991791" y="735908"/>
                  <a:pt x="991791" y="737903"/>
                  <a:pt x="989796" y="737903"/>
                </a:cubicBezTo>
                <a:cubicBezTo>
                  <a:pt x="987802" y="737903"/>
                  <a:pt x="985807" y="739897"/>
                  <a:pt x="983813" y="739897"/>
                </a:cubicBezTo>
                <a:cubicBezTo>
                  <a:pt x="983813" y="739897"/>
                  <a:pt x="977830" y="739897"/>
                  <a:pt x="977830" y="739897"/>
                </a:cubicBezTo>
                <a:cubicBezTo>
                  <a:pt x="977830" y="739897"/>
                  <a:pt x="973841" y="739897"/>
                  <a:pt x="973841" y="741891"/>
                </a:cubicBezTo>
                <a:cubicBezTo>
                  <a:pt x="973841" y="741891"/>
                  <a:pt x="969852" y="743886"/>
                  <a:pt x="969852" y="743886"/>
                </a:cubicBezTo>
                <a:cubicBezTo>
                  <a:pt x="969852" y="743886"/>
                  <a:pt x="969852" y="741891"/>
                  <a:pt x="967857" y="743886"/>
                </a:cubicBezTo>
                <a:cubicBezTo>
                  <a:pt x="967857" y="743886"/>
                  <a:pt x="965863" y="745880"/>
                  <a:pt x="965863" y="743886"/>
                </a:cubicBezTo>
                <a:cubicBezTo>
                  <a:pt x="963869" y="743886"/>
                  <a:pt x="963869" y="741891"/>
                  <a:pt x="961874" y="741891"/>
                </a:cubicBezTo>
                <a:cubicBezTo>
                  <a:pt x="961874" y="741891"/>
                  <a:pt x="961874" y="745880"/>
                  <a:pt x="961874" y="745880"/>
                </a:cubicBezTo>
                <a:cubicBezTo>
                  <a:pt x="961874" y="745880"/>
                  <a:pt x="959880" y="747874"/>
                  <a:pt x="959880" y="747874"/>
                </a:cubicBezTo>
                <a:cubicBezTo>
                  <a:pt x="957885" y="747874"/>
                  <a:pt x="957885" y="747874"/>
                  <a:pt x="957885" y="745880"/>
                </a:cubicBezTo>
                <a:cubicBezTo>
                  <a:pt x="955891" y="745880"/>
                  <a:pt x="955891" y="741891"/>
                  <a:pt x="955891" y="741891"/>
                </a:cubicBezTo>
                <a:cubicBezTo>
                  <a:pt x="953896" y="741891"/>
                  <a:pt x="953896" y="741891"/>
                  <a:pt x="953896" y="741891"/>
                </a:cubicBezTo>
                <a:cubicBezTo>
                  <a:pt x="953896" y="743886"/>
                  <a:pt x="953896" y="747874"/>
                  <a:pt x="953896" y="747874"/>
                </a:cubicBezTo>
                <a:cubicBezTo>
                  <a:pt x="953896" y="747874"/>
                  <a:pt x="951902" y="749869"/>
                  <a:pt x="951902" y="749869"/>
                </a:cubicBezTo>
                <a:cubicBezTo>
                  <a:pt x="951902" y="747874"/>
                  <a:pt x="949908" y="747874"/>
                  <a:pt x="947913" y="745880"/>
                </a:cubicBezTo>
                <a:cubicBezTo>
                  <a:pt x="945919" y="745880"/>
                  <a:pt x="945919" y="747874"/>
                  <a:pt x="945919" y="747874"/>
                </a:cubicBezTo>
                <a:cubicBezTo>
                  <a:pt x="945919" y="749869"/>
                  <a:pt x="945919" y="751863"/>
                  <a:pt x="943924" y="751863"/>
                </a:cubicBezTo>
                <a:cubicBezTo>
                  <a:pt x="943924" y="751863"/>
                  <a:pt x="941930" y="749869"/>
                  <a:pt x="939935" y="749869"/>
                </a:cubicBezTo>
                <a:cubicBezTo>
                  <a:pt x="939935" y="751863"/>
                  <a:pt x="939935" y="751863"/>
                  <a:pt x="937941" y="751863"/>
                </a:cubicBezTo>
                <a:cubicBezTo>
                  <a:pt x="937941" y="753857"/>
                  <a:pt x="935947" y="753857"/>
                  <a:pt x="933952" y="753857"/>
                </a:cubicBezTo>
                <a:cubicBezTo>
                  <a:pt x="933952" y="751863"/>
                  <a:pt x="931958" y="751863"/>
                  <a:pt x="929963" y="751863"/>
                </a:cubicBezTo>
                <a:cubicBezTo>
                  <a:pt x="927969" y="751863"/>
                  <a:pt x="925974" y="751863"/>
                  <a:pt x="925974" y="753857"/>
                </a:cubicBezTo>
                <a:cubicBezTo>
                  <a:pt x="925974" y="753857"/>
                  <a:pt x="927969" y="757846"/>
                  <a:pt x="925974" y="757846"/>
                </a:cubicBezTo>
                <a:cubicBezTo>
                  <a:pt x="923980" y="757846"/>
                  <a:pt x="921986" y="755852"/>
                  <a:pt x="921986" y="753857"/>
                </a:cubicBezTo>
                <a:cubicBezTo>
                  <a:pt x="921986" y="753857"/>
                  <a:pt x="919991" y="753857"/>
                  <a:pt x="919991" y="755852"/>
                </a:cubicBezTo>
                <a:cubicBezTo>
                  <a:pt x="919991" y="755852"/>
                  <a:pt x="919991" y="757846"/>
                  <a:pt x="917997" y="755852"/>
                </a:cubicBezTo>
                <a:cubicBezTo>
                  <a:pt x="916002" y="755852"/>
                  <a:pt x="916002" y="753857"/>
                  <a:pt x="916002" y="753857"/>
                </a:cubicBezTo>
                <a:cubicBezTo>
                  <a:pt x="914008" y="753857"/>
                  <a:pt x="912013" y="753857"/>
                  <a:pt x="912013" y="753857"/>
                </a:cubicBezTo>
                <a:cubicBezTo>
                  <a:pt x="910019" y="753857"/>
                  <a:pt x="910019" y="755852"/>
                  <a:pt x="910019" y="755852"/>
                </a:cubicBezTo>
                <a:cubicBezTo>
                  <a:pt x="908025" y="755852"/>
                  <a:pt x="908025" y="757846"/>
                  <a:pt x="906030" y="757846"/>
                </a:cubicBezTo>
                <a:cubicBezTo>
                  <a:pt x="906030" y="757846"/>
                  <a:pt x="906030" y="755852"/>
                  <a:pt x="904036" y="755852"/>
                </a:cubicBezTo>
                <a:cubicBezTo>
                  <a:pt x="902041" y="753857"/>
                  <a:pt x="902041" y="753857"/>
                  <a:pt x="902041" y="753857"/>
                </a:cubicBezTo>
                <a:cubicBezTo>
                  <a:pt x="900047" y="755852"/>
                  <a:pt x="900047" y="755852"/>
                  <a:pt x="900047" y="757846"/>
                </a:cubicBezTo>
                <a:cubicBezTo>
                  <a:pt x="900047" y="757846"/>
                  <a:pt x="902041" y="761835"/>
                  <a:pt x="902041" y="761835"/>
                </a:cubicBezTo>
                <a:cubicBezTo>
                  <a:pt x="902041" y="763829"/>
                  <a:pt x="902041" y="765823"/>
                  <a:pt x="900047" y="763829"/>
                </a:cubicBezTo>
                <a:cubicBezTo>
                  <a:pt x="900047" y="761835"/>
                  <a:pt x="898052" y="757846"/>
                  <a:pt x="898052" y="757846"/>
                </a:cubicBezTo>
                <a:cubicBezTo>
                  <a:pt x="896058" y="757846"/>
                  <a:pt x="896058" y="755852"/>
                  <a:pt x="894064" y="755852"/>
                </a:cubicBezTo>
                <a:cubicBezTo>
                  <a:pt x="894064" y="755852"/>
                  <a:pt x="892069" y="757846"/>
                  <a:pt x="892069" y="757846"/>
                </a:cubicBezTo>
                <a:cubicBezTo>
                  <a:pt x="892069" y="759840"/>
                  <a:pt x="892069" y="761835"/>
                  <a:pt x="892069" y="761835"/>
                </a:cubicBezTo>
                <a:cubicBezTo>
                  <a:pt x="890075" y="761835"/>
                  <a:pt x="888080" y="761835"/>
                  <a:pt x="888080" y="761835"/>
                </a:cubicBezTo>
                <a:cubicBezTo>
                  <a:pt x="888080" y="761835"/>
                  <a:pt x="888080" y="755852"/>
                  <a:pt x="886086" y="757846"/>
                </a:cubicBezTo>
                <a:cubicBezTo>
                  <a:pt x="884091" y="759840"/>
                  <a:pt x="884091" y="761835"/>
                  <a:pt x="884091" y="761835"/>
                </a:cubicBezTo>
                <a:cubicBezTo>
                  <a:pt x="884091" y="761835"/>
                  <a:pt x="884091" y="761835"/>
                  <a:pt x="882097" y="761835"/>
                </a:cubicBezTo>
                <a:cubicBezTo>
                  <a:pt x="880103" y="761835"/>
                  <a:pt x="878108" y="761835"/>
                  <a:pt x="876114" y="761835"/>
                </a:cubicBezTo>
                <a:cubicBezTo>
                  <a:pt x="876114" y="761835"/>
                  <a:pt x="872125" y="761835"/>
                  <a:pt x="872125" y="761835"/>
                </a:cubicBezTo>
                <a:cubicBezTo>
                  <a:pt x="870130" y="761835"/>
                  <a:pt x="868136" y="759840"/>
                  <a:pt x="868136" y="759840"/>
                </a:cubicBezTo>
                <a:cubicBezTo>
                  <a:pt x="866142" y="759840"/>
                  <a:pt x="864147" y="761835"/>
                  <a:pt x="864147" y="761835"/>
                </a:cubicBezTo>
                <a:cubicBezTo>
                  <a:pt x="864147" y="761835"/>
                  <a:pt x="862153" y="759840"/>
                  <a:pt x="860158" y="759840"/>
                </a:cubicBezTo>
                <a:cubicBezTo>
                  <a:pt x="860158" y="759840"/>
                  <a:pt x="858164" y="759840"/>
                  <a:pt x="858164" y="757846"/>
                </a:cubicBezTo>
                <a:cubicBezTo>
                  <a:pt x="856169" y="757846"/>
                  <a:pt x="854175" y="757846"/>
                  <a:pt x="852180" y="757846"/>
                </a:cubicBezTo>
                <a:cubicBezTo>
                  <a:pt x="852180" y="757846"/>
                  <a:pt x="850186" y="759840"/>
                  <a:pt x="852180" y="759840"/>
                </a:cubicBezTo>
                <a:cubicBezTo>
                  <a:pt x="854175" y="761835"/>
                  <a:pt x="856169" y="761835"/>
                  <a:pt x="858164" y="763829"/>
                </a:cubicBezTo>
                <a:cubicBezTo>
                  <a:pt x="858164" y="763829"/>
                  <a:pt x="860158" y="765823"/>
                  <a:pt x="860158" y="765823"/>
                </a:cubicBezTo>
                <a:cubicBezTo>
                  <a:pt x="858164" y="767818"/>
                  <a:pt x="858164" y="769812"/>
                  <a:pt x="858164" y="769812"/>
                </a:cubicBezTo>
                <a:cubicBezTo>
                  <a:pt x="858164" y="771806"/>
                  <a:pt x="856169" y="773801"/>
                  <a:pt x="856169" y="773801"/>
                </a:cubicBezTo>
                <a:cubicBezTo>
                  <a:pt x="856169" y="775795"/>
                  <a:pt x="856169" y="773801"/>
                  <a:pt x="854175" y="771806"/>
                </a:cubicBezTo>
                <a:cubicBezTo>
                  <a:pt x="854175" y="771806"/>
                  <a:pt x="852180" y="771806"/>
                  <a:pt x="852180" y="771806"/>
                </a:cubicBezTo>
                <a:cubicBezTo>
                  <a:pt x="850186" y="771806"/>
                  <a:pt x="848192" y="773801"/>
                  <a:pt x="848192" y="773801"/>
                </a:cubicBezTo>
                <a:cubicBezTo>
                  <a:pt x="846197" y="773801"/>
                  <a:pt x="844203" y="775795"/>
                  <a:pt x="844203" y="775795"/>
                </a:cubicBezTo>
                <a:cubicBezTo>
                  <a:pt x="842208" y="775795"/>
                  <a:pt x="840214" y="777789"/>
                  <a:pt x="840214" y="777789"/>
                </a:cubicBezTo>
                <a:cubicBezTo>
                  <a:pt x="838219" y="779784"/>
                  <a:pt x="838219" y="779784"/>
                  <a:pt x="836225" y="779784"/>
                </a:cubicBezTo>
                <a:cubicBezTo>
                  <a:pt x="834231" y="779784"/>
                  <a:pt x="832236" y="779784"/>
                  <a:pt x="832236" y="779784"/>
                </a:cubicBezTo>
                <a:cubicBezTo>
                  <a:pt x="830242" y="779784"/>
                  <a:pt x="830242" y="783772"/>
                  <a:pt x="830242" y="783772"/>
                </a:cubicBezTo>
                <a:cubicBezTo>
                  <a:pt x="830242" y="783772"/>
                  <a:pt x="828247" y="783772"/>
                  <a:pt x="828247" y="785767"/>
                </a:cubicBezTo>
                <a:cubicBezTo>
                  <a:pt x="828247" y="785767"/>
                  <a:pt x="828247" y="787761"/>
                  <a:pt x="828247" y="787761"/>
                </a:cubicBezTo>
                <a:cubicBezTo>
                  <a:pt x="826253" y="787761"/>
                  <a:pt x="824258" y="787761"/>
                  <a:pt x="824258" y="787761"/>
                </a:cubicBezTo>
                <a:cubicBezTo>
                  <a:pt x="824258" y="789755"/>
                  <a:pt x="824258" y="791750"/>
                  <a:pt x="824258" y="793744"/>
                </a:cubicBezTo>
                <a:cubicBezTo>
                  <a:pt x="824258" y="793744"/>
                  <a:pt x="824258" y="795738"/>
                  <a:pt x="822264" y="795738"/>
                </a:cubicBezTo>
                <a:cubicBezTo>
                  <a:pt x="822264" y="795738"/>
                  <a:pt x="820270" y="797733"/>
                  <a:pt x="820270" y="797733"/>
                </a:cubicBezTo>
                <a:cubicBezTo>
                  <a:pt x="820270" y="799727"/>
                  <a:pt x="820270" y="799727"/>
                  <a:pt x="820270" y="801721"/>
                </a:cubicBezTo>
                <a:cubicBezTo>
                  <a:pt x="820270" y="803716"/>
                  <a:pt x="818275" y="803716"/>
                  <a:pt x="818275" y="803716"/>
                </a:cubicBezTo>
                <a:cubicBezTo>
                  <a:pt x="818275" y="805710"/>
                  <a:pt x="818275" y="805710"/>
                  <a:pt x="818275" y="807704"/>
                </a:cubicBezTo>
                <a:cubicBezTo>
                  <a:pt x="816281" y="809699"/>
                  <a:pt x="816281" y="811693"/>
                  <a:pt x="814286" y="811693"/>
                </a:cubicBezTo>
                <a:cubicBezTo>
                  <a:pt x="814286" y="813687"/>
                  <a:pt x="810297" y="815682"/>
                  <a:pt x="810297" y="817676"/>
                </a:cubicBezTo>
                <a:cubicBezTo>
                  <a:pt x="810297" y="817676"/>
                  <a:pt x="808303" y="819670"/>
                  <a:pt x="808303" y="821665"/>
                </a:cubicBezTo>
                <a:cubicBezTo>
                  <a:pt x="808303" y="821665"/>
                  <a:pt x="806309" y="823659"/>
                  <a:pt x="804314" y="825653"/>
                </a:cubicBezTo>
                <a:cubicBezTo>
                  <a:pt x="804314" y="825653"/>
                  <a:pt x="804314" y="827648"/>
                  <a:pt x="802320" y="829642"/>
                </a:cubicBezTo>
                <a:cubicBezTo>
                  <a:pt x="800325" y="829642"/>
                  <a:pt x="800325" y="831636"/>
                  <a:pt x="800325" y="829642"/>
                </a:cubicBezTo>
                <a:cubicBezTo>
                  <a:pt x="798331" y="829642"/>
                  <a:pt x="798331" y="823659"/>
                  <a:pt x="796336" y="823659"/>
                </a:cubicBezTo>
                <a:cubicBezTo>
                  <a:pt x="796336" y="823659"/>
                  <a:pt x="794342" y="823659"/>
                  <a:pt x="794342" y="823659"/>
                </a:cubicBezTo>
                <a:cubicBezTo>
                  <a:pt x="794342" y="825653"/>
                  <a:pt x="794342" y="827648"/>
                  <a:pt x="794342" y="827648"/>
                </a:cubicBezTo>
                <a:cubicBezTo>
                  <a:pt x="794342" y="829642"/>
                  <a:pt x="794342" y="831636"/>
                  <a:pt x="794342" y="833631"/>
                </a:cubicBezTo>
                <a:cubicBezTo>
                  <a:pt x="794342" y="833631"/>
                  <a:pt x="792348" y="837619"/>
                  <a:pt x="790353" y="837619"/>
                </a:cubicBezTo>
                <a:cubicBezTo>
                  <a:pt x="790353" y="837619"/>
                  <a:pt x="790353" y="837619"/>
                  <a:pt x="788359" y="837619"/>
                </a:cubicBezTo>
                <a:cubicBezTo>
                  <a:pt x="788359" y="839614"/>
                  <a:pt x="786364" y="839614"/>
                  <a:pt x="786364" y="841608"/>
                </a:cubicBezTo>
                <a:cubicBezTo>
                  <a:pt x="784370" y="841608"/>
                  <a:pt x="780381" y="841608"/>
                  <a:pt x="780381" y="841608"/>
                </a:cubicBezTo>
                <a:cubicBezTo>
                  <a:pt x="780381" y="841608"/>
                  <a:pt x="778387" y="843602"/>
                  <a:pt x="778387" y="843602"/>
                </a:cubicBezTo>
                <a:cubicBezTo>
                  <a:pt x="776392" y="843602"/>
                  <a:pt x="776392" y="843602"/>
                  <a:pt x="776392" y="841608"/>
                </a:cubicBezTo>
                <a:cubicBezTo>
                  <a:pt x="776392" y="841608"/>
                  <a:pt x="776392" y="837619"/>
                  <a:pt x="776392" y="837619"/>
                </a:cubicBezTo>
                <a:cubicBezTo>
                  <a:pt x="776392" y="835625"/>
                  <a:pt x="776392" y="833631"/>
                  <a:pt x="774398" y="831636"/>
                </a:cubicBezTo>
                <a:cubicBezTo>
                  <a:pt x="774398" y="831636"/>
                  <a:pt x="772403" y="831636"/>
                  <a:pt x="770409" y="831636"/>
                </a:cubicBezTo>
                <a:cubicBezTo>
                  <a:pt x="770409" y="831636"/>
                  <a:pt x="768414" y="831636"/>
                  <a:pt x="766420" y="833631"/>
                </a:cubicBezTo>
                <a:cubicBezTo>
                  <a:pt x="766420" y="833631"/>
                  <a:pt x="764426" y="839614"/>
                  <a:pt x="764426" y="839614"/>
                </a:cubicBezTo>
                <a:cubicBezTo>
                  <a:pt x="766420" y="841608"/>
                  <a:pt x="768414" y="843602"/>
                  <a:pt x="768414" y="845597"/>
                </a:cubicBezTo>
                <a:cubicBezTo>
                  <a:pt x="768414" y="845597"/>
                  <a:pt x="768414" y="847591"/>
                  <a:pt x="766420" y="847591"/>
                </a:cubicBezTo>
                <a:cubicBezTo>
                  <a:pt x="766420" y="847591"/>
                  <a:pt x="764426" y="849585"/>
                  <a:pt x="764426" y="851580"/>
                </a:cubicBezTo>
                <a:cubicBezTo>
                  <a:pt x="762431" y="851580"/>
                  <a:pt x="762431" y="853574"/>
                  <a:pt x="762431" y="855568"/>
                </a:cubicBezTo>
                <a:cubicBezTo>
                  <a:pt x="762431" y="855568"/>
                  <a:pt x="760437" y="857563"/>
                  <a:pt x="758442" y="857563"/>
                </a:cubicBezTo>
                <a:cubicBezTo>
                  <a:pt x="756448" y="857563"/>
                  <a:pt x="754453" y="855568"/>
                  <a:pt x="752459" y="853574"/>
                </a:cubicBezTo>
                <a:cubicBezTo>
                  <a:pt x="752459" y="851580"/>
                  <a:pt x="754453" y="849585"/>
                  <a:pt x="752459" y="847591"/>
                </a:cubicBezTo>
                <a:cubicBezTo>
                  <a:pt x="752459" y="847591"/>
                  <a:pt x="750465" y="847591"/>
                  <a:pt x="750465" y="847591"/>
                </a:cubicBezTo>
                <a:cubicBezTo>
                  <a:pt x="748470" y="847591"/>
                  <a:pt x="746476" y="847591"/>
                  <a:pt x="746476" y="847591"/>
                </a:cubicBezTo>
                <a:cubicBezTo>
                  <a:pt x="746476" y="849585"/>
                  <a:pt x="746476" y="851580"/>
                  <a:pt x="746476" y="851580"/>
                </a:cubicBezTo>
                <a:cubicBezTo>
                  <a:pt x="746476" y="853574"/>
                  <a:pt x="746476" y="853574"/>
                  <a:pt x="746476" y="855568"/>
                </a:cubicBezTo>
                <a:cubicBezTo>
                  <a:pt x="746476" y="855568"/>
                  <a:pt x="742487" y="857563"/>
                  <a:pt x="742487" y="859557"/>
                </a:cubicBezTo>
                <a:cubicBezTo>
                  <a:pt x="740492" y="859557"/>
                  <a:pt x="738498" y="859557"/>
                  <a:pt x="738498" y="859557"/>
                </a:cubicBezTo>
                <a:cubicBezTo>
                  <a:pt x="736504" y="857563"/>
                  <a:pt x="736504" y="855568"/>
                  <a:pt x="736504" y="855568"/>
                </a:cubicBezTo>
                <a:cubicBezTo>
                  <a:pt x="734509" y="853574"/>
                  <a:pt x="734509" y="851580"/>
                  <a:pt x="732515" y="851580"/>
                </a:cubicBezTo>
                <a:cubicBezTo>
                  <a:pt x="732515" y="851580"/>
                  <a:pt x="730520" y="851580"/>
                  <a:pt x="730520" y="851580"/>
                </a:cubicBezTo>
                <a:cubicBezTo>
                  <a:pt x="728526" y="853574"/>
                  <a:pt x="728526" y="853574"/>
                  <a:pt x="726531" y="853574"/>
                </a:cubicBezTo>
                <a:cubicBezTo>
                  <a:pt x="724537" y="853574"/>
                  <a:pt x="724537" y="853574"/>
                  <a:pt x="724537" y="855568"/>
                </a:cubicBezTo>
                <a:cubicBezTo>
                  <a:pt x="722543" y="855568"/>
                  <a:pt x="720548" y="857563"/>
                  <a:pt x="722543" y="857563"/>
                </a:cubicBezTo>
                <a:cubicBezTo>
                  <a:pt x="724537" y="857563"/>
                  <a:pt x="728526" y="859557"/>
                  <a:pt x="728526" y="859557"/>
                </a:cubicBezTo>
                <a:cubicBezTo>
                  <a:pt x="728526" y="859557"/>
                  <a:pt x="732515" y="861551"/>
                  <a:pt x="732515" y="861551"/>
                </a:cubicBezTo>
                <a:cubicBezTo>
                  <a:pt x="732515" y="863546"/>
                  <a:pt x="732515" y="865540"/>
                  <a:pt x="730520" y="865540"/>
                </a:cubicBezTo>
                <a:cubicBezTo>
                  <a:pt x="728526" y="867534"/>
                  <a:pt x="728526" y="867534"/>
                  <a:pt x="726531" y="865540"/>
                </a:cubicBezTo>
                <a:cubicBezTo>
                  <a:pt x="726531" y="865540"/>
                  <a:pt x="726531" y="863546"/>
                  <a:pt x="724537" y="863546"/>
                </a:cubicBezTo>
                <a:cubicBezTo>
                  <a:pt x="722543" y="863546"/>
                  <a:pt x="722543" y="863546"/>
                  <a:pt x="722543" y="863546"/>
                </a:cubicBezTo>
                <a:cubicBezTo>
                  <a:pt x="720548" y="865540"/>
                  <a:pt x="722543" y="867534"/>
                  <a:pt x="722543" y="867534"/>
                </a:cubicBezTo>
                <a:cubicBezTo>
                  <a:pt x="722543" y="869529"/>
                  <a:pt x="722543" y="871523"/>
                  <a:pt x="722543" y="871523"/>
                </a:cubicBezTo>
                <a:cubicBezTo>
                  <a:pt x="720548" y="871523"/>
                  <a:pt x="720548" y="873517"/>
                  <a:pt x="718554" y="873517"/>
                </a:cubicBezTo>
                <a:cubicBezTo>
                  <a:pt x="716559" y="873517"/>
                  <a:pt x="712570" y="871523"/>
                  <a:pt x="712570" y="871523"/>
                </a:cubicBezTo>
                <a:cubicBezTo>
                  <a:pt x="710576" y="871523"/>
                  <a:pt x="708581" y="869529"/>
                  <a:pt x="708581" y="867534"/>
                </a:cubicBezTo>
                <a:cubicBezTo>
                  <a:pt x="708581" y="867534"/>
                  <a:pt x="704593" y="865540"/>
                  <a:pt x="704593" y="865540"/>
                </a:cubicBezTo>
                <a:cubicBezTo>
                  <a:pt x="702598" y="865540"/>
                  <a:pt x="700604" y="867534"/>
                  <a:pt x="700604" y="867534"/>
                </a:cubicBezTo>
                <a:cubicBezTo>
                  <a:pt x="700604" y="869529"/>
                  <a:pt x="702598" y="871523"/>
                  <a:pt x="702598" y="873517"/>
                </a:cubicBezTo>
                <a:cubicBezTo>
                  <a:pt x="700604" y="873517"/>
                  <a:pt x="698609" y="875512"/>
                  <a:pt x="698609" y="875512"/>
                </a:cubicBezTo>
                <a:cubicBezTo>
                  <a:pt x="696615" y="875512"/>
                  <a:pt x="694620" y="873517"/>
                  <a:pt x="694620" y="871523"/>
                </a:cubicBezTo>
                <a:cubicBezTo>
                  <a:pt x="692626" y="871523"/>
                  <a:pt x="690632" y="871523"/>
                  <a:pt x="690632" y="871523"/>
                </a:cubicBezTo>
                <a:cubicBezTo>
                  <a:pt x="690632" y="873517"/>
                  <a:pt x="690632" y="875512"/>
                  <a:pt x="688637" y="875512"/>
                </a:cubicBezTo>
                <a:cubicBezTo>
                  <a:pt x="686643" y="873517"/>
                  <a:pt x="684648" y="869529"/>
                  <a:pt x="684648" y="867534"/>
                </a:cubicBezTo>
                <a:cubicBezTo>
                  <a:pt x="682654" y="867534"/>
                  <a:pt x="682654" y="865540"/>
                  <a:pt x="682654" y="865540"/>
                </a:cubicBezTo>
                <a:cubicBezTo>
                  <a:pt x="680659" y="863546"/>
                  <a:pt x="680659" y="863546"/>
                  <a:pt x="678665" y="865540"/>
                </a:cubicBezTo>
                <a:cubicBezTo>
                  <a:pt x="678665" y="867534"/>
                  <a:pt x="678665" y="869529"/>
                  <a:pt x="678665" y="871523"/>
                </a:cubicBezTo>
                <a:cubicBezTo>
                  <a:pt x="678665" y="871523"/>
                  <a:pt x="676671" y="873517"/>
                  <a:pt x="674676" y="871523"/>
                </a:cubicBezTo>
                <a:cubicBezTo>
                  <a:pt x="674676" y="871523"/>
                  <a:pt x="672682" y="869529"/>
                  <a:pt x="672682" y="869529"/>
                </a:cubicBezTo>
                <a:cubicBezTo>
                  <a:pt x="670687" y="867534"/>
                  <a:pt x="670687" y="867534"/>
                  <a:pt x="668693" y="867534"/>
                </a:cubicBezTo>
                <a:cubicBezTo>
                  <a:pt x="668693" y="867534"/>
                  <a:pt x="670687" y="871523"/>
                  <a:pt x="670687" y="871523"/>
                </a:cubicBezTo>
                <a:cubicBezTo>
                  <a:pt x="670687" y="871523"/>
                  <a:pt x="670687" y="875512"/>
                  <a:pt x="668693" y="873517"/>
                </a:cubicBezTo>
                <a:cubicBezTo>
                  <a:pt x="666698" y="873517"/>
                  <a:pt x="664704" y="871523"/>
                  <a:pt x="664704" y="871523"/>
                </a:cubicBezTo>
                <a:cubicBezTo>
                  <a:pt x="662710" y="871523"/>
                  <a:pt x="660715" y="873517"/>
                  <a:pt x="660715" y="873517"/>
                </a:cubicBezTo>
                <a:cubicBezTo>
                  <a:pt x="660715" y="875512"/>
                  <a:pt x="658721" y="875512"/>
                  <a:pt x="656726" y="875512"/>
                </a:cubicBezTo>
                <a:cubicBezTo>
                  <a:pt x="656726" y="875512"/>
                  <a:pt x="656726" y="875512"/>
                  <a:pt x="656726" y="877506"/>
                </a:cubicBezTo>
                <a:cubicBezTo>
                  <a:pt x="656726" y="879500"/>
                  <a:pt x="656726" y="881495"/>
                  <a:pt x="658721" y="881495"/>
                </a:cubicBezTo>
                <a:cubicBezTo>
                  <a:pt x="660715" y="879500"/>
                  <a:pt x="660715" y="877506"/>
                  <a:pt x="662710" y="877506"/>
                </a:cubicBezTo>
                <a:cubicBezTo>
                  <a:pt x="664704" y="877506"/>
                  <a:pt x="664704" y="877506"/>
                  <a:pt x="666698" y="877506"/>
                </a:cubicBezTo>
                <a:cubicBezTo>
                  <a:pt x="666698" y="879500"/>
                  <a:pt x="666698" y="879500"/>
                  <a:pt x="666698" y="881495"/>
                </a:cubicBezTo>
                <a:cubicBezTo>
                  <a:pt x="666698" y="881495"/>
                  <a:pt x="664704" y="883489"/>
                  <a:pt x="666698" y="883489"/>
                </a:cubicBezTo>
                <a:cubicBezTo>
                  <a:pt x="668693" y="885483"/>
                  <a:pt x="670687" y="885483"/>
                  <a:pt x="668693" y="885483"/>
                </a:cubicBezTo>
                <a:cubicBezTo>
                  <a:pt x="668693" y="887478"/>
                  <a:pt x="666698" y="887478"/>
                  <a:pt x="666698" y="889472"/>
                </a:cubicBezTo>
                <a:cubicBezTo>
                  <a:pt x="664704" y="889472"/>
                  <a:pt x="664704" y="889472"/>
                  <a:pt x="664704" y="891466"/>
                </a:cubicBezTo>
                <a:cubicBezTo>
                  <a:pt x="664704" y="891466"/>
                  <a:pt x="664704" y="893461"/>
                  <a:pt x="662710" y="893461"/>
                </a:cubicBezTo>
                <a:cubicBezTo>
                  <a:pt x="660715" y="895455"/>
                  <a:pt x="660715" y="895455"/>
                  <a:pt x="658721" y="895455"/>
                </a:cubicBezTo>
                <a:cubicBezTo>
                  <a:pt x="656726" y="895455"/>
                  <a:pt x="652737" y="895455"/>
                  <a:pt x="652737" y="895455"/>
                </a:cubicBezTo>
                <a:cubicBezTo>
                  <a:pt x="650743" y="893461"/>
                  <a:pt x="648749" y="893461"/>
                  <a:pt x="648749" y="891466"/>
                </a:cubicBezTo>
                <a:cubicBezTo>
                  <a:pt x="648749" y="891466"/>
                  <a:pt x="646754" y="893461"/>
                  <a:pt x="644760" y="893461"/>
                </a:cubicBezTo>
                <a:cubicBezTo>
                  <a:pt x="644760" y="893461"/>
                  <a:pt x="640771" y="893461"/>
                  <a:pt x="640771" y="893461"/>
                </a:cubicBezTo>
                <a:cubicBezTo>
                  <a:pt x="640771" y="893461"/>
                  <a:pt x="638776" y="893461"/>
                  <a:pt x="638776" y="893461"/>
                </a:cubicBezTo>
                <a:cubicBezTo>
                  <a:pt x="638776" y="891466"/>
                  <a:pt x="638776" y="889472"/>
                  <a:pt x="636782" y="889472"/>
                </a:cubicBezTo>
                <a:cubicBezTo>
                  <a:pt x="636782" y="889472"/>
                  <a:pt x="634788" y="889472"/>
                  <a:pt x="634788" y="889472"/>
                </a:cubicBezTo>
                <a:cubicBezTo>
                  <a:pt x="632793" y="889472"/>
                  <a:pt x="632793" y="893461"/>
                  <a:pt x="634788" y="893461"/>
                </a:cubicBezTo>
                <a:cubicBezTo>
                  <a:pt x="634788" y="895455"/>
                  <a:pt x="634788" y="895455"/>
                  <a:pt x="636782" y="895455"/>
                </a:cubicBezTo>
                <a:cubicBezTo>
                  <a:pt x="640771" y="895455"/>
                  <a:pt x="640771" y="897449"/>
                  <a:pt x="640771" y="897449"/>
                </a:cubicBezTo>
                <a:cubicBezTo>
                  <a:pt x="638776" y="899444"/>
                  <a:pt x="636782" y="897449"/>
                  <a:pt x="636782" y="899444"/>
                </a:cubicBezTo>
                <a:cubicBezTo>
                  <a:pt x="634788" y="901438"/>
                  <a:pt x="634788" y="901438"/>
                  <a:pt x="634788" y="903432"/>
                </a:cubicBezTo>
                <a:cubicBezTo>
                  <a:pt x="636782" y="905427"/>
                  <a:pt x="636782" y="905427"/>
                  <a:pt x="636782" y="905427"/>
                </a:cubicBezTo>
                <a:cubicBezTo>
                  <a:pt x="638776" y="905427"/>
                  <a:pt x="640771" y="905427"/>
                  <a:pt x="640771" y="907421"/>
                </a:cubicBezTo>
                <a:cubicBezTo>
                  <a:pt x="640771" y="909415"/>
                  <a:pt x="642765" y="911410"/>
                  <a:pt x="644760" y="911410"/>
                </a:cubicBezTo>
                <a:cubicBezTo>
                  <a:pt x="644760" y="909415"/>
                  <a:pt x="644760" y="911410"/>
                  <a:pt x="644760" y="909415"/>
                </a:cubicBezTo>
                <a:cubicBezTo>
                  <a:pt x="644760" y="907421"/>
                  <a:pt x="644760" y="905427"/>
                  <a:pt x="646754" y="905427"/>
                </a:cubicBezTo>
                <a:cubicBezTo>
                  <a:pt x="648749" y="905427"/>
                  <a:pt x="652737" y="905427"/>
                  <a:pt x="652737" y="905427"/>
                </a:cubicBezTo>
                <a:cubicBezTo>
                  <a:pt x="652737" y="907421"/>
                  <a:pt x="652737" y="911410"/>
                  <a:pt x="652737" y="913404"/>
                </a:cubicBezTo>
                <a:cubicBezTo>
                  <a:pt x="652737" y="915398"/>
                  <a:pt x="654732" y="913404"/>
                  <a:pt x="654732" y="915398"/>
                </a:cubicBezTo>
                <a:cubicBezTo>
                  <a:pt x="654732" y="917393"/>
                  <a:pt x="652737" y="923376"/>
                  <a:pt x="652737" y="923376"/>
                </a:cubicBezTo>
                <a:cubicBezTo>
                  <a:pt x="650743" y="923376"/>
                  <a:pt x="650743" y="925370"/>
                  <a:pt x="648749" y="925370"/>
                </a:cubicBezTo>
                <a:cubicBezTo>
                  <a:pt x="646754" y="923376"/>
                  <a:pt x="644760" y="923376"/>
                  <a:pt x="644760" y="923376"/>
                </a:cubicBezTo>
                <a:cubicBezTo>
                  <a:pt x="642765" y="925370"/>
                  <a:pt x="640771" y="925370"/>
                  <a:pt x="640771" y="927364"/>
                </a:cubicBezTo>
                <a:cubicBezTo>
                  <a:pt x="640771" y="927364"/>
                  <a:pt x="640771" y="931353"/>
                  <a:pt x="640771" y="931353"/>
                </a:cubicBezTo>
                <a:cubicBezTo>
                  <a:pt x="638776" y="933347"/>
                  <a:pt x="636782" y="933347"/>
                  <a:pt x="636782" y="933347"/>
                </a:cubicBezTo>
                <a:cubicBezTo>
                  <a:pt x="634788" y="931353"/>
                  <a:pt x="634788" y="927364"/>
                  <a:pt x="632793" y="927364"/>
                </a:cubicBezTo>
                <a:cubicBezTo>
                  <a:pt x="632793" y="927364"/>
                  <a:pt x="630799" y="927364"/>
                  <a:pt x="628804" y="927364"/>
                </a:cubicBezTo>
                <a:cubicBezTo>
                  <a:pt x="628804" y="927364"/>
                  <a:pt x="624815" y="925370"/>
                  <a:pt x="624815" y="927364"/>
                </a:cubicBezTo>
                <a:cubicBezTo>
                  <a:pt x="622821" y="929359"/>
                  <a:pt x="622821" y="931353"/>
                  <a:pt x="624815" y="933347"/>
                </a:cubicBezTo>
                <a:cubicBezTo>
                  <a:pt x="626810" y="933347"/>
                  <a:pt x="626810" y="935342"/>
                  <a:pt x="628804" y="935342"/>
                </a:cubicBezTo>
                <a:cubicBezTo>
                  <a:pt x="630799" y="935342"/>
                  <a:pt x="632793" y="935342"/>
                  <a:pt x="634788" y="935342"/>
                </a:cubicBezTo>
                <a:cubicBezTo>
                  <a:pt x="636782" y="937336"/>
                  <a:pt x="640771" y="937336"/>
                  <a:pt x="640771" y="937336"/>
                </a:cubicBezTo>
                <a:cubicBezTo>
                  <a:pt x="642765" y="937336"/>
                  <a:pt x="644760" y="939330"/>
                  <a:pt x="644760" y="941325"/>
                </a:cubicBezTo>
                <a:cubicBezTo>
                  <a:pt x="644760" y="943319"/>
                  <a:pt x="642765" y="943319"/>
                  <a:pt x="642765" y="945313"/>
                </a:cubicBezTo>
                <a:cubicBezTo>
                  <a:pt x="644760" y="947308"/>
                  <a:pt x="644760" y="949302"/>
                  <a:pt x="644760" y="949302"/>
                </a:cubicBezTo>
                <a:cubicBezTo>
                  <a:pt x="644760" y="951296"/>
                  <a:pt x="644760" y="955285"/>
                  <a:pt x="642765" y="955285"/>
                </a:cubicBezTo>
                <a:cubicBezTo>
                  <a:pt x="640771" y="955285"/>
                  <a:pt x="638776" y="953291"/>
                  <a:pt x="636782" y="953291"/>
                </a:cubicBezTo>
                <a:cubicBezTo>
                  <a:pt x="636782" y="953291"/>
                  <a:pt x="632793" y="953291"/>
                  <a:pt x="630799" y="953291"/>
                </a:cubicBezTo>
                <a:cubicBezTo>
                  <a:pt x="630799" y="953291"/>
                  <a:pt x="626810" y="951296"/>
                  <a:pt x="626810" y="951296"/>
                </a:cubicBezTo>
                <a:cubicBezTo>
                  <a:pt x="624815" y="951296"/>
                  <a:pt x="622821" y="949302"/>
                  <a:pt x="620827" y="949302"/>
                </a:cubicBezTo>
                <a:cubicBezTo>
                  <a:pt x="618832" y="949302"/>
                  <a:pt x="618832" y="951296"/>
                  <a:pt x="616838" y="951296"/>
                </a:cubicBezTo>
                <a:cubicBezTo>
                  <a:pt x="616838" y="953291"/>
                  <a:pt x="618832" y="955285"/>
                  <a:pt x="618832" y="955285"/>
                </a:cubicBezTo>
                <a:cubicBezTo>
                  <a:pt x="620827" y="955285"/>
                  <a:pt x="624815" y="957279"/>
                  <a:pt x="626810" y="957279"/>
                </a:cubicBezTo>
                <a:cubicBezTo>
                  <a:pt x="626810" y="959274"/>
                  <a:pt x="626810" y="959274"/>
                  <a:pt x="628804" y="959274"/>
                </a:cubicBezTo>
                <a:cubicBezTo>
                  <a:pt x="630799" y="959274"/>
                  <a:pt x="632793" y="957279"/>
                  <a:pt x="632793" y="957279"/>
                </a:cubicBezTo>
                <a:cubicBezTo>
                  <a:pt x="634788" y="957279"/>
                  <a:pt x="636782" y="957279"/>
                  <a:pt x="636782" y="959274"/>
                </a:cubicBezTo>
                <a:cubicBezTo>
                  <a:pt x="636782" y="961268"/>
                  <a:pt x="636782" y="961268"/>
                  <a:pt x="636782" y="963262"/>
                </a:cubicBezTo>
                <a:cubicBezTo>
                  <a:pt x="636782" y="965257"/>
                  <a:pt x="636782" y="965257"/>
                  <a:pt x="636782" y="967251"/>
                </a:cubicBezTo>
                <a:cubicBezTo>
                  <a:pt x="636782" y="967251"/>
                  <a:pt x="632793" y="967251"/>
                  <a:pt x="632793" y="967251"/>
                </a:cubicBezTo>
                <a:cubicBezTo>
                  <a:pt x="630799" y="965257"/>
                  <a:pt x="630799" y="965257"/>
                  <a:pt x="628804" y="965257"/>
                </a:cubicBezTo>
                <a:cubicBezTo>
                  <a:pt x="628804" y="965257"/>
                  <a:pt x="626810" y="967251"/>
                  <a:pt x="626810" y="967251"/>
                </a:cubicBezTo>
                <a:cubicBezTo>
                  <a:pt x="624815" y="969245"/>
                  <a:pt x="624815" y="969245"/>
                  <a:pt x="622821" y="969245"/>
                </a:cubicBezTo>
                <a:cubicBezTo>
                  <a:pt x="620827" y="967251"/>
                  <a:pt x="618832" y="967251"/>
                  <a:pt x="618832" y="969245"/>
                </a:cubicBezTo>
                <a:cubicBezTo>
                  <a:pt x="618832" y="969245"/>
                  <a:pt x="618832" y="971240"/>
                  <a:pt x="618832" y="973234"/>
                </a:cubicBezTo>
                <a:cubicBezTo>
                  <a:pt x="618832" y="975228"/>
                  <a:pt x="618832" y="977223"/>
                  <a:pt x="618832" y="977223"/>
                </a:cubicBezTo>
                <a:cubicBezTo>
                  <a:pt x="620827" y="979217"/>
                  <a:pt x="622821" y="979217"/>
                  <a:pt x="622821" y="981211"/>
                </a:cubicBezTo>
                <a:cubicBezTo>
                  <a:pt x="622821" y="983206"/>
                  <a:pt x="618832" y="983206"/>
                  <a:pt x="616838" y="983206"/>
                </a:cubicBezTo>
                <a:cubicBezTo>
                  <a:pt x="614843" y="983206"/>
                  <a:pt x="614843" y="983206"/>
                  <a:pt x="612849" y="983206"/>
                </a:cubicBezTo>
                <a:cubicBezTo>
                  <a:pt x="612849" y="981211"/>
                  <a:pt x="612849" y="977223"/>
                  <a:pt x="610854" y="977223"/>
                </a:cubicBezTo>
                <a:cubicBezTo>
                  <a:pt x="610854" y="975228"/>
                  <a:pt x="608860" y="975228"/>
                  <a:pt x="608860" y="977223"/>
                </a:cubicBezTo>
                <a:cubicBezTo>
                  <a:pt x="608860" y="979217"/>
                  <a:pt x="606866" y="981211"/>
                  <a:pt x="608860" y="983206"/>
                </a:cubicBezTo>
                <a:cubicBezTo>
                  <a:pt x="610854" y="983206"/>
                  <a:pt x="610854" y="985200"/>
                  <a:pt x="612849" y="985200"/>
                </a:cubicBezTo>
                <a:cubicBezTo>
                  <a:pt x="612849" y="985200"/>
                  <a:pt x="614843" y="985200"/>
                  <a:pt x="614843" y="987194"/>
                </a:cubicBezTo>
                <a:cubicBezTo>
                  <a:pt x="618832" y="987194"/>
                  <a:pt x="618832" y="987194"/>
                  <a:pt x="620827" y="987194"/>
                </a:cubicBezTo>
                <a:cubicBezTo>
                  <a:pt x="622821" y="987194"/>
                  <a:pt x="626810" y="987194"/>
                  <a:pt x="624815" y="989189"/>
                </a:cubicBezTo>
                <a:cubicBezTo>
                  <a:pt x="622821" y="991183"/>
                  <a:pt x="620827" y="991183"/>
                  <a:pt x="618832" y="991183"/>
                </a:cubicBezTo>
                <a:cubicBezTo>
                  <a:pt x="618832" y="993177"/>
                  <a:pt x="616838" y="995172"/>
                  <a:pt x="614843" y="995172"/>
                </a:cubicBezTo>
                <a:cubicBezTo>
                  <a:pt x="614843" y="995172"/>
                  <a:pt x="612849" y="993177"/>
                  <a:pt x="612849" y="993177"/>
                </a:cubicBezTo>
                <a:cubicBezTo>
                  <a:pt x="610854" y="993177"/>
                  <a:pt x="608860" y="995172"/>
                  <a:pt x="606866" y="995172"/>
                </a:cubicBezTo>
                <a:cubicBezTo>
                  <a:pt x="606866" y="995172"/>
                  <a:pt x="604871" y="993177"/>
                  <a:pt x="604871" y="995172"/>
                </a:cubicBezTo>
                <a:cubicBezTo>
                  <a:pt x="602877" y="995172"/>
                  <a:pt x="600882" y="995172"/>
                  <a:pt x="600882" y="995172"/>
                </a:cubicBezTo>
                <a:cubicBezTo>
                  <a:pt x="598888" y="995172"/>
                  <a:pt x="596893" y="993177"/>
                  <a:pt x="596893" y="993177"/>
                </a:cubicBezTo>
                <a:cubicBezTo>
                  <a:pt x="594899" y="993177"/>
                  <a:pt x="592905" y="995172"/>
                  <a:pt x="592905" y="995172"/>
                </a:cubicBezTo>
                <a:cubicBezTo>
                  <a:pt x="592905" y="997166"/>
                  <a:pt x="590910" y="997166"/>
                  <a:pt x="590910" y="997166"/>
                </a:cubicBezTo>
                <a:cubicBezTo>
                  <a:pt x="588916" y="997166"/>
                  <a:pt x="586921" y="997166"/>
                  <a:pt x="584927" y="997166"/>
                </a:cubicBezTo>
                <a:cubicBezTo>
                  <a:pt x="582932" y="997166"/>
                  <a:pt x="580938" y="995172"/>
                  <a:pt x="580938" y="997166"/>
                </a:cubicBezTo>
                <a:cubicBezTo>
                  <a:pt x="580938" y="999160"/>
                  <a:pt x="580938" y="1001155"/>
                  <a:pt x="582932" y="1001155"/>
                </a:cubicBezTo>
                <a:cubicBezTo>
                  <a:pt x="584927" y="1001155"/>
                  <a:pt x="588916" y="1003149"/>
                  <a:pt x="588916" y="1001155"/>
                </a:cubicBezTo>
                <a:cubicBezTo>
                  <a:pt x="590910" y="1001155"/>
                  <a:pt x="594899" y="1001155"/>
                  <a:pt x="594899" y="1003149"/>
                </a:cubicBezTo>
                <a:cubicBezTo>
                  <a:pt x="594899" y="1003149"/>
                  <a:pt x="594899" y="1007138"/>
                  <a:pt x="594899" y="1007138"/>
                </a:cubicBezTo>
                <a:cubicBezTo>
                  <a:pt x="594899" y="1007138"/>
                  <a:pt x="594899" y="1009132"/>
                  <a:pt x="594899" y="1009132"/>
                </a:cubicBezTo>
                <a:cubicBezTo>
                  <a:pt x="596893" y="1009132"/>
                  <a:pt x="596893" y="1007138"/>
                  <a:pt x="598888" y="1007138"/>
                </a:cubicBezTo>
                <a:cubicBezTo>
                  <a:pt x="598888" y="1007138"/>
                  <a:pt x="600882" y="1007138"/>
                  <a:pt x="602877" y="1007138"/>
                </a:cubicBezTo>
                <a:cubicBezTo>
                  <a:pt x="602877" y="1007138"/>
                  <a:pt x="600882" y="1009132"/>
                  <a:pt x="600882" y="1011126"/>
                </a:cubicBezTo>
                <a:cubicBezTo>
                  <a:pt x="600882" y="1011126"/>
                  <a:pt x="598888" y="1013121"/>
                  <a:pt x="598888" y="1015115"/>
                </a:cubicBezTo>
                <a:cubicBezTo>
                  <a:pt x="598888" y="1015115"/>
                  <a:pt x="598888" y="1019104"/>
                  <a:pt x="598888" y="1021098"/>
                </a:cubicBezTo>
                <a:cubicBezTo>
                  <a:pt x="600882" y="1021098"/>
                  <a:pt x="600882" y="1023092"/>
                  <a:pt x="600882" y="1023092"/>
                </a:cubicBezTo>
                <a:cubicBezTo>
                  <a:pt x="600882" y="1025087"/>
                  <a:pt x="600882" y="1027081"/>
                  <a:pt x="598888" y="1029075"/>
                </a:cubicBezTo>
                <a:cubicBezTo>
                  <a:pt x="598888" y="1029075"/>
                  <a:pt x="598888" y="1031070"/>
                  <a:pt x="598888" y="1033064"/>
                </a:cubicBezTo>
                <a:cubicBezTo>
                  <a:pt x="598888" y="1033064"/>
                  <a:pt x="602877" y="1035058"/>
                  <a:pt x="602877" y="1037053"/>
                </a:cubicBezTo>
                <a:cubicBezTo>
                  <a:pt x="600882" y="1037053"/>
                  <a:pt x="600882" y="1041041"/>
                  <a:pt x="596893" y="1041041"/>
                </a:cubicBezTo>
                <a:cubicBezTo>
                  <a:pt x="594899" y="1041041"/>
                  <a:pt x="594899" y="1041041"/>
                  <a:pt x="592905" y="1041041"/>
                </a:cubicBezTo>
                <a:cubicBezTo>
                  <a:pt x="590910" y="1041041"/>
                  <a:pt x="588916" y="1039047"/>
                  <a:pt x="588916" y="1039047"/>
                </a:cubicBezTo>
                <a:cubicBezTo>
                  <a:pt x="588916" y="1039047"/>
                  <a:pt x="586921" y="1041041"/>
                  <a:pt x="588916" y="1041041"/>
                </a:cubicBezTo>
                <a:cubicBezTo>
                  <a:pt x="588916" y="1043036"/>
                  <a:pt x="594899" y="1043036"/>
                  <a:pt x="594899" y="1045030"/>
                </a:cubicBezTo>
                <a:cubicBezTo>
                  <a:pt x="596893" y="1045030"/>
                  <a:pt x="594899" y="1047024"/>
                  <a:pt x="594899" y="1047024"/>
                </a:cubicBezTo>
                <a:cubicBezTo>
                  <a:pt x="594899" y="1049019"/>
                  <a:pt x="592905" y="1049019"/>
                  <a:pt x="588916" y="1049019"/>
                </a:cubicBezTo>
                <a:cubicBezTo>
                  <a:pt x="588916" y="1049019"/>
                  <a:pt x="584927" y="1047024"/>
                  <a:pt x="582932" y="1047024"/>
                </a:cubicBezTo>
                <a:cubicBezTo>
                  <a:pt x="582932" y="1049019"/>
                  <a:pt x="582932" y="1049019"/>
                  <a:pt x="584927" y="1049019"/>
                </a:cubicBezTo>
                <a:cubicBezTo>
                  <a:pt x="586921" y="1049019"/>
                  <a:pt x="588916" y="1051013"/>
                  <a:pt x="590910" y="1051013"/>
                </a:cubicBezTo>
                <a:cubicBezTo>
                  <a:pt x="592905" y="1051013"/>
                  <a:pt x="594899" y="1053007"/>
                  <a:pt x="594899" y="1053007"/>
                </a:cubicBezTo>
                <a:cubicBezTo>
                  <a:pt x="596893" y="1055002"/>
                  <a:pt x="594899" y="1056996"/>
                  <a:pt x="594899" y="1058990"/>
                </a:cubicBezTo>
                <a:cubicBezTo>
                  <a:pt x="594899" y="1058990"/>
                  <a:pt x="592905" y="1060985"/>
                  <a:pt x="590910" y="1058990"/>
                </a:cubicBezTo>
                <a:cubicBezTo>
                  <a:pt x="588916" y="1058990"/>
                  <a:pt x="584927" y="1056996"/>
                  <a:pt x="584927" y="1056996"/>
                </a:cubicBezTo>
                <a:cubicBezTo>
                  <a:pt x="582932" y="1055002"/>
                  <a:pt x="578943" y="1055002"/>
                  <a:pt x="578943" y="1055002"/>
                </a:cubicBezTo>
                <a:cubicBezTo>
                  <a:pt x="578943" y="1055002"/>
                  <a:pt x="572960" y="1053007"/>
                  <a:pt x="572960" y="1055002"/>
                </a:cubicBezTo>
                <a:cubicBezTo>
                  <a:pt x="572960" y="1055002"/>
                  <a:pt x="570966" y="1056996"/>
                  <a:pt x="572960" y="1056996"/>
                </a:cubicBezTo>
                <a:cubicBezTo>
                  <a:pt x="572960" y="1058990"/>
                  <a:pt x="576949" y="1058990"/>
                  <a:pt x="578943" y="1058990"/>
                </a:cubicBezTo>
                <a:cubicBezTo>
                  <a:pt x="578943" y="1058990"/>
                  <a:pt x="582932" y="1058990"/>
                  <a:pt x="582932" y="1058990"/>
                </a:cubicBezTo>
                <a:cubicBezTo>
                  <a:pt x="584927" y="1058990"/>
                  <a:pt x="588916" y="1060985"/>
                  <a:pt x="586921" y="1060985"/>
                </a:cubicBezTo>
                <a:cubicBezTo>
                  <a:pt x="586921" y="1062979"/>
                  <a:pt x="584927" y="1062979"/>
                  <a:pt x="582932" y="1062979"/>
                </a:cubicBezTo>
                <a:cubicBezTo>
                  <a:pt x="582932" y="1062979"/>
                  <a:pt x="578943" y="1062979"/>
                  <a:pt x="576949" y="1062979"/>
                </a:cubicBezTo>
                <a:cubicBezTo>
                  <a:pt x="574955" y="1062979"/>
                  <a:pt x="572960" y="1062979"/>
                  <a:pt x="572960" y="1062979"/>
                </a:cubicBezTo>
                <a:cubicBezTo>
                  <a:pt x="572960" y="1064973"/>
                  <a:pt x="578943" y="1066968"/>
                  <a:pt x="578943" y="1066968"/>
                </a:cubicBezTo>
                <a:cubicBezTo>
                  <a:pt x="578943" y="1066968"/>
                  <a:pt x="584927" y="1066968"/>
                  <a:pt x="584927" y="1068962"/>
                </a:cubicBezTo>
                <a:cubicBezTo>
                  <a:pt x="584927" y="1070956"/>
                  <a:pt x="584927" y="1072951"/>
                  <a:pt x="584927" y="1074945"/>
                </a:cubicBezTo>
                <a:cubicBezTo>
                  <a:pt x="582932" y="1074945"/>
                  <a:pt x="582932" y="1076939"/>
                  <a:pt x="580938" y="1074945"/>
                </a:cubicBezTo>
                <a:cubicBezTo>
                  <a:pt x="578943" y="1074945"/>
                  <a:pt x="576949" y="1072951"/>
                  <a:pt x="572960" y="1072951"/>
                </a:cubicBezTo>
                <a:cubicBezTo>
                  <a:pt x="570966" y="1072951"/>
                  <a:pt x="568971" y="1072951"/>
                  <a:pt x="566977" y="1072951"/>
                </a:cubicBezTo>
                <a:cubicBezTo>
                  <a:pt x="564982" y="1074945"/>
                  <a:pt x="564982" y="1074945"/>
                  <a:pt x="568971" y="1074945"/>
                </a:cubicBezTo>
                <a:cubicBezTo>
                  <a:pt x="570966" y="1076939"/>
                  <a:pt x="578943" y="1078934"/>
                  <a:pt x="578943" y="1078934"/>
                </a:cubicBezTo>
                <a:cubicBezTo>
                  <a:pt x="578943" y="1078934"/>
                  <a:pt x="576949" y="1080928"/>
                  <a:pt x="574955" y="1080928"/>
                </a:cubicBezTo>
                <a:cubicBezTo>
                  <a:pt x="572960" y="1080928"/>
                  <a:pt x="570966" y="1080928"/>
                  <a:pt x="570966" y="1080928"/>
                </a:cubicBezTo>
                <a:cubicBezTo>
                  <a:pt x="570966" y="1080928"/>
                  <a:pt x="566977" y="1080928"/>
                  <a:pt x="568971" y="1082922"/>
                </a:cubicBezTo>
                <a:cubicBezTo>
                  <a:pt x="572960" y="1082922"/>
                  <a:pt x="574955" y="1082922"/>
                  <a:pt x="576949" y="1082922"/>
                </a:cubicBezTo>
                <a:cubicBezTo>
                  <a:pt x="576949" y="1082922"/>
                  <a:pt x="580938" y="1082922"/>
                  <a:pt x="578943" y="1084917"/>
                </a:cubicBezTo>
                <a:cubicBezTo>
                  <a:pt x="578943" y="1086911"/>
                  <a:pt x="574955" y="1086911"/>
                  <a:pt x="574955" y="1086911"/>
                </a:cubicBezTo>
                <a:cubicBezTo>
                  <a:pt x="574955" y="1086911"/>
                  <a:pt x="570966" y="1088905"/>
                  <a:pt x="570966" y="1088905"/>
                </a:cubicBezTo>
                <a:cubicBezTo>
                  <a:pt x="568971" y="1090900"/>
                  <a:pt x="564982" y="1090900"/>
                  <a:pt x="564982" y="1088905"/>
                </a:cubicBezTo>
                <a:cubicBezTo>
                  <a:pt x="564982" y="1086911"/>
                  <a:pt x="564982" y="1084917"/>
                  <a:pt x="564982" y="1084917"/>
                </a:cubicBezTo>
                <a:cubicBezTo>
                  <a:pt x="564982" y="1084917"/>
                  <a:pt x="562988" y="1082922"/>
                  <a:pt x="560994" y="1082922"/>
                </a:cubicBezTo>
                <a:cubicBezTo>
                  <a:pt x="558999" y="1082922"/>
                  <a:pt x="558999" y="1084917"/>
                  <a:pt x="558999" y="1084917"/>
                </a:cubicBezTo>
                <a:cubicBezTo>
                  <a:pt x="558999" y="1084917"/>
                  <a:pt x="560994" y="1090900"/>
                  <a:pt x="557005" y="1088905"/>
                </a:cubicBezTo>
                <a:cubicBezTo>
                  <a:pt x="553016" y="1088905"/>
                  <a:pt x="551021" y="1086911"/>
                  <a:pt x="551021" y="1086911"/>
                </a:cubicBezTo>
                <a:cubicBezTo>
                  <a:pt x="549027" y="1086911"/>
                  <a:pt x="549027" y="1086911"/>
                  <a:pt x="549027" y="1086911"/>
                </a:cubicBezTo>
                <a:cubicBezTo>
                  <a:pt x="549027" y="1086911"/>
                  <a:pt x="547033" y="1086911"/>
                  <a:pt x="547033" y="1088905"/>
                </a:cubicBezTo>
                <a:cubicBezTo>
                  <a:pt x="547033" y="1090900"/>
                  <a:pt x="551021" y="1090900"/>
                  <a:pt x="551021" y="1090900"/>
                </a:cubicBezTo>
                <a:cubicBezTo>
                  <a:pt x="553016" y="1090900"/>
                  <a:pt x="553016" y="1090900"/>
                  <a:pt x="555010" y="1092894"/>
                </a:cubicBezTo>
                <a:cubicBezTo>
                  <a:pt x="555010" y="1094888"/>
                  <a:pt x="557005" y="1094888"/>
                  <a:pt x="558999" y="1094888"/>
                </a:cubicBezTo>
                <a:cubicBezTo>
                  <a:pt x="560994" y="1094888"/>
                  <a:pt x="560994" y="1094888"/>
                  <a:pt x="560994" y="1096883"/>
                </a:cubicBezTo>
                <a:cubicBezTo>
                  <a:pt x="560994" y="1098877"/>
                  <a:pt x="562988" y="1098877"/>
                  <a:pt x="564982" y="1098877"/>
                </a:cubicBezTo>
                <a:cubicBezTo>
                  <a:pt x="564982" y="1098877"/>
                  <a:pt x="570966" y="1096883"/>
                  <a:pt x="570966" y="1098877"/>
                </a:cubicBezTo>
                <a:cubicBezTo>
                  <a:pt x="572960" y="1098877"/>
                  <a:pt x="572960" y="1100871"/>
                  <a:pt x="572960" y="1102866"/>
                </a:cubicBezTo>
                <a:cubicBezTo>
                  <a:pt x="570966" y="1102866"/>
                  <a:pt x="568971" y="1104860"/>
                  <a:pt x="568971" y="1106854"/>
                </a:cubicBezTo>
                <a:cubicBezTo>
                  <a:pt x="568971" y="1108849"/>
                  <a:pt x="568971" y="1110843"/>
                  <a:pt x="568971" y="1112837"/>
                </a:cubicBezTo>
                <a:cubicBezTo>
                  <a:pt x="566977" y="1112837"/>
                  <a:pt x="562988" y="1108849"/>
                  <a:pt x="560994" y="1108849"/>
                </a:cubicBezTo>
                <a:cubicBezTo>
                  <a:pt x="558999" y="1108849"/>
                  <a:pt x="555010" y="1108849"/>
                  <a:pt x="555010" y="1108849"/>
                </a:cubicBezTo>
                <a:cubicBezTo>
                  <a:pt x="553016" y="1108849"/>
                  <a:pt x="549027" y="1110843"/>
                  <a:pt x="549027" y="1110843"/>
                </a:cubicBezTo>
                <a:cubicBezTo>
                  <a:pt x="547033" y="1108849"/>
                  <a:pt x="547033" y="1106854"/>
                  <a:pt x="547033" y="1106854"/>
                </a:cubicBezTo>
                <a:cubicBezTo>
                  <a:pt x="549027" y="1104860"/>
                  <a:pt x="549027" y="1100871"/>
                  <a:pt x="549027" y="1098877"/>
                </a:cubicBezTo>
                <a:cubicBezTo>
                  <a:pt x="547033" y="1096883"/>
                  <a:pt x="547033" y="1094888"/>
                  <a:pt x="547033" y="1094888"/>
                </a:cubicBezTo>
                <a:cubicBezTo>
                  <a:pt x="545038" y="1096883"/>
                  <a:pt x="543044" y="1096883"/>
                  <a:pt x="543044" y="1098877"/>
                </a:cubicBezTo>
                <a:cubicBezTo>
                  <a:pt x="543044" y="1100871"/>
                  <a:pt x="543044" y="1104860"/>
                  <a:pt x="543044" y="1104860"/>
                </a:cubicBezTo>
                <a:cubicBezTo>
                  <a:pt x="543044" y="1104860"/>
                  <a:pt x="543044" y="1106854"/>
                  <a:pt x="543044" y="1106854"/>
                </a:cubicBezTo>
                <a:cubicBezTo>
                  <a:pt x="541049" y="1106854"/>
                  <a:pt x="537060" y="1106854"/>
                  <a:pt x="537060" y="1106854"/>
                </a:cubicBezTo>
                <a:cubicBezTo>
                  <a:pt x="537060" y="1106854"/>
                  <a:pt x="537060" y="1108849"/>
                  <a:pt x="535066" y="1108849"/>
                </a:cubicBezTo>
                <a:cubicBezTo>
                  <a:pt x="533072" y="1110843"/>
                  <a:pt x="531077" y="1108849"/>
                  <a:pt x="531077" y="1108849"/>
                </a:cubicBezTo>
                <a:cubicBezTo>
                  <a:pt x="531077" y="1106854"/>
                  <a:pt x="531077" y="1106854"/>
                  <a:pt x="531077" y="1104860"/>
                </a:cubicBezTo>
                <a:cubicBezTo>
                  <a:pt x="533072" y="1104860"/>
                  <a:pt x="535066" y="1102866"/>
                  <a:pt x="537060" y="1100871"/>
                </a:cubicBezTo>
                <a:cubicBezTo>
                  <a:pt x="537060" y="1098877"/>
                  <a:pt x="539055" y="1096883"/>
                  <a:pt x="537060" y="1096883"/>
                </a:cubicBezTo>
                <a:cubicBezTo>
                  <a:pt x="535066" y="1096883"/>
                  <a:pt x="533072" y="1096883"/>
                  <a:pt x="533072" y="1096883"/>
                </a:cubicBezTo>
                <a:cubicBezTo>
                  <a:pt x="533072" y="1098877"/>
                  <a:pt x="529083" y="1100871"/>
                  <a:pt x="529083" y="1098877"/>
                </a:cubicBezTo>
                <a:cubicBezTo>
                  <a:pt x="527088" y="1098877"/>
                  <a:pt x="527088" y="1096883"/>
                  <a:pt x="527088" y="1096883"/>
                </a:cubicBezTo>
                <a:cubicBezTo>
                  <a:pt x="529083" y="1096883"/>
                  <a:pt x="529083" y="1092894"/>
                  <a:pt x="531077" y="1092894"/>
                </a:cubicBezTo>
                <a:cubicBezTo>
                  <a:pt x="531077" y="1092894"/>
                  <a:pt x="535066" y="1090900"/>
                  <a:pt x="535066" y="1088905"/>
                </a:cubicBezTo>
                <a:cubicBezTo>
                  <a:pt x="537060" y="1088905"/>
                  <a:pt x="537060" y="1086911"/>
                  <a:pt x="535066" y="1086911"/>
                </a:cubicBezTo>
                <a:cubicBezTo>
                  <a:pt x="533072" y="1084917"/>
                  <a:pt x="533072" y="1086911"/>
                  <a:pt x="531077" y="1086911"/>
                </a:cubicBezTo>
                <a:cubicBezTo>
                  <a:pt x="531077" y="1086911"/>
                  <a:pt x="529083" y="1082922"/>
                  <a:pt x="529083" y="1082922"/>
                </a:cubicBezTo>
                <a:cubicBezTo>
                  <a:pt x="525094" y="1082922"/>
                  <a:pt x="525094" y="1082922"/>
                  <a:pt x="525094" y="1082922"/>
                </a:cubicBezTo>
                <a:cubicBezTo>
                  <a:pt x="525094" y="1082922"/>
                  <a:pt x="523099" y="1080928"/>
                  <a:pt x="523099" y="1078934"/>
                </a:cubicBezTo>
                <a:cubicBezTo>
                  <a:pt x="525094" y="1078934"/>
                  <a:pt x="527088" y="1076939"/>
                  <a:pt x="529083" y="1076939"/>
                </a:cubicBezTo>
                <a:cubicBezTo>
                  <a:pt x="529083" y="1074945"/>
                  <a:pt x="529083" y="1072951"/>
                  <a:pt x="527088" y="1072951"/>
                </a:cubicBezTo>
                <a:cubicBezTo>
                  <a:pt x="523099" y="1070956"/>
                  <a:pt x="521105" y="1074945"/>
                  <a:pt x="517116" y="1076939"/>
                </a:cubicBezTo>
                <a:cubicBezTo>
                  <a:pt x="517116" y="1078934"/>
                  <a:pt x="515122" y="1078934"/>
                  <a:pt x="515122" y="1080928"/>
                </a:cubicBezTo>
                <a:cubicBezTo>
                  <a:pt x="517116" y="1082922"/>
                  <a:pt x="519111" y="1082922"/>
                  <a:pt x="519111" y="1084917"/>
                </a:cubicBezTo>
                <a:cubicBezTo>
                  <a:pt x="519111" y="1086911"/>
                  <a:pt x="519111" y="1090900"/>
                  <a:pt x="517116" y="1090900"/>
                </a:cubicBezTo>
                <a:cubicBezTo>
                  <a:pt x="515122" y="1090900"/>
                  <a:pt x="511133" y="1092894"/>
                  <a:pt x="509138" y="1090900"/>
                </a:cubicBezTo>
                <a:cubicBezTo>
                  <a:pt x="505150" y="1088905"/>
                  <a:pt x="505150" y="1086911"/>
                  <a:pt x="505150" y="1082922"/>
                </a:cubicBezTo>
                <a:cubicBezTo>
                  <a:pt x="505150" y="1080928"/>
                  <a:pt x="503155" y="1078934"/>
                  <a:pt x="505150" y="1076939"/>
                </a:cubicBezTo>
                <a:cubicBezTo>
                  <a:pt x="505150" y="1076939"/>
                  <a:pt x="507144" y="1074945"/>
                  <a:pt x="511133" y="1074945"/>
                </a:cubicBezTo>
                <a:cubicBezTo>
                  <a:pt x="513127" y="1074945"/>
                  <a:pt x="517116" y="1072951"/>
                  <a:pt x="519111" y="1072951"/>
                </a:cubicBezTo>
                <a:cubicBezTo>
                  <a:pt x="519111" y="1070956"/>
                  <a:pt x="521105" y="1070956"/>
                  <a:pt x="523099" y="1070956"/>
                </a:cubicBezTo>
                <a:cubicBezTo>
                  <a:pt x="525094" y="1070956"/>
                  <a:pt x="525094" y="1068962"/>
                  <a:pt x="525094" y="1068962"/>
                </a:cubicBezTo>
                <a:cubicBezTo>
                  <a:pt x="525094" y="1068962"/>
                  <a:pt x="525094" y="1066968"/>
                  <a:pt x="523099" y="1066968"/>
                </a:cubicBezTo>
                <a:cubicBezTo>
                  <a:pt x="521105" y="1064973"/>
                  <a:pt x="519111" y="1064973"/>
                  <a:pt x="517116" y="1064973"/>
                </a:cubicBezTo>
                <a:cubicBezTo>
                  <a:pt x="517116" y="1064973"/>
                  <a:pt x="515122" y="1066968"/>
                  <a:pt x="515122" y="1066968"/>
                </a:cubicBezTo>
                <a:cubicBezTo>
                  <a:pt x="515122" y="1066968"/>
                  <a:pt x="513127" y="1062979"/>
                  <a:pt x="513127" y="1062979"/>
                </a:cubicBezTo>
                <a:cubicBezTo>
                  <a:pt x="515122" y="1060985"/>
                  <a:pt x="517116" y="1058990"/>
                  <a:pt x="517116" y="1058990"/>
                </a:cubicBezTo>
                <a:cubicBezTo>
                  <a:pt x="517116" y="1058990"/>
                  <a:pt x="515122" y="1055002"/>
                  <a:pt x="511133" y="1055002"/>
                </a:cubicBezTo>
                <a:cubicBezTo>
                  <a:pt x="509138" y="1056996"/>
                  <a:pt x="509138" y="1060985"/>
                  <a:pt x="507144" y="1062979"/>
                </a:cubicBezTo>
                <a:cubicBezTo>
                  <a:pt x="507144" y="1064973"/>
                  <a:pt x="505150" y="1068962"/>
                  <a:pt x="503155" y="1070956"/>
                </a:cubicBezTo>
                <a:cubicBezTo>
                  <a:pt x="501161" y="1070956"/>
                  <a:pt x="497172" y="1070956"/>
                  <a:pt x="495177" y="1070956"/>
                </a:cubicBezTo>
                <a:cubicBezTo>
                  <a:pt x="493183" y="1072951"/>
                  <a:pt x="485205" y="1074945"/>
                  <a:pt x="485205" y="1076939"/>
                </a:cubicBezTo>
                <a:cubicBezTo>
                  <a:pt x="485205" y="1078934"/>
                  <a:pt x="481216" y="1078934"/>
                  <a:pt x="479222" y="1078934"/>
                </a:cubicBezTo>
                <a:cubicBezTo>
                  <a:pt x="479222" y="1076939"/>
                  <a:pt x="475233" y="1074945"/>
                  <a:pt x="475233" y="1074945"/>
                </a:cubicBezTo>
                <a:cubicBezTo>
                  <a:pt x="473239" y="1072951"/>
                  <a:pt x="469250" y="1072951"/>
                  <a:pt x="467255" y="1072951"/>
                </a:cubicBezTo>
                <a:cubicBezTo>
                  <a:pt x="467255" y="1072951"/>
                  <a:pt x="463266" y="1070956"/>
                  <a:pt x="463266" y="1070956"/>
                </a:cubicBezTo>
                <a:cubicBezTo>
                  <a:pt x="461272" y="1070956"/>
                  <a:pt x="461272" y="1066968"/>
                  <a:pt x="461272" y="1066968"/>
                </a:cubicBezTo>
                <a:cubicBezTo>
                  <a:pt x="461272" y="1064973"/>
                  <a:pt x="461272" y="1064973"/>
                  <a:pt x="459278" y="1064973"/>
                </a:cubicBezTo>
                <a:cubicBezTo>
                  <a:pt x="459278" y="1064973"/>
                  <a:pt x="457283" y="1064973"/>
                  <a:pt x="457283" y="1060985"/>
                </a:cubicBezTo>
                <a:cubicBezTo>
                  <a:pt x="457283" y="1058990"/>
                  <a:pt x="457283" y="1056996"/>
                  <a:pt x="457283" y="1056996"/>
                </a:cubicBezTo>
                <a:cubicBezTo>
                  <a:pt x="457283" y="1056996"/>
                  <a:pt x="459278" y="1053007"/>
                  <a:pt x="459278" y="1051013"/>
                </a:cubicBezTo>
                <a:cubicBezTo>
                  <a:pt x="457283" y="1049019"/>
                  <a:pt x="457283" y="1047024"/>
                  <a:pt x="455289" y="1047024"/>
                </a:cubicBezTo>
                <a:cubicBezTo>
                  <a:pt x="455289" y="1045030"/>
                  <a:pt x="451300" y="1047024"/>
                  <a:pt x="451300" y="1047024"/>
                </a:cubicBezTo>
                <a:cubicBezTo>
                  <a:pt x="451300" y="1049019"/>
                  <a:pt x="449305" y="1051013"/>
                  <a:pt x="447311" y="1049019"/>
                </a:cubicBezTo>
                <a:cubicBezTo>
                  <a:pt x="447311" y="1049019"/>
                  <a:pt x="445317" y="1049019"/>
                  <a:pt x="445317" y="1047024"/>
                </a:cubicBezTo>
                <a:cubicBezTo>
                  <a:pt x="445317" y="1045030"/>
                  <a:pt x="445317" y="1043036"/>
                  <a:pt x="445317" y="1043036"/>
                </a:cubicBezTo>
                <a:cubicBezTo>
                  <a:pt x="443322" y="1041041"/>
                  <a:pt x="441328" y="1043036"/>
                  <a:pt x="439333" y="1043036"/>
                </a:cubicBezTo>
                <a:cubicBezTo>
                  <a:pt x="437339" y="1041041"/>
                  <a:pt x="437339" y="1041041"/>
                  <a:pt x="437339" y="1039047"/>
                </a:cubicBezTo>
                <a:cubicBezTo>
                  <a:pt x="437339" y="1037053"/>
                  <a:pt x="439333" y="1035058"/>
                  <a:pt x="439333" y="1033064"/>
                </a:cubicBezTo>
                <a:cubicBezTo>
                  <a:pt x="439333" y="1033064"/>
                  <a:pt x="437339" y="1031070"/>
                  <a:pt x="437339" y="1031070"/>
                </a:cubicBezTo>
                <a:cubicBezTo>
                  <a:pt x="437339" y="1031070"/>
                  <a:pt x="437339" y="1029075"/>
                  <a:pt x="437339" y="1027081"/>
                </a:cubicBezTo>
                <a:cubicBezTo>
                  <a:pt x="435344" y="1027081"/>
                  <a:pt x="435344" y="1025087"/>
                  <a:pt x="433350" y="1025087"/>
                </a:cubicBezTo>
                <a:cubicBezTo>
                  <a:pt x="433350" y="1025087"/>
                  <a:pt x="429361" y="1025087"/>
                  <a:pt x="429361" y="1023092"/>
                </a:cubicBezTo>
                <a:cubicBezTo>
                  <a:pt x="429361" y="1021098"/>
                  <a:pt x="429361" y="1019104"/>
                  <a:pt x="429361" y="1017109"/>
                </a:cubicBezTo>
                <a:cubicBezTo>
                  <a:pt x="431356" y="1017109"/>
                  <a:pt x="431356" y="1015115"/>
                  <a:pt x="429361" y="1015115"/>
                </a:cubicBezTo>
                <a:cubicBezTo>
                  <a:pt x="427367" y="1015115"/>
                  <a:pt x="423378" y="1017109"/>
                  <a:pt x="421383" y="1015115"/>
                </a:cubicBezTo>
                <a:cubicBezTo>
                  <a:pt x="421383" y="1015115"/>
                  <a:pt x="417395" y="1015115"/>
                  <a:pt x="417395" y="1013121"/>
                </a:cubicBezTo>
                <a:cubicBezTo>
                  <a:pt x="415400" y="1011126"/>
                  <a:pt x="411411" y="1009132"/>
                  <a:pt x="411411" y="1007138"/>
                </a:cubicBezTo>
                <a:cubicBezTo>
                  <a:pt x="411411" y="1005143"/>
                  <a:pt x="411411" y="1003149"/>
                  <a:pt x="411411" y="1001155"/>
                </a:cubicBezTo>
                <a:cubicBezTo>
                  <a:pt x="413406" y="999160"/>
                  <a:pt x="415400" y="997166"/>
                  <a:pt x="417395" y="995172"/>
                </a:cubicBezTo>
                <a:cubicBezTo>
                  <a:pt x="419389" y="995172"/>
                  <a:pt x="419389" y="995172"/>
                  <a:pt x="419389" y="993177"/>
                </a:cubicBezTo>
                <a:cubicBezTo>
                  <a:pt x="421383" y="993177"/>
                  <a:pt x="421383" y="991183"/>
                  <a:pt x="421383" y="991183"/>
                </a:cubicBezTo>
                <a:cubicBezTo>
                  <a:pt x="421383" y="991183"/>
                  <a:pt x="415400" y="991183"/>
                  <a:pt x="413406" y="991183"/>
                </a:cubicBezTo>
                <a:cubicBezTo>
                  <a:pt x="411411" y="991183"/>
                  <a:pt x="411411" y="991183"/>
                  <a:pt x="411411" y="989189"/>
                </a:cubicBezTo>
                <a:cubicBezTo>
                  <a:pt x="411411" y="989189"/>
                  <a:pt x="413406" y="987194"/>
                  <a:pt x="417395" y="987194"/>
                </a:cubicBezTo>
                <a:cubicBezTo>
                  <a:pt x="419389" y="987194"/>
                  <a:pt x="423378" y="987194"/>
                  <a:pt x="423378" y="985200"/>
                </a:cubicBezTo>
                <a:cubicBezTo>
                  <a:pt x="425372" y="985200"/>
                  <a:pt x="425372" y="983206"/>
                  <a:pt x="423378" y="983206"/>
                </a:cubicBezTo>
                <a:cubicBezTo>
                  <a:pt x="423378" y="981211"/>
                  <a:pt x="419389" y="983206"/>
                  <a:pt x="417395" y="983206"/>
                </a:cubicBezTo>
                <a:cubicBezTo>
                  <a:pt x="417395" y="983206"/>
                  <a:pt x="411411" y="987194"/>
                  <a:pt x="411411" y="987194"/>
                </a:cubicBezTo>
                <a:cubicBezTo>
                  <a:pt x="409417" y="987194"/>
                  <a:pt x="407422" y="985200"/>
                  <a:pt x="407422" y="983206"/>
                </a:cubicBezTo>
                <a:cubicBezTo>
                  <a:pt x="407422" y="983206"/>
                  <a:pt x="407422" y="981211"/>
                  <a:pt x="411411" y="979217"/>
                </a:cubicBezTo>
                <a:cubicBezTo>
                  <a:pt x="413406" y="979217"/>
                  <a:pt x="415400" y="979217"/>
                  <a:pt x="415400" y="977223"/>
                </a:cubicBezTo>
                <a:cubicBezTo>
                  <a:pt x="413406" y="975228"/>
                  <a:pt x="411411" y="977223"/>
                  <a:pt x="409417" y="977223"/>
                </a:cubicBezTo>
                <a:cubicBezTo>
                  <a:pt x="407422" y="977223"/>
                  <a:pt x="403434" y="975228"/>
                  <a:pt x="403434" y="975228"/>
                </a:cubicBezTo>
                <a:cubicBezTo>
                  <a:pt x="403434" y="975228"/>
                  <a:pt x="401439" y="977223"/>
                  <a:pt x="401439" y="975228"/>
                </a:cubicBezTo>
                <a:cubicBezTo>
                  <a:pt x="401439" y="973234"/>
                  <a:pt x="403434" y="973234"/>
                  <a:pt x="403434" y="973234"/>
                </a:cubicBezTo>
                <a:cubicBezTo>
                  <a:pt x="405428" y="973234"/>
                  <a:pt x="407422" y="973234"/>
                  <a:pt x="409417" y="973234"/>
                </a:cubicBezTo>
                <a:cubicBezTo>
                  <a:pt x="409417" y="973234"/>
                  <a:pt x="411411" y="971240"/>
                  <a:pt x="409417" y="969245"/>
                </a:cubicBezTo>
                <a:cubicBezTo>
                  <a:pt x="409417" y="969245"/>
                  <a:pt x="409417" y="967251"/>
                  <a:pt x="407422" y="967251"/>
                </a:cubicBezTo>
                <a:cubicBezTo>
                  <a:pt x="405428" y="967251"/>
                  <a:pt x="403434" y="965257"/>
                  <a:pt x="403434" y="965257"/>
                </a:cubicBezTo>
                <a:cubicBezTo>
                  <a:pt x="403434" y="963262"/>
                  <a:pt x="405428" y="961268"/>
                  <a:pt x="403434" y="961268"/>
                </a:cubicBezTo>
                <a:cubicBezTo>
                  <a:pt x="403434" y="959274"/>
                  <a:pt x="403434" y="957279"/>
                  <a:pt x="401439" y="959274"/>
                </a:cubicBezTo>
                <a:cubicBezTo>
                  <a:pt x="401439" y="959274"/>
                  <a:pt x="397450" y="961268"/>
                  <a:pt x="397450" y="963262"/>
                </a:cubicBezTo>
                <a:cubicBezTo>
                  <a:pt x="395456" y="963262"/>
                  <a:pt x="391467" y="963262"/>
                  <a:pt x="391467" y="961268"/>
                </a:cubicBezTo>
                <a:cubicBezTo>
                  <a:pt x="391467" y="959274"/>
                  <a:pt x="389473" y="957279"/>
                  <a:pt x="389473" y="957279"/>
                </a:cubicBezTo>
                <a:cubicBezTo>
                  <a:pt x="389473" y="955285"/>
                  <a:pt x="391467" y="953291"/>
                  <a:pt x="393461" y="953291"/>
                </a:cubicBezTo>
                <a:cubicBezTo>
                  <a:pt x="393461" y="953291"/>
                  <a:pt x="395456" y="953291"/>
                  <a:pt x="397450" y="953291"/>
                </a:cubicBezTo>
                <a:cubicBezTo>
                  <a:pt x="399445" y="953291"/>
                  <a:pt x="399445" y="951296"/>
                  <a:pt x="399445" y="949302"/>
                </a:cubicBezTo>
                <a:cubicBezTo>
                  <a:pt x="399445" y="949302"/>
                  <a:pt x="397450" y="947308"/>
                  <a:pt x="397450" y="947308"/>
                </a:cubicBezTo>
                <a:cubicBezTo>
                  <a:pt x="397450" y="947308"/>
                  <a:pt x="399445" y="941325"/>
                  <a:pt x="399445" y="939330"/>
                </a:cubicBezTo>
                <a:cubicBezTo>
                  <a:pt x="399445" y="939330"/>
                  <a:pt x="403434" y="937336"/>
                  <a:pt x="405428" y="937336"/>
                </a:cubicBezTo>
                <a:cubicBezTo>
                  <a:pt x="407422" y="937336"/>
                  <a:pt x="411411" y="937336"/>
                  <a:pt x="411411" y="935342"/>
                </a:cubicBezTo>
                <a:cubicBezTo>
                  <a:pt x="415400" y="935342"/>
                  <a:pt x="421383" y="933347"/>
                  <a:pt x="421383" y="931353"/>
                </a:cubicBezTo>
                <a:cubicBezTo>
                  <a:pt x="421383" y="931353"/>
                  <a:pt x="421383" y="927364"/>
                  <a:pt x="417395" y="929359"/>
                </a:cubicBezTo>
                <a:cubicBezTo>
                  <a:pt x="415400" y="931353"/>
                  <a:pt x="411411" y="933347"/>
                  <a:pt x="409417" y="933347"/>
                </a:cubicBezTo>
                <a:cubicBezTo>
                  <a:pt x="407422" y="933347"/>
                  <a:pt x="401439" y="933347"/>
                  <a:pt x="401439" y="933347"/>
                </a:cubicBezTo>
                <a:cubicBezTo>
                  <a:pt x="401439" y="931353"/>
                  <a:pt x="401439" y="929359"/>
                  <a:pt x="403434" y="927364"/>
                </a:cubicBezTo>
                <a:cubicBezTo>
                  <a:pt x="403434" y="927364"/>
                  <a:pt x="405428" y="927364"/>
                  <a:pt x="407422" y="927364"/>
                </a:cubicBezTo>
                <a:cubicBezTo>
                  <a:pt x="409417" y="927364"/>
                  <a:pt x="411411" y="927364"/>
                  <a:pt x="413406" y="927364"/>
                </a:cubicBezTo>
                <a:cubicBezTo>
                  <a:pt x="415400" y="925370"/>
                  <a:pt x="417395" y="925370"/>
                  <a:pt x="417395" y="925370"/>
                </a:cubicBezTo>
                <a:cubicBezTo>
                  <a:pt x="417395" y="925370"/>
                  <a:pt x="417395" y="923376"/>
                  <a:pt x="417395" y="923376"/>
                </a:cubicBezTo>
                <a:cubicBezTo>
                  <a:pt x="417395" y="921381"/>
                  <a:pt x="413406" y="919387"/>
                  <a:pt x="411411" y="921381"/>
                </a:cubicBezTo>
                <a:cubicBezTo>
                  <a:pt x="411411" y="921381"/>
                  <a:pt x="409417" y="923376"/>
                  <a:pt x="407422" y="921381"/>
                </a:cubicBezTo>
                <a:cubicBezTo>
                  <a:pt x="407422" y="919387"/>
                  <a:pt x="407422" y="917393"/>
                  <a:pt x="407422" y="917393"/>
                </a:cubicBezTo>
                <a:cubicBezTo>
                  <a:pt x="407422" y="915398"/>
                  <a:pt x="411411" y="911410"/>
                  <a:pt x="413406" y="911410"/>
                </a:cubicBezTo>
                <a:cubicBezTo>
                  <a:pt x="415400" y="911410"/>
                  <a:pt x="415400" y="911410"/>
                  <a:pt x="417395" y="911410"/>
                </a:cubicBezTo>
                <a:cubicBezTo>
                  <a:pt x="417395" y="909415"/>
                  <a:pt x="421383" y="913404"/>
                  <a:pt x="419389" y="915398"/>
                </a:cubicBezTo>
                <a:cubicBezTo>
                  <a:pt x="419389" y="915398"/>
                  <a:pt x="419389" y="919387"/>
                  <a:pt x="421383" y="919387"/>
                </a:cubicBezTo>
                <a:cubicBezTo>
                  <a:pt x="421383" y="921381"/>
                  <a:pt x="425372" y="923376"/>
                  <a:pt x="425372" y="923376"/>
                </a:cubicBezTo>
                <a:cubicBezTo>
                  <a:pt x="427367" y="923376"/>
                  <a:pt x="433350" y="927364"/>
                  <a:pt x="435344" y="927364"/>
                </a:cubicBezTo>
                <a:cubicBezTo>
                  <a:pt x="437339" y="925370"/>
                  <a:pt x="439333" y="923376"/>
                  <a:pt x="439333" y="923376"/>
                </a:cubicBezTo>
                <a:cubicBezTo>
                  <a:pt x="437339" y="923376"/>
                  <a:pt x="437339" y="921381"/>
                  <a:pt x="437339" y="919387"/>
                </a:cubicBezTo>
                <a:cubicBezTo>
                  <a:pt x="435344" y="919387"/>
                  <a:pt x="433350" y="919387"/>
                  <a:pt x="431356" y="919387"/>
                </a:cubicBezTo>
                <a:cubicBezTo>
                  <a:pt x="429361" y="919387"/>
                  <a:pt x="425372" y="919387"/>
                  <a:pt x="425372" y="917393"/>
                </a:cubicBezTo>
                <a:cubicBezTo>
                  <a:pt x="425372" y="915398"/>
                  <a:pt x="425372" y="915398"/>
                  <a:pt x="425372" y="913404"/>
                </a:cubicBezTo>
                <a:cubicBezTo>
                  <a:pt x="425372" y="911410"/>
                  <a:pt x="425372" y="909415"/>
                  <a:pt x="425372" y="909415"/>
                </a:cubicBezTo>
                <a:cubicBezTo>
                  <a:pt x="425372" y="909415"/>
                  <a:pt x="421383" y="905427"/>
                  <a:pt x="421383" y="903432"/>
                </a:cubicBezTo>
                <a:cubicBezTo>
                  <a:pt x="419389" y="903432"/>
                  <a:pt x="417395" y="901438"/>
                  <a:pt x="417395" y="901438"/>
                </a:cubicBezTo>
                <a:cubicBezTo>
                  <a:pt x="415400" y="901438"/>
                  <a:pt x="413406" y="903432"/>
                  <a:pt x="413406" y="903432"/>
                </a:cubicBezTo>
                <a:cubicBezTo>
                  <a:pt x="415400" y="905427"/>
                  <a:pt x="415400" y="907421"/>
                  <a:pt x="413406" y="907421"/>
                </a:cubicBezTo>
                <a:cubicBezTo>
                  <a:pt x="411411" y="907421"/>
                  <a:pt x="411411" y="907421"/>
                  <a:pt x="411411" y="907421"/>
                </a:cubicBezTo>
                <a:cubicBezTo>
                  <a:pt x="409417" y="907421"/>
                  <a:pt x="407422" y="909415"/>
                  <a:pt x="407422" y="909415"/>
                </a:cubicBezTo>
                <a:cubicBezTo>
                  <a:pt x="407422" y="909415"/>
                  <a:pt x="407422" y="911410"/>
                  <a:pt x="405428" y="911410"/>
                </a:cubicBezTo>
                <a:cubicBezTo>
                  <a:pt x="405428" y="911410"/>
                  <a:pt x="403434" y="909415"/>
                  <a:pt x="403434" y="909415"/>
                </a:cubicBezTo>
                <a:cubicBezTo>
                  <a:pt x="403434" y="909415"/>
                  <a:pt x="401439" y="907421"/>
                  <a:pt x="399445" y="909415"/>
                </a:cubicBezTo>
                <a:cubicBezTo>
                  <a:pt x="399445" y="909415"/>
                  <a:pt x="399445" y="911410"/>
                  <a:pt x="399445" y="913404"/>
                </a:cubicBezTo>
                <a:cubicBezTo>
                  <a:pt x="399445" y="913404"/>
                  <a:pt x="399445" y="917393"/>
                  <a:pt x="397450" y="917393"/>
                </a:cubicBezTo>
                <a:cubicBezTo>
                  <a:pt x="395456" y="917393"/>
                  <a:pt x="393461" y="917393"/>
                  <a:pt x="391467" y="917393"/>
                </a:cubicBezTo>
                <a:cubicBezTo>
                  <a:pt x="391467" y="917393"/>
                  <a:pt x="391467" y="915398"/>
                  <a:pt x="389473" y="917393"/>
                </a:cubicBezTo>
                <a:cubicBezTo>
                  <a:pt x="389473" y="917393"/>
                  <a:pt x="389473" y="925370"/>
                  <a:pt x="389473" y="925370"/>
                </a:cubicBezTo>
                <a:cubicBezTo>
                  <a:pt x="389473" y="925370"/>
                  <a:pt x="389473" y="927364"/>
                  <a:pt x="387478" y="929359"/>
                </a:cubicBezTo>
                <a:cubicBezTo>
                  <a:pt x="387478" y="931353"/>
                  <a:pt x="385484" y="931353"/>
                  <a:pt x="383489" y="931353"/>
                </a:cubicBezTo>
                <a:cubicBezTo>
                  <a:pt x="383489" y="931353"/>
                  <a:pt x="379500" y="933347"/>
                  <a:pt x="377506" y="933347"/>
                </a:cubicBezTo>
                <a:cubicBezTo>
                  <a:pt x="377506" y="931353"/>
                  <a:pt x="377506" y="931353"/>
                  <a:pt x="377506" y="929359"/>
                </a:cubicBezTo>
                <a:cubicBezTo>
                  <a:pt x="377506" y="929359"/>
                  <a:pt x="379500" y="927364"/>
                  <a:pt x="381495" y="927364"/>
                </a:cubicBezTo>
                <a:cubicBezTo>
                  <a:pt x="383489" y="927364"/>
                  <a:pt x="383489" y="925370"/>
                  <a:pt x="383489" y="925370"/>
                </a:cubicBezTo>
                <a:cubicBezTo>
                  <a:pt x="383489" y="923376"/>
                  <a:pt x="383489" y="923376"/>
                  <a:pt x="381495" y="921381"/>
                </a:cubicBezTo>
                <a:cubicBezTo>
                  <a:pt x="379500" y="921381"/>
                  <a:pt x="377506" y="919387"/>
                  <a:pt x="377506" y="917393"/>
                </a:cubicBezTo>
                <a:cubicBezTo>
                  <a:pt x="377506" y="915398"/>
                  <a:pt x="379500" y="911410"/>
                  <a:pt x="379500" y="911410"/>
                </a:cubicBezTo>
                <a:cubicBezTo>
                  <a:pt x="381495" y="909415"/>
                  <a:pt x="381495" y="909415"/>
                  <a:pt x="383489" y="909415"/>
                </a:cubicBezTo>
                <a:cubicBezTo>
                  <a:pt x="383489" y="911410"/>
                  <a:pt x="385484" y="911410"/>
                  <a:pt x="387478" y="909415"/>
                </a:cubicBezTo>
                <a:cubicBezTo>
                  <a:pt x="387478" y="909415"/>
                  <a:pt x="387478" y="907421"/>
                  <a:pt x="387478" y="905427"/>
                </a:cubicBezTo>
                <a:cubicBezTo>
                  <a:pt x="387478" y="905427"/>
                  <a:pt x="391467" y="905427"/>
                  <a:pt x="391467" y="905427"/>
                </a:cubicBezTo>
                <a:cubicBezTo>
                  <a:pt x="393461" y="903432"/>
                  <a:pt x="395456" y="903432"/>
                  <a:pt x="393461" y="901438"/>
                </a:cubicBezTo>
                <a:cubicBezTo>
                  <a:pt x="393461" y="901438"/>
                  <a:pt x="393461" y="901438"/>
                  <a:pt x="391467" y="899444"/>
                </a:cubicBezTo>
                <a:cubicBezTo>
                  <a:pt x="391467" y="899444"/>
                  <a:pt x="389473" y="899444"/>
                  <a:pt x="387478" y="901438"/>
                </a:cubicBezTo>
                <a:cubicBezTo>
                  <a:pt x="385484" y="901438"/>
                  <a:pt x="383489" y="905427"/>
                  <a:pt x="381495" y="903432"/>
                </a:cubicBezTo>
                <a:cubicBezTo>
                  <a:pt x="379500" y="903432"/>
                  <a:pt x="379500" y="901438"/>
                  <a:pt x="379500" y="901438"/>
                </a:cubicBezTo>
                <a:cubicBezTo>
                  <a:pt x="379500" y="901438"/>
                  <a:pt x="383489" y="897449"/>
                  <a:pt x="383489" y="897449"/>
                </a:cubicBezTo>
                <a:cubicBezTo>
                  <a:pt x="383489" y="897449"/>
                  <a:pt x="383489" y="891466"/>
                  <a:pt x="383489" y="889472"/>
                </a:cubicBezTo>
                <a:cubicBezTo>
                  <a:pt x="383489" y="889472"/>
                  <a:pt x="385484" y="885483"/>
                  <a:pt x="383489" y="885483"/>
                </a:cubicBezTo>
                <a:cubicBezTo>
                  <a:pt x="381495" y="885483"/>
                  <a:pt x="381495" y="887478"/>
                  <a:pt x="379500" y="885483"/>
                </a:cubicBezTo>
                <a:cubicBezTo>
                  <a:pt x="377506" y="885483"/>
                  <a:pt x="377506" y="881495"/>
                  <a:pt x="379500" y="881495"/>
                </a:cubicBezTo>
                <a:cubicBezTo>
                  <a:pt x="379500" y="879500"/>
                  <a:pt x="381495" y="877506"/>
                  <a:pt x="379500" y="877506"/>
                </a:cubicBezTo>
                <a:cubicBezTo>
                  <a:pt x="377506" y="877506"/>
                  <a:pt x="375512" y="875512"/>
                  <a:pt x="373517" y="875512"/>
                </a:cubicBezTo>
                <a:cubicBezTo>
                  <a:pt x="373517" y="873517"/>
                  <a:pt x="371523" y="871523"/>
                  <a:pt x="371523" y="871523"/>
                </a:cubicBezTo>
                <a:cubicBezTo>
                  <a:pt x="371523" y="869529"/>
                  <a:pt x="371523" y="867534"/>
                  <a:pt x="371523" y="867534"/>
                </a:cubicBezTo>
                <a:cubicBezTo>
                  <a:pt x="371523" y="865540"/>
                  <a:pt x="371523" y="865540"/>
                  <a:pt x="369528" y="865540"/>
                </a:cubicBezTo>
                <a:cubicBezTo>
                  <a:pt x="367534" y="865540"/>
                  <a:pt x="367534" y="867534"/>
                  <a:pt x="365539" y="867534"/>
                </a:cubicBezTo>
                <a:cubicBezTo>
                  <a:pt x="365539" y="867534"/>
                  <a:pt x="363545" y="869529"/>
                  <a:pt x="363545" y="867534"/>
                </a:cubicBezTo>
                <a:cubicBezTo>
                  <a:pt x="361551" y="867534"/>
                  <a:pt x="361551" y="867534"/>
                  <a:pt x="361551" y="865540"/>
                </a:cubicBezTo>
                <a:cubicBezTo>
                  <a:pt x="361551" y="863546"/>
                  <a:pt x="363545" y="861551"/>
                  <a:pt x="365539" y="861551"/>
                </a:cubicBezTo>
                <a:cubicBezTo>
                  <a:pt x="365539" y="859557"/>
                  <a:pt x="369528" y="859557"/>
                  <a:pt x="371523" y="859557"/>
                </a:cubicBezTo>
                <a:cubicBezTo>
                  <a:pt x="373517" y="859557"/>
                  <a:pt x="377506" y="859557"/>
                  <a:pt x="377506" y="859557"/>
                </a:cubicBezTo>
                <a:cubicBezTo>
                  <a:pt x="377506" y="859557"/>
                  <a:pt x="379500" y="863546"/>
                  <a:pt x="381495" y="863546"/>
                </a:cubicBezTo>
                <a:cubicBezTo>
                  <a:pt x="383489" y="863546"/>
                  <a:pt x="383489" y="863546"/>
                  <a:pt x="385484" y="861551"/>
                </a:cubicBezTo>
                <a:cubicBezTo>
                  <a:pt x="385484" y="859557"/>
                  <a:pt x="385484" y="859557"/>
                  <a:pt x="385484" y="859557"/>
                </a:cubicBezTo>
                <a:cubicBezTo>
                  <a:pt x="387478" y="857563"/>
                  <a:pt x="387478" y="857563"/>
                  <a:pt x="389473" y="857563"/>
                </a:cubicBezTo>
                <a:cubicBezTo>
                  <a:pt x="391467" y="857563"/>
                  <a:pt x="393461" y="859557"/>
                  <a:pt x="395456" y="857563"/>
                </a:cubicBezTo>
                <a:cubicBezTo>
                  <a:pt x="395456" y="855568"/>
                  <a:pt x="395456" y="853574"/>
                  <a:pt x="395456" y="853574"/>
                </a:cubicBezTo>
                <a:cubicBezTo>
                  <a:pt x="395456" y="851580"/>
                  <a:pt x="393461" y="851580"/>
                  <a:pt x="391467" y="851580"/>
                </a:cubicBezTo>
                <a:cubicBezTo>
                  <a:pt x="391467" y="849585"/>
                  <a:pt x="389473" y="849585"/>
                  <a:pt x="387478" y="851580"/>
                </a:cubicBezTo>
                <a:cubicBezTo>
                  <a:pt x="387478" y="851580"/>
                  <a:pt x="387478" y="851580"/>
                  <a:pt x="385484" y="853574"/>
                </a:cubicBezTo>
                <a:cubicBezTo>
                  <a:pt x="383489" y="855568"/>
                  <a:pt x="381495" y="855568"/>
                  <a:pt x="379500" y="855568"/>
                </a:cubicBezTo>
                <a:cubicBezTo>
                  <a:pt x="377506" y="855568"/>
                  <a:pt x="375512" y="851580"/>
                  <a:pt x="375512" y="851580"/>
                </a:cubicBezTo>
                <a:cubicBezTo>
                  <a:pt x="375512" y="851580"/>
                  <a:pt x="373517" y="851580"/>
                  <a:pt x="371523" y="853574"/>
                </a:cubicBezTo>
                <a:cubicBezTo>
                  <a:pt x="369528" y="855568"/>
                  <a:pt x="367534" y="857563"/>
                  <a:pt x="365539" y="857563"/>
                </a:cubicBezTo>
                <a:cubicBezTo>
                  <a:pt x="363545" y="857563"/>
                  <a:pt x="361551" y="857563"/>
                  <a:pt x="361551" y="855568"/>
                </a:cubicBezTo>
                <a:cubicBezTo>
                  <a:pt x="361551" y="853574"/>
                  <a:pt x="361551" y="851580"/>
                  <a:pt x="363545" y="851580"/>
                </a:cubicBezTo>
                <a:cubicBezTo>
                  <a:pt x="363545" y="851580"/>
                  <a:pt x="365539" y="849585"/>
                  <a:pt x="365539" y="849585"/>
                </a:cubicBezTo>
                <a:cubicBezTo>
                  <a:pt x="367534" y="847591"/>
                  <a:pt x="371523" y="845597"/>
                  <a:pt x="373517" y="843602"/>
                </a:cubicBezTo>
                <a:cubicBezTo>
                  <a:pt x="375512" y="843602"/>
                  <a:pt x="375512" y="843602"/>
                  <a:pt x="377506" y="843602"/>
                </a:cubicBezTo>
                <a:cubicBezTo>
                  <a:pt x="377506" y="841608"/>
                  <a:pt x="379500" y="839614"/>
                  <a:pt x="379500" y="839614"/>
                </a:cubicBezTo>
                <a:cubicBezTo>
                  <a:pt x="379500" y="839614"/>
                  <a:pt x="385484" y="837619"/>
                  <a:pt x="387478" y="835625"/>
                </a:cubicBezTo>
                <a:cubicBezTo>
                  <a:pt x="389473" y="835625"/>
                  <a:pt x="393461" y="833631"/>
                  <a:pt x="395456" y="831636"/>
                </a:cubicBezTo>
                <a:cubicBezTo>
                  <a:pt x="395456" y="829642"/>
                  <a:pt x="397450" y="827648"/>
                  <a:pt x="399445" y="827648"/>
                </a:cubicBezTo>
                <a:cubicBezTo>
                  <a:pt x="401439" y="825653"/>
                  <a:pt x="403434" y="825653"/>
                  <a:pt x="405428" y="825653"/>
                </a:cubicBezTo>
                <a:cubicBezTo>
                  <a:pt x="405428" y="823659"/>
                  <a:pt x="407422" y="821665"/>
                  <a:pt x="407422" y="821665"/>
                </a:cubicBezTo>
                <a:cubicBezTo>
                  <a:pt x="409417" y="821665"/>
                  <a:pt x="409417" y="819670"/>
                  <a:pt x="411411" y="819670"/>
                </a:cubicBezTo>
                <a:cubicBezTo>
                  <a:pt x="415400" y="819670"/>
                  <a:pt x="415400" y="819670"/>
                  <a:pt x="417395" y="819670"/>
                </a:cubicBezTo>
                <a:cubicBezTo>
                  <a:pt x="419389" y="819670"/>
                  <a:pt x="421383" y="819670"/>
                  <a:pt x="423378" y="817676"/>
                </a:cubicBezTo>
                <a:cubicBezTo>
                  <a:pt x="423378" y="817676"/>
                  <a:pt x="423378" y="815682"/>
                  <a:pt x="423378" y="813687"/>
                </a:cubicBezTo>
                <a:cubicBezTo>
                  <a:pt x="423378" y="813687"/>
                  <a:pt x="425372" y="809699"/>
                  <a:pt x="425372" y="809699"/>
                </a:cubicBezTo>
                <a:cubicBezTo>
                  <a:pt x="425372" y="809699"/>
                  <a:pt x="433350" y="809699"/>
                  <a:pt x="435344" y="809699"/>
                </a:cubicBezTo>
                <a:cubicBezTo>
                  <a:pt x="435344" y="809699"/>
                  <a:pt x="437339" y="807704"/>
                  <a:pt x="435344" y="805710"/>
                </a:cubicBezTo>
                <a:cubicBezTo>
                  <a:pt x="433350" y="805710"/>
                  <a:pt x="429361" y="805710"/>
                  <a:pt x="429361" y="805710"/>
                </a:cubicBezTo>
                <a:cubicBezTo>
                  <a:pt x="427367" y="805710"/>
                  <a:pt x="423378" y="807704"/>
                  <a:pt x="423378" y="809699"/>
                </a:cubicBezTo>
                <a:cubicBezTo>
                  <a:pt x="421383" y="809699"/>
                  <a:pt x="417395" y="813687"/>
                  <a:pt x="417395" y="813687"/>
                </a:cubicBezTo>
                <a:cubicBezTo>
                  <a:pt x="417395" y="813687"/>
                  <a:pt x="413406" y="817676"/>
                  <a:pt x="411411" y="817676"/>
                </a:cubicBezTo>
                <a:cubicBezTo>
                  <a:pt x="409417" y="817676"/>
                  <a:pt x="405428" y="817676"/>
                  <a:pt x="405428" y="817676"/>
                </a:cubicBezTo>
                <a:cubicBezTo>
                  <a:pt x="403434" y="819670"/>
                  <a:pt x="399445" y="821665"/>
                  <a:pt x="399445" y="821665"/>
                </a:cubicBezTo>
                <a:cubicBezTo>
                  <a:pt x="399445" y="821665"/>
                  <a:pt x="393461" y="823659"/>
                  <a:pt x="393461" y="823659"/>
                </a:cubicBezTo>
                <a:cubicBezTo>
                  <a:pt x="391467" y="825653"/>
                  <a:pt x="387478" y="829642"/>
                  <a:pt x="387478" y="831636"/>
                </a:cubicBezTo>
                <a:cubicBezTo>
                  <a:pt x="385484" y="831636"/>
                  <a:pt x="381495" y="833631"/>
                  <a:pt x="381495" y="833631"/>
                </a:cubicBezTo>
                <a:cubicBezTo>
                  <a:pt x="381495" y="835625"/>
                  <a:pt x="375512" y="837619"/>
                  <a:pt x="375512" y="837619"/>
                </a:cubicBezTo>
                <a:cubicBezTo>
                  <a:pt x="375512" y="837619"/>
                  <a:pt x="369528" y="841608"/>
                  <a:pt x="369528" y="841608"/>
                </a:cubicBezTo>
                <a:cubicBezTo>
                  <a:pt x="369528" y="843602"/>
                  <a:pt x="365539" y="845597"/>
                  <a:pt x="363545" y="845597"/>
                </a:cubicBezTo>
                <a:cubicBezTo>
                  <a:pt x="363545" y="845597"/>
                  <a:pt x="359556" y="847591"/>
                  <a:pt x="359556" y="847591"/>
                </a:cubicBezTo>
                <a:cubicBezTo>
                  <a:pt x="359556" y="847591"/>
                  <a:pt x="355567" y="845597"/>
                  <a:pt x="353573" y="845597"/>
                </a:cubicBezTo>
                <a:cubicBezTo>
                  <a:pt x="353573" y="845597"/>
                  <a:pt x="353573" y="839614"/>
                  <a:pt x="353573" y="837619"/>
                </a:cubicBezTo>
                <a:cubicBezTo>
                  <a:pt x="353573" y="835625"/>
                  <a:pt x="353573" y="833631"/>
                  <a:pt x="355567" y="833631"/>
                </a:cubicBezTo>
                <a:cubicBezTo>
                  <a:pt x="357562" y="833631"/>
                  <a:pt x="357562" y="831636"/>
                  <a:pt x="361551" y="833631"/>
                </a:cubicBezTo>
                <a:cubicBezTo>
                  <a:pt x="363545" y="833631"/>
                  <a:pt x="365539" y="835625"/>
                  <a:pt x="367534" y="835625"/>
                </a:cubicBezTo>
                <a:cubicBezTo>
                  <a:pt x="369528" y="833631"/>
                  <a:pt x="375512" y="833631"/>
                  <a:pt x="377506" y="833631"/>
                </a:cubicBezTo>
                <a:cubicBezTo>
                  <a:pt x="377506" y="831636"/>
                  <a:pt x="379500" y="831636"/>
                  <a:pt x="379500" y="829642"/>
                </a:cubicBezTo>
                <a:cubicBezTo>
                  <a:pt x="379500" y="829642"/>
                  <a:pt x="379500" y="827648"/>
                  <a:pt x="379500" y="827648"/>
                </a:cubicBezTo>
                <a:cubicBezTo>
                  <a:pt x="377506" y="827648"/>
                  <a:pt x="373517" y="829642"/>
                  <a:pt x="373517" y="829642"/>
                </a:cubicBezTo>
                <a:cubicBezTo>
                  <a:pt x="371523" y="829642"/>
                  <a:pt x="367534" y="829642"/>
                  <a:pt x="365539" y="829642"/>
                </a:cubicBezTo>
                <a:cubicBezTo>
                  <a:pt x="365539" y="829642"/>
                  <a:pt x="363545" y="827648"/>
                  <a:pt x="363545" y="827648"/>
                </a:cubicBezTo>
                <a:cubicBezTo>
                  <a:pt x="365539" y="825653"/>
                  <a:pt x="369528" y="827648"/>
                  <a:pt x="369528" y="825653"/>
                </a:cubicBezTo>
                <a:cubicBezTo>
                  <a:pt x="371523" y="825653"/>
                  <a:pt x="375512" y="823659"/>
                  <a:pt x="373517" y="823659"/>
                </a:cubicBezTo>
                <a:cubicBezTo>
                  <a:pt x="373517" y="821665"/>
                  <a:pt x="369528" y="819670"/>
                  <a:pt x="369528" y="819670"/>
                </a:cubicBezTo>
                <a:cubicBezTo>
                  <a:pt x="371523" y="817676"/>
                  <a:pt x="373517" y="817676"/>
                  <a:pt x="375512" y="817676"/>
                </a:cubicBezTo>
                <a:cubicBezTo>
                  <a:pt x="377506" y="817676"/>
                  <a:pt x="381495" y="817676"/>
                  <a:pt x="383489" y="817676"/>
                </a:cubicBezTo>
                <a:cubicBezTo>
                  <a:pt x="383489" y="819670"/>
                  <a:pt x="387478" y="821665"/>
                  <a:pt x="387478" y="821665"/>
                </a:cubicBezTo>
                <a:cubicBezTo>
                  <a:pt x="389473" y="819670"/>
                  <a:pt x="389473" y="819670"/>
                  <a:pt x="391467" y="817676"/>
                </a:cubicBezTo>
                <a:cubicBezTo>
                  <a:pt x="391467" y="817676"/>
                  <a:pt x="393461" y="817676"/>
                  <a:pt x="393461" y="815682"/>
                </a:cubicBezTo>
                <a:cubicBezTo>
                  <a:pt x="393461" y="815682"/>
                  <a:pt x="395456" y="813687"/>
                  <a:pt x="393461" y="813687"/>
                </a:cubicBezTo>
                <a:cubicBezTo>
                  <a:pt x="393461" y="811693"/>
                  <a:pt x="393461" y="811693"/>
                  <a:pt x="391467" y="811693"/>
                </a:cubicBezTo>
                <a:cubicBezTo>
                  <a:pt x="389473" y="811693"/>
                  <a:pt x="387478" y="811693"/>
                  <a:pt x="387478" y="811693"/>
                </a:cubicBezTo>
                <a:cubicBezTo>
                  <a:pt x="385484" y="813687"/>
                  <a:pt x="383489" y="813687"/>
                  <a:pt x="383489" y="813687"/>
                </a:cubicBezTo>
                <a:cubicBezTo>
                  <a:pt x="381495" y="813687"/>
                  <a:pt x="379500" y="813687"/>
                  <a:pt x="377506" y="813687"/>
                </a:cubicBezTo>
                <a:cubicBezTo>
                  <a:pt x="377506" y="813687"/>
                  <a:pt x="375512" y="813687"/>
                  <a:pt x="375512" y="811693"/>
                </a:cubicBezTo>
                <a:cubicBezTo>
                  <a:pt x="373517" y="811693"/>
                  <a:pt x="369528" y="811693"/>
                  <a:pt x="369528" y="811693"/>
                </a:cubicBezTo>
                <a:cubicBezTo>
                  <a:pt x="369528" y="811693"/>
                  <a:pt x="361551" y="813687"/>
                  <a:pt x="361551" y="813687"/>
                </a:cubicBezTo>
                <a:cubicBezTo>
                  <a:pt x="359556" y="813687"/>
                  <a:pt x="357562" y="813687"/>
                  <a:pt x="357562" y="811693"/>
                </a:cubicBezTo>
                <a:cubicBezTo>
                  <a:pt x="357562" y="809699"/>
                  <a:pt x="357562" y="805710"/>
                  <a:pt x="359556" y="805710"/>
                </a:cubicBezTo>
                <a:cubicBezTo>
                  <a:pt x="359556" y="805710"/>
                  <a:pt x="363545" y="803716"/>
                  <a:pt x="365539" y="803716"/>
                </a:cubicBezTo>
                <a:cubicBezTo>
                  <a:pt x="367534" y="803716"/>
                  <a:pt x="369528" y="803716"/>
                  <a:pt x="371523" y="803716"/>
                </a:cubicBezTo>
                <a:cubicBezTo>
                  <a:pt x="373517" y="803716"/>
                  <a:pt x="377506" y="803716"/>
                  <a:pt x="379500" y="801721"/>
                </a:cubicBezTo>
                <a:cubicBezTo>
                  <a:pt x="381495" y="801721"/>
                  <a:pt x="385484" y="799727"/>
                  <a:pt x="385484" y="799727"/>
                </a:cubicBezTo>
                <a:cubicBezTo>
                  <a:pt x="387478" y="799727"/>
                  <a:pt x="387478" y="797733"/>
                  <a:pt x="389473" y="797733"/>
                </a:cubicBezTo>
                <a:cubicBezTo>
                  <a:pt x="393461" y="797733"/>
                  <a:pt x="399445" y="797733"/>
                  <a:pt x="399445" y="797733"/>
                </a:cubicBezTo>
                <a:cubicBezTo>
                  <a:pt x="401439" y="797733"/>
                  <a:pt x="403434" y="797733"/>
                  <a:pt x="403434" y="799727"/>
                </a:cubicBezTo>
                <a:cubicBezTo>
                  <a:pt x="405428" y="799727"/>
                  <a:pt x="407422" y="801721"/>
                  <a:pt x="409417" y="801721"/>
                </a:cubicBezTo>
                <a:cubicBezTo>
                  <a:pt x="411411" y="801721"/>
                  <a:pt x="413406" y="801721"/>
                  <a:pt x="413406" y="799727"/>
                </a:cubicBezTo>
                <a:cubicBezTo>
                  <a:pt x="413406" y="797733"/>
                  <a:pt x="413406" y="795738"/>
                  <a:pt x="411411" y="795738"/>
                </a:cubicBezTo>
                <a:cubicBezTo>
                  <a:pt x="411411" y="795738"/>
                  <a:pt x="407422" y="793744"/>
                  <a:pt x="407422" y="793744"/>
                </a:cubicBezTo>
                <a:cubicBezTo>
                  <a:pt x="405428" y="793744"/>
                  <a:pt x="403434" y="795738"/>
                  <a:pt x="401439" y="795738"/>
                </a:cubicBezTo>
                <a:cubicBezTo>
                  <a:pt x="399445" y="793744"/>
                  <a:pt x="395456" y="793744"/>
                  <a:pt x="393461" y="793744"/>
                </a:cubicBezTo>
                <a:cubicBezTo>
                  <a:pt x="391467" y="793744"/>
                  <a:pt x="389473" y="793744"/>
                  <a:pt x="387478" y="793744"/>
                </a:cubicBezTo>
                <a:cubicBezTo>
                  <a:pt x="387478" y="793744"/>
                  <a:pt x="383489" y="795738"/>
                  <a:pt x="381495" y="795738"/>
                </a:cubicBezTo>
                <a:cubicBezTo>
                  <a:pt x="381495" y="795738"/>
                  <a:pt x="377506" y="795738"/>
                  <a:pt x="377506" y="795738"/>
                </a:cubicBezTo>
                <a:cubicBezTo>
                  <a:pt x="377506" y="795738"/>
                  <a:pt x="371523" y="795738"/>
                  <a:pt x="371523" y="797733"/>
                </a:cubicBezTo>
                <a:cubicBezTo>
                  <a:pt x="369528" y="797733"/>
                  <a:pt x="365539" y="797733"/>
                  <a:pt x="365539" y="797733"/>
                </a:cubicBezTo>
                <a:cubicBezTo>
                  <a:pt x="363545" y="797733"/>
                  <a:pt x="359556" y="797733"/>
                  <a:pt x="359556" y="795738"/>
                </a:cubicBezTo>
                <a:cubicBezTo>
                  <a:pt x="359556" y="793744"/>
                  <a:pt x="359556" y="791750"/>
                  <a:pt x="361551" y="791750"/>
                </a:cubicBezTo>
                <a:cubicBezTo>
                  <a:pt x="363545" y="791750"/>
                  <a:pt x="365539" y="789755"/>
                  <a:pt x="367534" y="787761"/>
                </a:cubicBezTo>
                <a:cubicBezTo>
                  <a:pt x="369528" y="787761"/>
                  <a:pt x="373517" y="783772"/>
                  <a:pt x="373517" y="781778"/>
                </a:cubicBezTo>
                <a:cubicBezTo>
                  <a:pt x="375512" y="781778"/>
                  <a:pt x="381495" y="781778"/>
                  <a:pt x="381495" y="781778"/>
                </a:cubicBezTo>
                <a:cubicBezTo>
                  <a:pt x="381495" y="779784"/>
                  <a:pt x="385484" y="779784"/>
                  <a:pt x="385484" y="779784"/>
                </a:cubicBezTo>
                <a:cubicBezTo>
                  <a:pt x="385484" y="777789"/>
                  <a:pt x="385484" y="777789"/>
                  <a:pt x="387478" y="775795"/>
                </a:cubicBezTo>
                <a:cubicBezTo>
                  <a:pt x="391467" y="775795"/>
                  <a:pt x="393461" y="779784"/>
                  <a:pt x="393461" y="781778"/>
                </a:cubicBezTo>
                <a:cubicBezTo>
                  <a:pt x="395456" y="783772"/>
                  <a:pt x="397450" y="785767"/>
                  <a:pt x="397450" y="785767"/>
                </a:cubicBezTo>
                <a:cubicBezTo>
                  <a:pt x="397450" y="785767"/>
                  <a:pt x="399445" y="787761"/>
                  <a:pt x="401439" y="787761"/>
                </a:cubicBezTo>
                <a:cubicBezTo>
                  <a:pt x="403434" y="787761"/>
                  <a:pt x="405428" y="787761"/>
                  <a:pt x="407422" y="787761"/>
                </a:cubicBezTo>
                <a:cubicBezTo>
                  <a:pt x="407422" y="785767"/>
                  <a:pt x="409417" y="783772"/>
                  <a:pt x="411411" y="783772"/>
                </a:cubicBezTo>
                <a:cubicBezTo>
                  <a:pt x="411411" y="783772"/>
                  <a:pt x="415400" y="785767"/>
                  <a:pt x="417395" y="785767"/>
                </a:cubicBezTo>
                <a:cubicBezTo>
                  <a:pt x="417395" y="785767"/>
                  <a:pt x="421383" y="785767"/>
                  <a:pt x="423378" y="787761"/>
                </a:cubicBezTo>
                <a:cubicBezTo>
                  <a:pt x="425372" y="787761"/>
                  <a:pt x="425372" y="787761"/>
                  <a:pt x="425372" y="789755"/>
                </a:cubicBezTo>
                <a:cubicBezTo>
                  <a:pt x="427367" y="791750"/>
                  <a:pt x="427367" y="791750"/>
                  <a:pt x="429361" y="791750"/>
                </a:cubicBezTo>
                <a:cubicBezTo>
                  <a:pt x="431356" y="791750"/>
                  <a:pt x="437339" y="791750"/>
                  <a:pt x="439333" y="791750"/>
                </a:cubicBezTo>
                <a:cubicBezTo>
                  <a:pt x="439333" y="791750"/>
                  <a:pt x="439333" y="789755"/>
                  <a:pt x="439333" y="787761"/>
                </a:cubicBezTo>
                <a:cubicBezTo>
                  <a:pt x="439333" y="787761"/>
                  <a:pt x="435344" y="785767"/>
                  <a:pt x="433350" y="785767"/>
                </a:cubicBezTo>
                <a:cubicBezTo>
                  <a:pt x="433350" y="785767"/>
                  <a:pt x="427367" y="785767"/>
                  <a:pt x="427367" y="785767"/>
                </a:cubicBezTo>
                <a:cubicBezTo>
                  <a:pt x="425372" y="783772"/>
                  <a:pt x="425372" y="783772"/>
                  <a:pt x="425372" y="781778"/>
                </a:cubicBezTo>
                <a:cubicBezTo>
                  <a:pt x="423378" y="779784"/>
                  <a:pt x="425372" y="779784"/>
                  <a:pt x="425372" y="779784"/>
                </a:cubicBezTo>
                <a:cubicBezTo>
                  <a:pt x="427367" y="777789"/>
                  <a:pt x="429361" y="777789"/>
                  <a:pt x="431356" y="777789"/>
                </a:cubicBezTo>
                <a:cubicBezTo>
                  <a:pt x="431356" y="777789"/>
                  <a:pt x="433350" y="777789"/>
                  <a:pt x="435344" y="777789"/>
                </a:cubicBezTo>
                <a:cubicBezTo>
                  <a:pt x="435344" y="775795"/>
                  <a:pt x="435344" y="775795"/>
                  <a:pt x="435344" y="773801"/>
                </a:cubicBezTo>
                <a:cubicBezTo>
                  <a:pt x="433350" y="773801"/>
                  <a:pt x="431356" y="771806"/>
                  <a:pt x="429361" y="773801"/>
                </a:cubicBezTo>
                <a:cubicBezTo>
                  <a:pt x="429361" y="773801"/>
                  <a:pt x="425372" y="775795"/>
                  <a:pt x="423378" y="775795"/>
                </a:cubicBezTo>
                <a:cubicBezTo>
                  <a:pt x="421383" y="775795"/>
                  <a:pt x="421383" y="775795"/>
                  <a:pt x="421383" y="773801"/>
                </a:cubicBezTo>
                <a:cubicBezTo>
                  <a:pt x="421383" y="771806"/>
                  <a:pt x="419389" y="771806"/>
                  <a:pt x="419389" y="771806"/>
                </a:cubicBezTo>
                <a:cubicBezTo>
                  <a:pt x="417395" y="771806"/>
                  <a:pt x="411411" y="769812"/>
                  <a:pt x="411411" y="769812"/>
                </a:cubicBezTo>
                <a:cubicBezTo>
                  <a:pt x="409417" y="769812"/>
                  <a:pt x="405428" y="767818"/>
                  <a:pt x="405428" y="767818"/>
                </a:cubicBezTo>
                <a:cubicBezTo>
                  <a:pt x="403434" y="767818"/>
                  <a:pt x="403434" y="767818"/>
                  <a:pt x="401439" y="767818"/>
                </a:cubicBezTo>
                <a:cubicBezTo>
                  <a:pt x="401439" y="767818"/>
                  <a:pt x="399445" y="771806"/>
                  <a:pt x="399445" y="769812"/>
                </a:cubicBezTo>
                <a:cubicBezTo>
                  <a:pt x="397450" y="769812"/>
                  <a:pt x="393461" y="769812"/>
                  <a:pt x="393461" y="769812"/>
                </a:cubicBezTo>
                <a:cubicBezTo>
                  <a:pt x="389473" y="769812"/>
                  <a:pt x="389473" y="769812"/>
                  <a:pt x="389473" y="769812"/>
                </a:cubicBezTo>
                <a:cubicBezTo>
                  <a:pt x="389473" y="769812"/>
                  <a:pt x="387478" y="771806"/>
                  <a:pt x="385484" y="773801"/>
                </a:cubicBezTo>
                <a:cubicBezTo>
                  <a:pt x="385484" y="773801"/>
                  <a:pt x="381495" y="775795"/>
                  <a:pt x="379500" y="775795"/>
                </a:cubicBezTo>
                <a:cubicBezTo>
                  <a:pt x="379500" y="775795"/>
                  <a:pt x="375512" y="775795"/>
                  <a:pt x="375512" y="775795"/>
                </a:cubicBezTo>
                <a:cubicBezTo>
                  <a:pt x="375512" y="775795"/>
                  <a:pt x="371523" y="779784"/>
                  <a:pt x="371523" y="779784"/>
                </a:cubicBezTo>
                <a:cubicBezTo>
                  <a:pt x="371523" y="781778"/>
                  <a:pt x="367534" y="783772"/>
                  <a:pt x="367534" y="783772"/>
                </a:cubicBezTo>
                <a:cubicBezTo>
                  <a:pt x="365539" y="783772"/>
                  <a:pt x="361551" y="789755"/>
                  <a:pt x="357562" y="789755"/>
                </a:cubicBezTo>
                <a:cubicBezTo>
                  <a:pt x="355567" y="789755"/>
                  <a:pt x="353573" y="787761"/>
                  <a:pt x="353573" y="787761"/>
                </a:cubicBezTo>
                <a:cubicBezTo>
                  <a:pt x="353573" y="785767"/>
                  <a:pt x="357562" y="779784"/>
                  <a:pt x="357562" y="779784"/>
                </a:cubicBezTo>
                <a:cubicBezTo>
                  <a:pt x="357562" y="777789"/>
                  <a:pt x="361551" y="775795"/>
                  <a:pt x="363545" y="775795"/>
                </a:cubicBezTo>
                <a:cubicBezTo>
                  <a:pt x="365539" y="773801"/>
                  <a:pt x="369528" y="769812"/>
                  <a:pt x="369528" y="769812"/>
                </a:cubicBezTo>
                <a:cubicBezTo>
                  <a:pt x="369528" y="769812"/>
                  <a:pt x="369528" y="767818"/>
                  <a:pt x="369528" y="763829"/>
                </a:cubicBezTo>
                <a:cubicBezTo>
                  <a:pt x="369528" y="761835"/>
                  <a:pt x="369528" y="755852"/>
                  <a:pt x="371523" y="757846"/>
                </a:cubicBezTo>
                <a:cubicBezTo>
                  <a:pt x="373517" y="757846"/>
                  <a:pt x="377506" y="759840"/>
                  <a:pt x="377506" y="761835"/>
                </a:cubicBezTo>
                <a:cubicBezTo>
                  <a:pt x="379500" y="763829"/>
                  <a:pt x="381495" y="765823"/>
                  <a:pt x="383489" y="767818"/>
                </a:cubicBezTo>
                <a:cubicBezTo>
                  <a:pt x="385484" y="767818"/>
                  <a:pt x="389473" y="767818"/>
                  <a:pt x="387478" y="765823"/>
                </a:cubicBezTo>
                <a:cubicBezTo>
                  <a:pt x="387478" y="763829"/>
                  <a:pt x="385484" y="761835"/>
                  <a:pt x="385484" y="761835"/>
                </a:cubicBezTo>
                <a:cubicBezTo>
                  <a:pt x="385484" y="759840"/>
                  <a:pt x="385484" y="757846"/>
                  <a:pt x="387478" y="759840"/>
                </a:cubicBezTo>
                <a:cubicBezTo>
                  <a:pt x="389473" y="759840"/>
                  <a:pt x="391467" y="761835"/>
                  <a:pt x="395456" y="763829"/>
                </a:cubicBezTo>
                <a:cubicBezTo>
                  <a:pt x="397450" y="763829"/>
                  <a:pt x="399445" y="765823"/>
                  <a:pt x="401439" y="765823"/>
                </a:cubicBezTo>
                <a:cubicBezTo>
                  <a:pt x="405428" y="765823"/>
                  <a:pt x="411411" y="765823"/>
                  <a:pt x="413406" y="765823"/>
                </a:cubicBezTo>
                <a:cubicBezTo>
                  <a:pt x="415400" y="765823"/>
                  <a:pt x="421383" y="765823"/>
                  <a:pt x="421383" y="763829"/>
                </a:cubicBezTo>
                <a:cubicBezTo>
                  <a:pt x="421383" y="763829"/>
                  <a:pt x="421383" y="761835"/>
                  <a:pt x="421383" y="759840"/>
                </a:cubicBezTo>
                <a:cubicBezTo>
                  <a:pt x="421383" y="757846"/>
                  <a:pt x="421383" y="753857"/>
                  <a:pt x="423378" y="751863"/>
                </a:cubicBezTo>
                <a:cubicBezTo>
                  <a:pt x="423378" y="749869"/>
                  <a:pt x="427367" y="749869"/>
                  <a:pt x="427367" y="747874"/>
                </a:cubicBezTo>
                <a:cubicBezTo>
                  <a:pt x="427367" y="747874"/>
                  <a:pt x="427367" y="745880"/>
                  <a:pt x="425372" y="745880"/>
                </a:cubicBezTo>
                <a:cubicBezTo>
                  <a:pt x="423378" y="743886"/>
                  <a:pt x="421383" y="743886"/>
                  <a:pt x="421383" y="741891"/>
                </a:cubicBezTo>
                <a:cubicBezTo>
                  <a:pt x="423378" y="741891"/>
                  <a:pt x="427367" y="739897"/>
                  <a:pt x="427367" y="737903"/>
                </a:cubicBezTo>
                <a:cubicBezTo>
                  <a:pt x="429361" y="735908"/>
                  <a:pt x="429361" y="733914"/>
                  <a:pt x="429361" y="733914"/>
                </a:cubicBezTo>
                <a:cubicBezTo>
                  <a:pt x="429361" y="731920"/>
                  <a:pt x="429361" y="731920"/>
                  <a:pt x="431356" y="729925"/>
                </a:cubicBezTo>
                <a:cubicBezTo>
                  <a:pt x="433350" y="729925"/>
                  <a:pt x="435344" y="727931"/>
                  <a:pt x="437339" y="727931"/>
                </a:cubicBezTo>
                <a:cubicBezTo>
                  <a:pt x="437339" y="727931"/>
                  <a:pt x="439333" y="725937"/>
                  <a:pt x="437339" y="723942"/>
                </a:cubicBezTo>
                <a:cubicBezTo>
                  <a:pt x="435344" y="723942"/>
                  <a:pt x="433350" y="725937"/>
                  <a:pt x="431356" y="725937"/>
                </a:cubicBezTo>
                <a:cubicBezTo>
                  <a:pt x="431356" y="725937"/>
                  <a:pt x="429361" y="725937"/>
                  <a:pt x="427367" y="725937"/>
                </a:cubicBezTo>
                <a:cubicBezTo>
                  <a:pt x="427367" y="723942"/>
                  <a:pt x="425372" y="719954"/>
                  <a:pt x="425372" y="717959"/>
                </a:cubicBezTo>
                <a:cubicBezTo>
                  <a:pt x="427367" y="717959"/>
                  <a:pt x="427367" y="711976"/>
                  <a:pt x="427367" y="709982"/>
                </a:cubicBezTo>
                <a:cubicBezTo>
                  <a:pt x="427367" y="707988"/>
                  <a:pt x="429361" y="707988"/>
                  <a:pt x="429361" y="705993"/>
                </a:cubicBezTo>
                <a:cubicBezTo>
                  <a:pt x="431356" y="705993"/>
                  <a:pt x="433350" y="703999"/>
                  <a:pt x="433350" y="702005"/>
                </a:cubicBezTo>
                <a:cubicBezTo>
                  <a:pt x="433350" y="700010"/>
                  <a:pt x="433350" y="700010"/>
                  <a:pt x="435344" y="700010"/>
                </a:cubicBezTo>
                <a:cubicBezTo>
                  <a:pt x="437339" y="700010"/>
                  <a:pt x="441328" y="700010"/>
                  <a:pt x="443322" y="700010"/>
                </a:cubicBezTo>
                <a:cubicBezTo>
                  <a:pt x="443322" y="698016"/>
                  <a:pt x="445317" y="696022"/>
                  <a:pt x="445317" y="696022"/>
                </a:cubicBezTo>
                <a:cubicBezTo>
                  <a:pt x="447311" y="696022"/>
                  <a:pt x="449305" y="694027"/>
                  <a:pt x="449305" y="692033"/>
                </a:cubicBezTo>
                <a:cubicBezTo>
                  <a:pt x="447311" y="692033"/>
                  <a:pt x="445317" y="692033"/>
                  <a:pt x="443322" y="692033"/>
                </a:cubicBezTo>
                <a:cubicBezTo>
                  <a:pt x="443322" y="692033"/>
                  <a:pt x="441328" y="692033"/>
                  <a:pt x="439333" y="690039"/>
                </a:cubicBezTo>
                <a:cubicBezTo>
                  <a:pt x="439333" y="690039"/>
                  <a:pt x="439333" y="688044"/>
                  <a:pt x="439333" y="686050"/>
                </a:cubicBezTo>
                <a:cubicBezTo>
                  <a:pt x="441328" y="686050"/>
                  <a:pt x="441328" y="684056"/>
                  <a:pt x="443322" y="684056"/>
                </a:cubicBezTo>
                <a:cubicBezTo>
                  <a:pt x="445317" y="684056"/>
                  <a:pt x="447311" y="686050"/>
                  <a:pt x="449305" y="686050"/>
                </a:cubicBezTo>
                <a:cubicBezTo>
                  <a:pt x="449305" y="684056"/>
                  <a:pt x="451300" y="684056"/>
                  <a:pt x="451300" y="682061"/>
                </a:cubicBezTo>
                <a:cubicBezTo>
                  <a:pt x="449305" y="682061"/>
                  <a:pt x="447311" y="680067"/>
                  <a:pt x="445317" y="680067"/>
                </a:cubicBezTo>
                <a:cubicBezTo>
                  <a:pt x="445317" y="678073"/>
                  <a:pt x="441328" y="678073"/>
                  <a:pt x="443322" y="678073"/>
                </a:cubicBezTo>
                <a:cubicBezTo>
                  <a:pt x="445317" y="676078"/>
                  <a:pt x="449305" y="676078"/>
                  <a:pt x="449305" y="674084"/>
                </a:cubicBezTo>
                <a:cubicBezTo>
                  <a:pt x="451300" y="674084"/>
                  <a:pt x="451300" y="674084"/>
                  <a:pt x="451300" y="672090"/>
                </a:cubicBezTo>
                <a:cubicBezTo>
                  <a:pt x="451300" y="672090"/>
                  <a:pt x="453294" y="668101"/>
                  <a:pt x="451300" y="668101"/>
                </a:cubicBezTo>
                <a:cubicBezTo>
                  <a:pt x="449305" y="666107"/>
                  <a:pt x="447311" y="666107"/>
                  <a:pt x="445317" y="668101"/>
                </a:cubicBezTo>
                <a:cubicBezTo>
                  <a:pt x="445317" y="670095"/>
                  <a:pt x="439333" y="674084"/>
                  <a:pt x="439333" y="674084"/>
                </a:cubicBezTo>
                <a:cubicBezTo>
                  <a:pt x="437339" y="676078"/>
                  <a:pt x="433350" y="678073"/>
                  <a:pt x="433350" y="676078"/>
                </a:cubicBezTo>
                <a:cubicBezTo>
                  <a:pt x="431356" y="676078"/>
                  <a:pt x="431356" y="676078"/>
                  <a:pt x="431356" y="674084"/>
                </a:cubicBezTo>
                <a:cubicBezTo>
                  <a:pt x="433350" y="674084"/>
                  <a:pt x="435344" y="672090"/>
                  <a:pt x="437339" y="672090"/>
                </a:cubicBezTo>
                <a:cubicBezTo>
                  <a:pt x="437339" y="670095"/>
                  <a:pt x="439333" y="670095"/>
                  <a:pt x="437339" y="668101"/>
                </a:cubicBezTo>
                <a:cubicBezTo>
                  <a:pt x="437339" y="666107"/>
                  <a:pt x="433350" y="668101"/>
                  <a:pt x="433350" y="668101"/>
                </a:cubicBezTo>
                <a:cubicBezTo>
                  <a:pt x="431356" y="668101"/>
                  <a:pt x="429361" y="668101"/>
                  <a:pt x="427367" y="670095"/>
                </a:cubicBezTo>
                <a:cubicBezTo>
                  <a:pt x="427367" y="670095"/>
                  <a:pt x="425372" y="674084"/>
                  <a:pt x="425372" y="674084"/>
                </a:cubicBezTo>
                <a:cubicBezTo>
                  <a:pt x="423378" y="674084"/>
                  <a:pt x="417395" y="672090"/>
                  <a:pt x="417395" y="672090"/>
                </a:cubicBezTo>
                <a:cubicBezTo>
                  <a:pt x="417395" y="672090"/>
                  <a:pt x="413406" y="670095"/>
                  <a:pt x="411411" y="670095"/>
                </a:cubicBezTo>
                <a:cubicBezTo>
                  <a:pt x="411411" y="670095"/>
                  <a:pt x="407422" y="670095"/>
                  <a:pt x="407422" y="670095"/>
                </a:cubicBezTo>
                <a:cubicBezTo>
                  <a:pt x="405428" y="670095"/>
                  <a:pt x="405428" y="672090"/>
                  <a:pt x="403434" y="670095"/>
                </a:cubicBezTo>
                <a:cubicBezTo>
                  <a:pt x="401439" y="668101"/>
                  <a:pt x="401439" y="668101"/>
                  <a:pt x="399445" y="666107"/>
                </a:cubicBezTo>
                <a:cubicBezTo>
                  <a:pt x="399445" y="666107"/>
                  <a:pt x="397450" y="666107"/>
                  <a:pt x="395456" y="666107"/>
                </a:cubicBezTo>
                <a:cubicBezTo>
                  <a:pt x="393461" y="664112"/>
                  <a:pt x="391467" y="664112"/>
                  <a:pt x="389473" y="664112"/>
                </a:cubicBezTo>
                <a:cubicBezTo>
                  <a:pt x="389473" y="662118"/>
                  <a:pt x="387478" y="662118"/>
                  <a:pt x="385484" y="662118"/>
                </a:cubicBezTo>
                <a:cubicBezTo>
                  <a:pt x="383489" y="660124"/>
                  <a:pt x="381495" y="660124"/>
                  <a:pt x="379500" y="660124"/>
                </a:cubicBezTo>
                <a:cubicBezTo>
                  <a:pt x="377506" y="658130"/>
                  <a:pt x="375512" y="658130"/>
                  <a:pt x="375512" y="658130"/>
                </a:cubicBezTo>
                <a:cubicBezTo>
                  <a:pt x="373517" y="658130"/>
                  <a:pt x="369528" y="658130"/>
                  <a:pt x="367534" y="658130"/>
                </a:cubicBezTo>
                <a:cubicBezTo>
                  <a:pt x="367534" y="658130"/>
                  <a:pt x="365539" y="656135"/>
                  <a:pt x="365539" y="654141"/>
                </a:cubicBezTo>
                <a:cubicBezTo>
                  <a:pt x="365539" y="654141"/>
                  <a:pt x="365539" y="652147"/>
                  <a:pt x="363545" y="652147"/>
                </a:cubicBezTo>
                <a:cubicBezTo>
                  <a:pt x="363545" y="650152"/>
                  <a:pt x="363545" y="650152"/>
                  <a:pt x="361551" y="648158"/>
                </a:cubicBezTo>
                <a:cubicBezTo>
                  <a:pt x="361551" y="648158"/>
                  <a:pt x="357562" y="648158"/>
                  <a:pt x="357562" y="646164"/>
                </a:cubicBezTo>
                <a:cubicBezTo>
                  <a:pt x="355567" y="646164"/>
                  <a:pt x="355567" y="646164"/>
                  <a:pt x="355567" y="644169"/>
                </a:cubicBezTo>
                <a:cubicBezTo>
                  <a:pt x="353573" y="642175"/>
                  <a:pt x="353573" y="638186"/>
                  <a:pt x="357562" y="638186"/>
                </a:cubicBezTo>
                <a:cubicBezTo>
                  <a:pt x="357562" y="638186"/>
                  <a:pt x="361551" y="636192"/>
                  <a:pt x="361551" y="636192"/>
                </a:cubicBezTo>
                <a:cubicBezTo>
                  <a:pt x="363545" y="636192"/>
                  <a:pt x="363545" y="636192"/>
                  <a:pt x="365539" y="636192"/>
                </a:cubicBezTo>
                <a:cubicBezTo>
                  <a:pt x="367534" y="634198"/>
                  <a:pt x="369528" y="632203"/>
                  <a:pt x="371523" y="634198"/>
                </a:cubicBezTo>
                <a:cubicBezTo>
                  <a:pt x="373517" y="636192"/>
                  <a:pt x="373517" y="638186"/>
                  <a:pt x="373517" y="636192"/>
                </a:cubicBezTo>
                <a:cubicBezTo>
                  <a:pt x="375512" y="636192"/>
                  <a:pt x="377506" y="636192"/>
                  <a:pt x="377506" y="636192"/>
                </a:cubicBezTo>
                <a:cubicBezTo>
                  <a:pt x="379500" y="634198"/>
                  <a:pt x="381495" y="634198"/>
                  <a:pt x="383489" y="636192"/>
                </a:cubicBezTo>
                <a:cubicBezTo>
                  <a:pt x="385484" y="636192"/>
                  <a:pt x="389473" y="638186"/>
                  <a:pt x="389473" y="638186"/>
                </a:cubicBezTo>
                <a:cubicBezTo>
                  <a:pt x="391467" y="636192"/>
                  <a:pt x="395456" y="636192"/>
                  <a:pt x="397450" y="636192"/>
                </a:cubicBezTo>
                <a:cubicBezTo>
                  <a:pt x="399445" y="636192"/>
                  <a:pt x="401439" y="638186"/>
                  <a:pt x="403434" y="640181"/>
                </a:cubicBezTo>
                <a:cubicBezTo>
                  <a:pt x="403434" y="640181"/>
                  <a:pt x="407422" y="644169"/>
                  <a:pt x="407422" y="644169"/>
                </a:cubicBezTo>
                <a:cubicBezTo>
                  <a:pt x="407422" y="644169"/>
                  <a:pt x="411411" y="646164"/>
                  <a:pt x="411411" y="648158"/>
                </a:cubicBezTo>
                <a:cubicBezTo>
                  <a:pt x="413406" y="648158"/>
                  <a:pt x="415400" y="652147"/>
                  <a:pt x="419389" y="652147"/>
                </a:cubicBezTo>
                <a:cubicBezTo>
                  <a:pt x="421383" y="654141"/>
                  <a:pt x="425372" y="656135"/>
                  <a:pt x="427367" y="656135"/>
                </a:cubicBezTo>
                <a:cubicBezTo>
                  <a:pt x="429361" y="656135"/>
                  <a:pt x="431356" y="658130"/>
                  <a:pt x="433350" y="658130"/>
                </a:cubicBezTo>
                <a:cubicBezTo>
                  <a:pt x="435344" y="658130"/>
                  <a:pt x="441328" y="658130"/>
                  <a:pt x="443322" y="658130"/>
                </a:cubicBezTo>
                <a:cubicBezTo>
                  <a:pt x="443322" y="658130"/>
                  <a:pt x="449305" y="658130"/>
                  <a:pt x="449305" y="656135"/>
                </a:cubicBezTo>
                <a:cubicBezTo>
                  <a:pt x="451300" y="652147"/>
                  <a:pt x="451300" y="650152"/>
                  <a:pt x="449305" y="648158"/>
                </a:cubicBezTo>
                <a:cubicBezTo>
                  <a:pt x="449305" y="646164"/>
                  <a:pt x="449305" y="640181"/>
                  <a:pt x="447311" y="638186"/>
                </a:cubicBezTo>
                <a:cubicBezTo>
                  <a:pt x="447311" y="636192"/>
                  <a:pt x="445317" y="636192"/>
                  <a:pt x="445317" y="636192"/>
                </a:cubicBezTo>
                <a:cubicBezTo>
                  <a:pt x="443322" y="634198"/>
                  <a:pt x="443322" y="632203"/>
                  <a:pt x="443322" y="632203"/>
                </a:cubicBezTo>
                <a:cubicBezTo>
                  <a:pt x="443322" y="630209"/>
                  <a:pt x="443322" y="628215"/>
                  <a:pt x="441328" y="628215"/>
                </a:cubicBezTo>
                <a:cubicBezTo>
                  <a:pt x="439333" y="626220"/>
                  <a:pt x="435344" y="630209"/>
                  <a:pt x="433350" y="628215"/>
                </a:cubicBezTo>
                <a:cubicBezTo>
                  <a:pt x="433350" y="628215"/>
                  <a:pt x="431356" y="628215"/>
                  <a:pt x="431356" y="628215"/>
                </a:cubicBezTo>
                <a:cubicBezTo>
                  <a:pt x="431356" y="626220"/>
                  <a:pt x="431356" y="624226"/>
                  <a:pt x="431356" y="624226"/>
                </a:cubicBezTo>
                <a:cubicBezTo>
                  <a:pt x="431356" y="624226"/>
                  <a:pt x="429361" y="624226"/>
                  <a:pt x="431356" y="622232"/>
                </a:cubicBezTo>
                <a:cubicBezTo>
                  <a:pt x="431356" y="620237"/>
                  <a:pt x="433350" y="620237"/>
                  <a:pt x="433350" y="618243"/>
                </a:cubicBezTo>
                <a:cubicBezTo>
                  <a:pt x="433350" y="618243"/>
                  <a:pt x="429361" y="616249"/>
                  <a:pt x="427367" y="618243"/>
                </a:cubicBezTo>
                <a:cubicBezTo>
                  <a:pt x="425372" y="618243"/>
                  <a:pt x="417395" y="622232"/>
                  <a:pt x="415400" y="622232"/>
                </a:cubicBezTo>
                <a:cubicBezTo>
                  <a:pt x="413406" y="622232"/>
                  <a:pt x="411411" y="618243"/>
                  <a:pt x="415400" y="616249"/>
                </a:cubicBezTo>
                <a:cubicBezTo>
                  <a:pt x="417395" y="616249"/>
                  <a:pt x="419389" y="616249"/>
                  <a:pt x="419389" y="614254"/>
                </a:cubicBezTo>
                <a:cubicBezTo>
                  <a:pt x="421383" y="612260"/>
                  <a:pt x="423378" y="610266"/>
                  <a:pt x="423378" y="608271"/>
                </a:cubicBezTo>
                <a:cubicBezTo>
                  <a:pt x="425372" y="606277"/>
                  <a:pt x="427367" y="606277"/>
                  <a:pt x="427367" y="606277"/>
                </a:cubicBezTo>
                <a:cubicBezTo>
                  <a:pt x="429361" y="604283"/>
                  <a:pt x="429361" y="602288"/>
                  <a:pt x="429361" y="602288"/>
                </a:cubicBezTo>
                <a:cubicBezTo>
                  <a:pt x="429361" y="602288"/>
                  <a:pt x="425372" y="600294"/>
                  <a:pt x="425372" y="602288"/>
                </a:cubicBezTo>
                <a:cubicBezTo>
                  <a:pt x="423378" y="602288"/>
                  <a:pt x="417395" y="604283"/>
                  <a:pt x="417395" y="606277"/>
                </a:cubicBezTo>
                <a:cubicBezTo>
                  <a:pt x="415400" y="606277"/>
                  <a:pt x="409417" y="612260"/>
                  <a:pt x="407422" y="612260"/>
                </a:cubicBezTo>
                <a:cubicBezTo>
                  <a:pt x="405428" y="612260"/>
                  <a:pt x="403434" y="610266"/>
                  <a:pt x="401439" y="610266"/>
                </a:cubicBezTo>
                <a:cubicBezTo>
                  <a:pt x="399445" y="608271"/>
                  <a:pt x="397450" y="608271"/>
                  <a:pt x="399445" y="606277"/>
                </a:cubicBezTo>
                <a:cubicBezTo>
                  <a:pt x="399445" y="606277"/>
                  <a:pt x="401439" y="602288"/>
                  <a:pt x="403434" y="602288"/>
                </a:cubicBezTo>
                <a:cubicBezTo>
                  <a:pt x="405428" y="600294"/>
                  <a:pt x="415400" y="598300"/>
                  <a:pt x="419389" y="598300"/>
                </a:cubicBezTo>
                <a:cubicBezTo>
                  <a:pt x="423378" y="598300"/>
                  <a:pt x="425372" y="596305"/>
                  <a:pt x="425372" y="596305"/>
                </a:cubicBezTo>
                <a:cubicBezTo>
                  <a:pt x="427367" y="594311"/>
                  <a:pt x="429361" y="592317"/>
                  <a:pt x="427367" y="590322"/>
                </a:cubicBezTo>
                <a:cubicBezTo>
                  <a:pt x="425372" y="590322"/>
                  <a:pt x="423378" y="590322"/>
                  <a:pt x="421383" y="592317"/>
                </a:cubicBezTo>
                <a:cubicBezTo>
                  <a:pt x="419389" y="594311"/>
                  <a:pt x="415400" y="596305"/>
                  <a:pt x="413406" y="596305"/>
                </a:cubicBezTo>
                <a:cubicBezTo>
                  <a:pt x="411411" y="596305"/>
                  <a:pt x="407422" y="594311"/>
                  <a:pt x="405428" y="594311"/>
                </a:cubicBezTo>
                <a:cubicBezTo>
                  <a:pt x="405428" y="594311"/>
                  <a:pt x="399445" y="598300"/>
                  <a:pt x="397450" y="600294"/>
                </a:cubicBezTo>
                <a:cubicBezTo>
                  <a:pt x="395456" y="600294"/>
                  <a:pt x="391467" y="602288"/>
                  <a:pt x="389473" y="602288"/>
                </a:cubicBezTo>
                <a:cubicBezTo>
                  <a:pt x="389473" y="602288"/>
                  <a:pt x="391467" y="598300"/>
                  <a:pt x="391467" y="596305"/>
                </a:cubicBezTo>
                <a:cubicBezTo>
                  <a:pt x="393461" y="594311"/>
                  <a:pt x="395456" y="590322"/>
                  <a:pt x="399445" y="588328"/>
                </a:cubicBezTo>
                <a:cubicBezTo>
                  <a:pt x="401439" y="588328"/>
                  <a:pt x="403434" y="584339"/>
                  <a:pt x="403434" y="582345"/>
                </a:cubicBezTo>
                <a:cubicBezTo>
                  <a:pt x="405428" y="582345"/>
                  <a:pt x="405428" y="578356"/>
                  <a:pt x="405428" y="578356"/>
                </a:cubicBezTo>
                <a:cubicBezTo>
                  <a:pt x="403434" y="578356"/>
                  <a:pt x="401439" y="580351"/>
                  <a:pt x="401439" y="580351"/>
                </a:cubicBezTo>
                <a:cubicBezTo>
                  <a:pt x="401439" y="580351"/>
                  <a:pt x="397450" y="584339"/>
                  <a:pt x="395456" y="586334"/>
                </a:cubicBezTo>
                <a:cubicBezTo>
                  <a:pt x="391467" y="586334"/>
                  <a:pt x="391467" y="586334"/>
                  <a:pt x="391467" y="584339"/>
                </a:cubicBezTo>
                <a:cubicBezTo>
                  <a:pt x="391467" y="582345"/>
                  <a:pt x="391467" y="576362"/>
                  <a:pt x="391467" y="574368"/>
                </a:cubicBezTo>
                <a:cubicBezTo>
                  <a:pt x="389473" y="572373"/>
                  <a:pt x="387478" y="568385"/>
                  <a:pt x="385484" y="568385"/>
                </a:cubicBezTo>
                <a:cubicBezTo>
                  <a:pt x="383489" y="568385"/>
                  <a:pt x="381495" y="568385"/>
                  <a:pt x="381495" y="572373"/>
                </a:cubicBezTo>
                <a:cubicBezTo>
                  <a:pt x="383489" y="576362"/>
                  <a:pt x="387478" y="580351"/>
                  <a:pt x="387478" y="582345"/>
                </a:cubicBezTo>
                <a:cubicBezTo>
                  <a:pt x="387478" y="584339"/>
                  <a:pt x="387478" y="592317"/>
                  <a:pt x="385484" y="594311"/>
                </a:cubicBezTo>
                <a:cubicBezTo>
                  <a:pt x="383489" y="594311"/>
                  <a:pt x="381495" y="592317"/>
                  <a:pt x="377506" y="592317"/>
                </a:cubicBezTo>
                <a:cubicBezTo>
                  <a:pt x="375512" y="592317"/>
                  <a:pt x="371523" y="592317"/>
                  <a:pt x="371523" y="594311"/>
                </a:cubicBezTo>
                <a:cubicBezTo>
                  <a:pt x="371523" y="596305"/>
                  <a:pt x="369528" y="598300"/>
                  <a:pt x="373517" y="600294"/>
                </a:cubicBezTo>
                <a:cubicBezTo>
                  <a:pt x="375512" y="602288"/>
                  <a:pt x="377506" y="604283"/>
                  <a:pt x="375512" y="606277"/>
                </a:cubicBezTo>
                <a:cubicBezTo>
                  <a:pt x="373517" y="608271"/>
                  <a:pt x="365539" y="608271"/>
                  <a:pt x="365539" y="608271"/>
                </a:cubicBezTo>
                <a:cubicBezTo>
                  <a:pt x="365539" y="608271"/>
                  <a:pt x="345595" y="608271"/>
                  <a:pt x="343601" y="608271"/>
                </a:cubicBezTo>
                <a:cubicBezTo>
                  <a:pt x="339612" y="606277"/>
                  <a:pt x="337617" y="600294"/>
                  <a:pt x="337617" y="598300"/>
                </a:cubicBezTo>
                <a:cubicBezTo>
                  <a:pt x="337617" y="596305"/>
                  <a:pt x="337617" y="592317"/>
                  <a:pt x="339612" y="590322"/>
                </a:cubicBezTo>
                <a:cubicBezTo>
                  <a:pt x="339612" y="590322"/>
                  <a:pt x="349584" y="586334"/>
                  <a:pt x="349584" y="584339"/>
                </a:cubicBezTo>
                <a:cubicBezTo>
                  <a:pt x="349584" y="582345"/>
                  <a:pt x="345595" y="582345"/>
                  <a:pt x="343601" y="580351"/>
                </a:cubicBezTo>
                <a:cubicBezTo>
                  <a:pt x="341606" y="580351"/>
                  <a:pt x="339612" y="580351"/>
                  <a:pt x="339612" y="578356"/>
                </a:cubicBezTo>
                <a:cubicBezTo>
                  <a:pt x="341606" y="576362"/>
                  <a:pt x="349584" y="576362"/>
                  <a:pt x="349584" y="574368"/>
                </a:cubicBezTo>
                <a:cubicBezTo>
                  <a:pt x="349584" y="572373"/>
                  <a:pt x="349584" y="570379"/>
                  <a:pt x="349584" y="568385"/>
                </a:cubicBezTo>
                <a:cubicBezTo>
                  <a:pt x="351578" y="568385"/>
                  <a:pt x="355567" y="568385"/>
                  <a:pt x="357562" y="566390"/>
                </a:cubicBezTo>
                <a:cubicBezTo>
                  <a:pt x="361551" y="566390"/>
                  <a:pt x="363545" y="556419"/>
                  <a:pt x="363545" y="556419"/>
                </a:cubicBezTo>
                <a:cubicBezTo>
                  <a:pt x="363545" y="554424"/>
                  <a:pt x="363545" y="548441"/>
                  <a:pt x="363545" y="546447"/>
                </a:cubicBezTo>
                <a:cubicBezTo>
                  <a:pt x="363545" y="546447"/>
                  <a:pt x="361551" y="544453"/>
                  <a:pt x="363545" y="542458"/>
                </a:cubicBezTo>
                <a:cubicBezTo>
                  <a:pt x="363545" y="538470"/>
                  <a:pt x="363545" y="538470"/>
                  <a:pt x="365539" y="536475"/>
                </a:cubicBezTo>
                <a:cubicBezTo>
                  <a:pt x="365539" y="534481"/>
                  <a:pt x="365539" y="526503"/>
                  <a:pt x="363545" y="524509"/>
                </a:cubicBezTo>
                <a:cubicBezTo>
                  <a:pt x="361551" y="524509"/>
                  <a:pt x="357562" y="520520"/>
                  <a:pt x="357562" y="520520"/>
                </a:cubicBezTo>
                <a:cubicBezTo>
                  <a:pt x="357562" y="520520"/>
                  <a:pt x="355567" y="520520"/>
                  <a:pt x="355567" y="518526"/>
                </a:cubicBezTo>
                <a:cubicBezTo>
                  <a:pt x="355567" y="516532"/>
                  <a:pt x="357562" y="514537"/>
                  <a:pt x="357562" y="512543"/>
                </a:cubicBezTo>
                <a:cubicBezTo>
                  <a:pt x="355567" y="510549"/>
                  <a:pt x="351578" y="510549"/>
                  <a:pt x="351578" y="508554"/>
                </a:cubicBezTo>
                <a:cubicBezTo>
                  <a:pt x="351578" y="506560"/>
                  <a:pt x="345595" y="500577"/>
                  <a:pt x="347590" y="500577"/>
                </a:cubicBezTo>
                <a:cubicBezTo>
                  <a:pt x="347590" y="498583"/>
                  <a:pt x="349584" y="498583"/>
                  <a:pt x="349584" y="498583"/>
                </a:cubicBezTo>
                <a:cubicBezTo>
                  <a:pt x="349584" y="498583"/>
                  <a:pt x="351578" y="498583"/>
                  <a:pt x="351578" y="496588"/>
                </a:cubicBezTo>
                <a:cubicBezTo>
                  <a:pt x="351578" y="494594"/>
                  <a:pt x="347590" y="494594"/>
                  <a:pt x="345595" y="492600"/>
                </a:cubicBezTo>
                <a:cubicBezTo>
                  <a:pt x="345595" y="492600"/>
                  <a:pt x="345595" y="484622"/>
                  <a:pt x="345595" y="484622"/>
                </a:cubicBezTo>
                <a:cubicBezTo>
                  <a:pt x="345595" y="482628"/>
                  <a:pt x="341606" y="480634"/>
                  <a:pt x="339612" y="480634"/>
                </a:cubicBezTo>
                <a:cubicBezTo>
                  <a:pt x="339612" y="478639"/>
                  <a:pt x="337617" y="476645"/>
                  <a:pt x="339612" y="476645"/>
                </a:cubicBezTo>
                <a:cubicBezTo>
                  <a:pt x="339612" y="476645"/>
                  <a:pt x="343601" y="474651"/>
                  <a:pt x="343601" y="472656"/>
                </a:cubicBezTo>
                <a:cubicBezTo>
                  <a:pt x="345595" y="470662"/>
                  <a:pt x="343601" y="466674"/>
                  <a:pt x="341606" y="466674"/>
                </a:cubicBezTo>
                <a:cubicBezTo>
                  <a:pt x="339612" y="464679"/>
                  <a:pt x="329639" y="462685"/>
                  <a:pt x="327645" y="462685"/>
                </a:cubicBezTo>
                <a:cubicBezTo>
                  <a:pt x="327645" y="462685"/>
                  <a:pt x="321662" y="462685"/>
                  <a:pt x="319667" y="462685"/>
                </a:cubicBezTo>
                <a:cubicBezTo>
                  <a:pt x="319667" y="460691"/>
                  <a:pt x="317673" y="458696"/>
                  <a:pt x="319667" y="458696"/>
                </a:cubicBezTo>
                <a:cubicBezTo>
                  <a:pt x="321662" y="456702"/>
                  <a:pt x="327645" y="456702"/>
                  <a:pt x="329639" y="458696"/>
                </a:cubicBezTo>
                <a:cubicBezTo>
                  <a:pt x="331634" y="458696"/>
                  <a:pt x="339612" y="460691"/>
                  <a:pt x="341606" y="460691"/>
                </a:cubicBezTo>
                <a:cubicBezTo>
                  <a:pt x="343601" y="460691"/>
                  <a:pt x="343601" y="462685"/>
                  <a:pt x="343601" y="460691"/>
                </a:cubicBezTo>
                <a:cubicBezTo>
                  <a:pt x="343601" y="458696"/>
                  <a:pt x="339612" y="456702"/>
                  <a:pt x="339612" y="456702"/>
                </a:cubicBezTo>
                <a:cubicBezTo>
                  <a:pt x="339612" y="456702"/>
                  <a:pt x="335623" y="458696"/>
                  <a:pt x="333628" y="456702"/>
                </a:cubicBezTo>
                <a:cubicBezTo>
                  <a:pt x="331634" y="454708"/>
                  <a:pt x="329639" y="454708"/>
                  <a:pt x="329639" y="452713"/>
                </a:cubicBezTo>
                <a:cubicBezTo>
                  <a:pt x="329639" y="450719"/>
                  <a:pt x="325650" y="448725"/>
                  <a:pt x="323656" y="446730"/>
                </a:cubicBezTo>
                <a:cubicBezTo>
                  <a:pt x="323656" y="446730"/>
                  <a:pt x="327645" y="442742"/>
                  <a:pt x="327645" y="442742"/>
                </a:cubicBezTo>
                <a:cubicBezTo>
                  <a:pt x="321662" y="440747"/>
                  <a:pt x="321662" y="440747"/>
                  <a:pt x="321662" y="440747"/>
                </a:cubicBezTo>
                <a:cubicBezTo>
                  <a:pt x="321662" y="440747"/>
                  <a:pt x="319667" y="438753"/>
                  <a:pt x="319667" y="436759"/>
                </a:cubicBezTo>
                <a:cubicBezTo>
                  <a:pt x="319667" y="434764"/>
                  <a:pt x="317673" y="432770"/>
                  <a:pt x="315678" y="432770"/>
                </a:cubicBezTo>
                <a:cubicBezTo>
                  <a:pt x="313684" y="432770"/>
                  <a:pt x="309695" y="434764"/>
                  <a:pt x="307701" y="434764"/>
                </a:cubicBezTo>
                <a:cubicBezTo>
                  <a:pt x="305706" y="432770"/>
                  <a:pt x="303712" y="432770"/>
                  <a:pt x="305706" y="428781"/>
                </a:cubicBezTo>
                <a:cubicBezTo>
                  <a:pt x="307701" y="426787"/>
                  <a:pt x="307701" y="422798"/>
                  <a:pt x="305706" y="420804"/>
                </a:cubicBezTo>
                <a:cubicBezTo>
                  <a:pt x="303712" y="420804"/>
                  <a:pt x="303712" y="420804"/>
                  <a:pt x="301717" y="418810"/>
                </a:cubicBezTo>
                <a:cubicBezTo>
                  <a:pt x="297728" y="418810"/>
                  <a:pt x="295734" y="420804"/>
                  <a:pt x="295734" y="418810"/>
                </a:cubicBezTo>
                <a:cubicBezTo>
                  <a:pt x="295734" y="416815"/>
                  <a:pt x="297728" y="414821"/>
                  <a:pt x="299723" y="414821"/>
                </a:cubicBezTo>
                <a:cubicBezTo>
                  <a:pt x="303712" y="414821"/>
                  <a:pt x="305706" y="414821"/>
                  <a:pt x="305706" y="412827"/>
                </a:cubicBezTo>
                <a:cubicBezTo>
                  <a:pt x="307701" y="410832"/>
                  <a:pt x="305706" y="402855"/>
                  <a:pt x="305706" y="400861"/>
                </a:cubicBezTo>
                <a:cubicBezTo>
                  <a:pt x="303712" y="398866"/>
                  <a:pt x="305706" y="398866"/>
                  <a:pt x="301717" y="398866"/>
                </a:cubicBezTo>
                <a:cubicBezTo>
                  <a:pt x="301717" y="398866"/>
                  <a:pt x="295734" y="400861"/>
                  <a:pt x="291745" y="400861"/>
                </a:cubicBezTo>
                <a:cubicBezTo>
                  <a:pt x="287756" y="400861"/>
                  <a:pt x="285762" y="398866"/>
                  <a:pt x="285762" y="398866"/>
                </a:cubicBezTo>
                <a:cubicBezTo>
                  <a:pt x="285762" y="396872"/>
                  <a:pt x="285762" y="392883"/>
                  <a:pt x="283767" y="392883"/>
                </a:cubicBezTo>
                <a:cubicBezTo>
                  <a:pt x="281773" y="390889"/>
                  <a:pt x="275790" y="392883"/>
                  <a:pt x="273795" y="394878"/>
                </a:cubicBezTo>
                <a:cubicBezTo>
                  <a:pt x="273795" y="396872"/>
                  <a:pt x="269806" y="398866"/>
                  <a:pt x="267812" y="396872"/>
                </a:cubicBezTo>
                <a:cubicBezTo>
                  <a:pt x="267812" y="394878"/>
                  <a:pt x="269806" y="388895"/>
                  <a:pt x="267812" y="386900"/>
                </a:cubicBezTo>
                <a:cubicBezTo>
                  <a:pt x="267812" y="386900"/>
                  <a:pt x="259834" y="378923"/>
                  <a:pt x="257840" y="380917"/>
                </a:cubicBezTo>
                <a:cubicBezTo>
                  <a:pt x="255845" y="380917"/>
                  <a:pt x="255845" y="382912"/>
                  <a:pt x="253851" y="382912"/>
                </a:cubicBezTo>
                <a:cubicBezTo>
                  <a:pt x="251857" y="382912"/>
                  <a:pt x="247868" y="378923"/>
                  <a:pt x="243879" y="378923"/>
                </a:cubicBezTo>
                <a:cubicBezTo>
                  <a:pt x="239890" y="378923"/>
                  <a:pt x="237896" y="380917"/>
                  <a:pt x="233907" y="378923"/>
                </a:cubicBezTo>
                <a:cubicBezTo>
                  <a:pt x="231912" y="378923"/>
                  <a:pt x="225929" y="376929"/>
                  <a:pt x="223935" y="376929"/>
                </a:cubicBezTo>
                <a:cubicBezTo>
                  <a:pt x="221940" y="376929"/>
                  <a:pt x="217951" y="374934"/>
                  <a:pt x="217951" y="374934"/>
                </a:cubicBezTo>
                <a:cubicBezTo>
                  <a:pt x="217951" y="374934"/>
                  <a:pt x="215957" y="376929"/>
                  <a:pt x="213962" y="374934"/>
                </a:cubicBezTo>
                <a:cubicBezTo>
                  <a:pt x="211968" y="374934"/>
                  <a:pt x="211968" y="370946"/>
                  <a:pt x="209974" y="370946"/>
                </a:cubicBezTo>
                <a:cubicBezTo>
                  <a:pt x="209974" y="370946"/>
                  <a:pt x="205985" y="368951"/>
                  <a:pt x="205985" y="368951"/>
                </a:cubicBezTo>
                <a:cubicBezTo>
                  <a:pt x="205985" y="366957"/>
                  <a:pt x="205985" y="364963"/>
                  <a:pt x="203990" y="364963"/>
                </a:cubicBezTo>
                <a:cubicBezTo>
                  <a:pt x="201996" y="364963"/>
                  <a:pt x="200001" y="368951"/>
                  <a:pt x="200001" y="368951"/>
                </a:cubicBezTo>
                <a:cubicBezTo>
                  <a:pt x="200001" y="370946"/>
                  <a:pt x="198007" y="372940"/>
                  <a:pt x="196013" y="372940"/>
                </a:cubicBezTo>
                <a:cubicBezTo>
                  <a:pt x="194018" y="372940"/>
                  <a:pt x="192024" y="376929"/>
                  <a:pt x="192024" y="376929"/>
                </a:cubicBezTo>
                <a:cubicBezTo>
                  <a:pt x="192024" y="376929"/>
                  <a:pt x="192024" y="378923"/>
                  <a:pt x="188035" y="378923"/>
                </a:cubicBezTo>
                <a:cubicBezTo>
                  <a:pt x="186040" y="378923"/>
                  <a:pt x="184046" y="378923"/>
                  <a:pt x="184046" y="376929"/>
                </a:cubicBezTo>
                <a:cubicBezTo>
                  <a:pt x="184046" y="374934"/>
                  <a:pt x="186040" y="372940"/>
                  <a:pt x="186040" y="370946"/>
                </a:cubicBezTo>
                <a:cubicBezTo>
                  <a:pt x="186040" y="370946"/>
                  <a:pt x="186040" y="366957"/>
                  <a:pt x="184046" y="366957"/>
                </a:cubicBezTo>
                <a:cubicBezTo>
                  <a:pt x="182051" y="366957"/>
                  <a:pt x="180057" y="368951"/>
                  <a:pt x="178063" y="368951"/>
                </a:cubicBezTo>
                <a:cubicBezTo>
                  <a:pt x="178063" y="370946"/>
                  <a:pt x="172079" y="374934"/>
                  <a:pt x="172079" y="374934"/>
                </a:cubicBezTo>
                <a:cubicBezTo>
                  <a:pt x="172079" y="374934"/>
                  <a:pt x="170085" y="374934"/>
                  <a:pt x="168090" y="374934"/>
                </a:cubicBezTo>
                <a:cubicBezTo>
                  <a:pt x="168090" y="376929"/>
                  <a:pt x="168090" y="380917"/>
                  <a:pt x="166096" y="380917"/>
                </a:cubicBezTo>
                <a:cubicBezTo>
                  <a:pt x="164102" y="382912"/>
                  <a:pt x="158118" y="382912"/>
                  <a:pt x="158118" y="382912"/>
                </a:cubicBezTo>
                <a:cubicBezTo>
                  <a:pt x="158118" y="382912"/>
                  <a:pt x="156124" y="384906"/>
                  <a:pt x="154129" y="384906"/>
                </a:cubicBezTo>
                <a:cubicBezTo>
                  <a:pt x="152135" y="382912"/>
                  <a:pt x="152135" y="382912"/>
                  <a:pt x="152135" y="380917"/>
                </a:cubicBezTo>
                <a:cubicBezTo>
                  <a:pt x="152135" y="378923"/>
                  <a:pt x="152135" y="376929"/>
                  <a:pt x="154129" y="376929"/>
                </a:cubicBezTo>
                <a:cubicBezTo>
                  <a:pt x="154129" y="374934"/>
                  <a:pt x="154129" y="372940"/>
                  <a:pt x="154129" y="372940"/>
                </a:cubicBezTo>
                <a:cubicBezTo>
                  <a:pt x="152135" y="370946"/>
                  <a:pt x="146152" y="370946"/>
                  <a:pt x="146152" y="370946"/>
                </a:cubicBezTo>
                <a:cubicBezTo>
                  <a:pt x="146152" y="370946"/>
                  <a:pt x="142163" y="370946"/>
                  <a:pt x="140168" y="370946"/>
                </a:cubicBezTo>
                <a:cubicBezTo>
                  <a:pt x="138174" y="372940"/>
                  <a:pt x="138174" y="376929"/>
                  <a:pt x="136180" y="376929"/>
                </a:cubicBezTo>
                <a:cubicBezTo>
                  <a:pt x="134185" y="378923"/>
                  <a:pt x="130196" y="376929"/>
                  <a:pt x="128202" y="374934"/>
                </a:cubicBezTo>
                <a:cubicBezTo>
                  <a:pt x="126207" y="372940"/>
                  <a:pt x="124213" y="372940"/>
                  <a:pt x="122219" y="372940"/>
                </a:cubicBezTo>
                <a:cubicBezTo>
                  <a:pt x="120224" y="372940"/>
                  <a:pt x="114241" y="368951"/>
                  <a:pt x="114241" y="370946"/>
                </a:cubicBezTo>
                <a:cubicBezTo>
                  <a:pt x="114241" y="372940"/>
                  <a:pt x="114241" y="376929"/>
                  <a:pt x="118230" y="378923"/>
                </a:cubicBezTo>
                <a:cubicBezTo>
                  <a:pt x="120224" y="382912"/>
                  <a:pt x="128202" y="384906"/>
                  <a:pt x="130196" y="386900"/>
                </a:cubicBezTo>
                <a:cubicBezTo>
                  <a:pt x="134185" y="386900"/>
                  <a:pt x="134185" y="390889"/>
                  <a:pt x="130196" y="390889"/>
                </a:cubicBezTo>
                <a:cubicBezTo>
                  <a:pt x="126207" y="390889"/>
                  <a:pt x="124213" y="388895"/>
                  <a:pt x="122219" y="386900"/>
                </a:cubicBezTo>
                <a:cubicBezTo>
                  <a:pt x="120224" y="386900"/>
                  <a:pt x="116235" y="386900"/>
                  <a:pt x="116235" y="386900"/>
                </a:cubicBezTo>
                <a:cubicBezTo>
                  <a:pt x="114241" y="386900"/>
                  <a:pt x="108258" y="386900"/>
                  <a:pt x="106263" y="384906"/>
                </a:cubicBezTo>
                <a:cubicBezTo>
                  <a:pt x="104269" y="384906"/>
                  <a:pt x="100280" y="382912"/>
                  <a:pt x="98285" y="382912"/>
                </a:cubicBezTo>
                <a:cubicBezTo>
                  <a:pt x="96291" y="382912"/>
                  <a:pt x="90308" y="382912"/>
                  <a:pt x="90308" y="382912"/>
                </a:cubicBezTo>
                <a:cubicBezTo>
                  <a:pt x="86319" y="382912"/>
                  <a:pt x="82330" y="380917"/>
                  <a:pt x="80336" y="378923"/>
                </a:cubicBezTo>
                <a:cubicBezTo>
                  <a:pt x="78341" y="378923"/>
                  <a:pt x="72358" y="374934"/>
                  <a:pt x="72358" y="374934"/>
                </a:cubicBezTo>
                <a:cubicBezTo>
                  <a:pt x="72358" y="374934"/>
                  <a:pt x="72358" y="378923"/>
                  <a:pt x="72358" y="378923"/>
                </a:cubicBezTo>
                <a:cubicBezTo>
                  <a:pt x="72358" y="380917"/>
                  <a:pt x="62386" y="372940"/>
                  <a:pt x="62386" y="372940"/>
                </a:cubicBezTo>
                <a:cubicBezTo>
                  <a:pt x="62386" y="372940"/>
                  <a:pt x="58397" y="368951"/>
                  <a:pt x="58397" y="366957"/>
                </a:cubicBezTo>
                <a:cubicBezTo>
                  <a:pt x="58397" y="364963"/>
                  <a:pt x="60391" y="364963"/>
                  <a:pt x="64380" y="366957"/>
                </a:cubicBezTo>
                <a:cubicBezTo>
                  <a:pt x="68369" y="366957"/>
                  <a:pt x="74352" y="362968"/>
                  <a:pt x="76347" y="362968"/>
                </a:cubicBezTo>
                <a:cubicBezTo>
                  <a:pt x="78341" y="360974"/>
                  <a:pt x="80336" y="360974"/>
                  <a:pt x="82330" y="358980"/>
                </a:cubicBezTo>
                <a:cubicBezTo>
                  <a:pt x="84324" y="356985"/>
                  <a:pt x="84324" y="356985"/>
                  <a:pt x="88313" y="356985"/>
                </a:cubicBezTo>
                <a:cubicBezTo>
                  <a:pt x="92302" y="356985"/>
                  <a:pt x="96291" y="356985"/>
                  <a:pt x="96291" y="356985"/>
                </a:cubicBezTo>
                <a:cubicBezTo>
                  <a:pt x="98285" y="354991"/>
                  <a:pt x="100280" y="352997"/>
                  <a:pt x="100280" y="351002"/>
                </a:cubicBezTo>
                <a:cubicBezTo>
                  <a:pt x="100280" y="349008"/>
                  <a:pt x="96291" y="347014"/>
                  <a:pt x="94297" y="349008"/>
                </a:cubicBezTo>
                <a:cubicBezTo>
                  <a:pt x="92302" y="351002"/>
                  <a:pt x="88313" y="352997"/>
                  <a:pt x="86319" y="352997"/>
                </a:cubicBezTo>
                <a:cubicBezTo>
                  <a:pt x="84324" y="352997"/>
                  <a:pt x="80336" y="352997"/>
                  <a:pt x="78341" y="352997"/>
                </a:cubicBezTo>
                <a:cubicBezTo>
                  <a:pt x="76347" y="352997"/>
                  <a:pt x="70363" y="354991"/>
                  <a:pt x="68369" y="354991"/>
                </a:cubicBezTo>
                <a:cubicBezTo>
                  <a:pt x="66375" y="354991"/>
                  <a:pt x="66375" y="352997"/>
                  <a:pt x="64380" y="352997"/>
                </a:cubicBezTo>
                <a:cubicBezTo>
                  <a:pt x="62386" y="352997"/>
                  <a:pt x="56402" y="352997"/>
                  <a:pt x="56402" y="351002"/>
                </a:cubicBezTo>
                <a:cubicBezTo>
                  <a:pt x="56402" y="349008"/>
                  <a:pt x="54408" y="347014"/>
                  <a:pt x="58397" y="345019"/>
                </a:cubicBezTo>
                <a:cubicBezTo>
                  <a:pt x="62386" y="345019"/>
                  <a:pt x="62386" y="343025"/>
                  <a:pt x="64380" y="341031"/>
                </a:cubicBezTo>
                <a:cubicBezTo>
                  <a:pt x="64380" y="341031"/>
                  <a:pt x="64380" y="337042"/>
                  <a:pt x="62386" y="337042"/>
                </a:cubicBezTo>
                <a:cubicBezTo>
                  <a:pt x="58397" y="335048"/>
                  <a:pt x="56402" y="339036"/>
                  <a:pt x="54408" y="341031"/>
                </a:cubicBezTo>
                <a:cubicBezTo>
                  <a:pt x="54408" y="343025"/>
                  <a:pt x="52414" y="345019"/>
                  <a:pt x="50419" y="347014"/>
                </a:cubicBezTo>
                <a:cubicBezTo>
                  <a:pt x="48425" y="349008"/>
                  <a:pt x="46430" y="351002"/>
                  <a:pt x="44436" y="351002"/>
                </a:cubicBezTo>
                <a:cubicBezTo>
                  <a:pt x="44436" y="352997"/>
                  <a:pt x="40447" y="352997"/>
                  <a:pt x="38452" y="349008"/>
                </a:cubicBezTo>
                <a:cubicBezTo>
                  <a:pt x="36458" y="349008"/>
                  <a:pt x="38452" y="345019"/>
                  <a:pt x="36458" y="345019"/>
                </a:cubicBezTo>
                <a:cubicBezTo>
                  <a:pt x="34464" y="343025"/>
                  <a:pt x="30475" y="347014"/>
                  <a:pt x="28480" y="345019"/>
                </a:cubicBezTo>
                <a:cubicBezTo>
                  <a:pt x="24491" y="341031"/>
                  <a:pt x="22497" y="339036"/>
                  <a:pt x="24491" y="337042"/>
                </a:cubicBezTo>
                <a:cubicBezTo>
                  <a:pt x="24491" y="335048"/>
                  <a:pt x="34464" y="335048"/>
                  <a:pt x="36458" y="335048"/>
                </a:cubicBezTo>
                <a:cubicBezTo>
                  <a:pt x="36458" y="333053"/>
                  <a:pt x="36458" y="329065"/>
                  <a:pt x="38452" y="327070"/>
                </a:cubicBezTo>
                <a:cubicBezTo>
                  <a:pt x="40447" y="327070"/>
                  <a:pt x="46430" y="327070"/>
                  <a:pt x="50419" y="327070"/>
                </a:cubicBezTo>
                <a:cubicBezTo>
                  <a:pt x="54408" y="329065"/>
                  <a:pt x="56402" y="331059"/>
                  <a:pt x="58397" y="329065"/>
                </a:cubicBezTo>
                <a:cubicBezTo>
                  <a:pt x="62386" y="329065"/>
                  <a:pt x="62386" y="327070"/>
                  <a:pt x="66375" y="327070"/>
                </a:cubicBezTo>
                <a:cubicBezTo>
                  <a:pt x="68369" y="327070"/>
                  <a:pt x="70363" y="327070"/>
                  <a:pt x="72358" y="327070"/>
                </a:cubicBezTo>
                <a:cubicBezTo>
                  <a:pt x="74352" y="325076"/>
                  <a:pt x="78341" y="325076"/>
                  <a:pt x="82330" y="325076"/>
                </a:cubicBezTo>
                <a:cubicBezTo>
                  <a:pt x="84324" y="325076"/>
                  <a:pt x="92302" y="327070"/>
                  <a:pt x="94297" y="327070"/>
                </a:cubicBezTo>
                <a:cubicBezTo>
                  <a:pt x="98285" y="329065"/>
                  <a:pt x="100280" y="329065"/>
                  <a:pt x="104269" y="329065"/>
                </a:cubicBezTo>
                <a:cubicBezTo>
                  <a:pt x="108258" y="327070"/>
                  <a:pt x="108258" y="325076"/>
                  <a:pt x="112246" y="325076"/>
                </a:cubicBezTo>
                <a:cubicBezTo>
                  <a:pt x="116235" y="327070"/>
                  <a:pt x="118230" y="327070"/>
                  <a:pt x="122219" y="329065"/>
                </a:cubicBezTo>
                <a:cubicBezTo>
                  <a:pt x="124213" y="331059"/>
                  <a:pt x="136180" y="331059"/>
                  <a:pt x="136180" y="331059"/>
                </a:cubicBezTo>
                <a:cubicBezTo>
                  <a:pt x="136180" y="331059"/>
                  <a:pt x="142163" y="329065"/>
                  <a:pt x="144157" y="329065"/>
                </a:cubicBezTo>
                <a:cubicBezTo>
                  <a:pt x="144157" y="331059"/>
                  <a:pt x="148146" y="333053"/>
                  <a:pt x="150141" y="331059"/>
                </a:cubicBezTo>
                <a:cubicBezTo>
                  <a:pt x="150141" y="331059"/>
                  <a:pt x="154129" y="329065"/>
                  <a:pt x="156124" y="327070"/>
                </a:cubicBezTo>
                <a:cubicBezTo>
                  <a:pt x="158118" y="327070"/>
                  <a:pt x="156124" y="323082"/>
                  <a:pt x="154129" y="323082"/>
                </a:cubicBezTo>
                <a:cubicBezTo>
                  <a:pt x="154129" y="323082"/>
                  <a:pt x="144157" y="321087"/>
                  <a:pt x="142163" y="319093"/>
                </a:cubicBezTo>
                <a:cubicBezTo>
                  <a:pt x="140168" y="319093"/>
                  <a:pt x="138174" y="317099"/>
                  <a:pt x="138174" y="315104"/>
                </a:cubicBezTo>
                <a:cubicBezTo>
                  <a:pt x="138174" y="313110"/>
                  <a:pt x="144157" y="313110"/>
                  <a:pt x="148146" y="313110"/>
                </a:cubicBezTo>
                <a:cubicBezTo>
                  <a:pt x="152135" y="313110"/>
                  <a:pt x="154129" y="313110"/>
                  <a:pt x="154129" y="311116"/>
                </a:cubicBezTo>
                <a:cubicBezTo>
                  <a:pt x="152135" y="307127"/>
                  <a:pt x="148146" y="303138"/>
                  <a:pt x="150141" y="303138"/>
                </a:cubicBezTo>
                <a:cubicBezTo>
                  <a:pt x="150141" y="299150"/>
                  <a:pt x="152135" y="295161"/>
                  <a:pt x="148146" y="295161"/>
                </a:cubicBezTo>
                <a:cubicBezTo>
                  <a:pt x="144157" y="295161"/>
                  <a:pt x="140168" y="297155"/>
                  <a:pt x="138174" y="297155"/>
                </a:cubicBezTo>
                <a:cubicBezTo>
                  <a:pt x="134185" y="295161"/>
                  <a:pt x="132191" y="293167"/>
                  <a:pt x="130196" y="293167"/>
                </a:cubicBezTo>
                <a:cubicBezTo>
                  <a:pt x="126207" y="293167"/>
                  <a:pt x="126207" y="299150"/>
                  <a:pt x="126207" y="301144"/>
                </a:cubicBezTo>
                <a:cubicBezTo>
                  <a:pt x="124213" y="303138"/>
                  <a:pt x="118230" y="307127"/>
                  <a:pt x="116235" y="307127"/>
                </a:cubicBezTo>
                <a:cubicBezTo>
                  <a:pt x="114241" y="307127"/>
                  <a:pt x="106263" y="311116"/>
                  <a:pt x="104269" y="311116"/>
                </a:cubicBezTo>
                <a:cubicBezTo>
                  <a:pt x="100280" y="309121"/>
                  <a:pt x="98285" y="311116"/>
                  <a:pt x="98285" y="309121"/>
                </a:cubicBezTo>
                <a:cubicBezTo>
                  <a:pt x="98285" y="307127"/>
                  <a:pt x="96291" y="303138"/>
                  <a:pt x="96291" y="301144"/>
                </a:cubicBezTo>
                <a:cubicBezTo>
                  <a:pt x="96291" y="299150"/>
                  <a:pt x="96291" y="297155"/>
                  <a:pt x="94297" y="299150"/>
                </a:cubicBezTo>
                <a:cubicBezTo>
                  <a:pt x="90308" y="299150"/>
                  <a:pt x="90308" y="303138"/>
                  <a:pt x="90308" y="305133"/>
                </a:cubicBezTo>
                <a:cubicBezTo>
                  <a:pt x="90308" y="307127"/>
                  <a:pt x="88313" y="309121"/>
                  <a:pt x="86319" y="309121"/>
                </a:cubicBezTo>
                <a:cubicBezTo>
                  <a:pt x="84324" y="311116"/>
                  <a:pt x="80336" y="311116"/>
                  <a:pt x="80336" y="311116"/>
                </a:cubicBezTo>
                <a:cubicBezTo>
                  <a:pt x="80336" y="311116"/>
                  <a:pt x="76347" y="313110"/>
                  <a:pt x="74352" y="313110"/>
                </a:cubicBezTo>
                <a:cubicBezTo>
                  <a:pt x="74352" y="311116"/>
                  <a:pt x="70363" y="309121"/>
                  <a:pt x="70363" y="311116"/>
                </a:cubicBezTo>
                <a:cubicBezTo>
                  <a:pt x="70363" y="311116"/>
                  <a:pt x="72358" y="315104"/>
                  <a:pt x="70363" y="315104"/>
                </a:cubicBezTo>
                <a:cubicBezTo>
                  <a:pt x="70363" y="315104"/>
                  <a:pt x="68369" y="313110"/>
                  <a:pt x="66375" y="313110"/>
                </a:cubicBezTo>
                <a:cubicBezTo>
                  <a:pt x="64380" y="311116"/>
                  <a:pt x="62386" y="313110"/>
                  <a:pt x="58397" y="313110"/>
                </a:cubicBezTo>
                <a:cubicBezTo>
                  <a:pt x="54408" y="313110"/>
                  <a:pt x="52414" y="313110"/>
                  <a:pt x="54408" y="311116"/>
                </a:cubicBezTo>
                <a:cubicBezTo>
                  <a:pt x="54408" y="309121"/>
                  <a:pt x="58397" y="307127"/>
                  <a:pt x="58397" y="307127"/>
                </a:cubicBezTo>
                <a:cubicBezTo>
                  <a:pt x="58397" y="307127"/>
                  <a:pt x="60391" y="307127"/>
                  <a:pt x="56402" y="307127"/>
                </a:cubicBezTo>
                <a:cubicBezTo>
                  <a:pt x="52414" y="305133"/>
                  <a:pt x="46430" y="305133"/>
                  <a:pt x="46430" y="305133"/>
                </a:cubicBezTo>
                <a:cubicBezTo>
                  <a:pt x="44436" y="303138"/>
                  <a:pt x="42441" y="303138"/>
                  <a:pt x="44436" y="303138"/>
                </a:cubicBezTo>
                <a:cubicBezTo>
                  <a:pt x="46430" y="301144"/>
                  <a:pt x="50419" y="299150"/>
                  <a:pt x="52414" y="297155"/>
                </a:cubicBezTo>
                <a:cubicBezTo>
                  <a:pt x="56402" y="297155"/>
                  <a:pt x="58397" y="297155"/>
                  <a:pt x="60391" y="297155"/>
                </a:cubicBezTo>
                <a:cubicBezTo>
                  <a:pt x="60391" y="295161"/>
                  <a:pt x="56402" y="291172"/>
                  <a:pt x="54408" y="293167"/>
                </a:cubicBezTo>
                <a:cubicBezTo>
                  <a:pt x="52414" y="293167"/>
                  <a:pt x="50419" y="293167"/>
                  <a:pt x="48425" y="293167"/>
                </a:cubicBezTo>
                <a:cubicBezTo>
                  <a:pt x="46430" y="293167"/>
                  <a:pt x="44436" y="297155"/>
                  <a:pt x="42441" y="297155"/>
                </a:cubicBezTo>
                <a:cubicBezTo>
                  <a:pt x="40447" y="299150"/>
                  <a:pt x="38452" y="299150"/>
                  <a:pt x="36458" y="299150"/>
                </a:cubicBezTo>
                <a:cubicBezTo>
                  <a:pt x="34464" y="299150"/>
                  <a:pt x="30475" y="299150"/>
                  <a:pt x="28480" y="297155"/>
                </a:cubicBezTo>
                <a:cubicBezTo>
                  <a:pt x="28480" y="297155"/>
                  <a:pt x="28480" y="295161"/>
                  <a:pt x="26486" y="295161"/>
                </a:cubicBezTo>
                <a:cubicBezTo>
                  <a:pt x="24491" y="295161"/>
                  <a:pt x="20503" y="291172"/>
                  <a:pt x="20503" y="291172"/>
                </a:cubicBezTo>
                <a:cubicBezTo>
                  <a:pt x="20503" y="291172"/>
                  <a:pt x="16514" y="293167"/>
                  <a:pt x="14519" y="291172"/>
                </a:cubicBezTo>
                <a:cubicBezTo>
                  <a:pt x="12525" y="291172"/>
                  <a:pt x="10530" y="287184"/>
                  <a:pt x="8536" y="287184"/>
                </a:cubicBezTo>
                <a:cubicBezTo>
                  <a:pt x="8536" y="287184"/>
                  <a:pt x="4547" y="289178"/>
                  <a:pt x="4547" y="285189"/>
                </a:cubicBezTo>
                <a:cubicBezTo>
                  <a:pt x="2553" y="283195"/>
                  <a:pt x="2553" y="281201"/>
                  <a:pt x="2553" y="281201"/>
                </a:cubicBezTo>
                <a:cubicBezTo>
                  <a:pt x="2553" y="279206"/>
                  <a:pt x="4547" y="277212"/>
                  <a:pt x="2553" y="277212"/>
                </a:cubicBezTo>
                <a:cubicBezTo>
                  <a:pt x="2553" y="275218"/>
                  <a:pt x="-1436" y="277212"/>
                  <a:pt x="558" y="273223"/>
                </a:cubicBezTo>
                <a:cubicBezTo>
                  <a:pt x="558" y="269235"/>
                  <a:pt x="4547" y="273223"/>
                  <a:pt x="4547" y="269235"/>
                </a:cubicBezTo>
                <a:cubicBezTo>
                  <a:pt x="4547" y="267240"/>
                  <a:pt x="4547" y="267240"/>
                  <a:pt x="4547" y="263252"/>
                </a:cubicBezTo>
                <a:cubicBezTo>
                  <a:pt x="4547" y="263252"/>
                  <a:pt x="4547" y="259263"/>
                  <a:pt x="6542" y="259263"/>
                </a:cubicBezTo>
                <a:cubicBezTo>
                  <a:pt x="8536" y="257269"/>
                  <a:pt x="10530" y="255274"/>
                  <a:pt x="12525" y="259263"/>
                </a:cubicBezTo>
                <a:cubicBezTo>
                  <a:pt x="16514" y="261257"/>
                  <a:pt x="18508" y="261257"/>
                  <a:pt x="22497" y="261257"/>
                </a:cubicBezTo>
                <a:cubicBezTo>
                  <a:pt x="26486" y="259263"/>
                  <a:pt x="28480" y="255274"/>
                  <a:pt x="30475" y="255274"/>
                </a:cubicBezTo>
                <a:cubicBezTo>
                  <a:pt x="34464" y="255274"/>
                  <a:pt x="36458" y="255274"/>
                  <a:pt x="40447" y="255274"/>
                </a:cubicBezTo>
                <a:cubicBezTo>
                  <a:pt x="42441" y="253280"/>
                  <a:pt x="44436" y="253280"/>
                  <a:pt x="46430" y="253280"/>
                </a:cubicBezTo>
                <a:cubicBezTo>
                  <a:pt x="48425" y="253280"/>
                  <a:pt x="52414" y="253280"/>
                  <a:pt x="56402" y="253280"/>
                </a:cubicBezTo>
                <a:cubicBezTo>
                  <a:pt x="58397" y="253280"/>
                  <a:pt x="60391" y="253280"/>
                  <a:pt x="62386" y="251286"/>
                </a:cubicBezTo>
                <a:cubicBezTo>
                  <a:pt x="64380" y="251286"/>
                  <a:pt x="68369" y="247297"/>
                  <a:pt x="72358" y="247297"/>
                </a:cubicBezTo>
                <a:cubicBezTo>
                  <a:pt x="74352" y="247297"/>
                  <a:pt x="78341" y="245303"/>
                  <a:pt x="82330" y="245303"/>
                </a:cubicBezTo>
                <a:cubicBezTo>
                  <a:pt x="86319" y="245303"/>
                  <a:pt x="92302" y="247297"/>
                  <a:pt x="94297" y="247297"/>
                </a:cubicBezTo>
                <a:cubicBezTo>
                  <a:pt x="96291" y="245303"/>
                  <a:pt x="88313" y="239320"/>
                  <a:pt x="88313" y="237325"/>
                </a:cubicBezTo>
                <a:cubicBezTo>
                  <a:pt x="88313" y="235331"/>
                  <a:pt x="88313" y="233337"/>
                  <a:pt x="90308" y="231342"/>
                </a:cubicBezTo>
                <a:cubicBezTo>
                  <a:pt x="94297" y="231342"/>
                  <a:pt x="100280" y="229348"/>
                  <a:pt x="102274" y="229348"/>
                </a:cubicBezTo>
                <a:cubicBezTo>
                  <a:pt x="104269" y="229348"/>
                  <a:pt x="108258" y="229348"/>
                  <a:pt x="110252" y="227354"/>
                </a:cubicBezTo>
                <a:cubicBezTo>
                  <a:pt x="112246" y="227354"/>
                  <a:pt x="112246" y="225359"/>
                  <a:pt x="116235" y="227354"/>
                </a:cubicBezTo>
                <a:cubicBezTo>
                  <a:pt x="120224" y="229348"/>
                  <a:pt x="122219" y="229348"/>
                  <a:pt x="124213" y="229348"/>
                </a:cubicBezTo>
                <a:cubicBezTo>
                  <a:pt x="126207" y="227354"/>
                  <a:pt x="130196" y="225359"/>
                  <a:pt x="132191" y="225359"/>
                </a:cubicBezTo>
                <a:cubicBezTo>
                  <a:pt x="134185" y="225359"/>
                  <a:pt x="138174" y="227354"/>
                  <a:pt x="138174" y="227354"/>
                </a:cubicBezTo>
                <a:cubicBezTo>
                  <a:pt x="140168" y="227354"/>
                  <a:pt x="140168" y="225359"/>
                  <a:pt x="142163" y="229348"/>
                </a:cubicBezTo>
                <a:cubicBezTo>
                  <a:pt x="146152" y="231342"/>
                  <a:pt x="146152" y="231342"/>
                  <a:pt x="150141" y="229348"/>
                </a:cubicBezTo>
                <a:cubicBezTo>
                  <a:pt x="150141" y="229348"/>
                  <a:pt x="152135" y="229348"/>
                  <a:pt x="154129" y="229348"/>
                </a:cubicBezTo>
                <a:cubicBezTo>
                  <a:pt x="154129" y="229348"/>
                  <a:pt x="158118" y="229348"/>
                  <a:pt x="158118" y="229348"/>
                </a:cubicBezTo>
                <a:cubicBezTo>
                  <a:pt x="160113" y="229348"/>
                  <a:pt x="162107" y="225359"/>
                  <a:pt x="162107" y="225359"/>
                </a:cubicBezTo>
                <a:cubicBezTo>
                  <a:pt x="162107" y="225359"/>
                  <a:pt x="168090" y="221371"/>
                  <a:pt x="168090" y="221371"/>
                </a:cubicBezTo>
                <a:cubicBezTo>
                  <a:pt x="170085" y="219376"/>
                  <a:pt x="170085" y="217382"/>
                  <a:pt x="174074" y="217382"/>
                </a:cubicBezTo>
                <a:cubicBezTo>
                  <a:pt x="176068" y="215388"/>
                  <a:pt x="188035" y="211399"/>
                  <a:pt x="188035" y="209405"/>
                </a:cubicBezTo>
                <a:cubicBezTo>
                  <a:pt x="190029" y="209405"/>
                  <a:pt x="194018" y="201427"/>
                  <a:pt x="194018" y="199433"/>
                </a:cubicBezTo>
                <a:cubicBezTo>
                  <a:pt x="194018" y="195444"/>
                  <a:pt x="192024" y="193450"/>
                  <a:pt x="194018" y="191456"/>
                </a:cubicBezTo>
                <a:cubicBezTo>
                  <a:pt x="196013" y="191456"/>
                  <a:pt x="196013" y="189461"/>
                  <a:pt x="200001" y="191456"/>
                </a:cubicBezTo>
                <a:cubicBezTo>
                  <a:pt x="203990" y="193450"/>
                  <a:pt x="205985" y="193450"/>
                  <a:pt x="205985" y="191456"/>
                </a:cubicBezTo>
                <a:cubicBezTo>
                  <a:pt x="207979" y="191456"/>
                  <a:pt x="205985" y="187467"/>
                  <a:pt x="203990" y="187467"/>
                </a:cubicBezTo>
                <a:cubicBezTo>
                  <a:pt x="201996" y="187467"/>
                  <a:pt x="196013" y="187467"/>
                  <a:pt x="196013" y="187467"/>
                </a:cubicBezTo>
                <a:cubicBezTo>
                  <a:pt x="196013" y="187467"/>
                  <a:pt x="194018" y="185473"/>
                  <a:pt x="196013" y="183478"/>
                </a:cubicBezTo>
                <a:cubicBezTo>
                  <a:pt x="196013" y="181484"/>
                  <a:pt x="200001" y="181484"/>
                  <a:pt x="201996" y="181484"/>
                </a:cubicBezTo>
                <a:cubicBezTo>
                  <a:pt x="201996" y="181484"/>
                  <a:pt x="203990" y="181484"/>
                  <a:pt x="205985" y="179490"/>
                </a:cubicBezTo>
                <a:cubicBezTo>
                  <a:pt x="205985" y="179490"/>
                  <a:pt x="205985" y="175501"/>
                  <a:pt x="207979" y="175501"/>
                </a:cubicBezTo>
                <a:cubicBezTo>
                  <a:pt x="209974" y="175501"/>
                  <a:pt x="211968" y="173507"/>
                  <a:pt x="211968" y="173507"/>
                </a:cubicBezTo>
                <a:cubicBezTo>
                  <a:pt x="211968" y="173507"/>
                  <a:pt x="215957" y="169518"/>
                  <a:pt x="211968" y="167524"/>
                </a:cubicBezTo>
                <a:cubicBezTo>
                  <a:pt x="207979" y="167524"/>
                  <a:pt x="205985" y="171512"/>
                  <a:pt x="203990" y="173507"/>
                </a:cubicBezTo>
                <a:cubicBezTo>
                  <a:pt x="201996" y="175501"/>
                  <a:pt x="196013" y="175501"/>
                  <a:pt x="192024" y="175501"/>
                </a:cubicBezTo>
                <a:cubicBezTo>
                  <a:pt x="190029" y="173507"/>
                  <a:pt x="188035" y="173507"/>
                  <a:pt x="186040" y="175501"/>
                </a:cubicBezTo>
                <a:cubicBezTo>
                  <a:pt x="184046" y="177495"/>
                  <a:pt x="184046" y="179490"/>
                  <a:pt x="180057" y="179490"/>
                </a:cubicBezTo>
                <a:cubicBezTo>
                  <a:pt x="178063" y="179490"/>
                  <a:pt x="176068" y="179490"/>
                  <a:pt x="176068" y="179490"/>
                </a:cubicBezTo>
                <a:cubicBezTo>
                  <a:pt x="174074" y="183478"/>
                  <a:pt x="172079" y="179490"/>
                  <a:pt x="168090" y="177495"/>
                </a:cubicBezTo>
                <a:cubicBezTo>
                  <a:pt x="164102" y="177495"/>
                  <a:pt x="162107" y="179490"/>
                  <a:pt x="162107" y="177495"/>
                </a:cubicBezTo>
                <a:cubicBezTo>
                  <a:pt x="162107" y="175501"/>
                  <a:pt x="164102" y="173507"/>
                  <a:pt x="162107" y="173507"/>
                </a:cubicBezTo>
                <a:cubicBezTo>
                  <a:pt x="158118" y="175501"/>
                  <a:pt x="158118" y="177495"/>
                  <a:pt x="158118" y="179490"/>
                </a:cubicBezTo>
                <a:cubicBezTo>
                  <a:pt x="158118" y="179490"/>
                  <a:pt x="152135" y="179490"/>
                  <a:pt x="150141" y="179490"/>
                </a:cubicBezTo>
                <a:cubicBezTo>
                  <a:pt x="150141" y="179490"/>
                  <a:pt x="150141" y="177495"/>
                  <a:pt x="150141" y="175501"/>
                </a:cubicBezTo>
                <a:cubicBezTo>
                  <a:pt x="148146" y="173507"/>
                  <a:pt x="146152" y="173507"/>
                  <a:pt x="144157" y="171512"/>
                </a:cubicBezTo>
                <a:cubicBezTo>
                  <a:pt x="144157" y="169518"/>
                  <a:pt x="146152" y="167524"/>
                  <a:pt x="148146" y="165529"/>
                </a:cubicBezTo>
                <a:cubicBezTo>
                  <a:pt x="150141" y="165529"/>
                  <a:pt x="158118" y="163535"/>
                  <a:pt x="158118" y="161541"/>
                </a:cubicBezTo>
                <a:cubicBezTo>
                  <a:pt x="160113" y="159546"/>
                  <a:pt x="160113" y="157552"/>
                  <a:pt x="162107" y="155558"/>
                </a:cubicBezTo>
                <a:cubicBezTo>
                  <a:pt x="164102" y="153563"/>
                  <a:pt x="166096" y="153563"/>
                  <a:pt x="168090" y="153563"/>
                </a:cubicBezTo>
                <a:cubicBezTo>
                  <a:pt x="172079" y="153563"/>
                  <a:pt x="176068" y="153563"/>
                  <a:pt x="178063" y="151569"/>
                </a:cubicBezTo>
                <a:cubicBezTo>
                  <a:pt x="180057" y="149575"/>
                  <a:pt x="176068" y="149575"/>
                  <a:pt x="180057" y="149575"/>
                </a:cubicBezTo>
                <a:cubicBezTo>
                  <a:pt x="184046" y="149575"/>
                  <a:pt x="188035" y="149575"/>
                  <a:pt x="188035" y="149575"/>
                </a:cubicBezTo>
                <a:cubicBezTo>
                  <a:pt x="192024" y="147580"/>
                  <a:pt x="192024" y="147580"/>
                  <a:pt x="194018" y="145586"/>
                </a:cubicBezTo>
                <a:cubicBezTo>
                  <a:pt x="196013" y="145586"/>
                  <a:pt x="198007" y="145586"/>
                  <a:pt x="198007" y="143592"/>
                </a:cubicBezTo>
                <a:cubicBezTo>
                  <a:pt x="200001" y="143592"/>
                  <a:pt x="201996" y="139603"/>
                  <a:pt x="203990" y="137609"/>
                </a:cubicBezTo>
                <a:cubicBezTo>
                  <a:pt x="203990" y="135614"/>
                  <a:pt x="207979" y="135614"/>
                  <a:pt x="207979" y="133620"/>
                </a:cubicBezTo>
                <a:cubicBezTo>
                  <a:pt x="209974" y="131626"/>
                  <a:pt x="209974" y="127637"/>
                  <a:pt x="209974" y="127637"/>
                </a:cubicBezTo>
                <a:cubicBezTo>
                  <a:pt x="211968" y="127637"/>
                  <a:pt x="217951" y="123648"/>
                  <a:pt x="221940" y="125643"/>
                </a:cubicBezTo>
                <a:cubicBezTo>
                  <a:pt x="227923" y="125643"/>
                  <a:pt x="229918" y="125643"/>
                  <a:pt x="231912" y="129631"/>
                </a:cubicBezTo>
                <a:cubicBezTo>
                  <a:pt x="231912" y="133620"/>
                  <a:pt x="239890" y="145586"/>
                  <a:pt x="241884" y="145586"/>
                </a:cubicBezTo>
                <a:cubicBezTo>
                  <a:pt x="243879" y="147580"/>
                  <a:pt x="243879" y="143592"/>
                  <a:pt x="243879" y="141597"/>
                </a:cubicBezTo>
                <a:cubicBezTo>
                  <a:pt x="243879" y="139603"/>
                  <a:pt x="239890" y="133620"/>
                  <a:pt x="239890" y="133620"/>
                </a:cubicBezTo>
                <a:cubicBezTo>
                  <a:pt x="239890" y="133620"/>
                  <a:pt x="239890" y="129631"/>
                  <a:pt x="239890" y="129631"/>
                </a:cubicBezTo>
                <a:cubicBezTo>
                  <a:pt x="237896" y="129631"/>
                  <a:pt x="233907" y="125643"/>
                  <a:pt x="233907" y="123648"/>
                </a:cubicBezTo>
                <a:cubicBezTo>
                  <a:pt x="233907" y="119660"/>
                  <a:pt x="235901" y="117665"/>
                  <a:pt x="237896" y="119660"/>
                </a:cubicBezTo>
                <a:cubicBezTo>
                  <a:pt x="239890" y="119660"/>
                  <a:pt x="245873" y="123648"/>
                  <a:pt x="249862" y="121654"/>
                </a:cubicBezTo>
                <a:cubicBezTo>
                  <a:pt x="251857" y="121654"/>
                  <a:pt x="255845" y="121654"/>
                  <a:pt x="255845" y="121654"/>
                </a:cubicBezTo>
                <a:cubicBezTo>
                  <a:pt x="257840" y="121654"/>
                  <a:pt x="259834" y="121654"/>
                  <a:pt x="263823" y="121654"/>
                </a:cubicBezTo>
                <a:cubicBezTo>
                  <a:pt x="265818" y="123648"/>
                  <a:pt x="269806" y="125643"/>
                  <a:pt x="271801" y="125643"/>
                </a:cubicBezTo>
                <a:cubicBezTo>
                  <a:pt x="271801" y="125643"/>
                  <a:pt x="273795" y="125643"/>
                  <a:pt x="275790" y="123648"/>
                </a:cubicBezTo>
                <a:cubicBezTo>
                  <a:pt x="275790" y="123648"/>
                  <a:pt x="277784" y="119660"/>
                  <a:pt x="277784" y="117665"/>
                </a:cubicBezTo>
                <a:cubicBezTo>
                  <a:pt x="277784" y="115671"/>
                  <a:pt x="279779" y="113677"/>
                  <a:pt x="279779" y="111682"/>
                </a:cubicBezTo>
                <a:cubicBezTo>
                  <a:pt x="279779" y="111682"/>
                  <a:pt x="285762" y="119660"/>
                  <a:pt x="285762" y="119660"/>
                </a:cubicBezTo>
                <a:cubicBezTo>
                  <a:pt x="311689" y="143592"/>
                  <a:pt x="347590" y="141597"/>
                  <a:pt x="367534" y="107694"/>
                </a:cubicBezTo>
                <a:cubicBezTo>
                  <a:pt x="367534" y="107694"/>
                  <a:pt x="373517" y="109688"/>
                  <a:pt x="373517" y="109688"/>
                </a:cubicBezTo>
                <a:cubicBezTo>
                  <a:pt x="375512" y="111682"/>
                  <a:pt x="381495" y="111682"/>
                  <a:pt x="381495" y="111682"/>
                </a:cubicBezTo>
                <a:cubicBezTo>
                  <a:pt x="381495" y="111682"/>
                  <a:pt x="383489" y="111682"/>
                  <a:pt x="383489" y="109688"/>
                </a:cubicBezTo>
                <a:cubicBezTo>
                  <a:pt x="381495" y="107694"/>
                  <a:pt x="375512" y="103705"/>
                  <a:pt x="373517" y="103705"/>
                </a:cubicBezTo>
                <a:cubicBezTo>
                  <a:pt x="371523" y="103705"/>
                  <a:pt x="369528" y="103705"/>
                  <a:pt x="369528" y="103705"/>
                </a:cubicBezTo>
                <a:cubicBezTo>
                  <a:pt x="369528" y="99717"/>
                  <a:pt x="371523" y="99717"/>
                  <a:pt x="371523" y="91739"/>
                </a:cubicBezTo>
                <a:cubicBezTo>
                  <a:pt x="373517" y="81768"/>
                  <a:pt x="371523" y="71796"/>
                  <a:pt x="367534" y="61824"/>
                </a:cubicBezTo>
                <a:cubicBezTo>
                  <a:pt x="367534" y="61824"/>
                  <a:pt x="375512" y="57836"/>
                  <a:pt x="377506" y="57836"/>
                </a:cubicBezTo>
                <a:cubicBezTo>
                  <a:pt x="377506" y="55841"/>
                  <a:pt x="381495" y="53847"/>
                  <a:pt x="381495" y="55841"/>
                </a:cubicBezTo>
                <a:cubicBezTo>
                  <a:pt x="383489" y="55841"/>
                  <a:pt x="385484" y="57836"/>
                  <a:pt x="387478" y="57836"/>
                </a:cubicBezTo>
                <a:cubicBezTo>
                  <a:pt x="387478" y="57836"/>
                  <a:pt x="389473" y="59830"/>
                  <a:pt x="391467" y="57836"/>
                </a:cubicBezTo>
                <a:cubicBezTo>
                  <a:pt x="391467" y="55841"/>
                  <a:pt x="395456" y="53847"/>
                  <a:pt x="395456" y="53847"/>
                </a:cubicBezTo>
                <a:cubicBezTo>
                  <a:pt x="395456" y="53847"/>
                  <a:pt x="397450" y="53847"/>
                  <a:pt x="399445" y="55841"/>
                </a:cubicBezTo>
                <a:cubicBezTo>
                  <a:pt x="401439" y="57836"/>
                  <a:pt x="401439" y="59830"/>
                  <a:pt x="401439" y="59830"/>
                </a:cubicBezTo>
                <a:cubicBezTo>
                  <a:pt x="403434" y="59830"/>
                  <a:pt x="405428" y="57836"/>
                  <a:pt x="405428" y="57836"/>
                </a:cubicBezTo>
                <a:cubicBezTo>
                  <a:pt x="407422" y="57836"/>
                  <a:pt x="409417" y="57836"/>
                  <a:pt x="409417" y="59830"/>
                </a:cubicBezTo>
                <a:cubicBezTo>
                  <a:pt x="409417" y="59830"/>
                  <a:pt x="413406" y="59830"/>
                  <a:pt x="415400" y="59830"/>
                </a:cubicBezTo>
                <a:cubicBezTo>
                  <a:pt x="417395" y="61824"/>
                  <a:pt x="423378" y="63819"/>
                  <a:pt x="423378" y="61824"/>
                </a:cubicBezTo>
                <a:cubicBezTo>
                  <a:pt x="425372" y="61824"/>
                  <a:pt x="425372" y="59830"/>
                  <a:pt x="425372" y="57836"/>
                </a:cubicBezTo>
                <a:cubicBezTo>
                  <a:pt x="425372" y="57836"/>
                  <a:pt x="431356" y="59830"/>
                  <a:pt x="431356" y="59830"/>
                </a:cubicBezTo>
                <a:cubicBezTo>
                  <a:pt x="433350" y="59830"/>
                  <a:pt x="437339" y="61824"/>
                  <a:pt x="441328" y="61824"/>
                </a:cubicBezTo>
                <a:cubicBezTo>
                  <a:pt x="445317" y="61824"/>
                  <a:pt x="449305" y="61824"/>
                  <a:pt x="449305" y="63819"/>
                </a:cubicBezTo>
                <a:cubicBezTo>
                  <a:pt x="449305" y="65813"/>
                  <a:pt x="449305" y="73790"/>
                  <a:pt x="449305" y="73790"/>
                </a:cubicBezTo>
                <a:cubicBezTo>
                  <a:pt x="449305" y="73790"/>
                  <a:pt x="449305" y="81768"/>
                  <a:pt x="447311" y="83762"/>
                </a:cubicBezTo>
                <a:cubicBezTo>
                  <a:pt x="447311" y="85756"/>
                  <a:pt x="445317" y="93734"/>
                  <a:pt x="443322" y="95728"/>
                </a:cubicBezTo>
                <a:cubicBezTo>
                  <a:pt x="441328" y="99717"/>
                  <a:pt x="441328" y="99717"/>
                  <a:pt x="441328" y="103705"/>
                </a:cubicBezTo>
                <a:cubicBezTo>
                  <a:pt x="441328" y="103705"/>
                  <a:pt x="441328" y="107694"/>
                  <a:pt x="443322" y="107694"/>
                </a:cubicBezTo>
                <a:cubicBezTo>
                  <a:pt x="445317" y="105700"/>
                  <a:pt x="447311" y="103705"/>
                  <a:pt x="447311" y="101711"/>
                </a:cubicBezTo>
                <a:cubicBezTo>
                  <a:pt x="447311" y="99717"/>
                  <a:pt x="451300" y="91739"/>
                  <a:pt x="451300" y="87751"/>
                </a:cubicBezTo>
                <a:cubicBezTo>
                  <a:pt x="451300" y="85756"/>
                  <a:pt x="459278" y="75785"/>
                  <a:pt x="459278" y="73790"/>
                </a:cubicBezTo>
                <a:cubicBezTo>
                  <a:pt x="461272" y="73790"/>
                  <a:pt x="461272" y="71796"/>
                  <a:pt x="463266" y="71796"/>
                </a:cubicBezTo>
                <a:cubicBezTo>
                  <a:pt x="467255" y="73790"/>
                  <a:pt x="471244" y="77779"/>
                  <a:pt x="471244" y="77779"/>
                </a:cubicBezTo>
                <a:cubicBezTo>
                  <a:pt x="471244" y="77779"/>
                  <a:pt x="481216" y="81768"/>
                  <a:pt x="483211" y="83762"/>
                </a:cubicBezTo>
                <a:cubicBezTo>
                  <a:pt x="485205" y="85756"/>
                  <a:pt x="491189" y="87751"/>
                  <a:pt x="493183" y="89745"/>
                </a:cubicBezTo>
                <a:cubicBezTo>
                  <a:pt x="495177" y="91739"/>
                  <a:pt x="501161" y="91739"/>
                  <a:pt x="503155" y="93734"/>
                </a:cubicBezTo>
                <a:cubicBezTo>
                  <a:pt x="505150" y="93734"/>
                  <a:pt x="505150" y="93734"/>
                  <a:pt x="507144" y="91739"/>
                </a:cubicBezTo>
                <a:cubicBezTo>
                  <a:pt x="507144" y="91739"/>
                  <a:pt x="505150" y="87751"/>
                  <a:pt x="505150" y="87751"/>
                </a:cubicBezTo>
                <a:cubicBezTo>
                  <a:pt x="503155" y="85756"/>
                  <a:pt x="497172" y="85756"/>
                  <a:pt x="495177" y="83762"/>
                </a:cubicBezTo>
                <a:cubicBezTo>
                  <a:pt x="493183" y="81768"/>
                  <a:pt x="493183" y="81768"/>
                  <a:pt x="493183" y="79773"/>
                </a:cubicBezTo>
                <a:cubicBezTo>
                  <a:pt x="495177" y="79773"/>
                  <a:pt x="501161" y="79773"/>
                  <a:pt x="501161" y="79773"/>
                </a:cubicBezTo>
                <a:cubicBezTo>
                  <a:pt x="505150" y="81768"/>
                  <a:pt x="513127" y="83762"/>
                  <a:pt x="515122" y="83762"/>
                </a:cubicBezTo>
                <a:cubicBezTo>
                  <a:pt x="515122" y="83762"/>
                  <a:pt x="517116" y="75785"/>
                  <a:pt x="515122" y="73790"/>
                </a:cubicBezTo>
                <a:cubicBezTo>
                  <a:pt x="513127" y="73790"/>
                  <a:pt x="509138" y="69802"/>
                  <a:pt x="509138" y="69802"/>
                </a:cubicBezTo>
                <a:cubicBezTo>
                  <a:pt x="509138" y="67807"/>
                  <a:pt x="509138" y="65813"/>
                  <a:pt x="509138" y="65813"/>
                </a:cubicBezTo>
                <a:cubicBezTo>
                  <a:pt x="507144" y="63819"/>
                  <a:pt x="505150" y="63819"/>
                  <a:pt x="503155" y="61824"/>
                </a:cubicBezTo>
                <a:cubicBezTo>
                  <a:pt x="501161" y="61824"/>
                  <a:pt x="501161" y="53847"/>
                  <a:pt x="501161" y="51853"/>
                </a:cubicBezTo>
                <a:cubicBezTo>
                  <a:pt x="501161" y="49858"/>
                  <a:pt x="501161" y="47864"/>
                  <a:pt x="503155" y="47864"/>
                </a:cubicBezTo>
                <a:cubicBezTo>
                  <a:pt x="505150" y="47864"/>
                  <a:pt x="505150" y="49858"/>
                  <a:pt x="507144" y="49858"/>
                </a:cubicBezTo>
                <a:cubicBezTo>
                  <a:pt x="509138" y="49858"/>
                  <a:pt x="511133" y="49858"/>
                  <a:pt x="511133" y="47864"/>
                </a:cubicBezTo>
                <a:cubicBezTo>
                  <a:pt x="513127" y="47864"/>
                  <a:pt x="513127" y="45870"/>
                  <a:pt x="513127" y="45870"/>
                </a:cubicBezTo>
                <a:cubicBezTo>
                  <a:pt x="515122" y="45870"/>
                  <a:pt x="517116" y="45870"/>
                  <a:pt x="517116" y="47864"/>
                </a:cubicBezTo>
                <a:cubicBezTo>
                  <a:pt x="517116" y="49858"/>
                  <a:pt x="517116" y="51853"/>
                  <a:pt x="519111" y="49858"/>
                </a:cubicBezTo>
                <a:cubicBezTo>
                  <a:pt x="521105" y="49858"/>
                  <a:pt x="521105" y="47864"/>
                  <a:pt x="523099" y="47864"/>
                </a:cubicBezTo>
                <a:cubicBezTo>
                  <a:pt x="525094" y="47864"/>
                  <a:pt x="527088" y="47864"/>
                  <a:pt x="529083" y="49858"/>
                </a:cubicBezTo>
                <a:cubicBezTo>
                  <a:pt x="531077" y="51853"/>
                  <a:pt x="537060" y="51853"/>
                  <a:pt x="539055" y="51853"/>
                </a:cubicBezTo>
                <a:cubicBezTo>
                  <a:pt x="539055" y="51853"/>
                  <a:pt x="543044" y="53847"/>
                  <a:pt x="545038" y="53847"/>
                </a:cubicBezTo>
                <a:lnTo>
                  <a:pt x="549824" y="55898"/>
                </a:lnTo>
                <a:lnTo>
                  <a:pt x="549824" y="53294"/>
                </a:lnTo>
                <a:cubicBezTo>
                  <a:pt x="549824" y="51253"/>
                  <a:pt x="551808" y="49212"/>
                  <a:pt x="553792" y="49212"/>
                </a:cubicBezTo>
                <a:cubicBezTo>
                  <a:pt x="553792" y="49212"/>
                  <a:pt x="557761" y="51253"/>
                  <a:pt x="557761" y="53294"/>
                </a:cubicBezTo>
                <a:cubicBezTo>
                  <a:pt x="559745" y="55335"/>
                  <a:pt x="561730" y="57376"/>
                  <a:pt x="561730" y="59417"/>
                </a:cubicBezTo>
                <a:lnTo>
                  <a:pt x="561003" y="60164"/>
                </a:lnTo>
                <a:lnTo>
                  <a:pt x="570966" y="61824"/>
                </a:lnTo>
                <a:cubicBezTo>
                  <a:pt x="572960" y="63819"/>
                  <a:pt x="576949" y="65813"/>
                  <a:pt x="576949" y="65813"/>
                </a:cubicBezTo>
                <a:cubicBezTo>
                  <a:pt x="578943" y="65813"/>
                  <a:pt x="582932" y="67807"/>
                  <a:pt x="584927" y="67807"/>
                </a:cubicBezTo>
                <a:cubicBezTo>
                  <a:pt x="586921" y="65813"/>
                  <a:pt x="588916" y="65813"/>
                  <a:pt x="592905" y="67807"/>
                </a:cubicBezTo>
                <a:cubicBezTo>
                  <a:pt x="594899" y="67807"/>
                  <a:pt x="598888" y="69802"/>
                  <a:pt x="600882" y="73790"/>
                </a:cubicBezTo>
                <a:cubicBezTo>
                  <a:pt x="602877" y="75785"/>
                  <a:pt x="602877" y="81768"/>
                  <a:pt x="604871" y="81768"/>
                </a:cubicBezTo>
                <a:cubicBezTo>
                  <a:pt x="604871" y="83762"/>
                  <a:pt x="610854" y="87751"/>
                  <a:pt x="610854" y="87751"/>
                </a:cubicBezTo>
                <a:cubicBezTo>
                  <a:pt x="614843" y="87751"/>
                  <a:pt x="618832" y="89745"/>
                  <a:pt x="618832" y="89745"/>
                </a:cubicBezTo>
                <a:cubicBezTo>
                  <a:pt x="620827" y="91739"/>
                  <a:pt x="622821" y="91739"/>
                  <a:pt x="626810" y="93734"/>
                </a:cubicBezTo>
                <a:cubicBezTo>
                  <a:pt x="628804" y="93734"/>
                  <a:pt x="630799" y="93734"/>
                  <a:pt x="632793" y="93734"/>
                </a:cubicBezTo>
                <a:cubicBezTo>
                  <a:pt x="634788" y="91739"/>
                  <a:pt x="636782" y="91739"/>
                  <a:pt x="634788" y="89745"/>
                </a:cubicBezTo>
                <a:cubicBezTo>
                  <a:pt x="634788" y="87751"/>
                  <a:pt x="632793" y="83762"/>
                  <a:pt x="630799" y="81768"/>
                </a:cubicBezTo>
                <a:cubicBezTo>
                  <a:pt x="628804" y="79773"/>
                  <a:pt x="626810" y="77779"/>
                  <a:pt x="626810" y="75785"/>
                </a:cubicBezTo>
                <a:cubicBezTo>
                  <a:pt x="626810" y="73790"/>
                  <a:pt x="624815" y="71796"/>
                  <a:pt x="626810" y="71796"/>
                </a:cubicBezTo>
                <a:cubicBezTo>
                  <a:pt x="626810" y="69802"/>
                  <a:pt x="630799" y="69802"/>
                  <a:pt x="632793" y="71796"/>
                </a:cubicBezTo>
                <a:cubicBezTo>
                  <a:pt x="632793" y="73790"/>
                  <a:pt x="640771" y="75785"/>
                  <a:pt x="642765" y="73790"/>
                </a:cubicBezTo>
                <a:cubicBezTo>
                  <a:pt x="644760" y="73790"/>
                  <a:pt x="644760" y="73790"/>
                  <a:pt x="644760" y="71796"/>
                </a:cubicBezTo>
                <a:cubicBezTo>
                  <a:pt x="644760" y="69802"/>
                  <a:pt x="640771" y="69802"/>
                  <a:pt x="638776" y="69802"/>
                </a:cubicBezTo>
                <a:cubicBezTo>
                  <a:pt x="636782" y="69802"/>
                  <a:pt x="630799" y="67807"/>
                  <a:pt x="628804" y="67807"/>
                </a:cubicBezTo>
                <a:cubicBezTo>
                  <a:pt x="628804" y="65813"/>
                  <a:pt x="626810" y="61824"/>
                  <a:pt x="628804" y="61824"/>
                </a:cubicBezTo>
                <a:cubicBezTo>
                  <a:pt x="630799" y="59830"/>
                  <a:pt x="632793" y="59830"/>
                  <a:pt x="634788" y="59830"/>
                </a:cubicBezTo>
                <a:cubicBezTo>
                  <a:pt x="636782" y="61824"/>
                  <a:pt x="640771" y="61824"/>
                  <a:pt x="642765" y="61824"/>
                </a:cubicBezTo>
                <a:cubicBezTo>
                  <a:pt x="642765" y="59830"/>
                  <a:pt x="642765" y="57836"/>
                  <a:pt x="640771" y="55841"/>
                </a:cubicBezTo>
                <a:cubicBezTo>
                  <a:pt x="638776" y="55841"/>
                  <a:pt x="634788" y="53847"/>
                  <a:pt x="634788" y="51853"/>
                </a:cubicBezTo>
                <a:cubicBezTo>
                  <a:pt x="632793" y="51853"/>
                  <a:pt x="630799" y="47864"/>
                  <a:pt x="628804" y="47864"/>
                </a:cubicBezTo>
                <a:cubicBezTo>
                  <a:pt x="626810" y="47864"/>
                  <a:pt x="622821" y="47864"/>
                  <a:pt x="620827" y="47864"/>
                </a:cubicBezTo>
                <a:cubicBezTo>
                  <a:pt x="620827" y="45870"/>
                  <a:pt x="618832" y="45870"/>
                  <a:pt x="618832" y="45870"/>
                </a:cubicBezTo>
                <a:cubicBezTo>
                  <a:pt x="616838" y="43875"/>
                  <a:pt x="616838" y="43875"/>
                  <a:pt x="614843" y="41881"/>
                </a:cubicBezTo>
                <a:cubicBezTo>
                  <a:pt x="612849" y="39887"/>
                  <a:pt x="610854" y="39887"/>
                  <a:pt x="608860" y="39887"/>
                </a:cubicBezTo>
                <a:cubicBezTo>
                  <a:pt x="608860" y="39887"/>
                  <a:pt x="604871" y="39887"/>
                  <a:pt x="604871" y="39887"/>
                </a:cubicBezTo>
                <a:cubicBezTo>
                  <a:pt x="602877" y="39887"/>
                  <a:pt x="598888" y="35898"/>
                  <a:pt x="598888" y="35898"/>
                </a:cubicBezTo>
                <a:cubicBezTo>
                  <a:pt x="596893" y="35898"/>
                  <a:pt x="594899" y="33904"/>
                  <a:pt x="592905" y="31909"/>
                </a:cubicBezTo>
                <a:cubicBezTo>
                  <a:pt x="592905" y="31909"/>
                  <a:pt x="586921" y="29915"/>
                  <a:pt x="586921" y="27921"/>
                </a:cubicBezTo>
                <a:cubicBezTo>
                  <a:pt x="586921" y="27921"/>
                  <a:pt x="584927" y="25926"/>
                  <a:pt x="588916" y="25926"/>
                </a:cubicBezTo>
                <a:cubicBezTo>
                  <a:pt x="590910" y="27921"/>
                  <a:pt x="594899" y="29915"/>
                  <a:pt x="596893" y="29915"/>
                </a:cubicBezTo>
                <a:cubicBezTo>
                  <a:pt x="596893" y="29915"/>
                  <a:pt x="598888" y="29915"/>
                  <a:pt x="598888" y="27921"/>
                </a:cubicBezTo>
                <a:cubicBezTo>
                  <a:pt x="598888" y="25926"/>
                  <a:pt x="596893" y="23932"/>
                  <a:pt x="594899" y="23932"/>
                </a:cubicBezTo>
                <a:cubicBezTo>
                  <a:pt x="592905" y="23932"/>
                  <a:pt x="590910" y="21938"/>
                  <a:pt x="590910" y="19943"/>
                </a:cubicBezTo>
                <a:cubicBezTo>
                  <a:pt x="590910" y="19943"/>
                  <a:pt x="592905" y="17949"/>
                  <a:pt x="594899" y="17949"/>
                </a:cubicBezTo>
                <a:cubicBezTo>
                  <a:pt x="596893" y="17949"/>
                  <a:pt x="596893" y="15955"/>
                  <a:pt x="598888" y="15955"/>
                </a:cubicBezTo>
                <a:cubicBezTo>
                  <a:pt x="598888" y="13960"/>
                  <a:pt x="598888" y="11966"/>
                  <a:pt x="602877" y="11966"/>
                </a:cubicBezTo>
                <a:cubicBezTo>
                  <a:pt x="606866" y="11966"/>
                  <a:pt x="606866" y="13960"/>
                  <a:pt x="606866" y="15955"/>
                </a:cubicBezTo>
                <a:cubicBezTo>
                  <a:pt x="608860" y="17949"/>
                  <a:pt x="610854" y="19943"/>
                  <a:pt x="612849" y="19943"/>
                </a:cubicBezTo>
                <a:cubicBezTo>
                  <a:pt x="614843" y="21938"/>
                  <a:pt x="614843" y="21938"/>
                  <a:pt x="614843" y="23932"/>
                </a:cubicBezTo>
                <a:cubicBezTo>
                  <a:pt x="616838" y="25926"/>
                  <a:pt x="616838" y="27921"/>
                  <a:pt x="618832" y="27921"/>
                </a:cubicBezTo>
                <a:cubicBezTo>
                  <a:pt x="618832" y="29915"/>
                  <a:pt x="620827" y="29915"/>
                  <a:pt x="622821" y="31909"/>
                </a:cubicBezTo>
                <a:cubicBezTo>
                  <a:pt x="622821" y="33904"/>
                  <a:pt x="622821" y="33904"/>
                  <a:pt x="622821" y="35898"/>
                </a:cubicBezTo>
                <a:cubicBezTo>
                  <a:pt x="624815" y="37892"/>
                  <a:pt x="624815" y="39887"/>
                  <a:pt x="626810" y="39887"/>
                </a:cubicBezTo>
                <a:cubicBezTo>
                  <a:pt x="626810" y="41881"/>
                  <a:pt x="630799" y="43875"/>
                  <a:pt x="632793" y="43875"/>
                </a:cubicBezTo>
                <a:cubicBezTo>
                  <a:pt x="634788" y="43875"/>
                  <a:pt x="638776" y="43875"/>
                  <a:pt x="640771" y="43875"/>
                </a:cubicBezTo>
                <a:cubicBezTo>
                  <a:pt x="640771" y="43875"/>
                  <a:pt x="644760" y="43875"/>
                  <a:pt x="646754" y="41881"/>
                </a:cubicBezTo>
                <a:cubicBezTo>
                  <a:pt x="648749" y="41881"/>
                  <a:pt x="654732" y="41881"/>
                  <a:pt x="654732" y="41881"/>
                </a:cubicBezTo>
                <a:cubicBezTo>
                  <a:pt x="656726" y="41881"/>
                  <a:pt x="664704" y="43875"/>
                  <a:pt x="666698" y="41881"/>
                </a:cubicBezTo>
                <a:cubicBezTo>
                  <a:pt x="668693" y="41881"/>
                  <a:pt x="672682" y="41881"/>
                  <a:pt x="674676" y="39887"/>
                </a:cubicBezTo>
                <a:cubicBezTo>
                  <a:pt x="674676" y="39887"/>
                  <a:pt x="678665" y="37892"/>
                  <a:pt x="680659" y="39887"/>
                </a:cubicBezTo>
                <a:cubicBezTo>
                  <a:pt x="682654" y="39887"/>
                  <a:pt x="682654" y="41881"/>
                  <a:pt x="682654" y="45870"/>
                </a:cubicBezTo>
                <a:cubicBezTo>
                  <a:pt x="682654" y="47864"/>
                  <a:pt x="678665" y="53847"/>
                  <a:pt x="684648" y="53847"/>
                </a:cubicBezTo>
                <a:cubicBezTo>
                  <a:pt x="688637" y="53847"/>
                  <a:pt x="686643" y="51853"/>
                  <a:pt x="686643" y="49858"/>
                </a:cubicBezTo>
                <a:cubicBezTo>
                  <a:pt x="686643" y="47864"/>
                  <a:pt x="686643" y="39887"/>
                  <a:pt x="686643" y="37892"/>
                </a:cubicBezTo>
                <a:cubicBezTo>
                  <a:pt x="686643" y="35898"/>
                  <a:pt x="690632" y="35898"/>
                  <a:pt x="692626" y="35898"/>
                </a:cubicBezTo>
                <a:cubicBezTo>
                  <a:pt x="692626" y="37892"/>
                  <a:pt x="702598" y="39887"/>
                  <a:pt x="704593" y="39887"/>
                </a:cubicBezTo>
                <a:lnTo>
                  <a:pt x="705347" y="40286"/>
                </a:lnTo>
                <a:lnTo>
                  <a:pt x="705796" y="39687"/>
                </a:lnTo>
                <a:cubicBezTo>
                  <a:pt x="705796" y="39687"/>
                  <a:pt x="708177" y="39687"/>
                  <a:pt x="708177" y="41274"/>
                </a:cubicBezTo>
                <a:lnTo>
                  <a:pt x="707751" y="41559"/>
                </a:lnTo>
                <a:lnTo>
                  <a:pt x="708831" y="42130"/>
                </a:lnTo>
                <a:cubicBezTo>
                  <a:pt x="711074" y="43377"/>
                  <a:pt x="713567" y="44872"/>
                  <a:pt x="714565" y="45870"/>
                </a:cubicBezTo>
                <a:cubicBezTo>
                  <a:pt x="716559" y="45870"/>
                  <a:pt x="720548" y="49858"/>
                  <a:pt x="720548" y="51853"/>
                </a:cubicBezTo>
                <a:cubicBezTo>
                  <a:pt x="722543" y="51853"/>
                  <a:pt x="722543" y="59830"/>
                  <a:pt x="724537" y="59830"/>
                </a:cubicBezTo>
                <a:cubicBezTo>
                  <a:pt x="726531" y="59830"/>
                  <a:pt x="728526" y="55841"/>
                  <a:pt x="726531" y="53847"/>
                </a:cubicBezTo>
                <a:lnTo>
                  <a:pt x="725742" y="48522"/>
                </a:lnTo>
                <a:lnTo>
                  <a:pt x="724449" y="49212"/>
                </a:lnTo>
                <a:cubicBezTo>
                  <a:pt x="724449" y="49212"/>
                  <a:pt x="722465" y="47095"/>
                  <a:pt x="722465" y="47095"/>
                </a:cubicBezTo>
                <a:cubicBezTo>
                  <a:pt x="720480" y="47095"/>
                  <a:pt x="714527" y="42862"/>
                  <a:pt x="718496" y="42862"/>
                </a:cubicBezTo>
                <a:cubicBezTo>
                  <a:pt x="718496" y="42862"/>
                  <a:pt x="720480" y="42862"/>
                  <a:pt x="722465" y="42862"/>
                </a:cubicBezTo>
                <a:lnTo>
                  <a:pt x="724979" y="44203"/>
                </a:lnTo>
                <a:lnTo>
                  <a:pt x="724537" y="41881"/>
                </a:lnTo>
                <a:lnTo>
                  <a:pt x="722689" y="40957"/>
                </a:lnTo>
                <a:lnTo>
                  <a:pt x="720480" y="40957"/>
                </a:lnTo>
                <a:cubicBezTo>
                  <a:pt x="718495" y="40957"/>
                  <a:pt x="716511" y="40957"/>
                  <a:pt x="716511" y="40957"/>
                </a:cubicBezTo>
                <a:lnTo>
                  <a:pt x="709105" y="37402"/>
                </a:lnTo>
                <a:lnTo>
                  <a:pt x="704593" y="35898"/>
                </a:lnTo>
                <a:cubicBezTo>
                  <a:pt x="704593" y="35898"/>
                  <a:pt x="702598" y="35898"/>
                  <a:pt x="700604" y="33904"/>
                </a:cubicBezTo>
                <a:cubicBezTo>
                  <a:pt x="698609" y="33904"/>
                  <a:pt x="698609" y="33904"/>
                  <a:pt x="694620" y="31909"/>
                </a:cubicBezTo>
                <a:cubicBezTo>
                  <a:pt x="692626" y="31909"/>
                  <a:pt x="690632" y="31909"/>
                  <a:pt x="686643" y="31909"/>
                </a:cubicBezTo>
                <a:cubicBezTo>
                  <a:pt x="684648" y="31909"/>
                  <a:pt x="678665" y="33904"/>
                  <a:pt x="678665" y="33904"/>
                </a:cubicBezTo>
                <a:cubicBezTo>
                  <a:pt x="676671" y="33904"/>
                  <a:pt x="672682" y="35898"/>
                  <a:pt x="670687" y="35898"/>
                </a:cubicBezTo>
                <a:cubicBezTo>
                  <a:pt x="670687" y="35898"/>
                  <a:pt x="664704" y="35898"/>
                  <a:pt x="662710" y="37892"/>
                </a:cubicBezTo>
                <a:cubicBezTo>
                  <a:pt x="660715" y="37892"/>
                  <a:pt x="654732" y="37892"/>
                  <a:pt x="652737" y="37892"/>
                </a:cubicBezTo>
                <a:cubicBezTo>
                  <a:pt x="650743" y="37892"/>
                  <a:pt x="644760" y="37892"/>
                  <a:pt x="644760" y="37892"/>
                </a:cubicBezTo>
                <a:cubicBezTo>
                  <a:pt x="642765" y="37892"/>
                  <a:pt x="640771" y="39887"/>
                  <a:pt x="638776" y="39887"/>
                </a:cubicBezTo>
                <a:cubicBezTo>
                  <a:pt x="636782" y="39887"/>
                  <a:pt x="632793" y="37892"/>
                  <a:pt x="630799" y="35898"/>
                </a:cubicBezTo>
                <a:cubicBezTo>
                  <a:pt x="630799" y="35898"/>
                  <a:pt x="626810" y="33904"/>
                  <a:pt x="626810" y="31909"/>
                </a:cubicBezTo>
                <a:cubicBezTo>
                  <a:pt x="626810" y="31909"/>
                  <a:pt x="624815" y="29915"/>
                  <a:pt x="626810" y="29915"/>
                </a:cubicBezTo>
                <a:cubicBezTo>
                  <a:pt x="626810" y="27921"/>
                  <a:pt x="632793" y="27921"/>
                  <a:pt x="632793" y="29915"/>
                </a:cubicBezTo>
                <a:cubicBezTo>
                  <a:pt x="634788" y="29915"/>
                  <a:pt x="640771" y="35898"/>
                  <a:pt x="644760" y="35898"/>
                </a:cubicBezTo>
                <a:cubicBezTo>
                  <a:pt x="648749" y="35898"/>
                  <a:pt x="656726" y="35898"/>
                  <a:pt x="658721" y="33904"/>
                </a:cubicBezTo>
                <a:cubicBezTo>
                  <a:pt x="660715" y="33904"/>
                  <a:pt x="662710" y="33904"/>
                  <a:pt x="664704" y="33904"/>
                </a:cubicBezTo>
                <a:cubicBezTo>
                  <a:pt x="664704" y="31909"/>
                  <a:pt x="664704" y="29915"/>
                  <a:pt x="662710" y="29915"/>
                </a:cubicBezTo>
                <a:cubicBezTo>
                  <a:pt x="662710" y="27921"/>
                  <a:pt x="656726" y="27921"/>
                  <a:pt x="656726" y="27921"/>
                </a:cubicBezTo>
                <a:cubicBezTo>
                  <a:pt x="656726" y="27921"/>
                  <a:pt x="646754" y="27921"/>
                  <a:pt x="644760" y="27921"/>
                </a:cubicBezTo>
                <a:cubicBezTo>
                  <a:pt x="644760" y="27921"/>
                  <a:pt x="638776" y="27921"/>
                  <a:pt x="636782" y="27921"/>
                </a:cubicBezTo>
                <a:cubicBezTo>
                  <a:pt x="636782" y="25926"/>
                  <a:pt x="630799" y="25926"/>
                  <a:pt x="630799" y="25926"/>
                </a:cubicBezTo>
                <a:cubicBezTo>
                  <a:pt x="630799" y="25926"/>
                  <a:pt x="628804" y="27921"/>
                  <a:pt x="626810" y="25926"/>
                </a:cubicBezTo>
                <a:cubicBezTo>
                  <a:pt x="626810" y="25926"/>
                  <a:pt x="624815" y="23932"/>
                  <a:pt x="622821" y="23932"/>
                </a:cubicBezTo>
                <a:cubicBezTo>
                  <a:pt x="622821" y="23932"/>
                  <a:pt x="618832" y="21938"/>
                  <a:pt x="618832" y="21938"/>
                </a:cubicBezTo>
                <a:cubicBezTo>
                  <a:pt x="616838" y="19943"/>
                  <a:pt x="614843" y="19943"/>
                  <a:pt x="614843" y="19943"/>
                </a:cubicBezTo>
                <a:cubicBezTo>
                  <a:pt x="612849" y="17949"/>
                  <a:pt x="610854" y="15955"/>
                  <a:pt x="610854" y="13960"/>
                </a:cubicBezTo>
                <a:cubicBezTo>
                  <a:pt x="610854" y="11966"/>
                  <a:pt x="608860" y="9972"/>
                  <a:pt x="610854" y="7977"/>
                </a:cubicBezTo>
                <a:cubicBezTo>
                  <a:pt x="610854" y="7977"/>
                  <a:pt x="612849" y="7977"/>
                  <a:pt x="614843" y="9972"/>
                </a:cubicBezTo>
                <a:cubicBezTo>
                  <a:pt x="614843" y="9972"/>
                  <a:pt x="614843" y="11966"/>
                  <a:pt x="616838" y="11966"/>
                </a:cubicBezTo>
                <a:cubicBezTo>
                  <a:pt x="618832" y="11966"/>
                  <a:pt x="618832" y="11966"/>
                  <a:pt x="620827" y="11966"/>
                </a:cubicBezTo>
                <a:cubicBezTo>
                  <a:pt x="622821" y="11966"/>
                  <a:pt x="622821" y="13960"/>
                  <a:pt x="626810" y="15955"/>
                </a:cubicBezTo>
                <a:cubicBezTo>
                  <a:pt x="628804" y="15955"/>
                  <a:pt x="630799" y="11966"/>
                  <a:pt x="632793" y="11966"/>
                </a:cubicBezTo>
                <a:cubicBezTo>
                  <a:pt x="634788" y="11966"/>
                  <a:pt x="636782" y="9972"/>
                  <a:pt x="642765" y="13960"/>
                </a:cubicBezTo>
                <a:cubicBezTo>
                  <a:pt x="648749" y="15955"/>
                  <a:pt x="646754" y="15955"/>
                  <a:pt x="648749" y="15955"/>
                </a:cubicBezTo>
                <a:cubicBezTo>
                  <a:pt x="648749" y="15955"/>
                  <a:pt x="652737" y="15955"/>
                  <a:pt x="654732" y="17949"/>
                </a:cubicBezTo>
                <a:cubicBezTo>
                  <a:pt x="656726" y="17949"/>
                  <a:pt x="660715" y="19943"/>
                  <a:pt x="662710" y="19943"/>
                </a:cubicBezTo>
                <a:cubicBezTo>
                  <a:pt x="664704" y="19943"/>
                  <a:pt x="664704" y="19943"/>
                  <a:pt x="664704" y="19943"/>
                </a:cubicBezTo>
                <a:cubicBezTo>
                  <a:pt x="664704" y="17949"/>
                  <a:pt x="660715" y="15955"/>
                  <a:pt x="660715" y="15955"/>
                </a:cubicBezTo>
                <a:cubicBezTo>
                  <a:pt x="660715" y="15955"/>
                  <a:pt x="656726" y="13960"/>
                  <a:pt x="656726" y="13960"/>
                </a:cubicBezTo>
                <a:cubicBezTo>
                  <a:pt x="656726" y="11966"/>
                  <a:pt x="660715" y="9972"/>
                  <a:pt x="660715" y="9972"/>
                </a:cubicBezTo>
                <a:cubicBezTo>
                  <a:pt x="662710" y="9972"/>
                  <a:pt x="664704" y="7977"/>
                  <a:pt x="666698" y="7977"/>
                </a:cubicBezTo>
                <a:cubicBezTo>
                  <a:pt x="666698" y="5983"/>
                  <a:pt x="670687" y="5983"/>
                  <a:pt x="672682" y="7977"/>
                </a:cubicBezTo>
                <a:cubicBezTo>
                  <a:pt x="674676" y="9972"/>
                  <a:pt x="674676" y="9972"/>
                  <a:pt x="676671" y="9972"/>
                </a:cubicBezTo>
                <a:cubicBezTo>
                  <a:pt x="678665" y="7977"/>
                  <a:pt x="680659" y="7977"/>
                  <a:pt x="682654" y="7977"/>
                </a:cubicBezTo>
                <a:cubicBezTo>
                  <a:pt x="682654" y="9972"/>
                  <a:pt x="686643" y="9972"/>
                  <a:pt x="686643" y="11966"/>
                </a:cubicBezTo>
                <a:cubicBezTo>
                  <a:pt x="686643" y="13960"/>
                  <a:pt x="686643" y="15955"/>
                  <a:pt x="688637" y="15955"/>
                </a:cubicBezTo>
                <a:cubicBezTo>
                  <a:pt x="690632" y="17949"/>
                  <a:pt x="696615" y="15955"/>
                  <a:pt x="698609" y="15955"/>
                </a:cubicBezTo>
                <a:cubicBezTo>
                  <a:pt x="698609" y="15955"/>
                  <a:pt x="706587" y="15955"/>
                  <a:pt x="708581" y="17949"/>
                </a:cubicBezTo>
                <a:cubicBezTo>
                  <a:pt x="710576" y="19943"/>
                  <a:pt x="714565" y="23932"/>
                  <a:pt x="716559" y="23932"/>
                </a:cubicBezTo>
                <a:cubicBezTo>
                  <a:pt x="718554" y="25926"/>
                  <a:pt x="724537" y="27921"/>
                  <a:pt x="726531" y="27921"/>
                </a:cubicBezTo>
                <a:lnTo>
                  <a:pt x="727680" y="27633"/>
                </a:lnTo>
                <a:lnTo>
                  <a:pt x="727680" y="27517"/>
                </a:lnTo>
                <a:lnTo>
                  <a:pt x="728147" y="27517"/>
                </a:lnTo>
                <a:lnTo>
                  <a:pt x="734509" y="25926"/>
                </a:lnTo>
                <a:cubicBezTo>
                  <a:pt x="736504" y="25926"/>
                  <a:pt x="738498" y="23932"/>
                  <a:pt x="740492" y="25926"/>
                </a:cubicBezTo>
                <a:cubicBezTo>
                  <a:pt x="742487" y="25926"/>
                  <a:pt x="742487" y="27921"/>
                  <a:pt x="744481" y="31909"/>
                </a:cubicBezTo>
                <a:cubicBezTo>
                  <a:pt x="746476" y="31909"/>
                  <a:pt x="750465" y="35898"/>
                  <a:pt x="752459" y="35898"/>
                </a:cubicBezTo>
                <a:cubicBezTo>
                  <a:pt x="754453" y="33904"/>
                  <a:pt x="754453" y="31909"/>
                  <a:pt x="752459" y="29915"/>
                </a:cubicBezTo>
                <a:cubicBezTo>
                  <a:pt x="750465" y="29915"/>
                  <a:pt x="746476" y="27921"/>
                  <a:pt x="746476" y="27921"/>
                </a:cubicBezTo>
                <a:cubicBezTo>
                  <a:pt x="746476" y="25926"/>
                  <a:pt x="746476" y="23932"/>
                  <a:pt x="746476" y="21938"/>
                </a:cubicBezTo>
                <a:cubicBezTo>
                  <a:pt x="748470" y="21938"/>
                  <a:pt x="752459" y="21938"/>
                  <a:pt x="754453" y="23932"/>
                </a:cubicBezTo>
                <a:cubicBezTo>
                  <a:pt x="754453" y="23932"/>
                  <a:pt x="760437" y="23932"/>
                  <a:pt x="762431" y="23932"/>
                </a:cubicBezTo>
                <a:cubicBezTo>
                  <a:pt x="766420" y="23932"/>
                  <a:pt x="768414" y="23932"/>
                  <a:pt x="770409" y="23932"/>
                </a:cubicBezTo>
                <a:cubicBezTo>
                  <a:pt x="770409" y="23932"/>
                  <a:pt x="772403" y="23932"/>
                  <a:pt x="770409" y="21938"/>
                </a:cubicBezTo>
                <a:cubicBezTo>
                  <a:pt x="770409" y="21938"/>
                  <a:pt x="762431" y="19943"/>
                  <a:pt x="762431" y="17949"/>
                </a:cubicBezTo>
                <a:cubicBezTo>
                  <a:pt x="762431" y="17949"/>
                  <a:pt x="760437" y="15955"/>
                  <a:pt x="762431" y="15955"/>
                </a:cubicBezTo>
                <a:cubicBezTo>
                  <a:pt x="766420" y="15955"/>
                  <a:pt x="770409" y="17949"/>
                  <a:pt x="770409" y="17949"/>
                </a:cubicBezTo>
                <a:cubicBezTo>
                  <a:pt x="772403" y="17949"/>
                  <a:pt x="776392" y="17949"/>
                  <a:pt x="776392" y="17949"/>
                </a:cubicBezTo>
                <a:cubicBezTo>
                  <a:pt x="778387" y="17949"/>
                  <a:pt x="778387" y="15955"/>
                  <a:pt x="776392" y="13960"/>
                </a:cubicBezTo>
                <a:cubicBezTo>
                  <a:pt x="774398" y="13960"/>
                  <a:pt x="768414" y="13960"/>
                  <a:pt x="768414" y="13960"/>
                </a:cubicBezTo>
                <a:cubicBezTo>
                  <a:pt x="766420" y="13960"/>
                  <a:pt x="760437" y="13960"/>
                  <a:pt x="758442" y="13960"/>
                </a:cubicBezTo>
                <a:cubicBezTo>
                  <a:pt x="758442" y="13960"/>
                  <a:pt x="754453" y="11966"/>
                  <a:pt x="754453" y="9972"/>
                </a:cubicBezTo>
                <a:cubicBezTo>
                  <a:pt x="752459" y="7977"/>
                  <a:pt x="750465" y="5983"/>
                  <a:pt x="752459" y="3989"/>
                </a:cubicBezTo>
                <a:cubicBezTo>
                  <a:pt x="752459" y="3989"/>
                  <a:pt x="752459" y="1994"/>
                  <a:pt x="754453" y="1994"/>
                </a:cubicBezTo>
                <a:cubicBezTo>
                  <a:pt x="758442" y="3989"/>
                  <a:pt x="760437" y="7977"/>
                  <a:pt x="762431" y="7977"/>
                </a:cubicBezTo>
                <a:cubicBezTo>
                  <a:pt x="764426" y="7977"/>
                  <a:pt x="768414" y="9972"/>
                  <a:pt x="770409" y="7977"/>
                </a:cubicBezTo>
                <a:cubicBezTo>
                  <a:pt x="770409" y="7977"/>
                  <a:pt x="770409" y="5983"/>
                  <a:pt x="770409" y="5983"/>
                </a:cubicBezTo>
                <a:cubicBezTo>
                  <a:pt x="768414" y="3989"/>
                  <a:pt x="768414" y="0"/>
                  <a:pt x="768414"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8" name="Canada"/>
          <p:cNvSpPr>
            <a:spLocks/>
          </p:cNvSpPr>
          <p:nvPr/>
        </p:nvSpPr>
        <p:spPr bwMode="auto">
          <a:xfrm>
            <a:off x="2722644" y="815590"/>
            <a:ext cx="2137403" cy="1837479"/>
          </a:xfrm>
          <a:custGeom>
            <a:avLst/>
            <a:gdLst>
              <a:gd name="connsiteX0" fmla="*/ 1525229 w 2077606"/>
              <a:gd name="connsiteY0" fmla="*/ 1679208 h 1786074"/>
              <a:gd name="connsiteX1" fmla="*/ 1521595 w 2077606"/>
              <a:gd name="connsiteY1" fmla="*/ 1681594 h 1786074"/>
              <a:gd name="connsiteX2" fmla="*/ 1514363 w 2077606"/>
              <a:gd name="connsiteY2" fmla="*/ 1685831 h 1786074"/>
              <a:gd name="connsiteX3" fmla="*/ 1523341 w 2077606"/>
              <a:gd name="connsiteY3" fmla="*/ 1680099 h 1786074"/>
              <a:gd name="connsiteX4" fmla="*/ 1530323 w 2077606"/>
              <a:gd name="connsiteY4" fmla="*/ 1675861 h 1786074"/>
              <a:gd name="connsiteX5" fmla="*/ 1530704 w 2077606"/>
              <a:gd name="connsiteY5" fmla="*/ 1676623 h 1786074"/>
              <a:gd name="connsiteX6" fmla="*/ 1525229 w 2077606"/>
              <a:gd name="connsiteY6" fmla="*/ 1679208 h 1786074"/>
              <a:gd name="connsiteX7" fmla="*/ 1525336 w 2077606"/>
              <a:gd name="connsiteY7" fmla="*/ 1671873 h 1786074"/>
              <a:gd name="connsiteX8" fmla="*/ 1526333 w 2077606"/>
              <a:gd name="connsiteY8" fmla="*/ 1671873 h 1786074"/>
              <a:gd name="connsiteX9" fmla="*/ 1522343 w 2077606"/>
              <a:gd name="connsiteY9" fmla="*/ 1675861 h 1786074"/>
              <a:gd name="connsiteX10" fmla="*/ 1872028 w 2077606"/>
              <a:gd name="connsiteY10" fmla="*/ 1637030 h 1786074"/>
              <a:gd name="connsiteX11" fmla="*/ 1873982 w 2077606"/>
              <a:gd name="connsiteY11" fmla="*/ 1640840 h 1786074"/>
              <a:gd name="connsiteX12" fmla="*/ 1875936 w 2077606"/>
              <a:gd name="connsiteY12" fmla="*/ 1642745 h 1786074"/>
              <a:gd name="connsiteX13" fmla="*/ 1879844 w 2077606"/>
              <a:gd name="connsiteY13" fmla="*/ 1642745 h 1786074"/>
              <a:gd name="connsiteX14" fmla="*/ 1881797 w 2077606"/>
              <a:gd name="connsiteY14" fmla="*/ 1646555 h 1786074"/>
              <a:gd name="connsiteX15" fmla="*/ 1885705 w 2077606"/>
              <a:gd name="connsiteY15" fmla="*/ 1648460 h 1786074"/>
              <a:gd name="connsiteX16" fmla="*/ 1881797 w 2077606"/>
              <a:gd name="connsiteY16" fmla="*/ 1650365 h 1786074"/>
              <a:gd name="connsiteX17" fmla="*/ 1875936 w 2077606"/>
              <a:gd name="connsiteY17" fmla="*/ 1656080 h 1786074"/>
              <a:gd name="connsiteX18" fmla="*/ 1864213 w 2077606"/>
              <a:gd name="connsiteY18" fmla="*/ 1661795 h 1786074"/>
              <a:gd name="connsiteX19" fmla="*/ 1864213 w 2077606"/>
              <a:gd name="connsiteY19" fmla="*/ 1656080 h 1786074"/>
              <a:gd name="connsiteX20" fmla="*/ 1868121 w 2077606"/>
              <a:gd name="connsiteY20" fmla="*/ 1652270 h 1786074"/>
              <a:gd name="connsiteX21" fmla="*/ 1870074 w 2077606"/>
              <a:gd name="connsiteY21" fmla="*/ 1644650 h 1786074"/>
              <a:gd name="connsiteX22" fmla="*/ 1872028 w 2077606"/>
              <a:gd name="connsiteY22" fmla="*/ 1637030 h 1786074"/>
              <a:gd name="connsiteX23" fmla="*/ 1976722 w 2077606"/>
              <a:gd name="connsiteY23" fmla="*/ 1627188 h 1786074"/>
              <a:gd name="connsiteX24" fmla="*/ 1980955 w 2077606"/>
              <a:gd name="connsiteY24" fmla="*/ 1628776 h 1786074"/>
              <a:gd name="connsiteX25" fmla="*/ 1974605 w 2077606"/>
              <a:gd name="connsiteY25" fmla="*/ 1628776 h 1786074"/>
              <a:gd name="connsiteX26" fmla="*/ 1976722 w 2077606"/>
              <a:gd name="connsiteY26" fmla="*/ 1627188 h 1786074"/>
              <a:gd name="connsiteX27" fmla="*/ 1968784 w 2077606"/>
              <a:gd name="connsiteY27" fmla="*/ 1624013 h 1786074"/>
              <a:gd name="connsiteX28" fmla="*/ 1973017 w 2077606"/>
              <a:gd name="connsiteY28" fmla="*/ 1626394 h 1786074"/>
              <a:gd name="connsiteX29" fmla="*/ 1966667 w 2077606"/>
              <a:gd name="connsiteY29" fmla="*/ 1626394 h 1786074"/>
              <a:gd name="connsiteX30" fmla="*/ 1968784 w 2077606"/>
              <a:gd name="connsiteY30" fmla="*/ 1624013 h 1786074"/>
              <a:gd name="connsiteX31" fmla="*/ 1962699 w 2077606"/>
              <a:gd name="connsiteY31" fmla="*/ 1616075 h 1786074"/>
              <a:gd name="connsiteX32" fmla="*/ 1964684 w 2077606"/>
              <a:gd name="connsiteY32" fmla="*/ 1618059 h 1786074"/>
              <a:gd name="connsiteX33" fmla="*/ 1966668 w 2077606"/>
              <a:gd name="connsiteY33" fmla="*/ 1620044 h 1786074"/>
              <a:gd name="connsiteX34" fmla="*/ 1966668 w 2077606"/>
              <a:gd name="connsiteY34" fmla="*/ 1624012 h 1786074"/>
              <a:gd name="connsiteX35" fmla="*/ 1960715 w 2077606"/>
              <a:gd name="connsiteY35" fmla="*/ 1620044 h 1786074"/>
              <a:gd name="connsiteX36" fmla="*/ 1962699 w 2077606"/>
              <a:gd name="connsiteY36" fmla="*/ 1616075 h 1786074"/>
              <a:gd name="connsiteX37" fmla="*/ 1775400 w 2077606"/>
              <a:gd name="connsiteY37" fmla="*/ 1611746 h 1786074"/>
              <a:gd name="connsiteX38" fmla="*/ 1781391 w 2077606"/>
              <a:gd name="connsiteY38" fmla="*/ 1615786 h 1786074"/>
              <a:gd name="connsiteX39" fmla="*/ 1779394 w 2077606"/>
              <a:gd name="connsiteY39" fmla="*/ 1619827 h 1786074"/>
              <a:gd name="connsiteX40" fmla="*/ 1777397 w 2077606"/>
              <a:gd name="connsiteY40" fmla="*/ 1621848 h 1786074"/>
              <a:gd name="connsiteX41" fmla="*/ 1781391 w 2077606"/>
              <a:gd name="connsiteY41" fmla="*/ 1625889 h 1786074"/>
              <a:gd name="connsiteX42" fmla="*/ 1783388 w 2077606"/>
              <a:gd name="connsiteY42" fmla="*/ 1629930 h 1786074"/>
              <a:gd name="connsiteX43" fmla="*/ 1789380 w 2077606"/>
              <a:gd name="connsiteY43" fmla="*/ 1629930 h 1786074"/>
              <a:gd name="connsiteX44" fmla="*/ 1799366 w 2077606"/>
              <a:gd name="connsiteY44" fmla="*/ 1633971 h 1786074"/>
              <a:gd name="connsiteX45" fmla="*/ 1813346 w 2077606"/>
              <a:gd name="connsiteY45" fmla="*/ 1633971 h 1786074"/>
              <a:gd name="connsiteX46" fmla="*/ 1825329 w 2077606"/>
              <a:gd name="connsiteY46" fmla="*/ 1631950 h 1786074"/>
              <a:gd name="connsiteX47" fmla="*/ 1827327 w 2077606"/>
              <a:gd name="connsiteY47" fmla="*/ 1638011 h 1786074"/>
              <a:gd name="connsiteX48" fmla="*/ 1823332 w 2077606"/>
              <a:gd name="connsiteY48" fmla="*/ 1638011 h 1786074"/>
              <a:gd name="connsiteX49" fmla="*/ 1815343 w 2077606"/>
              <a:gd name="connsiteY49" fmla="*/ 1642052 h 1786074"/>
              <a:gd name="connsiteX50" fmla="*/ 1817341 w 2077606"/>
              <a:gd name="connsiteY50" fmla="*/ 1650134 h 1786074"/>
              <a:gd name="connsiteX51" fmla="*/ 1815343 w 2077606"/>
              <a:gd name="connsiteY51" fmla="*/ 1652155 h 1786074"/>
              <a:gd name="connsiteX52" fmla="*/ 1807355 w 2077606"/>
              <a:gd name="connsiteY52" fmla="*/ 1652155 h 1786074"/>
              <a:gd name="connsiteX53" fmla="*/ 1805357 w 2077606"/>
              <a:gd name="connsiteY53" fmla="*/ 1644073 h 1786074"/>
              <a:gd name="connsiteX54" fmla="*/ 1795371 w 2077606"/>
              <a:gd name="connsiteY54" fmla="*/ 1642052 h 1786074"/>
              <a:gd name="connsiteX55" fmla="*/ 1785385 w 2077606"/>
              <a:gd name="connsiteY55" fmla="*/ 1638011 h 1786074"/>
              <a:gd name="connsiteX56" fmla="*/ 1783388 w 2077606"/>
              <a:gd name="connsiteY56" fmla="*/ 1633971 h 1786074"/>
              <a:gd name="connsiteX57" fmla="*/ 1775400 w 2077606"/>
              <a:gd name="connsiteY57" fmla="*/ 1631950 h 1786074"/>
              <a:gd name="connsiteX58" fmla="*/ 1775400 w 2077606"/>
              <a:gd name="connsiteY58" fmla="*/ 1625889 h 1786074"/>
              <a:gd name="connsiteX59" fmla="*/ 1773402 w 2077606"/>
              <a:gd name="connsiteY59" fmla="*/ 1621848 h 1786074"/>
              <a:gd name="connsiteX60" fmla="*/ 1773402 w 2077606"/>
              <a:gd name="connsiteY60" fmla="*/ 1613766 h 1786074"/>
              <a:gd name="connsiteX61" fmla="*/ 1775400 w 2077606"/>
              <a:gd name="connsiteY61" fmla="*/ 1611746 h 1786074"/>
              <a:gd name="connsiteX62" fmla="*/ 1837286 w 2077606"/>
              <a:gd name="connsiteY62" fmla="*/ 1600201 h 1786074"/>
              <a:gd name="connsiteX63" fmla="*/ 1841255 w 2077606"/>
              <a:gd name="connsiteY63" fmla="*/ 1600201 h 1786074"/>
              <a:gd name="connsiteX64" fmla="*/ 1837286 w 2077606"/>
              <a:gd name="connsiteY64" fmla="*/ 1601788 h 1786074"/>
              <a:gd name="connsiteX65" fmla="*/ 1837286 w 2077606"/>
              <a:gd name="connsiteY65" fmla="*/ 1600201 h 1786074"/>
              <a:gd name="connsiteX66" fmla="*/ 1839668 w 2077606"/>
              <a:gd name="connsiteY66" fmla="*/ 1590675 h 1786074"/>
              <a:gd name="connsiteX67" fmla="*/ 1844430 w 2077606"/>
              <a:gd name="connsiteY67" fmla="*/ 1592263 h 1786074"/>
              <a:gd name="connsiteX68" fmla="*/ 1837286 w 2077606"/>
              <a:gd name="connsiteY68" fmla="*/ 1592263 h 1786074"/>
              <a:gd name="connsiteX69" fmla="*/ 1839668 w 2077606"/>
              <a:gd name="connsiteY69" fmla="*/ 1590675 h 1786074"/>
              <a:gd name="connsiteX70" fmla="*/ 1848399 w 2077606"/>
              <a:gd name="connsiteY70" fmla="*/ 1582738 h 1786074"/>
              <a:gd name="connsiteX71" fmla="*/ 1852368 w 2077606"/>
              <a:gd name="connsiteY71" fmla="*/ 1586971 h 1786074"/>
              <a:gd name="connsiteX72" fmla="*/ 1846415 w 2077606"/>
              <a:gd name="connsiteY72" fmla="*/ 1586971 h 1786074"/>
              <a:gd name="connsiteX73" fmla="*/ 1848399 w 2077606"/>
              <a:gd name="connsiteY73" fmla="*/ 1582738 h 1786074"/>
              <a:gd name="connsiteX74" fmla="*/ 2063072 w 2077606"/>
              <a:gd name="connsiteY74" fmla="*/ 1568874 h 1786074"/>
              <a:gd name="connsiteX75" fmla="*/ 2063072 w 2077606"/>
              <a:gd name="connsiteY75" fmla="*/ 1572896 h 1786074"/>
              <a:gd name="connsiteX76" fmla="*/ 2061051 w 2077606"/>
              <a:gd name="connsiteY76" fmla="*/ 1574906 h 1786074"/>
              <a:gd name="connsiteX77" fmla="*/ 2059031 w 2077606"/>
              <a:gd name="connsiteY77" fmla="*/ 1578928 h 1786074"/>
              <a:gd name="connsiteX78" fmla="*/ 2057010 w 2077606"/>
              <a:gd name="connsiteY78" fmla="*/ 1580939 h 1786074"/>
              <a:gd name="connsiteX79" fmla="*/ 2054990 w 2077606"/>
              <a:gd name="connsiteY79" fmla="*/ 1586971 h 1786074"/>
              <a:gd name="connsiteX80" fmla="*/ 2052969 w 2077606"/>
              <a:gd name="connsiteY80" fmla="*/ 1593004 h 1786074"/>
              <a:gd name="connsiteX81" fmla="*/ 2054990 w 2077606"/>
              <a:gd name="connsiteY81" fmla="*/ 1599036 h 1786074"/>
              <a:gd name="connsiteX82" fmla="*/ 2057010 w 2077606"/>
              <a:gd name="connsiteY82" fmla="*/ 1593004 h 1786074"/>
              <a:gd name="connsiteX83" fmla="*/ 2061051 w 2077606"/>
              <a:gd name="connsiteY83" fmla="*/ 1584961 h 1786074"/>
              <a:gd name="connsiteX84" fmla="*/ 2065092 w 2077606"/>
              <a:gd name="connsiteY84" fmla="*/ 1586971 h 1786074"/>
              <a:gd name="connsiteX85" fmla="*/ 2065092 w 2077606"/>
              <a:gd name="connsiteY85" fmla="*/ 1597026 h 1786074"/>
              <a:gd name="connsiteX86" fmla="*/ 2063072 w 2077606"/>
              <a:gd name="connsiteY86" fmla="*/ 1605069 h 1786074"/>
              <a:gd name="connsiteX87" fmla="*/ 2063072 w 2077606"/>
              <a:gd name="connsiteY87" fmla="*/ 1609091 h 1786074"/>
              <a:gd name="connsiteX88" fmla="*/ 2059031 w 2077606"/>
              <a:gd name="connsiteY88" fmla="*/ 1613112 h 1786074"/>
              <a:gd name="connsiteX89" fmla="*/ 2057010 w 2077606"/>
              <a:gd name="connsiteY89" fmla="*/ 1619145 h 1786074"/>
              <a:gd name="connsiteX90" fmla="*/ 2052969 w 2077606"/>
              <a:gd name="connsiteY90" fmla="*/ 1627188 h 1786074"/>
              <a:gd name="connsiteX91" fmla="*/ 2046908 w 2077606"/>
              <a:gd name="connsiteY91" fmla="*/ 1627188 h 1786074"/>
              <a:gd name="connsiteX92" fmla="*/ 2040847 w 2077606"/>
              <a:gd name="connsiteY92" fmla="*/ 1625177 h 1786074"/>
              <a:gd name="connsiteX93" fmla="*/ 2040847 w 2077606"/>
              <a:gd name="connsiteY93" fmla="*/ 1615123 h 1786074"/>
              <a:gd name="connsiteX94" fmla="*/ 2038826 w 2077606"/>
              <a:gd name="connsiteY94" fmla="*/ 1611101 h 1786074"/>
              <a:gd name="connsiteX95" fmla="*/ 2036806 w 2077606"/>
              <a:gd name="connsiteY95" fmla="*/ 1611101 h 1786074"/>
              <a:gd name="connsiteX96" fmla="*/ 2034785 w 2077606"/>
              <a:gd name="connsiteY96" fmla="*/ 1617134 h 1786074"/>
              <a:gd name="connsiteX97" fmla="*/ 2030744 w 2077606"/>
              <a:gd name="connsiteY97" fmla="*/ 1619145 h 1786074"/>
              <a:gd name="connsiteX98" fmla="*/ 2024683 w 2077606"/>
              <a:gd name="connsiteY98" fmla="*/ 1623166 h 1786074"/>
              <a:gd name="connsiteX99" fmla="*/ 2026703 w 2077606"/>
              <a:gd name="connsiteY99" fmla="*/ 1613112 h 1786074"/>
              <a:gd name="connsiteX100" fmla="*/ 2028724 w 2077606"/>
              <a:gd name="connsiteY100" fmla="*/ 1609091 h 1786074"/>
              <a:gd name="connsiteX101" fmla="*/ 2032765 w 2077606"/>
              <a:gd name="connsiteY101" fmla="*/ 1603058 h 1786074"/>
              <a:gd name="connsiteX102" fmla="*/ 2034785 w 2077606"/>
              <a:gd name="connsiteY102" fmla="*/ 1599036 h 1786074"/>
              <a:gd name="connsiteX103" fmla="*/ 2034785 w 2077606"/>
              <a:gd name="connsiteY103" fmla="*/ 1588982 h 1786074"/>
              <a:gd name="connsiteX104" fmla="*/ 2038826 w 2077606"/>
              <a:gd name="connsiteY104" fmla="*/ 1593004 h 1786074"/>
              <a:gd name="connsiteX105" fmla="*/ 2042867 w 2077606"/>
              <a:gd name="connsiteY105" fmla="*/ 1593004 h 1786074"/>
              <a:gd name="connsiteX106" fmla="*/ 2044888 w 2077606"/>
              <a:gd name="connsiteY106" fmla="*/ 1584961 h 1786074"/>
              <a:gd name="connsiteX107" fmla="*/ 2048928 w 2077606"/>
              <a:gd name="connsiteY107" fmla="*/ 1576917 h 1786074"/>
              <a:gd name="connsiteX108" fmla="*/ 2052969 w 2077606"/>
              <a:gd name="connsiteY108" fmla="*/ 1570885 h 1786074"/>
              <a:gd name="connsiteX109" fmla="*/ 2063072 w 2077606"/>
              <a:gd name="connsiteY109" fmla="*/ 1568874 h 1786074"/>
              <a:gd name="connsiteX110" fmla="*/ 1913486 w 2077606"/>
              <a:gd name="connsiteY110" fmla="*/ 1546543 h 1786074"/>
              <a:gd name="connsiteX111" fmla="*/ 1915867 w 2077606"/>
              <a:gd name="connsiteY111" fmla="*/ 1550353 h 1786074"/>
              <a:gd name="connsiteX112" fmla="*/ 1907400 w 2077606"/>
              <a:gd name="connsiteY112" fmla="*/ 1554163 h 1786074"/>
              <a:gd name="connsiteX113" fmla="*/ 1909517 w 2077606"/>
              <a:gd name="connsiteY113" fmla="*/ 1548448 h 1786074"/>
              <a:gd name="connsiteX114" fmla="*/ 1913486 w 2077606"/>
              <a:gd name="connsiteY114" fmla="*/ 1546543 h 1786074"/>
              <a:gd name="connsiteX115" fmla="*/ 319637 w 2077606"/>
              <a:gd name="connsiteY115" fmla="*/ 1540405 h 1786074"/>
              <a:gd name="connsiteX116" fmla="*/ 322018 w 2077606"/>
              <a:gd name="connsiteY116" fmla="*/ 1540405 h 1786074"/>
              <a:gd name="connsiteX117" fmla="*/ 319637 w 2077606"/>
              <a:gd name="connsiteY117" fmla="*/ 1542521 h 1786074"/>
              <a:gd name="connsiteX118" fmla="*/ 319637 w 2077606"/>
              <a:gd name="connsiteY118" fmla="*/ 1540405 h 1786074"/>
              <a:gd name="connsiteX119" fmla="*/ 1747778 w 2077606"/>
              <a:gd name="connsiteY119" fmla="*/ 1528306 h 1786074"/>
              <a:gd name="connsiteX120" fmla="*/ 1755758 w 2077606"/>
              <a:gd name="connsiteY120" fmla="*/ 1528306 h 1786074"/>
              <a:gd name="connsiteX121" fmla="*/ 1763738 w 2077606"/>
              <a:gd name="connsiteY121" fmla="*/ 1528306 h 1786074"/>
              <a:gd name="connsiteX122" fmla="*/ 1773713 w 2077606"/>
              <a:gd name="connsiteY122" fmla="*/ 1534288 h 1786074"/>
              <a:gd name="connsiteX123" fmla="*/ 1783688 w 2077606"/>
              <a:gd name="connsiteY123" fmla="*/ 1540270 h 1786074"/>
              <a:gd name="connsiteX124" fmla="*/ 1781693 w 2077606"/>
              <a:gd name="connsiteY124" fmla="*/ 1544258 h 1786074"/>
              <a:gd name="connsiteX125" fmla="*/ 1781693 w 2077606"/>
              <a:gd name="connsiteY125" fmla="*/ 1552234 h 1786074"/>
              <a:gd name="connsiteX126" fmla="*/ 1781693 w 2077606"/>
              <a:gd name="connsiteY126" fmla="*/ 1560210 h 1786074"/>
              <a:gd name="connsiteX127" fmla="*/ 1777703 w 2077606"/>
              <a:gd name="connsiteY127" fmla="*/ 1566192 h 1786074"/>
              <a:gd name="connsiteX128" fmla="*/ 1767728 w 2077606"/>
              <a:gd name="connsiteY128" fmla="*/ 1568186 h 1786074"/>
              <a:gd name="connsiteX129" fmla="*/ 1761743 w 2077606"/>
              <a:gd name="connsiteY129" fmla="*/ 1570180 h 1786074"/>
              <a:gd name="connsiteX130" fmla="*/ 1755758 w 2077606"/>
              <a:gd name="connsiteY130" fmla="*/ 1576162 h 1786074"/>
              <a:gd name="connsiteX131" fmla="*/ 1749773 w 2077606"/>
              <a:gd name="connsiteY131" fmla="*/ 1572174 h 1786074"/>
              <a:gd name="connsiteX132" fmla="*/ 1743788 w 2077606"/>
              <a:gd name="connsiteY132" fmla="*/ 1572174 h 1786074"/>
              <a:gd name="connsiteX133" fmla="*/ 1739798 w 2077606"/>
              <a:gd name="connsiteY133" fmla="*/ 1572174 h 1786074"/>
              <a:gd name="connsiteX134" fmla="*/ 1735808 w 2077606"/>
              <a:gd name="connsiteY134" fmla="*/ 1574168 h 1786074"/>
              <a:gd name="connsiteX135" fmla="*/ 1729823 w 2077606"/>
              <a:gd name="connsiteY135" fmla="*/ 1574168 h 1786074"/>
              <a:gd name="connsiteX136" fmla="*/ 1723838 w 2077606"/>
              <a:gd name="connsiteY136" fmla="*/ 1574168 h 1786074"/>
              <a:gd name="connsiteX137" fmla="*/ 1727828 w 2077606"/>
              <a:gd name="connsiteY137" fmla="*/ 1580150 h 1786074"/>
              <a:gd name="connsiteX138" fmla="*/ 1733813 w 2077606"/>
              <a:gd name="connsiteY138" fmla="*/ 1578156 h 1786074"/>
              <a:gd name="connsiteX139" fmla="*/ 1739798 w 2077606"/>
              <a:gd name="connsiteY139" fmla="*/ 1584138 h 1786074"/>
              <a:gd name="connsiteX140" fmla="*/ 1743788 w 2077606"/>
              <a:gd name="connsiteY140" fmla="*/ 1588126 h 1786074"/>
              <a:gd name="connsiteX141" fmla="*/ 1747778 w 2077606"/>
              <a:gd name="connsiteY141" fmla="*/ 1590120 h 1786074"/>
              <a:gd name="connsiteX142" fmla="*/ 1751768 w 2077606"/>
              <a:gd name="connsiteY142" fmla="*/ 1586132 h 1786074"/>
              <a:gd name="connsiteX143" fmla="*/ 1761743 w 2077606"/>
              <a:gd name="connsiteY143" fmla="*/ 1586132 h 1786074"/>
              <a:gd name="connsiteX144" fmla="*/ 1765733 w 2077606"/>
              <a:gd name="connsiteY144" fmla="*/ 1592114 h 1786074"/>
              <a:gd name="connsiteX145" fmla="*/ 1761743 w 2077606"/>
              <a:gd name="connsiteY145" fmla="*/ 1596102 h 1786074"/>
              <a:gd name="connsiteX146" fmla="*/ 1759748 w 2077606"/>
              <a:gd name="connsiteY146" fmla="*/ 1602084 h 1786074"/>
              <a:gd name="connsiteX147" fmla="*/ 1751768 w 2077606"/>
              <a:gd name="connsiteY147" fmla="*/ 1604078 h 1786074"/>
              <a:gd name="connsiteX148" fmla="*/ 1747778 w 2077606"/>
              <a:gd name="connsiteY148" fmla="*/ 1612054 h 1786074"/>
              <a:gd name="connsiteX149" fmla="*/ 1753763 w 2077606"/>
              <a:gd name="connsiteY149" fmla="*/ 1612054 h 1786074"/>
              <a:gd name="connsiteX150" fmla="*/ 1761743 w 2077606"/>
              <a:gd name="connsiteY150" fmla="*/ 1612054 h 1786074"/>
              <a:gd name="connsiteX151" fmla="*/ 1761743 w 2077606"/>
              <a:gd name="connsiteY151" fmla="*/ 1620030 h 1786074"/>
              <a:gd name="connsiteX152" fmla="*/ 1757753 w 2077606"/>
              <a:gd name="connsiteY152" fmla="*/ 1624018 h 1786074"/>
              <a:gd name="connsiteX153" fmla="*/ 1757753 w 2077606"/>
              <a:gd name="connsiteY153" fmla="*/ 1628006 h 1786074"/>
              <a:gd name="connsiteX154" fmla="*/ 1761743 w 2077606"/>
              <a:gd name="connsiteY154" fmla="*/ 1630000 h 1786074"/>
              <a:gd name="connsiteX155" fmla="*/ 1761743 w 2077606"/>
              <a:gd name="connsiteY155" fmla="*/ 1635982 h 1786074"/>
              <a:gd name="connsiteX156" fmla="*/ 1763738 w 2077606"/>
              <a:gd name="connsiteY156" fmla="*/ 1639970 h 1786074"/>
              <a:gd name="connsiteX157" fmla="*/ 1771718 w 2077606"/>
              <a:gd name="connsiteY157" fmla="*/ 1643958 h 1786074"/>
              <a:gd name="connsiteX158" fmla="*/ 1779698 w 2077606"/>
              <a:gd name="connsiteY158" fmla="*/ 1645952 h 1786074"/>
              <a:gd name="connsiteX159" fmla="*/ 1781693 w 2077606"/>
              <a:gd name="connsiteY159" fmla="*/ 1649940 h 1786074"/>
              <a:gd name="connsiteX160" fmla="*/ 1775708 w 2077606"/>
              <a:gd name="connsiteY160" fmla="*/ 1651933 h 1786074"/>
              <a:gd name="connsiteX161" fmla="*/ 1779698 w 2077606"/>
              <a:gd name="connsiteY161" fmla="*/ 1653927 h 1786074"/>
              <a:gd name="connsiteX162" fmla="*/ 1781693 w 2077606"/>
              <a:gd name="connsiteY162" fmla="*/ 1657915 h 1786074"/>
              <a:gd name="connsiteX163" fmla="*/ 1787678 w 2077606"/>
              <a:gd name="connsiteY163" fmla="*/ 1655921 h 1786074"/>
              <a:gd name="connsiteX164" fmla="*/ 1795658 w 2077606"/>
              <a:gd name="connsiteY164" fmla="*/ 1659909 h 1786074"/>
              <a:gd name="connsiteX165" fmla="*/ 1801643 w 2077606"/>
              <a:gd name="connsiteY165" fmla="*/ 1657915 h 1786074"/>
              <a:gd name="connsiteX166" fmla="*/ 1807628 w 2077606"/>
              <a:gd name="connsiteY166" fmla="*/ 1659909 h 1786074"/>
              <a:gd name="connsiteX167" fmla="*/ 1807628 w 2077606"/>
              <a:gd name="connsiteY167" fmla="*/ 1665891 h 1786074"/>
              <a:gd name="connsiteX168" fmla="*/ 1811618 w 2077606"/>
              <a:gd name="connsiteY168" fmla="*/ 1665891 h 1786074"/>
              <a:gd name="connsiteX169" fmla="*/ 1815608 w 2077606"/>
              <a:gd name="connsiteY169" fmla="*/ 1661903 h 1786074"/>
              <a:gd name="connsiteX170" fmla="*/ 1821593 w 2077606"/>
              <a:gd name="connsiteY170" fmla="*/ 1663897 h 1786074"/>
              <a:gd name="connsiteX171" fmla="*/ 1823588 w 2077606"/>
              <a:gd name="connsiteY171" fmla="*/ 1661903 h 1786074"/>
              <a:gd name="connsiteX172" fmla="*/ 1827578 w 2077606"/>
              <a:gd name="connsiteY172" fmla="*/ 1657915 h 1786074"/>
              <a:gd name="connsiteX173" fmla="*/ 1829573 w 2077606"/>
              <a:gd name="connsiteY173" fmla="*/ 1661903 h 1786074"/>
              <a:gd name="connsiteX174" fmla="*/ 1833563 w 2077606"/>
              <a:gd name="connsiteY174" fmla="*/ 1661903 h 1786074"/>
              <a:gd name="connsiteX175" fmla="*/ 1835558 w 2077606"/>
              <a:gd name="connsiteY175" fmla="*/ 1661903 h 1786074"/>
              <a:gd name="connsiteX176" fmla="*/ 1837553 w 2077606"/>
              <a:gd name="connsiteY176" fmla="*/ 1661903 h 1786074"/>
              <a:gd name="connsiteX177" fmla="*/ 1841543 w 2077606"/>
              <a:gd name="connsiteY177" fmla="*/ 1657915 h 1786074"/>
              <a:gd name="connsiteX178" fmla="*/ 1845533 w 2077606"/>
              <a:gd name="connsiteY178" fmla="*/ 1637976 h 1786074"/>
              <a:gd name="connsiteX179" fmla="*/ 1851518 w 2077606"/>
              <a:gd name="connsiteY179" fmla="*/ 1631994 h 1786074"/>
              <a:gd name="connsiteX180" fmla="*/ 1855508 w 2077606"/>
              <a:gd name="connsiteY180" fmla="*/ 1624018 h 1786074"/>
              <a:gd name="connsiteX181" fmla="*/ 1861493 w 2077606"/>
              <a:gd name="connsiteY181" fmla="*/ 1620030 h 1786074"/>
              <a:gd name="connsiteX182" fmla="*/ 1863488 w 2077606"/>
              <a:gd name="connsiteY182" fmla="*/ 1616042 h 1786074"/>
              <a:gd name="connsiteX183" fmla="*/ 1865483 w 2077606"/>
              <a:gd name="connsiteY183" fmla="*/ 1612054 h 1786074"/>
              <a:gd name="connsiteX184" fmla="*/ 1869473 w 2077606"/>
              <a:gd name="connsiteY184" fmla="*/ 1612054 h 1786074"/>
              <a:gd name="connsiteX185" fmla="*/ 1871468 w 2077606"/>
              <a:gd name="connsiteY185" fmla="*/ 1618036 h 1786074"/>
              <a:gd name="connsiteX186" fmla="*/ 1873463 w 2077606"/>
              <a:gd name="connsiteY186" fmla="*/ 1618036 h 1786074"/>
              <a:gd name="connsiteX187" fmla="*/ 1869473 w 2077606"/>
              <a:gd name="connsiteY187" fmla="*/ 1628006 h 1786074"/>
              <a:gd name="connsiteX188" fmla="*/ 1863488 w 2077606"/>
              <a:gd name="connsiteY188" fmla="*/ 1635982 h 1786074"/>
              <a:gd name="connsiteX189" fmla="*/ 1861493 w 2077606"/>
              <a:gd name="connsiteY189" fmla="*/ 1641964 h 1786074"/>
              <a:gd name="connsiteX190" fmla="*/ 1857503 w 2077606"/>
              <a:gd name="connsiteY190" fmla="*/ 1643958 h 1786074"/>
              <a:gd name="connsiteX191" fmla="*/ 1857503 w 2077606"/>
              <a:gd name="connsiteY191" fmla="*/ 1651933 h 1786074"/>
              <a:gd name="connsiteX192" fmla="*/ 1855508 w 2077606"/>
              <a:gd name="connsiteY192" fmla="*/ 1651933 h 1786074"/>
              <a:gd name="connsiteX193" fmla="*/ 1853513 w 2077606"/>
              <a:gd name="connsiteY193" fmla="*/ 1657915 h 1786074"/>
              <a:gd name="connsiteX194" fmla="*/ 1851518 w 2077606"/>
              <a:gd name="connsiteY194" fmla="*/ 1663897 h 1786074"/>
              <a:gd name="connsiteX195" fmla="*/ 1847528 w 2077606"/>
              <a:gd name="connsiteY195" fmla="*/ 1663897 h 1786074"/>
              <a:gd name="connsiteX196" fmla="*/ 1845533 w 2077606"/>
              <a:gd name="connsiteY196" fmla="*/ 1663897 h 1786074"/>
              <a:gd name="connsiteX197" fmla="*/ 1845533 w 2077606"/>
              <a:gd name="connsiteY197" fmla="*/ 1667885 h 1786074"/>
              <a:gd name="connsiteX198" fmla="*/ 1843538 w 2077606"/>
              <a:gd name="connsiteY198" fmla="*/ 1669879 h 1786074"/>
              <a:gd name="connsiteX199" fmla="*/ 1843538 w 2077606"/>
              <a:gd name="connsiteY199" fmla="*/ 1673867 h 1786074"/>
              <a:gd name="connsiteX200" fmla="*/ 1849523 w 2077606"/>
              <a:gd name="connsiteY200" fmla="*/ 1673867 h 1786074"/>
              <a:gd name="connsiteX201" fmla="*/ 1851518 w 2077606"/>
              <a:gd name="connsiteY201" fmla="*/ 1677855 h 1786074"/>
              <a:gd name="connsiteX202" fmla="*/ 1845533 w 2077606"/>
              <a:gd name="connsiteY202" fmla="*/ 1677855 h 1786074"/>
              <a:gd name="connsiteX203" fmla="*/ 1839548 w 2077606"/>
              <a:gd name="connsiteY203" fmla="*/ 1679849 h 1786074"/>
              <a:gd name="connsiteX204" fmla="*/ 1833563 w 2077606"/>
              <a:gd name="connsiteY204" fmla="*/ 1683837 h 1786074"/>
              <a:gd name="connsiteX205" fmla="*/ 1825583 w 2077606"/>
              <a:gd name="connsiteY205" fmla="*/ 1689819 h 1786074"/>
              <a:gd name="connsiteX206" fmla="*/ 1817603 w 2077606"/>
              <a:gd name="connsiteY206" fmla="*/ 1691813 h 1786074"/>
              <a:gd name="connsiteX207" fmla="*/ 1811618 w 2077606"/>
              <a:gd name="connsiteY207" fmla="*/ 1695801 h 1786074"/>
              <a:gd name="connsiteX208" fmla="*/ 1807628 w 2077606"/>
              <a:gd name="connsiteY208" fmla="*/ 1695801 h 1786074"/>
              <a:gd name="connsiteX209" fmla="*/ 1799648 w 2077606"/>
              <a:gd name="connsiteY209" fmla="*/ 1697795 h 1786074"/>
              <a:gd name="connsiteX210" fmla="*/ 1797653 w 2077606"/>
              <a:gd name="connsiteY210" fmla="*/ 1699789 h 1786074"/>
              <a:gd name="connsiteX211" fmla="*/ 1791668 w 2077606"/>
              <a:gd name="connsiteY211" fmla="*/ 1699789 h 1786074"/>
              <a:gd name="connsiteX212" fmla="*/ 1789673 w 2077606"/>
              <a:gd name="connsiteY212" fmla="*/ 1703777 h 1786074"/>
              <a:gd name="connsiteX213" fmla="*/ 1781693 w 2077606"/>
              <a:gd name="connsiteY213" fmla="*/ 1703777 h 1786074"/>
              <a:gd name="connsiteX214" fmla="*/ 1777703 w 2077606"/>
              <a:gd name="connsiteY214" fmla="*/ 1709759 h 1786074"/>
              <a:gd name="connsiteX215" fmla="*/ 1773713 w 2077606"/>
              <a:gd name="connsiteY215" fmla="*/ 1709759 h 1786074"/>
              <a:gd name="connsiteX216" fmla="*/ 1771718 w 2077606"/>
              <a:gd name="connsiteY216" fmla="*/ 1705771 h 1786074"/>
              <a:gd name="connsiteX217" fmla="*/ 1769723 w 2077606"/>
              <a:gd name="connsiteY217" fmla="*/ 1703777 h 1786074"/>
              <a:gd name="connsiteX218" fmla="*/ 1769723 w 2077606"/>
              <a:gd name="connsiteY218" fmla="*/ 1697795 h 1786074"/>
              <a:gd name="connsiteX219" fmla="*/ 1761743 w 2077606"/>
              <a:gd name="connsiteY219" fmla="*/ 1699789 h 1786074"/>
              <a:gd name="connsiteX220" fmla="*/ 1759748 w 2077606"/>
              <a:gd name="connsiteY220" fmla="*/ 1709759 h 1786074"/>
              <a:gd name="connsiteX221" fmla="*/ 1759748 w 2077606"/>
              <a:gd name="connsiteY221" fmla="*/ 1713747 h 1786074"/>
              <a:gd name="connsiteX222" fmla="*/ 1751768 w 2077606"/>
              <a:gd name="connsiteY222" fmla="*/ 1715741 h 1786074"/>
              <a:gd name="connsiteX223" fmla="*/ 1749773 w 2077606"/>
              <a:gd name="connsiteY223" fmla="*/ 1723717 h 1786074"/>
              <a:gd name="connsiteX224" fmla="*/ 1747778 w 2077606"/>
              <a:gd name="connsiteY224" fmla="*/ 1725711 h 1786074"/>
              <a:gd name="connsiteX225" fmla="*/ 1743788 w 2077606"/>
              <a:gd name="connsiteY225" fmla="*/ 1727705 h 1786074"/>
              <a:gd name="connsiteX226" fmla="*/ 1741793 w 2077606"/>
              <a:gd name="connsiteY226" fmla="*/ 1731693 h 1786074"/>
              <a:gd name="connsiteX227" fmla="*/ 1737803 w 2077606"/>
              <a:gd name="connsiteY227" fmla="*/ 1729699 h 1786074"/>
              <a:gd name="connsiteX228" fmla="*/ 1735808 w 2077606"/>
              <a:gd name="connsiteY228" fmla="*/ 1735681 h 1786074"/>
              <a:gd name="connsiteX229" fmla="*/ 1731818 w 2077606"/>
              <a:gd name="connsiteY229" fmla="*/ 1743657 h 1786074"/>
              <a:gd name="connsiteX230" fmla="*/ 1725833 w 2077606"/>
              <a:gd name="connsiteY230" fmla="*/ 1741663 h 1786074"/>
              <a:gd name="connsiteX231" fmla="*/ 1721843 w 2077606"/>
              <a:gd name="connsiteY231" fmla="*/ 1733687 h 1786074"/>
              <a:gd name="connsiteX232" fmla="*/ 1719848 w 2077606"/>
              <a:gd name="connsiteY232" fmla="*/ 1731693 h 1786074"/>
              <a:gd name="connsiteX233" fmla="*/ 1711868 w 2077606"/>
              <a:gd name="connsiteY233" fmla="*/ 1733687 h 1786074"/>
              <a:gd name="connsiteX234" fmla="*/ 1713863 w 2077606"/>
              <a:gd name="connsiteY234" fmla="*/ 1717735 h 1786074"/>
              <a:gd name="connsiteX235" fmla="*/ 1715858 w 2077606"/>
              <a:gd name="connsiteY235" fmla="*/ 1707765 h 1786074"/>
              <a:gd name="connsiteX236" fmla="*/ 1713863 w 2077606"/>
              <a:gd name="connsiteY236" fmla="*/ 1705771 h 1786074"/>
              <a:gd name="connsiteX237" fmla="*/ 1731818 w 2077606"/>
              <a:gd name="connsiteY237" fmla="*/ 1693807 h 1786074"/>
              <a:gd name="connsiteX238" fmla="*/ 1749773 w 2077606"/>
              <a:gd name="connsiteY238" fmla="*/ 1683837 h 1786074"/>
              <a:gd name="connsiteX239" fmla="*/ 1765733 w 2077606"/>
              <a:gd name="connsiteY239" fmla="*/ 1683837 h 1786074"/>
              <a:gd name="connsiteX240" fmla="*/ 1767728 w 2077606"/>
              <a:gd name="connsiteY240" fmla="*/ 1689819 h 1786074"/>
              <a:gd name="connsiteX241" fmla="*/ 1769723 w 2077606"/>
              <a:gd name="connsiteY241" fmla="*/ 1685831 h 1786074"/>
              <a:gd name="connsiteX242" fmla="*/ 1769723 w 2077606"/>
              <a:gd name="connsiteY242" fmla="*/ 1679849 h 1786074"/>
              <a:gd name="connsiteX243" fmla="*/ 1779698 w 2077606"/>
              <a:gd name="connsiteY243" fmla="*/ 1679849 h 1786074"/>
              <a:gd name="connsiteX244" fmla="*/ 1787678 w 2077606"/>
              <a:gd name="connsiteY244" fmla="*/ 1677855 h 1786074"/>
              <a:gd name="connsiteX245" fmla="*/ 1783688 w 2077606"/>
              <a:gd name="connsiteY245" fmla="*/ 1675861 h 1786074"/>
              <a:gd name="connsiteX246" fmla="*/ 1761743 w 2077606"/>
              <a:gd name="connsiteY246" fmla="*/ 1675861 h 1786074"/>
              <a:gd name="connsiteX247" fmla="*/ 1759748 w 2077606"/>
              <a:gd name="connsiteY247" fmla="*/ 1673867 h 1786074"/>
              <a:gd name="connsiteX248" fmla="*/ 1763738 w 2077606"/>
              <a:gd name="connsiteY248" fmla="*/ 1667885 h 1786074"/>
              <a:gd name="connsiteX249" fmla="*/ 1765733 w 2077606"/>
              <a:gd name="connsiteY249" fmla="*/ 1661903 h 1786074"/>
              <a:gd name="connsiteX250" fmla="*/ 1763738 w 2077606"/>
              <a:gd name="connsiteY250" fmla="*/ 1659909 h 1786074"/>
              <a:gd name="connsiteX251" fmla="*/ 1761743 w 2077606"/>
              <a:gd name="connsiteY251" fmla="*/ 1649940 h 1786074"/>
              <a:gd name="connsiteX252" fmla="*/ 1757753 w 2077606"/>
              <a:gd name="connsiteY252" fmla="*/ 1651933 h 1786074"/>
              <a:gd name="connsiteX253" fmla="*/ 1757753 w 2077606"/>
              <a:gd name="connsiteY253" fmla="*/ 1659909 h 1786074"/>
              <a:gd name="connsiteX254" fmla="*/ 1757753 w 2077606"/>
              <a:gd name="connsiteY254" fmla="*/ 1663897 h 1786074"/>
              <a:gd name="connsiteX255" fmla="*/ 1751768 w 2077606"/>
              <a:gd name="connsiteY255" fmla="*/ 1667885 h 1786074"/>
              <a:gd name="connsiteX256" fmla="*/ 1743788 w 2077606"/>
              <a:gd name="connsiteY256" fmla="*/ 1671873 h 1786074"/>
              <a:gd name="connsiteX257" fmla="*/ 1739798 w 2077606"/>
              <a:gd name="connsiteY257" fmla="*/ 1677855 h 1786074"/>
              <a:gd name="connsiteX258" fmla="*/ 1735808 w 2077606"/>
              <a:gd name="connsiteY258" fmla="*/ 1679849 h 1786074"/>
              <a:gd name="connsiteX259" fmla="*/ 1731818 w 2077606"/>
              <a:gd name="connsiteY259" fmla="*/ 1681843 h 1786074"/>
              <a:gd name="connsiteX260" fmla="*/ 1729823 w 2077606"/>
              <a:gd name="connsiteY260" fmla="*/ 1681843 h 1786074"/>
              <a:gd name="connsiteX261" fmla="*/ 1725833 w 2077606"/>
              <a:gd name="connsiteY261" fmla="*/ 1677855 h 1786074"/>
              <a:gd name="connsiteX262" fmla="*/ 1725833 w 2077606"/>
              <a:gd name="connsiteY262" fmla="*/ 1663897 h 1786074"/>
              <a:gd name="connsiteX263" fmla="*/ 1727828 w 2077606"/>
              <a:gd name="connsiteY263" fmla="*/ 1657915 h 1786074"/>
              <a:gd name="connsiteX264" fmla="*/ 1731818 w 2077606"/>
              <a:gd name="connsiteY264" fmla="*/ 1649940 h 1786074"/>
              <a:gd name="connsiteX265" fmla="*/ 1729823 w 2077606"/>
              <a:gd name="connsiteY265" fmla="*/ 1645952 h 1786074"/>
              <a:gd name="connsiteX266" fmla="*/ 1723838 w 2077606"/>
              <a:gd name="connsiteY266" fmla="*/ 1645952 h 1786074"/>
              <a:gd name="connsiteX267" fmla="*/ 1721843 w 2077606"/>
              <a:gd name="connsiteY267" fmla="*/ 1657915 h 1786074"/>
              <a:gd name="connsiteX268" fmla="*/ 1721843 w 2077606"/>
              <a:gd name="connsiteY268" fmla="*/ 1659909 h 1786074"/>
              <a:gd name="connsiteX269" fmla="*/ 1719848 w 2077606"/>
              <a:gd name="connsiteY269" fmla="*/ 1661903 h 1786074"/>
              <a:gd name="connsiteX270" fmla="*/ 1719848 w 2077606"/>
              <a:gd name="connsiteY270" fmla="*/ 1671873 h 1786074"/>
              <a:gd name="connsiteX271" fmla="*/ 1717853 w 2077606"/>
              <a:gd name="connsiteY271" fmla="*/ 1677855 h 1786074"/>
              <a:gd name="connsiteX272" fmla="*/ 1719848 w 2077606"/>
              <a:gd name="connsiteY272" fmla="*/ 1685831 h 1786074"/>
              <a:gd name="connsiteX273" fmla="*/ 1713863 w 2077606"/>
              <a:gd name="connsiteY273" fmla="*/ 1685831 h 1786074"/>
              <a:gd name="connsiteX274" fmla="*/ 1701893 w 2077606"/>
              <a:gd name="connsiteY274" fmla="*/ 1685831 h 1786074"/>
              <a:gd name="connsiteX275" fmla="*/ 1693913 w 2077606"/>
              <a:gd name="connsiteY275" fmla="*/ 1685831 h 1786074"/>
              <a:gd name="connsiteX276" fmla="*/ 1689923 w 2077606"/>
              <a:gd name="connsiteY276" fmla="*/ 1689819 h 1786074"/>
              <a:gd name="connsiteX277" fmla="*/ 1689923 w 2077606"/>
              <a:gd name="connsiteY277" fmla="*/ 1691813 h 1786074"/>
              <a:gd name="connsiteX278" fmla="*/ 1677953 w 2077606"/>
              <a:gd name="connsiteY278" fmla="*/ 1691813 h 1786074"/>
              <a:gd name="connsiteX279" fmla="*/ 1669973 w 2077606"/>
              <a:gd name="connsiteY279" fmla="*/ 1669879 h 1786074"/>
              <a:gd name="connsiteX280" fmla="*/ 1675958 w 2077606"/>
              <a:gd name="connsiteY280" fmla="*/ 1635982 h 1786074"/>
              <a:gd name="connsiteX281" fmla="*/ 1679948 w 2077606"/>
              <a:gd name="connsiteY281" fmla="*/ 1610060 h 1786074"/>
              <a:gd name="connsiteX282" fmla="*/ 1659998 w 2077606"/>
              <a:gd name="connsiteY282" fmla="*/ 1598096 h 1786074"/>
              <a:gd name="connsiteX283" fmla="*/ 1638053 w 2077606"/>
              <a:gd name="connsiteY283" fmla="*/ 1612054 h 1786074"/>
              <a:gd name="connsiteX284" fmla="*/ 1626083 w 2077606"/>
              <a:gd name="connsiteY284" fmla="*/ 1626012 h 1786074"/>
              <a:gd name="connsiteX285" fmla="*/ 1616108 w 2077606"/>
              <a:gd name="connsiteY285" fmla="*/ 1641964 h 1786074"/>
              <a:gd name="connsiteX286" fmla="*/ 1606133 w 2077606"/>
              <a:gd name="connsiteY286" fmla="*/ 1667885 h 1786074"/>
              <a:gd name="connsiteX287" fmla="*/ 1598153 w 2077606"/>
              <a:gd name="connsiteY287" fmla="*/ 1671873 h 1786074"/>
              <a:gd name="connsiteX288" fmla="*/ 1588178 w 2077606"/>
              <a:gd name="connsiteY288" fmla="*/ 1675861 h 1786074"/>
              <a:gd name="connsiteX289" fmla="*/ 1574213 w 2077606"/>
              <a:gd name="connsiteY289" fmla="*/ 1685831 h 1786074"/>
              <a:gd name="connsiteX290" fmla="*/ 1566233 w 2077606"/>
              <a:gd name="connsiteY290" fmla="*/ 1687825 h 1786074"/>
              <a:gd name="connsiteX291" fmla="*/ 1542293 w 2077606"/>
              <a:gd name="connsiteY291" fmla="*/ 1687825 h 1786074"/>
              <a:gd name="connsiteX292" fmla="*/ 1534313 w 2077606"/>
              <a:gd name="connsiteY292" fmla="*/ 1683837 h 1786074"/>
              <a:gd name="connsiteX293" fmla="*/ 1532318 w 2077606"/>
              <a:gd name="connsiteY293" fmla="*/ 1679849 h 1786074"/>
              <a:gd name="connsiteX294" fmla="*/ 1530704 w 2077606"/>
              <a:gd name="connsiteY294" fmla="*/ 1676623 h 1786074"/>
              <a:gd name="connsiteX295" fmla="*/ 1532318 w 2077606"/>
              <a:gd name="connsiteY295" fmla="*/ 1675861 h 1786074"/>
              <a:gd name="connsiteX296" fmla="*/ 1536308 w 2077606"/>
              <a:gd name="connsiteY296" fmla="*/ 1669879 h 1786074"/>
              <a:gd name="connsiteX297" fmla="*/ 1540298 w 2077606"/>
              <a:gd name="connsiteY297" fmla="*/ 1661903 h 1786074"/>
              <a:gd name="connsiteX298" fmla="*/ 1556258 w 2077606"/>
              <a:gd name="connsiteY298" fmla="*/ 1649940 h 1786074"/>
              <a:gd name="connsiteX299" fmla="*/ 1564238 w 2077606"/>
              <a:gd name="connsiteY299" fmla="*/ 1645952 h 1786074"/>
              <a:gd name="connsiteX300" fmla="*/ 1570223 w 2077606"/>
              <a:gd name="connsiteY300" fmla="*/ 1637976 h 1786074"/>
              <a:gd name="connsiteX301" fmla="*/ 1582193 w 2077606"/>
              <a:gd name="connsiteY301" fmla="*/ 1630000 h 1786074"/>
              <a:gd name="connsiteX302" fmla="*/ 1594163 w 2077606"/>
              <a:gd name="connsiteY302" fmla="*/ 1628006 h 1786074"/>
              <a:gd name="connsiteX303" fmla="*/ 1608128 w 2077606"/>
              <a:gd name="connsiteY303" fmla="*/ 1624018 h 1786074"/>
              <a:gd name="connsiteX304" fmla="*/ 1614113 w 2077606"/>
              <a:gd name="connsiteY304" fmla="*/ 1618036 h 1786074"/>
              <a:gd name="connsiteX305" fmla="*/ 1626083 w 2077606"/>
              <a:gd name="connsiteY305" fmla="*/ 1602084 h 1786074"/>
              <a:gd name="connsiteX306" fmla="*/ 1638053 w 2077606"/>
              <a:gd name="connsiteY306" fmla="*/ 1588126 h 1786074"/>
              <a:gd name="connsiteX307" fmla="*/ 1650023 w 2077606"/>
              <a:gd name="connsiteY307" fmla="*/ 1578156 h 1786074"/>
              <a:gd name="connsiteX308" fmla="*/ 1665983 w 2077606"/>
              <a:gd name="connsiteY308" fmla="*/ 1566192 h 1786074"/>
              <a:gd name="connsiteX309" fmla="*/ 1679948 w 2077606"/>
              <a:gd name="connsiteY309" fmla="*/ 1556222 h 1786074"/>
              <a:gd name="connsiteX310" fmla="*/ 1695908 w 2077606"/>
              <a:gd name="connsiteY310" fmla="*/ 1546252 h 1786074"/>
              <a:gd name="connsiteX311" fmla="*/ 1713863 w 2077606"/>
              <a:gd name="connsiteY311" fmla="*/ 1540270 h 1786074"/>
              <a:gd name="connsiteX312" fmla="*/ 1729823 w 2077606"/>
              <a:gd name="connsiteY312" fmla="*/ 1534288 h 1786074"/>
              <a:gd name="connsiteX313" fmla="*/ 1733813 w 2077606"/>
              <a:gd name="connsiteY313" fmla="*/ 1530300 h 1786074"/>
              <a:gd name="connsiteX314" fmla="*/ 1739798 w 2077606"/>
              <a:gd name="connsiteY314" fmla="*/ 1530300 h 1786074"/>
              <a:gd name="connsiteX315" fmla="*/ 1747778 w 2077606"/>
              <a:gd name="connsiteY315" fmla="*/ 1528306 h 1786074"/>
              <a:gd name="connsiteX316" fmla="*/ 1791399 w 2077606"/>
              <a:gd name="connsiteY316" fmla="*/ 1505030 h 1786074"/>
              <a:gd name="connsiteX317" fmla="*/ 1794359 w 2077606"/>
              <a:gd name="connsiteY317" fmla="*/ 1507173 h 1786074"/>
              <a:gd name="connsiteX318" fmla="*/ 1798306 w 2077606"/>
              <a:gd name="connsiteY318" fmla="*/ 1507173 h 1786074"/>
              <a:gd name="connsiteX319" fmla="*/ 1812122 w 2077606"/>
              <a:gd name="connsiteY319" fmla="*/ 1509078 h 1786074"/>
              <a:gd name="connsiteX320" fmla="*/ 1821990 w 2077606"/>
              <a:gd name="connsiteY320" fmla="*/ 1512888 h 1786074"/>
              <a:gd name="connsiteX321" fmla="*/ 1833832 w 2077606"/>
              <a:gd name="connsiteY321" fmla="*/ 1514793 h 1786074"/>
              <a:gd name="connsiteX322" fmla="*/ 1839753 w 2077606"/>
              <a:gd name="connsiteY322" fmla="*/ 1516698 h 1786074"/>
              <a:gd name="connsiteX323" fmla="*/ 1845674 w 2077606"/>
              <a:gd name="connsiteY323" fmla="*/ 1522413 h 1786074"/>
              <a:gd name="connsiteX324" fmla="*/ 1851595 w 2077606"/>
              <a:gd name="connsiteY324" fmla="*/ 1524318 h 1786074"/>
              <a:gd name="connsiteX325" fmla="*/ 1853568 w 2077606"/>
              <a:gd name="connsiteY325" fmla="*/ 1530033 h 1786074"/>
              <a:gd name="connsiteX326" fmla="*/ 1847648 w 2077606"/>
              <a:gd name="connsiteY326" fmla="*/ 1531938 h 1786074"/>
              <a:gd name="connsiteX327" fmla="*/ 1841727 w 2077606"/>
              <a:gd name="connsiteY327" fmla="*/ 1531938 h 1786074"/>
              <a:gd name="connsiteX328" fmla="*/ 1827911 w 2077606"/>
              <a:gd name="connsiteY328" fmla="*/ 1531938 h 1786074"/>
              <a:gd name="connsiteX329" fmla="*/ 1818043 w 2077606"/>
              <a:gd name="connsiteY329" fmla="*/ 1530033 h 1786074"/>
              <a:gd name="connsiteX330" fmla="*/ 1808175 w 2077606"/>
              <a:gd name="connsiteY330" fmla="*/ 1524318 h 1786074"/>
              <a:gd name="connsiteX331" fmla="*/ 1798306 w 2077606"/>
              <a:gd name="connsiteY331" fmla="*/ 1514793 h 1786074"/>
              <a:gd name="connsiteX332" fmla="*/ 1790412 w 2077606"/>
              <a:gd name="connsiteY332" fmla="*/ 1510983 h 1786074"/>
              <a:gd name="connsiteX333" fmla="*/ 1784491 w 2077606"/>
              <a:gd name="connsiteY333" fmla="*/ 1509078 h 1786074"/>
              <a:gd name="connsiteX334" fmla="*/ 1788438 w 2077606"/>
              <a:gd name="connsiteY334" fmla="*/ 1507173 h 1786074"/>
              <a:gd name="connsiteX335" fmla="*/ 1791399 w 2077606"/>
              <a:gd name="connsiteY335" fmla="*/ 1505030 h 1786074"/>
              <a:gd name="connsiteX336" fmla="*/ 278202 w 2077606"/>
              <a:gd name="connsiteY336" fmla="*/ 1476693 h 1786074"/>
              <a:gd name="connsiteX337" fmla="*/ 282012 w 2077606"/>
              <a:gd name="connsiteY337" fmla="*/ 1482408 h 1786074"/>
              <a:gd name="connsiteX338" fmla="*/ 276297 w 2077606"/>
              <a:gd name="connsiteY338" fmla="*/ 1480503 h 1786074"/>
              <a:gd name="connsiteX339" fmla="*/ 278202 w 2077606"/>
              <a:gd name="connsiteY339" fmla="*/ 1476693 h 1786074"/>
              <a:gd name="connsiteX340" fmla="*/ 272275 w 2077606"/>
              <a:gd name="connsiteY340" fmla="*/ 1474788 h 1786074"/>
              <a:gd name="connsiteX341" fmla="*/ 270159 w 2077606"/>
              <a:gd name="connsiteY341" fmla="*/ 1482725 h 1786074"/>
              <a:gd name="connsiteX342" fmla="*/ 268042 w 2077606"/>
              <a:gd name="connsiteY342" fmla="*/ 1476772 h 1786074"/>
              <a:gd name="connsiteX343" fmla="*/ 272275 w 2077606"/>
              <a:gd name="connsiteY343" fmla="*/ 1474788 h 1786074"/>
              <a:gd name="connsiteX344" fmla="*/ 2005296 w 2077606"/>
              <a:gd name="connsiteY344" fmla="*/ 1470555 h 1786074"/>
              <a:gd name="connsiteX345" fmla="*/ 2010853 w 2077606"/>
              <a:gd name="connsiteY345" fmla="*/ 1472671 h 1786074"/>
              <a:gd name="connsiteX346" fmla="*/ 2005296 w 2077606"/>
              <a:gd name="connsiteY346" fmla="*/ 1472671 h 1786074"/>
              <a:gd name="connsiteX347" fmla="*/ 2005296 w 2077606"/>
              <a:gd name="connsiteY347" fmla="*/ 1470555 h 1786074"/>
              <a:gd name="connsiteX348" fmla="*/ 245537 w 2077606"/>
              <a:gd name="connsiteY348" fmla="*/ 1457823 h 1786074"/>
              <a:gd name="connsiteX349" fmla="*/ 251514 w 2077606"/>
              <a:gd name="connsiteY349" fmla="*/ 1459317 h 1786074"/>
              <a:gd name="connsiteX350" fmla="*/ 259483 w 2077606"/>
              <a:gd name="connsiteY350" fmla="*/ 1463300 h 1786074"/>
              <a:gd name="connsiteX351" fmla="*/ 257490 w 2077606"/>
              <a:gd name="connsiteY351" fmla="*/ 1465291 h 1786074"/>
              <a:gd name="connsiteX352" fmla="*/ 251514 w 2077606"/>
              <a:gd name="connsiteY352" fmla="*/ 1465291 h 1786074"/>
              <a:gd name="connsiteX353" fmla="*/ 251514 w 2077606"/>
              <a:gd name="connsiteY353" fmla="*/ 1471266 h 1786074"/>
              <a:gd name="connsiteX354" fmla="*/ 257490 w 2077606"/>
              <a:gd name="connsiteY354" fmla="*/ 1471266 h 1786074"/>
              <a:gd name="connsiteX355" fmla="*/ 265459 w 2077606"/>
              <a:gd name="connsiteY355" fmla="*/ 1473258 h 1786074"/>
              <a:gd name="connsiteX356" fmla="*/ 263467 w 2077606"/>
              <a:gd name="connsiteY356" fmla="*/ 1477241 h 1786074"/>
              <a:gd name="connsiteX357" fmla="*/ 255498 w 2077606"/>
              <a:gd name="connsiteY357" fmla="*/ 1475249 h 1786074"/>
              <a:gd name="connsiteX358" fmla="*/ 247530 w 2077606"/>
              <a:gd name="connsiteY358" fmla="*/ 1477241 h 1786074"/>
              <a:gd name="connsiteX359" fmla="*/ 245537 w 2077606"/>
              <a:gd name="connsiteY359" fmla="*/ 1477241 h 1786074"/>
              <a:gd name="connsiteX360" fmla="*/ 247530 w 2077606"/>
              <a:gd name="connsiteY360" fmla="*/ 1481224 h 1786074"/>
              <a:gd name="connsiteX361" fmla="*/ 253506 w 2077606"/>
              <a:gd name="connsiteY361" fmla="*/ 1481224 h 1786074"/>
              <a:gd name="connsiteX362" fmla="*/ 255498 w 2077606"/>
              <a:gd name="connsiteY362" fmla="*/ 1481224 h 1786074"/>
              <a:gd name="connsiteX363" fmla="*/ 261475 w 2077606"/>
              <a:gd name="connsiteY363" fmla="*/ 1483216 h 1786074"/>
              <a:gd name="connsiteX364" fmla="*/ 273428 w 2077606"/>
              <a:gd name="connsiteY364" fmla="*/ 1487199 h 1786074"/>
              <a:gd name="connsiteX365" fmla="*/ 281396 w 2077606"/>
              <a:gd name="connsiteY365" fmla="*/ 1491182 h 1786074"/>
              <a:gd name="connsiteX366" fmla="*/ 283388 w 2077606"/>
              <a:gd name="connsiteY366" fmla="*/ 1495165 h 1786074"/>
              <a:gd name="connsiteX367" fmla="*/ 287373 w 2077606"/>
              <a:gd name="connsiteY367" fmla="*/ 1497157 h 1786074"/>
              <a:gd name="connsiteX368" fmla="*/ 289365 w 2077606"/>
              <a:gd name="connsiteY368" fmla="*/ 1499148 h 1786074"/>
              <a:gd name="connsiteX369" fmla="*/ 285381 w 2077606"/>
              <a:gd name="connsiteY369" fmla="*/ 1501140 h 1786074"/>
              <a:gd name="connsiteX370" fmla="*/ 283388 w 2077606"/>
              <a:gd name="connsiteY370" fmla="*/ 1503132 h 1786074"/>
              <a:gd name="connsiteX371" fmla="*/ 285381 w 2077606"/>
              <a:gd name="connsiteY371" fmla="*/ 1511098 h 1786074"/>
              <a:gd name="connsiteX372" fmla="*/ 291357 w 2077606"/>
              <a:gd name="connsiteY372" fmla="*/ 1517073 h 1786074"/>
              <a:gd name="connsiteX373" fmla="*/ 303310 w 2077606"/>
              <a:gd name="connsiteY373" fmla="*/ 1523047 h 1786074"/>
              <a:gd name="connsiteX374" fmla="*/ 307294 w 2077606"/>
              <a:gd name="connsiteY374" fmla="*/ 1525039 h 1786074"/>
              <a:gd name="connsiteX375" fmla="*/ 307294 w 2077606"/>
              <a:gd name="connsiteY375" fmla="*/ 1533005 h 1786074"/>
              <a:gd name="connsiteX376" fmla="*/ 309286 w 2077606"/>
              <a:gd name="connsiteY376" fmla="*/ 1536988 h 1786074"/>
              <a:gd name="connsiteX377" fmla="*/ 311279 w 2077606"/>
              <a:gd name="connsiteY377" fmla="*/ 1540972 h 1786074"/>
              <a:gd name="connsiteX378" fmla="*/ 311279 w 2077606"/>
              <a:gd name="connsiteY378" fmla="*/ 1544955 h 1786074"/>
              <a:gd name="connsiteX379" fmla="*/ 317255 w 2077606"/>
              <a:gd name="connsiteY379" fmla="*/ 1546946 h 1786074"/>
              <a:gd name="connsiteX380" fmla="*/ 313271 w 2077606"/>
              <a:gd name="connsiteY380" fmla="*/ 1548938 h 1786074"/>
              <a:gd name="connsiteX381" fmla="*/ 315263 w 2077606"/>
              <a:gd name="connsiteY381" fmla="*/ 1554913 h 1786074"/>
              <a:gd name="connsiteX382" fmla="*/ 313271 w 2077606"/>
              <a:gd name="connsiteY382" fmla="*/ 1562879 h 1786074"/>
              <a:gd name="connsiteX383" fmla="*/ 307294 w 2077606"/>
              <a:gd name="connsiteY383" fmla="*/ 1566862 h 1786074"/>
              <a:gd name="connsiteX384" fmla="*/ 301318 w 2077606"/>
              <a:gd name="connsiteY384" fmla="*/ 1566862 h 1786074"/>
              <a:gd name="connsiteX385" fmla="*/ 299326 w 2077606"/>
              <a:gd name="connsiteY385" fmla="*/ 1566862 h 1786074"/>
              <a:gd name="connsiteX386" fmla="*/ 289365 w 2077606"/>
              <a:gd name="connsiteY386" fmla="*/ 1562879 h 1786074"/>
              <a:gd name="connsiteX387" fmla="*/ 291357 w 2077606"/>
              <a:gd name="connsiteY387" fmla="*/ 1558896 h 1786074"/>
              <a:gd name="connsiteX388" fmla="*/ 281396 w 2077606"/>
              <a:gd name="connsiteY388" fmla="*/ 1556904 h 1786074"/>
              <a:gd name="connsiteX389" fmla="*/ 277412 w 2077606"/>
              <a:gd name="connsiteY389" fmla="*/ 1552921 h 1786074"/>
              <a:gd name="connsiteX390" fmla="*/ 277412 w 2077606"/>
              <a:gd name="connsiteY390" fmla="*/ 1544955 h 1786074"/>
              <a:gd name="connsiteX391" fmla="*/ 285381 w 2077606"/>
              <a:gd name="connsiteY391" fmla="*/ 1538980 h 1786074"/>
              <a:gd name="connsiteX392" fmla="*/ 285381 w 2077606"/>
              <a:gd name="connsiteY392" fmla="*/ 1534997 h 1786074"/>
              <a:gd name="connsiteX393" fmla="*/ 281396 w 2077606"/>
              <a:gd name="connsiteY393" fmla="*/ 1534997 h 1786074"/>
              <a:gd name="connsiteX394" fmla="*/ 277412 w 2077606"/>
              <a:gd name="connsiteY394" fmla="*/ 1540972 h 1786074"/>
              <a:gd name="connsiteX395" fmla="*/ 273428 w 2077606"/>
              <a:gd name="connsiteY395" fmla="*/ 1540972 h 1786074"/>
              <a:gd name="connsiteX396" fmla="*/ 265459 w 2077606"/>
              <a:gd name="connsiteY396" fmla="*/ 1542963 h 1786074"/>
              <a:gd name="connsiteX397" fmla="*/ 261475 w 2077606"/>
              <a:gd name="connsiteY397" fmla="*/ 1538980 h 1786074"/>
              <a:gd name="connsiteX398" fmla="*/ 259483 w 2077606"/>
              <a:gd name="connsiteY398" fmla="*/ 1533005 h 1786074"/>
              <a:gd name="connsiteX399" fmla="*/ 257490 w 2077606"/>
              <a:gd name="connsiteY399" fmla="*/ 1531014 h 1786074"/>
              <a:gd name="connsiteX400" fmla="*/ 253506 w 2077606"/>
              <a:gd name="connsiteY400" fmla="*/ 1533005 h 1786074"/>
              <a:gd name="connsiteX401" fmla="*/ 253506 w 2077606"/>
              <a:gd name="connsiteY401" fmla="*/ 1529022 h 1786074"/>
              <a:gd name="connsiteX402" fmla="*/ 253506 w 2077606"/>
              <a:gd name="connsiteY402" fmla="*/ 1525039 h 1786074"/>
              <a:gd name="connsiteX403" fmla="*/ 251514 w 2077606"/>
              <a:gd name="connsiteY403" fmla="*/ 1525039 h 1786074"/>
              <a:gd name="connsiteX404" fmla="*/ 251514 w 2077606"/>
              <a:gd name="connsiteY404" fmla="*/ 1521056 h 1786074"/>
              <a:gd name="connsiteX405" fmla="*/ 251514 w 2077606"/>
              <a:gd name="connsiteY405" fmla="*/ 1517073 h 1786074"/>
              <a:gd name="connsiteX406" fmla="*/ 251514 w 2077606"/>
              <a:gd name="connsiteY406" fmla="*/ 1515081 h 1786074"/>
              <a:gd name="connsiteX407" fmla="*/ 247530 w 2077606"/>
              <a:gd name="connsiteY407" fmla="*/ 1515081 h 1786074"/>
              <a:gd name="connsiteX408" fmla="*/ 247530 w 2077606"/>
              <a:gd name="connsiteY408" fmla="*/ 1511098 h 1786074"/>
              <a:gd name="connsiteX409" fmla="*/ 243545 w 2077606"/>
              <a:gd name="connsiteY409" fmla="*/ 1507115 h 1786074"/>
              <a:gd name="connsiteX410" fmla="*/ 239561 w 2077606"/>
              <a:gd name="connsiteY410" fmla="*/ 1507115 h 1786074"/>
              <a:gd name="connsiteX411" fmla="*/ 237569 w 2077606"/>
              <a:gd name="connsiteY411" fmla="*/ 1509106 h 1786074"/>
              <a:gd name="connsiteX412" fmla="*/ 235577 w 2077606"/>
              <a:gd name="connsiteY412" fmla="*/ 1505123 h 1786074"/>
              <a:gd name="connsiteX413" fmla="*/ 237569 w 2077606"/>
              <a:gd name="connsiteY413" fmla="*/ 1501140 h 1786074"/>
              <a:gd name="connsiteX414" fmla="*/ 235577 w 2077606"/>
              <a:gd name="connsiteY414" fmla="*/ 1497157 h 1786074"/>
              <a:gd name="connsiteX415" fmla="*/ 231592 w 2077606"/>
              <a:gd name="connsiteY415" fmla="*/ 1495165 h 1786074"/>
              <a:gd name="connsiteX416" fmla="*/ 223624 w 2077606"/>
              <a:gd name="connsiteY416" fmla="*/ 1493174 h 1786074"/>
              <a:gd name="connsiteX417" fmla="*/ 223624 w 2077606"/>
              <a:gd name="connsiteY417" fmla="*/ 1483216 h 1786074"/>
              <a:gd name="connsiteX418" fmla="*/ 219639 w 2077606"/>
              <a:gd name="connsiteY418" fmla="*/ 1481224 h 1786074"/>
              <a:gd name="connsiteX419" fmla="*/ 215655 w 2077606"/>
              <a:gd name="connsiteY419" fmla="*/ 1473258 h 1786074"/>
              <a:gd name="connsiteX420" fmla="*/ 215655 w 2077606"/>
              <a:gd name="connsiteY420" fmla="*/ 1467283 h 1786074"/>
              <a:gd name="connsiteX421" fmla="*/ 223624 w 2077606"/>
              <a:gd name="connsiteY421" fmla="*/ 1465291 h 1786074"/>
              <a:gd name="connsiteX422" fmla="*/ 231592 w 2077606"/>
              <a:gd name="connsiteY422" fmla="*/ 1467283 h 1786074"/>
              <a:gd name="connsiteX423" fmla="*/ 237569 w 2077606"/>
              <a:gd name="connsiteY423" fmla="*/ 1467283 h 1786074"/>
              <a:gd name="connsiteX424" fmla="*/ 237569 w 2077606"/>
              <a:gd name="connsiteY424" fmla="*/ 1473258 h 1786074"/>
              <a:gd name="connsiteX425" fmla="*/ 243545 w 2077606"/>
              <a:gd name="connsiteY425" fmla="*/ 1473258 h 1786074"/>
              <a:gd name="connsiteX426" fmla="*/ 247530 w 2077606"/>
              <a:gd name="connsiteY426" fmla="*/ 1467283 h 1786074"/>
              <a:gd name="connsiteX427" fmla="*/ 243545 w 2077606"/>
              <a:gd name="connsiteY427" fmla="*/ 1463300 h 1786074"/>
              <a:gd name="connsiteX428" fmla="*/ 239561 w 2077606"/>
              <a:gd name="connsiteY428" fmla="*/ 1459317 h 1786074"/>
              <a:gd name="connsiteX429" fmla="*/ 245537 w 2077606"/>
              <a:gd name="connsiteY429" fmla="*/ 1457823 h 1786074"/>
              <a:gd name="connsiteX430" fmla="*/ 2000508 w 2077606"/>
              <a:gd name="connsiteY430" fmla="*/ 1436688 h 1786074"/>
              <a:gd name="connsiteX431" fmla="*/ 2000508 w 2077606"/>
              <a:gd name="connsiteY431" fmla="*/ 1440700 h 1786074"/>
              <a:gd name="connsiteX432" fmla="*/ 2006490 w 2077606"/>
              <a:gd name="connsiteY432" fmla="*/ 1438694 h 1786074"/>
              <a:gd name="connsiteX433" fmla="*/ 2008485 w 2077606"/>
              <a:gd name="connsiteY433" fmla="*/ 1436688 h 1786074"/>
              <a:gd name="connsiteX434" fmla="*/ 2010479 w 2077606"/>
              <a:gd name="connsiteY434" fmla="*/ 1440700 h 1786074"/>
              <a:gd name="connsiteX435" fmla="*/ 2008485 w 2077606"/>
              <a:gd name="connsiteY435" fmla="*/ 1444713 h 1786074"/>
              <a:gd name="connsiteX436" fmla="*/ 2006490 w 2077606"/>
              <a:gd name="connsiteY436" fmla="*/ 1448725 h 1786074"/>
              <a:gd name="connsiteX437" fmla="*/ 2002502 w 2077606"/>
              <a:gd name="connsiteY437" fmla="*/ 1448725 h 1786074"/>
              <a:gd name="connsiteX438" fmla="*/ 1996520 w 2077606"/>
              <a:gd name="connsiteY438" fmla="*/ 1450731 h 1786074"/>
              <a:gd name="connsiteX439" fmla="*/ 1998514 w 2077606"/>
              <a:gd name="connsiteY439" fmla="*/ 1452738 h 1786074"/>
              <a:gd name="connsiteX440" fmla="*/ 2000508 w 2077606"/>
              <a:gd name="connsiteY440" fmla="*/ 1456750 h 1786074"/>
              <a:gd name="connsiteX441" fmla="*/ 2000508 w 2077606"/>
              <a:gd name="connsiteY441" fmla="*/ 1460762 h 1786074"/>
              <a:gd name="connsiteX442" fmla="*/ 1998514 w 2077606"/>
              <a:gd name="connsiteY442" fmla="*/ 1464775 h 1786074"/>
              <a:gd name="connsiteX443" fmla="*/ 1998514 w 2077606"/>
              <a:gd name="connsiteY443" fmla="*/ 1468787 h 1786074"/>
              <a:gd name="connsiteX444" fmla="*/ 1992532 w 2077606"/>
              <a:gd name="connsiteY444" fmla="*/ 1470793 h 1786074"/>
              <a:gd name="connsiteX445" fmla="*/ 1990538 w 2077606"/>
              <a:gd name="connsiteY445" fmla="*/ 1468787 h 1786074"/>
              <a:gd name="connsiteX446" fmla="*/ 1990538 w 2077606"/>
              <a:gd name="connsiteY446" fmla="*/ 1472799 h 1786074"/>
              <a:gd name="connsiteX447" fmla="*/ 1986550 w 2077606"/>
              <a:gd name="connsiteY447" fmla="*/ 1478818 h 1786074"/>
              <a:gd name="connsiteX448" fmla="*/ 1978574 w 2077606"/>
              <a:gd name="connsiteY448" fmla="*/ 1488849 h 1786074"/>
              <a:gd name="connsiteX449" fmla="*/ 1972591 w 2077606"/>
              <a:gd name="connsiteY449" fmla="*/ 1500886 h 1786074"/>
              <a:gd name="connsiteX450" fmla="*/ 1976580 w 2077606"/>
              <a:gd name="connsiteY450" fmla="*/ 1504898 h 1786074"/>
              <a:gd name="connsiteX451" fmla="*/ 1982562 w 2077606"/>
              <a:gd name="connsiteY451" fmla="*/ 1498880 h 1786074"/>
              <a:gd name="connsiteX452" fmla="*/ 1988544 w 2077606"/>
              <a:gd name="connsiteY452" fmla="*/ 1492861 h 1786074"/>
              <a:gd name="connsiteX453" fmla="*/ 1990538 w 2077606"/>
              <a:gd name="connsiteY453" fmla="*/ 1496873 h 1786074"/>
              <a:gd name="connsiteX454" fmla="*/ 1990538 w 2077606"/>
              <a:gd name="connsiteY454" fmla="*/ 1498880 h 1786074"/>
              <a:gd name="connsiteX455" fmla="*/ 1996520 w 2077606"/>
              <a:gd name="connsiteY455" fmla="*/ 1500886 h 1786074"/>
              <a:gd name="connsiteX456" fmla="*/ 2000508 w 2077606"/>
              <a:gd name="connsiteY456" fmla="*/ 1500886 h 1786074"/>
              <a:gd name="connsiteX457" fmla="*/ 2002502 w 2077606"/>
              <a:gd name="connsiteY457" fmla="*/ 1504898 h 1786074"/>
              <a:gd name="connsiteX458" fmla="*/ 1996520 w 2077606"/>
              <a:gd name="connsiteY458" fmla="*/ 1508910 h 1786074"/>
              <a:gd name="connsiteX459" fmla="*/ 1990538 w 2077606"/>
              <a:gd name="connsiteY459" fmla="*/ 1506904 h 1786074"/>
              <a:gd name="connsiteX460" fmla="*/ 1986550 w 2077606"/>
              <a:gd name="connsiteY460" fmla="*/ 1508910 h 1786074"/>
              <a:gd name="connsiteX461" fmla="*/ 1986550 w 2077606"/>
              <a:gd name="connsiteY461" fmla="*/ 1510917 h 1786074"/>
              <a:gd name="connsiteX462" fmla="*/ 2000508 w 2077606"/>
              <a:gd name="connsiteY462" fmla="*/ 1514929 h 1786074"/>
              <a:gd name="connsiteX463" fmla="*/ 2002502 w 2077606"/>
              <a:gd name="connsiteY463" fmla="*/ 1520948 h 1786074"/>
              <a:gd name="connsiteX464" fmla="*/ 2008485 w 2077606"/>
              <a:gd name="connsiteY464" fmla="*/ 1518941 h 1786074"/>
              <a:gd name="connsiteX465" fmla="*/ 2010479 w 2077606"/>
              <a:gd name="connsiteY465" fmla="*/ 1512923 h 1786074"/>
              <a:gd name="connsiteX466" fmla="*/ 2010479 w 2077606"/>
              <a:gd name="connsiteY466" fmla="*/ 1518941 h 1786074"/>
              <a:gd name="connsiteX467" fmla="*/ 2008485 w 2077606"/>
              <a:gd name="connsiteY467" fmla="*/ 1526966 h 1786074"/>
              <a:gd name="connsiteX468" fmla="*/ 2006490 w 2077606"/>
              <a:gd name="connsiteY468" fmla="*/ 1530978 h 1786074"/>
              <a:gd name="connsiteX469" fmla="*/ 2010479 w 2077606"/>
              <a:gd name="connsiteY469" fmla="*/ 1528972 h 1786074"/>
              <a:gd name="connsiteX470" fmla="*/ 2012473 w 2077606"/>
              <a:gd name="connsiteY470" fmla="*/ 1524960 h 1786074"/>
              <a:gd name="connsiteX471" fmla="*/ 2016461 w 2077606"/>
              <a:gd name="connsiteY471" fmla="*/ 1520948 h 1786074"/>
              <a:gd name="connsiteX472" fmla="*/ 2018455 w 2077606"/>
              <a:gd name="connsiteY472" fmla="*/ 1520948 h 1786074"/>
              <a:gd name="connsiteX473" fmla="*/ 2022443 w 2077606"/>
              <a:gd name="connsiteY473" fmla="*/ 1520948 h 1786074"/>
              <a:gd name="connsiteX474" fmla="*/ 2026431 w 2077606"/>
              <a:gd name="connsiteY474" fmla="*/ 1514929 h 1786074"/>
              <a:gd name="connsiteX475" fmla="*/ 2030419 w 2077606"/>
              <a:gd name="connsiteY475" fmla="*/ 1518941 h 1786074"/>
              <a:gd name="connsiteX476" fmla="*/ 2030419 w 2077606"/>
              <a:gd name="connsiteY476" fmla="*/ 1520948 h 1786074"/>
              <a:gd name="connsiteX477" fmla="*/ 2036401 w 2077606"/>
              <a:gd name="connsiteY477" fmla="*/ 1518941 h 1786074"/>
              <a:gd name="connsiteX478" fmla="*/ 2046372 w 2077606"/>
              <a:gd name="connsiteY478" fmla="*/ 1520948 h 1786074"/>
              <a:gd name="connsiteX479" fmla="*/ 2050360 w 2077606"/>
              <a:gd name="connsiteY479" fmla="*/ 1522954 h 1786074"/>
              <a:gd name="connsiteX480" fmla="*/ 2054348 w 2077606"/>
              <a:gd name="connsiteY480" fmla="*/ 1528972 h 1786074"/>
              <a:gd name="connsiteX481" fmla="*/ 2052354 w 2077606"/>
              <a:gd name="connsiteY481" fmla="*/ 1530978 h 1786074"/>
              <a:gd name="connsiteX482" fmla="*/ 2048366 w 2077606"/>
              <a:gd name="connsiteY482" fmla="*/ 1532985 h 1786074"/>
              <a:gd name="connsiteX483" fmla="*/ 2046372 w 2077606"/>
              <a:gd name="connsiteY483" fmla="*/ 1534991 h 1786074"/>
              <a:gd name="connsiteX484" fmla="*/ 2038395 w 2077606"/>
              <a:gd name="connsiteY484" fmla="*/ 1543015 h 1786074"/>
              <a:gd name="connsiteX485" fmla="*/ 2038395 w 2077606"/>
              <a:gd name="connsiteY485" fmla="*/ 1549034 h 1786074"/>
              <a:gd name="connsiteX486" fmla="*/ 2038395 w 2077606"/>
              <a:gd name="connsiteY486" fmla="*/ 1555053 h 1786074"/>
              <a:gd name="connsiteX487" fmla="*/ 2032413 w 2077606"/>
              <a:gd name="connsiteY487" fmla="*/ 1561071 h 1786074"/>
              <a:gd name="connsiteX488" fmla="*/ 2040390 w 2077606"/>
              <a:gd name="connsiteY488" fmla="*/ 1561071 h 1786074"/>
              <a:gd name="connsiteX489" fmla="*/ 2046372 w 2077606"/>
              <a:gd name="connsiteY489" fmla="*/ 1557059 h 1786074"/>
              <a:gd name="connsiteX490" fmla="*/ 2050360 w 2077606"/>
              <a:gd name="connsiteY490" fmla="*/ 1555053 h 1786074"/>
              <a:gd name="connsiteX491" fmla="*/ 2056342 w 2077606"/>
              <a:gd name="connsiteY491" fmla="*/ 1553046 h 1786074"/>
              <a:gd name="connsiteX492" fmla="*/ 2058336 w 2077606"/>
              <a:gd name="connsiteY492" fmla="*/ 1555053 h 1786074"/>
              <a:gd name="connsiteX493" fmla="*/ 2056342 w 2077606"/>
              <a:gd name="connsiteY493" fmla="*/ 1561071 h 1786074"/>
              <a:gd name="connsiteX494" fmla="*/ 2052354 w 2077606"/>
              <a:gd name="connsiteY494" fmla="*/ 1563077 h 1786074"/>
              <a:gd name="connsiteX495" fmla="*/ 2048366 w 2077606"/>
              <a:gd name="connsiteY495" fmla="*/ 1567090 h 1786074"/>
              <a:gd name="connsiteX496" fmla="*/ 2042384 w 2077606"/>
              <a:gd name="connsiteY496" fmla="*/ 1569096 h 1786074"/>
              <a:gd name="connsiteX497" fmla="*/ 2040390 w 2077606"/>
              <a:gd name="connsiteY497" fmla="*/ 1571102 h 1786074"/>
              <a:gd name="connsiteX498" fmla="*/ 2042384 w 2077606"/>
              <a:gd name="connsiteY498" fmla="*/ 1577120 h 1786074"/>
              <a:gd name="connsiteX499" fmla="*/ 2038395 w 2077606"/>
              <a:gd name="connsiteY499" fmla="*/ 1581133 h 1786074"/>
              <a:gd name="connsiteX500" fmla="*/ 2034407 w 2077606"/>
              <a:gd name="connsiteY500" fmla="*/ 1585145 h 1786074"/>
              <a:gd name="connsiteX501" fmla="*/ 2030419 w 2077606"/>
              <a:gd name="connsiteY501" fmla="*/ 1583139 h 1786074"/>
              <a:gd name="connsiteX502" fmla="*/ 2028425 w 2077606"/>
              <a:gd name="connsiteY502" fmla="*/ 1581133 h 1786074"/>
              <a:gd name="connsiteX503" fmla="*/ 2024437 w 2077606"/>
              <a:gd name="connsiteY503" fmla="*/ 1585145 h 1786074"/>
              <a:gd name="connsiteX504" fmla="*/ 2022443 w 2077606"/>
              <a:gd name="connsiteY504" fmla="*/ 1589157 h 1786074"/>
              <a:gd name="connsiteX505" fmla="*/ 2018455 w 2077606"/>
              <a:gd name="connsiteY505" fmla="*/ 1595176 h 1786074"/>
              <a:gd name="connsiteX506" fmla="*/ 2014467 w 2077606"/>
              <a:gd name="connsiteY506" fmla="*/ 1597182 h 1786074"/>
              <a:gd name="connsiteX507" fmla="*/ 2010479 w 2077606"/>
              <a:gd name="connsiteY507" fmla="*/ 1599188 h 1786074"/>
              <a:gd name="connsiteX508" fmla="*/ 2006490 w 2077606"/>
              <a:gd name="connsiteY508" fmla="*/ 1601195 h 1786074"/>
              <a:gd name="connsiteX509" fmla="*/ 2006490 w 2077606"/>
              <a:gd name="connsiteY509" fmla="*/ 1603201 h 1786074"/>
              <a:gd name="connsiteX510" fmla="*/ 2004496 w 2077606"/>
              <a:gd name="connsiteY510" fmla="*/ 1613232 h 1786074"/>
              <a:gd name="connsiteX511" fmla="*/ 1998514 w 2077606"/>
              <a:gd name="connsiteY511" fmla="*/ 1615238 h 1786074"/>
              <a:gd name="connsiteX512" fmla="*/ 1994526 w 2077606"/>
              <a:gd name="connsiteY512" fmla="*/ 1617244 h 1786074"/>
              <a:gd name="connsiteX513" fmla="*/ 1984556 w 2077606"/>
              <a:gd name="connsiteY513" fmla="*/ 1619250 h 1786074"/>
              <a:gd name="connsiteX514" fmla="*/ 1978574 w 2077606"/>
              <a:gd name="connsiteY514" fmla="*/ 1615238 h 1786074"/>
              <a:gd name="connsiteX515" fmla="*/ 1984556 w 2077606"/>
              <a:gd name="connsiteY515" fmla="*/ 1609219 h 1786074"/>
              <a:gd name="connsiteX516" fmla="*/ 1996520 w 2077606"/>
              <a:gd name="connsiteY516" fmla="*/ 1605207 h 1786074"/>
              <a:gd name="connsiteX517" fmla="*/ 2000508 w 2077606"/>
              <a:gd name="connsiteY517" fmla="*/ 1603201 h 1786074"/>
              <a:gd name="connsiteX518" fmla="*/ 2002502 w 2077606"/>
              <a:gd name="connsiteY518" fmla="*/ 1595176 h 1786074"/>
              <a:gd name="connsiteX519" fmla="*/ 2012473 w 2077606"/>
              <a:gd name="connsiteY519" fmla="*/ 1591164 h 1786074"/>
              <a:gd name="connsiteX520" fmla="*/ 2010479 w 2077606"/>
              <a:gd name="connsiteY520" fmla="*/ 1587151 h 1786074"/>
              <a:gd name="connsiteX521" fmla="*/ 2004496 w 2077606"/>
              <a:gd name="connsiteY521" fmla="*/ 1589157 h 1786074"/>
              <a:gd name="connsiteX522" fmla="*/ 2000508 w 2077606"/>
              <a:gd name="connsiteY522" fmla="*/ 1587151 h 1786074"/>
              <a:gd name="connsiteX523" fmla="*/ 2000508 w 2077606"/>
              <a:gd name="connsiteY523" fmla="*/ 1593170 h 1786074"/>
              <a:gd name="connsiteX524" fmla="*/ 1994526 w 2077606"/>
              <a:gd name="connsiteY524" fmla="*/ 1597182 h 1786074"/>
              <a:gd name="connsiteX525" fmla="*/ 1990538 w 2077606"/>
              <a:gd name="connsiteY525" fmla="*/ 1593170 h 1786074"/>
              <a:gd name="connsiteX526" fmla="*/ 1988544 w 2077606"/>
              <a:gd name="connsiteY526" fmla="*/ 1593170 h 1786074"/>
              <a:gd name="connsiteX527" fmla="*/ 1982562 w 2077606"/>
              <a:gd name="connsiteY527" fmla="*/ 1593170 h 1786074"/>
              <a:gd name="connsiteX528" fmla="*/ 1986550 w 2077606"/>
              <a:gd name="connsiteY528" fmla="*/ 1587151 h 1786074"/>
              <a:gd name="connsiteX529" fmla="*/ 1986550 w 2077606"/>
              <a:gd name="connsiteY529" fmla="*/ 1585145 h 1786074"/>
              <a:gd name="connsiteX530" fmla="*/ 1984556 w 2077606"/>
              <a:gd name="connsiteY530" fmla="*/ 1583139 h 1786074"/>
              <a:gd name="connsiteX531" fmla="*/ 1982562 w 2077606"/>
              <a:gd name="connsiteY531" fmla="*/ 1583139 h 1786074"/>
              <a:gd name="connsiteX532" fmla="*/ 1980568 w 2077606"/>
              <a:gd name="connsiteY532" fmla="*/ 1583139 h 1786074"/>
              <a:gd name="connsiteX533" fmla="*/ 1976580 w 2077606"/>
              <a:gd name="connsiteY533" fmla="*/ 1583139 h 1786074"/>
              <a:gd name="connsiteX534" fmla="*/ 1974586 w 2077606"/>
              <a:gd name="connsiteY534" fmla="*/ 1587151 h 1786074"/>
              <a:gd name="connsiteX535" fmla="*/ 1970597 w 2077606"/>
              <a:gd name="connsiteY535" fmla="*/ 1587151 h 1786074"/>
              <a:gd name="connsiteX536" fmla="*/ 1966609 w 2077606"/>
              <a:gd name="connsiteY536" fmla="*/ 1587151 h 1786074"/>
              <a:gd name="connsiteX537" fmla="*/ 1962621 w 2077606"/>
              <a:gd name="connsiteY537" fmla="*/ 1587151 h 1786074"/>
              <a:gd name="connsiteX538" fmla="*/ 1958633 w 2077606"/>
              <a:gd name="connsiteY538" fmla="*/ 1591164 h 1786074"/>
              <a:gd name="connsiteX539" fmla="*/ 1954645 w 2077606"/>
              <a:gd name="connsiteY539" fmla="*/ 1589157 h 1786074"/>
              <a:gd name="connsiteX540" fmla="*/ 1954645 w 2077606"/>
              <a:gd name="connsiteY540" fmla="*/ 1583139 h 1786074"/>
              <a:gd name="connsiteX541" fmla="*/ 1950657 w 2077606"/>
              <a:gd name="connsiteY541" fmla="*/ 1587151 h 1786074"/>
              <a:gd name="connsiteX542" fmla="*/ 1946669 w 2077606"/>
              <a:gd name="connsiteY542" fmla="*/ 1591164 h 1786074"/>
              <a:gd name="connsiteX543" fmla="*/ 1942681 w 2077606"/>
              <a:gd name="connsiteY543" fmla="*/ 1589157 h 1786074"/>
              <a:gd name="connsiteX544" fmla="*/ 1938692 w 2077606"/>
              <a:gd name="connsiteY544" fmla="*/ 1589157 h 1786074"/>
              <a:gd name="connsiteX545" fmla="*/ 1934704 w 2077606"/>
              <a:gd name="connsiteY545" fmla="*/ 1587151 h 1786074"/>
              <a:gd name="connsiteX546" fmla="*/ 1928722 w 2077606"/>
              <a:gd name="connsiteY546" fmla="*/ 1589157 h 1786074"/>
              <a:gd name="connsiteX547" fmla="*/ 1924734 w 2077606"/>
              <a:gd name="connsiteY547" fmla="*/ 1585145 h 1786074"/>
              <a:gd name="connsiteX548" fmla="*/ 1920746 w 2077606"/>
              <a:gd name="connsiteY548" fmla="*/ 1585145 h 1786074"/>
              <a:gd name="connsiteX549" fmla="*/ 1908781 w 2077606"/>
              <a:gd name="connsiteY549" fmla="*/ 1593170 h 1786074"/>
              <a:gd name="connsiteX550" fmla="*/ 1904793 w 2077606"/>
              <a:gd name="connsiteY550" fmla="*/ 1589157 h 1786074"/>
              <a:gd name="connsiteX551" fmla="*/ 1900805 w 2077606"/>
              <a:gd name="connsiteY551" fmla="*/ 1589157 h 1786074"/>
              <a:gd name="connsiteX552" fmla="*/ 1900805 w 2077606"/>
              <a:gd name="connsiteY552" fmla="*/ 1575114 h 1786074"/>
              <a:gd name="connsiteX553" fmla="*/ 1904793 w 2077606"/>
              <a:gd name="connsiteY553" fmla="*/ 1571102 h 1786074"/>
              <a:gd name="connsiteX554" fmla="*/ 1908781 w 2077606"/>
              <a:gd name="connsiteY554" fmla="*/ 1569096 h 1786074"/>
              <a:gd name="connsiteX555" fmla="*/ 1914764 w 2077606"/>
              <a:gd name="connsiteY555" fmla="*/ 1565083 h 1786074"/>
              <a:gd name="connsiteX556" fmla="*/ 1920746 w 2077606"/>
              <a:gd name="connsiteY556" fmla="*/ 1559065 h 1786074"/>
              <a:gd name="connsiteX557" fmla="*/ 1930716 w 2077606"/>
              <a:gd name="connsiteY557" fmla="*/ 1553046 h 1786074"/>
              <a:gd name="connsiteX558" fmla="*/ 1928722 w 2077606"/>
              <a:gd name="connsiteY558" fmla="*/ 1549034 h 1786074"/>
              <a:gd name="connsiteX559" fmla="*/ 1920746 w 2077606"/>
              <a:gd name="connsiteY559" fmla="*/ 1553046 h 1786074"/>
              <a:gd name="connsiteX560" fmla="*/ 1920746 w 2077606"/>
              <a:gd name="connsiteY560" fmla="*/ 1545022 h 1786074"/>
              <a:gd name="connsiteX561" fmla="*/ 1920746 w 2077606"/>
              <a:gd name="connsiteY561" fmla="*/ 1541009 h 1786074"/>
              <a:gd name="connsiteX562" fmla="*/ 1922740 w 2077606"/>
              <a:gd name="connsiteY562" fmla="*/ 1536997 h 1786074"/>
              <a:gd name="connsiteX563" fmla="*/ 1926728 w 2077606"/>
              <a:gd name="connsiteY563" fmla="*/ 1532985 h 1786074"/>
              <a:gd name="connsiteX564" fmla="*/ 1932710 w 2077606"/>
              <a:gd name="connsiteY564" fmla="*/ 1536997 h 1786074"/>
              <a:gd name="connsiteX565" fmla="*/ 1942681 w 2077606"/>
              <a:gd name="connsiteY565" fmla="*/ 1539003 h 1786074"/>
              <a:gd name="connsiteX566" fmla="*/ 1944675 w 2077606"/>
              <a:gd name="connsiteY566" fmla="*/ 1536997 h 1786074"/>
              <a:gd name="connsiteX567" fmla="*/ 1936698 w 2077606"/>
              <a:gd name="connsiteY567" fmla="*/ 1536997 h 1786074"/>
              <a:gd name="connsiteX568" fmla="*/ 1936698 w 2077606"/>
              <a:gd name="connsiteY568" fmla="*/ 1530978 h 1786074"/>
              <a:gd name="connsiteX569" fmla="*/ 1938692 w 2077606"/>
              <a:gd name="connsiteY569" fmla="*/ 1526966 h 1786074"/>
              <a:gd name="connsiteX570" fmla="*/ 1934704 w 2077606"/>
              <a:gd name="connsiteY570" fmla="*/ 1518941 h 1786074"/>
              <a:gd name="connsiteX571" fmla="*/ 1936698 w 2077606"/>
              <a:gd name="connsiteY571" fmla="*/ 1514929 h 1786074"/>
              <a:gd name="connsiteX572" fmla="*/ 1942681 w 2077606"/>
              <a:gd name="connsiteY572" fmla="*/ 1520948 h 1786074"/>
              <a:gd name="connsiteX573" fmla="*/ 1944675 w 2077606"/>
              <a:gd name="connsiteY573" fmla="*/ 1512923 h 1786074"/>
              <a:gd name="connsiteX574" fmla="*/ 1946669 w 2077606"/>
              <a:gd name="connsiteY574" fmla="*/ 1504898 h 1786074"/>
              <a:gd name="connsiteX575" fmla="*/ 1952651 w 2077606"/>
              <a:gd name="connsiteY575" fmla="*/ 1500886 h 1786074"/>
              <a:gd name="connsiteX576" fmla="*/ 1954645 w 2077606"/>
              <a:gd name="connsiteY576" fmla="*/ 1498880 h 1786074"/>
              <a:gd name="connsiteX577" fmla="*/ 1954645 w 2077606"/>
              <a:gd name="connsiteY577" fmla="*/ 1492861 h 1786074"/>
              <a:gd name="connsiteX578" fmla="*/ 1958633 w 2077606"/>
              <a:gd name="connsiteY578" fmla="*/ 1492861 h 1786074"/>
              <a:gd name="connsiteX579" fmla="*/ 1960627 w 2077606"/>
              <a:gd name="connsiteY579" fmla="*/ 1490855 h 1786074"/>
              <a:gd name="connsiteX580" fmla="*/ 1958633 w 2077606"/>
              <a:gd name="connsiteY580" fmla="*/ 1484836 h 1786074"/>
              <a:gd name="connsiteX581" fmla="*/ 1962621 w 2077606"/>
              <a:gd name="connsiteY581" fmla="*/ 1478818 h 1786074"/>
              <a:gd name="connsiteX582" fmla="*/ 1964615 w 2077606"/>
              <a:gd name="connsiteY582" fmla="*/ 1470793 h 1786074"/>
              <a:gd name="connsiteX583" fmla="*/ 1968603 w 2077606"/>
              <a:gd name="connsiteY583" fmla="*/ 1464775 h 1786074"/>
              <a:gd name="connsiteX584" fmla="*/ 1970597 w 2077606"/>
              <a:gd name="connsiteY584" fmla="*/ 1456750 h 1786074"/>
              <a:gd name="connsiteX585" fmla="*/ 1974586 w 2077606"/>
              <a:gd name="connsiteY585" fmla="*/ 1452738 h 1786074"/>
              <a:gd name="connsiteX586" fmla="*/ 1976580 w 2077606"/>
              <a:gd name="connsiteY586" fmla="*/ 1448725 h 1786074"/>
              <a:gd name="connsiteX587" fmla="*/ 1980568 w 2077606"/>
              <a:gd name="connsiteY587" fmla="*/ 1450731 h 1786074"/>
              <a:gd name="connsiteX588" fmla="*/ 1984556 w 2077606"/>
              <a:gd name="connsiteY588" fmla="*/ 1446719 h 1786074"/>
              <a:gd name="connsiteX589" fmla="*/ 1986550 w 2077606"/>
              <a:gd name="connsiteY589" fmla="*/ 1442707 h 1786074"/>
              <a:gd name="connsiteX590" fmla="*/ 1992532 w 2077606"/>
              <a:gd name="connsiteY590" fmla="*/ 1442707 h 1786074"/>
              <a:gd name="connsiteX591" fmla="*/ 1996520 w 2077606"/>
              <a:gd name="connsiteY591" fmla="*/ 1438694 h 1786074"/>
              <a:gd name="connsiteX592" fmla="*/ 2000508 w 2077606"/>
              <a:gd name="connsiteY592" fmla="*/ 1436688 h 1786074"/>
              <a:gd name="connsiteX593" fmla="*/ 229625 w 2077606"/>
              <a:gd name="connsiteY593" fmla="*/ 1430536 h 1786074"/>
              <a:gd name="connsiteX594" fmla="*/ 231848 w 2077606"/>
              <a:gd name="connsiteY594" fmla="*/ 1430791 h 1786074"/>
              <a:gd name="connsiteX595" fmla="*/ 234070 w 2077606"/>
              <a:gd name="connsiteY595" fmla="*/ 1438955 h 1786074"/>
              <a:gd name="connsiteX596" fmla="*/ 227403 w 2077606"/>
              <a:gd name="connsiteY596" fmla="*/ 1443037 h 1786074"/>
              <a:gd name="connsiteX597" fmla="*/ 227403 w 2077606"/>
              <a:gd name="connsiteY597" fmla="*/ 1434873 h 1786074"/>
              <a:gd name="connsiteX598" fmla="*/ 229625 w 2077606"/>
              <a:gd name="connsiteY598" fmla="*/ 1430536 h 1786074"/>
              <a:gd name="connsiteX599" fmla="*/ 2014927 w 2077606"/>
              <a:gd name="connsiteY599" fmla="*/ 1422400 h 1786074"/>
              <a:gd name="connsiteX600" fmla="*/ 2020642 w 2077606"/>
              <a:gd name="connsiteY600" fmla="*/ 1424517 h 1786074"/>
              <a:gd name="connsiteX601" fmla="*/ 2013022 w 2077606"/>
              <a:gd name="connsiteY601" fmla="*/ 1426633 h 1786074"/>
              <a:gd name="connsiteX602" fmla="*/ 2014927 w 2077606"/>
              <a:gd name="connsiteY602" fmla="*/ 1422400 h 1786074"/>
              <a:gd name="connsiteX603" fmla="*/ 1422835 w 2077606"/>
              <a:gd name="connsiteY603" fmla="*/ 1422400 h 1786074"/>
              <a:gd name="connsiteX604" fmla="*/ 1426464 w 2077606"/>
              <a:gd name="connsiteY604" fmla="*/ 1422400 h 1786074"/>
              <a:gd name="connsiteX605" fmla="*/ 1430092 w 2077606"/>
              <a:gd name="connsiteY605" fmla="*/ 1422400 h 1786074"/>
              <a:gd name="connsiteX606" fmla="*/ 1426464 w 2077606"/>
              <a:gd name="connsiteY606" fmla="*/ 1428353 h 1786074"/>
              <a:gd name="connsiteX607" fmla="*/ 1422835 w 2077606"/>
              <a:gd name="connsiteY607" fmla="*/ 1428353 h 1786074"/>
              <a:gd name="connsiteX608" fmla="*/ 1419206 w 2077606"/>
              <a:gd name="connsiteY608" fmla="*/ 1428353 h 1786074"/>
              <a:gd name="connsiteX609" fmla="*/ 1419206 w 2077606"/>
              <a:gd name="connsiteY609" fmla="*/ 1424384 h 1786074"/>
              <a:gd name="connsiteX610" fmla="*/ 1422835 w 2077606"/>
              <a:gd name="connsiteY610" fmla="*/ 1422400 h 1786074"/>
              <a:gd name="connsiteX611" fmla="*/ 230260 w 2077606"/>
              <a:gd name="connsiteY611" fmla="*/ 1414463 h 1786074"/>
              <a:gd name="connsiteX612" fmla="*/ 235975 w 2077606"/>
              <a:gd name="connsiteY612" fmla="*/ 1418545 h 1786074"/>
              <a:gd name="connsiteX613" fmla="*/ 235975 w 2077606"/>
              <a:gd name="connsiteY613" fmla="*/ 1426709 h 1786074"/>
              <a:gd name="connsiteX614" fmla="*/ 232165 w 2077606"/>
              <a:gd name="connsiteY614" fmla="*/ 1424668 h 1786074"/>
              <a:gd name="connsiteX615" fmla="*/ 232165 w 2077606"/>
              <a:gd name="connsiteY615" fmla="*/ 1418545 h 1786074"/>
              <a:gd name="connsiteX616" fmla="*/ 230260 w 2077606"/>
              <a:gd name="connsiteY616" fmla="*/ 1416504 h 1786074"/>
              <a:gd name="connsiteX617" fmla="*/ 230260 w 2077606"/>
              <a:gd name="connsiteY617" fmla="*/ 1414463 h 1786074"/>
              <a:gd name="connsiteX618" fmla="*/ 224386 w 2077606"/>
              <a:gd name="connsiteY618" fmla="*/ 1406674 h 1786074"/>
              <a:gd name="connsiteX619" fmla="*/ 226371 w 2077606"/>
              <a:gd name="connsiteY619" fmla="*/ 1406922 h 1786074"/>
              <a:gd name="connsiteX620" fmla="*/ 222402 w 2077606"/>
              <a:gd name="connsiteY620" fmla="*/ 1410891 h 1786074"/>
              <a:gd name="connsiteX621" fmla="*/ 224386 w 2077606"/>
              <a:gd name="connsiteY621" fmla="*/ 1406674 h 1786074"/>
              <a:gd name="connsiteX622" fmla="*/ 237880 w 2077606"/>
              <a:gd name="connsiteY622" fmla="*/ 1404938 h 1786074"/>
              <a:gd name="connsiteX623" fmla="*/ 240261 w 2077606"/>
              <a:gd name="connsiteY623" fmla="*/ 1415521 h 1786074"/>
              <a:gd name="connsiteX624" fmla="*/ 235498 w 2077606"/>
              <a:gd name="connsiteY624" fmla="*/ 1409171 h 1786074"/>
              <a:gd name="connsiteX625" fmla="*/ 237880 w 2077606"/>
              <a:gd name="connsiteY625" fmla="*/ 1404938 h 1786074"/>
              <a:gd name="connsiteX626" fmla="*/ 227402 w 2077606"/>
              <a:gd name="connsiteY626" fmla="*/ 1397000 h 1786074"/>
              <a:gd name="connsiteX627" fmla="*/ 225497 w 2077606"/>
              <a:gd name="connsiteY627" fmla="*/ 1401233 h 1786074"/>
              <a:gd name="connsiteX628" fmla="*/ 227402 w 2077606"/>
              <a:gd name="connsiteY628" fmla="*/ 1397000 h 1786074"/>
              <a:gd name="connsiteX629" fmla="*/ 216978 w 2077606"/>
              <a:gd name="connsiteY629" fmla="*/ 1392635 h 1786074"/>
              <a:gd name="connsiteX630" fmla="*/ 217772 w 2077606"/>
              <a:gd name="connsiteY630" fmla="*/ 1395186 h 1786074"/>
              <a:gd name="connsiteX631" fmla="*/ 219888 w 2077606"/>
              <a:gd name="connsiteY631" fmla="*/ 1401309 h 1786074"/>
              <a:gd name="connsiteX632" fmla="*/ 213538 w 2077606"/>
              <a:gd name="connsiteY632" fmla="*/ 1399268 h 1786074"/>
              <a:gd name="connsiteX633" fmla="*/ 211422 w 2077606"/>
              <a:gd name="connsiteY633" fmla="*/ 1393145 h 1786074"/>
              <a:gd name="connsiteX634" fmla="*/ 216978 w 2077606"/>
              <a:gd name="connsiteY634" fmla="*/ 1392635 h 1786074"/>
              <a:gd name="connsiteX635" fmla="*/ 1382561 w 2077606"/>
              <a:gd name="connsiteY635" fmla="*/ 1381125 h 1786074"/>
              <a:gd name="connsiteX636" fmla="*/ 1390779 w 2077606"/>
              <a:gd name="connsiteY636" fmla="*/ 1383189 h 1786074"/>
              <a:gd name="connsiteX637" fmla="*/ 1394887 w 2077606"/>
              <a:gd name="connsiteY637" fmla="*/ 1383189 h 1786074"/>
              <a:gd name="connsiteX638" fmla="*/ 1401051 w 2077606"/>
              <a:gd name="connsiteY638" fmla="*/ 1383189 h 1786074"/>
              <a:gd name="connsiteX639" fmla="*/ 1396942 w 2077606"/>
              <a:gd name="connsiteY639" fmla="*/ 1389380 h 1786074"/>
              <a:gd name="connsiteX640" fmla="*/ 1398996 w 2077606"/>
              <a:gd name="connsiteY640" fmla="*/ 1397635 h 1786074"/>
              <a:gd name="connsiteX641" fmla="*/ 1396942 w 2077606"/>
              <a:gd name="connsiteY641" fmla="*/ 1399698 h 1786074"/>
              <a:gd name="connsiteX642" fmla="*/ 1392833 w 2077606"/>
              <a:gd name="connsiteY642" fmla="*/ 1399698 h 1786074"/>
              <a:gd name="connsiteX643" fmla="*/ 1386670 w 2077606"/>
              <a:gd name="connsiteY643" fmla="*/ 1399698 h 1786074"/>
              <a:gd name="connsiteX644" fmla="*/ 1384615 w 2077606"/>
              <a:gd name="connsiteY644" fmla="*/ 1395571 h 1786074"/>
              <a:gd name="connsiteX645" fmla="*/ 1376398 w 2077606"/>
              <a:gd name="connsiteY645" fmla="*/ 1397635 h 1786074"/>
              <a:gd name="connsiteX646" fmla="*/ 1372289 w 2077606"/>
              <a:gd name="connsiteY646" fmla="*/ 1391444 h 1786074"/>
              <a:gd name="connsiteX647" fmla="*/ 1370235 w 2077606"/>
              <a:gd name="connsiteY647" fmla="*/ 1389380 h 1786074"/>
              <a:gd name="connsiteX648" fmla="*/ 1374343 w 2077606"/>
              <a:gd name="connsiteY648" fmla="*/ 1385253 h 1786074"/>
              <a:gd name="connsiteX649" fmla="*/ 1376398 w 2077606"/>
              <a:gd name="connsiteY649" fmla="*/ 1383189 h 1786074"/>
              <a:gd name="connsiteX650" fmla="*/ 1382561 w 2077606"/>
              <a:gd name="connsiteY650" fmla="*/ 1381125 h 1786074"/>
              <a:gd name="connsiteX651" fmla="*/ 2015086 w 2077606"/>
              <a:gd name="connsiteY651" fmla="*/ 1379538 h 1786074"/>
              <a:gd name="connsiteX652" fmla="*/ 2019055 w 2077606"/>
              <a:gd name="connsiteY652" fmla="*/ 1381125 h 1786074"/>
              <a:gd name="connsiteX653" fmla="*/ 2013102 w 2077606"/>
              <a:gd name="connsiteY653" fmla="*/ 1382713 h 1786074"/>
              <a:gd name="connsiteX654" fmla="*/ 2015086 w 2077606"/>
              <a:gd name="connsiteY654" fmla="*/ 1379538 h 1786074"/>
              <a:gd name="connsiteX655" fmla="*/ 224496 w 2077606"/>
              <a:gd name="connsiteY655" fmla="*/ 1372552 h 1786074"/>
              <a:gd name="connsiteX656" fmla="*/ 225709 w 2077606"/>
              <a:gd name="connsiteY656" fmla="*/ 1376680 h 1786074"/>
              <a:gd name="connsiteX657" fmla="*/ 229590 w 2077606"/>
              <a:gd name="connsiteY657" fmla="*/ 1382871 h 1786074"/>
              <a:gd name="connsiteX658" fmla="*/ 227649 w 2077606"/>
              <a:gd name="connsiteY658" fmla="*/ 1384935 h 1786074"/>
              <a:gd name="connsiteX659" fmla="*/ 219888 w 2077606"/>
              <a:gd name="connsiteY659" fmla="*/ 1386998 h 1786074"/>
              <a:gd name="connsiteX660" fmla="*/ 216007 w 2077606"/>
              <a:gd name="connsiteY660" fmla="*/ 1384935 h 1786074"/>
              <a:gd name="connsiteX661" fmla="*/ 217948 w 2077606"/>
              <a:gd name="connsiteY661" fmla="*/ 1380807 h 1786074"/>
              <a:gd name="connsiteX662" fmla="*/ 221828 w 2077606"/>
              <a:gd name="connsiteY662" fmla="*/ 1374616 h 1786074"/>
              <a:gd name="connsiteX663" fmla="*/ 224496 w 2077606"/>
              <a:gd name="connsiteY663" fmla="*/ 1372552 h 1786074"/>
              <a:gd name="connsiteX664" fmla="*/ 213750 w 2077606"/>
              <a:gd name="connsiteY664" fmla="*/ 1371600 h 1786074"/>
              <a:gd name="connsiteX665" fmla="*/ 218195 w 2077606"/>
              <a:gd name="connsiteY665" fmla="*/ 1375410 h 1786074"/>
              <a:gd name="connsiteX666" fmla="*/ 213750 w 2077606"/>
              <a:gd name="connsiteY666" fmla="*/ 1379220 h 1786074"/>
              <a:gd name="connsiteX667" fmla="*/ 211528 w 2077606"/>
              <a:gd name="connsiteY667" fmla="*/ 1373505 h 1786074"/>
              <a:gd name="connsiteX668" fmla="*/ 213750 w 2077606"/>
              <a:gd name="connsiteY668" fmla="*/ 1371600 h 1786074"/>
              <a:gd name="connsiteX669" fmla="*/ 194337 w 2077606"/>
              <a:gd name="connsiteY669" fmla="*/ 1361381 h 1786074"/>
              <a:gd name="connsiteX670" fmla="*/ 196378 w 2077606"/>
              <a:gd name="connsiteY670" fmla="*/ 1362869 h 1786074"/>
              <a:gd name="connsiteX671" fmla="*/ 198420 w 2077606"/>
              <a:gd name="connsiteY671" fmla="*/ 1364853 h 1786074"/>
              <a:gd name="connsiteX672" fmla="*/ 202502 w 2077606"/>
              <a:gd name="connsiteY672" fmla="*/ 1368822 h 1786074"/>
              <a:gd name="connsiteX673" fmla="*/ 200461 w 2077606"/>
              <a:gd name="connsiteY673" fmla="*/ 1372791 h 1786074"/>
              <a:gd name="connsiteX674" fmla="*/ 196378 w 2077606"/>
              <a:gd name="connsiteY674" fmla="*/ 1368822 h 1786074"/>
              <a:gd name="connsiteX675" fmla="*/ 192296 w 2077606"/>
              <a:gd name="connsiteY675" fmla="*/ 1362869 h 1786074"/>
              <a:gd name="connsiteX676" fmla="*/ 194337 w 2077606"/>
              <a:gd name="connsiteY676" fmla="*/ 1361381 h 1786074"/>
              <a:gd name="connsiteX677" fmla="*/ 202161 w 2077606"/>
              <a:gd name="connsiteY677" fmla="*/ 1350963 h 1786074"/>
              <a:gd name="connsiteX678" fmla="*/ 210098 w 2077606"/>
              <a:gd name="connsiteY678" fmla="*/ 1373188 h 1786074"/>
              <a:gd name="connsiteX679" fmla="*/ 206130 w 2077606"/>
              <a:gd name="connsiteY679" fmla="*/ 1369147 h 1786074"/>
              <a:gd name="connsiteX680" fmla="*/ 204145 w 2077606"/>
              <a:gd name="connsiteY680" fmla="*/ 1367127 h 1786074"/>
              <a:gd name="connsiteX681" fmla="*/ 204145 w 2077606"/>
              <a:gd name="connsiteY681" fmla="*/ 1361065 h 1786074"/>
              <a:gd name="connsiteX682" fmla="*/ 204145 w 2077606"/>
              <a:gd name="connsiteY682" fmla="*/ 1359045 h 1786074"/>
              <a:gd name="connsiteX683" fmla="*/ 200176 w 2077606"/>
              <a:gd name="connsiteY683" fmla="*/ 1355004 h 1786074"/>
              <a:gd name="connsiteX684" fmla="*/ 202161 w 2077606"/>
              <a:gd name="connsiteY684" fmla="*/ 1350963 h 1786074"/>
              <a:gd name="connsiteX685" fmla="*/ 191842 w 2077606"/>
              <a:gd name="connsiteY685" fmla="*/ 1343025 h 1786074"/>
              <a:gd name="connsiteX686" fmla="*/ 191842 w 2077606"/>
              <a:gd name="connsiteY686" fmla="*/ 1347258 h 1786074"/>
              <a:gd name="connsiteX687" fmla="*/ 185492 w 2077606"/>
              <a:gd name="connsiteY687" fmla="*/ 1345142 h 1786074"/>
              <a:gd name="connsiteX688" fmla="*/ 191842 w 2077606"/>
              <a:gd name="connsiteY688" fmla="*/ 1343025 h 1786074"/>
              <a:gd name="connsiteX689" fmla="*/ 136497 w 2077606"/>
              <a:gd name="connsiteY689" fmla="*/ 1337090 h 1786074"/>
              <a:gd name="connsiteX690" fmla="*/ 144290 w 2077606"/>
              <a:gd name="connsiteY690" fmla="*/ 1341093 h 1786074"/>
              <a:gd name="connsiteX691" fmla="*/ 146238 w 2077606"/>
              <a:gd name="connsiteY691" fmla="*/ 1341093 h 1786074"/>
              <a:gd name="connsiteX692" fmla="*/ 152083 w 2077606"/>
              <a:gd name="connsiteY692" fmla="*/ 1341093 h 1786074"/>
              <a:gd name="connsiteX693" fmla="*/ 154032 w 2077606"/>
              <a:gd name="connsiteY693" fmla="*/ 1341093 h 1786074"/>
              <a:gd name="connsiteX694" fmla="*/ 157928 w 2077606"/>
              <a:gd name="connsiteY694" fmla="*/ 1339091 h 1786074"/>
              <a:gd name="connsiteX695" fmla="*/ 163773 w 2077606"/>
              <a:gd name="connsiteY695" fmla="*/ 1341093 h 1786074"/>
              <a:gd name="connsiteX696" fmla="*/ 163773 w 2077606"/>
              <a:gd name="connsiteY696" fmla="*/ 1349100 h 1786074"/>
              <a:gd name="connsiteX697" fmla="*/ 155980 w 2077606"/>
              <a:gd name="connsiteY697" fmla="*/ 1359108 h 1786074"/>
              <a:gd name="connsiteX698" fmla="*/ 152083 w 2077606"/>
              <a:gd name="connsiteY698" fmla="*/ 1373119 h 1786074"/>
              <a:gd name="connsiteX699" fmla="*/ 152083 w 2077606"/>
              <a:gd name="connsiteY699" fmla="*/ 1377122 h 1786074"/>
              <a:gd name="connsiteX700" fmla="*/ 154032 w 2077606"/>
              <a:gd name="connsiteY700" fmla="*/ 1379124 h 1786074"/>
              <a:gd name="connsiteX701" fmla="*/ 148187 w 2077606"/>
              <a:gd name="connsiteY701" fmla="*/ 1385129 h 1786074"/>
              <a:gd name="connsiteX702" fmla="*/ 152083 w 2077606"/>
              <a:gd name="connsiteY702" fmla="*/ 1385129 h 1786074"/>
              <a:gd name="connsiteX703" fmla="*/ 157928 w 2077606"/>
              <a:gd name="connsiteY703" fmla="*/ 1387131 h 1786074"/>
              <a:gd name="connsiteX704" fmla="*/ 152083 w 2077606"/>
              <a:gd name="connsiteY704" fmla="*/ 1391134 h 1786074"/>
              <a:gd name="connsiteX705" fmla="*/ 157928 w 2077606"/>
              <a:gd name="connsiteY705" fmla="*/ 1393135 h 1786074"/>
              <a:gd name="connsiteX706" fmla="*/ 155980 w 2077606"/>
              <a:gd name="connsiteY706" fmla="*/ 1395137 h 1786074"/>
              <a:gd name="connsiteX707" fmla="*/ 155980 w 2077606"/>
              <a:gd name="connsiteY707" fmla="*/ 1397139 h 1786074"/>
              <a:gd name="connsiteX708" fmla="*/ 155980 w 2077606"/>
              <a:gd name="connsiteY708" fmla="*/ 1401142 h 1786074"/>
              <a:gd name="connsiteX709" fmla="*/ 157928 w 2077606"/>
              <a:gd name="connsiteY709" fmla="*/ 1405145 h 1786074"/>
              <a:gd name="connsiteX710" fmla="*/ 161825 w 2077606"/>
              <a:gd name="connsiteY710" fmla="*/ 1411150 h 1786074"/>
              <a:gd name="connsiteX711" fmla="*/ 163773 w 2077606"/>
              <a:gd name="connsiteY711" fmla="*/ 1417155 h 1786074"/>
              <a:gd name="connsiteX712" fmla="*/ 161825 w 2077606"/>
              <a:gd name="connsiteY712" fmla="*/ 1423160 h 1786074"/>
              <a:gd name="connsiteX713" fmla="*/ 159876 w 2077606"/>
              <a:gd name="connsiteY713" fmla="*/ 1427163 h 1786074"/>
              <a:gd name="connsiteX714" fmla="*/ 159876 w 2077606"/>
              <a:gd name="connsiteY714" fmla="*/ 1421158 h 1786074"/>
              <a:gd name="connsiteX715" fmla="*/ 159876 w 2077606"/>
              <a:gd name="connsiteY715" fmla="*/ 1419157 h 1786074"/>
              <a:gd name="connsiteX716" fmla="*/ 157928 w 2077606"/>
              <a:gd name="connsiteY716" fmla="*/ 1415153 h 1786074"/>
              <a:gd name="connsiteX717" fmla="*/ 152083 w 2077606"/>
              <a:gd name="connsiteY717" fmla="*/ 1417155 h 1786074"/>
              <a:gd name="connsiteX718" fmla="*/ 150135 w 2077606"/>
              <a:gd name="connsiteY718" fmla="*/ 1411150 h 1786074"/>
              <a:gd name="connsiteX719" fmla="*/ 146238 w 2077606"/>
              <a:gd name="connsiteY719" fmla="*/ 1403144 h 1786074"/>
              <a:gd name="connsiteX720" fmla="*/ 146238 w 2077606"/>
              <a:gd name="connsiteY720" fmla="*/ 1393135 h 1786074"/>
              <a:gd name="connsiteX721" fmla="*/ 140393 w 2077606"/>
              <a:gd name="connsiteY721" fmla="*/ 1389132 h 1786074"/>
              <a:gd name="connsiteX722" fmla="*/ 142342 w 2077606"/>
              <a:gd name="connsiteY722" fmla="*/ 1385129 h 1786074"/>
              <a:gd name="connsiteX723" fmla="*/ 138445 w 2077606"/>
              <a:gd name="connsiteY723" fmla="*/ 1383127 h 1786074"/>
              <a:gd name="connsiteX724" fmla="*/ 138445 w 2077606"/>
              <a:gd name="connsiteY724" fmla="*/ 1377122 h 1786074"/>
              <a:gd name="connsiteX725" fmla="*/ 136497 w 2077606"/>
              <a:gd name="connsiteY725" fmla="*/ 1371117 h 1786074"/>
              <a:gd name="connsiteX726" fmla="*/ 138445 w 2077606"/>
              <a:gd name="connsiteY726" fmla="*/ 1369116 h 1786074"/>
              <a:gd name="connsiteX727" fmla="*/ 140393 w 2077606"/>
              <a:gd name="connsiteY727" fmla="*/ 1367114 h 1786074"/>
              <a:gd name="connsiteX728" fmla="*/ 136497 w 2077606"/>
              <a:gd name="connsiteY728" fmla="*/ 1367114 h 1786074"/>
              <a:gd name="connsiteX729" fmla="*/ 132600 w 2077606"/>
              <a:gd name="connsiteY729" fmla="*/ 1363111 h 1786074"/>
              <a:gd name="connsiteX730" fmla="*/ 130652 w 2077606"/>
              <a:gd name="connsiteY730" fmla="*/ 1357106 h 1786074"/>
              <a:gd name="connsiteX731" fmla="*/ 128703 w 2077606"/>
              <a:gd name="connsiteY731" fmla="*/ 1351101 h 1786074"/>
              <a:gd name="connsiteX732" fmla="*/ 130652 w 2077606"/>
              <a:gd name="connsiteY732" fmla="*/ 1347098 h 1786074"/>
              <a:gd name="connsiteX733" fmla="*/ 134548 w 2077606"/>
              <a:gd name="connsiteY733" fmla="*/ 1341093 h 1786074"/>
              <a:gd name="connsiteX734" fmla="*/ 136497 w 2077606"/>
              <a:gd name="connsiteY734" fmla="*/ 1337090 h 1786074"/>
              <a:gd name="connsiteX735" fmla="*/ 1400988 w 2077606"/>
              <a:gd name="connsiteY735" fmla="*/ 1333500 h 1786074"/>
              <a:gd name="connsiteX736" fmla="*/ 1403105 w 2077606"/>
              <a:gd name="connsiteY736" fmla="*/ 1335617 h 1786074"/>
              <a:gd name="connsiteX737" fmla="*/ 1398872 w 2077606"/>
              <a:gd name="connsiteY737" fmla="*/ 1337733 h 1786074"/>
              <a:gd name="connsiteX738" fmla="*/ 1400988 w 2077606"/>
              <a:gd name="connsiteY738" fmla="*/ 1333500 h 1786074"/>
              <a:gd name="connsiteX739" fmla="*/ 1944972 w 2077606"/>
              <a:gd name="connsiteY739" fmla="*/ 1304925 h 1786074"/>
              <a:gd name="connsiteX740" fmla="*/ 1949205 w 2077606"/>
              <a:gd name="connsiteY740" fmla="*/ 1307306 h 1786074"/>
              <a:gd name="connsiteX741" fmla="*/ 1944972 w 2077606"/>
              <a:gd name="connsiteY741" fmla="*/ 1307306 h 1786074"/>
              <a:gd name="connsiteX742" fmla="*/ 1944972 w 2077606"/>
              <a:gd name="connsiteY742" fmla="*/ 1304925 h 1786074"/>
              <a:gd name="connsiteX743" fmla="*/ 1947618 w 2077606"/>
              <a:gd name="connsiteY743" fmla="*/ 1296988 h 1786074"/>
              <a:gd name="connsiteX744" fmla="*/ 1950793 w 2077606"/>
              <a:gd name="connsiteY744" fmla="*/ 1299105 h 1786074"/>
              <a:gd name="connsiteX745" fmla="*/ 1947618 w 2077606"/>
              <a:gd name="connsiteY745" fmla="*/ 1301221 h 1786074"/>
              <a:gd name="connsiteX746" fmla="*/ 1947618 w 2077606"/>
              <a:gd name="connsiteY746" fmla="*/ 1296988 h 1786074"/>
              <a:gd name="connsiteX747" fmla="*/ 1436840 w 2077606"/>
              <a:gd name="connsiteY747" fmla="*/ 1268770 h 1786074"/>
              <a:gd name="connsiteX748" fmla="*/ 1438824 w 2077606"/>
              <a:gd name="connsiteY748" fmla="*/ 1269048 h 1786074"/>
              <a:gd name="connsiteX749" fmla="*/ 1440809 w 2077606"/>
              <a:gd name="connsiteY749" fmla="*/ 1275715 h 1786074"/>
              <a:gd name="connsiteX750" fmla="*/ 1434855 w 2077606"/>
              <a:gd name="connsiteY750" fmla="*/ 1273492 h 1786074"/>
              <a:gd name="connsiteX751" fmla="*/ 1436840 w 2077606"/>
              <a:gd name="connsiteY751" fmla="*/ 1268770 h 1786074"/>
              <a:gd name="connsiteX752" fmla="*/ 1897611 w 2077606"/>
              <a:gd name="connsiteY752" fmla="*/ 1263650 h 1786074"/>
              <a:gd name="connsiteX753" fmla="*/ 1901580 w 2077606"/>
              <a:gd name="connsiteY753" fmla="*/ 1266825 h 1786074"/>
              <a:gd name="connsiteX754" fmla="*/ 1895627 w 2077606"/>
              <a:gd name="connsiteY754" fmla="*/ 1265238 h 1786074"/>
              <a:gd name="connsiteX755" fmla="*/ 1897611 w 2077606"/>
              <a:gd name="connsiteY755" fmla="*/ 1263650 h 1786074"/>
              <a:gd name="connsiteX756" fmla="*/ 1876180 w 2077606"/>
              <a:gd name="connsiteY756" fmla="*/ 1255713 h 1786074"/>
              <a:gd name="connsiteX757" fmla="*/ 1880149 w 2077606"/>
              <a:gd name="connsiteY757" fmla="*/ 1255713 h 1786074"/>
              <a:gd name="connsiteX758" fmla="*/ 1880149 w 2077606"/>
              <a:gd name="connsiteY758" fmla="*/ 1257300 h 1786074"/>
              <a:gd name="connsiteX759" fmla="*/ 1876180 w 2077606"/>
              <a:gd name="connsiteY759" fmla="*/ 1255713 h 1786074"/>
              <a:gd name="connsiteX760" fmla="*/ 1457080 w 2077606"/>
              <a:gd name="connsiteY760" fmla="*/ 1249703 h 1786074"/>
              <a:gd name="connsiteX761" fmla="*/ 1461049 w 2077606"/>
              <a:gd name="connsiteY761" fmla="*/ 1251630 h 1786074"/>
              <a:gd name="connsiteX762" fmla="*/ 1463034 w 2077606"/>
              <a:gd name="connsiteY762" fmla="*/ 1255486 h 1786074"/>
              <a:gd name="connsiteX763" fmla="*/ 1463034 w 2077606"/>
              <a:gd name="connsiteY763" fmla="*/ 1261269 h 1786074"/>
              <a:gd name="connsiteX764" fmla="*/ 1457080 w 2077606"/>
              <a:gd name="connsiteY764" fmla="*/ 1263196 h 1786074"/>
              <a:gd name="connsiteX765" fmla="*/ 1459065 w 2077606"/>
              <a:gd name="connsiteY765" fmla="*/ 1265124 h 1786074"/>
              <a:gd name="connsiteX766" fmla="*/ 1453112 w 2077606"/>
              <a:gd name="connsiteY766" fmla="*/ 1267052 h 1786074"/>
              <a:gd name="connsiteX767" fmla="*/ 1453112 w 2077606"/>
              <a:gd name="connsiteY767" fmla="*/ 1270907 h 1786074"/>
              <a:gd name="connsiteX768" fmla="*/ 1449143 w 2077606"/>
              <a:gd name="connsiteY768" fmla="*/ 1270907 h 1786074"/>
              <a:gd name="connsiteX769" fmla="*/ 1445174 w 2077606"/>
              <a:gd name="connsiteY769" fmla="*/ 1268979 h 1786074"/>
              <a:gd name="connsiteX770" fmla="*/ 1443190 w 2077606"/>
              <a:gd name="connsiteY770" fmla="*/ 1265124 h 1786074"/>
              <a:gd name="connsiteX771" fmla="*/ 1449143 w 2077606"/>
              <a:gd name="connsiteY771" fmla="*/ 1257413 h 1786074"/>
              <a:gd name="connsiteX772" fmla="*/ 1451127 w 2077606"/>
              <a:gd name="connsiteY772" fmla="*/ 1253558 h 1786074"/>
              <a:gd name="connsiteX773" fmla="*/ 1457080 w 2077606"/>
              <a:gd name="connsiteY773" fmla="*/ 1249703 h 1786074"/>
              <a:gd name="connsiteX774" fmla="*/ 1891262 w 2077606"/>
              <a:gd name="connsiteY774" fmla="*/ 1249363 h 1786074"/>
              <a:gd name="connsiteX775" fmla="*/ 1893643 w 2077606"/>
              <a:gd name="connsiteY775" fmla="*/ 1253596 h 1786074"/>
              <a:gd name="connsiteX776" fmla="*/ 1888880 w 2077606"/>
              <a:gd name="connsiteY776" fmla="*/ 1253596 h 1786074"/>
              <a:gd name="connsiteX777" fmla="*/ 1891262 w 2077606"/>
              <a:gd name="connsiteY777" fmla="*/ 1249363 h 1786074"/>
              <a:gd name="connsiteX778" fmla="*/ 1883588 w 2077606"/>
              <a:gd name="connsiteY778" fmla="*/ 1249363 h 1786074"/>
              <a:gd name="connsiteX779" fmla="*/ 1885705 w 2077606"/>
              <a:gd name="connsiteY779" fmla="*/ 1251744 h 1786074"/>
              <a:gd name="connsiteX780" fmla="*/ 1881472 w 2077606"/>
              <a:gd name="connsiteY780" fmla="*/ 1254125 h 1786074"/>
              <a:gd name="connsiteX781" fmla="*/ 1883588 w 2077606"/>
              <a:gd name="connsiteY781" fmla="*/ 1249363 h 1786074"/>
              <a:gd name="connsiteX782" fmla="*/ 1887822 w 2077606"/>
              <a:gd name="connsiteY782" fmla="*/ 1243013 h 1786074"/>
              <a:gd name="connsiteX783" fmla="*/ 1889938 w 2077606"/>
              <a:gd name="connsiteY783" fmla="*/ 1245130 h 1786074"/>
              <a:gd name="connsiteX784" fmla="*/ 1887822 w 2077606"/>
              <a:gd name="connsiteY784" fmla="*/ 1247246 h 1786074"/>
              <a:gd name="connsiteX785" fmla="*/ 1887822 w 2077606"/>
              <a:gd name="connsiteY785" fmla="*/ 1243013 h 1786074"/>
              <a:gd name="connsiteX786" fmla="*/ 1893642 w 2077606"/>
              <a:gd name="connsiteY786" fmla="*/ 1241425 h 1786074"/>
              <a:gd name="connsiteX787" fmla="*/ 1895759 w 2077606"/>
              <a:gd name="connsiteY787" fmla="*/ 1241425 h 1786074"/>
              <a:gd name="connsiteX788" fmla="*/ 1897875 w 2077606"/>
              <a:gd name="connsiteY788" fmla="*/ 1243013 h 1786074"/>
              <a:gd name="connsiteX789" fmla="*/ 1893642 w 2077606"/>
              <a:gd name="connsiteY789" fmla="*/ 1241425 h 1786074"/>
              <a:gd name="connsiteX790" fmla="*/ 1450730 w 2077606"/>
              <a:gd name="connsiteY790" fmla="*/ 1238885 h 1786074"/>
              <a:gd name="connsiteX791" fmla="*/ 1452318 w 2077606"/>
              <a:gd name="connsiteY791" fmla="*/ 1241107 h 1786074"/>
              <a:gd name="connsiteX792" fmla="*/ 1452318 w 2077606"/>
              <a:gd name="connsiteY792" fmla="*/ 1245552 h 1786074"/>
              <a:gd name="connsiteX793" fmla="*/ 1450730 w 2077606"/>
              <a:gd name="connsiteY793" fmla="*/ 1238885 h 1786074"/>
              <a:gd name="connsiteX794" fmla="*/ 1881472 w 2077606"/>
              <a:gd name="connsiteY794" fmla="*/ 1238780 h 1786074"/>
              <a:gd name="connsiteX795" fmla="*/ 1883588 w 2077606"/>
              <a:gd name="connsiteY795" fmla="*/ 1243013 h 1786074"/>
              <a:gd name="connsiteX796" fmla="*/ 1881472 w 2077606"/>
              <a:gd name="connsiteY796" fmla="*/ 1238780 h 1786074"/>
              <a:gd name="connsiteX797" fmla="*/ 1890997 w 2077606"/>
              <a:gd name="connsiteY797" fmla="*/ 1233488 h 1786074"/>
              <a:gd name="connsiteX798" fmla="*/ 1895230 w 2077606"/>
              <a:gd name="connsiteY798" fmla="*/ 1235076 h 1786074"/>
              <a:gd name="connsiteX799" fmla="*/ 1890997 w 2077606"/>
              <a:gd name="connsiteY799" fmla="*/ 1236663 h 1786074"/>
              <a:gd name="connsiteX800" fmla="*/ 1890997 w 2077606"/>
              <a:gd name="connsiteY800" fmla="*/ 1233488 h 1786074"/>
              <a:gd name="connsiteX801" fmla="*/ 1448613 w 2077606"/>
              <a:gd name="connsiteY801" fmla="*/ 1233487 h 1786074"/>
              <a:gd name="connsiteX802" fmla="*/ 1448613 w 2077606"/>
              <a:gd name="connsiteY802" fmla="*/ 1235075 h 1786074"/>
              <a:gd name="connsiteX803" fmla="*/ 1446497 w 2077606"/>
              <a:gd name="connsiteY803" fmla="*/ 1235075 h 1786074"/>
              <a:gd name="connsiteX804" fmla="*/ 1448613 w 2077606"/>
              <a:gd name="connsiteY804" fmla="*/ 1233487 h 1786074"/>
              <a:gd name="connsiteX805" fmla="*/ 1486713 w 2077606"/>
              <a:gd name="connsiteY805" fmla="*/ 1217612 h 1786074"/>
              <a:gd name="connsiteX806" fmla="*/ 1488830 w 2077606"/>
              <a:gd name="connsiteY806" fmla="*/ 1219729 h 1786074"/>
              <a:gd name="connsiteX807" fmla="*/ 1484597 w 2077606"/>
              <a:gd name="connsiteY807" fmla="*/ 1219729 h 1786074"/>
              <a:gd name="connsiteX808" fmla="*/ 1486713 w 2077606"/>
              <a:gd name="connsiteY808" fmla="*/ 1217612 h 1786074"/>
              <a:gd name="connsiteX809" fmla="*/ 1883059 w 2077606"/>
              <a:gd name="connsiteY809" fmla="*/ 1212057 h 1786074"/>
              <a:gd name="connsiteX810" fmla="*/ 1885175 w 2077606"/>
              <a:gd name="connsiteY810" fmla="*/ 1216025 h 1786074"/>
              <a:gd name="connsiteX811" fmla="*/ 1883059 w 2077606"/>
              <a:gd name="connsiteY811" fmla="*/ 1212057 h 1786074"/>
              <a:gd name="connsiteX812" fmla="*/ 1889409 w 2077606"/>
              <a:gd name="connsiteY812" fmla="*/ 1211792 h 1786074"/>
              <a:gd name="connsiteX813" fmla="*/ 1893642 w 2077606"/>
              <a:gd name="connsiteY813" fmla="*/ 1211792 h 1786074"/>
              <a:gd name="connsiteX814" fmla="*/ 1891525 w 2077606"/>
              <a:gd name="connsiteY814" fmla="*/ 1216025 h 1786074"/>
              <a:gd name="connsiteX815" fmla="*/ 1889409 w 2077606"/>
              <a:gd name="connsiteY815" fmla="*/ 1213908 h 1786074"/>
              <a:gd name="connsiteX816" fmla="*/ 1889409 w 2077606"/>
              <a:gd name="connsiteY816" fmla="*/ 1211792 h 1786074"/>
              <a:gd name="connsiteX817" fmla="*/ 1448348 w 2077606"/>
              <a:gd name="connsiteY817" fmla="*/ 1210567 h 1786074"/>
              <a:gd name="connsiteX818" fmla="*/ 1450200 w 2077606"/>
              <a:gd name="connsiteY818" fmla="*/ 1212056 h 1786074"/>
              <a:gd name="connsiteX819" fmla="*/ 1452317 w 2077606"/>
              <a:gd name="connsiteY819" fmla="*/ 1214040 h 1786074"/>
              <a:gd name="connsiteX820" fmla="*/ 1448084 w 2077606"/>
              <a:gd name="connsiteY820" fmla="*/ 1212056 h 1786074"/>
              <a:gd name="connsiteX821" fmla="*/ 1448348 w 2077606"/>
              <a:gd name="connsiteY821" fmla="*/ 1210567 h 1786074"/>
              <a:gd name="connsiteX822" fmla="*/ 1450730 w 2077606"/>
              <a:gd name="connsiteY822" fmla="*/ 1205706 h 1786074"/>
              <a:gd name="connsiteX823" fmla="*/ 1452318 w 2077606"/>
              <a:gd name="connsiteY823" fmla="*/ 1208087 h 1786074"/>
              <a:gd name="connsiteX824" fmla="*/ 1450730 w 2077606"/>
              <a:gd name="connsiteY824" fmla="*/ 1205706 h 1786074"/>
              <a:gd name="connsiteX825" fmla="*/ 1890997 w 2077606"/>
              <a:gd name="connsiteY825" fmla="*/ 1203325 h 1786074"/>
              <a:gd name="connsiteX826" fmla="*/ 1895230 w 2077606"/>
              <a:gd name="connsiteY826" fmla="*/ 1203325 h 1786074"/>
              <a:gd name="connsiteX827" fmla="*/ 1890997 w 2077606"/>
              <a:gd name="connsiteY827" fmla="*/ 1205706 h 1786074"/>
              <a:gd name="connsiteX828" fmla="*/ 1890997 w 2077606"/>
              <a:gd name="connsiteY828" fmla="*/ 1203325 h 1786074"/>
              <a:gd name="connsiteX829" fmla="*/ 1883059 w 2077606"/>
              <a:gd name="connsiteY829" fmla="*/ 1203325 h 1786074"/>
              <a:gd name="connsiteX830" fmla="*/ 1887292 w 2077606"/>
              <a:gd name="connsiteY830" fmla="*/ 1205706 h 1786074"/>
              <a:gd name="connsiteX831" fmla="*/ 1883059 w 2077606"/>
              <a:gd name="connsiteY831" fmla="*/ 1205706 h 1786074"/>
              <a:gd name="connsiteX832" fmla="*/ 1883059 w 2077606"/>
              <a:gd name="connsiteY832" fmla="*/ 1203325 h 1786074"/>
              <a:gd name="connsiteX833" fmla="*/ 1885705 w 2077606"/>
              <a:gd name="connsiteY833" fmla="*/ 1195917 h 1786074"/>
              <a:gd name="connsiteX834" fmla="*/ 1887292 w 2077606"/>
              <a:gd name="connsiteY834" fmla="*/ 1195917 h 1786074"/>
              <a:gd name="connsiteX835" fmla="*/ 1884117 w 2077606"/>
              <a:gd name="connsiteY835" fmla="*/ 1198033 h 1786074"/>
              <a:gd name="connsiteX836" fmla="*/ 1885705 w 2077606"/>
              <a:gd name="connsiteY836" fmla="*/ 1195917 h 1786074"/>
              <a:gd name="connsiteX837" fmla="*/ 1883059 w 2077606"/>
              <a:gd name="connsiteY837" fmla="*/ 1187450 h 1786074"/>
              <a:gd name="connsiteX838" fmla="*/ 1887292 w 2077606"/>
              <a:gd name="connsiteY838" fmla="*/ 1189567 h 1786074"/>
              <a:gd name="connsiteX839" fmla="*/ 1883059 w 2077606"/>
              <a:gd name="connsiteY839" fmla="*/ 1189567 h 1786074"/>
              <a:gd name="connsiteX840" fmla="*/ 1883059 w 2077606"/>
              <a:gd name="connsiteY840" fmla="*/ 1187450 h 1786074"/>
              <a:gd name="connsiteX841" fmla="*/ 1434325 w 2077606"/>
              <a:gd name="connsiteY841" fmla="*/ 1171575 h 1786074"/>
              <a:gd name="connsiteX842" fmla="*/ 1436442 w 2077606"/>
              <a:gd name="connsiteY842" fmla="*/ 1173956 h 1786074"/>
              <a:gd name="connsiteX843" fmla="*/ 1432209 w 2077606"/>
              <a:gd name="connsiteY843" fmla="*/ 1173956 h 1786074"/>
              <a:gd name="connsiteX844" fmla="*/ 1434325 w 2077606"/>
              <a:gd name="connsiteY844" fmla="*/ 1171575 h 1786074"/>
              <a:gd name="connsiteX845" fmla="*/ 1433267 w 2077606"/>
              <a:gd name="connsiteY845" fmla="*/ 1166812 h 1786074"/>
              <a:gd name="connsiteX846" fmla="*/ 1434855 w 2077606"/>
              <a:gd name="connsiteY846" fmla="*/ 1169193 h 1786074"/>
              <a:gd name="connsiteX847" fmla="*/ 1433267 w 2077606"/>
              <a:gd name="connsiteY847" fmla="*/ 1169193 h 1786074"/>
              <a:gd name="connsiteX848" fmla="*/ 1433267 w 2077606"/>
              <a:gd name="connsiteY848" fmla="*/ 1166812 h 1786074"/>
              <a:gd name="connsiteX849" fmla="*/ 1454434 w 2077606"/>
              <a:gd name="connsiteY849" fmla="*/ 1122362 h 1786074"/>
              <a:gd name="connsiteX850" fmla="*/ 1458667 w 2077606"/>
              <a:gd name="connsiteY850" fmla="*/ 1123950 h 1786074"/>
              <a:gd name="connsiteX851" fmla="*/ 1454434 w 2077606"/>
              <a:gd name="connsiteY851" fmla="*/ 1123950 h 1786074"/>
              <a:gd name="connsiteX852" fmla="*/ 1454434 w 2077606"/>
              <a:gd name="connsiteY852" fmla="*/ 1122362 h 1786074"/>
              <a:gd name="connsiteX853" fmla="*/ 1459065 w 2077606"/>
              <a:gd name="connsiteY853" fmla="*/ 1114425 h 1786074"/>
              <a:gd name="connsiteX854" fmla="*/ 1463034 w 2077606"/>
              <a:gd name="connsiteY854" fmla="*/ 1116013 h 1786074"/>
              <a:gd name="connsiteX855" fmla="*/ 1459065 w 2077606"/>
              <a:gd name="connsiteY855" fmla="*/ 1117600 h 1786074"/>
              <a:gd name="connsiteX856" fmla="*/ 1459065 w 2077606"/>
              <a:gd name="connsiteY856" fmla="*/ 1114425 h 1786074"/>
              <a:gd name="connsiteX857" fmla="*/ 1749577 w 2077606"/>
              <a:gd name="connsiteY857" fmla="*/ 1083204 h 1786074"/>
              <a:gd name="connsiteX858" fmla="*/ 1755530 w 2077606"/>
              <a:gd name="connsiteY858" fmla="*/ 1083204 h 1786074"/>
              <a:gd name="connsiteX859" fmla="*/ 1753546 w 2077606"/>
              <a:gd name="connsiteY859" fmla="*/ 1089554 h 1786074"/>
              <a:gd name="connsiteX860" fmla="*/ 1743624 w 2077606"/>
              <a:gd name="connsiteY860" fmla="*/ 1098020 h 1786074"/>
              <a:gd name="connsiteX861" fmla="*/ 1739655 w 2077606"/>
              <a:gd name="connsiteY861" fmla="*/ 1093787 h 1786074"/>
              <a:gd name="connsiteX862" fmla="*/ 1745608 w 2077606"/>
              <a:gd name="connsiteY862" fmla="*/ 1085320 h 1786074"/>
              <a:gd name="connsiteX863" fmla="*/ 1749577 w 2077606"/>
              <a:gd name="connsiteY863" fmla="*/ 1083204 h 1786074"/>
              <a:gd name="connsiteX864" fmla="*/ 1830936 w 2077606"/>
              <a:gd name="connsiteY864" fmla="*/ 1076325 h 1786074"/>
              <a:gd name="connsiteX865" fmla="*/ 1834905 w 2077606"/>
              <a:gd name="connsiteY865" fmla="*/ 1082040 h 1786074"/>
              <a:gd name="connsiteX866" fmla="*/ 1828952 w 2077606"/>
              <a:gd name="connsiteY866" fmla="*/ 1078230 h 1786074"/>
              <a:gd name="connsiteX867" fmla="*/ 1830936 w 2077606"/>
              <a:gd name="connsiteY867" fmla="*/ 1076325 h 1786074"/>
              <a:gd name="connsiteX868" fmla="*/ 1826086 w 2077606"/>
              <a:gd name="connsiteY868" fmla="*/ 1038225 h 1786074"/>
              <a:gd name="connsiteX869" fmla="*/ 1833847 w 2077606"/>
              <a:gd name="connsiteY869" fmla="*/ 1040210 h 1786074"/>
              <a:gd name="connsiteX870" fmla="*/ 1837728 w 2077606"/>
              <a:gd name="connsiteY870" fmla="*/ 1044178 h 1786074"/>
              <a:gd name="connsiteX871" fmla="*/ 1833847 w 2077606"/>
              <a:gd name="connsiteY871" fmla="*/ 1050131 h 1786074"/>
              <a:gd name="connsiteX872" fmla="*/ 1829966 w 2077606"/>
              <a:gd name="connsiteY872" fmla="*/ 1054100 h 1786074"/>
              <a:gd name="connsiteX873" fmla="*/ 1828026 w 2077606"/>
              <a:gd name="connsiteY873" fmla="*/ 1048147 h 1786074"/>
              <a:gd name="connsiteX874" fmla="*/ 1822205 w 2077606"/>
              <a:gd name="connsiteY874" fmla="*/ 1042194 h 1786074"/>
              <a:gd name="connsiteX875" fmla="*/ 1826086 w 2077606"/>
              <a:gd name="connsiteY875" fmla="*/ 1038225 h 1786074"/>
              <a:gd name="connsiteX876" fmla="*/ 1817443 w 2077606"/>
              <a:gd name="connsiteY876" fmla="*/ 1033992 h 1786074"/>
              <a:gd name="connsiteX877" fmla="*/ 1819030 w 2077606"/>
              <a:gd name="connsiteY877" fmla="*/ 1036108 h 1786074"/>
              <a:gd name="connsiteX878" fmla="*/ 1815855 w 2077606"/>
              <a:gd name="connsiteY878" fmla="*/ 1036108 h 1786074"/>
              <a:gd name="connsiteX879" fmla="*/ 1817443 w 2077606"/>
              <a:gd name="connsiteY879" fmla="*/ 1033992 h 1786074"/>
              <a:gd name="connsiteX880" fmla="*/ 1811887 w 2077606"/>
              <a:gd name="connsiteY880" fmla="*/ 1030288 h 1786074"/>
              <a:gd name="connsiteX881" fmla="*/ 1814268 w 2077606"/>
              <a:gd name="connsiteY881" fmla="*/ 1032272 h 1786074"/>
              <a:gd name="connsiteX882" fmla="*/ 1809505 w 2077606"/>
              <a:gd name="connsiteY882" fmla="*/ 1034257 h 1786074"/>
              <a:gd name="connsiteX883" fmla="*/ 1811887 w 2077606"/>
              <a:gd name="connsiteY883" fmla="*/ 1030288 h 1786074"/>
              <a:gd name="connsiteX884" fmla="*/ 1827497 w 2077606"/>
              <a:gd name="connsiteY884" fmla="*/ 1030287 h 1786074"/>
              <a:gd name="connsiteX885" fmla="*/ 1831730 w 2077606"/>
              <a:gd name="connsiteY885" fmla="*/ 1030287 h 1786074"/>
              <a:gd name="connsiteX886" fmla="*/ 1829613 w 2077606"/>
              <a:gd name="connsiteY886" fmla="*/ 1033462 h 1786074"/>
              <a:gd name="connsiteX887" fmla="*/ 1827497 w 2077606"/>
              <a:gd name="connsiteY887" fmla="*/ 1030287 h 1786074"/>
              <a:gd name="connsiteX888" fmla="*/ 1487016 w 2077606"/>
              <a:gd name="connsiteY888" fmla="*/ 1006475 h 1786074"/>
              <a:gd name="connsiteX889" fmla="*/ 1495180 w 2077606"/>
              <a:gd name="connsiteY889" fmla="*/ 1012428 h 1786074"/>
              <a:gd name="connsiteX890" fmla="*/ 1493139 w 2077606"/>
              <a:gd name="connsiteY890" fmla="*/ 1020366 h 1786074"/>
              <a:gd name="connsiteX891" fmla="*/ 1487016 w 2077606"/>
              <a:gd name="connsiteY891" fmla="*/ 1028303 h 1786074"/>
              <a:gd name="connsiteX892" fmla="*/ 1484975 w 2077606"/>
              <a:gd name="connsiteY892" fmla="*/ 1034256 h 1786074"/>
              <a:gd name="connsiteX893" fmla="*/ 1482934 w 2077606"/>
              <a:gd name="connsiteY893" fmla="*/ 1036241 h 1786074"/>
              <a:gd name="connsiteX894" fmla="*/ 1476810 w 2077606"/>
              <a:gd name="connsiteY894" fmla="*/ 1036241 h 1786074"/>
              <a:gd name="connsiteX895" fmla="*/ 1474769 w 2077606"/>
              <a:gd name="connsiteY895" fmla="*/ 1034256 h 1786074"/>
              <a:gd name="connsiteX896" fmla="*/ 1470687 w 2077606"/>
              <a:gd name="connsiteY896" fmla="*/ 1032272 h 1786074"/>
              <a:gd name="connsiteX897" fmla="*/ 1470687 w 2077606"/>
              <a:gd name="connsiteY897" fmla="*/ 1026319 h 1786074"/>
              <a:gd name="connsiteX898" fmla="*/ 1468646 w 2077606"/>
              <a:gd name="connsiteY898" fmla="*/ 1024335 h 1786074"/>
              <a:gd name="connsiteX899" fmla="*/ 1466605 w 2077606"/>
              <a:gd name="connsiteY899" fmla="*/ 1020366 h 1786074"/>
              <a:gd name="connsiteX900" fmla="*/ 1472728 w 2077606"/>
              <a:gd name="connsiteY900" fmla="*/ 1018381 h 1786074"/>
              <a:gd name="connsiteX901" fmla="*/ 1474769 w 2077606"/>
              <a:gd name="connsiteY901" fmla="*/ 1016397 h 1786074"/>
              <a:gd name="connsiteX902" fmla="*/ 1476810 w 2077606"/>
              <a:gd name="connsiteY902" fmla="*/ 1012428 h 1786074"/>
              <a:gd name="connsiteX903" fmla="*/ 1487016 w 2077606"/>
              <a:gd name="connsiteY903" fmla="*/ 1006475 h 1786074"/>
              <a:gd name="connsiteX904" fmla="*/ 1420810 w 2077606"/>
              <a:gd name="connsiteY904" fmla="*/ 984117 h 1786074"/>
              <a:gd name="connsiteX905" fmla="*/ 1424448 w 2077606"/>
              <a:gd name="connsiteY905" fmla="*/ 984602 h 1786074"/>
              <a:gd name="connsiteX906" fmla="*/ 1426388 w 2077606"/>
              <a:gd name="connsiteY906" fmla="*/ 986543 h 1786074"/>
              <a:gd name="connsiteX907" fmla="*/ 1434150 w 2077606"/>
              <a:gd name="connsiteY907" fmla="*/ 984602 h 1786074"/>
              <a:gd name="connsiteX908" fmla="*/ 1438030 w 2077606"/>
              <a:gd name="connsiteY908" fmla="*/ 986543 h 1786074"/>
              <a:gd name="connsiteX909" fmla="*/ 1436090 w 2077606"/>
              <a:gd name="connsiteY909" fmla="*/ 990423 h 1786074"/>
              <a:gd name="connsiteX910" fmla="*/ 1434150 w 2077606"/>
              <a:gd name="connsiteY910" fmla="*/ 994304 h 1786074"/>
              <a:gd name="connsiteX911" fmla="*/ 1430269 w 2077606"/>
              <a:gd name="connsiteY911" fmla="*/ 996244 h 1786074"/>
              <a:gd name="connsiteX912" fmla="*/ 1428329 w 2077606"/>
              <a:gd name="connsiteY912" fmla="*/ 1000125 h 1786074"/>
              <a:gd name="connsiteX913" fmla="*/ 1424448 w 2077606"/>
              <a:gd name="connsiteY913" fmla="*/ 1002065 h 1786074"/>
              <a:gd name="connsiteX914" fmla="*/ 1420567 w 2077606"/>
              <a:gd name="connsiteY914" fmla="*/ 1002065 h 1786074"/>
              <a:gd name="connsiteX915" fmla="*/ 1418627 w 2077606"/>
              <a:gd name="connsiteY915" fmla="*/ 1004005 h 1786074"/>
              <a:gd name="connsiteX916" fmla="*/ 1414747 w 2077606"/>
              <a:gd name="connsiteY916" fmla="*/ 1007886 h 1786074"/>
              <a:gd name="connsiteX917" fmla="*/ 1412806 w 2077606"/>
              <a:gd name="connsiteY917" fmla="*/ 1011766 h 1786074"/>
              <a:gd name="connsiteX918" fmla="*/ 1410866 w 2077606"/>
              <a:gd name="connsiteY918" fmla="*/ 1013707 h 1786074"/>
              <a:gd name="connsiteX919" fmla="*/ 1405045 w 2077606"/>
              <a:gd name="connsiteY919" fmla="*/ 1017587 h 1786074"/>
              <a:gd name="connsiteX920" fmla="*/ 1401164 w 2077606"/>
              <a:gd name="connsiteY920" fmla="*/ 1013707 h 1786074"/>
              <a:gd name="connsiteX921" fmla="*/ 1393403 w 2077606"/>
              <a:gd name="connsiteY921" fmla="*/ 1015647 h 1786074"/>
              <a:gd name="connsiteX922" fmla="*/ 1389523 w 2077606"/>
              <a:gd name="connsiteY922" fmla="*/ 1017587 h 1786074"/>
              <a:gd name="connsiteX923" fmla="*/ 1389523 w 2077606"/>
              <a:gd name="connsiteY923" fmla="*/ 1013707 h 1786074"/>
              <a:gd name="connsiteX924" fmla="*/ 1389523 w 2077606"/>
              <a:gd name="connsiteY924" fmla="*/ 1007886 h 1786074"/>
              <a:gd name="connsiteX925" fmla="*/ 1389523 w 2077606"/>
              <a:gd name="connsiteY925" fmla="*/ 1005945 h 1786074"/>
              <a:gd name="connsiteX926" fmla="*/ 1387582 w 2077606"/>
              <a:gd name="connsiteY926" fmla="*/ 1004005 h 1786074"/>
              <a:gd name="connsiteX927" fmla="*/ 1391463 w 2077606"/>
              <a:gd name="connsiteY927" fmla="*/ 1002065 h 1786074"/>
              <a:gd name="connsiteX928" fmla="*/ 1395344 w 2077606"/>
              <a:gd name="connsiteY928" fmla="*/ 1000125 h 1786074"/>
              <a:gd name="connsiteX929" fmla="*/ 1395344 w 2077606"/>
              <a:gd name="connsiteY929" fmla="*/ 994304 h 1786074"/>
              <a:gd name="connsiteX930" fmla="*/ 1399224 w 2077606"/>
              <a:gd name="connsiteY930" fmla="*/ 992364 h 1786074"/>
              <a:gd name="connsiteX931" fmla="*/ 1401164 w 2077606"/>
              <a:gd name="connsiteY931" fmla="*/ 988483 h 1786074"/>
              <a:gd name="connsiteX932" fmla="*/ 1408926 w 2077606"/>
              <a:gd name="connsiteY932" fmla="*/ 986543 h 1786074"/>
              <a:gd name="connsiteX933" fmla="*/ 1412806 w 2077606"/>
              <a:gd name="connsiteY933" fmla="*/ 990423 h 1786074"/>
              <a:gd name="connsiteX934" fmla="*/ 1418627 w 2077606"/>
              <a:gd name="connsiteY934" fmla="*/ 986543 h 1786074"/>
              <a:gd name="connsiteX935" fmla="*/ 1420810 w 2077606"/>
              <a:gd name="connsiteY935" fmla="*/ 984117 h 1786074"/>
              <a:gd name="connsiteX936" fmla="*/ 1851309 w 2077606"/>
              <a:gd name="connsiteY936" fmla="*/ 971550 h 1786074"/>
              <a:gd name="connsiteX937" fmla="*/ 1855542 w 2077606"/>
              <a:gd name="connsiteY937" fmla="*/ 973931 h 1786074"/>
              <a:gd name="connsiteX938" fmla="*/ 1849192 w 2077606"/>
              <a:gd name="connsiteY938" fmla="*/ 976312 h 1786074"/>
              <a:gd name="connsiteX939" fmla="*/ 1851309 w 2077606"/>
              <a:gd name="connsiteY939" fmla="*/ 971550 h 1786074"/>
              <a:gd name="connsiteX940" fmla="*/ 1528396 w 2077606"/>
              <a:gd name="connsiteY940" fmla="*/ 960834 h 1786074"/>
              <a:gd name="connsiteX941" fmla="*/ 1534257 w 2077606"/>
              <a:gd name="connsiteY941" fmla="*/ 962819 h 1786074"/>
              <a:gd name="connsiteX942" fmla="*/ 1540119 w 2077606"/>
              <a:gd name="connsiteY942" fmla="*/ 962819 h 1786074"/>
              <a:gd name="connsiteX943" fmla="*/ 1542072 w 2077606"/>
              <a:gd name="connsiteY943" fmla="*/ 970756 h 1786074"/>
              <a:gd name="connsiteX944" fmla="*/ 1545980 w 2077606"/>
              <a:gd name="connsiteY944" fmla="*/ 972740 h 1786074"/>
              <a:gd name="connsiteX945" fmla="*/ 1538165 w 2077606"/>
              <a:gd name="connsiteY945" fmla="*/ 974725 h 1786074"/>
              <a:gd name="connsiteX946" fmla="*/ 1534257 w 2077606"/>
              <a:gd name="connsiteY946" fmla="*/ 980678 h 1786074"/>
              <a:gd name="connsiteX947" fmla="*/ 1530349 w 2077606"/>
              <a:gd name="connsiteY947" fmla="*/ 980678 h 1786074"/>
              <a:gd name="connsiteX948" fmla="*/ 1530349 w 2077606"/>
              <a:gd name="connsiteY948" fmla="*/ 976709 h 1786074"/>
              <a:gd name="connsiteX949" fmla="*/ 1528396 w 2077606"/>
              <a:gd name="connsiteY949" fmla="*/ 972740 h 1786074"/>
              <a:gd name="connsiteX950" fmla="*/ 1522534 w 2077606"/>
              <a:gd name="connsiteY950" fmla="*/ 966787 h 1786074"/>
              <a:gd name="connsiteX951" fmla="*/ 1524488 w 2077606"/>
              <a:gd name="connsiteY951" fmla="*/ 962819 h 1786074"/>
              <a:gd name="connsiteX952" fmla="*/ 1528396 w 2077606"/>
              <a:gd name="connsiteY952" fmla="*/ 960834 h 1786074"/>
              <a:gd name="connsiteX953" fmla="*/ 1553036 w 2077606"/>
              <a:gd name="connsiteY953" fmla="*/ 954087 h 1786074"/>
              <a:gd name="connsiteX954" fmla="*/ 1556916 w 2077606"/>
              <a:gd name="connsiteY954" fmla="*/ 954087 h 1786074"/>
              <a:gd name="connsiteX955" fmla="*/ 1562737 w 2077606"/>
              <a:gd name="connsiteY955" fmla="*/ 956072 h 1786074"/>
              <a:gd name="connsiteX956" fmla="*/ 1564678 w 2077606"/>
              <a:gd name="connsiteY956" fmla="*/ 962025 h 1786074"/>
              <a:gd name="connsiteX957" fmla="*/ 1562737 w 2077606"/>
              <a:gd name="connsiteY957" fmla="*/ 967978 h 1786074"/>
              <a:gd name="connsiteX958" fmla="*/ 1558857 w 2077606"/>
              <a:gd name="connsiteY958" fmla="*/ 964009 h 1786074"/>
              <a:gd name="connsiteX959" fmla="*/ 1551095 w 2077606"/>
              <a:gd name="connsiteY959" fmla="*/ 960040 h 1786074"/>
              <a:gd name="connsiteX960" fmla="*/ 1553036 w 2077606"/>
              <a:gd name="connsiteY960" fmla="*/ 954087 h 1786074"/>
              <a:gd name="connsiteX961" fmla="*/ 1864009 w 2077606"/>
              <a:gd name="connsiteY961" fmla="*/ 949325 h 1786074"/>
              <a:gd name="connsiteX962" fmla="*/ 1866125 w 2077606"/>
              <a:gd name="connsiteY962" fmla="*/ 953558 h 1786074"/>
              <a:gd name="connsiteX963" fmla="*/ 1864009 w 2077606"/>
              <a:gd name="connsiteY963" fmla="*/ 955675 h 1786074"/>
              <a:gd name="connsiteX964" fmla="*/ 1861892 w 2077606"/>
              <a:gd name="connsiteY964" fmla="*/ 953558 h 1786074"/>
              <a:gd name="connsiteX965" fmla="*/ 1864009 w 2077606"/>
              <a:gd name="connsiteY965" fmla="*/ 949325 h 1786074"/>
              <a:gd name="connsiteX966" fmla="*/ 1857527 w 2077606"/>
              <a:gd name="connsiteY966" fmla="*/ 949325 h 1786074"/>
              <a:gd name="connsiteX967" fmla="*/ 1859511 w 2077606"/>
              <a:gd name="connsiteY967" fmla="*/ 957580 h 1786074"/>
              <a:gd name="connsiteX968" fmla="*/ 1861496 w 2077606"/>
              <a:gd name="connsiteY968" fmla="*/ 961707 h 1786074"/>
              <a:gd name="connsiteX969" fmla="*/ 1861496 w 2077606"/>
              <a:gd name="connsiteY969" fmla="*/ 967898 h 1786074"/>
              <a:gd name="connsiteX970" fmla="*/ 1857527 w 2077606"/>
              <a:gd name="connsiteY970" fmla="*/ 965835 h 1786074"/>
              <a:gd name="connsiteX971" fmla="*/ 1855542 w 2077606"/>
              <a:gd name="connsiteY971" fmla="*/ 961707 h 1786074"/>
              <a:gd name="connsiteX972" fmla="*/ 1855542 w 2077606"/>
              <a:gd name="connsiteY972" fmla="*/ 957580 h 1786074"/>
              <a:gd name="connsiteX973" fmla="*/ 1855542 w 2077606"/>
              <a:gd name="connsiteY973" fmla="*/ 953453 h 1786074"/>
              <a:gd name="connsiteX974" fmla="*/ 1857527 w 2077606"/>
              <a:gd name="connsiteY974" fmla="*/ 949325 h 1786074"/>
              <a:gd name="connsiteX975" fmla="*/ 1853905 w 2077606"/>
              <a:gd name="connsiteY975" fmla="*/ 942181 h 1786074"/>
              <a:gd name="connsiteX976" fmla="*/ 1855146 w 2077606"/>
              <a:gd name="connsiteY976" fmla="*/ 943610 h 1786074"/>
              <a:gd name="connsiteX977" fmla="*/ 1857130 w 2077606"/>
              <a:gd name="connsiteY977" fmla="*/ 945515 h 1786074"/>
              <a:gd name="connsiteX978" fmla="*/ 1851177 w 2077606"/>
              <a:gd name="connsiteY978" fmla="*/ 947420 h 1786074"/>
              <a:gd name="connsiteX979" fmla="*/ 1851177 w 2077606"/>
              <a:gd name="connsiteY979" fmla="*/ 943610 h 1786074"/>
              <a:gd name="connsiteX980" fmla="*/ 1853905 w 2077606"/>
              <a:gd name="connsiteY980" fmla="*/ 942181 h 1786074"/>
              <a:gd name="connsiteX981" fmla="*/ 1863480 w 2077606"/>
              <a:gd name="connsiteY981" fmla="*/ 939800 h 1786074"/>
              <a:gd name="connsiteX982" fmla="*/ 1865067 w 2077606"/>
              <a:gd name="connsiteY982" fmla="*/ 941784 h 1786074"/>
              <a:gd name="connsiteX983" fmla="*/ 1863480 w 2077606"/>
              <a:gd name="connsiteY983" fmla="*/ 943769 h 1786074"/>
              <a:gd name="connsiteX984" fmla="*/ 1863480 w 2077606"/>
              <a:gd name="connsiteY984" fmla="*/ 939800 h 1786074"/>
              <a:gd name="connsiteX985" fmla="*/ 1861892 w 2077606"/>
              <a:gd name="connsiteY985" fmla="*/ 935831 h 1786074"/>
              <a:gd name="connsiteX986" fmla="*/ 1865067 w 2077606"/>
              <a:gd name="connsiteY986" fmla="*/ 935831 h 1786074"/>
              <a:gd name="connsiteX987" fmla="*/ 1863480 w 2077606"/>
              <a:gd name="connsiteY987" fmla="*/ 938212 h 1786074"/>
              <a:gd name="connsiteX988" fmla="*/ 1861892 w 2077606"/>
              <a:gd name="connsiteY988" fmla="*/ 935831 h 1786074"/>
              <a:gd name="connsiteX989" fmla="*/ 1851574 w 2077606"/>
              <a:gd name="connsiteY989" fmla="*/ 927629 h 1786074"/>
              <a:gd name="connsiteX990" fmla="*/ 1853955 w 2077606"/>
              <a:gd name="connsiteY990" fmla="*/ 929745 h 1786074"/>
              <a:gd name="connsiteX991" fmla="*/ 1849192 w 2077606"/>
              <a:gd name="connsiteY991" fmla="*/ 929745 h 1786074"/>
              <a:gd name="connsiteX992" fmla="*/ 1851574 w 2077606"/>
              <a:gd name="connsiteY992" fmla="*/ 927629 h 1786074"/>
              <a:gd name="connsiteX993" fmla="*/ 1861744 w 2077606"/>
              <a:gd name="connsiteY993" fmla="*/ 925195 h 1786074"/>
              <a:gd name="connsiteX994" fmla="*/ 1863480 w 2077606"/>
              <a:gd name="connsiteY994" fmla="*/ 929957 h 1786074"/>
              <a:gd name="connsiteX995" fmla="*/ 1859511 w 2077606"/>
              <a:gd name="connsiteY995" fmla="*/ 929957 h 1786074"/>
              <a:gd name="connsiteX996" fmla="*/ 1855542 w 2077606"/>
              <a:gd name="connsiteY996" fmla="*/ 926147 h 1786074"/>
              <a:gd name="connsiteX997" fmla="*/ 1861744 w 2077606"/>
              <a:gd name="connsiteY997" fmla="*/ 925195 h 1786074"/>
              <a:gd name="connsiteX998" fmla="*/ 1848134 w 2077606"/>
              <a:gd name="connsiteY998" fmla="*/ 922734 h 1786074"/>
              <a:gd name="connsiteX999" fmla="*/ 1852367 w 2077606"/>
              <a:gd name="connsiteY999" fmla="*/ 924719 h 1786074"/>
              <a:gd name="connsiteX1000" fmla="*/ 1846017 w 2077606"/>
              <a:gd name="connsiteY1000" fmla="*/ 926703 h 1786074"/>
              <a:gd name="connsiteX1001" fmla="*/ 1848134 w 2077606"/>
              <a:gd name="connsiteY1001" fmla="*/ 922734 h 1786074"/>
              <a:gd name="connsiteX1002" fmla="*/ 1853425 w 2077606"/>
              <a:gd name="connsiteY1002" fmla="*/ 915987 h 1786074"/>
              <a:gd name="connsiteX1003" fmla="*/ 1855542 w 2077606"/>
              <a:gd name="connsiteY1003" fmla="*/ 918368 h 1786074"/>
              <a:gd name="connsiteX1004" fmla="*/ 1853425 w 2077606"/>
              <a:gd name="connsiteY1004" fmla="*/ 920749 h 1786074"/>
              <a:gd name="connsiteX1005" fmla="*/ 1849192 w 2077606"/>
              <a:gd name="connsiteY1005" fmla="*/ 918368 h 1786074"/>
              <a:gd name="connsiteX1006" fmla="*/ 1853425 w 2077606"/>
              <a:gd name="connsiteY1006" fmla="*/ 915987 h 1786074"/>
              <a:gd name="connsiteX1007" fmla="*/ 1807918 w 2077606"/>
              <a:gd name="connsiteY1007" fmla="*/ 882650 h 1786074"/>
              <a:gd name="connsiteX1008" fmla="*/ 1811093 w 2077606"/>
              <a:gd name="connsiteY1008" fmla="*/ 884767 h 1786074"/>
              <a:gd name="connsiteX1009" fmla="*/ 1806330 w 2077606"/>
              <a:gd name="connsiteY1009" fmla="*/ 886883 h 1786074"/>
              <a:gd name="connsiteX1010" fmla="*/ 1807918 w 2077606"/>
              <a:gd name="connsiteY1010" fmla="*/ 882650 h 1786074"/>
              <a:gd name="connsiteX1011" fmla="*/ 1805272 w 2077606"/>
              <a:gd name="connsiteY1011" fmla="*/ 874712 h 1786074"/>
              <a:gd name="connsiteX1012" fmla="*/ 1809505 w 2077606"/>
              <a:gd name="connsiteY1012" fmla="*/ 876300 h 1786074"/>
              <a:gd name="connsiteX1013" fmla="*/ 1803155 w 2077606"/>
              <a:gd name="connsiteY1013" fmla="*/ 876300 h 1786074"/>
              <a:gd name="connsiteX1014" fmla="*/ 1805272 w 2077606"/>
              <a:gd name="connsiteY1014" fmla="*/ 874712 h 1786074"/>
              <a:gd name="connsiteX1015" fmla="*/ 1917455 w 2077606"/>
              <a:gd name="connsiteY1015" fmla="*/ 862012 h 1786074"/>
              <a:gd name="connsiteX1016" fmla="*/ 1917455 w 2077606"/>
              <a:gd name="connsiteY1016" fmla="*/ 867965 h 1786074"/>
              <a:gd name="connsiteX1017" fmla="*/ 1915073 w 2077606"/>
              <a:gd name="connsiteY1017" fmla="*/ 863996 h 1786074"/>
              <a:gd name="connsiteX1018" fmla="*/ 1917455 w 2077606"/>
              <a:gd name="connsiteY1018" fmla="*/ 862012 h 1786074"/>
              <a:gd name="connsiteX1019" fmla="*/ 1430886 w 2077606"/>
              <a:gd name="connsiteY1019" fmla="*/ 860425 h 1786074"/>
              <a:gd name="connsiteX1020" fmla="*/ 1428902 w 2077606"/>
              <a:gd name="connsiteY1020" fmla="*/ 864658 h 1786074"/>
              <a:gd name="connsiteX1021" fmla="*/ 1430886 w 2077606"/>
              <a:gd name="connsiteY1021" fmla="*/ 860425 h 1786074"/>
              <a:gd name="connsiteX1022" fmla="*/ 1429034 w 2077606"/>
              <a:gd name="connsiteY1022" fmla="*/ 853976 h 1786074"/>
              <a:gd name="connsiteX1023" fmla="*/ 1431150 w 2077606"/>
              <a:gd name="connsiteY1023" fmla="*/ 854472 h 1786074"/>
              <a:gd name="connsiteX1024" fmla="*/ 1431150 w 2077606"/>
              <a:gd name="connsiteY1024" fmla="*/ 856457 h 1786074"/>
              <a:gd name="connsiteX1025" fmla="*/ 1426917 w 2077606"/>
              <a:gd name="connsiteY1025" fmla="*/ 856457 h 1786074"/>
              <a:gd name="connsiteX1026" fmla="*/ 1429034 w 2077606"/>
              <a:gd name="connsiteY1026" fmla="*/ 853976 h 1786074"/>
              <a:gd name="connsiteX1027" fmla="*/ 1378896 w 2077606"/>
              <a:gd name="connsiteY1027" fmla="*/ 852488 h 1786074"/>
              <a:gd name="connsiteX1028" fmla="*/ 1380880 w 2077606"/>
              <a:gd name="connsiteY1028" fmla="*/ 856469 h 1786074"/>
              <a:gd name="connsiteX1029" fmla="*/ 1382865 w 2077606"/>
              <a:gd name="connsiteY1029" fmla="*/ 860451 h 1786074"/>
              <a:gd name="connsiteX1030" fmla="*/ 1384849 w 2077606"/>
              <a:gd name="connsiteY1030" fmla="*/ 858460 h 1786074"/>
              <a:gd name="connsiteX1031" fmla="*/ 1388818 w 2077606"/>
              <a:gd name="connsiteY1031" fmla="*/ 858460 h 1786074"/>
              <a:gd name="connsiteX1032" fmla="*/ 1388818 w 2077606"/>
              <a:gd name="connsiteY1032" fmla="*/ 862441 h 1786074"/>
              <a:gd name="connsiteX1033" fmla="*/ 1386833 w 2077606"/>
              <a:gd name="connsiteY1033" fmla="*/ 868413 h 1786074"/>
              <a:gd name="connsiteX1034" fmla="*/ 1380880 w 2077606"/>
              <a:gd name="connsiteY1034" fmla="*/ 866423 h 1786074"/>
              <a:gd name="connsiteX1035" fmla="*/ 1376912 w 2077606"/>
              <a:gd name="connsiteY1035" fmla="*/ 864432 h 1786074"/>
              <a:gd name="connsiteX1036" fmla="*/ 1374927 w 2077606"/>
              <a:gd name="connsiteY1036" fmla="*/ 868413 h 1786074"/>
              <a:gd name="connsiteX1037" fmla="*/ 1372943 w 2077606"/>
              <a:gd name="connsiteY1037" fmla="*/ 874385 h 1786074"/>
              <a:gd name="connsiteX1038" fmla="*/ 1378896 w 2077606"/>
              <a:gd name="connsiteY1038" fmla="*/ 872395 h 1786074"/>
              <a:gd name="connsiteX1039" fmla="*/ 1384849 w 2077606"/>
              <a:gd name="connsiteY1039" fmla="*/ 872395 h 1786074"/>
              <a:gd name="connsiteX1040" fmla="*/ 1386833 w 2077606"/>
              <a:gd name="connsiteY1040" fmla="*/ 880357 h 1786074"/>
              <a:gd name="connsiteX1041" fmla="*/ 1388818 w 2077606"/>
              <a:gd name="connsiteY1041" fmla="*/ 886329 h 1786074"/>
              <a:gd name="connsiteX1042" fmla="*/ 1392787 w 2077606"/>
              <a:gd name="connsiteY1042" fmla="*/ 882348 h 1786074"/>
              <a:gd name="connsiteX1043" fmla="*/ 1392787 w 2077606"/>
              <a:gd name="connsiteY1043" fmla="*/ 878367 h 1786074"/>
              <a:gd name="connsiteX1044" fmla="*/ 1396755 w 2077606"/>
              <a:gd name="connsiteY1044" fmla="*/ 874385 h 1786074"/>
              <a:gd name="connsiteX1045" fmla="*/ 1400724 w 2077606"/>
              <a:gd name="connsiteY1045" fmla="*/ 876376 h 1786074"/>
              <a:gd name="connsiteX1046" fmla="*/ 1402709 w 2077606"/>
              <a:gd name="connsiteY1046" fmla="*/ 878367 h 1786074"/>
              <a:gd name="connsiteX1047" fmla="*/ 1406677 w 2077606"/>
              <a:gd name="connsiteY1047" fmla="*/ 884339 h 1786074"/>
              <a:gd name="connsiteX1048" fmla="*/ 1406677 w 2077606"/>
              <a:gd name="connsiteY1048" fmla="*/ 886329 h 1786074"/>
              <a:gd name="connsiteX1049" fmla="*/ 1414615 w 2077606"/>
              <a:gd name="connsiteY1049" fmla="*/ 888320 h 1786074"/>
              <a:gd name="connsiteX1050" fmla="*/ 1420568 w 2077606"/>
              <a:gd name="connsiteY1050" fmla="*/ 890311 h 1786074"/>
              <a:gd name="connsiteX1051" fmla="*/ 1424537 w 2077606"/>
              <a:gd name="connsiteY1051" fmla="*/ 894292 h 1786074"/>
              <a:gd name="connsiteX1052" fmla="*/ 1428505 w 2077606"/>
              <a:gd name="connsiteY1052" fmla="*/ 896283 h 1786074"/>
              <a:gd name="connsiteX1053" fmla="*/ 1432474 w 2077606"/>
              <a:gd name="connsiteY1053" fmla="*/ 898273 h 1786074"/>
              <a:gd name="connsiteX1054" fmla="*/ 1438427 w 2077606"/>
              <a:gd name="connsiteY1054" fmla="*/ 900264 h 1786074"/>
              <a:gd name="connsiteX1055" fmla="*/ 1438427 w 2077606"/>
              <a:gd name="connsiteY1055" fmla="*/ 904245 h 1786074"/>
              <a:gd name="connsiteX1056" fmla="*/ 1440412 w 2077606"/>
              <a:gd name="connsiteY1056" fmla="*/ 904245 h 1786074"/>
              <a:gd name="connsiteX1057" fmla="*/ 1446365 w 2077606"/>
              <a:gd name="connsiteY1057" fmla="*/ 906236 h 1786074"/>
              <a:gd name="connsiteX1058" fmla="*/ 1450334 w 2077606"/>
              <a:gd name="connsiteY1058" fmla="*/ 912208 h 1786074"/>
              <a:gd name="connsiteX1059" fmla="*/ 1452318 w 2077606"/>
              <a:gd name="connsiteY1059" fmla="*/ 916189 h 1786074"/>
              <a:gd name="connsiteX1060" fmla="*/ 1450334 w 2077606"/>
              <a:gd name="connsiteY1060" fmla="*/ 920171 h 1786074"/>
              <a:gd name="connsiteX1061" fmla="*/ 1448349 w 2077606"/>
              <a:gd name="connsiteY1061" fmla="*/ 922161 h 1786074"/>
              <a:gd name="connsiteX1062" fmla="*/ 1454302 w 2077606"/>
              <a:gd name="connsiteY1062" fmla="*/ 926143 h 1786074"/>
              <a:gd name="connsiteX1063" fmla="*/ 1452318 w 2077606"/>
              <a:gd name="connsiteY1063" fmla="*/ 930124 h 1786074"/>
              <a:gd name="connsiteX1064" fmla="*/ 1448349 w 2077606"/>
              <a:gd name="connsiteY1064" fmla="*/ 936096 h 1786074"/>
              <a:gd name="connsiteX1065" fmla="*/ 1454302 w 2077606"/>
              <a:gd name="connsiteY1065" fmla="*/ 938087 h 1786074"/>
              <a:gd name="connsiteX1066" fmla="*/ 1460256 w 2077606"/>
              <a:gd name="connsiteY1066" fmla="*/ 934105 h 1786074"/>
              <a:gd name="connsiteX1067" fmla="*/ 1466209 w 2077606"/>
              <a:gd name="connsiteY1067" fmla="*/ 936096 h 1786074"/>
              <a:gd name="connsiteX1068" fmla="*/ 1470177 w 2077606"/>
              <a:gd name="connsiteY1068" fmla="*/ 938087 h 1786074"/>
              <a:gd name="connsiteX1069" fmla="*/ 1472162 w 2077606"/>
              <a:gd name="connsiteY1069" fmla="*/ 934105 h 1786074"/>
              <a:gd name="connsiteX1070" fmla="*/ 1474146 w 2077606"/>
              <a:gd name="connsiteY1070" fmla="*/ 934105 h 1786074"/>
              <a:gd name="connsiteX1071" fmla="*/ 1478115 w 2077606"/>
              <a:gd name="connsiteY1071" fmla="*/ 938087 h 1786074"/>
              <a:gd name="connsiteX1072" fmla="*/ 1476131 w 2077606"/>
              <a:gd name="connsiteY1072" fmla="*/ 944059 h 1786074"/>
              <a:gd name="connsiteX1073" fmla="*/ 1482084 w 2077606"/>
              <a:gd name="connsiteY1073" fmla="*/ 948040 h 1786074"/>
              <a:gd name="connsiteX1074" fmla="*/ 1480099 w 2077606"/>
              <a:gd name="connsiteY1074" fmla="*/ 950031 h 1786074"/>
              <a:gd name="connsiteX1075" fmla="*/ 1474146 w 2077606"/>
              <a:gd name="connsiteY1075" fmla="*/ 952021 h 1786074"/>
              <a:gd name="connsiteX1076" fmla="*/ 1464224 w 2077606"/>
              <a:gd name="connsiteY1076" fmla="*/ 957993 h 1786074"/>
              <a:gd name="connsiteX1077" fmla="*/ 1458271 w 2077606"/>
              <a:gd name="connsiteY1077" fmla="*/ 956003 h 1786074"/>
              <a:gd name="connsiteX1078" fmla="*/ 1452318 w 2077606"/>
              <a:gd name="connsiteY1078" fmla="*/ 956003 h 1786074"/>
              <a:gd name="connsiteX1079" fmla="*/ 1450334 w 2077606"/>
              <a:gd name="connsiteY1079" fmla="*/ 954012 h 1786074"/>
              <a:gd name="connsiteX1080" fmla="*/ 1446365 w 2077606"/>
              <a:gd name="connsiteY1080" fmla="*/ 952021 h 1786074"/>
              <a:gd name="connsiteX1081" fmla="*/ 1442396 w 2077606"/>
              <a:gd name="connsiteY1081" fmla="*/ 950031 h 1786074"/>
              <a:gd name="connsiteX1082" fmla="*/ 1436443 w 2077606"/>
              <a:gd name="connsiteY1082" fmla="*/ 950031 h 1786074"/>
              <a:gd name="connsiteX1083" fmla="*/ 1434459 w 2077606"/>
              <a:gd name="connsiteY1083" fmla="*/ 950031 h 1786074"/>
              <a:gd name="connsiteX1084" fmla="*/ 1428505 w 2077606"/>
              <a:gd name="connsiteY1084" fmla="*/ 948040 h 1786074"/>
              <a:gd name="connsiteX1085" fmla="*/ 1428505 w 2077606"/>
              <a:gd name="connsiteY1085" fmla="*/ 944059 h 1786074"/>
              <a:gd name="connsiteX1086" fmla="*/ 1430490 w 2077606"/>
              <a:gd name="connsiteY1086" fmla="*/ 940077 h 1786074"/>
              <a:gd name="connsiteX1087" fmla="*/ 1428505 w 2077606"/>
              <a:gd name="connsiteY1087" fmla="*/ 938087 h 1786074"/>
              <a:gd name="connsiteX1088" fmla="*/ 1426521 w 2077606"/>
              <a:gd name="connsiteY1088" fmla="*/ 940077 h 1786074"/>
              <a:gd name="connsiteX1089" fmla="*/ 1422552 w 2077606"/>
              <a:gd name="connsiteY1089" fmla="*/ 940077 h 1786074"/>
              <a:gd name="connsiteX1090" fmla="*/ 1416599 w 2077606"/>
              <a:gd name="connsiteY1090" fmla="*/ 938087 h 1786074"/>
              <a:gd name="connsiteX1091" fmla="*/ 1418584 w 2077606"/>
              <a:gd name="connsiteY1091" fmla="*/ 932115 h 1786074"/>
              <a:gd name="connsiteX1092" fmla="*/ 1418584 w 2077606"/>
              <a:gd name="connsiteY1092" fmla="*/ 928133 h 1786074"/>
              <a:gd name="connsiteX1093" fmla="*/ 1414615 w 2077606"/>
              <a:gd name="connsiteY1093" fmla="*/ 930124 h 1786074"/>
              <a:gd name="connsiteX1094" fmla="*/ 1410646 w 2077606"/>
              <a:gd name="connsiteY1094" fmla="*/ 932115 h 1786074"/>
              <a:gd name="connsiteX1095" fmla="*/ 1406677 w 2077606"/>
              <a:gd name="connsiteY1095" fmla="*/ 934105 h 1786074"/>
              <a:gd name="connsiteX1096" fmla="*/ 1404693 w 2077606"/>
              <a:gd name="connsiteY1096" fmla="*/ 946049 h 1786074"/>
              <a:gd name="connsiteX1097" fmla="*/ 1400724 w 2077606"/>
              <a:gd name="connsiteY1097" fmla="*/ 948040 h 1786074"/>
              <a:gd name="connsiteX1098" fmla="*/ 1394771 w 2077606"/>
              <a:gd name="connsiteY1098" fmla="*/ 950031 h 1786074"/>
              <a:gd name="connsiteX1099" fmla="*/ 1388818 w 2077606"/>
              <a:gd name="connsiteY1099" fmla="*/ 952021 h 1786074"/>
              <a:gd name="connsiteX1100" fmla="*/ 1384849 w 2077606"/>
              <a:gd name="connsiteY1100" fmla="*/ 952021 h 1786074"/>
              <a:gd name="connsiteX1101" fmla="*/ 1380880 w 2077606"/>
              <a:gd name="connsiteY1101" fmla="*/ 957993 h 1786074"/>
              <a:gd name="connsiteX1102" fmla="*/ 1380880 w 2077606"/>
              <a:gd name="connsiteY1102" fmla="*/ 961975 h 1786074"/>
              <a:gd name="connsiteX1103" fmla="*/ 1374927 w 2077606"/>
              <a:gd name="connsiteY1103" fmla="*/ 965956 h 1786074"/>
              <a:gd name="connsiteX1104" fmla="*/ 1372943 w 2077606"/>
              <a:gd name="connsiteY1104" fmla="*/ 967947 h 1786074"/>
              <a:gd name="connsiteX1105" fmla="*/ 1368974 w 2077606"/>
              <a:gd name="connsiteY1105" fmla="*/ 971928 h 1786074"/>
              <a:gd name="connsiteX1106" fmla="*/ 1366990 w 2077606"/>
              <a:gd name="connsiteY1106" fmla="*/ 973919 h 1786074"/>
              <a:gd name="connsiteX1107" fmla="*/ 1363021 w 2077606"/>
              <a:gd name="connsiteY1107" fmla="*/ 973919 h 1786074"/>
              <a:gd name="connsiteX1108" fmla="*/ 1355083 w 2077606"/>
              <a:gd name="connsiteY1108" fmla="*/ 975909 h 1786074"/>
              <a:gd name="connsiteX1109" fmla="*/ 1355083 w 2077606"/>
              <a:gd name="connsiteY1109" fmla="*/ 971928 h 1786074"/>
              <a:gd name="connsiteX1110" fmla="*/ 1355083 w 2077606"/>
              <a:gd name="connsiteY1110" fmla="*/ 963965 h 1786074"/>
              <a:gd name="connsiteX1111" fmla="*/ 1357068 w 2077606"/>
              <a:gd name="connsiteY1111" fmla="*/ 956003 h 1786074"/>
              <a:gd name="connsiteX1112" fmla="*/ 1353099 w 2077606"/>
              <a:gd name="connsiteY1112" fmla="*/ 946049 h 1786074"/>
              <a:gd name="connsiteX1113" fmla="*/ 1345161 w 2077606"/>
              <a:gd name="connsiteY1113" fmla="*/ 952021 h 1786074"/>
              <a:gd name="connsiteX1114" fmla="*/ 1335240 w 2077606"/>
              <a:gd name="connsiteY1114" fmla="*/ 952021 h 1786074"/>
              <a:gd name="connsiteX1115" fmla="*/ 1331271 w 2077606"/>
              <a:gd name="connsiteY1115" fmla="*/ 954012 h 1786074"/>
              <a:gd name="connsiteX1116" fmla="*/ 1327302 w 2077606"/>
              <a:gd name="connsiteY1116" fmla="*/ 957993 h 1786074"/>
              <a:gd name="connsiteX1117" fmla="*/ 1319365 w 2077606"/>
              <a:gd name="connsiteY1117" fmla="*/ 957993 h 1786074"/>
              <a:gd name="connsiteX1118" fmla="*/ 1321349 w 2077606"/>
              <a:gd name="connsiteY1118" fmla="*/ 946049 h 1786074"/>
              <a:gd name="connsiteX1119" fmla="*/ 1325318 w 2077606"/>
              <a:gd name="connsiteY1119" fmla="*/ 946049 h 1786074"/>
              <a:gd name="connsiteX1120" fmla="*/ 1329286 w 2077606"/>
              <a:gd name="connsiteY1120" fmla="*/ 944059 h 1786074"/>
              <a:gd name="connsiteX1121" fmla="*/ 1331271 w 2077606"/>
              <a:gd name="connsiteY1121" fmla="*/ 940077 h 1786074"/>
              <a:gd name="connsiteX1122" fmla="*/ 1331271 w 2077606"/>
              <a:gd name="connsiteY1122" fmla="*/ 934105 h 1786074"/>
              <a:gd name="connsiteX1123" fmla="*/ 1333255 w 2077606"/>
              <a:gd name="connsiteY1123" fmla="*/ 936096 h 1786074"/>
              <a:gd name="connsiteX1124" fmla="*/ 1335240 w 2077606"/>
              <a:gd name="connsiteY1124" fmla="*/ 934105 h 1786074"/>
              <a:gd name="connsiteX1125" fmla="*/ 1337224 w 2077606"/>
              <a:gd name="connsiteY1125" fmla="*/ 934105 h 1786074"/>
              <a:gd name="connsiteX1126" fmla="*/ 1339208 w 2077606"/>
              <a:gd name="connsiteY1126" fmla="*/ 934105 h 1786074"/>
              <a:gd name="connsiteX1127" fmla="*/ 1343177 w 2077606"/>
              <a:gd name="connsiteY1127" fmla="*/ 936096 h 1786074"/>
              <a:gd name="connsiteX1128" fmla="*/ 1347146 w 2077606"/>
              <a:gd name="connsiteY1128" fmla="*/ 934105 h 1786074"/>
              <a:gd name="connsiteX1129" fmla="*/ 1347146 w 2077606"/>
              <a:gd name="connsiteY1129" fmla="*/ 932115 h 1786074"/>
              <a:gd name="connsiteX1130" fmla="*/ 1347146 w 2077606"/>
              <a:gd name="connsiteY1130" fmla="*/ 928133 h 1786074"/>
              <a:gd name="connsiteX1131" fmla="*/ 1345161 w 2077606"/>
              <a:gd name="connsiteY1131" fmla="*/ 924152 h 1786074"/>
              <a:gd name="connsiteX1132" fmla="*/ 1347146 w 2077606"/>
              <a:gd name="connsiteY1132" fmla="*/ 916189 h 1786074"/>
              <a:gd name="connsiteX1133" fmla="*/ 1349130 w 2077606"/>
              <a:gd name="connsiteY1133" fmla="*/ 910217 h 1786074"/>
              <a:gd name="connsiteX1134" fmla="*/ 1351115 w 2077606"/>
              <a:gd name="connsiteY1134" fmla="*/ 910217 h 1786074"/>
              <a:gd name="connsiteX1135" fmla="*/ 1353099 w 2077606"/>
              <a:gd name="connsiteY1135" fmla="*/ 906236 h 1786074"/>
              <a:gd name="connsiteX1136" fmla="*/ 1353099 w 2077606"/>
              <a:gd name="connsiteY1136" fmla="*/ 902255 h 1786074"/>
              <a:gd name="connsiteX1137" fmla="*/ 1355083 w 2077606"/>
              <a:gd name="connsiteY1137" fmla="*/ 894292 h 1786074"/>
              <a:gd name="connsiteX1138" fmla="*/ 1359052 w 2077606"/>
              <a:gd name="connsiteY1138" fmla="*/ 886329 h 1786074"/>
              <a:gd name="connsiteX1139" fmla="*/ 1361037 w 2077606"/>
              <a:gd name="connsiteY1139" fmla="*/ 882348 h 1786074"/>
              <a:gd name="connsiteX1140" fmla="*/ 1361037 w 2077606"/>
              <a:gd name="connsiteY1140" fmla="*/ 876376 h 1786074"/>
              <a:gd name="connsiteX1141" fmla="*/ 1365005 w 2077606"/>
              <a:gd name="connsiteY1141" fmla="*/ 864432 h 1786074"/>
              <a:gd name="connsiteX1142" fmla="*/ 1368974 w 2077606"/>
              <a:gd name="connsiteY1142" fmla="*/ 862441 h 1786074"/>
              <a:gd name="connsiteX1143" fmla="*/ 1374927 w 2077606"/>
              <a:gd name="connsiteY1143" fmla="*/ 858460 h 1786074"/>
              <a:gd name="connsiteX1144" fmla="*/ 1378896 w 2077606"/>
              <a:gd name="connsiteY1144" fmla="*/ 852488 h 1786074"/>
              <a:gd name="connsiteX1145" fmla="*/ 1392627 w 2077606"/>
              <a:gd name="connsiteY1145" fmla="*/ 846138 h 1786074"/>
              <a:gd name="connsiteX1146" fmla="*/ 1394532 w 2077606"/>
              <a:gd name="connsiteY1146" fmla="*/ 852091 h 1786074"/>
              <a:gd name="connsiteX1147" fmla="*/ 1396437 w 2077606"/>
              <a:gd name="connsiteY1147" fmla="*/ 858044 h 1786074"/>
              <a:gd name="connsiteX1148" fmla="*/ 1398342 w 2077606"/>
              <a:gd name="connsiteY1148" fmla="*/ 862013 h 1786074"/>
              <a:gd name="connsiteX1149" fmla="*/ 1398342 w 2077606"/>
              <a:gd name="connsiteY1149" fmla="*/ 865981 h 1786074"/>
              <a:gd name="connsiteX1150" fmla="*/ 1396437 w 2077606"/>
              <a:gd name="connsiteY1150" fmla="*/ 867966 h 1786074"/>
              <a:gd name="connsiteX1151" fmla="*/ 1394532 w 2077606"/>
              <a:gd name="connsiteY1151" fmla="*/ 863997 h 1786074"/>
              <a:gd name="connsiteX1152" fmla="*/ 1392627 w 2077606"/>
              <a:gd name="connsiteY1152" fmla="*/ 860028 h 1786074"/>
              <a:gd name="connsiteX1153" fmla="*/ 1390722 w 2077606"/>
              <a:gd name="connsiteY1153" fmla="*/ 856060 h 1786074"/>
              <a:gd name="connsiteX1154" fmla="*/ 1390722 w 2077606"/>
              <a:gd name="connsiteY1154" fmla="*/ 850107 h 1786074"/>
              <a:gd name="connsiteX1155" fmla="*/ 1392627 w 2077606"/>
              <a:gd name="connsiteY1155" fmla="*/ 846138 h 1786074"/>
              <a:gd name="connsiteX1156" fmla="*/ 1408344 w 2077606"/>
              <a:gd name="connsiteY1156" fmla="*/ 842963 h 1786074"/>
              <a:gd name="connsiteX1157" fmla="*/ 1418663 w 2077606"/>
              <a:gd name="connsiteY1157" fmla="*/ 846871 h 1786074"/>
              <a:gd name="connsiteX1158" fmla="*/ 1420727 w 2077606"/>
              <a:gd name="connsiteY1158" fmla="*/ 852732 h 1786074"/>
              <a:gd name="connsiteX1159" fmla="*/ 1420727 w 2077606"/>
              <a:gd name="connsiteY1159" fmla="*/ 856640 h 1786074"/>
              <a:gd name="connsiteX1160" fmla="*/ 1424854 w 2077606"/>
              <a:gd name="connsiteY1160" fmla="*/ 860548 h 1786074"/>
              <a:gd name="connsiteX1161" fmla="*/ 1426918 w 2077606"/>
              <a:gd name="connsiteY1161" fmla="*/ 864455 h 1786074"/>
              <a:gd name="connsiteX1162" fmla="*/ 1422791 w 2077606"/>
              <a:gd name="connsiteY1162" fmla="*/ 868363 h 1786074"/>
              <a:gd name="connsiteX1163" fmla="*/ 1420727 w 2077606"/>
              <a:gd name="connsiteY1163" fmla="*/ 864455 h 1786074"/>
              <a:gd name="connsiteX1164" fmla="*/ 1414535 w 2077606"/>
              <a:gd name="connsiteY1164" fmla="*/ 864455 h 1786074"/>
              <a:gd name="connsiteX1165" fmla="*/ 1410408 w 2077606"/>
              <a:gd name="connsiteY1165" fmla="*/ 856640 h 1786074"/>
              <a:gd name="connsiteX1166" fmla="*/ 1406280 w 2077606"/>
              <a:gd name="connsiteY1166" fmla="*/ 848825 h 1786074"/>
              <a:gd name="connsiteX1167" fmla="*/ 1408344 w 2077606"/>
              <a:gd name="connsiteY1167" fmla="*/ 842963 h 1786074"/>
              <a:gd name="connsiteX1168" fmla="*/ 1895759 w 2077606"/>
              <a:gd name="connsiteY1168" fmla="*/ 784225 h 1786074"/>
              <a:gd name="connsiteX1169" fmla="*/ 1901316 w 2077606"/>
              <a:gd name="connsiteY1169" fmla="*/ 786606 h 1786074"/>
              <a:gd name="connsiteX1170" fmla="*/ 1893907 w 2077606"/>
              <a:gd name="connsiteY1170" fmla="*/ 788987 h 1786074"/>
              <a:gd name="connsiteX1171" fmla="*/ 1895759 w 2077606"/>
              <a:gd name="connsiteY1171" fmla="*/ 784225 h 1786074"/>
              <a:gd name="connsiteX1172" fmla="*/ 1686210 w 2077606"/>
              <a:gd name="connsiteY1172" fmla="*/ 766506 h 1786074"/>
              <a:gd name="connsiteX1173" fmla="*/ 1686443 w 2077606"/>
              <a:gd name="connsiteY1173" fmla="*/ 766740 h 1786074"/>
              <a:gd name="connsiteX1174" fmla="*/ 1686472 w 2077606"/>
              <a:gd name="connsiteY1174" fmla="*/ 766768 h 1786074"/>
              <a:gd name="connsiteX1175" fmla="*/ 1686158 w 2077606"/>
              <a:gd name="connsiteY1175" fmla="*/ 766455 h 1786074"/>
              <a:gd name="connsiteX1176" fmla="*/ 1686187 w 2077606"/>
              <a:gd name="connsiteY1176" fmla="*/ 766484 h 1786074"/>
              <a:gd name="connsiteX1177" fmla="*/ 1686210 w 2077606"/>
              <a:gd name="connsiteY1177" fmla="*/ 766506 h 1786074"/>
              <a:gd name="connsiteX1178" fmla="*/ 1686096 w 2077606"/>
              <a:gd name="connsiteY1178" fmla="*/ 766392 h 1786074"/>
              <a:gd name="connsiteX1179" fmla="*/ 1686108 w 2077606"/>
              <a:gd name="connsiteY1179" fmla="*/ 766405 h 1786074"/>
              <a:gd name="connsiteX1180" fmla="*/ 1686158 w 2077606"/>
              <a:gd name="connsiteY1180" fmla="*/ 766455 h 1786074"/>
              <a:gd name="connsiteX1181" fmla="*/ 863884 w 2077606"/>
              <a:gd name="connsiteY1181" fmla="*/ 764117 h 1786074"/>
              <a:gd name="connsiteX1182" fmla="*/ 866000 w 2077606"/>
              <a:gd name="connsiteY1182" fmla="*/ 766233 h 1786074"/>
              <a:gd name="connsiteX1183" fmla="*/ 863884 w 2077606"/>
              <a:gd name="connsiteY1183" fmla="*/ 764117 h 1786074"/>
              <a:gd name="connsiteX1184" fmla="*/ 876584 w 2077606"/>
              <a:gd name="connsiteY1184" fmla="*/ 762529 h 1786074"/>
              <a:gd name="connsiteX1185" fmla="*/ 880817 w 2077606"/>
              <a:gd name="connsiteY1185" fmla="*/ 762529 h 1786074"/>
              <a:gd name="connsiteX1186" fmla="*/ 876584 w 2077606"/>
              <a:gd name="connsiteY1186" fmla="*/ 764645 h 1786074"/>
              <a:gd name="connsiteX1187" fmla="*/ 876584 w 2077606"/>
              <a:gd name="connsiteY1187" fmla="*/ 762529 h 1786074"/>
              <a:gd name="connsiteX1188" fmla="*/ 852242 w 2077606"/>
              <a:gd name="connsiteY1188" fmla="*/ 762529 h 1786074"/>
              <a:gd name="connsiteX1189" fmla="*/ 858592 w 2077606"/>
              <a:gd name="connsiteY1189" fmla="*/ 762529 h 1786074"/>
              <a:gd name="connsiteX1190" fmla="*/ 856475 w 2077606"/>
              <a:gd name="connsiteY1190" fmla="*/ 766762 h 1786074"/>
              <a:gd name="connsiteX1191" fmla="*/ 852242 w 2077606"/>
              <a:gd name="connsiteY1191" fmla="*/ 762529 h 1786074"/>
              <a:gd name="connsiteX1192" fmla="*/ 735085 w 2077606"/>
              <a:gd name="connsiteY1192" fmla="*/ 762529 h 1786074"/>
              <a:gd name="connsiteX1193" fmla="*/ 742705 w 2077606"/>
              <a:gd name="connsiteY1193" fmla="*/ 762529 h 1786074"/>
              <a:gd name="connsiteX1194" fmla="*/ 736990 w 2077606"/>
              <a:gd name="connsiteY1194" fmla="*/ 764645 h 1786074"/>
              <a:gd name="connsiteX1195" fmla="*/ 735085 w 2077606"/>
              <a:gd name="connsiteY1195" fmla="*/ 762529 h 1786074"/>
              <a:gd name="connsiteX1196" fmla="*/ 752627 w 2077606"/>
              <a:gd name="connsiteY1196" fmla="*/ 762000 h 1786074"/>
              <a:gd name="connsiteX1197" fmla="*/ 756596 w 2077606"/>
              <a:gd name="connsiteY1197" fmla="*/ 762000 h 1786074"/>
              <a:gd name="connsiteX1198" fmla="*/ 750642 w 2077606"/>
              <a:gd name="connsiteY1198" fmla="*/ 764381 h 1786074"/>
              <a:gd name="connsiteX1199" fmla="*/ 752627 w 2077606"/>
              <a:gd name="connsiteY1199" fmla="*/ 762000 h 1786074"/>
              <a:gd name="connsiteX1200" fmla="*/ 760697 w 2077606"/>
              <a:gd name="connsiteY1200" fmla="*/ 760412 h 1786074"/>
              <a:gd name="connsiteX1201" fmla="*/ 764930 w 2077606"/>
              <a:gd name="connsiteY1201" fmla="*/ 764645 h 1786074"/>
              <a:gd name="connsiteX1202" fmla="*/ 760697 w 2077606"/>
              <a:gd name="connsiteY1202" fmla="*/ 764645 h 1786074"/>
              <a:gd name="connsiteX1203" fmla="*/ 760697 w 2077606"/>
              <a:gd name="connsiteY1203" fmla="*/ 760412 h 1786074"/>
              <a:gd name="connsiteX1204" fmla="*/ 1869830 w 2077606"/>
              <a:gd name="connsiteY1204" fmla="*/ 758824 h 1786074"/>
              <a:gd name="connsiteX1205" fmla="*/ 1871947 w 2077606"/>
              <a:gd name="connsiteY1205" fmla="*/ 758824 h 1786074"/>
              <a:gd name="connsiteX1206" fmla="*/ 1874063 w 2077606"/>
              <a:gd name="connsiteY1206" fmla="*/ 760412 h 1786074"/>
              <a:gd name="connsiteX1207" fmla="*/ 1869830 w 2077606"/>
              <a:gd name="connsiteY1207" fmla="*/ 758824 h 1786074"/>
              <a:gd name="connsiteX1208" fmla="*/ 825784 w 2077606"/>
              <a:gd name="connsiteY1208" fmla="*/ 758824 h 1786074"/>
              <a:gd name="connsiteX1209" fmla="*/ 830017 w 2077606"/>
              <a:gd name="connsiteY1209" fmla="*/ 758824 h 1786074"/>
              <a:gd name="connsiteX1210" fmla="*/ 825784 w 2077606"/>
              <a:gd name="connsiteY1210" fmla="*/ 760412 h 1786074"/>
              <a:gd name="connsiteX1211" fmla="*/ 825784 w 2077606"/>
              <a:gd name="connsiteY1211" fmla="*/ 758824 h 1786074"/>
              <a:gd name="connsiteX1212" fmla="*/ 1086201 w 2077606"/>
              <a:gd name="connsiteY1212" fmla="*/ 758725 h 1786074"/>
              <a:gd name="connsiteX1213" fmla="*/ 1087193 w 2077606"/>
              <a:gd name="connsiteY1213" fmla="*/ 761206 h 1786074"/>
              <a:gd name="connsiteX1214" fmla="*/ 1084018 w 2077606"/>
              <a:gd name="connsiteY1214" fmla="*/ 763190 h 1786074"/>
              <a:gd name="connsiteX1215" fmla="*/ 1084018 w 2077606"/>
              <a:gd name="connsiteY1215" fmla="*/ 759221 h 1786074"/>
              <a:gd name="connsiteX1216" fmla="*/ 1086201 w 2077606"/>
              <a:gd name="connsiteY1216" fmla="*/ 758725 h 1786074"/>
              <a:gd name="connsiteX1217" fmla="*/ 830017 w 2077606"/>
              <a:gd name="connsiteY1217" fmla="*/ 754856 h 1786074"/>
              <a:gd name="connsiteX1218" fmla="*/ 834780 w 2077606"/>
              <a:gd name="connsiteY1218" fmla="*/ 754856 h 1786074"/>
              <a:gd name="connsiteX1219" fmla="*/ 832399 w 2077606"/>
              <a:gd name="connsiteY1219" fmla="*/ 757237 h 1786074"/>
              <a:gd name="connsiteX1220" fmla="*/ 830017 w 2077606"/>
              <a:gd name="connsiteY1220" fmla="*/ 754856 h 1786074"/>
              <a:gd name="connsiteX1221" fmla="*/ 893517 w 2077606"/>
              <a:gd name="connsiteY1221" fmla="*/ 752475 h 1786074"/>
              <a:gd name="connsiteX1222" fmla="*/ 898280 w 2077606"/>
              <a:gd name="connsiteY1222" fmla="*/ 752475 h 1786074"/>
              <a:gd name="connsiteX1223" fmla="*/ 893517 w 2077606"/>
              <a:gd name="connsiteY1223" fmla="*/ 754062 h 1786074"/>
              <a:gd name="connsiteX1224" fmla="*/ 893517 w 2077606"/>
              <a:gd name="connsiteY1224" fmla="*/ 752475 h 1786074"/>
              <a:gd name="connsiteX1225" fmla="*/ 1660280 w 2077606"/>
              <a:gd name="connsiteY1225" fmla="*/ 749300 h 1786074"/>
              <a:gd name="connsiteX1226" fmla="*/ 1658339 w 2077606"/>
              <a:gd name="connsiteY1226" fmla="*/ 755083 h 1786074"/>
              <a:gd name="connsiteX1227" fmla="*/ 1664160 w 2077606"/>
              <a:gd name="connsiteY1227" fmla="*/ 757011 h 1786074"/>
              <a:gd name="connsiteX1228" fmla="*/ 1668041 w 2077606"/>
              <a:gd name="connsiteY1228" fmla="*/ 758938 h 1786074"/>
              <a:gd name="connsiteX1229" fmla="*/ 1673862 w 2077606"/>
              <a:gd name="connsiteY1229" fmla="*/ 758938 h 1786074"/>
              <a:gd name="connsiteX1230" fmla="*/ 1675802 w 2077606"/>
              <a:gd name="connsiteY1230" fmla="*/ 764721 h 1786074"/>
              <a:gd name="connsiteX1231" fmla="*/ 1677742 w 2077606"/>
              <a:gd name="connsiteY1231" fmla="*/ 772432 h 1786074"/>
              <a:gd name="connsiteX1232" fmla="*/ 1673862 w 2077606"/>
              <a:gd name="connsiteY1232" fmla="*/ 772432 h 1786074"/>
              <a:gd name="connsiteX1233" fmla="*/ 1668041 w 2077606"/>
              <a:gd name="connsiteY1233" fmla="*/ 772432 h 1786074"/>
              <a:gd name="connsiteX1234" fmla="*/ 1664160 w 2077606"/>
              <a:gd name="connsiteY1234" fmla="*/ 772432 h 1786074"/>
              <a:gd name="connsiteX1235" fmla="*/ 1658339 w 2077606"/>
              <a:gd name="connsiteY1235" fmla="*/ 772432 h 1786074"/>
              <a:gd name="connsiteX1236" fmla="*/ 1654459 w 2077606"/>
              <a:gd name="connsiteY1236" fmla="*/ 772432 h 1786074"/>
              <a:gd name="connsiteX1237" fmla="*/ 1650578 w 2077606"/>
              <a:gd name="connsiteY1237" fmla="*/ 776287 h 1786074"/>
              <a:gd name="connsiteX1238" fmla="*/ 1648638 w 2077606"/>
              <a:gd name="connsiteY1238" fmla="*/ 774359 h 1786074"/>
              <a:gd name="connsiteX1239" fmla="*/ 1646698 w 2077606"/>
              <a:gd name="connsiteY1239" fmla="*/ 772432 h 1786074"/>
              <a:gd name="connsiteX1240" fmla="*/ 1644757 w 2077606"/>
              <a:gd name="connsiteY1240" fmla="*/ 764721 h 1786074"/>
              <a:gd name="connsiteX1241" fmla="*/ 1642817 w 2077606"/>
              <a:gd name="connsiteY1241" fmla="*/ 758938 h 1786074"/>
              <a:gd name="connsiteX1242" fmla="*/ 1650578 w 2077606"/>
              <a:gd name="connsiteY1242" fmla="*/ 755083 h 1786074"/>
              <a:gd name="connsiteX1243" fmla="*/ 1654459 w 2077606"/>
              <a:gd name="connsiteY1243" fmla="*/ 753155 h 1786074"/>
              <a:gd name="connsiteX1244" fmla="*/ 1656399 w 2077606"/>
              <a:gd name="connsiteY1244" fmla="*/ 751228 h 1786074"/>
              <a:gd name="connsiteX1245" fmla="*/ 1660280 w 2077606"/>
              <a:gd name="connsiteY1245" fmla="*/ 749300 h 1786074"/>
              <a:gd name="connsiteX1246" fmla="*/ 1566618 w 2077606"/>
              <a:gd name="connsiteY1246" fmla="*/ 746125 h 1786074"/>
              <a:gd name="connsiteX1247" fmla="*/ 1569793 w 2077606"/>
              <a:gd name="connsiteY1247" fmla="*/ 748242 h 1786074"/>
              <a:gd name="connsiteX1248" fmla="*/ 1565030 w 2077606"/>
              <a:gd name="connsiteY1248" fmla="*/ 748242 h 1786074"/>
              <a:gd name="connsiteX1249" fmla="*/ 1566618 w 2077606"/>
              <a:gd name="connsiteY1249" fmla="*/ 746125 h 1786074"/>
              <a:gd name="connsiteX1250" fmla="*/ 1368357 w 2077606"/>
              <a:gd name="connsiteY1250" fmla="*/ 746125 h 1786074"/>
              <a:gd name="connsiteX1251" fmla="*/ 1372237 w 2077606"/>
              <a:gd name="connsiteY1251" fmla="*/ 750234 h 1786074"/>
              <a:gd name="connsiteX1252" fmla="*/ 1374178 w 2077606"/>
              <a:gd name="connsiteY1252" fmla="*/ 756397 h 1786074"/>
              <a:gd name="connsiteX1253" fmla="*/ 1374178 w 2077606"/>
              <a:gd name="connsiteY1253" fmla="*/ 764615 h 1786074"/>
              <a:gd name="connsiteX1254" fmla="*/ 1374178 w 2077606"/>
              <a:gd name="connsiteY1254" fmla="*/ 776941 h 1786074"/>
              <a:gd name="connsiteX1255" fmla="*/ 1368357 w 2077606"/>
              <a:gd name="connsiteY1255" fmla="*/ 776941 h 1786074"/>
              <a:gd name="connsiteX1256" fmla="*/ 1364476 w 2077606"/>
              <a:gd name="connsiteY1256" fmla="*/ 770778 h 1786074"/>
              <a:gd name="connsiteX1257" fmla="*/ 1362536 w 2077606"/>
              <a:gd name="connsiteY1257" fmla="*/ 764615 h 1786074"/>
              <a:gd name="connsiteX1258" fmla="*/ 1360595 w 2077606"/>
              <a:gd name="connsiteY1258" fmla="*/ 756397 h 1786074"/>
              <a:gd name="connsiteX1259" fmla="*/ 1364476 w 2077606"/>
              <a:gd name="connsiteY1259" fmla="*/ 752288 h 1786074"/>
              <a:gd name="connsiteX1260" fmla="*/ 1366416 w 2077606"/>
              <a:gd name="connsiteY1260" fmla="*/ 750234 h 1786074"/>
              <a:gd name="connsiteX1261" fmla="*/ 1368357 w 2077606"/>
              <a:gd name="connsiteY1261" fmla="*/ 746125 h 1786074"/>
              <a:gd name="connsiteX1262" fmla="*/ 910187 w 2077606"/>
              <a:gd name="connsiteY1262" fmla="*/ 746125 h 1786074"/>
              <a:gd name="connsiteX1263" fmla="*/ 912568 w 2077606"/>
              <a:gd name="connsiteY1263" fmla="*/ 748506 h 1786074"/>
              <a:gd name="connsiteX1264" fmla="*/ 907805 w 2077606"/>
              <a:gd name="connsiteY1264" fmla="*/ 748506 h 1786074"/>
              <a:gd name="connsiteX1265" fmla="*/ 910187 w 2077606"/>
              <a:gd name="connsiteY1265" fmla="*/ 746125 h 1786074"/>
              <a:gd name="connsiteX1266" fmla="*/ 914155 w 2077606"/>
              <a:gd name="connsiteY1266" fmla="*/ 744934 h 1786074"/>
              <a:gd name="connsiteX1267" fmla="*/ 915742 w 2077606"/>
              <a:gd name="connsiteY1267" fmla="*/ 744934 h 1786074"/>
              <a:gd name="connsiteX1268" fmla="*/ 914155 w 2077606"/>
              <a:gd name="connsiteY1268" fmla="*/ 746919 h 1786074"/>
              <a:gd name="connsiteX1269" fmla="*/ 914155 w 2077606"/>
              <a:gd name="connsiteY1269" fmla="*/ 744934 h 1786074"/>
              <a:gd name="connsiteX1270" fmla="*/ 1626489 w 2077606"/>
              <a:gd name="connsiteY1270" fmla="*/ 744921 h 1786074"/>
              <a:gd name="connsiteX1271" fmla="*/ 1634653 w 2077606"/>
              <a:gd name="connsiteY1271" fmla="*/ 748862 h 1786074"/>
              <a:gd name="connsiteX1272" fmla="*/ 1638735 w 2077606"/>
              <a:gd name="connsiteY1272" fmla="*/ 760686 h 1786074"/>
              <a:gd name="connsiteX1273" fmla="*/ 1636694 w 2077606"/>
              <a:gd name="connsiteY1273" fmla="*/ 770540 h 1786074"/>
              <a:gd name="connsiteX1274" fmla="*/ 1634653 w 2077606"/>
              <a:gd name="connsiteY1274" fmla="*/ 784335 h 1786074"/>
              <a:gd name="connsiteX1275" fmla="*/ 1624447 w 2077606"/>
              <a:gd name="connsiteY1275" fmla="*/ 792217 h 1786074"/>
              <a:gd name="connsiteX1276" fmla="*/ 1618324 w 2077606"/>
              <a:gd name="connsiteY1276" fmla="*/ 796159 h 1786074"/>
              <a:gd name="connsiteX1277" fmla="*/ 1614242 w 2077606"/>
              <a:gd name="connsiteY1277" fmla="*/ 796159 h 1786074"/>
              <a:gd name="connsiteX1278" fmla="*/ 1610160 w 2077606"/>
              <a:gd name="connsiteY1278" fmla="*/ 796159 h 1786074"/>
              <a:gd name="connsiteX1279" fmla="*/ 1610160 w 2077606"/>
              <a:gd name="connsiteY1279" fmla="*/ 800100 h 1786074"/>
              <a:gd name="connsiteX1280" fmla="*/ 1606078 w 2077606"/>
              <a:gd name="connsiteY1280" fmla="*/ 796159 h 1786074"/>
              <a:gd name="connsiteX1281" fmla="*/ 1599955 w 2077606"/>
              <a:gd name="connsiteY1281" fmla="*/ 796159 h 1786074"/>
              <a:gd name="connsiteX1282" fmla="*/ 1595872 w 2077606"/>
              <a:gd name="connsiteY1282" fmla="*/ 796159 h 1786074"/>
              <a:gd name="connsiteX1283" fmla="*/ 1589749 w 2077606"/>
              <a:gd name="connsiteY1283" fmla="*/ 796159 h 1786074"/>
              <a:gd name="connsiteX1284" fmla="*/ 1589749 w 2077606"/>
              <a:gd name="connsiteY1284" fmla="*/ 792217 h 1786074"/>
              <a:gd name="connsiteX1285" fmla="*/ 1585667 w 2077606"/>
              <a:gd name="connsiteY1285" fmla="*/ 780393 h 1786074"/>
              <a:gd name="connsiteX1286" fmla="*/ 1587708 w 2077606"/>
              <a:gd name="connsiteY1286" fmla="*/ 766598 h 1786074"/>
              <a:gd name="connsiteX1287" fmla="*/ 1589749 w 2077606"/>
              <a:gd name="connsiteY1287" fmla="*/ 762657 h 1786074"/>
              <a:gd name="connsiteX1288" fmla="*/ 1597914 w 2077606"/>
              <a:gd name="connsiteY1288" fmla="*/ 756745 h 1786074"/>
              <a:gd name="connsiteX1289" fmla="*/ 1601996 w 2077606"/>
              <a:gd name="connsiteY1289" fmla="*/ 754774 h 1786074"/>
              <a:gd name="connsiteX1290" fmla="*/ 1608119 w 2077606"/>
              <a:gd name="connsiteY1290" fmla="*/ 748862 h 1786074"/>
              <a:gd name="connsiteX1291" fmla="*/ 1620365 w 2077606"/>
              <a:gd name="connsiteY1291" fmla="*/ 746891 h 1786074"/>
              <a:gd name="connsiteX1292" fmla="*/ 1626489 w 2077606"/>
              <a:gd name="connsiteY1292" fmla="*/ 744921 h 1786074"/>
              <a:gd name="connsiteX1293" fmla="*/ 1557966 w 2077606"/>
              <a:gd name="connsiteY1293" fmla="*/ 744686 h 1786074"/>
              <a:gd name="connsiteX1294" fmla="*/ 1558680 w 2077606"/>
              <a:gd name="connsiteY1294" fmla="*/ 746919 h 1786074"/>
              <a:gd name="connsiteX1295" fmla="*/ 1554870 w 2077606"/>
              <a:gd name="connsiteY1295" fmla="*/ 754856 h 1786074"/>
              <a:gd name="connsiteX1296" fmla="*/ 1552965 w 2077606"/>
              <a:gd name="connsiteY1296" fmla="*/ 758825 h 1786074"/>
              <a:gd name="connsiteX1297" fmla="*/ 1549155 w 2077606"/>
              <a:gd name="connsiteY1297" fmla="*/ 752872 h 1786074"/>
              <a:gd name="connsiteX1298" fmla="*/ 1552965 w 2077606"/>
              <a:gd name="connsiteY1298" fmla="*/ 746919 h 1786074"/>
              <a:gd name="connsiteX1299" fmla="*/ 1557966 w 2077606"/>
              <a:gd name="connsiteY1299" fmla="*/ 744686 h 1786074"/>
              <a:gd name="connsiteX1300" fmla="*/ 814540 w 2077606"/>
              <a:gd name="connsiteY1300" fmla="*/ 738717 h 1786074"/>
              <a:gd name="connsiteX1301" fmla="*/ 820493 w 2077606"/>
              <a:gd name="connsiteY1301" fmla="*/ 738717 h 1786074"/>
              <a:gd name="connsiteX1302" fmla="*/ 814540 w 2077606"/>
              <a:gd name="connsiteY1302" fmla="*/ 742950 h 1786074"/>
              <a:gd name="connsiteX1303" fmla="*/ 814540 w 2077606"/>
              <a:gd name="connsiteY1303" fmla="*/ 738717 h 1786074"/>
              <a:gd name="connsiteX1304" fmla="*/ 827636 w 2077606"/>
              <a:gd name="connsiteY1304" fmla="*/ 736600 h 1786074"/>
              <a:gd name="connsiteX1305" fmla="*/ 829621 w 2077606"/>
              <a:gd name="connsiteY1305" fmla="*/ 740833 h 1786074"/>
              <a:gd name="connsiteX1306" fmla="*/ 823667 w 2077606"/>
              <a:gd name="connsiteY1306" fmla="*/ 738717 h 1786074"/>
              <a:gd name="connsiteX1307" fmla="*/ 827636 w 2077606"/>
              <a:gd name="connsiteY1307" fmla="*/ 736600 h 1786074"/>
              <a:gd name="connsiteX1308" fmla="*/ 1807389 w 2077606"/>
              <a:gd name="connsiteY1308" fmla="*/ 730150 h 1786074"/>
              <a:gd name="connsiteX1309" fmla="*/ 1809505 w 2077606"/>
              <a:gd name="connsiteY1309" fmla="*/ 732631 h 1786074"/>
              <a:gd name="connsiteX1310" fmla="*/ 1805272 w 2077606"/>
              <a:gd name="connsiteY1310" fmla="*/ 734615 h 1786074"/>
              <a:gd name="connsiteX1311" fmla="*/ 1805272 w 2077606"/>
              <a:gd name="connsiteY1311" fmla="*/ 730646 h 1786074"/>
              <a:gd name="connsiteX1312" fmla="*/ 1807389 w 2077606"/>
              <a:gd name="connsiteY1312" fmla="*/ 730150 h 1786074"/>
              <a:gd name="connsiteX1313" fmla="*/ 1558362 w 2077606"/>
              <a:gd name="connsiteY1313" fmla="*/ 729059 h 1786074"/>
              <a:gd name="connsiteX1314" fmla="*/ 1565030 w 2077606"/>
              <a:gd name="connsiteY1314" fmla="*/ 733028 h 1786074"/>
              <a:gd name="connsiteX1315" fmla="*/ 1562808 w 2077606"/>
              <a:gd name="connsiteY1315" fmla="*/ 738981 h 1786074"/>
              <a:gd name="connsiteX1316" fmla="*/ 1556140 w 2077606"/>
              <a:gd name="connsiteY1316" fmla="*/ 740966 h 1786074"/>
              <a:gd name="connsiteX1317" fmla="*/ 1558362 w 2077606"/>
              <a:gd name="connsiteY1317" fmla="*/ 735013 h 1786074"/>
              <a:gd name="connsiteX1318" fmla="*/ 1558362 w 2077606"/>
              <a:gd name="connsiteY1318" fmla="*/ 731044 h 1786074"/>
              <a:gd name="connsiteX1319" fmla="*/ 1558362 w 2077606"/>
              <a:gd name="connsiteY1319" fmla="*/ 729059 h 1786074"/>
              <a:gd name="connsiteX1320" fmla="*/ 747997 w 2077606"/>
              <a:gd name="connsiteY1320" fmla="*/ 728662 h 1786074"/>
              <a:gd name="connsiteX1321" fmla="*/ 750113 w 2077606"/>
              <a:gd name="connsiteY1321" fmla="*/ 730779 h 1786074"/>
              <a:gd name="connsiteX1322" fmla="*/ 747997 w 2077606"/>
              <a:gd name="connsiteY1322" fmla="*/ 732895 h 1786074"/>
              <a:gd name="connsiteX1323" fmla="*/ 747997 w 2077606"/>
              <a:gd name="connsiteY1323" fmla="*/ 728662 h 1786074"/>
              <a:gd name="connsiteX1324" fmla="*/ 1023693 w 2077606"/>
              <a:gd name="connsiteY1324" fmla="*/ 727075 h 1786074"/>
              <a:gd name="connsiteX1325" fmla="*/ 1029646 w 2077606"/>
              <a:gd name="connsiteY1325" fmla="*/ 728980 h 1786074"/>
              <a:gd name="connsiteX1326" fmla="*/ 1029646 w 2077606"/>
              <a:gd name="connsiteY1326" fmla="*/ 730885 h 1786074"/>
              <a:gd name="connsiteX1327" fmla="*/ 1025677 w 2077606"/>
              <a:gd name="connsiteY1327" fmla="*/ 734695 h 1786074"/>
              <a:gd name="connsiteX1328" fmla="*/ 1023693 w 2077606"/>
              <a:gd name="connsiteY1328" fmla="*/ 734695 h 1786074"/>
              <a:gd name="connsiteX1329" fmla="*/ 1019724 w 2077606"/>
              <a:gd name="connsiteY1329" fmla="*/ 736600 h 1786074"/>
              <a:gd name="connsiteX1330" fmla="*/ 1015755 w 2077606"/>
              <a:gd name="connsiteY1330" fmla="*/ 734695 h 1786074"/>
              <a:gd name="connsiteX1331" fmla="*/ 1017739 w 2077606"/>
              <a:gd name="connsiteY1331" fmla="*/ 730885 h 1786074"/>
              <a:gd name="connsiteX1332" fmla="*/ 1021708 w 2077606"/>
              <a:gd name="connsiteY1332" fmla="*/ 730885 h 1786074"/>
              <a:gd name="connsiteX1333" fmla="*/ 1023693 w 2077606"/>
              <a:gd name="connsiteY1333" fmla="*/ 727075 h 1786074"/>
              <a:gd name="connsiteX1334" fmla="*/ 740059 w 2077606"/>
              <a:gd name="connsiteY1334" fmla="*/ 727075 h 1786074"/>
              <a:gd name="connsiteX1335" fmla="*/ 744292 w 2077606"/>
              <a:gd name="connsiteY1335" fmla="*/ 729192 h 1786074"/>
              <a:gd name="connsiteX1336" fmla="*/ 742175 w 2077606"/>
              <a:gd name="connsiteY1336" fmla="*/ 731308 h 1786074"/>
              <a:gd name="connsiteX1337" fmla="*/ 740059 w 2077606"/>
              <a:gd name="connsiteY1337" fmla="*/ 727075 h 1786074"/>
              <a:gd name="connsiteX1338" fmla="*/ 1815855 w 2077606"/>
              <a:gd name="connsiteY1338" fmla="*/ 720725 h 1786074"/>
              <a:gd name="connsiteX1339" fmla="*/ 1819030 w 2077606"/>
              <a:gd name="connsiteY1339" fmla="*/ 724958 h 1786074"/>
              <a:gd name="connsiteX1340" fmla="*/ 1814267 w 2077606"/>
              <a:gd name="connsiteY1340" fmla="*/ 724958 h 1786074"/>
              <a:gd name="connsiteX1341" fmla="*/ 1815855 w 2077606"/>
              <a:gd name="connsiteY1341" fmla="*/ 720725 h 1786074"/>
              <a:gd name="connsiteX1342" fmla="*/ 736884 w 2077606"/>
              <a:gd name="connsiteY1342" fmla="*/ 717946 h 1786074"/>
              <a:gd name="connsiteX1343" fmla="*/ 741117 w 2077606"/>
              <a:gd name="connsiteY1343" fmla="*/ 719931 h 1786074"/>
              <a:gd name="connsiteX1344" fmla="*/ 736884 w 2077606"/>
              <a:gd name="connsiteY1344" fmla="*/ 721915 h 1786074"/>
              <a:gd name="connsiteX1345" fmla="*/ 736884 w 2077606"/>
              <a:gd name="connsiteY1345" fmla="*/ 717946 h 1786074"/>
              <a:gd name="connsiteX1346" fmla="*/ 1071318 w 2077606"/>
              <a:gd name="connsiteY1346" fmla="*/ 712787 h 1786074"/>
              <a:gd name="connsiteX1347" fmla="*/ 1069378 w 2077606"/>
              <a:gd name="connsiteY1347" fmla="*/ 720869 h 1786074"/>
              <a:gd name="connsiteX1348" fmla="*/ 1067437 w 2077606"/>
              <a:gd name="connsiteY1348" fmla="*/ 724910 h 1786074"/>
              <a:gd name="connsiteX1349" fmla="*/ 1063557 w 2077606"/>
              <a:gd name="connsiteY1349" fmla="*/ 730971 h 1786074"/>
              <a:gd name="connsiteX1350" fmla="*/ 1059676 w 2077606"/>
              <a:gd name="connsiteY1350" fmla="*/ 732992 h 1786074"/>
              <a:gd name="connsiteX1351" fmla="*/ 1055795 w 2077606"/>
              <a:gd name="connsiteY1351" fmla="*/ 730971 h 1786074"/>
              <a:gd name="connsiteX1352" fmla="*/ 1055795 w 2077606"/>
              <a:gd name="connsiteY1352" fmla="*/ 726930 h 1786074"/>
              <a:gd name="connsiteX1353" fmla="*/ 1059676 w 2077606"/>
              <a:gd name="connsiteY1353" fmla="*/ 720869 h 1786074"/>
              <a:gd name="connsiteX1354" fmla="*/ 1059676 w 2077606"/>
              <a:gd name="connsiteY1354" fmla="*/ 716828 h 1786074"/>
              <a:gd name="connsiteX1355" fmla="*/ 1065497 w 2077606"/>
              <a:gd name="connsiteY1355" fmla="*/ 714808 h 1786074"/>
              <a:gd name="connsiteX1356" fmla="*/ 1071318 w 2077606"/>
              <a:gd name="connsiteY1356" fmla="*/ 712787 h 1786074"/>
              <a:gd name="connsiteX1357" fmla="*/ 1574788 w 2077606"/>
              <a:gd name="connsiteY1357" fmla="*/ 698400 h 1786074"/>
              <a:gd name="connsiteX1358" fmla="*/ 1577730 w 2077606"/>
              <a:gd name="connsiteY1358" fmla="*/ 700881 h 1786074"/>
              <a:gd name="connsiteX1359" fmla="*/ 1573808 w 2077606"/>
              <a:gd name="connsiteY1359" fmla="*/ 706834 h 1786074"/>
              <a:gd name="connsiteX1360" fmla="*/ 1569886 w 2077606"/>
              <a:gd name="connsiteY1360" fmla="*/ 708818 h 1786074"/>
              <a:gd name="connsiteX1361" fmla="*/ 1567925 w 2077606"/>
              <a:gd name="connsiteY1361" fmla="*/ 708818 h 1786074"/>
              <a:gd name="connsiteX1362" fmla="*/ 1565964 w 2077606"/>
              <a:gd name="connsiteY1362" fmla="*/ 714771 h 1786074"/>
              <a:gd name="connsiteX1363" fmla="*/ 1562042 w 2077606"/>
              <a:gd name="connsiteY1363" fmla="*/ 716756 h 1786074"/>
              <a:gd name="connsiteX1364" fmla="*/ 1560081 w 2077606"/>
              <a:gd name="connsiteY1364" fmla="*/ 720725 h 1786074"/>
              <a:gd name="connsiteX1365" fmla="*/ 1556158 w 2077606"/>
              <a:gd name="connsiteY1365" fmla="*/ 722709 h 1786074"/>
              <a:gd name="connsiteX1366" fmla="*/ 1552236 w 2077606"/>
              <a:gd name="connsiteY1366" fmla="*/ 724693 h 1786074"/>
              <a:gd name="connsiteX1367" fmla="*/ 1548314 w 2077606"/>
              <a:gd name="connsiteY1367" fmla="*/ 726678 h 1786074"/>
              <a:gd name="connsiteX1368" fmla="*/ 1544392 w 2077606"/>
              <a:gd name="connsiteY1368" fmla="*/ 724693 h 1786074"/>
              <a:gd name="connsiteX1369" fmla="*/ 1546353 w 2077606"/>
              <a:gd name="connsiteY1369" fmla="*/ 718740 h 1786074"/>
              <a:gd name="connsiteX1370" fmla="*/ 1550275 w 2077606"/>
              <a:gd name="connsiteY1370" fmla="*/ 712787 h 1786074"/>
              <a:gd name="connsiteX1371" fmla="*/ 1554197 w 2077606"/>
              <a:gd name="connsiteY1371" fmla="*/ 712787 h 1786074"/>
              <a:gd name="connsiteX1372" fmla="*/ 1562042 w 2077606"/>
              <a:gd name="connsiteY1372" fmla="*/ 708818 h 1786074"/>
              <a:gd name="connsiteX1373" fmla="*/ 1562042 w 2077606"/>
              <a:gd name="connsiteY1373" fmla="*/ 704850 h 1786074"/>
              <a:gd name="connsiteX1374" fmla="*/ 1565964 w 2077606"/>
              <a:gd name="connsiteY1374" fmla="*/ 700881 h 1786074"/>
              <a:gd name="connsiteX1375" fmla="*/ 1571847 w 2077606"/>
              <a:gd name="connsiteY1375" fmla="*/ 698896 h 1786074"/>
              <a:gd name="connsiteX1376" fmla="*/ 1574788 w 2077606"/>
              <a:gd name="connsiteY1376" fmla="*/ 698400 h 1786074"/>
              <a:gd name="connsiteX1377" fmla="*/ 1288855 w 2077606"/>
              <a:gd name="connsiteY1377" fmla="*/ 689009 h 1786074"/>
              <a:gd name="connsiteX1378" fmla="*/ 1291583 w 2077606"/>
              <a:gd name="connsiteY1378" fmla="*/ 689240 h 1786074"/>
              <a:gd name="connsiteX1379" fmla="*/ 1297536 w 2077606"/>
              <a:gd name="connsiteY1379" fmla="*/ 689240 h 1786074"/>
              <a:gd name="connsiteX1380" fmla="*/ 1301505 w 2077606"/>
              <a:gd name="connsiteY1380" fmla="*/ 691092 h 1786074"/>
              <a:gd name="connsiteX1381" fmla="*/ 1299521 w 2077606"/>
              <a:gd name="connsiteY1381" fmla="*/ 692944 h 1786074"/>
              <a:gd name="connsiteX1382" fmla="*/ 1291583 w 2077606"/>
              <a:gd name="connsiteY1382" fmla="*/ 694796 h 1786074"/>
              <a:gd name="connsiteX1383" fmla="*/ 1287615 w 2077606"/>
              <a:gd name="connsiteY1383" fmla="*/ 692944 h 1786074"/>
              <a:gd name="connsiteX1384" fmla="*/ 1288855 w 2077606"/>
              <a:gd name="connsiteY1384" fmla="*/ 689009 h 1786074"/>
              <a:gd name="connsiteX1385" fmla="*/ 1177857 w 2077606"/>
              <a:gd name="connsiteY1385" fmla="*/ 684212 h 1786074"/>
              <a:gd name="connsiteX1386" fmla="*/ 1183678 w 2077606"/>
              <a:gd name="connsiteY1386" fmla="*/ 688445 h 1786074"/>
              <a:gd name="connsiteX1387" fmla="*/ 1181737 w 2077606"/>
              <a:gd name="connsiteY1387" fmla="*/ 699029 h 1786074"/>
              <a:gd name="connsiteX1388" fmla="*/ 1179797 w 2077606"/>
              <a:gd name="connsiteY1388" fmla="*/ 701145 h 1786074"/>
              <a:gd name="connsiteX1389" fmla="*/ 1177857 w 2077606"/>
              <a:gd name="connsiteY1389" fmla="*/ 694795 h 1786074"/>
              <a:gd name="connsiteX1390" fmla="*/ 1173976 w 2077606"/>
              <a:gd name="connsiteY1390" fmla="*/ 694795 h 1786074"/>
              <a:gd name="connsiteX1391" fmla="*/ 1175916 w 2077606"/>
              <a:gd name="connsiteY1391" fmla="*/ 699029 h 1786074"/>
              <a:gd name="connsiteX1392" fmla="*/ 1170095 w 2077606"/>
              <a:gd name="connsiteY1392" fmla="*/ 701145 h 1786074"/>
              <a:gd name="connsiteX1393" fmla="*/ 1170095 w 2077606"/>
              <a:gd name="connsiteY1393" fmla="*/ 690562 h 1786074"/>
              <a:gd name="connsiteX1394" fmla="*/ 1177857 w 2077606"/>
              <a:gd name="connsiteY1394" fmla="*/ 684212 h 1786074"/>
              <a:gd name="connsiteX1395" fmla="*/ 1129674 w 2077606"/>
              <a:gd name="connsiteY1395" fmla="*/ 673486 h 1786074"/>
              <a:gd name="connsiteX1396" fmla="*/ 1139517 w 2077606"/>
              <a:gd name="connsiteY1396" fmla="*/ 677433 h 1786074"/>
              <a:gd name="connsiteX1397" fmla="*/ 1141485 w 2077606"/>
              <a:gd name="connsiteY1397" fmla="*/ 681380 h 1786074"/>
              <a:gd name="connsiteX1398" fmla="*/ 1143454 w 2077606"/>
              <a:gd name="connsiteY1398" fmla="*/ 685328 h 1786074"/>
              <a:gd name="connsiteX1399" fmla="*/ 1149359 w 2077606"/>
              <a:gd name="connsiteY1399" fmla="*/ 689275 h 1786074"/>
              <a:gd name="connsiteX1400" fmla="*/ 1155265 w 2077606"/>
              <a:gd name="connsiteY1400" fmla="*/ 693222 h 1786074"/>
              <a:gd name="connsiteX1401" fmla="*/ 1155265 w 2077606"/>
              <a:gd name="connsiteY1401" fmla="*/ 689275 h 1786074"/>
              <a:gd name="connsiteX1402" fmla="*/ 1155265 w 2077606"/>
              <a:gd name="connsiteY1402" fmla="*/ 685328 h 1786074"/>
              <a:gd name="connsiteX1403" fmla="*/ 1165107 w 2077606"/>
              <a:gd name="connsiteY1403" fmla="*/ 691249 h 1786074"/>
              <a:gd name="connsiteX1404" fmla="*/ 1161170 w 2077606"/>
              <a:gd name="connsiteY1404" fmla="*/ 693222 h 1786074"/>
              <a:gd name="connsiteX1405" fmla="*/ 1157233 w 2077606"/>
              <a:gd name="connsiteY1405" fmla="*/ 693222 h 1786074"/>
              <a:gd name="connsiteX1406" fmla="*/ 1161170 w 2077606"/>
              <a:gd name="connsiteY1406" fmla="*/ 697169 h 1786074"/>
              <a:gd name="connsiteX1407" fmla="*/ 1163139 w 2077606"/>
              <a:gd name="connsiteY1407" fmla="*/ 699143 h 1786074"/>
              <a:gd name="connsiteX1408" fmla="*/ 1161170 w 2077606"/>
              <a:gd name="connsiteY1408" fmla="*/ 701117 h 1786074"/>
              <a:gd name="connsiteX1409" fmla="*/ 1161170 w 2077606"/>
              <a:gd name="connsiteY1409" fmla="*/ 705064 h 1786074"/>
              <a:gd name="connsiteX1410" fmla="*/ 1163139 w 2077606"/>
              <a:gd name="connsiteY1410" fmla="*/ 710985 h 1786074"/>
              <a:gd name="connsiteX1411" fmla="*/ 1165107 w 2077606"/>
              <a:gd name="connsiteY1411" fmla="*/ 718880 h 1786074"/>
              <a:gd name="connsiteX1412" fmla="*/ 1169044 w 2077606"/>
              <a:gd name="connsiteY1412" fmla="*/ 724801 h 1786074"/>
              <a:gd name="connsiteX1413" fmla="*/ 1174950 w 2077606"/>
              <a:gd name="connsiteY1413" fmla="*/ 720853 h 1786074"/>
              <a:gd name="connsiteX1414" fmla="*/ 1178887 w 2077606"/>
              <a:gd name="connsiteY1414" fmla="*/ 720853 h 1786074"/>
              <a:gd name="connsiteX1415" fmla="*/ 1176918 w 2077606"/>
              <a:gd name="connsiteY1415" fmla="*/ 724801 h 1786074"/>
              <a:gd name="connsiteX1416" fmla="*/ 1172981 w 2077606"/>
              <a:gd name="connsiteY1416" fmla="*/ 728748 h 1786074"/>
              <a:gd name="connsiteX1417" fmla="*/ 1171013 w 2077606"/>
              <a:gd name="connsiteY1417" fmla="*/ 730722 h 1786074"/>
              <a:gd name="connsiteX1418" fmla="*/ 1163139 w 2077606"/>
              <a:gd name="connsiteY1418" fmla="*/ 730722 h 1786074"/>
              <a:gd name="connsiteX1419" fmla="*/ 1153296 w 2077606"/>
              <a:gd name="connsiteY1419" fmla="*/ 742563 h 1786074"/>
              <a:gd name="connsiteX1420" fmla="*/ 1147391 w 2077606"/>
              <a:gd name="connsiteY1420" fmla="*/ 744537 h 1786074"/>
              <a:gd name="connsiteX1421" fmla="*/ 1137548 w 2077606"/>
              <a:gd name="connsiteY1421" fmla="*/ 742563 h 1786074"/>
              <a:gd name="connsiteX1422" fmla="*/ 1133611 w 2077606"/>
              <a:gd name="connsiteY1422" fmla="*/ 738616 h 1786074"/>
              <a:gd name="connsiteX1423" fmla="*/ 1123769 w 2077606"/>
              <a:gd name="connsiteY1423" fmla="*/ 736642 h 1786074"/>
              <a:gd name="connsiteX1424" fmla="*/ 1119832 w 2077606"/>
              <a:gd name="connsiteY1424" fmla="*/ 730722 h 1786074"/>
              <a:gd name="connsiteX1425" fmla="*/ 1109989 w 2077606"/>
              <a:gd name="connsiteY1425" fmla="*/ 730722 h 1786074"/>
              <a:gd name="connsiteX1426" fmla="*/ 1109989 w 2077606"/>
              <a:gd name="connsiteY1426" fmla="*/ 724801 h 1786074"/>
              <a:gd name="connsiteX1427" fmla="*/ 1106052 w 2077606"/>
              <a:gd name="connsiteY1427" fmla="*/ 724801 h 1786074"/>
              <a:gd name="connsiteX1428" fmla="*/ 1102115 w 2077606"/>
              <a:gd name="connsiteY1428" fmla="*/ 724801 h 1786074"/>
              <a:gd name="connsiteX1429" fmla="*/ 1098178 w 2077606"/>
              <a:gd name="connsiteY1429" fmla="*/ 720853 h 1786074"/>
              <a:gd name="connsiteX1430" fmla="*/ 1092273 w 2077606"/>
              <a:gd name="connsiteY1430" fmla="*/ 720853 h 1786074"/>
              <a:gd name="connsiteX1431" fmla="*/ 1084399 w 2077606"/>
              <a:gd name="connsiteY1431" fmla="*/ 722827 h 1786074"/>
              <a:gd name="connsiteX1432" fmla="*/ 1084399 w 2077606"/>
              <a:gd name="connsiteY1432" fmla="*/ 712959 h 1786074"/>
              <a:gd name="connsiteX1433" fmla="*/ 1086367 w 2077606"/>
              <a:gd name="connsiteY1433" fmla="*/ 710985 h 1786074"/>
              <a:gd name="connsiteX1434" fmla="*/ 1094241 w 2077606"/>
              <a:gd name="connsiteY1434" fmla="*/ 710985 h 1786074"/>
              <a:gd name="connsiteX1435" fmla="*/ 1098178 w 2077606"/>
              <a:gd name="connsiteY1435" fmla="*/ 710985 h 1786074"/>
              <a:gd name="connsiteX1436" fmla="*/ 1102115 w 2077606"/>
              <a:gd name="connsiteY1436" fmla="*/ 709011 h 1786074"/>
              <a:gd name="connsiteX1437" fmla="*/ 1106052 w 2077606"/>
              <a:gd name="connsiteY1437" fmla="*/ 707038 h 1786074"/>
              <a:gd name="connsiteX1438" fmla="*/ 1109989 w 2077606"/>
              <a:gd name="connsiteY1438" fmla="*/ 703090 h 1786074"/>
              <a:gd name="connsiteX1439" fmla="*/ 1115895 w 2077606"/>
              <a:gd name="connsiteY1439" fmla="*/ 701117 h 1786074"/>
              <a:gd name="connsiteX1440" fmla="*/ 1117863 w 2077606"/>
              <a:gd name="connsiteY1440" fmla="*/ 693222 h 1786074"/>
              <a:gd name="connsiteX1441" fmla="*/ 1121800 w 2077606"/>
              <a:gd name="connsiteY1441" fmla="*/ 685328 h 1786074"/>
              <a:gd name="connsiteX1442" fmla="*/ 1129674 w 2077606"/>
              <a:gd name="connsiteY1442" fmla="*/ 673486 h 1786074"/>
              <a:gd name="connsiteX1443" fmla="*/ 1377993 w 2077606"/>
              <a:gd name="connsiteY1443" fmla="*/ 662951 h 1786074"/>
              <a:gd name="connsiteX1444" fmla="*/ 1381024 w 2077606"/>
              <a:gd name="connsiteY1444" fmla="*/ 664482 h 1786074"/>
              <a:gd name="connsiteX1445" fmla="*/ 1385065 w 2077606"/>
              <a:gd name="connsiteY1445" fmla="*/ 664482 h 1786074"/>
              <a:gd name="connsiteX1446" fmla="*/ 1389106 w 2077606"/>
              <a:gd name="connsiteY1446" fmla="*/ 664482 h 1786074"/>
              <a:gd name="connsiteX1447" fmla="*/ 1393147 w 2077606"/>
              <a:gd name="connsiteY1447" fmla="*/ 664482 h 1786074"/>
              <a:gd name="connsiteX1448" fmla="*/ 1395167 w 2077606"/>
              <a:gd name="connsiteY1448" fmla="*/ 666523 h 1786074"/>
              <a:gd name="connsiteX1449" fmla="*/ 1391126 w 2077606"/>
              <a:gd name="connsiteY1449" fmla="*/ 670605 h 1786074"/>
              <a:gd name="connsiteX1450" fmla="*/ 1387085 w 2077606"/>
              <a:gd name="connsiteY1450" fmla="*/ 672646 h 1786074"/>
              <a:gd name="connsiteX1451" fmla="*/ 1385065 w 2077606"/>
              <a:gd name="connsiteY1451" fmla="*/ 672646 h 1786074"/>
              <a:gd name="connsiteX1452" fmla="*/ 1381024 w 2077606"/>
              <a:gd name="connsiteY1452" fmla="*/ 672646 h 1786074"/>
              <a:gd name="connsiteX1453" fmla="*/ 1376983 w 2077606"/>
              <a:gd name="connsiteY1453" fmla="*/ 670605 h 1786074"/>
              <a:gd name="connsiteX1454" fmla="*/ 1374963 w 2077606"/>
              <a:gd name="connsiteY1454" fmla="*/ 664482 h 1786074"/>
              <a:gd name="connsiteX1455" fmla="*/ 1377993 w 2077606"/>
              <a:gd name="connsiteY1455" fmla="*/ 662951 h 1786074"/>
              <a:gd name="connsiteX1456" fmla="*/ 1082430 w 2077606"/>
              <a:gd name="connsiteY1456" fmla="*/ 636852 h 1786074"/>
              <a:gd name="connsiteX1457" fmla="*/ 1086399 w 2077606"/>
              <a:gd name="connsiteY1457" fmla="*/ 636852 h 1786074"/>
              <a:gd name="connsiteX1458" fmla="*/ 1088384 w 2077606"/>
              <a:gd name="connsiteY1458" fmla="*/ 636852 h 1786074"/>
              <a:gd name="connsiteX1459" fmla="*/ 1090368 w 2077606"/>
              <a:gd name="connsiteY1459" fmla="*/ 640556 h 1786074"/>
              <a:gd name="connsiteX1460" fmla="*/ 1088384 w 2077606"/>
              <a:gd name="connsiteY1460" fmla="*/ 644260 h 1786074"/>
              <a:gd name="connsiteX1461" fmla="*/ 1082430 w 2077606"/>
              <a:gd name="connsiteY1461" fmla="*/ 646112 h 1786074"/>
              <a:gd name="connsiteX1462" fmla="*/ 1082430 w 2077606"/>
              <a:gd name="connsiteY1462" fmla="*/ 640556 h 1786074"/>
              <a:gd name="connsiteX1463" fmla="*/ 1082430 w 2077606"/>
              <a:gd name="connsiteY1463" fmla="*/ 636852 h 1786074"/>
              <a:gd name="connsiteX1464" fmla="*/ 1587652 w 2077606"/>
              <a:gd name="connsiteY1464" fmla="*/ 553938 h 1786074"/>
              <a:gd name="connsiteX1465" fmla="*/ 1588843 w 2077606"/>
              <a:gd name="connsiteY1465" fmla="*/ 556419 h 1786074"/>
              <a:gd name="connsiteX1466" fmla="*/ 1586462 w 2077606"/>
              <a:gd name="connsiteY1466" fmla="*/ 558403 h 1786074"/>
              <a:gd name="connsiteX1467" fmla="*/ 1586462 w 2077606"/>
              <a:gd name="connsiteY1467" fmla="*/ 554434 h 1786074"/>
              <a:gd name="connsiteX1468" fmla="*/ 1587652 w 2077606"/>
              <a:gd name="connsiteY1468" fmla="*/ 553938 h 1786074"/>
              <a:gd name="connsiteX1469" fmla="*/ 1566617 w 2077606"/>
              <a:gd name="connsiteY1469" fmla="*/ 552450 h 1786074"/>
              <a:gd name="connsiteX1470" fmla="*/ 1570586 w 2077606"/>
              <a:gd name="connsiteY1470" fmla="*/ 552450 h 1786074"/>
              <a:gd name="connsiteX1471" fmla="*/ 1566617 w 2077606"/>
              <a:gd name="connsiteY1471" fmla="*/ 552450 h 1786074"/>
              <a:gd name="connsiteX1472" fmla="*/ 1560797 w 2077606"/>
              <a:gd name="connsiteY1472" fmla="*/ 550862 h 1786074"/>
              <a:gd name="connsiteX1473" fmla="*/ 1565030 w 2077606"/>
              <a:gd name="connsiteY1473" fmla="*/ 553243 h 1786074"/>
              <a:gd name="connsiteX1474" fmla="*/ 1560797 w 2077606"/>
              <a:gd name="connsiteY1474" fmla="*/ 555624 h 1786074"/>
              <a:gd name="connsiteX1475" fmla="*/ 1560797 w 2077606"/>
              <a:gd name="connsiteY1475" fmla="*/ 550862 h 1786074"/>
              <a:gd name="connsiteX1476" fmla="*/ 1213134 w 2077606"/>
              <a:gd name="connsiteY1476" fmla="*/ 544512 h 1786074"/>
              <a:gd name="connsiteX1477" fmla="*/ 1215250 w 2077606"/>
              <a:gd name="connsiteY1477" fmla="*/ 546893 h 1786074"/>
              <a:gd name="connsiteX1478" fmla="*/ 1213134 w 2077606"/>
              <a:gd name="connsiteY1478" fmla="*/ 546893 h 1786074"/>
              <a:gd name="connsiteX1479" fmla="*/ 1213134 w 2077606"/>
              <a:gd name="connsiteY1479" fmla="*/ 544512 h 1786074"/>
              <a:gd name="connsiteX1480" fmla="*/ 1195936 w 2077606"/>
              <a:gd name="connsiteY1480" fmla="*/ 513239 h 1786074"/>
              <a:gd name="connsiteX1481" fmla="*/ 1199905 w 2077606"/>
              <a:gd name="connsiteY1481" fmla="*/ 515302 h 1786074"/>
              <a:gd name="connsiteX1482" fmla="*/ 1197921 w 2077606"/>
              <a:gd name="connsiteY1482" fmla="*/ 527685 h 1786074"/>
              <a:gd name="connsiteX1483" fmla="*/ 1191968 w 2077606"/>
              <a:gd name="connsiteY1483" fmla="*/ 531812 h 1786074"/>
              <a:gd name="connsiteX1484" fmla="*/ 1187999 w 2077606"/>
              <a:gd name="connsiteY1484" fmla="*/ 531812 h 1786074"/>
              <a:gd name="connsiteX1485" fmla="*/ 1184030 w 2077606"/>
              <a:gd name="connsiteY1485" fmla="*/ 523557 h 1786074"/>
              <a:gd name="connsiteX1486" fmla="*/ 1189983 w 2077606"/>
              <a:gd name="connsiteY1486" fmla="*/ 515302 h 1786074"/>
              <a:gd name="connsiteX1487" fmla="*/ 1195936 w 2077606"/>
              <a:gd name="connsiteY1487" fmla="*/ 513239 h 1786074"/>
              <a:gd name="connsiteX1488" fmla="*/ 948021 w 2077606"/>
              <a:gd name="connsiteY1488" fmla="*/ 498475 h 1786074"/>
              <a:gd name="connsiteX1489" fmla="*/ 953578 w 2077606"/>
              <a:gd name="connsiteY1489" fmla="*/ 498475 h 1786074"/>
              <a:gd name="connsiteX1490" fmla="*/ 955430 w 2077606"/>
              <a:gd name="connsiteY1490" fmla="*/ 500592 h 1786074"/>
              <a:gd name="connsiteX1491" fmla="*/ 951726 w 2077606"/>
              <a:gd name="connsiteY1491" fmla="*/ 504825 h 1786074"/>
              <a:gd name="connsiteX1492" fmla="*/ 944317 w 2077606"/>
              <a:gd name="connsiteY1492" fmla="*/ 500592 h 1786074"/>
              <a:gd name="connsiteX1493" fmla="*/ 948021 w 2077606"/>
              <a:gd name="connsiteY1493" fmla="*/ 498475 h 1786074"/>
              <a:gd name="connsiteX1494" fmla="*/ 1444165 w 2077606"/>
              <a:gd name="connsiteY1494" fmla="*/ 488609 h 1786074"/>
              <a:gd name="connsiteX1495" fmla="*/ 1448899 w 2077606"/>
              <a:gd name="connsiteY1495" fmla="*/ 489356 h 1786074"/>
              <a:gd name="connsiteX1496" fmla="*/ 1458865 w 2077606"/>
              <a:gd name="connsiteY1496" fmla="*/ 491349 h 1786074"/>
              <a:gd name="connsiteX1497" fmla="*/ 1466838 w 2077606"/>
              <a:gd name="connsiteY1497" fmla="*/ 491349 h 1786074"/>
              <a:gd name="connsiteX1498" fmla="*/ 1466838 w 2077606"/>
              <a:gd name="connsiteY1498" fmla="*/ 495335 h 1786074"/>
              <a:gd name="connsiteX1499" fmla="*/ 1460858 w 2077606"/>
              <a:gd name="connsiteY1499" fmla="*/ 499321 h 1786074"/>
              <a:gd name="connsiteX1500" fmla="*/ 1456872 w 2077606"/>
              <a:gd name="connsiteY1500" fmla="*/ 501315 h 1786074"/>
              <a:gd name="connsiteX1501" fmla="*/ 1444912 w 2077606"/>
              <a:gd name="connsiteY1501" fmla="*/ 507294 h 1786074"/>
              <a:gd name="connsiteX1502" fmla="*/ 1436939 w 2077606"/>
              <a:gd name="connsiteY1502" fmla="*/ 517259 h 1786074"/>
              <a:gd name="connsiteX1503" fmla="*/ 1432953 w 2077606"/>
              <a:gd name="connsiteY1503" fmla="*/ 527224 h 1786074"/>
              <a:gd name="connsiteX1504" fmla="*/ 1428966 w 2077606"/>
              <a:gd name="connsiteY1504" fmla="*/ 529217 h 1786074"/>
              <a:gd name="connsiteX1505" fmla="*/ 1424980 w 2077606"/>
              <a:gd name="connsiteY1505" fmla="*/ 531211 h 1786074"/>
              <a:gd name="connsiteX1506" fmla="*/ 1419000 w 2077606"/>
              <a:gd name="connsiteY1506" fmla="*/ 541176 h 1786074"/>
              <a:gd name="connsiteX1507" fmla="*/ 1419000 w 2077606"/>
              <a:gd name="connsiteY1507" fmla="*/ 549148 h 1786074"/>
              <a:gd name="connsiteX1508" fmla="*/ 1422986 w 2077606"/>
              <a:gd name="connsiteY1508" fmla="*/ 561106 h 1786074"/>
              <a:gd name="connsiteX1509" fmla="*/ 1419000 w 2077606"/>
              <a:gd name="connsiteY1509" fmla="*/ 575058 h 1786074"/>
              <a:gd name="connsiteX1510" fmla="*/ 1420993 w 2077606"/>
              <a:gd name="connsiteY1510" fmla="*/ 581037 h 1786074"/>
              <a:gd name="connsiteX1511" fmla="*/ 1422986 w 2077606"/>
              <a:gd name="connsiteY1511" fmla="*/ 587016 h 1786074"/>
              <a:gd name="connsiteX1512" fmla="*/ 1428966 w 2077606"/>
              <a:gd name="connsiteY1512" fmla="*/ 589009 h 1786074"/>
              <a:gd name="connsiteX1513" fmla="*/ 1432953 w 2077606"/>
              <a:gd name="connsiteY1513" fmla="*/ 592996 h 1786074"/>
              <a:gd name="connsiteX1514" fmla="*/ 1438933 w 2077606"/>
              <a:gd name="connsiteY1514" fmla="*/ 598975 h 1786074"/>
              <a:gd name="connsiteX1515" fmla="*/ 1450892 w 2077606"/>
              <a:gd name="connsiteY1515" fmla="*/ 598975 h 1786074"/>
              <a:gd name="connsiteX1516" fmla="*/ 1446906 w 2077606"/>
              <a:gd name="connsiteY1516" fmla="*/ 592996 h 1786074"/>
              <a:gd name="connsiteX1517" fmla="*/ 1444912 w 2077606"/>
              <a:gd name="connsiteY1517" fmla="*/ 591002 h 1786074"/>
              <a:gd name="connsiteX1518" fmla="*/ 1440926 w 2077606"/>
              <a:gd name="connsiteY1518" fmla="*/ 589009 h 1786074"/>
              <a:gd name="connsiteX1519" fmla="*/ 1438933 w 2077606"/>
              <a:gd name="connsiteY1519" fmla="*/ 587016 h 1786074"/>
              <a:gd name="connsiteX1520" fmla="*/ 1434946 w 2077606"/>
              <a:gd name="connsiteY1520" fmla="*/ 585023 h 1786074"/>
              <a:gd name="connsiteX1521" fmla="*/ 1434946 w 2077606"/>
              <a:gd name="connsiteY1521" fmla="*/ 581037 h 1786074"/>
              <a:gd name="connsiteX1522" fmla="*/ 1426973 w 2077606"/>
              <a:gd name="connsiteY1522" fmla="*/ 577051 h 1786074"/>
              <a:gd name="connsiteX1523" fmla="*/ 1428966 w 2077606"/>
              <a:gd name="connsiteY1523" fmla="*/ 573065 h 1786074"/>
              <a:gd name="connsiteX1524" fmla="*/ 1434946 w 2077606"/>
              <a:gd name="connsiteY1524" fmla="*/ 569079 h 1786074"/>
              <a:gd name="connsiteX1525" fmla="*/ 1436939 w 2077606"/>
              <a:gd name="connsiteY1525" fmla="*/ 567086 h 1786074"/>
              <a:gd name="connsiteX1526" fmla="*/ 1432953 w 2077606"/>
              <a:gd name="connsiteY1526" fmla="*/ 563100 h 1786074"/>
              <a:gd name="connsiteX1527" fmla="*/ 1430960 w 2077606"/>
              <a:gd name="connsiteY1527" fmla="*/ 561106 h 1786074"/>
              <a:gd name="connsiteX1528" fmla="*/ 1440926 w 2077606"/>
              <a:gd name="connsiteY1528" fmla="*/ 561106 h 1786074"/>
              <a:gd name="connsiteX1529" fmla="*/ 1442919 w 2077606"/>
              <a:gd name="connsiteY1529" fmla="*/ 561106 h 1786074"/>
              <a:gd name="connsiteX1530" fmla="*/ 1448899 w 2077606"/>
              <a:gd name="connsiteY1530" fmla="*/ 561106 h 1786074"/>
              <a:gd name="connsiteX1531" fmla="*/ 1450892 w 2077606"/>
              <a:gd name="connsiteY1531" fmla="*/ 565093 h 1786074"/>
              <a:gd name="connsiteX1532" fmla="*/ 1452885 w 2077606"/>
              <a:gd name="connsiteY1532" fmla="*/ 569079 h 1786074"/>
              <a:gd name="connsiteX1533" fmla="*/ 1456872 w 2077606"/>
              <a:gd name="connsiteY1533" fmla="*/ 571072 h 1786074"/>
              <a:gd name="connsiteX1534" fmla="*/ 1460858 w 2077606"/>
              <a:gd name="connsiteY1534" fmla="*/ 575058 h 1786074"/>
              <a:gd name="connsiteX1535" fmla="*/ 1464845 w 2077606"/>
              <a:gd name="connsiteY1535" fmla="*/ 573065 h 1786074"/>
              <a:gd name="connsiteX1536" fmla="*/ 1460858 w 2077606"/>
              <a:gd name="connsiteY1536" fmla="*/ 569079 h 1786074"/>
              <a:gd name="connsiteX1537" fmla="*/ 1456872 w 2077606"/>
              <a:gd name="connsiteY1537" fmla="*/ 565093 h 1786074"/>
              <a:gd name="connsiteX1538" fmla="*/ 1458865 w 2077606"/>
              <a:gd name="connsiteY1538" fmla="*/ 561106 h 1786074"/>
              <a:gd name="connsiteX1539" fmla="*/ 1458865 w 2077606"/>
              <a:gd name="connsiteY1539" fmla="*/ 559113 h 1786074"/>
              <a:gd name="connsiteX1540" fmla="*/ 1456872 w 2077606"/>
              <a:gd name="connsiteY1540" fmla="*/ 555127 h 1786074"/>
              <a:gd name="connsiteX1541" fmla="*/ 1462852 w 2077606"/>
              <a:gd name="connsiteY1541" fmla="*/ 555127 h 1786074"/>
              <a:gd name="connsiteX1542" fmla="*/ 1464845 w 2077606"/>
              <a:gd name="connsiteY1542" fmla="*/ 553134 h 1786074"/>
              <a:gd name="connsiteX1543" fmla="*/ 1458865 w 2077606"/>
              <a:gd name="connsiteY1543" fmla="*/ 551141 h 1786074"/>
              <a:gd name="connsiteX1544" fmla="*/ 1454879 w 2077606"/>
              <a:gd name="connsiteY1544" fmla="*/ 553134 h 1786074"/>
              <a:gd name="connsiteX1545" fmla="*/ 1446906 w 2077606"/>
              <a:gd name="connsiteY1545" fmla="*/ 557120 h 1786074"/>
              <a:gd name="connsiteX1546" fmla="*/ 1442919 w 2077606"/>
              <a:gd name="connsiteY1546" fmla="*/ 549148 h 1786074"/>
              <a:gd name="connsiteX1547" fmla="*/ 1442919 w 2077606"/>
              <a:gd name="connsiteY1547" fmla="*/ 545162 h 1786074"/>
              <a:gd name="connsiteX1548" fmla="*/ 1442919 w 2077606"/>
              <a:gd name="connsiteY1548" fmla="*/ 535197 h 1786074"/>
              <a:gd name="connsiteX1549" fmla="*/ 1448899 w 2077606"/>
              <a:gd name="connsiteY1549" fmla="*/ 529217 h 1786074"/>
              <a:gd name="connsiteX1550" fmla="*/ 1456872 w 2077606"/>
              <a:gd name="connsiteY1550" fmla="*/ 531211 h 1786074"/>
              <a:gd name="connsiteX1551" fmla="*/ 1460858 w 2077606"/>
              <a:gd name="connsiteY1551" fmla="*/ 533204 h 1786074"/>
              <a:gd name="connsiteX1552" fmla="*/ 1464845 w 2077606"/>
              <a:gd name="connsiteY1552" fmla="*/ 533204 h 1786074"/>
              <a:gd name="connsiteX1553" fmla="*/ 1468831 w 2077606"/>
              <a:gd name="connsiteY1553" fmla="*/ 537190 h 1786074"/>
              <a:gd name="connsiteX1554" fmla="*/ 1474811 w 2077606"/>
              <a:gd name="connsiteY1554" fmla="*/ 537190 h 1786074"/>
              <a:gd name="connsiteX1555" fmla="*/ 1470825 w 2077606"/>
              <a:gd name="connsiteY1555" fmla="*/ 535197 h 1786074"/>
              <a:gd name="connsiteX1556" fmla="*/ 1462852 w 2077606"/>
              <a:gd name="connsiteY1556" fmla="*/ 529217 h 1786074"/>
              <a:gd name="connsiteX1557" fmla="*/ 1464845 w 2077606"/>
              <a:gd name="connsiteY1557" fmla="*/ 523238 h 1786074"/>
              <a:gd name="connsiteX1558" fmla="*/ 1470825 w 2077606"/>
              <a:gd name="connsiteY1558" fmla="*/ 523238 h 1786074"/>
              <a:gd name="connsiteX1559" fmla="*/ 1476804 w 2077606"/>
              <a:gd name="connsiteY1559" fmla="*/ 523238 h 1786074"/>
              <a:gd name="connsiteX1560" fmla="*/ 1472818 w 2077606"/>
              <a:gd name="connsiteY1560" fmla="*/ 519252 h 1786074"/>
              <a:gd name="connsiteX1561" fmla="*/ 1462852 w 2077606"/>
              <a:gd name="connsiteY1561" fmla="*/ 519252 h 1786074"/>
              <a:gd name="connsiteX1562" fmla="*/ 1462852 w 2077606"/>
              <a:gd name="connsiteY1562" fmla="*/ 509287 h 1786074"/>
              <a:gd name="connsiteX1563" fmla="*/ 1464845 w 2077606"/>
              <a:gd name="connsiteY1563" fmla="*/ 513273 h 1786074"/>
              <a:gd name="connsiteX1564" fmla="*/ 1470825 w 2077606"/>
              <a:gd name="connsiteY1564" fmla="*/ 513273 h 1786074"/>
              <a:gd name="connsiteX1565" fmla="*/ 1472818 w 2077606"/>
              <a:gd name="connsiteY1565" fmla="*/ 505301 h 1786074"/>
              <a:gd name="connsiteX1566" fmla="*/ 1486771 w 2077606"/>
              <a:gd name="connsiteY1566" fmla="*/ 507294 h 1786074"/>
              <a:gd name="connsiteX1567" fmla="*/ 1490757 w 2077606"/>
              <a:gd name="connsiteY1567" fmla="*/ 505301 h 1786074"/>
              <a:gd name="connsiteX1568" fmla="*/ 1494744 w 2077606"/>
              <a:gd name="connsiteY1568" fmla="*/ 499321 h 1786074"/>
              <a:gd name="connsiteX1569" fmla="*/ 1508696 w 2077606"/>
              <a:gd name="connsiteY1569" fmla="*/ 497328 h 1786074"/>
              <a:gd name="connsiteX1570" fmla="*/ 1512683 w 2077606"/>
              <a:gd name="connsiteY1570" fmla="*/ 497328 h 1786074"/>
              <a:gd name="connsiteX1571" fmla="*/ 1522649 w 2077606"/>
              <a:gd name="connsiteY1571" fmla="*/ 493342 h 1786074"/>
              <a:gd name="connsiteX1572" fmla="*/ 1528629 w 2077606"/>
              <a:gd name="connsiteY1572" fmla="*/ 493342 h 1786074"/>
              <a:gd name="connsiteX1573" fmla="*/ 1534609 w 2077606"/>
              <a:gd name="connsiteY1573" fmla="*/ 493342 h 1786074"/>
              <a:gd name="connsiteX1574" fmla="*/ 1544575 w 2077606"/>
              <a:gd name="connsiteY1574" fmla="*/ 493342 h 1786074"/>
              <a:gd name="connsiteX1575" fmla="*/ 1548561 w 2077606"/>
              <a:gd name="connsiteY1575" fmla="*/ 495335 h 1786074"/>
              <a:gd name="connsiteX1576" fmla="*/ 1550555 w 2077606"/>
              <a:gd name="connsiteY1576" fmla="*/ 503308 h 1786074"/>
              <a:gd name="connsiteX1577" fmla="*/ 1546568 w 2077606"/>
              <a:gd name="connsiteY1577" fmla="*/ 511280 h 1786074"/>
              <a:gd name="connsiteX1578" fmla="*/ 1548561 w 2077606"/>
              <a:gd name="connsiteY1578" fmla="*/ 517259 h 1786074"/>
              <a:gd name="connsiteX1579" fmla="*/ 1556534 w 2077606"/>
              <a:gd name="connsiteY1579" fmla="*/ 525231 h 1786074"/>
              <a:gd name="connsiteX1580" fmla="*/ 1554541 w 2077606"/>
              <a:gd name="connsiteY1580" fmla="*/ 531211 h 1786074"/>
              <a:gd name="connsiteX1581" fmla="*/ 1558528 w 2077606"/>
              <a:gd name="connsiteY1581" fmla="*/ 537190 h 1786074"/>
              <a:gd name="connsiteX1582" fmla="*/ 1556534 w 2077606"/>
              <a:gd name="connsiteY1582" fmla="*/ 545162 h 1786074"/>
              <a:gd name="connsiteX1583" fmla="*/ 1552548 w 2077606"/>
              <a:gd name="connsiteY1583" fmla="*/ 551141 h 1786074"/>
              <a:gd name="connsiteX1584" fmla="*/ 1548561 w 2077606"/>
              <a:gd name="connsiteY1584" fmla="*/ 557120 h 1786074"/>
              <a:gd name="connsiteX1585" fmla="*/ 1544575 w 2077606"/>
              <a:gd name="connsiteY1585" fmla="*/ 565093 h 1786074"/>
              <a:gd name="connsiteX1586" fmla="*/ 1542582 w 2077606"/>
              <a:gd name="connsiteY1586" fmla="*/ 571072 h 1786074"/>
              <a:gd name="connsiteX1587" fmla="*/ 1536602 w 2077606"/>
              <a:gd name="connsiteY1587" fmla="*/ 573065 h 1786074"/>
              <a:gd name="connsiteX1588" fmla="*/ 1538595 w 2077606"/>
              <a:gd name="connsiteY1588" fmla="*/ 577051 h 1786074"/>
              <a:gd name="connsiteX1589" fmla="*/ 1538595 w 2077606"/>
              <a:gd name="connsiteY1589" fmla="*/ 581037 h 1786074"/>
              <a:gd name="connsiteX1590" fmla="*/ 1546568 w 2077606"/>
              <a:gd name="connsiteY1590" fmla="*/ 575058 h 1786074"/>
              <a:gd name="connsiteX1591" fmla="*/ 1552548 w 2077606"/>
              <a:gd name="connsiteY1591" fmla="*/ 573065 h 1786074"/>
              <a:gd name="connsiteX1592" fmla="*/ 1554541 w 2077606"/>
              <a:gd name="connsiteY1592" fmla="*/ 571072 h 1786074"/>
              <a:gd name="connsiteX1593" fmla="*/ 1554541 w 2077606"/>
              <a:gd name="connsiteY1593" fmla="*/ 565093 h 1786074"/>
              <a:gd name="connsiteX1594" fmla="*/ 1558528 w 2077606"/>
              <a:gd name="connsiteY1594" fmla="*/ 561106 h 1786074"/>
              <a:gd name="connsiteX1595" fmla="*/ 1560521 w 2077606"/>
              <a:gd name="connsiteY1595" fmla="*/ 565093 h 1786074"/>
              <a:gd name="connsiteX1596" fmla="*/ 1562514 w 2077606"/>
              <a:gd name="connsiteY1596" fmla="*/ 565093 h 1786074"/>
              <a:gd name="connsiteX1597" fmla="*/ 1562514 w 2077606"/>
              <a:gd name="connsiteY1597" fmla="*/ 563100 h 1786074"/>
              <a:gd name="connsiteX1598" fmla="*/ 1566501 w 2077606"/>
              <a:gd name="connsiteY1598" fmla="*/ 557120 h 1786074"/>
              <a:gd name="connsiteX1599" fmla="*/ 1568494 w 2077606"/>
              <a:gd name="connsiteY1599" fmla="*/ 559113 h 1786074"/>
              <a:gd name="connsiteX1600" fmla="*/ 1568494 w 2077606"/>
              <a:gd name="connsiteY1600" fmla="*/ 565093 h 1786074"/>
              <a:gd name="connsiteX1601" fmla="*/ 1574474 w 2077606"/>
              <a:gd name="connsiteY1601" fmla="*/ 563100 h 1786074"/>
              <a:gd name="connsiteX1602" fmla="*/ 1578460 w 2077606"/>
              <a:gd name="connsiteY1602" fmla="*/ 557120 h 1786074"/>
              <a:gd name="connsiteX1603" fmla="*/ 1582447 w 2077606"/>
              <a:gd name="connsiteY1603" fmla="*/ 567086 h 1786074"/>
              <a:gd name="connsiteX1604" fmla="*/ 1578460 w 2077606"/>
              <a:gd name="connsiteY1604" fmla="*/ 575058 h 1786074"/>
              <a:gd name="connsiteX1605" fmla="*/ 1582447 w 2077606"/>
              <a:gd name="connsiteY1605" fmla="*/ 579044 h 1786074"/>
              <a:gd name="connsiteX1606" fmla="*/ 1588426 w 2077606"/>
              <a:gd name="connsiteY1606" fmla="*/ 577051 h 1786074"/>
              <a:gd name="connsiteX1607" fmla="*/ 1586433 w 2077606"/>
              <a:gd name="connsiteY1607" fmla="*/ 573065 h 1786074"/>
              <a:gd name="connsiteX1608" fmla="*/ 1586433 w 2077606"/>
              <a:gd name="connsiteY1608" fmla="*/ 569079 h 1786074"/>
              <a:gd name="connsiteX1609" fmla="*/ 1590420 w 2077606"/>
              <a:gd name="connsiteY1609" fmla="*/ 569079 h 1786074"/>
              <a:gd name="connsiteX1610" fmla="*/ 1594406 w 2077606"/>
              <a:gd name="connsiteY1610" fmla="*/ 573065 h 1786074"/>
              <a:gd name="connsiteX1611" fmla="*/ 1596399 w 2077606"/>
              <a:gd name="connsiteY1611" fmla="*/ 577051 h 1786074"/>
              <a:gd name="connsiteX1612" fmla="*/ 1602379 w 2077606"/>
              <a:gd name="connsiteY1612" fmla="*/ 581037 h 1786074"/>
              <a:gd name="connsiteX1613" fmla="*/ 1608359 w 2077606"/>
              <a:gd name="connsiteY1613" fmla="*/ 587016 h 1786074"/>
              <a:gd name="connsiteX1614" fmla="*/ 1608359 w 2077606"/>
              <a:gd name="connsiteY1614" fmla="*/ 581037 h 1786074"/>
              <a:gd name="connsiteX1615" fmla="*/ 1604372 w 2077606"/>
              <a:gd name="connsiteY1615" fmla="*/ 579044 h 1786074"/>
              <a:gd name="connsiteX1616" fmla="*/ 1598393 w 2077606"/>
              <a:gd name="connsiteY1616" fmla="*/ 575058 h 1786074"/>
              <a:gd name="connsiteX1617" fmla="*/ 1596399 w 2077606"/>
              <a:gd name="connsiteY1617" fmla="*/ 571072 h 1786074"/>
              <a:gd name="connsiteX1618" fmla="*/ 1592413 w 2077606"/>
              <a:gd name="connsiteY1618" fmla="*/ 563100 h 1786074"/>
              <a:gd name="connsiteX1619" fmla="*/ 1598393 w 2077606"/>
              <a:gd name="connsiteY1619" fmla="*/ 563100 h 1786074"/>
              <a:gd name="connsiteX1620" fmla="*/ 1602379 w 2077606"/>
              <a:gd name="connsiteY1620" fmla="*/ 565093 h 1786074"/>
              <a:gd name="connsiteX1621" fmla="*/ 1606366 w 2077606"/>
              <a:gd name="connsiteY1621" fmla="*/ 565093 h 1786074"/>
              <a:gd name="connsiteX1622" fmla="*/ 1612345 w 2077606"/>
              <a:gd name="connsiteY1622" fmla="*/ 567086 h 1786074"/>
              <a:gd name="connsiteX1623" fmla="*/ 1618325 w 2077606"/>
              <a:gd name="connsiteY1623" fmla="*/ 571072 h 1786074"/>
              <a:gd name="connsiteX1624" fmla="*/ 1618325 w 2077606"/>
              <a:gd name="connsiteY1624" fmla="*/ 565093 h 1786074"/>
              <a:gd name="connsiteX1625" fmla="*/ 1610352 w 2077606"/>
              <a:gd name="connsiteY1625" fmla="*/ 563100 h 1786074"/>
              <a:gd name="connsiteX1626" fmla="*/ 1600386 w 2077606"/>
              <a:gd name="connsiteY1626" fmla="*/ 557120 h 1786074"/>
              <a:gd name="connsiteX1627" fmla="*/ 1604372 w 2077606"/>
              <a:gd name="connsiteY1627" fmla="*/ 553134 h 1786074"/>
              <a:gd name="connsiteX1628" fmla="*/ 1610352 w 2077606"/>
              <a:gd name="connsiteY1628" fmla="*/ 547155 h 1786074"/>
              <a:gd name="connsiteX1629" fmla="*/ 1618325 w 2077606"/>
              <a:gd name="connsiteY1629" fmla="*/ 541176 h 1786074"/>
              <a:gd name="connsiteX1630" fmla="*/ 1628292 w 2077606"/>
              <a:gd name="connsiteY1630" fmla="*/ 541176 h 1786074"/>
              <a:gd name="connsiteX1631" fmla="*/ 1634271 w 2077606"/>
              <a:gd name="connsiteY1631" fmla="*/ 541176 h 1786074"/>
              <a:gd name="connsiteX1632" fmla="*/ 1640251 w 2077606"/>
              <a:gd name="connsiteY1632" fmla="*/ 543169 h 1786074"/>
              <a:gd name="connsiteX1633" fmla="*/ 1646231 w 2077606"/>
              <a:gd name="connsiteY1633" fmla="*/ 547155 h 1786074"/>
              <a:gd name="connsiteX1634" fmla="*/ 1650217 w 2077606"/>
              <a:gd name="connsiteY1634" fmla="*/ 549148 h 1786074"/>
              <a:gd name="connsiteX1635" fmla="*/ 1656197 w 2077606"/>
              <a:gd name="connsiteY1635" fmla="*/ 551141 h 1786074"/>
              <a:gd name="connsiteX1636" fmla="*/ 1664170 w 2077606"/>
              <a:gd name="connsiteY1636" fmla="*/ 549148 h 1786074"/>
              <a:gd name="connsiteX1637" fmla="*/ 1672143 w 2077606"/>
              <a:gd name="connsiteY1637" fmla="*/ 557120 h 1786074"/>
              <a:gd name="connsiteX1638" fmla="*/ 1674136 w 2077606"/>
              <a:gd name="connsiteY1638" fmla="*/ 561106 h 1786074"/>
              <a:gd name="connsiteX1639" fmla="*/ 1676130 w 2077606"/>
              <a:gd name="connsiteY1639" fmla="*/ 569079 h 1786074"/>
              <a:gd name="connsiteX1640" fmla="*/ 1682109 w 2077606"/>
              <a:gd name="connsiteY1640" fmla="*/ 571072 h 1786074"/>
              <a:gd name="connsiteX1641" fmla="*/ 1690082 w 2077606"/>
              <a:gd name="connsiteY1641" fmla="*/ 573065 h 1786074"/>
              <a:gd name="connsiteX1642" fmla="*/ 1684103 w 2077606"/>
              <a:gd name="connsiteY1642" fmla="*/ 581037 h 1786074"/>
              <a:gd name="connsiteX1643" fmla="*/ 1686096 w 2077606"/>
              <a:gd name="connsiteY1643" fmla="*/ 587016 h 1786074"/>
              <a:gd name="connsiteX1644" fmla="*/ 1690082 w 2077606"/>
              <a:gd name="connsiteY1644" fmla="*/ 591002 h 1786074"/>
              <a:gd name="connsiteX1645" fmla="*/ 1692076 w 2077606"/>
              <a:gd name="connsiteY1645" fmla="*/ 592996 h 1786074"/>
              <a:gd name="connsiteX1646" fmla="*/ 1696062 w 2077606"/>
              <a:gd name="connsiteY1646" fmla="*/ 594989 h 1786074"/>
              <a:gd name="connsiteX1647" fmla="*/ 1700049 w 2077606"/>
              <a:gd name="connsiteY1647" fmla="*/ 594989 h 1786074"/>
              <a:gd name="connsiteX1648" fmla="*/ 1700049 w 2077606"/>
              <a:gd name="connsiteY1648" fmla="*/ 598975 h 1786074"/>
              <a:gd name="connsiteX1649" fmla="*/ 1704035 w 2077606"/>
              <a:gd name="connsiteY1649" fmla="*/ 600968 h 1786074"/>
              <a:gd name="connsiteX1650" fmla="*/ 1710015 w 2077606"/>
              <a:gd name="connsiteY1650" fmla="*/ 604954 h 1786074"/>
              <a:gd name="connsiteX1651" fmla="*/ 1708022 w 2077606"/>
              <a:gd name="connsiteY1651" fmla="*/ 614919 h 1786074"/>
              <a:gd name="connsiteX1652" fmla="*/ 1712008 w 2077606"/>
              <a:gd name="connsiteY1652" fmla="*/ 612926 h 1786074"/>
              <a:gd name="connsiteX1653" fmla="*/ 1714001 w 2077606"/>
              <a:gd name="connsiteY1653" fmla="*/ 606947 h 1786074"/>
              <a:gd name="connsiteX1654" fmla="*/ 1717988 w 2077606"/>
              <a:gd name="connsiteY1654" fmla="*/ 600968 h 1786074"/>
              <a:gd name="connsiteX1655" fmla="*/ 1710015 w 2077606"/>
              <a:gd name="connsiteY1655" fmla="*/ 591002 h 1786074"/>
              <a:gd name="connsiteX1656" fmla="*/ 1714001 w 2077606"/>
              <a:gd name="connsiteY1656" fmla="*/ 587016 h 1786074"/>
              <a:gd name="connsiteX1657" fmla="*/ 1717988 w 2077606"/>
              <a:gd name="connsiteY1657" fmla="*/ 589009 h 1786074"/>
              <a:gd name="connsiteX1658" fmla="*/ 1723968 w 2077606"/>
              <a:gd name="connsiteY1658" fmla="*/ 591002 h 1786074"/>
              <a:gd name="connsiteX1659" fmla="*/ 1727954 w 2077606"/>
              <a:gd name="connsiteY1659" fmla="*/ 589009 h 1786074"/>
              <a:gd name="connsiteX1660" fmla="*/ 1733934 w 2077606"/>
              <a:gd name="connsiteY1660" fmla="*/ 587016 h 1786074"/>
              <a:gd name="connsiteX1661" fmla="*/ 1737920 w 2077606"/>
              <a:gd name="connsiteY1661" fmla="*/ 591002 h 1786074"/>
              <a:gd name="connsiteX1662" fmla="*/ 1745893 w 2077606"/>
              <a:gd name="connsiteY1662" fmla="*/ 592996 h 1786074"/>
              <a:gd name="connsiteX1663" fmla="*/ 1751873 w 2077606"/>
              <a:gd name="connsiteY1663" fmla="*/ 594989 h 1786074"/>
              <a:gd name="connsiteX1664" fmla="*/ 1751873 w 2077606"/>
              <a:gd name="connsiteY1664" fmla="*/ 598975 h 1786074"/>
              <a:gd name="connsiteX1665" fmla="*/ 1757853 w 2077606"/>
              <a:gd name="connsiteY1665" fmla="*/ 602961 h 1786074"/>
              <a:gd name="connsiteX1666" fmla="*/ 1759846 w 2077606"/>
              <a:gd name="connsiteY1666" fmla="*/ 606947 h 1786074"/>
              <a:gd name="connsiteX1667" fmla="*/ 1755860 w 2077606"/>
              <a:gd name="connsiteY1667" fmla="*/ 610933 h 1786074"/>
              <a:gd name="connsiteX1668" fmla="*/ 1749880 w 2077606"/>
              <a:gd name="connsiteY1668" fmla="*/ 616912 h 1786074"/>
              <a:gd name="connsiteX1669" fmla="*/ 1745893 w 2077606"/>
              <a:gd name="connsiteY1669" fmla="*/ 624885 h 1786074"/>
              <a:gd name="connsiteX1670" fmla="*/ 1733934 w 2077606"/>
              <a:gd name="connsiteY1670" fmla="*/ 628871 h 1786074"/>
              <a:gd name="connsiteX1671" fmla="*/ 1737920 w 2077606"/>
              <a:gd name="connsiteY1671" fmla="*/ 632857 h 1786074"/>
              <a:gd name="connsiteX1672" fmla="*/ 1747887 w 2077606"/>
              <a:gd name="connsiteY1672" fmla="*/ 630864 h 1786074"/>
              <a:gd name="connsiteX1673" fmla="*/ 1743900 w 2077606"/>
              <a:gd name="connsiteY1673" fmla="*/ 634850 h 1786074"/>
              <a:gd name="connsiteX1674" fmla="*/ 1745893 w 2077606"/>
              <a:gd name="connsiteY1674" fmla="*/ 638836 h 1786074"/>
              <a:gd name="connsiteX1675" fmla="*/ 1751873 w 2077606"/>
              <a:gd name="connsiteY1675" fmla="*/ 638836 h 1786074"/>
              <a:gd name="connsiteX1676" fmla="*/ 1753866 w 2077606"/>
              <a:gd name="connsiteY1676" fmla="*/ 634850 h 1786074"/>
              <a:gd name="connsiteX1677" fmla="*/ 1753866 w 2077606"/>
              <a:gd name="connsiteY1677" fmla="*/ 624885 h 1786074"/>
              <a:gd name="connsiteX1678" fmla="*/ 1761839 w 2077606"/>
              <a:gd name="connsiteY1678" fmla="*/ 620898 h 1786074"/>
              <a:gd name="connsiteX1679" fmla="*/ 1767819 w 2077606"/>
              <a:gd name="connsiteY1679" fmla="*/ 620898 h 1786074"/>
              <a:gd name="connsiteX1680" fmla="*/ 1765826 w 2077606"/>
              <a:gd name="connsiteY1680" fmla="*/ 630864 h 1786074"/>
              <a:gd name="connsiteX1681" fmla="*/ 1759846 w 2077606"/>
              <a:gd name="connsiteY1681" fmla="*/ 640829 h 1786074"/>
              <a:gd name="connsiteX1682" fmla="*/ 1765826 w 2077606"/>
              <a:gd name="connsiteY1682" fmla="*/ 638836 h 1786074"/>
              <a:gd name="connsiteX1683" fmla="*/ 1771806 w 2077606"/>
              <a:gd name="connsiteY1683" fmla="*/ 632857 h 1786074"/>
              <a:gd name="connsiteX1684" fmla="*/ 1777785 w 2077606"/>
              <a:gd name="connsiteY1684" fmla="*/ 634850 h 1786074"/>
              <a:gd name="connsiteX1685" fmla="*/ 1775792 w 2077606"/>
              <a:gd name="connsiteY1685" fmla="*/ 636843 h 1786074"/>
              <a:gd name="connsiteX1686" fmla="*/ 1769812 w 2077606"/>
              <a:gd name="connsiteY1686" fmla="*/ 642822 h 1786074"/>
              <a:gd name="connsiteX1687" fmla="*/ 1775792 w 2077606"/>
              <a:gd name="connsiteY1687" fmla="*/ 642822 h 1786074"/>
              <a:gd name="connsiteX1688" fmla="*/ 1781772 w 2077606"/>
              <a:gd name="connsiteY1688" fmla="*/ 640829 h 1786074"/>
              <a:gd name="connsiteX1689" fmla="*/ 1785758 w 2077606"/>
              <a:gd name="connsiteY1689" fmla="*/ 636843 h 1786074"/>
              <a:gd name="connsiteX1690" fmla="*/ 1797718 w 2077606"/>
              <a:gd name="connsiteY1690" fmla="*/ 638836 h 1786074"/>
              <a:gd name="connsiteX1691" fmla="*/ 1807684 w 2077606"/>
              <a:gd name="connsiteY1691" fmla="*/ 644815 h 1786074"/>
              <a:gd name="connsiteX1692" fmla="*/ 1813664 w 2077606"/>
              <a:gd name="connsiteY1692" fmla="*/ 650794 h 1786074"/>
              <a:gd name="connsiteX1693" fmla="*/ 1807684 w 2077606"/>
              <a:gd name="connsiteY1693" fmla="*/ 654781 h 1786074"/>
              <a:gd name="connsiteX1694" fmla="*/ 1795725 w 2077606"/>
              <a:gd name="connsiteY1694" fmla="*/ 654781 h 1786074"/>
              <a:gd name="connsiteX1695" fmla="*/ 1787752 w 2077606"/>
              <a:gd name="connsiteY1695" fmla="*/ 658767 h 1786074"/>
              <a:gd name="connsiteX1696" fmla="*/ 1779779 w 2077606"/>
              <a:gd name="connsiteY1696" fmla="*/ 662753 h 1786074"/>
              <a:gd name="connsiteX1697" fmla="*/ 1787752 w 2077606"/>
              <a:gd name="connsiteY1697" fmla="*/ 662753 h 1786074"/>
              <a:gd name="connsiteX1698" fmla="*/ 1799711 w 2077606"/>
              <a:gd name="connsiteY1698" fmla="*/ 664746 h 1786074"/>
              <a:gd name="connsiteX1699" fmla="*/ 1793731 w 2077606"/>
              <a:gd name="connsiteY1699" fmla="*/ 668732 h 1786074"/>
              <a:gd name="connsiteX1700" fmla="*/ 1789745 w 2077606"/>
              <a:gd name="connsiteY1700" fmla="*/ 676704 h 1786074"/>
              <a:gd name="connsiteX1701" fmla="*/ 1793731 w 2077606"/>
              <a:gd name="connsiteY1701" fmla="*/ 674711 h 1786074"/>
              <a:gd name="connsiteX1702" fmla="*/ 1797718 w 2077606"/>
              <a:gd name="connsiteY1702" fmla="*/ 676704 h 1786074"/>
              <a:gd name="connsiteX1703" fmla="*/ 1799711 w 2077606"/>
              <a:gd name="connsiteY1703" fmla="*/ 672718 h 1786074"/>
              <a:gd name="connsiteX1704" fmla="*/ 1805691 w 2077606"/>
              <a:gd name="connsiteY1704" fmla="*/ 670725 h 1786074"/>
              <a:gd name="connsiteX1705" fmla="*/ 1811671 w 2077606"/>
              <a:gd name="connsiteY1705" fmla="*/ 666739 h 1786074"/>
              <a:gd name="connsiteX1706" fmla="*/ 1813664 w 2077606"/>
              <a:gd name="connsiteY1706" fmla="*/ 658767 h 1786074"/>
              <a:gd name="connsiteX1707" fmla="*/ 1823630 w 2077606"/>
              <a:gd name="connsiteY1707" fmla="*/ 662753 h 1786074"/>
              <a:gd name="connsiteX1708" fmla="*/ 1827617 w 2077606"/>
              <a:gd name="connsiteY1708" fmla="*/ 666739 h 1786074"/>
              <a:gd name="connsiteX1709" fmla="*/ 1835590 w 2077606"/>
              <a:gd name="connsiteY1709" fmla="*/ 674711 h 1786074"/>
              <a:gd name="connsiteX1710" fmla="*/ 1837583 w 2077606"/>
              <a:gd name="connsiteY1710" fmla="*/ 684677 h 1786074"/>
              <a:gd name="connsiteX1711" fmla="*/ 1831603 w 2077606"/>
              <a:gd name="connsiteY1711" fmla="*/ 682684 h 1786074"/>
              <a:gd name="connsiteX1712" fmla="*/ 1825623 w 2077606"/>
              <a:gd name="connsiteY1712" fmla="*/ 678697 h 1786074"/>
              <a:gd name="connsiteX1713" fmla="*/ 1813664 w 2077606"/>
              <a:gd name="connsiteY1713" fmla="*/ 680690 h 1786074"/>
              <a:gd name="connsiteX1714" fmla="*/ 1807684 w 2077606"/>
              <a:gd name="connsiteY1714" fmla="*/ 688663 h 1786074"/>
              <a:gd name="connsiteX1715" fmla="*/ 1813664 w 2077606"/>
              <a:gd name="connsiteY1715" fmla="*/ 692649 h 1786074"/>
              <a:gd name="connsiteX1716" fmla="*/ 1817650 w 2077606"/>
              <a:gd name="connsiteY1716" fmla="*/ 696635 h 1786074"/>
              <a:gd name="connsiteX1717" fmla="*/ 1827617 w 2077606"/>
              <a:gd name="connsiteY1717" fmla="*/ 694642 h 1786074"/>
              <a:gd name="connsiteX1718" fmla="*/ 1831603 w 2077606"/>
              <a:gd name="connsiteY1718" fmla="*/ 696635 h 1786074"/>
              <a:gd name="connsiteX1719" fmla="*/ 1835590 w 2077606"/>
              <a:gd name="connsiteY1719" fmla="*/ 696635 h 1786074"/>
              <a:gd name="connsiteX1720" fmla="*/ 1839576 w 2077606"/>
              <a:gd name="connsiteY1720" fmla="*/ 696635 h 1786074"/>
              <a:gd name="connsiteX1721" fmla="*/ 1843563 w 2077606"/>
              <a:gd name="connsiteY1721" fmla="*/ 698628 h 1786074"/>
              <a:gd name="connsiteX1722" fmla="*/ 1845556 w 2077606"/>
              <a:gd name="connsiteY1722" fmla="*/ 702614 h 1786074"/>
              <a:gd name="connsiteX1723" fmla="*/ 1843563 w 2077606"/>
              <a:gd name="connsiteY1723" fmla="*/ 706600 h 1786074"/>
              <a:gd name="connsiteX1724" fmla="*/ 1837583 w 2077606"/>
              <a:gd name="connsiteY1724" fmla="*/ 708593 h 1786074"/>
              <a:gd name="connsiteX1725" fmla="*/ 1833597 w 2077606"/>
              <a:gd name="connsiteY1725" fmla="*/ 706600 h 1786074"/>
              <a:gd name="connsiteX1726" fmla="*/ 1823630 w 2077606"/>
              <a:gd name="connsiteY1726" fmla="*/ 708593 h 1786074"/>
              <a:gd name="connsiteX1727" fmla="*/ 1813664 w 2077606"/>
              <a:gd name="connsiteY1727" fmla="*/ 704607 h 1786074"/>
              <a:gd name="connsiteX1728" fmla="*/ 1803698 w 2077606"/>
              <a:gd name="connsiteY1728" fmla="*/ 708593 h 1786074"/>
              <a:gd name="connsiteX1729" fmla="*/ 1807684 w 2077606"/>
              <a:gd name="connsiteY1729" fmla="*/ 710586 h 1786074"/>
              <a:gd name="connsiteX1730" fmla="*/ 1817650 w 2077606"/>
              <a:gd name="connsiteY1730" fmla="*/ 712579 h 1786074"/>
              <a:gd name="connsiteX1731" fmla="*/ 1811671 w 2077606"/>
              <a:gd name="connsiteY1731" fmla="*/ 714573 h 1786074"/>
              <a:gd name="connsiteX1732" fmla="*/ 1803698 w 2077606"/>
              <a:gd name="connsiteY1732" fmla="*/ 716566 h 1786074"/>
              <a:gd name="connsiteX1733" fmla="*/ 1807684 w 2077606"/>
              <a:gd name="connsiteY1733" fmla="*/ 720552 h 1786074"/>
              <a:gd name="connsiteX1734" fmla="*/ 1809677 w 2077606"/>
              <a:gd name="connsiteY1734" fmla="*/ 724538 h 1786074"/>
              <a:gd name="connsiteX1735" fmla="*/ 1801704 w 2077606"/>
              <a:gd name="connsiteY1735" fmla="*/ 726531 h 1786074"/>
              <a:gd name="connsiteX1736" fmla="*/ 1797718 w 2077606"/>
              <a:gd name="connsiteY1736" fmla="*/ 724538 h 1786074"/>
              <a:gd name="connsiteX1737" fmla="*/ 1793731 w 2077606"/>
              <a:gd name="connsiteY1737" fmla="*/ 724538 h 1786074"/>
              <a:gd name="connsiteX1738" fmla="*/ 1789745 w 2077606"/>
              <a:gd name="connsiteY1738" fmla="*/ 728524 h 1786074"/>
              <a:gd name="connsiteX1739" fmla="*/ 1793731 w 2077606"/>
              <a:gd name="connsiteY1739" fmla="*/ 730517 h 1786074"/>
              <a:gd name="connsiteX1740" fmla="*/ 1799711 w 2077606"/>
              <a:gd name="connsiteY1740" fmla="*/ 730517 h 1786074"/>
              <a:gd name="connsiteX1741" fmla="*/ 1797718 w 2077606"/>
              <a:gd name="connsiteY1741" fmla="*/ 734503 h 1786074"/>
              <a:gd name="connsiteX1742" fmla="*/ 1793731 w 2077606"/>
              <a:gd name="connsiteY1742" fmla="*/ 736496 h 1786074"/>
              <a:gd name="connsiteX1743" fmla="*/ 1803698 w 2077606"/>
              <a:gd name="connsiteY1743" fmla="*/ 736496 h 1786074"/>
              <a:gd name="connsiteX1744" fmla="*/ 1805691 w 2077606"/>
              <a:gd name="connsiteY1744" fmla="*/ 740482 h 1786074"/>
              <a:gd name="connsiteX1745" fmla="*/ 1809677 w 2077606"/>
              <a:gd name="connsiteY1745" fmla="*/ 740482 h 1786074"/>
              <a:gd name="connsiteX1746" fmla="*/ 1813664 w 2077606"/>
              <a:gd name="connsiteY1746" fmla="*/ 736496 h 1786074"/>
              <a:gd name="connsiteX1747" fmla="*/ 1821637 w 2077606"/>
              <a:gd name="connsiteY1747" fmla="*/ 738489 h 1786074"/>
              <a:gd name="connsiteX1748" fmla="*/ 1825623 w 2077606"/>
              <a:gd name="connsiteY1748" fmla="*/ 740482 h 1786074"/>
              <a:gd name="connsiteX1749" fmla="*/ 1829610 w 2077606"/>
              <a:gd name="connsiteY1749" fmla="*/ 742475 h 1786074"/>
              <a:gd name="connsiteX1750" fmla="*/ 1829610 w 2077606"/>
              <a:gd name="connsiteY1750" fmla="*/ 746462 h 1786074"/>
              <a:gd name="connsiteX1751" fmla="*/ 1823630 w 2077606"/>
              <a:gd name="connsiteY1751" fmla="*/ 746462 h 1786074"/>
              <a:gd name="connsiteX1752" fmla="*/ 1819644 w 2077606"/>
              <a:gd name="connsiteY1752" fmla="*/ 746462 h 1786074"/>
              <a:gd name="connsiteX1753" fmla="*/ 1815657 w 2077606"/>
              <a:gd name="connsiteY1753" fmla="*/ 746462 h 1786074"/>
              <a:gd name="connsiteX1754" fmla="*/ 1817650 w 2077606"/>
              <a:gd name="connsiteY1754" fmla="*/ 750448 h 1786074"/>
              <a:gd name="connsiteX1755" fmla="*/ 1815657 w 2077606"/>
              <a:gd name="connsiteY1755" fmla="*/ 754434 h 1786074"/>
              <a:gd name="connsiteX1756" fmla="*/ 1821637 w 2077606"/>
              <a:gd name="connsiteY1756" fmla="*/ 754434 h 1786074"/>
              <a:gd name="connsiteX1757" fmla="*/ 1825623 w 2077606"/>
              <a:gd name="connsiteY1757" fmla="*/ 750448 h 1786074"/>
              <a:gd name="connsiteX1758" fmla="*/ 1827617 w 2077606"/>
              <a:gd name="connsiteY1758" fmla="*/ 752441 h 1786074"/>
              <a:gd name="connsiteX1759" fmla="*/ 1825623 w 2077606"/>
              <a:gd name="connsiteY1759" fmla="*/ 758420 h 1786074"/>
              <a:gd name="connsiteX1760" fmla="*/ 1831603 w 2077606"/>
              <a:gd name="connsiteY1760" fmla="*/ 760413 h 1786074"/>
              <a:gd name="connsiteX1761" fmla="*/ 1837583 w 2077606"/>
              <a:gd name="connsiteY1761" fmla="*/ 758420 h 1786074"/>
              <a:gd name="connsiteX1762" fmla="*/ 1841570 w 2077606"/>
              <a:gd name="connsiteY1762" fmla="*/ 748455 h 1786074"/>
              <a:gd name="connsiteX1763" fmla="*/ 1845556 w 2077606"/>
              <a:gd name="connsiteY1763" fmla="*/ 750448 h 1786074"/>
              <a:gd name="connsiteX1764" fmla="*/ 1845556 w 2077606"/>
              <a:gd name="connsiteY1764" fmla="*/ 758420 h 1786074"/>
              <a:gd name="connsiteX1765" fmla="*/ 1839576 w 2077606"/>
              <a:gd name="connsiteY1765" fmla="*/ 762406 h 1786074"/>
              <a:gd name="connsiteX1766" fmla="*/ 1841570 w 2077606"/>
              <a:gd name="connsiteY1766" fmla="*/ 768385 h 1786074"/>
              <a:gd name="connsiteX1767" fmla="*/ 1845556 w 2077606"/>
              <a:gd name="connsiteY1767" fmla="*/ 762406 h 1786074"/>
              <a:gd name="connsiteX1768" fmla="*/ 1849543 w 2077606"/>
              <a:gd name="connsiteY1768" fmla="*/ 758420 h 1786074"/>
              <a:gd name="connsiteX1769" fmla="*/ 1851536 w 2077606"/>
              <a:gd name="connsiteY1769" fmla="*/ 760413 h 1786074"/>
              <a:gd name="connsiteX1770" fmla="*/ 1853529 w 2077606"/>
              <a:gd name="connsiteY1770" fmla="*/ 762406 h 1786074"/>
              <a:gd name="connsiteX1771" fmla="*/ 1857516 w 2077606"/>
              <a:gd name="connsiteY1771" fmla="*/ 758420 h 1786074"/>
              <a:gd name="connsiteX1772" fmla="*/ 1861502 w 2077606"/>
              <a:gd name="connsiteY1772" fmla="*/ 760413 h 1786074"/>
              <a:gd name="connsiteX1773" fmla="*/ 1867482 w 2077606"/>
              <a:gd name="connsiteY1773" fmla="*/ 760413 h 1786074"/>
              <a:gd name="connsiteX1774" fmla="*/ 1869475 w 2077606"/>
              <a:gd name="connsiteY1774" fmla="*/ 764399 h 1786074"/>
              <a:gd name="connsiteX1775" fmla="*/ 1865489 w 2077606"/>
              <a:gd name="connsiteY1775" fmla="*/ 768385 h 1786074"/>
              <a:gd name="connsiteX1776" fmla="*/ 1865489 w 2077606"/>
              <a:gd name="connsiteY1776" fmla="*/ 774365 h 1786074"/>
              <a:gd name="connsiteX1777" fmla="*/ 1871468 w 2077606"/>
              <a:gd name="connsiteY1777" fmla="*/ 772371 h 1786074"/>
              <a:gd name="connsiteX1778" fmla="*/ 1877448 w 2077606"/>
              <a:gd name="connsiteY1778" fmla="*/ 768385 h 1786074"/>
              <a:gd name="connsiteX1779" fmla="*/ 1881435 w 2077606"/>
              <a:gd name="connsiteY1779" fmla="*/ 770378 h 1786074"/>
              <a:gd name="connsiteX1780" fmla="*/ 1879441 w 2077606"/>
              <a:gd name="connsiteY1780" fmla="*/ 774365 h 1786074"/>
              <a:gd name="connsiteX1781" fmla="*/ 1885421 w 2077606"/>
              <a:gd name="connsiteY1781" fmla="*/ 774365 h 1786074"/>
              <a:gd name="connsiteX1782" fmla="*/ 1887414 w 2077606"/>
              <a:gd name="connsiteY1782" fmla="*/ 778351 h 1786074"/>
              <a:gd name="connsiteX1783" fmla="*/ 1887414 w 2077606"/>
              <a:gd name="connsiteY1783" fmla="*/ 784330 h 1786074"/>
              <a:gd name="connsiteX1784" fmla="*/ 1881435 w 2077606"/>
              <a:gd name="connsiteY1784" fmla="*/ 784330 h 1786074"/>
              <a:gd name="connsiteX1785" fmla="*/ 1875455 w 2077606"/>
              <a:gd name="connsiteY1785" fmla="*/ 786323 h 1786074"/>
              <a:gd name="connsiteX1786" fmla="*/ 1879441 w 2077606"/>
              <a:gd name="connsiteY1786" fmla="*/ 788316 h 1786074"/>
              <a:gd name="connsiteX1787" fmla="*/ 1887414 w 2077606"/>
              <a:gd name="connsiteY1787" fmla="*/ 788316 h 1786074"/>
              <a:gd name="connsiteX1788" fmla="*/ 1885421 w 2077606"/>
              <a:gd name="connsiteY1788" fmla="*/ 790309 h 1786074"/>
              <a:gd name="connsiteX1789" fmla="*/ 1881435 w 2077606"/>
              <a:gd name="connsiteY1789" fmla="*/ 794295 h 1786074"/>
              <a:gd name="connsiteX1790" fmla="*/ 1891401 w 2077606"/>
              <a:gd name="connsiteY1790" fmla="*/ 792302 h 1786074"/>
              <a:gd name="connsiteX1791" fmla="*/ 1899374 w 2077606"/>
              <a:gd name="connsiteY1791" fmla="*/ 794295 h 1786074"/>
              <a:gd name="connsiteX1792" fmla="*/ 1893394 w 2077606"/>
              <a:gd name="connsiteY1792" fmla="*/ 796288 h 1786074"/>
              <a:gd name="connsiteX1793" fmla="*/ 1895387 w 2077606"/>
              <a:gd name="connsiteY1793" fmla="*/ 798281 h 1786074"/>
              <a:gd name="connsiteX1794" fmla="*/ 1899374 w 2077606"/>
              <a:gd name="connsiteY1794" fmla="*/ 800274 h 1786074"/>
              <a:gd name="connsiteX1795" fmla="*/ 1905354 w 2077606"/>
              <a:gd name="connsiteY1795" fmla="*/ 796288 h 1786074"/>
              <a:gd name="connsiteX1796" fmla="*/ 1907347 w 2077606"/>
              <a:gd name="connsiteY1796" fmla="*/ 792302 h 1786074"/>
              <a:gd name="connsiteX1797" fmla="*/ 1911333 w 2077606"/>
              <a:gd name="connsiteY1797" fmla="*/ 790309 h 1786074"/>
              <a:gd name="connsiteX1798" fmla="*/ 1915320 w 2077606"/>
              <a:gd name="connsiteY1798" fmla="*/ 792302 h 1786074"/>
              <a:gd name="connsiteX1799" fmla="*/ 1915320 w 2077606"/>
              <a:gd name="connsiteY1799" fmla="*/ 796288 h 1786074"/>
              <a:gd name="connsiteX1800" fmla="*/ 1921300 w 2077606"/>
              <a:gd name="connsiteY1800" fmla="*/ 792302 h 1786074"/>
              <a:gd name="connsiteX1801" fmla="*/ 1925286 w 2077606"/>
              <a:gd name="connsiteY1801" fmla="*/ 792302 h 1786074"/>
              <a:gd name="connsiteX1802" fmla="*/ 1921300 w 2077606"/>
              <a:gd name="connsiteY1802" fmla="*/ 798281 h 1786074"/>
              <a:gd name="connsiteX1803" fmla="*/ 1913327 w 2077606"/>
              <a:gd name="connsiteY1803" fmla="*/ 800274 h 1786074"/>
              <a:gd name="connsiteX1804" fmla="*/ 1909340 w 2077606"/>
              <a:gd name="connsiteY1804" fmla="*/ 796288 h 1786074"/>
              <a:gd name="connsiteX1805" fmla="*/ 1903360 w 2077606"/>
              <a:gd name="connsiteY1805" fmla="*/ 804261 h 1786074"/>
              <a:gd name="connsiteX1806" fmla="*/ 1895387 w 2077606"/>
              <a:gd name="connsiteY1806" fmla="*/ 808247 h 1786074"/>
              <a:gd name="connsiteX1807" fmla="*/ 1899374 w 2077606"/>
              <a:gd name="connsiteY1807" fmla="*/ 812233 h 1786074"/>
              <a:gd name="connsiteX1808" fmla="*/ 1901367 w 2077606"/>
              <a:gd name="connsiteY1808" fmla="*/ 812233 h 1786074"/>
              <a:gd name="connsiteX1809" fmla="*/ 1907347 w 2077606"/>
              <a:gd name="connsiteY1809" fmla="*/ 804261 h 1786074"/>
              <a:gd name="connsiteX1810" fmla="*/ 1909340 w 2077606"/>
              <a:gd name="connsiteY1810" fmla="*/ 810240 h 1786074"/>
              <a:gd name="connsiteX1811" fmla="*/ 1907347 w 2077606"/>
              <a:gd name="connsiteY1811" fmla="*/ 820205 h 1786074"/>
              <a:gd name="connsiteX1812" fmla="*/ 1911333 w 2077606"/>
              <a:gd name="connsiteY1812" fmla="*/ 816219 h 1786074"/>
              <a:gd name="connsiteX1813" fmla="*/ 1917313 w 2077606"/>
              <a:gd name="connsiteY1813" fmla="*/ 808247 h 1786074"/>
              <a:gd name="connsiteX1814" fmla="*/ 1919306 w 2077606"/>
              <a:gd name="connsiteY1814" fmla="*/ 812233 h 1786074"/>
              <a:gd name="connsiteX1815" fmla="*/ 1921300 w 2077606"/>
              <a:gd name="connsiteY1815" fmla="*/ 810240 h 1786074"/>
              <a:gd name="connsiteX1816" fmla="*/ 1929273 w 2077606"/>
              <a:gd name="connsiteY1816" fmla="*/ 804261 h 1786074"/>
              <a:gd name="connsiteX1817" fmla="*/ 1935252 w 2077606"/>
              <a:gd name="connsiteY1817" fmla="*/ 806254 h 1786074"/>
              <a:gd name="connsiteX1818" fmla="*/ 1939239 w 2077606"/>
              <a:gd name="connsiteY1818" fmla="*/ 810240 h 1786074"/>
              <a:gd name="connsiteX1819" fmla="*/ 1947212 w 2077606"/>
              <a:gd name="connsiteY1819" fmla="*/ 816219 h 1786074"/>
              <a:gd name="connsiteX1820" fmla="*/ 1945219 w 2077606"/>
              <a:gd name="connsiteY1820" fmla="*/ 822198 h 1786074"/>
              <a:gd name="connsiteX1821" fmla="*/ 1937246 w 2077606"/>
              <a:gd name="connsiteY1821" fmla="*/ 820205 h 1786074"/>
              <a:gd name="connsiteX1822" fmla="*/ 1933259 w 2077606"/>
              <a:gd name="connsiteY1822" fmla="*/ 818212 h 1786074"/>
              <a:gd name="connsiteX1823" fmla="*/ 1937246 w 2077606"/>
              <a:gd name="connsiteY1823" fmla="*/ 824191 h 1786074"/>
              <a:gd name="connsiteX1824" fmla="*/ 1937246 w 2077606"/>
              <a:gd name="connsiteY1824" fmla="*/ 828177 h 1786074"/>
              <a:gd name="connsiteX1825" fmla="*/ 1933259 w 2077606"/>
              <a:gd name="connsiteY1825" fmla="*/ 834157 h 1786074"/>
              <a:gd name="connsiteX1826" fmla="*/ 1929273 w 2077606"/>
              <a:gd name="connsiteY1826" fmla="*/ 834157 h 1786074"/>
              <a:gd name="connsiteX1827" fmla="*/ 1925286 w 2077606"/>
              <a:gd name="connsiteY1827" fmla="*/ 834157 h 1786074"/>
              <a:gd name="connsiteX1828" fmla="*/ 1925286 w 2077606"/>
              <a:gd name="connsiteY1828" fmla="*/ 832163 h 1786074"/>
              <a:gd name="connsiteX1829" fmla="*/ 1921300 w 2077606"/>
              <a:gd name="connsiteY1829" fmla="*/ 830170 h 1786074"/>
              <a:gd name="connsiteX1830" fmla="*/ 1919306 w 2077606"/>
              <a:gd name="connsiteY1830" fmla="*/ 826184 h 1786074"/>
              <a:gd name="connsiteX1831" fmla="*/ 1915320 w 2077606"/>
              <a:gd name="connsiteY1831" fmla="*/ 830170 h 1786074"/>
              <a:gd name="connsiteX1832" fmla="*/ 1913327 w 2077606"/>
              <a:gd name="connsiteY1832" fmla="*/ 836150 h 1786074"/>
              <a:gd name="connsiteX1833" fmla="*/ 1913327 w 2077606"/>
              <a:gd name="connsiteY1833" fmla="*/ 838143 h 1786074"/>
              <a:gd name="connsiteX1834" fmla="*/ 1925286 w 2077606"/>
              <a:gd name="connsiteY1834" fmla="*/ 842129 h 1786074"/>
              <a:gd name="connsiteX1835" fmla="*/ 1921300 w 2077606"/>
              <a:gd name="connsiteY1835" fmla="*/ 848108 h 1786074"/>
              <a:gd name="connsiteX1836" fmla="*/ 1913327 w 2077606"/>
              <a:gd name="connsiteY1836" fmla="*/ 844122 h 1786074"/>
              <a:gd name="connsiteX1837" fmla="*/ 1907347 w 2077606"/>
              <a:gd name="connsiteY1837" fmla="*/ 840136 h 1786074"/>
              <a:gd name="connsiteX1838" fmla="*/ 1905354 w 2077606"/>
              <a:gd name="connsiteY1838" fmla="*/ 844122 h 1786074"/>
              <a:gd name="connsiteX1839" fmla="*/ 1909340 w 2077606"/>
              <a:gd name="connsiteY1839" fmla="*/ 848108 h 1786074"/>
              <a:gd name="connsiteX1840" fmla="*/ 1913327 w 2077606"/>
              <a:gd name="connsiteY1840" fmla="*/ 850101 h 1786074"/>
              <a:gd name="connsiteX1841" fmla="*/ 1917313 w 2077606"/>
              <a:gd name="connsiteY1841" fmla="*/ 852094 h 1786074"/>
              <a:gd name="connsiteX1842" fmla="*/ 1917313 w 2077606"/>
              <a:gd name="connsiteY1842" fmla="*/ 858073 h 1786074"/>
              <a:gd name="connsiteX1843" fmla="*/ 1913327 w 2077606"/>
              <a:gd name="connsiteY1843" fmla="*/ 858073 h 1786074"/>
              <a:gd name="connsiteX1844" fmla="*/ 1909340 w 2077606"/>
              <a:gd name="connsiteY1844" fmla="*/ 860066 h 1786074"/>
              <a:gd name="connsiteX1845" fmla="*/ 1907347 w 2077606"/>
              <a:gd name="connsiteY1845" fmla="*/ 864053 h 1786074"/>
              <a:gd name="connsiteX1846" fmla="*/ 1903360 w 2077606"/>
              <a:gd name="connsiteY1846" fmla="*/ 862059 h 1786074"/>
              <a:gd name="connsiteX1847" fmla="*/ 1899374 w 2077606"/>
              <a:gd name="connsiteY1847" fmla="*/ 862059 h 1786074"/>
              <a:gd name="connsiteX1848" fmla="*/ 1895387 w 2077606"/>
              <a:gd name="connsiteY1848" fmla="*/ 868039 h 1786074"/>
              <a:gd name="connsiteX1849" fmla="*/ 1891401 w 2077606"/>
              <a:gd name="connsiteY1849" fmla="*/ 864053 h 1786074"/>
              <a:gd name="connsiteX1850" fmla="*/ 1887414 w 2077606"/>
              <a:gd name="connsiteY1850" fmla="*/ 862059 h 1786074"/>
              <a:gd name="connsiteX1851" fmla="*/ 1887414 w 2077606"/>
              <a:gd name="connsiteY1851" fmla="*/ 870032 h 1786074"/>
              <a:gd name="connsiteX1852" fmla="*/ 1885421 w 2077606"/>
              <a:gd name="connsiteY1852" fmla="*/ 872025 h 1786074"/>
              <a:gd name="connsiteX1853" fmla="*/ 1885421 w 2077606"/>
              <a:gd name="connsiteY1853" fmla="*/ 876011 h 1786074"/>
              <a:gd name="connsiteX1854" fmla="*/ 1889408 w 2077606"/>
              <a:gd name="connsiteY1854" fmla="*/ 878004 h 1786074"/>
              <a:gd name="connsiteX1855" fmla="*/ 1891401 w 2077606"/>
              <a:gd name="connsiteY1855" fmla="*/ 881990 h 1786074"/>
              <a:gd name="connsiteX1856" fmla="*/ 1885421 w 2077606"/>
              <a:gd name="connsiteY1856" fmla="*/ 885976 h 1786074"/>
              <a:gd name="connsiteX1857" fmla="*/ 1889408 w 2077606"/>
              <a:gd name="connsiteY1857" fmla="*/ 887969 h 1786074"/>
              <a:gd name="connsiteX1858" fmla="*/ 1891401 w 2077606"/>
              <a:gd name="connsiteY1858" fmla="*/ 891955 h 1786074"/>
              <a:gd name="connsiteX1859" fmla="*/ 1887414 w 2077606"/>
              <a:gd name="connsiteY1859" fmla="*/ 891955 h 1786074"/>
              <a:gd name="connsiteX1860" fmla="*/ 1879441 w 2077606"/>
              <a:gd name="connsiteY1860" fmla="*/ 891955 h 1786074"/>
              <a:gd name="connsiteX1861" fmla="*/ 1879441 w 2077606"/>
              <a:gd name="connsiteY1861" fmla="*/ 883983 h 1786074"/>
              <a:gd name="connsiteX1862" fmla="*/ 1875455 w 2077606"/>
              <a:gd name="connsiteY1862" fmla="*/ 883983 h 1786074"/>
              <a:gd name="connsiteX1863" fmla="*/ 1871468 w 2077606"/>
              <a:gd name="connsiteY1863" fmla="*/ 883983 h 1786074"/>
              <a:gd name="connsiteX1864" fmla="*/ 1865489 w 2077606"/>
              <a:gd name="connsiteY1864" fmla="*/ 883983 h 1786074"/>
              <a:gd name="connsiteX1865" fmla="*/ 1861502 w 2077606"/>
              <a:gd name="connsiteY1865" fmla="*/ 885976 h 1786074"/>
              <a:gd name="connsiteX1866" fmla="*/ 1857516 w 2077606"/>
              <a:gd name="connsiteY1866" fmla="*/ 878004 h 1786074"/>
              <a:gd name="connsiteX1867" fmla="*/ 1855522 w 2077606"/>
              <a:gd name="connsiteY1867" fmla="*/ 874018 h 1786074"/>
              <a:gd name="connsiteX1868" fmla="*/ 1851536 w 2077606"/>
              <a:gd name="connsiteY1868" fmla="*/ 868039 h 1786074"/>
              <a:gd name="connsiteX1869" fmla="*/ 1861502 w 2077606"/>
              <a:gd name="connsiteY1869" fmla="*/ 864053 h 1786074"/>
              <a:gd name="connsiteX1870" fmla="*/ 1857516 w 2077606"/>
              <a:gd name="connsiteY1870" fmla="*/ 864053 h 1786074"/>
              <a:gd name="connsiteX1871" fmla="*/ 1853529 w 2077606"/>
              <a:gd name="connsiteY1871" fmla="*/ 864053 h 1786074"/>
              <a:gd name="connsiteX1872" fmla="*/ 1855522 w 2077606"/>
              <a:gd name="connsiteY1872" fmla="*/ 860066 h 1786074"/>
              <a:gd name="connsiteX1873" fmla="*/ 1847549 w 2077606"/>
              <a:gd name="connsiteY1873" fmla="*/ 852094 h 1786074"/>
              <a:gd name="connsiteX1874" fmla="*/ 1855522 w 2077606"/>
              <a:gd name="connsiteY1874" fmla="*/ 846115 h 1786074"/>
              <a:gd name="connsiteX1875" fmla="*/ 1857516 w 2077606"/>
              <a:gd name="connsiteY1875" fmla="*/ 844122 h 1786074"/>
              <a:gd name="connsiteX1876" fmla="*/ 1849543 w 2077606"/>
              <a:gd name="connsiteY1876" fmla="*/ 846115 h 1786074"/>
              <a:gd name="connsiteX1877" fmla="*/ 1835590 w 2077606"/>
              <a:gd name="connsiteY1877" fmla="*/ 852094 h 1786074"/>
              <a:gd name="connsiteX1878" fmla="*/ 1837583 w 2077606"/>
              <a:gd name="connsiteY1878" fmla="*/ 846115 h 1786074"/>
              <a:gd name="connsiteX1879" fmla="*/ 1843563 w 2077606"/>
              <a:gd name="connsiteY1879" fmla="*/ 840136 h 1786074"/>
              <a:gd name="connsiteX1880" fmla="*/ 1849543 w 2077606"/>
              <a:gd name="connsiteY1880" fmla="*/ 838143 h 1786074"/>
              <a:gd name="connsiteX1881" fmla="*/ 1847549 w 2077606"/>
              <a:gd name="connsiteY1881" fmla="*/ 834157 h 1786074"/>
              <a:gd name="connsiteX1882" fmla="*/ 1839576 w 2077606"/>
              <a:gd name="connsiteY1882" fmla="*/ 838143 h 1786074"/>
              <a:gd name="connsiteX1883" fmla="*/ 1831603 w 2077606"/>
              <a:gd name="connsiteY1883" fmla="*/ 842129 h 1786074"/>
              <a:gd name="connsiteX1884" fmla="*/ 1829610 w 2077606"/>
              <a:gd name="connsiteY1884" fmla="*/ 838143 h 1786074"/>
              <a:gd name="connsiteX1885" fmla="*/ 1827617 w 2077606"/>
              <a:gd name="connsiteY1885" fmla="*/ 838143 h 1786074"/>
              <a:gd name="connsiteX1886" fmla="*/ 1819644 w 2077606"/>
              <a:gd name="connsiteY1886" fmla="*/ 840136 h 1786074"/>
              <a:gd name="connsiteX1887" fmla="*/ 1813664 w 2077606"/>
              <a:gd name="connsiteY1887" fmla="*/ 834157 h 1786074"/>
              <a:gd name="connsiteX1888" fmla="*/ 1807684 w 2077606"/>
              <a:gd name="connsiteY1888" fmla="*/ 832163 h 1786074"/>
              <a:gd name="connsiteX1889" fmla="*/ 1803698 w 2077606"/>
              <a:gd name="connsiteY1889" fmla="*/ 826184 h 1786074"/>
              <a:gd name="connsiteX1890" fmla="*/ 1803698 w 2077606"/>
              <a:gd name="connsiteY1890" fmla="*/ 828177 h 1786074"/>
              <a:gd name="connsiteX1891" fmla="*/ 1805691 w 2077606"/>
              <a:gd name="connsiteY1891" fmla="*/ 834157 h 1786074"/>
              <a:gd name="connsiteX1892" fmla="*/ 1801704 w 2077606"/>
              <a:gd name="connsiteY1892" fmla="*/ 838143 h 1786074"/>
              <a:gd name="connsiteX1893" fmla="*/ 1799711 w 2077606"/>
              <a:gd name="connsiteY1893" fmla="*/ 834157 h 1786074"/>
              <a:gd name="connsiteX1894" fmla="*/ 1793731 w 2077606"/>
              <a:gd name="connsiteY1894" fmla="*/ 834157 h 1786074"/>
              <a:gd name="connsiteX1895" fmla="*/ 1797718 w 2077606"/>
              <a:gd name="connsiteY1895" fmla="*/ 838143 h 1786074"/>
              <a:gd name="connsiteX1896" fmla="*/ 1797718 w 2077606"/>
              <a:gd name="connsiteY1896" fmla="*/ 842129 h 1786074"/>
              <a:gd name="connsiteX1897" fmla="*/ 1801704 w 2077606"/>
              <a:gd name="connsiteY1897" fmla="*/ 846115 h 1786074"/>
              <a:gd name="connsiteX1898" fmla="*/ 1807684 w 2077606"/>
              <a:gd name="connsiteY1898" fmla="*/ 850101 h 1786074"/>
              <a:gd name="connsiteX1899" fmla="*/ 1801704 w 2077606"/>
              <a:gd name="connsiteY1899" fmla="*/ 854087 h 1786074"/>
              <a:gd name="connsiteX1900" fmla="*/ 1799711 w 2077606"/>
              <a:gd name="connsiteY1900" fmla="*/ 854087 h 1786074"/>
              <a:gd name="connsiteX1901" fmla="*/ 1799213 w 2077606"/>
              <a:gd name="connsiteY1901" fmla="*/ 854087 h 1786074"/>
              <a:gd name="connsiteX1902" fmla="*/ 1791738 w 2077606"/>
              <a:gd name="connsiteY1902" fmla="*/ 854087 h 1786074"/>
              <a:gd name="connsiteX1903" fmla="*/ 1785758 w 2077606"/>
              <a:gd name="connsiteY1903" fmla="*/ 850101 h 1786074"/>
              <a:gd name="connsiteX1904" fmla="*/ 1781772 w 2077606"/>
              <a:gd name="connsiteY1904" fmla="*/ 840136 h 1786074"/>
              <a:gd name="connsiteX1905" fmla="*/ 1771806 w 2077606"/>
              <a:gd name="connsiteY1905" fmla="*/ 838143 h 1786074"/>
              <a:gd name="connsiteX1906" fmla="*/ 1771806 w 2077606"/>
              <a:gd name="connsiteY1906" fmla="*/ 842129 h 1786074"/>
              <a:gd name="connsiteX1907" fmla="*/ 1781772 w 2077606"/>
              <a:gd name="connsiteY1907" fmla="*/ 846115 h 1786074"/>
              <a:gd name="connsiteX1908" fmla="*/ 1785758 w 2077606"/>
              <a:gd name="connsiteY1908" fmla="*/ 852094 h 1786074"/>
              <a:gd name="connsiteX1909" fmla="*/ 1787752 w 2077606"/>
              <a:gd name="connsiteY1909" fmla="*/ 856080 h 1786074"/>
              <a:gd name="connsiteX1910" fmla="*/ 1785758 w 2077606"/>
              <a:gd name="connsiteY1910" fmla="*/ 866046 h 1786074"/>
              <a:gd name="connsiteX1911" fmla="*/ 1789745 w 2077606"/>
              <a:gd name="connsiteY1911" fmla="*/ 868039 h 1786074"/>
              <a:gd name="connsiteX1912" fmla="*/ 1799711 w 2077606"/>
              <a:gd name="connsiteY1912" fmla="*/ 868039 h 1786074"/>
              <a:gd name="connsiteX1913" fmla="*/ 1803698 w 2077606"/>
              <a:gd name="connsiteY1913" fmla="*/ 874018 h 1786074"/>
              <a:gd name="connsiteX1914" fmla="*/ 1801704 w 2077606"/>
              <a:gd name="connsiteY1914" fmla="*/ 878004 h 1786074"/>
              <a:gd name="connsiteX1915" fmla="*/ 1801704 w 2077606"/>
              <a:gd name="connsiteY1915" fmla="*/ 881990 h 1786074"/>
              <a:gd name="connsiteX1916" fmla="*/ 1805691 w 2077606"/>
              <a:gd name="connsiteY1916" fmla="*/ 887969 h 1786074"/>
              <a:gd name="connsiteX1917" fmla="*/ 1807684 w 2077606"/>
              <a:gd name="connsiteY1917" fmla="*/ 891955 h 1786074"/>
              <a:gd name="connsiteX1918" fmla="*/ 1807684 w 2077606"/>
              <a:gd name="connsiteY1918" fmla="*/ 897935 h 1786074"/>
              <a:gd name="connsiteX1919" fmla="*/ 1805691 w 2077606"/>
              <a:gd name="connsiteY1919" fmla="*/ 901921 h 1786074"/>
              <a:gd name="connsiteX1920" fmla="*/ 1809677 w 2077606"/>
              <a:gd name="connsiteY1920" fmla="*/ 899928 h 1786074"/>
              <a:gd name="connsiteX1921" fmla="*/ 1811671 w 2077606"/>
              <a:gd name="connsiteY1921" fmla="*/ 895942 h 1786074"/>
              <a:gd name="connsiteX1922" fmla="*/ 1815657 w 2077606"/>
              <a:gd name="connsiteY1922" fmla="*/ 901921 h 1786074"/>
              <a:gd name="connsiteX1923" fmla="*/ 1813664 w 2077606"/>
              <a:gd name="connsiteY1923" fmla="*/ 905907 h 1786074"/>
              <a:gd name="connsiteX1924" fmla="*/ 1817650 w 2077606"/>
              <a:gd name="connsiteY1924" fmla="*/ 905907 h 1786074"/>
              <a:gd name="connsiteX1925" fmla="*/ 1821637 w 2077606"/>
              <a:gd name="connsiteY1925" fmla="*/ 901921 h 1786074"/>
              <a:gd name="connsiteX1926" fmla="*/ 1823630 w 2077606"/>
              <a:gd name="connsiteY1926" fmla="*/ 903914 h 1786074"/>
              <a:gd name="connsiteX1927" fmla="*/ 1827617 w 2077606"/>
              <a:gd name="connsiteY1927" fmla="*/ 903914 h 1786074"/>
              <a:gd name="connsiteX1928" fmla="*/ 1831603 w 2077606"/>
              <a:gd name="connsiteY1928" fmla="*/ 901921 h 1786074"/>
              <a:gd name="connsiteX1929" fmla="*/ 1833597 w 2077606"/>
              <a:gd name="connsiteY1929" fmla="*/ 907900 h 1786074"/>
              <a:gd name="connsiteX1930" fmla="*/ 1833597 w 2077606"/>
              <a:gd name="connsiteY1930" fmla="*/ 909893 h 1786074"/>
              <a:gd name="connsiteX1931" fmla="*/ 1837583 w 2077606"/>
              <a:gd name="connsiteY1931" fmla="*/ 907900 h 1786074"/>
              <a:gd name="connsiteX1932" fmla="*/ 1841570 w 2077606"/>
              <a:gd name="connsiteY1932" fmla="*/ 903914 h 1786074"/>
              <a:gd name="connsiteX1933" fmla="*/ 1845556 w 2077606"/>
              <a:gd name="connsiteY1933" fmla="*/ 905907 h 1786074"/>
              <a:gd name="connsiteX1934" fmla="*/ 1847549 w 2077606"/>
              <a:gd name="connsiteY1934" fmla="*/ 907900 h 1786074"/>
              <a:gd name="connsiteX1935" fmla="*/ 1845556 w 2077606"/>
              <a:gd name="connsiteY1935" fmla="*/ 909893 h 1786074"/>
              <a:gd name="connsiteX1936" fmla="*/ 1843563 w 2077606"/>
              <a:gd name="connsiteY1936" fmla="*/ 911886 h 1786074"/>
              <a:gd name="connsiteX1937" fmla="*/ 1841570 w 2077606"/>
              <a:gd name="connsiteY1937" fmla="*/ 911886 h 1786074"/>
              <a:gd name="connsiteX1938" fmla="*/ 1837583 w 2077606"/>
              <a:gd name="connsiteY1938" fmla="*/ 913879 h 1786074"/>
              <a:gd name="connsiteX1939" fmla="*/ 1835590 w 2077606"/>
              <a:gd name="connsiteY1939" fmla="*/ 913879 h 1786074"/>
              <a:gd name="connsiteX1940" fmla="*/ 1833597 w 2077606"/>
              <a:gd name="connsiteY1940" fmla="*/ 915872 h 1786074"/>
              <a:gd name="connsiteX1941" fmla="*/ 1835590 w 2077606"/>
              <a:gd name="connsiteY1941" fmla="*/ 915872 h 1786074"/>
              <a:gd name="connsiteX1942" fmla="*/ 1837583 w 2077606"/>
              <a:gd name="connsiteY1942" fmla="*/ 917865 h 1786074"/>
              <a:gd name="connsiteX1943" fmla="*/ 1839576 w 2077606"/>
              <a:gd name="connsiteY1943" fmla="*/ 917865 h 1786074"/>
              <a:gd name="connsiteX1944" fmla="*/ 1841570 w 2077606"/>
              <a:gd name="connsiteY1944" fmla="*/ 915872 h 1786074"/>
              <a:gd name="connsiteX1945" fmla="*/ 1843563 w 2077606"/>
              <a:gd name="connsiteY1945" fmla="*/ 913879 h 1786074"/>
              <a:gd name="connsiteX1946" fmla="*/ 1845556 w 2077606"/>
              <a:gd name="connsiteY1946" fmla="*/ 915872 h 1786074"/>
              <a:gd name="connsiteX1947" fmla="*/ 1845556 w 2077606"/>
              <a:gd name="connsiteY1947" fmla="*/ 919858 h 1786074"/>
              <a:gd name="connsiteX1948" fmla="*/ 1845556 w 2077606"/>
              <a:gd name="connsiteY1948" fmla="*/ 921851 h 1786074"/>
              <a:gd name="connsiteX1949" fmla="*/ 1841570 w 2077606"/>
              <a:gd name="connsiteY1949" fmla="*/ 923845 h 1786074"/>
              <a:gd name="connsiteX1950" fmla="*/ 1839576 w 2077606"/>
              <a:gd name="connsiteY1950" fmla="*/ 925838 h 1786074"/>
              <a:gd name="connsiteX1951" fmla="*/ 1837583 w 2077606"/>
              <a:gd name="connsiteY1951" fmla="*/ 927831 h 1786074"/>
              <a:gd name="connsiteX1952" fmla="*/ 1839576 w 2077606"/>
              <a:gd name="connsiteY1952" fmla="*/ 927831 h 1786074"/>
              <a:gd name="connsiteX1953" fmla="*/ 1841570 w 2077606"/>
              <a:gd name="connsiteY1953" fmla="*/ 927831 h 1786074"/>
              <a:gd name="connsiteX1954" fmla="*/ 1843563 w 2077606"/>
              <a:gd name="connsiteY1954" fmla="*/ 931817 h 1786074"/>
              <a:gd name="connsiteX1955" fmla="*/ 1843563 w 2077606"/>
              <a:gd name="connsiteY1955" fmla="*/ 933810 h 1786074"/>
              <a:gd name="connsiteX1956" fmla="*/ 1851536 w 2077606"/>
              <a:gd name="connsiteY1956" fmla="*/ 933810 h 1786074"/>
              <a:gd name="connsiteX1957" fmla="*/ 1853529 w 2077606"/>
              <a:gd name="connsiteY1957" fmla="*/ 937796 h 1786074"/>
              <a:gd name="connsiteX1958" fmla="*/ 1851536 w 2077606"/>
              <a:gd name="connsiteY1958" fmla="*/ 941782 h 1786074"/>
              <a:gd name="connsiteX1959" fmla="*/ 1849543 w 2077606"/>
              <a:gd name="connsiteY1959" fmla="*/ 941782 h 1786074"/>
              <a:gd name="connsiteX1960" fmla="*/ 1847549 w 2077606"/>
              <a:gd name="connsiteY1960" fmla="*/ 943775 h 1786074"/>
              <a:gd name="connsiteX1961" fmla="*/ 1849543 w 2077606"/>
              <a:gd name="connsiteY1961" fmla="*/ 947761 h 1786074"/>
              <a:gd name="connsiteX1962" fmla="*/ 1851536 w 2077606"/>
              <a:gd name="connsiteY1962" fmla="*/ 951747 h 1786074"/>
              <a:gd name="connsiteX1963" fmla="*/ 1853529 w 2077606"/>
              <a:gd name="connsiteY1963" fmla="*/ 955734 h 1786074"/>
              <a:gd name="connsiteX1964" fmla="*/ 1853529 w 2077606"/>
              <a:gd name="connsiteY1964" fmla="*/ 961713 h 1786074"/>
              <a:gd name="connsiteX1965" fmla="*/ 1853529 w 2077606"/>
              <a:gd name="connsiteY1965" fmla="*/ 965699 h 1786074"/>
              <a:gd name="connsiteX1966" fmla="*/ 1849543 w 2077606"/>
              <a:gd name="connsiteY1966" fmla="*/ 969685 h 1786074"/>
              <a:gd name="connsiteX1967" fmla="*/ 1847549 w 2077606"/>
              <a:gd name="connsiteY1967" fmla="*/ 967692 h 1786074"/>
              <a:gd name="connsiteX1968" fmla="*/ 1845556 w 2077606"/>
              <a:gd name="connsiteY1968" fmla="*/ 963706 h 1786074"/>
              <a:gd name="connsiteX1969" fmla="*/ 1845556 w 2077606"/>
              <a:gd name="connsiteY1969" fmla="*/ 957727 h 1786074"/>
              <a:gd name="connsiteX1970" fmla="*/ 1845556 w 2077606"/>
              <a:gd name="connsiteY1970" fmla="*/ 953741 h 1786074"/>
              <a:gd name="connsiteX1971" fmla="*/ 1843563 w 2077606"/>
              <a:gd name="connsiteY1971" fmla="*/ 949754 h 1786074"/>
              <a:gd name="connsiteX1972" fmla="*/ 1839576 w 2077606"/>
              <a:gd name="connsiteY1972" fmla="*/ 951747 h 1786074"/>
              <a:gd name="connsiteX1973" fmla="*/ 1841570 w 2077606"/>
              <a:gd name="connsiteY1973" fmla="*/ 953741 h 1786074"/>
              <a:gd name="connsiteX1974" fmla="*/ 1841570 w 2077606"/>
              <a:gd name="connsiteY1974" fmla="*/ 959720 h 1786074"/>
              <a:gd name="connsiteX1975" fmla="*/ 1839576 w 2077606"/>
              <a:gd name="connsiteY1975" fmla="*/ 961713 h 1786074"/>
              <a:gd name="connsiteX1976" fmla="*/ 1843563 w 2077606"/>
              <a:gd name="connsiteY1976" fmla="*/ 963706 h 1786074"/>
              <a:gd name="connsiteX1977" fmla="*/ 1843563 w 2077606"/>
              <a:gd name="connsiteY1977" fmla="*/ 967692 h 1786074"/>
              <a:gd name="connsiteX1978" fmla="*/ 1841570 w 2077606"/>
              <a:gd name="connsiteY1978" fmla="*/ 971678 h 1786074"/>
              <a:gd name="connsiteX1979" fmla="*/ 1841570 w 2077606"/>
              <a:gd name="connsiteY1979" fmla="*/ 973671 h 1786074"/>
              <a:gd name="connsiteX1980" fmla="*/ 1845556 w 2077606"/>
              <a:gd name="connsiteY1980" fmla="*/ 973671 h 1786074"/>
              <a:gd name="connsiteX1981" fmla="*/ 1845556 w 2077606"/>
              <a:gd name="connsiteY1981" fmla="*/ 977657 h 1786074"/>
              <a:gd name="connsiteX1982" fmla="*/ 1843563 w 2077606"/>
              <a:gd name="connsiteY1982" fmla="*/ 979650 h 1786074"/>
              <a:gd name="connsiteX1983" fmla="*/ 1847549 w 2077606"/>
              <a:gd name="connsiteY1983" fmla="*/ 981643 h 1786074"/>
              <a:gd name="connsiteX1984" fmla="*/ 1845556 w 2077606"/>
              <a:gd name="connsiteY1984" fmla="*/ 985630 h 1786074"/>
              <a:gd name="connsiteX1985" fmla="*/ 1841570 w 2077606"/>
              <a:gd name="connsiteY1985" fmla="*/ 987623 h 1786074"/>
              <a:gd name="connsiteX1986" fmla="*/ 1839576 w 2077606"/>
              <a:gd name="connsiteY1986" fmla="*/ 989616 h 1786074"/>
              <a:gd name="connsiteX1987" fmla="*/ 1837583 w 2077606"/>
              <a:gd name="connsiteY1987" fmla="*/ 989616 h 1786074"/>
              <a:gd name="connsiteX1988" fmla="*/ 1835590 w 2077606"/>
              <a:gd name="connsiteY1988" fmla="*/ 987623 h 1786074"/>
              <a:gd name="connsiteX1989" fmla="*/ 1835590 w 2077606"/>
              <a:gd name="connsiteY1989" fmla="*/ 985630 h 1786074"/>
              <a:gd name="connsiteX1990" fmla="*/ 1833597 w 2077606"/>
              <a:gd name="connsiteY1990" fmla="*/ 983636 h 1786074"/>
              <a:gd name="connsiteX1991" fmla="*/ 1833597 w 2077606"/>
              <a:gd name="connsiteY1991" fmla="*/ 987623 h 1786074"/>
              <a:gd name="connsiteX1992" fmla="*/ 1835590 w 2077606"/>
              <a:gd name="connsiteY1992" fmla="*/ 991609 h 1786074"/>
              <a:gd name="connsiteX1993" fmla="*/ 1831603 w 2077606"/>
              <a:gd name="connsiteY1993" fmla="*/ 995595 h 1786074"/>
              <a:gd name="connsiteX1994" fmla="*/ 1827617 w 2077606"/>
              <a:gd name="connsiteY1994" fmla="*/ 991609 h 1786074"/>
              <a:gd name="connsiteX1995" fmla="*/ 1823630 w 2077606"/>
              <a:gd name="connsiteY1995" fmla="*/ 991609 h 1786074"/>
              <a:gd name="connsiteX1996" fmla="*/ 1821637 w 2077606"/>
              <a:gd name="connsiteY1996" fmla="*/ 991609 h 1786074"/>
              <a:gd name="connsiteX1997" fmla="*/ 1821637 w 2077606"/>
              <a:gd name="connsiteY1997" fmla="*/ 989616 h 1786074"/>
              <a:gd name="connsiteX1998" fmla="*/ 1819644 w 2077606"/>
              <a:gd name="connsiteY1998" fmla="*/ 985630 h 1786074"/>
              <a:gd name="connsiteX1999" fmla="*/ 1815657 w 2077606"/>
              <a:gd name="connsiteY1999" fmla="*/ 983636 h 1786074"/>
              <a:gd name="connsiteX2000" fmla="*/ 1813664 w 2077606"/>
              <a:gd name="connsiteY2000" fmla="*/ 981643 h 1786074"/>
              <a:gd name="connsiteX2001" fmla="*/ 1807684 w 2077606"/>
              <a:gd name="connsiteY2001" fmla="*/ 981643 h 1786074"/>
              <a:gd name="connsiteX2002" fmla="*/ 1803698 w 2077606"/>
              <a:gd name="connsiteY2002" fmla="*/ 977657 h 1786074"/>
              <a:gd name="connsiteX2003" fmla="*/ 1799711 w 2077606"/>
              <a:gd name="connsiteY2003" fmla="*/ 973671 h 1786074"/>
              <a:gd name="connsiteX2004" fmla="*/ 1797718 w 2077606"/>
              <a:gd name="connsiteY2004" fmla="*/ 967692 h 1786074"/>
              <a:gd name="connsiteX2005" fmla="*/ 1795725 w 2077606"/>
              <a:gd name="connsiteY2005" fmla="*/ 965699 h 1786074"/>
              <a:gd name="connsiteX2006" fmla="*/ 1793731 w 2077606"/>
              <a:gd name="connsiteY2006" fmla="*/ 967692 h 1786074"/>
              <a:gd name="connsiteX2007" fmla="*/ 1795725 w 2077606"/>
              <a:gd name="connsiteY2007" fmla="*/ 969685 h 1786074"/>
              <a:gd name="connsiteX2008" fmla="*/ 1797718 w 2077606"/>
              <a:gd name="connsiteY2008" fmla="*/ 973671 h 1786074"/>
              <a:gd name="connsiteX2009" fmla="*/ 1799711 w 2077606"/>
              <a:gd name="connsiteY2009" fmla="*/ 977657 h 1786074"/>
              <a:gd name="connsiteX2010" fmla="*/ 1793731 w 2077606"/>
              <a:gd name="connsiteY2010" fmla="*/ 979650 h 1786074"/>
              <a:gd name="connsiteX2011" fmla="*/ 1791738 w 2077606"/>
              <a:gd name="connsiteY2011" fmla="*/ 977657 h 1786074"/>
              <a:gd name="connsiteX2012" fmla="*/ 1789745 w 2077606"/>
              <a:gd name="connsiteY2012" fmla="*/ 969685 h 1786074"/>
              <a:gd name="connsiteX2013" fmla="*/ 1781772 w 2077606"/>
              <a:gd name="connsiteY2013" fmla="*/ 959720 h 1786074"/>
              <a:gd name="connsiteX2014" fmla="*/ 1777785 w 2077606"/>
              <a:gd name="connsiteY2014" fmla="*/ 951747 h 1786074"/>
              <a:gd name="connsiteX2015" fmla="*/ 1777785 w 2077606"/>
              <a:gd name="connsiteY2015" fmla="*/ 957727 h 1786074"/>
              <a:gd name="connsiteX2016" fmla="*/ 1775792 w 2077606"/>
              <a:gd name="connsiteY2016" fmla="*/ 961713 h 1786074"/>
              <a:gd name="connsiteX2017" fmla="*/ 1769812 w 2077606"/>
              <a:gd name="connsiteY2017" fmla="*/ 957727 h 1786074"/>
              <a:gd name="connsiteX2018" fmla="*/ 1763833 w 2077606"/>
              <a:gd name="connsiteY2018" fmla="*/ 955734 h 1786074"/>
              <a:gd name="connsiteX2019" fmla="*/ 1757853 w 2077606"/>
              <a:gd name="connsiteY2019" fmla="*/ 949754 h 1786074"/>
              <a:gd name="connsiteX2020" fmla="*/ 1749880 w 2077606"/>
              <a:gd name="connsiteY2020" fmla="*/ 951747 h 1786074"/>
              <a:gd name="connsiteX2021" fmla="*/ 1761839 w 2077606"/>
              <a:gd name="connsiteY2021" fmla="*/ 967692 h 1786074"/>
              <a:gd name="connsiteX2022" fmla="*/ 1767819 w 2077606"/>
              <a:gd name="connsiteY2022" fmla="*/ 973671 h 1786074"/>
              <a:gd name="connsiteX2023" fmla="*/ 1769812 w 2077606"/>
              <a:gd name="connsiteY2023" fmla="*/ 977657 h 1786074"/>
              <a:gd name="connsiteX2024" fmla="*/ 1773799 w 2077606"/>
              <a:gd name="connsiteY2024" fmla="*/ 983636 h 1786074"/>
              <a:gd name="connsiteX2025" fmla="*/ 1775792 w 2077606"/>
              <a:gd name="connsiteY2025" fmla="*/ 985630 h 1786074"/>
              <a:gd name="connsiteX2026" fmla="*/ 1779779 w 2077606"/>
              <a:gd name="connsiteY2026" fmla="*/ 983636 h 1786074"/>
              <a:gd name="connsiteX2027" fmla="*/ 1785758 w 2077606"/>
              <a:gd name="connsiteY2027" fmla="*/ 985630 h 1786074"/>
              <a:gd name="connsiteX2028" fmla="*/ 1787752 w 2077606"/>
              <a:gd name="connsiteY2028" fmla="*/ 989616 h 1786074"/>
              <a:gd name="connsiteX2029" fmla="*/ 1787752 w 2077606"/>
              <a:gd name="connsiteY2029" fmla="*/ 993602 h 1786074"/>
              <a:gd name="connsiteX2030" fmla="*/ 1791738 w 2077606"/>
              <a:gd name="connsiteY2030" fmla="*/ 993602 h 1786074"/>
              <a:gd name="connsiteX2031" fmla="*/ 1795725 w 2077606"/>
              <a:gd name="connsiteY2031" fmla="*/ 993602 h 1786074"/>
              <a:gd name="connsiteX2032" fmla="*/ 1797718 w 2077606"/>
              <a:gd name="connsiteY2032" fmla="*/ 995595 h 1786074"/>
              <a:gd name="connsiteX2033" fmla="*/ 1797718 w 2077606"/>
              <a:gd name="connsiteY2033" fmla="*/ 999581 h 1786074"/>
              <a:gd name="connsiteX2034" fmla="*/ 1799711 w 2077606"/>
              <a:gd name="connsiteY2034" fmla="*/ 1003567 h 1786074"/>
              <a:gd name="connsiteX2035" fmla="*/ 1799711 w 2077606"/>
              <a:gd name="connsiteY2035" fmla="*/ 1005560 h 1786074"/>
              <a:gd name="connsiteX2036" fmla="*/ 1803698 w 2077606"/>
              <a:gd name="connsiteY2036" fmla="*/ 1007553 h 1786074"/>
              <a:gd name="connsiteX2037" fmla="*/ 1805691 w 2077606"/>
              <a:gd name="connsiteY2037" fmla="*/ 1007553 h 1786074"/>
              <a:gd name="connsiteX2038" fmla="*/ 1809677 w 2077606"/>
              <a:gd name="connsiteY2038" fmla="*/ 1007553 h 1786074"/>
              <a:gd name="connsiteX2039" fmla="*/ 1811671 w 2077606"/>
              <a:gd name="connsiteY2039" fmla="*/ 1011539 h 1786074"/>
              <a:gd name="connsiteX2040" fmla="*/ 1811671 w 2077606"/>
              <a:gd name="connsiteY2040" fmla="*/ 1015526 h 1786074"/>
              <a:gd name="connsiteX2041" fmla="*/ 1807684 w 2077606"/>
              <a:gd name="connsiteY2041" fmla="*/ 1015526 h 1786074"/>
              <a:gd name="connsiteX2042" fmla="*/ 1805691 w 2077606"/>
              <a:gd name="connsiteY2042" fmla="*/ 1015526 h 1786074"/>
              <a:gd name="connsiteX2043" fmla="*/ 1805691 w 2077606"/>
              <a:gd name="connsiteY2043" fmla="*/ 1021505 h 1786074"/>
              <a:gd name="connsiteX2044" fmla="*/ 1807684 w 2077606"/>
              <a:gd name="connsiteY2044" fmla="*/ 1023498 h 1786074"/>
              <a:gd name="connsiteX2045" fmla="*/ 1809677 w 2077606"/>
              <a:gd name="connsiteY2045" fmla="*/ 1027484 h 1786074"/>
              <a:gd name="connsiteX2046" fmla="*/ 1807684 w 2077606"/>
              <a:gd name="connsiteY2046" fmla="*/ 1031470 h 1786074"/>
              <a:gd name="connsiteX2047" fmla="*/ 1803698 w 2077606"/>
              <a:gd name="connsiteY2047" fmla="*/ 1031470 h 1786074"/>
              <a:gd name="connsiteX2048" fmla="*/ 1797718 w 2077606"/>
              <a:gd name="connsiteY2048" fmla="*/ 1029477 h 1786074"/>
              <a:gd name="connsiteX2049" fmla="*/ 1793731 w 2077606"/>
              <a:gd name="connsiteY2049" fmla="*/ 1025491 h 1786074"/>
              <a:gd name="connsiteX2050" fmla="*/ 1791738 w 2077606"/>
              <a:gd name="connsiteY2050" fmla="*/ 1023498 h 1786074"/>
              <a:gd name="connsiteX2051" fmla="*/ 1789745 w 2077606"/>
              <a:gd name="connsiteY2051" fmla="*/ 1023498 h 1786074"/>
              <a:gd name="connsiteX2052" fmla="*/ 1785758 w 2077606"/>
              <a:gd name="connsiteY2052" fmla="*/ 1021505 h 1786074"/>
              <a:gd name="connsiteX2053" fmla="*/ 1781772 w 2077606"/>
              <a:gd name="connsiteY2053" fmla="*/ 1019512 h 1786074"/>
              <a:gd name="connsiteX2054" fmla="*/ 1781772 w 2077606"/>
              <a:gd name="connsiteY2054" fmla="*/ 1015526 h 1786074"/>
              <a:gd name="connsiteX2055" fmla="*/ 1777785 w 2077606"/>
              <a:gd name="connsiteY2055" fmla="*/ 1013532 h 1786074"/>
              <a:gd name="connsiteX2056" fmla="*/ 1773799 w 2077606"/>
              <a:gd name="connsiteY2056" fmla="*/ 1015526 h 1786074"/>
              <a:gd name="connsiteX2057" fmla="*/ 1769812 w 2077606"/>
              <a:gd name="connsiteY2057" fmla="*/ 1015526 h 1786074"/>
              <a:gd name="connsiteX2058" fmla="*/ 1767819 w 2077606"/>
              <a:gd name="connsiteY2058" fmla="*/ 1013532 h 1786074"/>
              <a:gd name="connsiteX2059" fmla="*/ 1765826 w 2077606"/>
              <a:gd name="connsiteY2059" fmla="*/ 1013532 h 1786074"/>
              <a:gd name="connsiteX2060" fmla="*/ 1763833 w 2077606"/>
              <a:gd name="connsiteY2060" fmla="*/ 1013532 h 1786074"/>
              <a:gd name="connsiteX2061" fmla="*/ 1761839 w 2077606"/>
              <a:gd name="connsiteY2061" fmla="*/ 1011539 h 1786074"/>
              <a:gd name="connsiteX2062" fmla="*/ 1757853 w 2077606"/>
              <a:gd name="connsiteY2062" fmla="*/ 1011539 h 1786074"/>
              <a:gd name="connsiteX2063" fmla="*/ 1755860 w 2077606"/>
              <a:gd name="connsiteY2063" fmla="*/ 1011539 h 1786074"/>
              <a:gd name="connsiteX2064" fmla="*/ 1753866 w 2077606"/>
              <a:gd name="connsiteY2064" fmla="*/ 1013532 h 1786074"/>
              <a:gd name="connsiteX2065" fmla="*/ 1747887 w 2077606"/>
              <a:gd name="connsiteY2065" fmla="*/ 1013532 h 1786074"/>
              <a:gd name="connsiteX2066" fmla="*/ 1745893 w 2077606"/>
              <a:gd name="connsiteY2066" fmla="*/ 1009546 h 1786074"/>
              <a:gd name="connsiteX2067" fmla="*/ 1739914 w 2077606"/>
              <a:gd name="connsiteY2067" fmla="*/ 1009546 h 1786074"/>
              <a:gd name="connsiteX2068" fmla="*/ 1737920 w 2077606"/>
              <a:gd name="connsiteY2068" fmla="*/ 1009546 h 1786074"/>
              <a:gd name="connsiteX2069" fmla="*/ 1735927 w 2077606"/>
              <a:gd name="connsiteY2069" fmla="*/ 1005560 h 1786074"/>
              <a:gd name="connsiteX2070" fmla="*/ 1731941 w 2077606"/>
              <a:gd name="connsiteY2070" fmla="*/ 1005560 h 1786074"/>
              <a:gd name="connsiteX2071" fmla="*/ 1731941 w 2077606"/>
              <a:gd name="connsiteY2071" fmla="*/ 1003567 h 1786074"/>
              <a:gd name="connsiteX2072" fmla="*/ 1729947 w 2077606"/>
              <a:gd name="connsiteY2072" fmla="*/ 999581 h 1786074"/>
              <a:gd name="connsiteX2073" fmla="*/ 1727954 w 2077606"/>
              <a:gd name="connsiteY2073" fmla="*/ 995595 h 1786074"/>
              <a:gd name="connsiteX2074" fmla="*/ 1727954 w 2077606"/>
              <a:gd name="connsiteY2074" fmla="*/ 993602 h 1786074"/>
              <a:gd name="connsiteX2075" fmla="*/ 1727954 w 2077606"/>
              <a:gd name="connsiteY2075" fmla="*/ 991609 h 1786074"/>
              <a:gd name="connsiteX2076" fmla="*/ 1725961 w 2077606"/>
              <a:gd name="connsiteY2076" fmla="*/ 993602 h 1786074"/>
              <a:gd name="connsiteX2077" fmla="*/ 1723968 w 2077606"/>
              <a:gd name="connsiteY2077" fmla="*/ 993602 h 1786074"/>
              <a:gd name="connsiteX2078" fmla="*/ 1721974 w 2077606"/>
              <a:gd name="connsiteY2078" fmla="*/ 991609 h 1786074"/>
              <a:gd name="connsiteX2079" fmla="*/ 1721974 w 2077606"/>
              <a:gd name="connsiteY2079" fmla="*/ 987623 h 1786074"/>
              <a:gd name="connsiteX2080" fmla="*/ 1719981 w 2077606"/>
              <a:gd name="connsiteY2080" fmla="*/ 987623 h 1786074"/>
              <a:gd name="connsiteX2081" fmla="*/ 1715995 w 2077606"/>
              <a:gd name="connsiteY2081" fmla="*/ 989616 h 1786074"/>
              <a:gd name="connsiteX2082" fmla="*/ 1714001 w 2077606"/>
              <a:gd name="connsiteY2082" fmla="*/ 991609 h 1786074"/>
              <a:gd name="connsiteX2083" fmla="*/ 1712008 w 2077606"/>
              <a:gd name="connsiteY2083" fmla="*/ 991609 h 1786074"/>
              <a:gd name="connsiteX2084" fmla="*/ 1710015 w 2077606"/>
              <a:gd name="connsiteY2084" fmla="*/ 987623 h 1786074"/>
              <a:gd name="connsiteX2085" fmla="*/ 1708022 w 2077606"/>
              <a:gd name="connsiteY2085" fmla="*/ 985630 h 1786074"/>
              <a:gd name="connsiteX2086" fmla="*/ 1706028 w 2077606"/>
              <a:gd name="connsiteY2086" fmla="*/ 985630 h 1786074"/>
              <a:gd name="connsiteX2087" fmla="*/ 1700049 w 2077606"/>
              <a:gd name="connsiteY2087" fmla="*/ 985630 h 1786074"/>
              <a:gd name="connsiteX2088" fmla="*/ 1698055 w 2077606"/>
              <a:gd name="connsiteY2088" fmla="*/ 983636 h 1786074"/>
              <a:gd name="connsiteX2089" fmla="*/ 1696062 w 2077606"/>
              <a:gd name="connsiteY2089" fmla="*/ 985630 h 1786074"/>
              <a:gd name="connsiteX2090" fmla="*/ 1700049 w 2077606"/>
              <a:gd name="connsiteY2090" fmla="*/ 989616 h 1786074"/>
              <a:gd name="connsiteX2091" fmla="*/ 1702042 w 2077606"/>
              <a:gd name="connsiteY2091" fmla="*/ 989616 h 1786074"/>
              <a:gd name="connsiteX2092" fmla="*/ 1706028 w 2077606"/>
              <a:gd name="connsiteY2092" fmla="*/ 991609 h 1786074"/>
              <a:gd name="connsiteX2093" fmla="*/ 1712008 w 2077606"/>
              <a:gd name="connsiteY2093" fmla="*/ 993602 h 1786074"/>
              <a:gd name="connsiteX2094" fmla="*/ 1714001 w 2077606"/>
              <a:gd name="connsiteY2094" fmla="*/ 997588 h 1786074"/>
              <a:gd name="connsiteX2095" fmla="*/ 1712008 w 2077606"/>
              <a:gd name="connsiteY2095" fmla="*/ 999581 h 1786074"/>
              <a:gd name="connsiteX2096" fmla="*/ 1708022 w 2077606"/>
              <a:gd name="connsiteY2096" fmla="*/ 999581 h 1786074"/>
              <a:gd name="connsiteX2097" fmla="*/ 1704035 w 2077606"/>
              <a:gd name="connsiteY2097" fmla="*/ 999581 h 1786074"/>
              <a:gd name="connsiteX2098" fmla="*/ 1700049 w 2077606"/>
              <a:gd name="connsiteY2098" fmla="*/ 997588 h 1786074"/>
              <a:gd name="connsiteX2099" fmla="*/ 1698055 w 2077606"/>
              <a:gd name="connsiteY2099" fmla="*/ 991609 h 1786074"/>
              <a:gd name="connsiteX2100" fmla="*/ 1696062 w 2077606"/>
              <a:gd name="connsiteY2100" fmla="*/ 991609 h 1786074"/>
              <a:gd name="connsiteX2101" fmla="*/ 1694069 w 2077606"/>
              <a:gd name="connsiteY2101" fmla="*/ 991609 h 1786074"/>
              <a:gd name="connsiteX2102" fmla="*/ 1690082 w 2077606"/>
              <a:gd name="connsiteY2102" fmla="*/ 989616 h 1786074"/>
              <a:gd name="connsiteX2103" fmla="*/ 1690082 w 2077606"/>
              <a:gd name="connsiteY2103" fmla="*/ 985630 h 1786074"/>
              <a:gd name="connsiteX2104" fmla="*/ 1690082 w 2077606"/>
              <a:gd name="connsiteY2104" fmla="*/ 981643 h 1786074"/>
              <a:gd name="connsiteX2105" fmla="*/ 1694069 w 2077606"/>
              <a:gd name="connsiteY2105" fmla="*/ 979650 h 1786074"/>
              <a:gd name="connsiteX2106" fmla="*/ 1696062 w 2077606"/>
              <a:gd name="connsiteY2106" fmla="*/ 979650 h 1786074"/>
              <a:gd name="connsiteX2107" fmla="*/ 1698055 w 2077606"/>
              <a:gd name="connsiteY2107" fmla="*/ 977657 h 1786074"/>
              <a:gd name="connsiteX2108" fmla="*/ 1696062 w 2077606"/>
              <a:gd name="connsiteY2108" fmla="*/ 973671 h 1786074"/>
              <a:gd name="connsiteX2109" fmla="*/ 1694069 w 2077606"/>
              <a:gd name="connsiteY2109" fmla="*/ 973671 h 1786074"/>
              <a:gd name="connsiteX2110" fmla="*/ 1690082 w 2077606"/>
              <a:gd name="connsiteY2110" fmla="*/ 977657 h 1786074"/>
              <a:gd name="connsiteX2111" fmla="*/ 1688089 w 2077606"/>
              <a:gd name="connsiteY2111" fmla="*/ 979650 h 1786074"/>
              <a:gd name="connsiteX2112" fmla="*/ 1686096 w 2077606"/>
              <a:gd name="connsiteY2112" fmla="*/ 977657 h 1786074"/>
              <a:gd name="connsiteX2113" fmla="*/ 1684103 w 2077606"/>
              <a:gd name="connsiteY2113" fmla="*/ 975664 h 1786074"/>
              <a:gd name="connsiteX2114" fmla="*/ 1680116 w 2077606"/>
              <a:gd name="connsiteY2114" fmla="*/ 969685 h 1786074"/>
              <a:gd name="connsiteX2115" fmla="*/ 1678123 w 2077606"/>
              <a:gd name="connsiteY2115" fmla="*/ 967692 h 1786074"/>
              <a:gd name="connsiteX2116" fmla="*/ 1680116 w 2077606"/>
              <a:gd name="connsiteY2116" fmla="*/ 965699 h 1786074"/>
              <a:gd name="connsiteX2117" fmla="*/ 1672143 w 2077606"/>
              <a:gd name="connsiteY2117" fmla="*/ 965699 h 1786074"/>
              <a:gd name="connsiteX2118" fmla="*/ 1674136 w 2077606"/>
              <a:gd name="connsiteY2118" fmla="*/ 959720 h 1786074"/>
              <a:gd name="connsiteX2119" fmla="*/ 1682109 w 2077606"/>
              <a:gd name="connsiteY2119" fmla="*/ 957727 h 1786074"/>
              <a:gd name="connsiteX2120" fmla="*/ 1684103 w 2077606"/>
              <a:gd name="connsiteY2120" fmla="*/ 959720 h 1786074"/>
              <a:gd name="connsiteX2121" fmla="*/ 1690082 w 2077606"/>
              <a:gd name="connsiteY2121" fmla="*/ 957727 h 1786074"/>
              <a:gd name="connsiteX2122" fmla="*/ 1692076 w 2077606"/>
              <a:gd name="connsiteY2122" fmla="*/ 957727 h 1786074"/>
              <a:gd name="connsiteX2123" fmla="*/ 1694069 w 2077606"/>
              <a:gd name="connsiteY2123" fmla="*/ 953741 h 1786074"/>
              <a:gd name="connsiteX2124" fmla="*/ 1692076 w 2077606"/>
              <a:gd name="connsiteY2124" fmla="*/ 953741 h 1786074"/>
              <a:gd name="connsiteX2125" fmla="*/ 1688089 w 2077606"/>
              <a:gd name="connsiteY2125" fmla="*/ 953741 h 1786074"/>
              <a:gd name="connsiteX2126" fmla="*/ 1688089 w 2077606"/>
              <a:gd name="connsiteY2126" fmla="*/ 951747 h 1786074"/>
              <a:gd name="connsiteX2127" fmla="*/ 1686096 w 2077606"/>
              <a:gd name="connsiteY2127" fmla="*/ 949754 h 1786074"/>
              <a:gd name="connsiteX2128" fmla="*/ 1684103 w 2077606"/>
              <a:gd name="connsiteY2128" fmla="*/ 949754 h 1786074"/>
              <a:gd name="connsiteX2129" fmla="*/ 1680116 w 2077606"/>
              <a:gd name="connsiteY2129" fmla="*/ 949754 h 1786074"/>
              <a:gd name="connsiteX2130" fmla="*/ 1676130 w 2077606"/>
              <a:gd name="connsiteY2130" fmla="*/ 945768 h 1786074"/>
              <a:gd name="connsiteX2131" fmla="*/ 1676130 w 2077606"/>
              <a:gd name="connsiteY2131" fmla="*/ 949754 h 1786074"/>
              <a:gd name="connsiteX2132" fmla="*/ 1672143 w 2077606"/>
              <a:gd name="connsiteY2132" fmla="*/ 953741 h 1786074"/>
              <a:gd name="connsiteX2133" fmla="*/ 1668157 w 2077606"/>
              <a:gd name="connsiteY2133" fmla="*/ 955734 h 1786074"/>
              <a:gd name="connsiteX2134" fmla="*/ 1668157 w 2077606"/>
              <a:gd name="connsiteY2134" fmla="*/ 953741 h 1786074"/>
              <a:gd name="connsiteX2135" fmla="*/ 1668157 w 2077606"/>
              <a:gd name="connsiteY2135" fmla="*/ 949754 h 1786074"/>
              <a:gd name="connsiteX2136" fmla="*/ 1668157 w 2077606"/>
              <a:gd name="connsiteY2136" fmla="*/ 947761 h 1786074"/>
              <a:gd name="connsiteX2137" fmla="*/ 1672143 w 2077606"/>
              <a:gd name="connsiteY2137" fmla="*/ 941782 h 1786074"/>
              <a:gd name="connsiteX2138" fmla="*/ 1668157 w 2077606"/>
              <a:gd name="connsiteY2138" fmla="*/ 941782 h 1786074"/>
              <a:gd name="connsiteX2139" fmla="*/ 1664170 w 2077606"/>
              <a:gd name="connsiteY2139" fmla="*/ 941782 h 1786074"/>
              <a:gd name="connsiteX2140" fmla="*/ 1664170 w 2077606"/>
              <a:gd name="connsiteY2140" fmla="*/ 937796 h 1786074"/>
              <a:gd name="connsiteX2141" fmla="*/ 1664170 w 2077606"/>
              <a:gd name="connsiteY2141" fmla="*/ 935803 h 1786074"/>
              <a:gd name="connsiteX2142" fmla="*/ 1662177 w 2077606"/>
              <a:gd name="connsiteY2142" fmla="*/ 935803 h 1786074"/>
              <a:gd name="connsiteX2143" fmla="*/ 1662177 w 2077606"/>
              <a:gd name="connsiteY2143" fmla="*/ 933810 h 1786074"/>
              <a:gd name="connsiteX2144" fmla="*/ 1660184 w 2077606"/>
              <a:gd name="connsiteY2144" fmla="*/ 933810 h 1786074"/>
              <a:gd name="connsiteX2145" fmla="*/ 1658190 w 2077606"/>
              <a:gd name="connsiteY2145" fmla="*/ 929824 h 1786074"/>
              <a:gd name="connsiteX2146" fmla="*/ 1658190 w 2077606"/>
              <a:gd name="connsiteY2146" fmla="*/ 927831 h 1786074"/>
              <a:gd name="connsiteX2147" fmla="*/ 1654204 w 2077606"/>
              <a:gd name="connsiteY2147" fmla="*/ 927831 h 1786074"/>
              <a:gd name="connsiteX2148" fmla="*/ 1654204 w 2077606"/>
              <a:gd name="connsiteY2148" fmla="*/ 925838 h 1786074"/>
              <a:gd name="connsiteX2149" fmla="*/ 1652211 w 2077606"/>
              <a:gd name="connsiteY2149" fmla="*/ 923845 h 1786074"/>
              <a:gd name="connsiteX2150" fmla="*/ 1650217 w 2077606"/>
              <a:gd name="connsiteY2150" fmla="*/ 919858 h 1786074"/>
              <a:gd name="connsiteX2151" fmla="*/ 1648224 w 2077606"/>
              <a:gd name="connsiteY2151" fmla="*/ 917865 h 1786074"/>
              <a:gd name="connsiteX2152" fmla="*/ 1648224 w 2077606"/>
              <a:gd name="connsiteY2152" fmla="*/ 919858 h 1786074"/>
              <a:gd name="connsiteX2153" fmla="*/ 1646231 w 2077606"/>
              <a:gd name="connsiteY2153" fmla="*/ 919858 h 1786074"/>
              <a:gd name="connsiteX2154" fmla="*/ 1644238 w 2077606"/>
              <a:gd name="connsiteY2154" fmla="*/ 919858 h 1786074"/>
              <a:gd name="connsiteX2155" fmla="*/ 1642244 w 2077606"/>
              <a:gd name="connsiteY2155" fmla="*/ 917865 h 1786074"/>
              <a:gd name="connsiteX2156" fmla="*/ 1644238 w 2077606"/>
              <a:gd name="connsiteY2156" fmla="*/ 913879 h 1786074"/>
              <a:gd name="connsiteX2157" fmla="*/ 1644238 w 2077606"/>
              <a:gd name="connsiteY2157" fmla="*/ 909893 h 1786074"/>
              <a:gd name="connsiteX2158" fmla="*/ 1638258 w 2077606"/>
              <a:gd name="connsiteY2158" fmla="*/ 913879 h 1786074"/>
              <a:gd name="connsiteX2159" fmla="*/ 1636265 w 2077606"/>
              <a:gd name="connsiteY2159" fmla="*/ 917865 h 1786074"/>
              <a:gd name="connsiteX2160" fmla="*/ 1634271 w 2077606"/>
              <a:gd name="connsiteY2160" fmla="*/ 917865 h 1786074"/>
              <a:gd name="connsiteX2161" fmla="*/ 1632278 w 2077606"/>
              <a:gd name="connsiteY2161" fmla="*/ 915872 h 1786074"/>
              <a:gd name="connsiteX2162" fmla="*/ 1632278 w 2077606"/>
              <a:gd name="connsiteY2162" fmla="*/ 911886 h 1786074"/>
              <a:gd name="connsiteX2163" fmla="*/ 1630285 w 2077606"/>
              <a:gd name="connsiteY2163" fmla="*/ 907900 h 1786074"/>
              <a:gd name="connsiteX2164" fmla="*/ 1634271 w 2077606"/>
              <a:gd name="connsiteY2164" fmla="*/ 901921 h 1786074"/>
              <a:gd name="connsiteX2165" fmla="*/ 1634271 w 2077606"/>
              <a:gd name="connsiteY2165" fmla="*/ 899928 h 1786074"/>
              <a:gd name="connsiteX2166" fmla="*/ 1630285 w 2077606"/>
              <a:gd name="connsiteY2166" fmla="*/ 901921 h 1786074"/>
              <a:gd name="connsiteX2167" fmla="*/ 1626298 w 2077606"/>
              <a:gd name="connsiteY2167" fmla="*/ 903914 h 1786074"/>
              <a:gd name="connsiteX2168" fmla="*/ 1624305 w 2077606"/>
              <a:gd name="connsiteY2168" fmla="*/ 901921 h 1786074"/>
              <a:gd name="connsiteX2169" fmla="*/ 1624305 w 2077606"/>
              <a:gd name="connsiteY2169" fmla="*/ 895942 h 1786074"/>
              <a:gd name="connsiteX2170" fmla="*/ 1624305 w 2077606"/>
              <a:gd name="connsiteY2170" fmla="*/ 891955 h 1786074"/>
              <a:gd name="connsiteX2171" fmla="*/ 1622312 w 2077606"/>
              <a:gd name="connsiteY2171" fmla="*/ 891955 h 1786074"/>
              <a:gd name="connsiteX2172" fmla="*/ 1618325 w 2077606"/>
              <a:gd name="connsiteY2172" fmla="*/ 893949 h 1786074"/>
              <a:gd name="connsiteX2173" fmla="*/ 1614339 w 2077606"/>
              <a:gd name="connsiteY2173" fmla="*/ 895942 h 1786074"/>
              <a:gd name="connsiteX2174" fmla="*/ 1620318 w 2077606"/>
              <a:gd name="connsiteY2174" fmla="*/ 899928 h 1786074"/>
              <a:gd name="connsiteX2175" fmla="*/ 1620318 w 2077606"/>
              <a:gd name="connsiteY2175" fmla="*/ 903914 h 1786074"/>
              <a:gd name="connsiteX2176" fmla="*/ 1618325 w 2077606"/>
              <a:gd name="connsiteY2176" fmla="*/ 903914 h 1786074"/>
              <a:gd name="connsiteX2177" fmla="*/ 1624305 w 2077606"/>
              <a:gd name="connsiteY2177" fmla="*/ 905907 h 1786074"/>
              <a:gd name="connsiteX2178" fmla="*/ 1626298 w 2077606"/>
              <a:gd name="connsiteY2178" fmla="*/ 909893 h 1786074"/>
              <a:gd name="connsiteX2179" fmla="*/ 1624305 w 2077606"/>
              <a:gd name="connsiteY2179" fmla="*/ 915872 h 1786074"/>
              <a:gd name="connsiteX2180" fmla="*/ 1622312 w 2077606"/>
              <a:gd name="connsiteY2180" fmla="*/ 917865 h 1786074"/>
              <a:gd name="connsiteX2181" fmla="*/ 1618325 w 2077606"/>
              <a:gd name="connsiteY2181" fmla="*/ 917865 h 1786074"/>
              <a:gd name="connsiteX2182" fmla="*/ 1612345 w 2077606"/>
              <a:gd name="connsiteY2182" fmla="*/ 917865 h 1786074"/>
              <a:gd name="connsiteX2183" fmla="*/ 1608359 w 2077606"/>
              <a:gd name="connsiteY2183" fmla="*/ 915872 h 1786074"/>
              <a:gd name="connsiteX2184" fmla="*/ 1606366 w 2077606"/>
              <a:gd name="connsiteY2184" fmla="*/ 913879 h 1786074"/>
              <a:gd name="connsiteX2185" fmla="*/ 1604372 w 2077606"/>
              <a:gd name="connsiteY2185" fmla="*/ 911886 h 1786074"/>
              <a:gd name="connsiteX2186" fmla="*/ 1602379 w 2077606"/>
              <a:gd name="connsiteY2186" fmla="*/ 911886 h 1786074"/>
              <a:gd name="connsiteX2187" fmla="*/ 1596399 w 2077606"/>
              <a:gd name="connsiteY2187" fmla="*/ 911886 h 1786074"/>
              <a:gd name="connsiteX2188" fmla="*/ 1598393 w 2077606"/>
              <a:gd name="connsiteY2188" fmla="*/ 917865 h 1786074"/>
              <a:gd name="connsiteX2189" fmla="*/ 1598393 w 2077606"/>
              <a:gd name="connsiteY2189" fmla="*/ 921851 h 1786074"/>
              <a:gd name="connsiteX2190" fmla="*/ 1596399 w 2077606"/>
              <a:gd name="connsiteY2190" fmla="*/ 921851 h 1786074"/>
              <a:gd name="connsiteX2191" fmla="*/ 1592413 w 2077606"/>
              <a:gd name="connsiteY2191" fmla="*/ 919858 h 1786074"/>
              <a:gd name="connsiteX2192" fmla="*/ 1588426 w 2077606"/>
              <a:gd name="connsiteY2192" fmla="*/ 919858 h 1786074"/>
              <a:gd name="connsiteX2193" fmla="*/ 1584440 w 2077606"/>
              <a:gd name="connsiteY2193" fmla="*/ 923845 h 1786074"/>
              <a:gd name="connsiteX2194" fmla="*/ 1582447 w 2077606"/>
              <a:gd name="connsiteY2194" fmla="*/ 925838 h 1786074"/>
              <a:gd name="connsiteX2195" fmla="*/ 1576467 w 2077606"/>
              <a:gd name="connsiteY2195" fmla="*/ 925838 h 1786074"/>
              <a:gd name="connsiteX2196" fmla="*/ 1572480 w 2077606"/>
              <a:gd name="connsiteY2196" fmla="*/ 925838 h 1786074"/>
              <a:gd name="connsiteX2197" fmla="*/ 1570487 w 2077606"/>
              <a:gd name="connsiteY2197" fmla="*/ 927831 h 1786074"/>
              <a:gd name="connsiteX2198" fmla="*/ 1564507 w 2077606"/>
              <a:gd name="connsiteY2198" fmla="*/ 927831 h 1786074"/>
              <a:gd name="connsiteX2199" fmla="*/ 1562514 w 2077606"/>
              <a:gd name="connsiteY2199" fmla="*/ 925838 h 1786074"/>
              <a:gd name="connsiteX2200" fmla="*/ 1558528 w 2077606"/>
              <a:gd name="connsiteY2200" fmla="*/ 923845 h 1786074"/>
              <a:gd name="connsiteX2201" fmla="*/ 1556534 w 2077606"/>
              <a:gd name="connsiteY2201" fmla="*/ 919858 h 1786074"/>
              <a:gd name="connsiteX2202" fmla="*/ 1554541 w 2077606"/>
              <a:gd name="connsiteY2202" fmla="*/ 919858 h 1786074"/>
              <a:gd name="connsiteX2203" fmla="*/ 1550555 w 2077606"/>
              <a:gd name="connsiteY2203" fmla="*/ 919858 h 1786074"/>
              <a:gd name="connsiteX2204" fmla="*/ 1546568 w 2077606"/>
              <a:gd name="connsiteY2204" fmla="*/ 921851 h 1786074"/>
              <a:gd name="connsiteX2205" fmla="*/ 1538595 w 2077606"/>
              <a:gd name="connsiteY2205" fmla="*/ 907900 h 1786074"/>
              <a:gd name="connsiteX2206" fmla="*/ 1546568 w 2077606"/>
              <a:gd name="connsiteY2206" fmla="*/ 887969 h 1786074"/>
              <a:gd name="connsiteX2207" fmla="*/ 1556534 w 2077606"/>
              <a:gd name="connsiteY2207" fmla="*/ 887969 h 1786074"/>
              <a:gd name="connsiteX2208" fmla="*/ 1560521 w 2077606"/>
              <a:gd name="connsiteY2208" fmla="*/ 883983 h 1786074"/>
              <a:gd name="connsiteX2209" fmla="*/ 1564507 w 2077606"/>
              <a:gd name="connsiteY2209" fmla="*/ 874018 h 1786074"/>
              <a:gd name="connsiteX2210" fmla="*/ 1574474 w 2077606"/>
              <a:gd name="connsiteY2210" fmla="*/ 876011 h 1786074"/>
              <a:gd name="connsiteX2211" fmla="*/ 1586433 w 2077606"/>
              <a:gd name="connsiteY2211" fmla="*/ 878004 h 1786074"/>
              <a:gd name="connsiteX2212" fmla="*/ 1590420 w 2077606"/>
              <a:gd name="connsiteY2212" fmla="*/ 879997 h 1786074"/>
              <a:gd name="connsiteX2213" fmla="*/ 1596399 w 2077606"/>
              <a:gd name="connsiteY2213" fmla="*/ 878004 h 1786074"/>
              <a:gd name="connsiteX2214" fmla="*/ 1598393 w 2077606"/>
              <a:gd name="connsiteY2214" fmla="*/ 879997 h 1786074"/>
              <a:gd name="connsiteX2215" fmla="*/ 1600386 w 2077606"/>
              <a:gd name="connsiteY2215" fmla="*/ 878004 h 1786074"/>
              <a:gd name="connsiteX2216" fmla="*/ 1602379 w 2077606"/>
              <a:gd name="connsiteY2216" fmla="*/ 876011 h 1786074"/>
              <a:gd name="connsiteX2217" fmla="*/ 1604372 w 2077606"/>
              <a:gd name="connsiteY2217" fmla="*/ 878004 h 1786074"/>
              <a:gd name="connsiteX2218" fmla="*/ 1608359 w 2077606"/>
              <a:gd name="connsiteY2218" fmla="*/ 878004 h 1786074"/>
              <a:gd name="connsiteX2219" fmla="*/ 1610352 w 2077606"/>
              <a:gd name="connsiteY2219" fmla="*/ 879997 h 1786074"/>
              <a:gd name="connsiteX2220" fmla="*/ 1612345 w 2077606"/>
              <a:gd name="connsiteY2220" fmla="*/ 879997 h 1786074"/>
              <a:gd name="connsiteX2221" fmla="*/ 1614339 w 2077606"/>
              <a:gd name="connsiteY2221" fmla="*/ 878004 h 1786074"/>
              <a:gd name="connsiteX2222" fmla="*/ 1618325 w 2077606"/>
              <a:gd name="connsiteY2222" fmla="*/ 876011 h 1786074"/>
              <a:gd name="connsiteX2223" fmla="*/ 1620318 w 2077606"/>
              <a:gd name="connsiteY2223" fmla="*/ 876011 h 1786074"/>
              <a:gd name="connsiteX2224" fmla="*/ 1622312 w 2077606"/>
              <a:gd name="connsiteY2224" fmla="*/ 878004 h 1786074"/>
              <a:gd name="connsiteX2225" fmla="*/ 1622312 w 2077606"/>
              <a:gd name="connsiteY2225" fmla="*/ 876011 h 1786074"/>
              <a:gd name="connsiteX2226" fmla="*/ 1626298 w 2077606"/>
              <a:gd name="connsiteY2226" fmla="*/ 874018 h 1786074"/>
              <a:gd name="connsiteX2227" fmla="*/ 1628292 w 2077606"/>
              <a:gd name="connsiteY2227" fmla="*/ 876011 h 1786074"/>
              <a:gd name="connsiteX2228" fmla="*/ 1630285 w 2077606"/>
              <a:gd name="connsiteY2228" fmla="*/ 878004 h 1786074"/>
              <a:gd name="connsiteX2229" fmla="*/ 1632278 w 2077606"/>
              <a:gd name="connsiteY2229" fmla="*/ 876011 h 1786074"/>
              <a:gd name="connsiteX2230" fmla="*/ 1634271 w 2077606"/>
              <a:gd name="connsiteY2230" fmla="*/ 874018 h 1786074"/>
              <a:gd name="connsiteX2231" fmla="*/ 1636265 w 2077606"/>
              <a:gd name="connsiteY2231" fmla="*/ 872025 h 1786074"/>
              <a:gd name="connsiteX2232" fmla="*/ 1638258 w 2077606"/>
              <a:gd name="connsiteY2232" fmla="*/ 872025 h 1786074"/>
              <a:gd name="connsiteX2233" fmla="*/ 1642244 w 2077606"/>
              <a:gd name="connsiteY2233" fmla="*/ 872025 h 1786074"/>
              <a:gd name="connsiteX2234" fmla="*/ 1644238 w 2077606"/>
              <a:gd name="connsiteY2234" fmla="*/ 872025 h 1786074"/>
              <a:gd name="connsiteX2235" fmla="*/ 1646231 w 2077606"/>
              <a:gd name="connsiteY2235" fmla="*/ 870032 h 1786074"/>
              <a:gd name="connsiteX2236" fmla="*/ 1648224 w 2077606"/>
              <a:gd name="connsiteY2236" fmla="*/ 870032 h 1786074"/>
              <a:gd name="connsiteX2237" fmla="*/ 1652211 w 2077606"/>
              <a:gd name="connsiteY2237" fmla="*/ 870032 h 1786074"/>
              <a:gd name="connsiteX2238" fmla="*/ 1654204 w 2077606"/>
              <a:gd name="connsiteY2238" fmla="*/ 872025 h 1786074"/>
              <a:gd name="connsiteX2239" fmla="*/ 1656197 w 2077606"/>
              <a:gd name="connsiteY2239" fmla="*/ 870032 h 1786074"/>
              <a:gd name="connsiteX2240" fmla="*/ 1654204 w 2077606"/>
              <a:gd name="connsiteY2240" fmla="*/ 868039 h 1786074"/>
              <a:gd name="connsiteX2241" fmla="*/ 1652211 w 2077606"/>
              <a:gd name="connsiteY2241" fmla="*/ 866046 h 1786074"/>
              <a:gd name="connsiteX2242" fmla="*/ 1652211 w 2077606"/>
              <a:gd name="connsiteY2242" fmla="*/ 862059 h 1786074"/>
              <a:gd name="connsiteX2243" fmla="*/ 1650217 w 2077606"/>
              <a:gd name="connsiteY2243" fmla="*/ 860066 h 1786074"/>
              <a:gd name="connsiteX2244" fmla="*/ 1648224 w 2077606"/>
              <a:gd name="connsiteY2244" fmla="*/ 858073 h 1786074"/>
              <a:gd name="connsiteX2245" fmla="*/ 1646231 w 2077606"/>
              <a:gd name="connsiteY2245" fmla="*/ 856080 h 1786074"/>
              <a:gd name="connsiteX2246" fmla="*/ 1644238 w 2077606"/>
              <a:gd name="connsiteY2246" fmla="*/ 856080 h 1786074"/>
              <a:gd name="connsiteX2247" fmla="*/ 1644238 w 2077606"/>
              <a:gd name="connsiteY2247" fmla="*/ 850101 h 1786074"/>
              <a:gd name="connsiteX2248" fmla="*/ 1642244 w 2077606"/>
              <a:gd name="connsiteY2248" fmla="*/ 848108 h 1786074"/>
              <a:gd name="connsiteX2249" fmla="*/ 1642244 w 2077606"/>
              <a:gd name="connsiteY2249" fmla="*/ 846115 h 1786074"/>
              <a:gd name="connsiteX2250" fmla="*/ 1648224 w 2077606"/>
              <a:gd name="connsiteY2250" fmla="*/ 838143 h 1786074"/>
              <a:gd name="connsiteX2251" fmla="*/ 1654204 w 2077606"/>
              <a:gd name="connsiteY2251" fmla="*/ 834157 h 1786074"/>
              <a:gd name="connsiteX2252" fmla="*/ 1660184 w 2077606"/>
              <a:gd name="connsiteY2252" fmla="*/ 830170 h 1786074"/>
              <a:gd name="connsiteX2253" fmla="*/ 1664170 w 2077606"/>
              <a:gd name="connsiteY2253" fmla="*/ 824191 h 1786074"/>
              <a:gd name="connsiteX2254" fmla="*/ 1672143 w 2077606"/>
              <a:gd name="connsiteY2254" fmla="*/ 820205 h 1786074"/>
              <a:gd name="connsiteX2255" fmla="*/ 1678123 w 2077606"/>
              <a:gd name="connsiteY2255" fmla="*/ 810240 h 1786074"/>
              <a:gd name="connsiteX2256" fmla="*/ 1682109 w 2077606"/>
              <a:gd name="connsiteY2256" fmla="*/ 798281 h 1786074"/>
              <a:gd name="connsiteX2257" fmla="*/ 1690082 w 2077606"/>
              <a:gd name="connsiteY2257" fmla="*/ 794295 h 1786074"/>
              <a:gd name="connsiteX2258" fmla="*/ 1694069 w 2077606"/>
              <a:gd name="connsiteY2258" fmla="*/ 792302 h 1786074"/>
              <a:gd name="connsiteX2259" fmla="*/ 1696062 w 2077606"/>
              <a:gd name="connsiteY2259" fmla="*/ 788316 h 1786074"/>
              <a:gd name="connsiteX2260" fmla="*/ 1694069 w 2077606"/>
              <a:gd name="connsiteY2260" fmla="*/ 784330 h 1786074"/>
              <a:gd name="connsiteX2261" fmla="*/ 1694069 w 2077606"/>
              <a:gd name="connsiteY2261" fmla="*/ 780344 h 1786074"/>
              <a:gd name="connsiteX2262" fmla="*/ 1692076 w 2077606"/>
              <a:gd name="connsiteY2262" fmla="*/ 778351 h 1786074"/>
              <a:gd name="connsiteX2263" fmla="*/ 1688089 w 2077606"/>
              <a:gd name="connsiteY2263" fmla="*/ 774365 h 1786074"/>
              <a:gd name="connsiteX2264" fmla="*/ 1688089 w 2077606"/>
              <a:gd name="connsiteY2264" fmla="*/ 768385 h 1786074"/>
              <a:gd name="connsiteX2265" fmla="*/ 1686472 w 2077606"/>
              <a:gd name="connsiteY2265" fmla="*/ 766768 h 1786074"/>
              <a:gd name="connsiteX2266" fmla="*/ 1686594 w 2077606"/>
              <a:gd name="connsiteY2266" fmla="*/ 766891 h 1786074"/>
              <a:gd name="connsiteX2267" fmla="*/ 1686443 w 2077606"/>
              <a:gd name="connsiteY2267" fmla="*/ 766740 h 1786074"/>
              <a:gd name="connsiteX2268" fmla="*/ 1686187 w 2077606"/>
              <a:gd name="connsiteY2268" fmla="*/ 766484 h 1786074"/>
              <a:gd name="connsiteX2269" fmla="*/ 1686108 w 2077606"/>
              <a:gd name="connsiteY2269" fmla="*/ 766405 h 1786074"/>
              <a:gd name="connsiteX2270" fmla="*/ 1684103 w 2077606"/>
              <a:gd name="connsiteY2270" fmla="*/ 764399 h 1786074"/>
              <a:gd name="connsiteX2271" fmla="*/ 1684103 w 2077606"/>
              <a:gd name="connsiteY2271" fmla="*/ 758420 h 1786074"/>
              <a:gd name="connsiteX2272" fmla="*/ 1686096 w 2077606"/>
              <a:gd name="connsiteY2272" fmla="*/ 758420 h 1786074"/>
              <a:gd name="connsiteX2273" fmla="*/ 1688089 w 2077606"/>
              <a:gd name="connsiteY2273" fmla="*/ 760413 h 1786074"/>
              <a:gd name="connsiteX2274" fmla="*/ 1690082 w 2077606"/>
              <a:gd name="connsiteY2274" fmla="*/ 762406 h 1786074"/>
              <a:gd name="connsiteX2275" fmla="*/ 1692076 w 2077606"/>
              <a:gd name="connsiteY2275" fmla="*/ 762406 h 1786074"/>
              <a:gd name="connsiteX2276" fmla="*/ 1692076 w 2077606"/>
              <a:gd name="connsiteY2276" fmla="*/ 754434 h 1786074"/>
              <a:gd name="connsiteX2277" fmla="*/ 1690082 w 2077606"/>
              <a:gd name="connsiteY2277" fmla="*/ 748455 h 1786074"/>
              <a:gd name="connsiteX2278" fmla="*/ 1682109 w 2077606"/>
              <a:gd name="connsiteY2278" fmla="*/ 750448 h 1786074"/>
              <a:gd name="connsiteX2279" fmla="*/ 1678123 w 2077606"/>
              <a:gd name="connsiteY2279" fmla="*/ 746462 h 1786074"/>
              <a:gd name="connsiteX2280" fmla="*/ 1676130 w 2077606"/>
              <a:gd name="connsiteY2280" fmla="*/ 746462 h 1786074"/>
              <a:gd name="connsiteX2281" fmla="*/ 1672143 w 2077606"/>
              <a:gd name="connsiteY2281" fmla="*/ 746462 h 1786074"/>
              <a:gd name="connsiteX2282" fmla="*/ 1670150 w 2077606"/>
              <a:gd name="connsiteY2282" fmla="*/ 744469 h 1786074"/>
              <a:gd name="connsiteX2283" fmla="*/ 1666163 w 2077606"/>
              <a:gd name="connsiteY2283" fmla="*/ 742475 h 1786074"/>
              <a:gd name="connsiteX2284" fmla="*/ 1664170 w 2077606"/>
              <a:gd name="connsiteY2284" fmla="*/ 738489 h 1786074"/>
              <a:gd name="connsiteX2285" fmla="*/ 1666163 w 2077606"/>
              <a:gd name="connsiteY2285" fmla="*/ 734503 h 1786074"/>
              <a:gd name="connsiteX2286" fmla="*/ 1666163 w 2077606"/>
              <a:gd name="connsiteY2286" fmla="*/ 730517 h 1786074"/>
              <a:gd name="connsiteX2287" fmla="*/ 1664170 w 2077606"/>
              <a:gd name="connsiteY2287" fmla="*/ 728524 h 1786074"/>
              <a:gd name="connsiteX2288" fmla="*/ 1664170 w 2077606"/>
              <a:gd name="connsiteY2288" fmla="*/ 732510 h 1786074"/>
              <a:gd name="connsiteX2289" fmla="*/ 1664170 w 2077606"/>
              <a:gd name="connsiteY2289" fmla="*/ 734503 h 1786074"/>
              <a:gd name="connsiteX2290" fmla="*/ 1664170 w 2077606"/>
              <a:gd name="connsiteY2290" fmla="*/ 738489 h 1786074"/>
              <a:gd name="connsiteX2291" fmla="*/ 1664170 w 2077606"/>
              <a:gd name="connsiteY2291" fmla="*/ 742475 h 1786074"/>
              <a:gd name="connsiteX2292" fmla="*/ 1660184 w 2077606"/>
              <a:gd name="connsiteY2292" fmla="*/ 744469 h 1786074"/>
              <a:gd name="connsiteX2293" fmla="*/ 1658190 w 2077606"/>
              <a:gd name="connsiteY2293" fmla="*/ 742475 h 1786074"/>
              <a:gd name="connsiteX2294" fmla="*/ 1658190 w 2077606"/>
              <a:gd name="connsiteY2294" fmla="*/ 740482 h 1786074"/>
              <a:gd name="connsiteX2295" fmla="*/ 1658190 w 2077606"/>
              <a:gd name="connsiteY2295" fmla="*/ 736496 h 1786074"/>
              <a:gd name="connsiteX2296" fmla="*/ 1656197 w 2077606"/>
              <a:gd name="connsiteY2296" fmla="*/ 734503 h 1786074"/>
              <a:gd name="connsiteX2297" fmla="*/ 1652211 w 2077606"/>
              <a:gd name="connsiteY2297" fmla="*/ 736496 h 1786074"/>
              <a:gd name="connsiteX2298" fmla="*/ 1650217 w 2077606"/>
              <a:gd name="connsiteY2298" fmla="*/ 736496 h 1786074"/>
              <a:gd name="connsiteX2299" fmla="*/ 1648224 w 2077606"/>
              <a:gd name="connsiteY2299" fmla="*/ 734503 h 1786074"/>
              <a:gd name="connsiteX2300" fmla="*/ 1646231 w 2077606"/>
              <a:gd name="connsiteY2300" fmla="*/ 740482 h 1786074"/>
              <a:gd name="connsiteX2301" fmla="*/ 1646231 w 2077606"/>
              <a:gd name="connsiteY2301" fmla="*/ 744469 h 1786074"/>
              <a:gd name="connsiteX2302" fmla="*/ 1644238 w 2077606"/>
              <a:gd name="connsiteY2302" fmla="*/ 746462 h 1786074"/>
              <a:gd name="connsiteX2303" fmla="*/ 1640251 w 2077606"/>
              <a:gd name="connsiteY2303" fmla="*/ 744469 h 1786074"/>
              <a:gd name="connsiteX2304" fmla="*/ 1638258 w 2077606"/>
              <a:gd name="connsiteY2304" fmla="*/ 742475 h 1786074"/>
              <a:gd name="connsiteX2305" fmla="*/ 1638258 w 2077606"/>
              <a:gd name="connsiteY2305" fmla="*/ 738489 h 1786074"/>
              <a:gd name="connsiteX2306" fmla="*/ 1638258 w 2077606"/>
              <a:gd name="connsiteY2306" fmla="*/ 736496 h 1786074"/>
              <a:gd name="connsiteX2307" fmla="*/ 1638258 w 2077606"/>
              <a:gd name="connsiteY2307" fmla="*/ 732510 h 1786074"/>
              <a:gd name="connsiteX2308" fmla="*/ 1640251 w 2077606"/>
              <a:gd name="connsiteY2308" fmla="*/ 728524 h 1786074"/>
              <a:gd name="connsiteX2309" fmla="*/ 1646231 w 2077606"/>
              <a:gd name="connsiteY2309" fmla="*/ 722545 h 1786074"/>
              <a:gd name="connsiteX2310" fmla="*/ 1648224 w 2077606"/>
              <a:gd name="connsiteY2310" fmla="*/ 716566 h 1786074"/>
              <a:gd name="connsiteX2311" fmla="*/ 1648224 w 2077606"/>
              <a:gd name="connsiteY2311" fmla="*/ 710586 h 1786074"/>
              <a:gd name="connsiteX2312" fmla="*/ 1642244 w 2077606"/>
              <a:gd name="connsiteY2312" fmla="*/ 716566 h 1786074"/>
              <a:gd name="connsiteX2313" fmla="*/ 1638258 w 2077606"/>
              <a:gd name="connsiteY2313" fmla="*/ 720552 h 1786074"/>
              <a:gd name="connsiteX2314" fmla="*/ 1634271 w 2077606"/>
              <a:gd name="connsiteY2314" fmla="*/ 724538 h 1786074"/>
              <a:gd name="connsiteX2315" fmla="*/ 1628292 w 2077606"/>
              <a:gd name="connsiteY2315" fmla="*/ 726531 h 1786074"/>
              <a:gd name="connsiteX2316" fmla="*/ 1622312 w 2077606"/>
              <a:gd name="connsiteY2316" fmla="*/ 728524 h 1786074"/>
              <a:gd name="connsiteX2317" fmla="*/ 1620318 w 2077606"/>
              <a:gd name="connsiteY2317" fmla="*/ 730517 h 1786074"/>
              <a:gd name="connsiteX2318" fmla="*/ 1618325 w 2077606"/>
              <a:gd name="connsiteY2318" fmla="*/ 732510 h 1786074"/>
              <a:gd name="connsiteX2319" fmla="*/ 1614339 w 2077606"/>
              <a:gd name="connsiteY2319" fmla="*/ 736496 h 1786074"/>
              <a:gd name="connsiteX2320" fmla="*/ 1610352 w 2077606"/>
              <a:gd name="connsiteY2320" fmla="*/ 738489 h 1786074"/>
              <a:gd name="connsiteX2321" fmla="*/ 1604372 w 2077606"/>
              <a:gd name="connsiteY2321" fmla="*/ 736496 h 1786074"/>
              <a:gd name="connsiteX2322" fmla="*/ 1604372 w 2077606"/>
              <a:gd name="connsiteY2322" fmla="*/ 730517 h 1786074"/>
              <a:gd name="connsiteX2323" fmla="*/ 1608359 w 2077606"/>
              <a:gd name="connsiteY2323" fmla="*/ 726531 h 1786074"/>
              <a:gd name="connsiteX2324" fmla="*/ 1610352 w 2077606"/>
              <a:gd name="connsiteY2324" fmla="*/ 716566 h 1786074"/>
              <a:gd name="connsiteX2325" fmla="*/ 1612345 w 2077606"/>
              <a:gd name="connsiteY2325" fmla="*/ 712579 h 1786074"/>
              <a:gd name="connsiteX2326" fmla="*/ 1620318 w 2077606"/>
              <a:gd name="connsiteY2326" fmla="*/ 712579 h 1786074"/>
              <a:gd name="connsiteX2327" fmla="*/ 1622312 w 2077606"/>
              <a:gd name="connsiteY2327" fmla="*/ 716566 h 1786074"/>
              <a:gd name="connsiteX2328" fmla="*/ 1624305 w 2077606"/>
              <a:gd name="connsiteY2328" fmla="*/ 712579 h 1786074"/>
              <a:gd name="connsiteX2329" fmla="*/ 1630285 w 2077606"/>
              <a:gd name="connsiteY2329" fmla="*/ 708593 h 1786074"/>
              <a:gd name="connsiteX2330" fmla="*/ 1634271 w 2077606"/>
              <a:gd name="connsiteY2330" fmla="*/ 708593 h 1786074"/>
              <a:gd name="connsiteX2331" fmla="*/ 1628292 w 2077606"/>
              <a:gd name="connsiteY2331" fmla="*/ 700621 h 1786074"/>
              <a:gd name="connsiteX2332" fmla="*/ 1626298 w 2077606"/>
              <a:gd name="connsiteY2332" fmla="*/ 696635 h 1786074"/>
              <a:gd name="connsiteX2333" fmla="*/ 1618325 w 2077606"/>
              <a:gd name="connsiteY2333" fmla="*/ 696635 h 1786074"/>
              <a:gd name="connsiteX2334" fmla="*/ 1620318 w 2077606"/>
              <a:gd name="connsiteY2334" fmla="*/ 686670 h 1786074"/>
              <a:gd name="connsiteX2335" fmla="*/ 1622312 w 2077606"/>
              <a:gd name="connsiteY2335" fmla="*/ 682684 h 1786074"/>
              <a:gd name="connsiteX2336" fmla="*/ 1616332 w 2077606"/>
              <a:gd name="connsiteY2336" fmla="*/ 684677 h 1786074"/>
              <a:gd name="connsiteX2337" fmla="*/ 1612345 w 2077606"/>
              <a:gd name="connsiteY2337" fmla="*/ 686670 h 1786074"/>
              <a:gd name="connsiteX2338" fmla="*/ 1608359 w 2077606"/>
              <a:gd name="connsiteY2338" fmla="*/ 686670 h 1786074"/>
              <a:gd name="connsiteX2339" fmla="*/ 1602379 w 2077606"/>
              <a:gd name="connsiteY2339" fmla="*/ 684677 h 1786074"/>
              <a:gd name="connsiteX2340" fmla="*/ 1606366 w 2077606"/>
              <a:gd name="connsiteY2340" fmla="*/ 678697 h 1786074"/>
              <a:gd name="connsiteX2341" fmla="*/ 1608359 w 2077606"/>
              <a:gd name="connsiteY2341" fmla="*/ 674711 h 1786074"/>
              <a:gd name="connsiteX2342" fmla="*/ 1598393 w 2077606"/>
              <a:gd name="connsiteY2342" fmla="*/ 676704 h 1786074"/>
              <a:gd name="connsiteX2343" fmla="*/ 1590420 w 2077606"/>
              <a:gd name="connsiteY2343" fmla="*/ 686670 h 1786074"/>
              <a:gd name="connsiteX2344" fmla="*/ 1584440 w 2077606"/>
              <a:gd name="connsiteY2344" fmla="*/ 688663 h 1786074"/>
              <a:gd name="connsiteX2345" fmla="*/ 1578460 w 2077606"/>
              <a:gd name="connsiteY2345" fmla="*/ 692649 h 1786074"/>
              <a:gd name="connsiteX2346" fmla="*/ 1570487 w 2077606"/>
              <a:gd name="connsiteY2346" fmla="*/ 692649 h 1786074"/>
              <a:gd name="connsiteX2347" fmla="*/ 1566501 w 2077606"/>
              <a:gd name="connsiteY2347" fmla="*/ 692649 h 1786074"/>
              <a:gd name="connsiteX2348" fmla="*/ 1564507 w 2077606"/>
              <a:gd name="connsiteY2348" fmla="*/ 692649 h 1786074"/>
              <a:gd name="connsiteX2349" fmla="*/ 1566501 w 2077606"/>
              <a:gd name="connsiteY2349" fmla="*/ 688663 h 1786074"/>
              <a:gd name="connsiteX2350" fmla="*/ 1568494 w 2077606"/>
              <a:gd name="connsiteY2350" fmla="*/ 686670 h 1786074"/>
              <a:gd name="connsiteX2351" fmla="*/ 1574474 w 2077606"/>
              <a:gd name="connsiteY2351" fmla="*/ 686670 h 1786074"/>
              <a:gd name="connsiteX2352" fmla="*/ 1586433 w 2077606"/>
              <a:gd name="connsiteY2352" fmla="*/ 682684 h 1786074"/>
              <a:gd name="connsiteX2353" fmla="*/ 1590420 w 2077606"/>
              <a:gd name="connsiteY2353" fmla="*/ 680690 h 1786074"/>
              <a:gd name="connsiteX2354" fmla="*/ 1590420 w 2077606"/>
              <a:gd name="connsiteY2354" fmla="*/ 678697 h 1786074"/>
              <a:gd name="connsiteX2355" fmla="*/ 1590420 w 2077606"/>
              <a:gd name="connsiteY2355" fmla="*/ 674711 h 1786074"/>
              <a:gd name="connsiteX2356" fmla="*/ 1592413 w 2077606"/>
              <a:gd name="connsiteY2356" fmla="*/ 670725 h 1786074"/>
              <a:gd name="connsiteX2357" fmla="*/ 1592413 w 2077606"/>
              <a:gd name="connsiteY2357" fmla="*/ 666739 h 1786074"/>
              <a:gd name="connsiteX2358" fmla="*/ 1592413 w 2077606"/>
              <a:gd name="connsiteY2358" fmla="*/ 662753 h 1786074"/>
              <a:gd name="connsiteX2359" fmla="*/ 1594406 w 2077606"/>
              <a:gd name="connsiteY2359" fmla="*/ 660760 h 1786074"/>
              <a:gd name="connsiteX2360" fmla="*/ 1592413 w 2077606"/>
              <a:gd name="connsiteY2360" fmla="*/ 656774 h 1786074"/>
              <a:gd name="connsiteX2361" fmla="*/ 1590420 w 2077606"/>
              <a:gd name="connsiteY2361" fmla="*/ 658767 h 1786074"/>
              <a:gd name="connsiteX2362" fmla="*/ 1586433 w 2077606"/>
              <a:gd name="connsiteY2362" fmla="*/ 662753 h 1786074"/>
              <a:gd name="connsiteX2363" fmla="*/ 1582447 w 2077606"/>
              <a:gd name="connsiteY2363" fmla="*/ 660760 h 1786074"/>
              <a:gd name="connsiteX2364" fmla="*/ 1578460 w 2077606"/>
              <a:gd name="connsiteY2364" fmla="*/ 660760 h 1786074"/>
              <a:gd name="connsiteX2365" fmla="*/ 1578460 w 2077606"/>
              <a:gd name="connsiteY2365" fmla="*/ 656774 h 1786074"/>
              <a:gd name="connsiteX2366" fmla="*/ 1578460 w 2077606"/>
              <a:gd name="connsiteY2366" fmla="*/ 654781 h 1786074"/>
              <a:gd name="connsiteX2367" fmla="*/ 1572480 w 2077606"/>
              <a:gd name="connsiteY2367" fmla="*/ 652788 h 1786074"/>
              <a:gd name="connsiteX2368" fmla="*/ 1572480 w 2077606"/>
              <a:gd name="connsiteY2368" fmla="*/ 650794 h 1786074"/>
              <a:gd name="connsiteX2369" fmla="*/ 1564507 w 2077606"/>
              <a:gd name="connsiteY2369" fmla="*/ 648801 h 1786074"/>
              <a:gd name="connsiteX2370" fmla="*/ 1566501 w 2077606"/>
              <a:gd name="connsiteY2370" fmla="*/ 644815 h 1786074"/>
              <a:gd name="connsiteX2371" fmla="*/ 1566501 w 2077606"/>
              <a:gd name="connsiteY2371" fmla="*/ 640829 h 1786074"/>
              <a:gd name="connsiteX2372" fmla="*/ 1562514 w 2077606"/>
              <a:gd name="connsiteY2372" fmla="*/ 644815 h 1786074"/>
              <a:gd name="connsiteX2373" fmla="*/ 1560521 w 2077606"/>
              <a:gd name="connsiteY2373" fmla="*/ 646808 h 1786074"/>
              <a:gd name="connsiteX2374" fmla="*/ 1556534 w 2077606"/>
              <a:gd name="connsiteY2374" fmla="*/ 644815 h 1786074"/>
              <a:gd name="connsiteX2375" fmla="*/ 1554541 w 2077606"/>
              <a:gd name="connsiteY2375" fmla="*/ 648801 h 1786074"/>
              <a:gd name="connsiteX2376" fmla="*/ 1554541 w 2077606"/>
              <a:gd name="connsiteY2376" fmla="*/ 652788 h 1786074"/>
              <a:gd name="connsiteX2377" fmla="*/ 1558528 w 2077606"/>
              <a:gd name="connsiteY2377" fmla="*/ 654781 h 1786074"/>
              <a:gd name="connsiteX2378" fmla="*/ 1562514 w 2077606"/>
              <a:gd name="connsiteY2378" fmla="*/ 656774 h 1786074"/>
              <a:gd name="connsiteX2379" fmla="*/ 1566501 w 2077606"/>
              <a:gd name="connsiteY2379" fmla="*/ 656774 h 1786074"/>
              <a:gd name="connsiteX2380" fmla="*/ 1570487 w 2077606"/>
              <a:gd name="connsiteY2380" fmla="*/ 660760 h 1786074"/>
              <a:gd name="connsiteX2381" fmla="*/ 1570487 w 2077606"/>
              <a:gd name="connsiteY2381" fmla="*/ 666739 h 1786074"/>
              <a:gd name="connsiteX2382" fmla="*/ 1572480 w 2077606"/>
              <a:gd name="connsiteY2382" fmla="*/ 670725 h 1786074"/>
              <a:gd name="connsiteX2383" fmla="*/ 1570487 w 2077606"/>
              <a:gd name="connsiteY2383" fmla="*/ 674711 h 1786074"/>
              <a:gd name="connsiteX2384" fmla="*/ 1566501 w 2077606"/>
              <a:gd name="connsiteY2384" fmla="*/ 674711 h 1786074"/>
              <a:gd name="connsiteX2385" fmla="*/ 1562514 w 2077606"/>
              <a:gd name="connsiteY2385" fmla="*/ 674711 h 1786074"/>
              <a:gd name="connsiteX2386" fmla="*/ 1556534 w 2077606"/>
              <a:gd name="connsiteY2386" fmla="*/ 674711 h 1786074"/>
              <a:gd name="connsiteX2387" fmla="*/ 1552548 w 2077606"/>
              <a:gd name="connsiteY2387" fmla="*/ 676704 h 1786074"/>
              <a:gd name="connsiteX2388" fmla="*/ 1548561 w 2077606"/>
              <a:gd name="connsiteY2388" fmla="*/ 678697 h 1786074"/>
              <a:gd name="connsiteX2389" fmla="*/ 1544575 w 2077606"/>
              <a:gd name="connsiteY2389" fmla="*/ 676704 h 1786074"/>
              <a:gd name="connsiteX2390" fmla="*/ 1546568 w 2077606"/>
              <a:gd name="connsiteY2390" fmla="*/ 672718 h 1786074"/>
              <a:gd name="connsiteX2391" fmla="*/ 1542582 w 2077606"/>
              <a:gd name="connsiteY2391" fmla="*/ 672718 h 1786074"/>
              <a:gd name="connsiteX2392" fmla="*/ 1538595 w 2077606"/>
              <a:gd name="connsiteY2392" fmla="*/ 670725 h 1786074"/>
              <a:gd name="connsiteX2393" fmla="*/ 1536602 w 2077606"/>
              <a:gd name="connsiteY2393" fmla="*/ 668732 h 1786074"/>
              <a:gd name="connsiteX2394" fmla="*/ 1532615 w 2077606"/>
              <a:gd name="connsiteY2394" fmla="*/ 672718 h 1786074"/>
              <a:gd name="connsiteX2395" fmla="*/ 1524642 w 2077606"/>
              <a:gd name="connsiteY2395" fmla="*/ 670725 h 1786074"/>
              <a:gd name="connsiteX2396" fmla="*/ 1520656 w 2077606"/>
              <a:gd name="connsiteY2396" fmla="*/ 668732 h 1786074"/>
              <a:gd name="connsiteX2397" fmla="*/ 1518663 w 2077606"/>
              <a:gd name="connsiteY2397" fmla="*/ 666739 h 1786074"/>
              <a:gd name="connsiteX2398" fmla="*/ 1514676 w 2077606"/>
              <a:gd name="connsiteY2398" fmla="*/ 666739 h 1786074"/>
              <a:gd name="connsiteX2399" fmla="*/ 1506703 w 2077606"/>
              <a:gd name="connsiteY2399" fmla="*/ 664746 h 1786074"/>
              <a:gd name="connsiteX2400" fmla="*/ 1504710 w 2077606"/>
              <a:gd name="connsiteY2400" fmla="*/ 664746 h 1786074"/>
              <a:gd name="connsiteX2401" fmla="*/ 1508696 w 2077606"/>
              <a:gd name="connsiteY2401" fmla="*/ 668732 h 1786074"/>
              <a:gd name="connsiteX2402" fmla="*/ 1512683 w 2077606"/>
              <a:gd name="connsiteY2402" fmla="*/ 670725 h 1786074"/>
              <a:gd name="connsiteX2403" fmla="*/ 1518663 w 2077606"/>
              <a:gd name="connsiteY2403" fmla="*/ 672718 h 1786074"/>
              <a:gd name="connsiteX2404" fmla="*/ 1518663 w 2077606"/>
              <a:gd name="connsiteY2404" fmla="*/ 674711 h 1786074"/>
              <a:gd name="connsiteX2405" fmla="*/ 1520656 w 2077606"/>
              <a:gd name="connsiteY2405" fmla="*/ 674711 h 1786074"/>
              <a:gd name="connsiteX2406" fmla="*/ 1520656 w 2077606"/>
              <a:gd name="connsiteY2406" fmla="*/ 678697 h 1786074"/>
              <a:gd name="connsiteX2407" fmla="*/ 1518663 w 2077606"/>
              <a:gd name="connsiteY2407" fmla="*/ 680690 h 1786074"/>
              <a:gd name="connsiteX2408" fmla="*/ 1514676 w 2077606"/>
              <a:gd name="connsiteY2408" fmla="*/ 678697 h 1786074"/>
              <a:gd name="connsiteX2409" fmla="*/ 1510690 w 2077606"/>
              <a:gd name="connsiteY2409" fmla="*/ 678697 h 1786074"/>
              <a:gd name="connsiteX2410" fmla="*/ 1504710 w 2077606"/>
              <a:gd name="connsiteY2410" fmla="*/ 674711 h 1786074"/>
              <a:gd name="connsiteX2411" fmla="*/ 1496737 w 2077606"/>
              <a:gd name="connsiteY2411" fmla="*/ 670725 h 1786074"/>
              <a:gd name="connsiteX2412" fmla="*/ 1494744 w 2077606"/>
              <a:gd name="connsiteY2412" fmla="*/ 666739 h 1786074"/>
              <a:gd name="connsiteX2413" fmla="*/ 1490757 w 2077606"/>
              <a:gd name="connsiteY2413" fmla="*/ 662753 h 1786074"/>
              <a:gd name="connsiteX2414" fmla="*/ 1484777 w 2077606"/>
              <a:gd name="connsiteY2414" fmla="*/ 660760 h 1786074"/>
              <a:gd name="connsiteX2415" fmla="*/ 1478798 w 2077606"/>
              <a:gd name="connsiteY2415" fmla="*/ 656774 h 1786074"/>
              <a:gd name="connsiteX2416" fmla="*/ 1474811 w 2077606"/>
              <a:gd name="connsiteY2416" fmla="*/ 658767 h 1786074"/>
              <a:gd name="connsiteX2417" fmla="*/ 1478798 w 2077606"/>
              <a:gd name="connsiteY2417" fmla="*/ 660760 h 1786074"/>
              <a:gd name="connsiteX2418" fmla="*/ 1486771 w 2077606"/>
              <a:gd name="connsiteY2418" fmla="*/ 664746 h 1786074"/>
              <a:gd name="connsiteX2419" fmla="*/ 1492750 w 2077606"/>
              <a:gd name="connsiteY2419" fmla="*/ 668732 h 1786074"/>
              <a:gd name="connsiteX2420" fmla="*/ 1494744 w 2077606"/>
              <a:gd name="connsiteY2420" fmla="*/ 674711 h 1786074"/>
              <a:gd name="connsiteX2421" fmla="*/ 1486771 w 2077606"/>
              <a:gd name="connsiteY2421" fmla="*/ 676704 h 1786074"/>
              <a:gd name="connsiteX2422" fmla="*/ 1482784 w 2077606"/>
              <a:gd name="connsiteY2422" fmla="*/ 674711 h 1786074"/>
              <a:gd name="connsiteX2423" fmla="*/ 1476804 w 2077606"/>
              <a:gd name="connsiteY2423" fmla="*/ 674711 h 1786074"/>
              <a:gd name="connsiteX2424" fmla="*/ 1472818 w 2077606"/>
              <a:gd name="connsiteY2424" fmla="*/ 672718 h 1786074"/>
              <a:gd name="connsiteX2425" fmla="*/ 1472818 w 2077606"/>
              <a:gd name="connsiteY2425" fmla="*/ 670725 h 1786074"/>
              <a:gd name="connsiteX2426" fmla="*/ 1468831 w 2077606"/>
              <a:gd name="connsiteY2426" fmla="*/ 670725 h 1786074"/>
              <a:gd name="connsiteX2427" fmla="*/ 1464845 w 2077606"/>
              <a:gd name="connsiteY2427" fmla="*/ 672718 h 1786074"/>
              <a:gd name="connsiteX2428" fmla="*/ 1460858 w 2077606"/>
              <a:gd name="connsiteY2428" fmla="*/ 674711 h 1786074"/>
              <a:gd name="connsiteX2429" fmla="*/ 1458865 w 2077606"/>
              <a:gd name="connsiteY2429" fmla="*/ 674711 h 1786074"/>
              <a:gd name="connsiteX2430" fmla="*/ 1452885 w 2077606"/>
              <a:gd name="connsiteY2430" fmla="*/ 672718 h 1786074"/>
              <a:gd name="connsiteX2431" fmla="*/ 1448899 w 2077606"/>
              <a:gd name="connsiteY2431" fmla="*/ 670725 h 1786074"/>
              <a:gd name="connsiteX2432" fmla="*/ 1444912 w 2077606"/>
              <a:gd name="connsiteY2432" fmla="*/ 668732 h 1786074"/>
              <a:gd name="connsiteX2433" fmla="*/ 1442919 w 2077606"/>
              <a:gd name="connsiteY2433" fmla="*/ 668732 h 1786074"/>
              <a:gd name="connsiteX2434" fmla="*/ 1438933 w 2077606"/>
              <a:gd name="connsiteY2434" fmla="*/ 670725 h 1786074"/>
              <a:gd name="connsiteX2435" fmla="*/ 1434946 w 2077606"/>
              <a:gd name="connsiteY2435" fmla="*/ 670725 h 1786074"/>
              <a:gd name="connsiteX2436" fmla="*/ 1434946 w 2077606"/>
              <a:gd name="connsiteY2436" fmla="*/ 666739 h 1786074"/>
              <a:gd name="connsiteX2437" fmla="*/ 1434946 w 2077606"/>
              <a:gd name="connsiteY2437" fmla="*/ 664746 h 1786074"/>
              <a:gd name="connsiteX2438" fmla="*/ 1438933 w 2077606"/>
              <a:gd name="connsiteY2438" fmla="*/ 664746 h 1786074"/>
              <a:gd name="connsiteX2439" fmla="*/ 1434946 w 2077606"/>
              <a:gd name="connsiteY2439" fmla="*/ 662753 h 1786074"/>
              <a:gd name="connsiteX2440" fmla="*/ 1430960 w 2077606"/>
              <a:gd name="connsiteY2440" fmla="*/ 662753 h 1786074"/>
              <a:gd name="connsiteX2441" fmla="*/ 1428966 w 2077606"/>
              <a:gd name="connsiteY2441" fmla="*/ 668732 h 1786074"/>
              <a:gd name="connsiteX2442" fmla="*/ 1420993 w 2077606"/>
              <a:gd name="connsiteY2442" fmla="*/ 668732 h 1786074"/>
              <a:gd name="connsiteX2443" fmla="*/ 1415013 w 2077606"/>
              <a:gd name="connsiteY2443" fmla="*/ 664746 h 1786074"/>
              <a:gd name="connsiteX2444" fmla="*/ 1413020 w 2077606"/>
              <a:gd name="connsiteY2444" fmla="*/ 664746 h 1786074"/>
              <a:gd name="connsiteX2445" fmla="*/ 1417007 w 2077606"/>
              <a:gd name="connsiteY2445" fmla="*/ 666739 h 1786074"/>
              <a:gd name="connsiteX2446" fmla="*/ 1419000 w 2077606"/>
              <a:gd name="connsiteY2446" fmla="*/ 670725 h 1786074"/>
              <a:gd name="connsiteX2447" fmla="*/ 1409034 w 2077606"/>
              <a:gd name="connsiteY2447" fmla="*/ 670725 h 1786074"/>
              <a:gd name="connsiteX2448" fmla="*/ 1407040 w 2077606"/>
              <a:gd name="connsiteY2448" fmla="*/ 668732 h 1786074"/>
              <a:gd name="connsiteX2449" fmla="*/ 1401061 w 2077606"/>
              <a:gd name="connsiteY2449" fmla="*/ 666739 h 1786074"/>
              <a:gd name="connsiteX2450" fmla="*/ 1401061 w 2077606"/>
              <a:gd name="connsiteY2450" fmla="*/ 662753 h 1786074"/>
              <a:gd name="connsiteX2451" fmla="*/ 1397074 w 2077606"/>
              <a:gd name="connsiteY2451" fmla="*/ 654781 h 1786074"/>
              <a:gd name="connsiteX2452" fmla="*/ 1397074 w 2077606"/>
              <a:gd name="connsiteY2452" fmla="*/ 650794 h 1786074"/>
              <a:gd name="connsiteX2453" fmla="*/ 1393088 w 2077606"/>
              <a:gd name="connsiteY2453" fmla="*/ 654781 h 1786074"/>
              <a:gd name="connsiteX2454" fmla="*/ 1389101 w 2077606"/>
              <a:gd name="connsiteY2454" fmla="*/ 658767 h 1786074"/>
              <a:gd name="connsiteX2455" fmla="*/ 1387108 w 2077606"/>
              <a:gd name="connsiteY2455" fmla="*/ 654781 h 1786074"/>
              <a:gd name="connsiteX2456" fmla="*/ 1385115 w 2077606"/>
              <a:gd name="connsiteY2456" fmla="*/ 650794 h 1786074"/>
              <a:gd name="connsiteX2457" fmla="*/ 1383121 w 2077606"/>
              <a:gd name="connsiteY2457" fmla="*/ 656774 h 1786074"/>
              <a:gd name="connsiteX2458" fmla="*/ 1377142 w 2077606"/>
              <a:gd name="connsiteY2458" fmla="*/ 658767 h 1786074"/>
              <a:gd name="connsiteX2459" fmla="*/ 1371162 w 2077606"/>
              <a:gd name="connsiteY2459" fmla="*/ 652788 h 1786074"/>
              <a:gd name="connsiteX2460" fmla="*/ 1367175 w 2077606"/>
              <a:gd name="connsiteY2460" fmla="*/ 656774 h 1786074"/>
              <a:gd name="connsiteX2461" fmla="*/ 1359202 w 2077606"/>
              <a:gd name="connsiteY2461" fmla="*/ 658767 h 1786074"/>
              <a:gd name="connsiteX2462" fmla="*/ 1359202 w 2077606"/>
              <a:gd name="connsiteY2462" fmla="*/ 652788 h 1786074"/>
              <a:gd name="connsiteX2463" fmla="*/ 1363189 w 2077606"/>
              <a:gd name="connsiteY2463" fmla="*/ 650794 h 1786074"/>
              <a:gd name="connsiteX2464" fmla="*/ 1347243 w 2077606"/>
              <a:gd name="connsiteY2464" fmla="*/ 644815 h 1786074"/>
              <a:gd name="connsiteX2465" fmla="*/ 1335283 w 2077606"/>
              <a:gd name="connsiteY2465" fmla="*/ 630864 h 1786074"/>
              <a:gd name="connsiteX2466" fmla="*/ 1337277 w 2077606"/>
              <a:gd name="connsiteY2466" fmla="*/ 624885 h 1786074"/>
              <a:gd name="connsiteX2467" fmla="*/ 1335283 w 2077606"/>
              <a:gd name="connsiteY2467" fmla="*/ 618905 h 1786074"/>
              <a:gd name="connsiteX2468" fmla="*/ 1335283 w 2077606"/>
              <a:gd name="connsiteY2468" fmla="*/ 614919 h 1786074"/>
              <a:gd name="connsiteX2469" fmla="*/ 1343256 w 2077606"/>
              <a:gd name="connsiteY2469" fmla="*/ 620898 h 1786074"/>
              <a:gd name="connsiteX2470" fmla="*/ 1355216 w 2077606"/>
              <a:gd name="connsiteY2470" fmla="*/ 616912 h 1786074"/>
              <a:gd name="connsiteX2471" fmla="*/ 1365182 w 2077606"/>
              <a:gd name="connsiteY2471" fmla="*/ 622892 h 1786074"/>
              <a:gd name="connsiteX2472" fmla="*/ 1369169 w 2077606"/>
              <a:gd name="connsiteY2472" fmla="*/ 624885 h 1786074"/>
              <a:gd name="connsiteX2473" fmla="*/ 1377142 w 2077606"/>
              <a:gd name="connsiteY2473" fmla="*/ 622892 h 1786074"/>
              <a:gd name="connsiteX2474" fmla="*/ 1385115 w 2077606"/>
              <a:gd name="connsiteY2474" fmla="*/ 624885 h 1786074"/>
              <a:gd name="connsiteX2475" fmla="*/ 1375148 w 2077606"/>
              <a:gd name="connsiteY2475" fmla="*/ 618905 h 1786074"/>
              <a:gd name="connsiteX2476" fmla="*/ 1373155 w 2077606"/>
              <a:gd name="connsiteY2476" fmla="*/ 612926 h 1786074"/>
              <a:gd name="connsiteX2477" fmla="*/ 1367175 w 2077606"/>
              <a:gd name="connsiteY2477" fmla="*/ 608940 h 1786074"/>
              <a:gd name="connsiteX2478" fmla="*/ 1365182 w 2077606"/>
              <a:gd name="connsiteY2478" fmla="*/ 602961 h 1786074"/>
              <a:gd name="connsiteX2479" fmla="*/ 1357209 w 2077606"/>
              <a:gd name="connsiteY2479" fmla="*/ 610933 h 1786074"/>
              <a:gd name="connsiteX2480" fmla="*/ 1339270 w 2077606"/>
              <a:gd name="connsiteY2480" fmla="*/ 608940 h 1786074"/>
              <a:gd name="connsiteX2481" fmla="*/ 1325317 w 2077606"/>
              <a:gd name="connsiteY2481" fmla="*/ 610933 h 1786074"/>
              <a:gd name="connsiteX2482" fmla="*/ 1327310 w 2077606"/>
              <a:gd name="connsiteY2482" fmla="*/ 604954 h 1786074"/>
              <a:gd name="connsiteX2483" fmla="*/ 1325317 w 2077606"/>
              <a:gd name="connsiteY2483" fmla="*/ 594989 h 1786074"/>
              <a:gd name="connsiteX2484" fmla="*/ 1329304 w 2077606"/>
              <a:gd name="connsiteY2484" fmla="*/ 591002 h 1786074"/>
              <a:gd name="connsiteX2485" fmla="*/ 1331297 w 2077606"/>
              <a:gd name="connsiteY2485" fmla="*/ 585023 h 1786074"/>
              <a:gd name="connsiteX2486" fmla="*/ 1333290 w 2077606"/>
              <a:gd name="connsiteY2486" fmla="*/ 573065 h 1786074"/>
              <a:gd name="connsiteX2487" fmla="*/ 1335283 w 2077606"/>
              <a:gd name="connsiteY2487" fmla="*/ 567086 h 1786074"/>
              <a:gd name="connsiteX2488" fmla="*/ 1337277 w 2077606"/>
              <a:gd name="connsiteY2488" fmla="*/ 555127 h 1786074"/>
              <a:gd name="connsiteX2489" fmla="*/ 1343256 w 2077606"/>
              <a:gd name="connsiteY2489" fmla="*/ 545162 h 1786074"/>
              <a:gd name="connsiteX2490" fmla="*/ 1351229 w 2077606"/>
              <a:gd name="connsiteY2490" fmla="*/ 543169 h 1786074"/>
              <a:gd name="connsiteX2491" fmla="*/ 1357209 w 2077606"/>
              <a:gd name="connsiteY2491" fmla="*/ 539183 h 1786074"/>
              <a:gd name="connsiteX2492" fmla="*/ 1361196 w 2077606"/>
              <a:gd name="connsiteY2492" fmla="*/ 535197 h 1786074"/>
              <a:gd name="connsiteX2493" fmla="*/ 1363189 w 2077606"/>
              <a:gd name="connsiteY2493" fmla="*/ 525231 h 1786074"/>
              <a:gd name="connsiteX2494" fmla="*/ 1371162 w 2077606"/>
              <a:gd name="connsiteY2494" fmla="*/ 517259 h 1786074"/>
              <a:gd name="connsiteX2495" fmla="*/ 1381128 w 2077606"/>
              <a:gd name="connsiteY2495" fmla="*/ 509287 h 1786074"/>
              <a:gd name="connsiteX2496" fmla="*/ 1385115 w 2077606"/>
              <a:gd name="connsiteY2496" fmla="*/ 505301 h 1786074"/>
              <a:gd name="connsiteX2497" fmla="*/ 1395081 w 2077606"/>
              <a:gd name="connsiteY2497" fmla="*/ 503308 h 1786074"/>
              <a:gd name="connsiteX2498" fmla="*/ 1407040 w 2077606"/>
              <a:gd name="connsiteY2498" fmla="*/ 497328 h 1786074"/>
              <a:gd name="connsiteX2499" fmla="*/ 1419000 w 2077606"/>
              <a:gd name="connsiteY2499" fmla="*/ 493342 h 1786074"/>
              <a:gd name="connsiteX2500" fmla="*/ 1430960 w 2077606"/>
              <a:gd name="connsiteY2500" fmla="*/ 489356 h 1786074"/>
              <a:gd name="connsiteX2501" fmla="*/ 1434946 w 2077606"/>
              <a:gd name="connsiteY2501" fmla="*/ 491349 h 1786074"/>
              <a:gd name="connsiteX2502" fmla="*/ 1440926 w 2077606"/>
              <a:gd name="connsiteY2502" fmla="*/ 489356 h 1786074"/>
              <a:gd name="connsiteX2503" fmla="*/ 1444165 w 2077606"/>
              <a:gd name="connsiteY2503" fmla="*/ 488609 h 1786074"/>
              <a:gd name="connsiteX2504" fmla="*/ 1010555 w 2077606"/>
              <a:gd name="connsiteY2504" fmla="*/ 488363 h 1786074"/>
              <a:gd name="connsiteX2505" fmla="*/ 1016289 w 2077606"/>
              <a:gd name="connsiteY2505" fmla="*/ 489363 h 1786074"/>
              <a:gd name="connsiteX2506" fmla="*/ 1020278 w 2077606"/>
              <a:gd name="connsiteY2506" fmla="*/ 495363 h 1786074"/>
              <a:gd name="connsiteX2507" fmla="*/ 1024266 w 2077606"/>
              <a:gd name="connsiteY2507" fmla="*/ 499363 h 1786074"/>
              <a:gd name="connsiteX2508" fmla="*/ 1024266 w 2077606"/>
              <a:gd name="connsiteY2508" fmla="*/ 503363 h 1786074"/>
              <a:gd name="connsiteX2509" fmla="*/ 1026261 w 2077606"/>
              <a:gd name="connsiteY2509" fmla="*/ 507363 h 1786074"/>
              <a:gd name="connsiteX2510" fmla="*/ 1024266 w 2077606"/>
              <a:gd name="connsiteY2510" fmla="*/ 509363 h 1786074"/>
              <a:gd name="connsiteX2511" fmla="*/ 1020278 w 2077606"/>
              <a:gd name="connsiteY2511" fmla="*/ 513363 h 1786074"/>
              <a:gd name="connsiteX2512" fmla="*/ 1018283 w 2077606"/>
              <a:gd name="connsiteY2512" fmla="*/ 513363 h 1786074"/>
              <a:gd name="connsiteX2513" fmla="*/ 1014295 w 2077606"/>
              <a:gd name="connsiteY2513" fmla="*/ 515363 h 1786074"/>
              <a:gd name="connsiteX2514" fmla="*/ 1012300 w 2077606"/>
              <a:gd name="connsiteY2514" fmla="*/ 525363 h 1786074"/>
              <a:gd name="connsiteX2515" fmla="*/ 1004323 w 2077606"/>
              <a:gd name="connsiteY2515" fmla="*/ 527363 h 1786074"/>
              <a:gd name="connsiteX2516" fmla="*/ 1000334 w 2077606"/>
              <a:gd name="connsiteY2516" fmla="*/ 531363 h 1786074"/>
              <a:gd name="connsiteX2517" fmla="*/ 996346 w 2077606"/>
              <a:gd name="connsiteY2517" fmla="*/ 535363 h 1786074"/>
              <a:gd name="connsiteX2518" fmla="*/ 1000334 w 2077606"/>
              <a:gd name="connsiteY2518" fmla="*/ 545363 h 1786074"/>
              <a:gd name="connsiteX2519" fmla="*/ 998340 w 2077606"/>
              <a:gd name="connsiteY2519" fmla="*/ 551363 h 1786074"/>
              <a:gd name="connsiteX2520" fmla="*/ 996346 w 2077606"/>
              <a:gd name="connsiteY2520" fmla="*/ 559363 h 1786074"/>
              <a:gd name="connsiteX2521" fmla="*/ 996346 w 2077606"/>
              <a:gd name="connsiteY2521" fmla="*/ 565363 h 1786074"/>
              <a:gd name="connsiteX2522" fmla="*/ 996346 w 2077606"/>
              <a:gd name="connsiteY2522" fmla="*/ 571363 h 1786074"/>
              <a:gd name="connsiteX2523" fmla="*/ 996346 w 2077606"/>
              <a:gd name="connsiteY2523" fmla="*/ 579363 h 1786074"/>
              <a:gd name="connsiteX2524" fmla="*/ 1000334 w 2077606"/>
              <a:gd name="connsiteY2524" fmla="*/ 585363 h 1786074"/>
              <a:gd name="connsiteX2525" fmla="*/ 1002329 w 2077606"/>
              <a:gd name="connsiteY2525" fmla="*/ 587363 h 1786074"/>
              <a:gd name="connsiteX2526" fmla="*/ 1008312 w 2077606"/>
              <a:gd name="connsiteY2526" fmla="*/ 589363 h 1786074"/>
              <a:gd name="connsiteX2527" fmla="*/ 1008312 w 2077606"/>
              <a:gd name="connsiteY2527" fmla="*/ 595363 h 1786074"/>
              <a:gd name="connsiteX2528" fmla="*/ 1006317 w 2077606"/>
              <a:gd name="connsiteY2528" fmla="*/ 601363 h 1786074"/>
              <a:gd name="connsiteX2529" fmla="*/ 1002329 w 2077606"/>
              <a:gd name="connsiteY2529" fmla="*/ 605363 h 1786074"/>
              <a:gd name="connsiteX2530" fmla="*/ 998340 w 2077606"/>
              <a:gd name="connsiteY2530" fmla="*/ 611363 h 1786074"/>
              <a:gd name="connsiteX2531" fmla="*/ 996346 w 2077606"/>
              <a:gd name="connsiteY2531" fmla="*/ 615363 h 1786074"/>
              <a:gd name="connsiteX2532" fmla="*/ 1004323 w 2077606"/>
              <a:gd name="connsiteY2532" fmla="*/ 623363 h 1786074"/>
              <a:gd name="connsiteX2533" fmla="*/ 1010306 w 2077606"/>
              <a:gd name="connsiteY2533" fmla="*/ 633363 h 1786074"/>
              <a:gd name="connsiteX2534" fmla="*/ 1016289 w 2077606"/>
              <a:gd name="connsiteY2534" fmla="*/ 635363 h 1786074"/>
              <a:gd name="connsiteX2535" fmla="*/ 1024266 w 2077606"/>
              <a:gd name="connsiteY2535" fmla="*/ 637363 h 1786074"/>
              <a:gd name="connsiteX2536" fmla="*/ 1026261 w 2077606"/>
              <a:gd name="connsiteY2536" fmla="*/ 641363 h 1786074"/>
              <a:gd name="connsiteX2537" fmla="*/ 1028255 w 2077606"/>
              <a:gd name="connsiteY2537" fmla="*/ 635363 h 1786074"/>
              <a:gd name="connsiteX2538" fmla="*/ 1032244 w 2077606"/>
              <a:gd name="connsiteY2538" fmla="*/ 633363 h 1786074"/>
              <a:gd name="connsiteX2539" fmla="*/ 1034238 w 2077606"/>
              <a:gd name="connsiteY2539" fmla="*/ 641363 h 1786074"/>
              <a:gd name="connsiteX2540" fmla="*/ 1040221 w 2077606"/>
              <a:gd name="connsiteY2540" fmla="*/ 645363 h 1786074"/>
              <a:gd name="connsiteX2541" fmla="*/ 1044210 w 2077606"/>
              <a:gd name="connsiteY2541" fmla="*/ 653363 h 1786074"/>
              <a:gd name="connsiteX2542" fmla="*/ 1052187 w 2077606"/>
              <a:gd name="connsiteY2542" fmla="*/ 649363 h 1786074"/>
              <a:gd name="connsiteX2543" fmla="*/ 1052187 w 2077606"/>
              <a:gd name="connsiteY2543" fmla="*/ 657363 h 1786074"/>
              <a:gd name="connsiteX2544" fmla="*/ 1054182 w 2077606"/>
              <a:gd name="connsiteY2544" fmla="*/ 661363 h 1786074"/>
              <a:gd name="connsiteX2545" fmla="*/ 1060165 w 2077606"/>
              <a:gd name="connsiteY2545" fmla="*/ 659363 h 1786074"/>
              <a:gd name="connsiteX2546" fmla="*/ 1064153 w 2077606"/>
              <a:gd name="connsiteY2546" fmla="*/ 661363 h 1786074"/>
              <a:gd name="connsiteX2547" fmla="*/ 1066148 w 2077606"/>
              <a:gd name="connsiteY2547" fmla="*/ 665363 h 1786074"/>
              <a:gd name="connsiteX2548" fmla="*/ 1064153 w 2077606"/>
              <a:gd name="connsiteY2548" fmla="*/ 671363 h 1786074"/>
              <a:gd name="connsiteX2549" fmla="*/ 1060165 w 2077606"/>
              <a:gd name="connsiteY2549" fmla="*/ 679363 h 1786074"/>
              <a:gd name="connsiteX2550" fmla="*/ 1054182 w 2077606"/>
              <a:gd name="connsiteY2550" fmla="*/ 685363 h 1786074"/>
              <a:gd name="connsiteX2551" fmla="*/ 1050193 w 2077606"/>
              <a:gd name="connsiteY2551" fmla="*/ 679363 h 1786074"/>
              <a:gd name="connsiteX2552" fmla="*/ 1046204 w 2077606"/>
              <a:gd name="connsiteY2552" fmla="*/ 677363 h 1786074"/>
              <a:gd name="connsiteX2553" fmla="*/ 1038227 w 2077606"/>
              <a:gd name="connsiteY2553" fmla="*/ 681363 h 1786074"/>
              <a:gd name="connsiteX2554" fmla="*/ 1034238 w 2077606"/>
              <a:gd name="connsiteY2554" fmla="*/ 677363 h 1786074"/>
              <a:gd name="connsiteX2555" fmla="*/ 1030249 w 2077606"/>
              <a:gd name="connsiteY2555" fmla="*/ 677363 h 1786074"/>
              <a:gd name="connsiteX2556" fmla="*/ 1026261 w 2077606"/>
              <a:gd name="connsiteY2556" fmla="*/ 679363 h 1786074"/>
              <a:gd name="connsiteX2557" fmla="*/ 1018283 w 2077606"/>
              <a:gd name="connsiteY2557" fmla="*/ 683363 h 1786074"/>
              <a:gd name="connsiteX2558" fmla="*/ 1014295 w 2077606"/>
              <a:gd name="connsiteY2558" fmla="*/ 687363 h 1786074"/>
              <a:gd name="connsiteX2559" fmla="*/ 1010306 w 2077606"/>
              <a:gd name="connsiteY2559" fmla="*/ 685363 h 1786074"/>
              <a:gd name="connsiteX2560" fmla="*/ 1004323 w 2077606"/>
              <a:gd name="connsiteY2560" fmla="*/ 683363 h 1786074"/>
              <a:gd name="connsiteX2561" fmla="*/ 1004323 w 2077606"/>
              <a:gd name="connsiteY2561" fmla="*/ 687363 h 1786074"/>
              <a:gd name="connsiteX2562" fmla="*/ 1008312 w 2077606"/>
              <a:gd name="connsiteY2562" fmla="*/ 693363 h 1786074"/>
              <a:gd name="connsiteX2563" fmla="*/ 1008312 w 2077606"/>
              <a:gd name="connsiteY2563" fmla="*/ 695363 h 1786074"/>
              <a:gd name="connsiteX2564" fmla="*/ 1008312 w 2077606"/>
              <a:gd name="connsiteY2564" fmla="*/ 701363 h 1786074"/>
              <a:gd name="connsiteX2565" fmla="*/ 1004323 w 2077606"/>
              <a:gd name="connsiteY2565" fmla="*/ 707363 h 1786074"/>
              <a:gd name="connsiteX2566" fmla="*/ 1014295 w 2077606"/>
              <a:gd name="connsiteY2566" fmla="*/ 703363 h 1786074"/>
              <a:gd name="connsiteX2567" fmla="*/ 1018283 w 2077606"/>
              <a:gd name="connsiteY2567" fmla="*/ 695363 h 1786074"/>
              <a:gd name="connsiteX2568" fmla="*/ 1026261 w 2077606"/>
              <a:gd name="connsiteY2568" fmla="*/ 693363 h 1786074"/>
              <a:gd name="connsiteX2569" fmla="*/ 1030249 w 2077606"/>
              <a:gd name="connsiteY2569" fmla="*/ 695363 h 1786074"/>
              <a:gd name="connsiteX2570" fmla="*/ 1032244 w 2077606"/>
              <a:gd name="connsiteY2570" fmla="*/ 699363 h 1786074"/>
              <a:gd name="connsiteX2571" fmla="*/ 1032244 w 2077606"/>
              <a:gd name="connsiteY2571" fmla="*/ 703363 h 1786074"/>
              <a:gd name="connsiteX2572" fmla="*/ 1032244 w 2077606"/>
              <a:gd name="connsiteY2572" fmla="*/ 709363 h 1786074"/>
              <a:gd name="connsiteX2573" fmla="*/ 1028255 w 2077606"/>
              <a:gd name="connsiteY2573" fmla="*/ 717363 h 1786074"/>
              <a:gd name="connsiteX2574" fmla="*/ 1022272 w 2077606"/>
              <a:gd name="connsiteY2574" fmla="*/ 719363 h 1786074"/>
              <a:gd name="connsiteX2575" fmla="*/ 1016289 w 2077606"/>
              <a:gd name="connsiteY2575" fmla="*/ 721363 h 1786074"/>
              <a:gd name="connsiteX2576" fmla="*/ 1012300 w 2077606"/>
              <a:gd name="connsiteY2576" fmla="*/ 721363 h 1786074"/>
              <a:gd name="connsiteX2577" fmla="*/ 1004323 w 2077606"/>
              <a:gd name="connsiteY2577" fmla="*/ 721363 h 1786074"/>
              <a:gd name="connsiteX2578" fmla="*/ 1000334 w 2077606"/>
              <a:gd name="connsiteY2578" fmla="*/ 721363 h 1786074"/>
              <a:gd name="connsiteX2579" fmla="*/ 988368 w 2077606"/>
              <a:gd name="connsiteY2579" fmla="*/ 723363 h 1786074"/>
              <a:gd name="connsiteX2580" fmla="*/ 980391 w 2077606"/>
              <a:gd name="connsiteY2580" fmla="*/ 721363 h 1786074"/>
              <a:gd name="connsiteX2581" fmla="*/ 968425 w 2077606"/>
              <a:gd name="connsiteY2581" fmla="*/ 719363 h 1786074"/>
              <a:gd name="connsiteX2582" fmla="*/ 964436 w 2077606"/>
              <a:gd name="connsiteY2582" fmla="*/ 725363 h 1786074"/>
              <a:gd name="connsiteX2583" fmla="*/ 962442 w 2077606"/>
              <a:gd name="connsiteY2583" fmla="*/ 729363 h 1786074"/>
              <a:gd name="connsiteX2584" fmla="*/ 956459 w 2077606"/>
              <a:gd name="connsiteY2584" fmla="*/ 729363 h 1786074"/>
              <a:gd name="connsiteX2585" fmla="*/ 954464 w 2077606"/>
              <a:gd name="connsiteY2585" fmla="*/ 725363 h 1786074"/>
              <a:gd name="connsiteX2586" fmla="*/ 958453 w 2077606"/>
              <a:gd name="connsiteY2586" fmla="*/ 721363 h 1786074"/>
              <a:gd name="connsiteX2587" fmla="*/ 956459 w 2077606"/>
              <a:gd name="connsiteY2587" fmla="*/ 719363 h 1786074"/>
              <a:gd name="connsiteX2588" fmla="*/ 954464 w 2077606"/>
              <a:gd name="connsiteY2588" fmla="*/ 713363 h 1786074"/>
              <a:gd name="connsiteX2589" fmla="*/ 952470 w 2077606"/>
              <a:gd name="connsiteY2589" fmla="*/ 711363 h 1786074"/>
              <a:gd name="connsiteX2590" fmla="*/ 946487 w 2077606"/>
              <a:gd name="connsiteY2590" fmla="*/ 705363 h 1786074"/>
              <a:gd name="connsiteX2591" fmla="*/ 936515 w 2077606"/>
              <a:gd name="connsiteY2591" fmla="*/ 705363 h 1786074"/>
              <a:gd name="connsiteX2592" fmla="*/ 932526 w 2077606"/>
              <a:gd name="connsiteY2592" fmla="*/ 699363 h 1786074"/>
              <a:gd name="connsiteX2593" fmla="*/ 930532 w 2077606"/>
              <a:gd name="connsiteY2593" fmla="*/ 695363 h 1786074"/>
              <a:gd name="connsiteX2594" fmla="*/ 924549 w 2077606"/>
              <a:gd name="connsiteY2594" fmla="*/ 699363 h 1786074"/>
              <a:gd name="connsiteX2595" fmla="*/ 910589 w 2077606"/>
              <a:gd name="connsiteY2595" fmla="*/ 709363 h 1786074"/>
              <a:gd name="connsiteX2596" fmla="*/ 894634 w 2077606"/>
              <a:gd name="connsiteY2596" fmla="*/ 719363 h 1786074"/>
              <a:gd name="connsiteX2597" fmla="*/ 884662 w 2077606"/>
              <a:gd name="connsiteY2597" fmla="*/ 719363 h 1786074"/>
              <a:gd name="connsiteX2598" fmla="*/ 874690 w 2077606"/>
              <a:gd name="connsiteY2598" fmla="*/ 721363 h 1786074"/>
              <a:gd name="connsiteX2599" fmla="*/ 866713 w 2077606"/>
              <a:gd name="connsiteY2599" fmla="*/ 727363 h 1786074"/>
              <a:gd name="connsiteX2600" fmla="*/ 852753 w 2077606"/>
              <a:gd name="connsiteY2600" fmla="*/ 731363 h 1786074"/>
              <a:gd name="connsiteX2601" fmla="*/ 844775 w 2077606"/>
              <a:gd name="connsiteY2601" fmla="*/ 735363 h 1786074"/>
              <a:gd name="connsiteX2602" fmla="*/ 838792 w 2077606"/>
              <a:gd name="connsiteY2602" fmla="*/ 735363 h 1786074"/>
              <a:gd name="connsiteX2603" fmla="*/ 832809 w 2077606"/>
              <a:gd name="connsiteY2603" fmla="*/ 733363 h 1786074"/>
              <a:gd name="connsiteX2604" fmla="*/ 822837 w 2077606"/>
              <a:gd name="connsiteY2604" fmla="*/ 733363 h 1786074"/>
              <a:gd name="connsiteX2605" fmla="*/ 810871 w 2077606"/>
              <a:gd name="connsiteY2605" fmla="*/ 735363 h 1786074"/>
              <a:gd name="connsiteX2606" fmla="*/ 804888 w 2077606"/>
              <a:gd name="connsiteY2606" fmla="*/ 739363 h 1786074"/>
              <a:gd name="connsiteX2607" fmla="*/ 792922 w 2077606"/>
              <a:gd name="connsiteY2607" fmla="*/ 739363 h 1786074"/>
              <a:gd name="connsiteX2608" fmla="*/ 782950 w 2077606"/>
              <a:gd name="connsiteY2608" fmla="*/ 739363 h 1786074"/>
              <a:gd name="connsiteX2609" fmla="*/ 774973 w 2077606"/>
              <a:gd name="connsiteY2609" fmla="*/ 739363 h 1786074"/>
              <a:gd name="connsiteX2610" fmla="*/ 766996 w 2077606"/>
              <a:gd name="connsiteY2610" fmla="*/ 735363 h 1786074"/>
              <a:gd name="connsiteX2611" fmla="*/ 763007 w 2077606"/>
              <a:gd name="connsiteY2611" fmla="*/ 729363 h 1786074"/>
              <a:gd name="connsiteX2612" fmla="*/ 759018 w 2077606"/>
              <a:gd name="connsiteY2612" fmla="*/ 721363 h 1786074"/>
              <a:gd name="connsiteX2613" fmla="*/ 761013 w 2077606"/>
              <a:gd name="connsiteY2613" fmla="*/ 715363 h 1786074"/>
              <a:gd name="connsiteX2614" fmla="*/ 761013 w 2077606"/>
              <a:gd name="connsiteY2614" fmla="*/ 711363 h 1786074"/>
              <a:gd name="connsiteX2615" fmla="*/ 761013 w 2077606"/>
              <a:gd name="connsiteY2615" fmla="*/ 707363 h 1786074"/>
              <a:gd name="connsiteX2616" fmla="*/ 757024 w 2077606"/>
              <a:gd name="connsiteY2616" fmla="*/ 705363 h 1786074"/>
              <a:gd name="connsiteX2617" fmla="*/ 749047 w 2077606"/>
              <a:gd name="connsiteY2617" fmla="*/ 703363 h 1786074"/>
              <a:gd name="connsiteX2618" fmla="*/ 741069 w 2077606"/>
              <a:gd name="connsiteY2618" fmla="*/ 705363 h 1786074"/>
              <a:gd name="connsiteX2619" fmla="*/ 729103 w 2077606"/>
              <a:gd name="connsiteY2619" fmla="*/ 705363 h 1786074"/>
              <a:gd name="connsiteX2620" fmla="*/ 721126 w 2077606"/>
              <a:gd name="connsiteY2620" fmla="*/ 701363 h 1786074"/>
              <a:gd name="connsiteX2621" fmla="*/ 701182 w 2077606"/>
              <a:gd name="connsiteY2621" fmla="*/ 697363 h 1786074"/>
              <a:gd name="connsiteX2622" fmla="*/ 697194 w 2077606"/>
              <a:gd name="connsiteY2622" fmla="*/ 687363 h 1786074"/>
              <a:gd name="connsiteX2623" fmla="*/ 691211 w 2077606"/>
              <a:gd name="connsiteY2623" fmla="*/ 683363 h 1786074"/>
              <a:gd name="connsiteX2624" fmla="*/ 687222 w 2077606"/>
              <a:gd name="connsiteY2624" fmla="*/ 675363 h 1786074"/>
              <a:gd name="connsiteX2625" fmla="*/ 689216 w 2077606"/>
              <a:gd name="connsiteY2625" fmla="*/ 667363 h 1786074"/>
              <a:gd name="connsiteX2626" fmla="*/ 701182 w 2077606"/>
              <a:gd name="connsiteY2626" fmla="*/ 665363 h 1786074"/>
              <a:gd name="connsiteX2627" fmla="*/ 703177 w 2077606"/>
              <a:gd name="connsiteY2627" fmla="*/ 663363 h 1786074"/>
              <a:gd name="connsiteX2628" fmla="*/ 709160 w 2077606"/>
              <a:gd name="connsiteY2628" fmla="*/ 659363 h 1786074"/>
              <a:gd name="connsiteX2629" fmla="*/ 713148 w 2077606"/>
              <a:gd name="connsiteY2629" fmla="*/ 659363 h 1786074"/>
              <a:gd name="connsiteX2630" fmla="*/ 721126 w 2077606"/>
              <a:gd name="connsiteY2630" fmla="*/ 659363 h 1786074"/>
              <a:gd name="connsiteX2631" fmla="*/ 727109 w 2077606"/>
              <a:gd name="connsiteY2631" fmla="*/ 659363 h 1786074"/>
              <a:gd name="connsiteX2632" fmla="*/ 731097 w 2077606"/>
              <a:gd name="connsiteY2632" fmla="*/ 655363 h 1786074"/>
              <a:gd name="connsiteX2633" fmla="*/ 739075 w 2077606"/>
              <a:gd name="connsiteY2633" fmla="*/ 657363 h 1786074"/>
              <a:gd name="connsiteX2634" fmla="*/ 747052 w 2077606"/>
              <a:gd name="connsiteY2634" fmla="*/ 655363 h 1786074"/>
              <a:gd name="connsiteX2635" fmla="*/ 755030 w 2077606"/>
              <a:gd name="connsiteY2635" fmla="*/ 653363 h 1786074"/>
              <a:gd name="connsiteX2636" fmla="*/ 761013 w 2077606"/>
              <a:gd name="connsiteY2636" fmla="*/ 653363 h 1786074"/>
              <a:gd name="connsiteX2637" fmla="*/ 768990 w 2077606"/>
              <a:gd name="connsiteY2637" fmla="*/ 655363 h 1786074"/>
              <a:gd name="connsiteX2638" fmla="*/ 778962 w 2077606"/>
              <a:gd name="connsiteY2638" fmla="*/ 655363 h 1786074"/>
              <a:gd name="connsiteX2639" fmla="*/ 786939 w 2077606"/>
              <a:gd name="connsiteY2639" fmla="*/ 655363 h 1786074"/>
              <a:gd name="connsiteX2640" fmla="*/ 794917 w 2077606"/>
              <a:gd name="connsiteY2640" fmla="*/ 655363 h 1786074"/>
              <a:gd name="connsiteX2641" fmla="*/ 800900 w 2077606"/>
              <a:gd name="connsiteY2641" fmla="*/ 657363 h 1786074"/>
              <a:gd name="connsiteX2642" fmla="*/ 806883 w 2077606"/>
              <a:gd name="connsiteY2642" fmla="*/ 659363 h 1786074"/>
              <a:gd name="connsiteX2643" fmla="*/ 810871 w 2077606"/>
              <a:gd name="connsiteY2643" fmla="*/ 657363 h 1786074"/>
              <a:gd name="connsiteX2644" fmla="*/ 816854 w 2077606"/>
              <a:gd name="connsiteY2644" fmla="*/ 657363 h 1786074"/>
              <a:gd name="connsiteX2645" fmla="*/ 822837 w 2077606"/>
              <a:gd name="connsiteY2645" fmla="*/ 653363 h 1786074"/>
              <a:gd name="connsiteX2646" fmla="*/ 828820 w 2077606"/>
              <a:gd name="connsiteY2646" fmla="*/ 653363 h 1786074"/>
              <a:gd name="connsiteX2647" fmla="*/ 824832 w 2077606"/>
              <a:gd name="connsiteY2647" fmla="*/ 649363 h 1786074"/>
              <a:gd name="connsiteX2648" fmla="*/ 814860 w 2077606"/>
              <a:gd name="connsiteY2648" fmla="*/ 649363 h 1786074"/>
              <a:gd name="connsiteX2649" fmla="*/ 808877 w 2077606"/>
              <a:gd name="connsiteY2649" fmla="*/ 645363 h 1786074"/>
              <a:gd name="connsiteX2650" fmla="*/ 802894 w 2077606"/>
              <a:gd name="connsiteY2650" fmla="*/ 643363 h 1786074"/>
              <a:gd name="connsiteX2651" fmla="*/ 800900 w 2077606"/>
              <a:gd name="connsiteY2651" fmla="*/ 641363 h 1786074"/>
              <a:gd name="connsiteX2652" fmla="*/ 788934 w 2077606"/>
              <a:gd name="connsiteY2652" fmla="*/ 639363 h 1786074"/>
              <a:gd name="connsiteX2653" fmla="*/ 776967 w 2077606"/>
              <a:gd name="connsiteY2653" fmla="*/ 637363 h 1786074"/>
              <a:gd name="connsiteX2654" fmla="*/ 768990 w 2077606"/>
              <a:gd name="connsiteY2654" fmla="*/ 637363 h 1786074"/>
              <a:gd name="connsiteX2655" fmla="*/ 763007 w 2077606"/>
              <a:gd name="connsiteY2655" fmla="*/ 637363 h 1786074"/>
              <a:gd name="connsiteX2656" fmla="*/ 757024 w 2077606"/>
              <a:gd name="connsiteY2656" fmla="*/ 637363 h 1786074"/>
              <a:gd name="connsiteX2657" fmla="*/ 745058 w 2077606"/>
              <a:gd name="connsiteY2657" fmla="*/ 643363 h 1786074"/>
              <a:gd name="connsiteX2658" fmla="*/ 735086 w 2077606"/>
              <a:gd name="connsiteY2658" fmla="*/ 643363 h 1786074"/>
              <a:gd name="connsiteX2659" fmla="*/ 729103 w 2077606"/>
              <a:gd name="connsiteY2659" fmla="*/ 641363 h 1786074"/>
              <a:gd name="connsiteX2660" fmla="*/ 723120 w 2077606"/>
              <a:gd name="connsiteY2660" fmla="*/ 637363 h 1786074"/>
              <a:gd name="connsiteX2661" fmla="*/ 713148 w 2077606"/>
              <a:gd name="connsiteY2661" fmla="*/ 635363 h 1786074"/>
              <a:gd name="connsiteX2662" fmla="*/ 709160 w 2077606"/>
              <a:gd name="connsiteY2662" fmla="*/ 635363 h 1786074"/>
              <a:gd name="connsiteX2663" fmla="*/ 697194 w 2077606"/>
              <a:gd name="connsiteY2663" fmla="*/ 639363 h 1786074"/>
              <a:gd name="connsiteX2664" fmla="*/ 693205 w 2077606"/>
              <a:gd name="connsiteY2664" fmla="*/ 635363 h 1786074"/>
              <a:gd name="connsiteX2665" fmla="*/ 685227 w 2077606"/>
              <a:gd name="connsiteY2665" fmla="*/ 631363 h 1786074"/>
              <a:gd name="connsiteX2666" fmla="*/ 681239 w 2077606"/>
              <a:gd name="connsiteY2666" fmla="*/ 621363 h 1786074"/>
              <a:gd name="connsiteX2667" fmla="*/ 691211 w 2077606"/>
              <a:gd name="connsiteY2667" fmla="*/ 615363 h 1786074"/>
              <a:gd name="connsiteX2668" fmla="*/ 701182 w 2077606"/>
              <a:gd name="connsiteY2668" fmla="*/ 613363 h 1786074"/>
              <a:gd name="connsiteX2669" fmla="*/ 709160 w 2077606"/>
              <a:gd name="connsiteY2669" fmla="*/ 611363 h 1786074"/>
              <a:gd name="connsiteX2670" fmla="*/ 719131 w 2077606"/>
              <a:gd name="connsiteY2670" fmla="*/ 611363 h 1786074"/>
              <a:gd name="connsiteX2671" fmla="*/ 727109 w 2077606"/>
              <a:gd name="connsiteY2671" fmla="*/ 607363 h 1786074"/>
              <a:gd name="connsiteX2672" fmla="*/ 735086 w 2077606"/>
              <a:gd name="connsiteY2672" fmla="*/ 607363 h 1786074"/>
              <a:gd name="connsiteX2673" fmla="*/ 739075 w 2077606"/>
              <a:gd name="connsiteY2673" fmla="*/ 611363 h 1786074"/>
              <a:gd name="connsiteX2674" fmla="*/ 743064 w 2077606"/>
              <a:gd name="connsiteY2674" fmla="*/ 607363 h 1786074"/>
              <a:gd name="connsiteX2675" fmla="*/ 743064 w 2077606"/>
              <a:gd name="connsiteY2675" fmla="*/ 603363 h 1786074"/>
              <a:gd name="connsiteX2676" fmla="*/ 747052 w 2077606"/>
              <a:gd name="connsiteY2676" fmla="*/ 603363 h 1786074"/>
              <a:gd name="connsiteX2677" fmla="*/ 753035 w 2077606"/>
              <a:gd name="connsiteY2677" fmla="*/ 603363 h 1786074"/>
              <a:gd name="connsiteX2678" fmla="*/ 759018 w 2077606"/>
              <a:gd name="connsiteY2678" fmla="*/ 601363 h 1786074"/>
              <a:gd name="connsiteX2679" fmla="*/ 761013 w 2077606"/>
              <a:gd name="connsiteY2679" fmla="*/ 599363 h 1786074"/>
              <a:gd name="connsiteX2680" fmla="*/ 759018 w 2077606"/>
              <a:gd name="connsiteY2680" fmla="*/ 595363 h 1786074"/>
              <a:gd name="connsiteX2681" fmla="*/ 749047 w 2077606"/>
              <a:gd name="connsiteY2681" fmla="*/ 599363 h 1786074"/>
              <a:gd name="connsiteX2682" fmla="*/ 743064 w 2077606"/>
              <a:gd name="connsiteY2682" fmla="*/ 599363 h 1786074"/>
              <a:gd name="connsiteX2683" fmla="*/ 739075 w 2077606"/>
              <a:gd name="connsiteY2683" fmla="*/ 599363 h 1786074"/>
              <a:gd name="connsiteX2684" fmla="*/ 733092 w 2077606"/>
              <a:gd name="connsiteY2684" fmla="*/ 601363 h 1786074"/>
              <a:gd name="connsiteX2685" fmla="*/ 729103 w 2077606"/>
              <a:gd name="connsiteY2685" fmla="*/ 601363 h 1786074"/>
              <a:gd name="connsiteX2686" fmla="*/ 725114 w 2077606"/>
              <a:gd name="connsiteY2686" fmla="*/ 601363 h 1786074"/>
              <a:gd name="connsiteX2687" fmla="*/ 719131 w 2077606"/>
              <a:gd name="connsiteY2687" fmla="*/ 603363 h 1786074"/>
              <a:gd name="connsiteX2688" fmla="*/ 715143 w 2077606"/>
              <a:gd name="connsiteY2688" fmla="*/ 603363 h 1786074"/>
              <a:gd name="connsiteX2689" fmla="*/ 707165 w 2077606"/>
              <a:gd name="connsiteY2689" fmla="*/ 607363 h 1786074"/>
              <a:gd name="connsiteX2690" fmla="*/ 701182 w 2077606"/>
              <a:gd name="connsiteY2690" fmla="*/ 603363 h 1786074"/>
              <a:gd name="connsiteX2691" fmla="*/ 697194 w 2077606"/>
              <a:gd name="connsiteY2691" fmla="*/ 607363 h 1786074"/>
              <a:gd name="connsiteX2692" fmla="*/ 693205 w 2077606"/>
              <a:gd name="connsiteY2692" fmla="*/ 607363 h 1786074"/>
              <a:gd name="connsiteX2693" fmla="*/ 685227 w 2077606"/>
              <a:gd name="connsiteY2693" fmla="*/ 607363 h 1786074"/>
              <a:gd name="connsiteX2694" fmla="*/ 689216 w 2077606"/>
              <a:gd name="connsiteY2694" fmla="*/ 603363 h 1786074"/>
              <a:gd name="connsiteX2695" fmla="*/ 693205 w 2077606"/>
              <a:gd name="connsiteY2695" fmla="*/ 597363 h 1786074"/>
              <a:gd name="connsiteX2696" fmla="*/ 697194 w 2077606"/>
              <a:gd name="connsiteY2696" fmla="*/ 591363 h 1786074"/>
              <a:gd name="connsiteX2697" fmla="*/ 693205 w 2077606"/>
              <a:gd name="connsiteY2697" fmla="*/ 591363 h 1786074"/>
              <a:gd name="connsiteX2698" fmla="*/ 691211 w 2077606"/>
              <a:gd name="connsiteY2698" fmla="*/ 591363 h 1786074"/>
              <a:gd name="connsiteX2699" fmla="*/ 687222 w 2077606"/>
              <a:gd name="connsiteY2699" fmla="*/ 595363 h 1786074"/>
              <a:gd name="connsiteX2700" fmla="*/ 681239 w 2077606"/>
              <a:gd name="connsiteY2700" fmla="*/ 593363 h 1786074"/>
              <a:gd name="connsiteX2701" fmla="*/ 671267 w 2077606"/>
              <a:gd name="connsiteY2701" fmla="*/ 591363 h 1786074"/>
              <a:gd name="connsiteX2702" fmla="*/ 679244 w 2077606"/>
              <a:gd name="connsiteY2702" fmla="*/ 579363 h 1786074"/>
              <a:gd name="connsiteX2703" fmla="*/ 689216 w 2077606"/>
              <a:gd name="connsiteY2703" fmla="*/ 571363 h 1786074"/>
              <a:gd name="connsiteX2704" fmla="*/ 693205 w 2077606"/>
              <a:gd name="connsiteY2704" fmla="*/ 567363 h 1786074"/>
              <a:gd name="connsiteX2705" fmla="*/ 701182 w 2077606"/>
              <a:gd name="connsiteY2705" fmla="*/ 561363 h 1786074"/>
              <a:gd name="connsiteX2706" fmla="*/ 699188 w 2077606"/>
              <a:gd name="connsiteY2706" fmla="*/ 555363 h 1786074"/>
              <a:gd name="connsiteX2707" fmla="*/ 699188 w 2077606"/>
              <a:gd name="connsiteY2707" fmla="*/ 549363 h 1786074"/>
              <a:gd name="connsiteX2708" fmla="*/ 707165 w 2077606"/>
              <a:gd name="connsiteY2708" fmla="*/ 543363 h 1786074"/>
              <a:gd name="connsiteX2709" fmla="*/ 727109 w 2077606"/>
              <a:gd name="connsiteY2709" fmla="*/ 535363 h 1786074"/>
              <a:gd name="connsiteX2710" fmla="*/ 741069 w 2077606"/>
              <a:gd name="connsiteY2710" fmla="*/ 527363 h 1786074"/>
              <a:gd name="connsiteX2711" fmla="*/ 753035 w 2077606"/>
              <a:gd name="connsiteY2711" fmla="*/ 523363 h 1786074"/>
              <a:gd name="connsiteX2712" fmla="*/ 772979 w 2077606"/>
              <a:gd name="connsiteY2712" fmla="*/ 517363 h 1786074"/>
              <a:gd name="connsiteX2713" fmla="*/ 776967 w 2077606"/>
              <a:gd name="connsiteY2713" fmla="*/ 517363 h 1786074"/>
              <a:gd name="connsiteX2714" fmla="*/ 784945 w 2077606"/>
              <a:gd name="connsiteY2714" fmla="*/ 511363 h 1786074"/>
              <a:gd name="connsiteX2715" fmla="*/ 796911 w 2077606"/>
              <a:gd name="connsiteY2715" fmla="*/ 507363 h 1786074"/>
              <a:gd name="connsiteX2716" fmla="*/ 806883 w 2077606"/>
              <a:gd name="connsiteY2716" fmla="*/ 513363 h 1786074"/>
              <a:gd name="connsiteX2717" fmla="*/ 800900 w 2077606"/>
              <a:gd name="connsiteY2717" fmla="*/ 521363 h 1786074"/>
              <a:gd name="connsiteX2718" fmla="*/ 804888 w 2077606"/>
              <a:gd name="connsiteY2718" fmla="*/ 527363 h 1786074"/>
              <a:gd name="connsiteX2719" fmla="*/ 802894 w 2077606"/>
              <a:gd name="connsiteY2719" fmla="*/ 533363 h 1786074"/>
              <a:gd name="connsiteX2720" fmla="*/ 794917 w 2077606"/>
              <a:gd name="connsiteY2720" fmla="*/ 537363 h 1786074"/>
              <a:gd name="connsiteX2721" fmla="*/ 790928 w 2077606"/>
              <a:gd name="connsiteY2721" fmla="*/ 543363 h 1786074"/>
              <a:gd name="connsiteX2722" fmla="*/ 786939 w 2077606"/>
              <a:gd name="connsiteY2722" fmla="*/ 545363 h 1786074"/>
              <a:gd name="connsiteX2723" fmla="*/ 796911 w 2077606"/>
              <a:gd name="connsiteY2723" fmla="*/ 545363 h 1786074"/>
              <a:gd name="connsiteX2724" fmla="*/ 798905 w 2077606"/>
              <a:gd name="connsiteY2724" fmla="*/ 541363 h 1786074"/>
              <a:gd name="connsiteX2725" fmla="*/ 804888 w 2077606"/>
              <a:gd name="connsiteY2725" fmla="*/ 543363 h 1786074"/>
              <a:gd name="connsiteX2726" fmla="*/ 812866 w 2077606"/>
              <a:gd name="connsiteY2726" fmla="*/ 545363 h 1786074"/>
              <a:gd name="connsiteX2727" fmla="*/ 814860 w 2077606"/>
              <a:gd name="connsiteY2727" fmla="*/ 539363 h 1786074"/>
              <a:gd name="connsiteX2728" fmla="*/ 818849 w 2077606"/>
              <a:gd name="connsiteY2728" fmla="*/ 535363 h 1786074"/>
              <a:gd name="connsiteX2729" fmla="*/ 824832 w 2077606"/>
              <a:gd name="connsiteY2729" fmla="*/ 529363 h 1786074"/>
              <a:gd name="connsiteX2730" fmla="*/ 834804 w 2077606"/>
              <a:gd name="connsiteY2730" fmla="*/ 525363 h 1786074"/>
              <a:gd name="connsiteX2731" fmla="*/ 840787 w 2077606"/>
              <a:gd name="connsiteY2731" fmla="*/ 527363 h 1786074"/>
              <a:gd name="connsiteX2732" fmla="*/ 844775 w 2077606"/>
              <a:gd name="connsiteY2732" fmla="*/ 531363 h 1786074"/>
              <a:gd name="connsiteX2733" fmla="*/ 852753 w 2077606"/>
              <a:gd name="connsiteY2733" fmla="*/ 533363 h 1786074"/>
              <a:gd name="connsiteX2734" fmla="*/ 860730 w 2077606"/>
              <a:gd name="connsiteY2734" fmla="*/ 537363 h 1786074"/>
              <a:gd name="connsiteX2735" fmla="*/ 864719 w 2077606"/>
              <a:gd name="connsiteY2735" fmla="*/ 541363 h 1786074"/>
              <a:gd name="connsiteX2736" fmla="*/ 858736 w 2077606"/>
              <a:gd name="connsiteY2736" fmla="*/ 551363 h 1786074"/>
              <a:gd name="connsiteX2737" fmla="*/ 850758 w 2077606"/>
              <a:gd name="connsiteY2737" fmla="*/ 561363 h 1786074"/>
              <a:gd name="connsiteX2738" fmla="*/ 854747 w 2077606"/>
              <a:gd name="connsiteY2738" fmla="*/ 561363 h 1786074"/>
              <a:gd name="connsiteX2739" fmla="*/ 860730 w 2077606"/>
              <a:gd name="connsiteY2739" fmla="*/ 553363 h 1786074"/>
              <a:gd name="connsiteX2740" fmla="*/ 864719 w 2077606"/>
              <a:gd name="connsiteY2740" fmla="*/ 557363 h 1786074"/>
              <a:gd name="connsiteX2741" fmla="*/ 868707 w 2077606"/>
              <a:gd name="connsiteY2741" fmla="*/ 551363 h 1786074"/>
              <a:gd name="connsiteX2742" fmla="*/ 874690 w 2077606"/>
              <a:gd name="connsiteY2742" fmla="*/ 549363 h 1786074"/>
              <a:gd name="connsiteX2743" fmla="*/ 880673 w 2077606"/>
              <a:gd name="connsiteY2743" fmla="*/ 545363 h 1786074"/>
              <a:gd name="connsiteX2744" fmla="*/ 880673 w 2077606"/>
              <a:gd name="connsiteY2744" fmla="*/ 551363 h 1786074"/>
              <a:gd name="connsiteX2745" fmla="*/ 882668 w 2077606"/>
              <a:gd name="connsiteY2745" fmla="*/ 549363 h 1786074"/>
              <a:gd name="connsiteX2746" fmla="*/ 888651 w 2077606"/>
              <a:gd name="connsiteY2746" fmla="*/ 549363 h 1786074"/>
              <a:gd name="connsiteX2747" fmla="*/ 890645 w 2077606"/>
              <a:gd name="connsiteY2747" fmla="*/ 547363 h 1786074"/>
              <a:gd name="connsiteX2748" fmla="*/ 894634 w 2077606"/>
              <a:gd name="connsiteY2748" fmla="*/ 545363 h 1786074"/>
              <a:gd name="connsiteX2749" fmla="*/ 894634 w 2077606"/>
              <a:gd name="connsiteY2749" fmla="*/ 541363 h 1786074"/>
              <a:gd name="connsiteX2750" fmla="*/ 890645 w 2077606"/>
              <a:gd name="connsiteY2750" fmla="*/ 535363 h 1786074"/>
              <a:gd name="connsiteX2751" fmla="*/ 886657 w 2077606"/>
              <a:gd name="connsiteY2751" fmla="*/ 527363 h 1786074"/>
              <a:gd name="connsiteX2752" fmla="*/ 894634 w 2077606"/>
              <a:gd name="connsiteY2752" fmla="*/ 525363 h 1786074"/>
              <a:gd name="connsiteX2753" fmla="*/ 902611 w 2077606"/>
              <a:gd name="connsiteY2753" fmla="*/ 529363 h 1786074"/>
              <a:gd name="connsiteX2754" fmla="*/ 906600 w 2077606"/>
              <a:gd name="connsiteY2754" fmla="*/ 533363 h 1786074"/>
              <a:gd name="connsiteX2755" fmla="*/ 910589 w 2077606"/>
              <a:gd name="connsiteY2755" fmla="*/ 535363 h 1786074"/>
              <a:gd name="connsiteX2756" fmla="*/ 914577 w 2077606"/>
              <a:gd name="connsiteY2756" fmla="*/ 539363 h 1786074"/>
              <a:gd name="connsiteX2757" fmla="*/ 916572 w 2077606"/>
              <a:gd name="connsiteY2757" fmla="*/ 541363 h 1786074"/>
              <a:gd name="connsiteX2758" fmla="*/ 916572 w 2077606"/>
              <a:gd name="connsiteY2758" fmla="*/ 547363 h 1786074"/>
              <a:gd name="connsiteX2759" fmla="*/ 920560 w 2077606"/>
              <a:gd name="connsiteY2759" fmla="*/ 549363 h 1786074"/>
              <a:gd name="connsiteX2760" fmla="*/ 922555 w 2077606"/>
              <a:gd name="connsiteY2760" fmla="*/ 551363 h 1786074"/>
              <a:gd name="connsiteX2761" fmla="*/ 920560 w 2077606"/>
              <a:gd name="connsiteY2761" fmla="*/ 557363 h 1786074"/>
              <a:gd name="connsiteX2762" fmla="*/ 918566 w 2077606"/>
              <a:gd name="connsiteY2762" fmla="*/ 559363 h 1786074"/>
              <a:gd name="connsiteX2763" fmla="*/ 920560 w 2077606"/>
              <a:gd name="connsiteY2763" fmla="*/ 565363 h 1786074"/>
              <a:gd name="connsiteX2764" fmla="*/ 918566 w 2077606"/>
              <a:gd name="connsiteY2764" fmla="*/ 573363 h 1786074"/>
              <a:gd name="connsiteX2765" fmla="*/ 920560 w 2077606"/>
              <a:gd name="connsiteY2765" fmla="*/ 575363 h 1786074"/>
              <a:gd name="connsiteX2766" fmla="*/ 920560 w 2077606"/>
              <a:gd name="connsiteY2766" fmla="*/ 581363 h 1786074"/>
              <a:gd name="connsiteX2767" fmla="*/ 920560 w 2077606"/>
              <a:gd name="connsiteY2767" fmla="*/ 585363 h 1786074"/>
              <a:gd name="connsiteX2768" fmla="*/ 924549 w 2077606"/>
              <a:gd name="connsiteY2768" fmla="*/ 589363 h 1786074"/>
              <a:gd name="connsiteX2769" fmla="*/ 928538 w 2077606"/>
              <a:gd name="connsiteY2769" fmla="*/ 587363 h 1786074"/>
              <a:gd name="connsiteX2770" fmla="*/ 936515 w 2077606"/>
              <a:gd name="connsiteY2770" fmla="*/ 587363 h 1786074"/>
              <a:gd name="connsiteX2771" fmla="*/ 942498 w 2077606"/>
              <a:gd name="connsiteY2771" fmla="*/ 581363 h 1786074"/>
              <a:gd name="connsiteX2772" fmla="*/ 938510 w 2077606"/>
              <a:gd name="connsiteY2772" fmla="*/ 573363 h 1786074"/>
              <a:gd name="connsiteX2773" fmla="*/ 936515 w 2077606"/>
              <a:gd name="connsiteY2773" fmla="*/ 567363 h 1786074"/>
              <a:gd name="connsiteX2774" fmla="*/ 936515 w 2077606"/>
              <a:gd name="connsiteY2774" fmla="*/ 561363 h 1786074"/>
              <a:gd name="connsiteX2775" fmla="*/ 936515 w 2077606"/>
              <a:gd name="connsiteY2775" fmla="*/ 553363 h 1786074"/>
              <a:gd name="connsiteX2776" fmla="*/ 938510 w 2077606"/>
              <a:gd name="connsiteY2776" fmla="*/ 539363 h 1786074"/>
              <a:gd name="connsiteX2777" fmla="*/ 938510 w 2077606"/>
              <a:gd name="connsiteY2777" fmla="*/ 529363 h 1786074"/>
              <a:gd name="connsiteX2778" fmla="*/ 942498 w 2077606"/>
              <a:gd name="connsiteY2778" fmla="*/ 519363 h 1786074"/>
              <a:gd name="connsiteX2779" fmla="*/ 944493 w 2077606"/>
              <a:gd name="connsiteY2779" fmla="*/ 515363 h 1786074"/>
              <a:gd name="connsiteX2780" fmla="*/ 950476 w 2077606"/>
              <a:gd name="connsiteY2780" fmla="*/ 511363 h 1786074"/>
              <a:gd name="connsiteX2781" fmla="*/ 960447 w 2077606"/>
              <a:gd name="connsiteY2781" fmla="*/ 511363 h 1786074"/>
              <a:gd name="connsiteX2782" fmla="*/ 962442 w 2077606"/>
              <a:gd name="connsiteY2782" fmla="*/ 515363 h 1786074"/>
              <a:gd name="connsiteX2783" fmla="*/ 970419 w 2077606"/>
              <a:gd name="connsiteY2783" fmla="*/ 517363 h 1786074"/>
              <a:gd name="connsiteX2784" fmla="*/ 972413 w 2077606"/>
              <a:gd name="connsiteY2784" fmla="*/ 513363 h 1786074"/>
              <a:gd name="connsiteX2785" fmla="*/ 984380 w 2077606"/>
              <a:gd name="connsiteY2785" fmla="*/ 519363 h 1786074"/>
              <a:gd name="connsiteX2786" fmla="*/ 992357 w 2077606"/>
              <a:gd name="connsiteY2786" fmla="*/ 529363 h 1786074"/>
              <a:gd name="connsiteX2787" fmla="*/ 992357 w 2077606"/>
              <a:gd name="connsiteY2787" fmla="*/ 523363 h 1786074"/>
              <a:gd name="connsiteX2788" fmla="*/ 986374 w 2077606"/>
              <a:gd name="connsiteY2788" fmla="*/ 515363 h 1786074"/>
              <a:gd name="connsiteX2789" fmla="*/ 982385 w 2077606"/>
              <a:gd name="connsiteY2789" fmla="*/ 509363 h 1786074"/>
              <a:gd name="connsiteX2790" fmla="*/ 974408 w 2077606"/>
              <a:gd name="connsiteY2790" fmla="*/ 507363 h 1786074"/>
              <a:gd name="connsiteX2791" fmla="*/ 970419 w 2077606"/>
              <a:gd name="connsiteY2791" fmla="*/ 499363 h 1786074"/>
              <a:gd name="connsiteX2792" fmla="*/ 980391 w 2077606"/>
              <a:gd name="connsiteY2792" fmla="*/ 491363 h 1786074"/>
              <a:gd name="connsiteX2793" fmla="*/ 988368 w 2077606"/>
              <a:gd name="connsiteY2793" fmla="*/ 493363 h 1786074"/>
              <a:gd name="connsiteX2794" fmla="*/ 994351 w 2077606"/>
              <a:gd name="connsiteY2794" fmla="*/ 493363 h 1786074"/>
              <a:gd name="connsiteX2795" fmla="*/ 1000334 w 2077606"/>
              <a:gd name="connsiteY2795" fmla="*/ 495363 h 1786074"/>
              <a:gd name="connsiteX2796" fmla="*/ 1006317 w 2077606"/>
              <a:gd name="connsiteY2796" fmla="*/ 493363 h 1786074"/>
              <a:gd name="connsiteX2797" fmla="*/ 1010555 w 2077606"/>
              <a:gd name="connsiteY2797" fmla="*/ 488363 h 1786074"/>
              <a:gd name="connsiteX2798" fmla="*/ 1563875 w 2077606"/>
              <a:gd name="connsiteY2798" fmla="*/ 487362 h 1786074"/>
              <a:gd name="connsiteX2799" fmla="*/ 1573833 w 2077606"/>
              <a:gd name="connsiteY2799" fmla="*/ 491303 h 1786074"/>
              <a:gd name="connsiteX2800" fmla="*/ 1577816 w 2077606"/>
              <a:gd name="connsiteY2800" fmla="*/ 493274 h 1786074"/>
              <a:gd name="connsiteX2801" fmla="*/ 1587774 w 2077606"/>
              <a:gd name="connsiteY2801" fmla="*/ 497216 h 1786074"/>
              <a:gd name="connsiteX2802" fmla="*/ 1601716 w 2077606"/>
              <a:gd name="connsiteY2802" fmla="*/ 497216 h 1786074"/>
              <a:gd name="connsiteX2803" fmla="*/ 1609682 w 2077606"/>
              <a:gd name="connsiteY2803" fmla="*/ 497216 h 1786074"/>
              <a:gd name="connsiteX2804" fmla="*/ 1613665 w 2077606"/>
              <a:gd name="connsiteY2804" fmla="*/ 497216 h 1786074"/>
              <a:gd name="connsiteX2805" fmla="*/ 1625615 w 2077606"/>
              <a:gd name="connsiteY2805" fmla="*/ 495245 h 1786074"/>
              <a:gd name="connsiteX2806" fmla="*/ 1631590 w 2077606"/>
              <a:gd name="connsiteY2806" fmla="*/ 499186 h 1786074"/>
              <a:gd name="connsiteX2807" fmla="*/ 1635573 w 2077606"/>
              <a:gd name="connsiteY2807" fmla="*/ 505098 h 1786074"/>
              <a:gd name="connsiteX2808" fmla="*/ 1645531 w 2077606"/>
              <a:gd name="connsiteY2808" fmla="*/ 509040 h 1786074"/>
              <a:gd name="connsiteX2809" fmla="*/ 1651506 w 2077606"/>
              <a:gd name="connsiteY2809" fmla="*/ 514952 h 1786074"/>
              <a:gd name="connsiteX2810" fmla="*/ 1655489 w 2077606"/>
              <a:gd name="connsiteY2810" fmla="*/ 518893 h 1786074"/>
              <a:gd name="connsiteX2811" fmla="*/ 1655489 w 2077606"/>
              <a:gd name="connsiteY2811" fmla="*/ 522834 h 1786074"/>
              <a:gd name="connsiteX2812" fmla="*/ 1653497 w 2077606"/>
              <a:gd name="connsiteY2812" fmla="*/ 526776 h 1786074"/>
              <a:gd name="connsiteX2813" fmla="*/ 1659472 w 2077606"/>
              <a:gd name="connsiteY2813" fmla="*/ 530717 h 1786074"/>
              <a:gd name="connsiteX2814" fmla="*/ 1661464 w 2077606"/>
              <a:gd name="connsiteY2814" fmla="*/ 534659 h 1786074"/>
              <a:gd name="connsiteX2815" fmla="*/ 1657480 w 2077606"/>
              <a:gd name="connsiteY2815" fmla="*/ 534659 h 1786074"/>
              <a:gd name="connsiteX2816" fmla="*/ 1651506 w 2077606"/>
              <a:gd name="connsiteY2816" fmla="*/ 534659 h 1786074"/>
              <a:gd name="connsiteX2817" fmla="*/ 1645531 w 2077606"/>
              <a:gd name="connsiteY2817" fmla="*/ 534659 h 1786074"/>
              <a:gd name="connsiteX2818" fmla="*/ 1637564 w 2077606"/>
              <a:gd name="connsiteY2818" fmla="*/ 530717 h 1786074"/>
              <a:gd name="connsiteX2819" fmla="*/ 1627606 w 2077606"/>
              <a:gd name="connsiteY2819" fmla="*/ 532688 h 1786074"/>
              <a:gd name="connsiteX2820" fmla="*/ 1615657 w 2077606"/>
              <a:gd name="connsiteY2820" fmla="*/ 532688 h 1786074"/>
              <a:gd name="connsiteX2821" fmla="*/ 1605699 w 2077606"/>
              <a:gd name="connsiteY2821" fmla="*/ 532688 h 1786074"/>
              <a:gd name="connsiteX2822" fmla="*/ 1595741 w 2077606"/>
              <a:gd name="connsiteY2822" fmla="*/ 534659 h 1786074"/>
              <a:gd name="connsiteX2823" fmla="*/ 1587774 w 2077606"/>
              <a:gd name="connsiteY2823" fmla="*/ 540571 h 1786074"/>
              <a:gd name="connsiteX2824" fmla="*/ 1577816 w 2077606"/>
              <a:gd name="connsiteY2824" fmla="*/ 542541 h 1786074"/>
              <a:gd name="connsiteX2825" fmla="*/ 1571842 w 2077606"/>
              <a:gd name="connsiteY2825" fmla="*/ 540571 h 1786074"/>
              <a:gd name="connsiteX2826" fmla="*/ 1567858 w 2077606"/>
              <a:gd name="connsiteY2826" fmla="*/ 536629 h 1786074"/>
              <a:gd name="connsiteX2827" fmla="*/ 1563875 w 2077606"/>
              <a:gd name="connsiteY2827" fmla="*/ 532688 h 1786074"/>
              <a:gd name="connsiteX2828" fmla="*/ 1563875 w 2077606"/>
              <a:gd name="connsiteY2828" fmla="*/ 526776 h 1786074"/>
              <a:gd name="connsiteX2829" fmla="*/ 1565867 w 2077606"/>
              <a:gd name="connsiteY2829" fmla="*/ 518893 h 1786074"/>
              <a:gd name="connsiteX2830" fmla="*/ 1555909 w 2077606"/>
              <a:gd name="connsiteY2830" fmla="*/ 514952 h 1786074"/>
              <a:gd name="connsiteX2831" fmla="*/ 1555909 w 2077606"/>
              <a:gd name="connsiteY2831" fmla="*/ 503128 h 1786074"/>
              <a:gd name="connsiteX2832" fmla="*/ 1557900 w 2077606"/>
              <a:gd name="connsiteY2832" fmla="*/ 499186 h 1786074"/>
              <a:gd name="connsiteX2833" fmla="*/ 1563875 w 2077606"/>
              <a:gd name="connsiteY2833" fmla="*/ 487362 h 1786074"/>
              <a:gd name="connsiteX2834" fmla="*/ 1129598 w 2077606"/>
              <a:gd name="connsiteY2834" fmla="*/ 484358 h 1786074"/>
              <a:gd name="connsiteX2835" fmla="*/ 1131849 w 2077606"/>
              <a:gd name="connsiteY2835" fmla="*/ 486618 h 1786074"/>
              <a:gd name="connsiteX2836" fmla="*/ 1133851 w 2077606"/>
              <a:gd name="connsiteY2836" fmla="*/ 488628 h 1786074"/>
              <a:gd name="connsiteX2837" fmla="*/ 1137854 w 2077606"/>
              <a:gd name="connsiteY2837" fmla="*/ 490637 h 1786074"/>
              <a:gd name="connsiteX2838" fmla="*/ 1145861 w 2077606"/>
              <a:gd name="connsiteY2838" fmla="*/ 494655 h 1786074"/>
              <a:gd name="connsiteX2839" fmla="*/ 1153867 w 2077606"/>
              <a:gd name="connsiteY2839" fmla="*/ 492646 h 1786074"/>
              <a:gd name="connsiteX2840" fmla="*/ 1161874 w 2077606"/>
              <a:gd name="connsiteY2840" fmla="*/ 490637 h 1786074"/>
              <a:gd name="connsiteX2841" fmla="*/ 1165877 w 2077606"/>
              <a:gd name="connsiteY2841" fmla="*/ 490637 h 1786074"/>
              <a:gd name="connsiteX2842" fmla="*/ 1173884 w 2077606"/>
              <a:gd name="connsiteY2842" fmla="*/ 488628 h 1786074"/>
              <a:gd name="connsiteX2843" fmla="*/ 1185894 w 2077606"/>
              <a:gd name="connsiteY2843" fmla="*/ 484609 h 1786074"/>
              <a:gd name="connsiteX2844" fmla="*/ 1195902 w 2077606"/>
              <a:gd name="connsiteY2844" fmla="*/ 490637 h 1786074"/>
              <a:gd name="connsiteX2845" fmla="*/ 1187895 w 2077606"/>
              <a:gd name="connsiteY2845" fmla="*/ 494655 h 1786074"/>
              <a:gd name="connsiteX2846" fmla="*/ 1185894 w 2077606"/>
              <a:gd name="connsiteY2846" fmla="*/ 496664 h 1786074"/>
              <a:gd name="connsiteX2847" fmla="*/ 1181890 w 2077606"/>
              <a:gd name="connsiteY2847" fmla="*/ 498673 h 1786074"/>
              <a:gd name="connsiteX2848" fmla="*/ 1177887 w 2077606"/>
              <a:gd name="connsiteY2848" fmla="*/ 500683 h 1786074"/>
              <a:gd name="connsiteX2849" fmla="*/ 1181890 w 2077606"/>
              <a:gd name="connsiteY2849" fmla="*/ 500683 h 1786074"/>
              <a:gd name="connsiteX2850" fmla="*/ 1187895 w 2077606"/>
              <a:gd name="connsiteY2850" fmla="*/ 502692 h 1786074"/>
              <a:gd name="connsiteX2851" fmla="*/ 1177887 w 2077606"/>
              <a:gd name="connsiteY2851" fmla="*/ 508719 h 1786074"/>
              <a:gd name="connsiteX2852" fmla="*/ 1173884 w 2077606"/>
              <a:gd name="connsiteY2852" fmla="*/ 512738 h 1786074"/>
              <a:gd name="connsiteX2853" fmla="*/ 1165877 w 2077606"/>
              <a:gd name="connsiteY2853" fmla="*/ 518765 h 1786074"/>
              <a:gd name="connsiteX2854" fmla="*/ 1155869 w 2077606"/>
              <a:gd name="connsiteY2854" fmla="*/ 526802 h 1786074"/>
              <a:gd name="connsiteX2855" fmla="*/ 1161874 w 2077606"/>
              <a:gd name="connsiteY2855" fmla="*/ 526802 h 1786074"/>
              <a:gd name="connsiteX2856" fmla="*/ 1169881 w 2077606"/>
              <a:gd name="connsiteY2856" fmla="*/ 524793 h 1786074"/>
              <a:gd name="connsiteX2857" fmla="*/ 1175885 w 2077606"/>
              <a:gd name="connsiteY2857" fmla="*/ 520774 h 1786074"/>
              <a:gd name="connsiteX2858" fmla="*/ 1179889 w 2077606"/>
              <a:gd name="connsiteY2858" fmla="*/ 520774 h 1786074"/>
              <a:gd name="connsiteX2859" fmla="*/ 1177887 w 2077606"/>
              <a:gd name="connsiteY2859" fmla="*/ 526802 h 1786074"/>
              <a:gd name="connsiteX2860" fmla="*/ 1181890 w 2077606"/>
              <a:gd name="connsiteY2860" fmla="*/ 530820 h 1786074"/>
              <a:gd name="connsiteX2861" fmla="*/ 1181890 w 2077606"/>
              <a:gd name="connsiteY2861" fmla="*/ 534839 h 1786074"/>
              <a:gd name="connsiteX2862" fmla="*/ 1183892 w 2077606"/>
              <a:gd name="connsiteY2862" fmla="*/ 538857 h 1786074"/>
              <a:gd name="connsiteX2863" fmla="*/ 1181890 w 2077606"/>
              <a:gd name="connsiteY2863" fmla="*/ 542875 h 1786074"/>
              <a:gd name="connsiteX2864" fmla="*/ 1179889 w 2077606"/>
              <a:gd name="connsiteY2864" fmla="*/ 546894 h 1786074"/>
              <a:gd name="connsiteX2865" fmla="*/ 1187895 w 2077606"/>
              <a:gd name="connsiteY2865" fmla="*/ 544884 h 1786074"/>
              <a:gd name="connsiteX2866" fmla="*/ 1193900 w 2077606"/>
              <a:gd name="connsiteY2866" fmla="*/ 544884 h 1786074"/>
              <a:gd name="connsiteX2867" fmla="*/ 1195902 w 2077606"/>
              <a:gd name="connsiteY2867" fmla="*/ 548903 h 1786074"/>
              <a:gd name="connsiteX2868" fmla="*/ 1195902 w 2077606"/>
              <a:gd name="connsiteY2868" fmla="*/ 558949 h 1786074"/>
              <a:gd name="connsiteX2869" fmla="*/ 1189897 w 2077606"/>
              <a:gd name="connsiteY2869" fmla="*/ 560958 h 1786074"/>
              <a:gd name="connsiteX2870" fmla="*/ 1183892 w 2077606"/>
              <a:gd name="connsiteY2870" fmla="*/ 562967 h 1786074"/>
              <a:gd name="connsiteX2871" fmla="*/ 1181890 w 2077606"/>
              <a:gd name="connsiteY2871" fmla="*/ 564976 h 1786074"/>
              <a:gd name="connsiteX2872" fmla="*/ 1185894 w 2077606"/>
              <a:gd name="connsiteY2872" fmla="*/ 568994 h 1786074"/>
              <a:gd name="connsiteX2873" fmla="*/ 1183892 w 2077606"/>
              <a:gd name="connsiteY2873" fmla="*/ 573013 h 1786074"/>
              <a:gd name="connsiteX2874" fmla="*/ 1183892 w 2077606"/>
              <a:gd name="connsiteY2874" fmla="*/ 583059 h 1786074"/>
              <a:gd name="connsiteX2875" fmla="*/ 1179889 w 2077606"/>
              <a:gd name="connsiteY2875" fmla="*/ 585068 h 1786074"/>
              <a:gd name="connsiteX2876" fmla="*/ 1173884 w 2077606"/>
              <a:gd name="connsiteY2876" fmla="*/ 589086 h 1786074"/>
              <a:gd name="connsiteX2877" fmla="*/ 1167879 w 2077606"/>
              <a:gd name="connsiteY2877" fmla="*/ 593105 h 1786074"/>
              <a:gd name="connsiteX2878" fmla="*/ 1161874 w 2077606"/>
              <a:gd name="connsiteY2878" fmla="*/ 593105 h 1786074"/>
              <a:gd name="connsiteX2879" fmla="*/ 1153867 w 2077606"/>
              <a:gd name="connsiteY2879" fmla="*/ 593105 h 1786074"/>
              <a:gd name="connsiteX2880" fmla="*/ 1149864 w 2077606"/>
              <a:gd name="connsiteY2880" fmla="*/ 589086 h 1786074"/>
              <a:gd name="connsiteX2881" fmla="*/ 1149864 w 2077606"/>
              <a:gd name="connsiteY2881" fmla="*/ 585068 h 1786074"/>
              <a:gd name="connsiteX2882" fmla="*/ 1145861 w 2077606"/>
              <a:gd name="connsiteY2882" fmla="*/ 593105 h 1786074"/>
              <a:gd name="connsiteX2883" fmla="*/ 1149864 w 2077606"/>
              <a:gd name="connsiteY2883" fmla="*/ 599132 h 1786074"/>
              <a:gd name="connsiteX2884" fmla="*/ 1145861 w 2077606"/>
              <a:gd name="connsiteY2884" fmla="*/ 601141 h 1786074"/>
              <a:gd name="connsiteX2885" fmla="*/ 1139856 w 2077606"/>
              <a:gd name="connsiteY2885" fmla="*/ 607169 h 1786074"/>
              <a:gd name="connsiteX2886" fmla="*/ 1131849 w 2077606"/>
              <a:gd name="connsiteY2886" fmla="*/ 609178 h 1786074"/>
              <a:gd name="connsiteX2887" fmla="*/ 1127846 w 2077606"/>
              <a:gd name="connsiteY2887" fmla="*/ 603150 h 1786074"/>
              <a:gd name="connsiteX2888" fmla="*/ 1123843 w 2077606"/>
              <a:gd name="connsiteY2888" fmla="*/ 605160 h 1786074"/>
              <a:gd name="connsiteX2889" fmla="*/ 1119840 w 2077606"/>
              <a:gd name="connsiteY2889" fmla="*/ 603150 h 1786074"/>
              <a:gd name="connsiteX2890" fmla="*/ 1121841 w 2077606"/>
              <a:gd name="connsiteY2890" fmla="*/ 595114 h 1786074"/>
              <a:gd name="connsiteX2891" fmla="*/ 1119840 w 2077606"/>
              <a:gd name="connsiteY2891" fmla="*/ 593105 h 1786074"/>
              <a:gd name="connsiteX2892" fmla="*/ 1115836 w 2077606"/>
              <a:gd name="connsiteY2892" fmla="*/ 591095 h 1786074"/>
              <a:gd name="connsiteX2893" fmla="*/ 1111833 w 2077606"/>
              <a:gd name="connsiteY2893" fmla="*/ 587077 h 1786074"/>
              <a:gd name="connsiteX2894" fmla="*/ 1105828 w 2077606"/>
              <a:gd name="connsiteY2894" fmla="*/ 583059 h 1786074"/>
              <a:gd name="connsiteX2895" fmla="*/ 1101825 w 2077606"/>
              <a:gd name="connsiteY2895" fmla="*/ 575022 h 1786074"/>
              <a:gd name="connsiteX2896" fmla="*/ 1095820 w 2077606"/>
              <a:gd name="connsiteY2896" fmla="*/ 573013 h 1786074"/>
              <a:gd name="connsiteX2897" fmla="*/ 1095820 w 2077606"/>
              <a:gd name="connsiteY2897" fmla="*/ 568994 h 1786074"/>
              <a:gd name="connsiteX2898" fmla="*/ 1093818 w 2077606"/>
              <a:gd name="connsiteY2898" fmla="*/ 566985 h 1786074"/>
              <a:gd name="connsiteX2899" fmla="*/ 1089815 w 2077606"/>
              <a:gd name="connsiteY2899" fmla="*/ 564976 h 1786074"/>
              <a:gd name="connsiteX2900" fmla="*/ 1085812 w 2077606"/>
              <a:gd name="connsiteY2900" fmla="*/ 568994 h 1786074"/>
              <a:gd name="connsiteX2901" fmla="*/ 1081809 w 2077606"/>
              <a:gd name="connsiteY2901" fmla="*/ 568994 h 1786074"/>
              <a:gd name="connsiteX2902" fmla="*/ 1079807 w 2077606"/>
              <a:gd name="connsiteY2902" fmla="*/ 566985 h 1786074"/>
              <a:gd name="connsiteX2903" fmla="*/ 1077805 w 2077606"/>
              <a:gd name="connsiteY2903" fmla="*/ 564976 h 1786074"/>
              <a:gd name="connsiteX2904" fmla="*/ 1075804 w 2077606"/>
              <a:gd name="connsiteY2904" fmla="*/ 560958 h 1786074"/>
              <a:gd name="connsiteX2905" fmla="*/ 1073802 w 2077606"/>
              <a:gd name="connsiteY2905" fmla="*/ 556939 h 1786074"/>
              <a:gd name="connsiteX2906" fmla="*/ 1063794 w 2077606"/>
              <a:gd name="connsiteY2906" fmla="*/ 550912 h 1786074"/>
              <a:gd name="connsiteX2907" fmla="*/ 1063794 w 2077606"/>
              <a:gd name="connsiteY2907" fmla="*/ 538857 h 1786074"/>
              <a:gd name="connsiteX2908" fmla="*/ 1067797 w 2077606"/>
              <a:gd name="connsiteY2908" fmla="*/ 530820 h 1786074"/>
              <a:gd name="connsiteX2909" fmla="*/ 1075804 w 2077606"/>
              <a:gd name="connsiteY2909" fmla="*/ 524793 h 1786074"/>
              <a:gd name="connsiteX2910" fmla="*/ 1081809 w 2077606"/>
              <a:gd name="connsiteY2910" fmla="*/ 528811 h 1786074"/>
              <a:gd name="connsiteX2911" fmla="*/ 1085812 w 2077606"/>
              <a:gd name="connsiteY2911" fmla="*/ 532829 h 1786074"/>
              <a:gd name="connsiteX2912" fmla="*/ 1089815 w 2077606"/>
              <a:gd name="connsiteY2912" fmla="*/ 538857 h 1786074"/>
              <a:gd name="connsiteX2913" fmla="*/ 1091817 w 2077606"/>
              <a:gd name="connsiteY2913" fmla="*/ 542875 h 1786074"/>
              <a:gd name="connsiteX2914" fmla="*/ 1095820 w 2077606"/>
              <a:gd name="connsiteY2914" fmla="*/ 544884 h 1786074"/>
              <a:gd name="connsiteX2915" fmla="*/ 1105828 w 2077606"/>
              <a:gd name="connsiteY2915" fmla="*/ 544884 h 1786074"/>
              <a:gd name="connsiteX2916" fmla="*/ 1109831 w 2077606"/>
              <a:gd name="connsiteY2916" fmla="*/ 540866 h 1786074"/>
              <a:gd name="connsiteX2917" fmla="*/ 1113835 w 2077606"/>
              <a:gd name="connsiteY2917" fmla="*/ 536848 h 1786074"/>
              <a:gd name="connsiteX2918" fmla="*/ 1113835 w 2077606"/>
              <a:gd name="connsiteY2918" fmla="*/ 530820 h 1786074"/>
              <a:gd name="connsiteX2919" fmla="*/ 1119840 w 2077606"/>
              <a:gd name="connsiteY2919" fmla="*/ 530820 h 1786074"/>
              <a:gd name="connsiteX2920" fmla="*/ 1117838 w 2077606"/>
              <a:gd name="connsiteY2920" fmla="*/ 524793 h 1786074"/>
              <a:gd name="connsiteX2921" fmla="*/ 1111833 w 2077606"/>
              <a:gd name="connsiteY2921" fmla="*/ 522784 h 1786074"/>
              <a:gd name="connsiteX2922" fmla="*/ 1115836 w 2077606"/>
              <a:gd name="connsiteY2922" fmla="*/ 516756 h 1786074"/>
              <a:gd name="connsiteX2923" fmla="*/ 1119840 w 2077606"/>
              <a:gd name="connsiteY2923" fmla="*/ 516756 h 1786074"/>
              <a:gd name="connsiteX2924" fmla="*/ 1125845 w 2077606"/>
              <a:gd name="connsiteY2924" fmla="*/ 514747 h 1786074"/>
              <a:gd name="connsiteX2925" fmla="*/ 1119840 w 2077606"/>
              <a:gd name="connsiteY2925" fmla="*/ 510728 h 1786074"/>
              <a:gd name="connsiteX2926" fmla="*/ 1113835 w 2077606"/>
              <a:gd name="connsiteY2926" fmla="*/ 514747 h 1786074"/>
              <a:gd name="connsiteX2927" fmla="*/ 1105828 w 2077606"/>
              <a:gd name="connsiteY2927" fmla="*/ 516756 h 1786074"/>
              <a:gd name="connsiteX2928" fmla="*/ 1101825 w 2077606"/>
              <a:gd name="connsiteY2928" fmla="*/ 510728 h 1786074"/>
              <a:gd name="connsiteX2929" fmla="*/ 1095820 w 2077606"/>
              <a:gd name="connsiteY2929" fmla="*/ 504701 h 1786074"/>
              <a:gd name="connsiteX2930" fmla="*/ 1095820 w 2077606"/>
              <a:gd name="connsiteY2930" fmla="*/ 498673 h 1786074"/>
              <a:gd name="connsiteX2931" fmla="*/ 1103827 w 2077606"/>
              <a:gd name="connsiteY2931" fmla="*/ 498673 h 1786074"/>
              <a:gd name="connsiteX2932" fmla="*/ 1107830 w 2077606"/>
              <a:gd name="connsiteY2932" fmla="*/ 500683 h 1786074"/>
              <a:gd name="connsiteX2933" fmla="*/ 1111833 w 2077606"/>
              <a:gd name="connsiteY2933" fmla="*/ 502692 h 1786074"/>
              <a:gd name="connsiteX2934" fmla="*/ 1115836 w 2077606"/>
              <a:gd name="connsiteY2934" fmla="*/ 502692 h 1786074"/>
              <a:gd name="connsiteX2935" fmla="*/ 1117838 w 2077606"/>
              <a:gd name="connsiteY2935" fmla="*/ 500683 h 1786074"/>
              <a:gd name="connsiteX2936" fmla="*/ 1117838 w 2077606"/>
              <a:gd name="connsiteY2936" fmla="*/ 496664 h 1786074"/>
              <a:gd name="connsiteX2937" fmla="*/ 1113835 w 2077606"/>
              <a:gd name="connsiteY2937" fmla="*/ 498673 h 1786074"/>
              <a:gd name="connsiteX2938" fmla="*/ 1111833 w 2077606"/>
              <a:gd name="connsiteY2938" fmla="*/ 500683 h 1786074"/>
              <a:gd name="connsiteX2939" fmla="*/ 1107830 w 2077606"/>
              <a:gd name="connsiteY2939" fmla="*/ 498673 h 1786074"/>
              <a:gd name="connsiteX2940" fmla="*/ 1105828 w 2077606"/>
              <a:gd name="connsiteY2940" fmla="*/ 492646 h 1786074"/>
              <a:gd name="connsiteX2941" fmla="*/ 1111833 w 2077606"/>
              <a:gd name="connsiteY2941" fmla="*/ 490637 h 1786074"/>
              <a:gd name="connsiteX2942" fmla="*/ 1117838 w 2077606"/>
              <a:gd name="connsiteY2942" fmla="*/ 488628 h 1786074"/>
              <a:gd name="connsiteX2943" fmla="*/ 1119840 w 2077606"/>
              <a:gd name="connsiteY2943" fmla="*/ 490637 h 1786074"/>
              <a:gd name="connsiteX2944" fmla="*/ 1123843 w 2077606"/>
              <a:gd name="connsiteY2944" fmla="*/ 492646 h 1786074"/>
              <a:gd name="connsiteX2945" fmla="*/ 1127846 w 2077606"/>
              <a:gd name="connsiteY2945" fmla="*/ 490637 h 1786074"/>
              <a:gd name="connsiteX2946" fmla="*/ 1125845 w 2077606"/>
              <a:gd name="connsiteY2946" fmla="*/ 486618 h 1786074"/>
              <a:gd name="connsiteX2947" fmla="*/ 1129598 w 2077606"/>
              <a:gd name="connsiteY2947" fmla="*/ 484358 h 1786074"/>
              <a:gd name="connsiteX2948" fmla="*/ 1175211 w 2077606"/>
              <a:gd name="connsiteY2948" fmla="*/ 473393 h 1786074"/>
              <a:gd name="connsiteX2949" fmla="*/ 1179268 w 2077606"/>
              <a:gd name="connsiteY2949" fmla="*/ 475298 h 1786074"/>
              <a:gd name="connsiteX2950" fmla="*/ 1175211 w 2077606"/>
              <a:gd name="connsiteY2950" fmla="*/ 481013 h 1786074"/>
              <a:gd name="connsiteX2951" fmla="*/ 1173183 w 2077606"/>
              <a:gd name="connsiteY2951" fmla="*/ 484823 h 1786074"/>
              <a:gd name="connsiteX2952" fmla="*/ 1169126 w 2077606"/>
              <a:gd name="connsiteY2952" fmla="*/ 484823 h 1786074"/>
              <a:gd name="connsiteX2953" fmla="*/ 1165069 w 2077606"/>
              <a:gd name="connsiteY2953" fmla="*/ 486728 h 1786074"/>
              <a:gd name="connsiteX2954" fmla="*/ 1161012 w 2077606"/>
              <a:gd name="connsiteY2954" fmla="*/ 486728 h 1786074"/>
              <a:gd name="connsiteX2955" fmla="*/ 1156955 w 2077606"/>
              <a:gd name="connsiteY2955" fmla="*/ 484823 h 1786074"/>
              <a:gd name="connsiteX2956" fmla="*/ 1150869 w 2077606"/>
              <a:gd name="connsiteY2956" fmla="*/ 488633 h 1786074"/>
              <a:gd name="connsiteX2957" fmla="*/ 1142755 w 2077606"/>
              <a:gd name="connsiteY2957" fmla="*/ 488633 h 1786074"/>
              <a:gd name="connsiteX2958" fmla="*/ 1146812 w 2077606"/>
              <a:gd name="connsiteY2958" fmla="*/ 484823 h 1786074"/>
              <a:gd name="connsiteX2959" fmla="*/ 1150869 w 2077606"/>
              <a:gd name="connsiteY2959" fmla="*/ 481013 h 1786074"/>
              <a:gd name="connsiteX2960" fmla="*/ 1158983 w 2077606"/>
              <a:gd name="connsiteY2960" fmla="*/ 479108 h 1786074"/>
              <a:gd name="connsiteX2961" fmla="*/ 1165069 w 2077606"/>
              <a:gd name="connsiteY2961" fmla="*/ 477203 h 1786074"/>
              <a:gd name="connsiteX2962" fmla="*/ 1169126 w 2077606"/>
              <a:gd name="connsiteY2962" fmla="*/ 475298 h 1786074"/>
              <a:gd name="connsiteX2963" fmla="*/ 1175211 w 2077606"/>
              <a:gd name="connsiteY2963" fmla="*/ 473393 h 1786074"/>
              <a:gd name="connsiteX2964" fmla="*/ 1266984 w 2077606"/>
              <a:gd name="connsiteY2964" fmla="*/ 471488 h 1786074"/>
              <a:gd name="connsiteX2965" fmla="*/ 1268979 w 2077606"/>
              <a:gd name="connsiteY2965" fmla="*/ 475476 h 1786074"/>
              <a:gd name="connsiteX2966" fmla="*/ 1276959 w 2077606"/>
              <a:gd name="connsiteY2966" fmla="*/ 475476 h 1786074"/>
              <a:gd name="connsiteX2967" fmla="*/ 1278954 w 2077606"/>
              <a:gd name="connsiteY2967" fmla="*/ 471488 h 1786074"/>
              <a:gd name="connsiteX2968" fmla="*/ 1288929 w 2077606"/>
              <a:gd name="connsiteY2968" fmla="*/ 471488 h 1786074"/>
              <a:gd name="connsiteX2969" fmla="*/ 1300899 w 2077606"/>
              <a:gd name="connsiteY2969" fmla="*/ 473482 h 1786074"/>
              <a:gd name="connsiteX2970" fmla="*/ 1304889 w 2077606"/>
              <a:gd name="connsiteY2970" fmla="*/ 479464 h 1786074"/>
              <a:gd name="connsiteX2971" fmla="*/ 1310874 w 2077606"/>
              <a:gd name="connsiteY2971" fmla="*/ 477470 h 1786074"/>
              <a:gd name="connsiteX2972" fmla="*/ 1312869 w 2077606"/>
              <a:gd name="connsiteY2972" fmla="*/ 473482 h 1786074"/>
              <a:gd name="connsiteX2973" fmla="*/ 1316859 w 2077606"/>
              <a:gd name="connsiteY2973" fmla="*/ 475476 h 1786074"/>
              <a:gd name="connsiteX2974" fmla="*/ 1324839 w 2077606"/>
              <a:gd name="connsiteY2974" fmla="*/ 475476 h 1786074"/>
              <a:gd name="connsiteX2975" fmla="*/ 1334814 w 2077606"/>
              <a:gd name="connsiteY2975" fmla="*/ 475476 h 1786074"/>
              <a:gd name="connsiteX2976" fmla="*/ 1338804 w 2077606"/>
              <a:gd name="connsiteY2976" fmla="*/ 479464 h 1786074"/>
              <a:gd name="connsiteX2977" fmla="*/ 1352769 w 2077606"/>
              <a:gd name="connsiteY2977" fmla="*/ 481458 h 1786074"/>
              <a:gd name="connsiteX2978" fmla="*/ 1344789 w 2077606"/>
              <a:gd name="connsiteY2978" fmla="*/ 489434 h 1786074"/>
              <a:gd name="connsiteX2979" fmla="*/ 1340799 w 2077606"/>
              <a:gd name="connsiteY2979" fmla="*/ 493422 h 1786074"/>
              <a:gd name="connsiteX2980" fmla="*/ 1338804 w 2077606"/>
              <a:gd name="connsiteY2980" fmla="*/ 497410 h 1786074"/>
              <a:gd name="connsiteX2981" fmla="*/ 1334814 w 2077606"/>
              <a:gd name="connsiteY2981" fmla="*/ 497410 h 1786074"/>
              <a:gd name="connsiteX2982" fmla="*/ 1318854 w 2077606"/>
              <a:gd name="connsiteY2982" fmla="*/ 517350 h 1786074"/>
              <a:gd name="connsiteX2983" fmla="*/ 1306884 w 2077606"/>
              <a:gd name="connsiteY2983" fmla="*/ 525326 h 1786074"/>
              <a:gd name="connsiteX2984" fmla="*/ 1294914 w 2077606"/>
              <a:gd name="connsiteY2984" fmla="*/ 535296 h 1786074"/>
              <a:gd name="connsiteX2985" fmla="*/ 1284939 w 2077606"/>
              <a:gd name="connsiteY2985" fmla="*/ 535296 h 1786074"/>
              <a:gd name="connsiteX2986" fmla="*/ 1278954 w 2077606"/>
              <a:gd name="connsiteY2986" fmla="*/ 537290 h 1786074"/>
              <a:gd name="connsiteX2987" fmla="*/ 1270974 w 2077606"/>
              <a:gd name="connsiteY2987" fmla="*/ 533302 h 1786074"/>
              <a:gd name="connsiteX2988" fmla="*/ 1264989 w 2077606"/>
              <a:gd name="connsiteY2988" fmla="*/ 535296 h 1786074"/>
              <a:gd name="connsiteX2989" fmla="*/ 1253019 w 2077606"/>
              <a:gd name="connsiteY2989" fmla="*/ 533302 h 1786074"/>
              <a:gd name="connsiteX2990" fmla="*/ 1249029 w 2077606"/>
              <a:gd name="connsiteY2990" fmla="*/ 533302 h 1786074"/>
              <a:gd name="connsiteX2991" fmla="*/ 1251024 w 2077606"/>
              <a:gd name="connsiteY2991" fmla="*/ 539284 h 1786074"/>
              <a:gd name="connsiteX2992" fmla="*/ 1259004 w 2077606"/>
              <a:gd name="connsiteY2992" fmla="*/ 539284 h 1786074"/>
              <a:gd name="connsiteX2993" fmla="*/ 1259004 w 2077606"/>
              <a:gd name="connsiteY2993" fmla="*/ 545266 h 1786074"/>
              <a:gd name="connsiteX2994" fmla="*/ 1259004 w 2077606"/>
              <a:gd name="connsiteY2994" fmla="*/ 551248 h 1786074"/>
              <a:gd name="connsiteX2995" fmla="*/ 1251024 w 2077606"/>
              <a:gd name="connsiteY2995" fmla="*/ 557230 h 1786074"/>
              <a:gd name="connsiteX2996" fmla="*/ 1243044 w 2077606"/>
              <a:gd name="connsiteY2996" fmla="*/ 565206 h 1786074"/>
              <a:gd name="connsiteX2997" fmla="*/ 1241049 w 2077606"/>
              <a:gd name="connsiteY2997" fmla="*/ 575176 h 1786074"/>
              <a:gd name="connsiteX2998" fmla="*/ 1235064 w 2077606"/>
              <a:gd name="connsiteY2998" fmla="*/ 577170 h 1786074"/>
              <a:gd name="connsiteX2999" fmla="*/ 1229079 w 2077606"/>
              <a:gd name="connsiteY2999" fmla="*/ 575176 h 1786074"/>
              <a:gd name="connsiteX3000" fmla="*/ 1225089 w 2077606"/>
              <a:gd name="connsiteY3000" fmla="*/ 577170 h 1786074"/>
              <a:gd name="connsiteX3001" fmla="*/ 1233069 w 2077606"/>
              <a:gd name="connsiteY3001" fmla="*/ 581158 h 1786074"/>
              <a:gd name="connsiteX3002" fmla="*/ 1235064 w 2077606"/>
              <a:gd name="connsiteY3002" fmla="*/ 585146 h 1786074"/>
              <a:gd name="connsiteX3003" fmla="*/ 1239054 w 2077606"/>
              <a:gd name="connsiteY3003" fmla="*/ 585146 h 1786074"/>
              <a:gd name="connsiteX3004" fmla="*/ 1245039 w 2077606"/>
              <a:gd name="connsiteY3004" fmla="*/ 585146 h 1786074"/>
              <a:gd name="connsiteX3005" fmla="*/ 1249029 w 2077606"/>
              <a:gd name="connsiteY3005" fmla="*/ 591128 h 1786074"/>
              <a:gd name="connsiteX3006" fmla="*/ 1262994 w 2077606"/>
              <a:gd name="connsiteY3006" fmla="*/ 601098 h 1786074"/>
              <a:gd name="connsiteX3007" fmla="*/ 1262994 w 2077606"/>
              <a:gd name="connsiteY3007" fmla="*/ 607080 h 1786074"/>
              <a:gd name="connsiteX3008" fmla="*/ 1260999 w 2077606"/>
              <a:gd name="connsiteY3008" fmla="*/ 611068 h 1786074"/>
              <a:gd name="connsiteX3009" fmla="*/ 1262994 w 2077606"/>
              <a:gd name="connsiteY3009" fmla="*/ 617050 h 1786074"/>
              <a:gd name="connsiteX3010" fmla="*/ 1259004 w 2077606"/>
              <a:gd name="connsiteY3010" fmla="*/ 623032 h 1786074"/>
              <a:gd name="connsiteX3011" fmla="*/ 1255014 w 2077606"/>
              <a:gd name="connsiteY3011" fmla="*/ 629014 h 1786074"/>
              <a:gd name="connsiteX3012" fmla="*/ 1253019 w 2077606"/>
              <a:gd name="connsiteY3012" fmla="*/ 631008 h 1786074"/>
              <a:gd name="connsiteX3013" fmla="*/ 1259004 w 2077606"/>
              <a:gd name="connsiteY3013" fmla="*/ 631008 h 1786074"/>
              <a:gd name="connsiteX3014" fmla="*/ 1262994 w 2077606"/>
              <a:gd name="connsiteY3014" fmla="*/ 633002 h 1786074"/>
              <a:gd name="connsiteX3015" fmla="*/ 1262994 w 2077606"/>
              <a:gd name="connsiteY3015" fmla="*/ 638984 h 1786074"/>
              <a:gd name="connsiteX3016" fmla="*/ 1270974 w 2077606"/>
              <a:gd name="connsiteY3016" fmla="*/ 640978 h 1786074"/>
              <a:gd name="connsiteX3017" fmla="*/ 1268979 w 2077606"/>
              <a:gd name="connsiteY3017" fmla="*/ 644966 h 1786074"/>
              <a:gd name="connsiteX3018" fmla="*/ 1268979 w 2077606"/>
              <a:gd name="connsiteY3018" fmla="*/ 646960 h 1786074"/>
              <a:gd name="connsiteX3019" fmla="*/ 1270974 w 2077606"/>
              <a:gd name="connsiteY3019" fmla="*/ 650948 h 1786074"/>
              <a:gd name="connsiteX3020" fmla="*/ 1272969 w 2077606"/>
              <a:gd name="connsiteY3020" fmla="*/ 654936 h 1786074"/>
              <a:gd name="connsiteX3021" fmla="*/ 1276959 w 2077606"/>
              <a:gd name="connsiteY3021" fmla="*/ 652942 h 1786074"/>
              <a:gd name="connsiteX3022" fmla="*/ 1280949 w 2077606"/>
              <a:gd name="connsiteY3022" fmla="*/ 656930 h 1786074"/>
              <a:gd name="connsiteX3023" fmla="*/ 1278954 w 2077606"/>
              <a:gd name="connsiteY3023" fmla="*/ 660918 h 1786074"/>
              <a:gd name="connsiteX3024" fmla="*/ 1272969 w 2077606"/>
              <a:gd name="connsiteY3024" fmla="*/ 662912 h 1786074"/>
              <a:gd name="connsiteX3025" fmla="*/ 1268979 w 2077606"/>
              <a:gd name="connsiteY3025" fmla="*/ 660918 h 1786074"/>
              <a:gd name="connsiteX3026" fmla="*/ 1260999 w 2077606"/>
              <a:gd name="connsiteY3026" fmla="*/ 658924 h 1786074"/>
              <a:gd name="connsiteX3027" fmla="*/ 1257009 w 2077606"/>
              <a:gd name="connsiteY3027" fmla="*/ 660918 h 1786074"/>
              <a:gd name="connsiteX3028" fmla="*/ 1260999 w 2077606"/>
              <a:gd name="connsiteY3028" fmla="*/ 664906 h 1786074"/>
              <a:gd name="connsiteX3029" fmla="*/ 1264989 w 2077606"/>
              <a:gd name="connsiteY3029" fmla="*/ 664906 h 1786074"/>
              <a:gd name="connsiteX3030" fmla="*/ 1266984 w 2077606"/>
              <a:gd name="connsiteY3030" fmla="*/ 668894 h 1786074"/>
              <a:gd name="connsiteX3031" fmla="*/ 1259004 w 2077606"/>
              <a:gd name="connsiteY3031" fmla="*/ 674876 h 1786074"/>
              <a:gd name="connsiteX3032" fmla="*/ 1253019 w 2077606"/>
              <a:gd name="connsiteY3032" fmla="*/ 676870 h 1786074"/>
              <a:gd name="connsiteX3033" fmla="*/ 1251024 w 2077606"/>
              <a:gd name="connsiteY3033" fmla="*/ 678864 h 1786074"/>
              <a:gd name="connsiteX3034" fmla="*/ 1255014 w 2077606"/>
              <a:gd name="connsiteY3034" fmla="*/ 682852 h 1786074"/>
              <a:gd name="connsiteX3035" fmla="*/ 1262994 w 2077606"/>
              <a:gd name="connsiteY3035" fmla="*/ 682852 h 1786074"/>
              <a:gd name="connsiteX3036" fmla="*/ 1262994 w 2077606"/>
              <a:gd name="connsiteY3036" fmla="*/ 686840 h 1786074"/>
              <a:gd name="connsiteX3037" fmla="*/ 1266984 w 2077606"/>
              <a:gd name="connsiteY3037" fmla="*/ 692822 h 1786074"/>
              <a:gd name="connsiteX3038" fmla="*/ 1274964 w 2077606"/>
              <a:gd name="connsiteY3038" fmla="*/ 690828 h 1786074"/>
              <a:gd name="connsiteX3039" fmla="*/ 1274964 w 2077606"/>
              <a:gd name="connsiteY3039" fmla="*/ 686840 h 1786074"/>
              <a:gd name="connsiteX3040" fmla="*/ 1278954 w 2077606"/>
              <a:gd name="connsiteY3040" fmla="*/ 684846 h 1786074"/>
              <a:gd name="connsiteX3041" fmla="*/ 1282944 w 2077606"/>
              <a:gd name="connsiteY3041" fmla="*/ 682852 h 1786074"/>
              <a:gd name="connsiteX3042" fmla="*/ 1286934 w 2077606"/>
              <a:gd name="connsiteY3042" fmla="*/ 682852 h 1786074"/>
              <a:gd name="connsiteX3043" fmla="*/ 1290924 w 2077606"/>
              <a:gd name="connsiteY3043" fmla="*/ 682852 h 1786074"/>
              <a:gd name="connsiteX3044" fmla="*/ 1284939 w 2077606"/>
              <a:gd name="connsiteY3044" fmla="*/ 690828 h 1786074"/>
              <a:gd name="connsiteX3045" fmla="*/ 1282944 w 2077606"/>
              <a:gd name="connsiteY3045" fmla="*/ 698804 h 1786074"/>
              <a:gd name="connsiteX3046" fmla="*/ 1288929 w 2077606"/>
              <a:gd name="connsiteY3046" fmla="*/ 704786 h 1786074"/>
              <a:gd name="connsiteX3047" fmla="*/ 1290924 w 2077606"/>
              <a:gd name="connsiteY3047" fmla="*/ 716750 h 1786074"/>
              <a:gd name="connsiteX3048" fmla="*/ 1290924 w 2077606"/>
              <a:gd name="connsiteY3048" fmla="*/ 726719 h 1786074"/>
              <a:gd name="connsiteX3049" fmla="*/ 1288929 w 2077606"/>
              <a:gd name="connsiteY3049" fmla="*/ 736689 h 1786074"/>
              <a:gd name="connsiteX3050" fmla="*/ 1290924 w 2077606"/>
              <a:gd name="connsiteY3050" fmla="*/ 744665 h 1786074"/>
              <a:gd name="connsiteX3051" fmla="*/ 1294914 w 2077606"/>
              <a:gd name="connsiteY3051" fmla="*/ 748653 h 1786074"/>
              <a:gd name="connsiteX3052" fmla="*/ 1300899 w 2077606"/>
              <a:gd name="connsiteY3052" fmla="*/ 744665 h 1786074"/>
              <a:gd name="connsiteX3053" fmla="*/ 1304889 w 2077606"/>
              <a:gd name="connsiteY3053" fmla="*/ 736689 h 1786074"/>
              <a:gd name="connsiteX3054" fmla="*/ 1310874 w 2077606"/>
              <a:gd name="connsiteY3054" fmla="*/ 726719 h 1786074"/>
              <a:gd name="connsiteX3055" fmla="*/ 1310874 w 2077606"/>
              <a:gd name="connsiteY3055" fmla="*/ 714756 h 1786074"/>
              <a:gd name="connsiteX3056" fmla="*/ 1316859 w 2077606"/>
              <a:gd name="connsiteY3056" fmla="*/ 708774 h 1786074"/>
              <a:gd name="connsiteX3057" fmla="*/ 1322844 w 2077606"/>
              <a:gd name="connsiteY3057" fmla="*/ 704786 h 1786074"/>
              <a:gd name="connsiteX3058" fmla="*/ 1332819 w 2077606"/>
              <a:gd name="connsiteY3058" fmla="*/ 696810 h 1786074"/>
              <a:gd name="connsiteX3059" fmla="*/ 1336809 w 2077606"/>
              <a:gd name="connsiteY3059" fmla="*/ 702792 h 1786074"/>
              <a:gd name="connsiteX3060" fmla="*/ 1340799 w 2077606"/>
              <a:gd name="connsiteY3060" fmla="*/ 712762 h 1786074"/>
              <a:gd name="connsiteX3061" fmla="*/ 1350774 w 2077606"/>
              <a:gd name="connsiteY3061" fmla="*/ 726719 h 1786074"/>
              <a:gd name="connsiteX3062" fmla="*/ 1348779 w 2077606"/>
              <a:gd name="connsiteY3062" fmla="*/ 744665 h 1786074"/>
              <a:gd name="connsiteX3063" fmla="*/ 1344789 w 2077606"/>
              <a:gd name="connsiteY3063" fmla="*/ 750647 h 1786074"/>
              <a:gd name="connsiteX3064" fmla="*/ 1340799 w 2077606"/>
              <a:gd name="connsiteY3064" fmla="*/ 746659 h 1786074"/>
              <a:gd name="connsiteX3065" fmla="*/ 1338804 w 2077606"/>
              <a:gd name="connsiteY3065" fmla="*/ 750647 h 1786074"/>
              <a:gd name="connsiteX3066" fmla="*/ 1338804 w 2077606"/>
              <a:gd name="connsiteY3066" fmla="*/ 762611 h 1786074"/>
              <a:gd name="connsiteX3067" fmla="*/ 1340799 w 2077606"/>
              <a:gd name="connsiteY3067" fmla="*/ 774575 h 1786074"/>
              <a:gd name="connsiteX3068" fmla="*/ 1342794 w 2077606"/>
              <a:gd name="connsiteY3068" fmla="*/ 782551 h 1786074"/>
              <a:gd name="connsiteX3069" fmla="*/ 1344789 w 2077606"/>
              <a:gd name="connsiteY3069" fmla="*/ 786539 h 1786074"/>
              <a:gd name="connsiteX3070" fmla="*/ 1344789 w 2077606"/>
              <a:gd name="connsiteY3070" fmla="*/ 792521 h 1786074"/>
              <a:gd name="connsiteX3071" fmla="*/ 1348779 w 2077606"/>
              <a:gd name="connsiteY3071" fmla="*/ 792521 h 1786074"/>
              <a:gd name="connsiteX3072" fmla="*/ 1352769 w 2077606"/>
              <a:gd name="connsiteY3072" fmla="*/ 802491 h 1786074"/>
              <a:gd name="connsiteX3073" fmla="*/ 1362744 w 2077606"/>
              <a:gd name="connsiteY3073" fmla="*/ 792521 h 1786074"/>
              <a:gd name="connsiteX3074" fmla="*/ 1366734 w 2077606"/>
              <a:gd name="connsiteY3074" fmla="*/ 788533 h 1786074"/>
              <a:gd name="connsiteX3075" fmla="*/ 1370724 w 2077606"/>
              <a:gd name="connsiteY3075" fmla="*/ 788533 h 1786074"/>
              <a:gd name="connsiteX3076" fmla="*/ 1374714 w 2077606"/>
              <a:gd name="connsiteY3076" fmla="*/ 784545 h 1786074"/>
              <a:gd name="connsiteX3077" fmla="*/ 1378704 w 2077606"/>
              <a:gd name="connsiteY3077" fmla="*/ 782551 h 1786074"/>
              <a:gd name="connsiteX3078" fmla="*/ 1378704 w 2077606"/>
              <a:gd name="connsiteY3078" fmla="*/ 774575 h 1786074"/>
              <a:gd name="connsiteX3079" fmla="*/ 1384689 w 2077606"/>
              <a:gd name="connsiteY3079" fmla="*/ 762611 h 1786074"/>
              <a:gd name="connsiteX3080" fmla="*/ 1390674 w 2077606"/>
              <a:gd name="connsiteY3080" fmla="*/ 758623 h 1786074"/>
              <a:gd name="connsiteX3081" fmla="*/ 1390674 w 2077606"/>
              <a:gd name="connsiteY3081" fmla="*/ 750647 h 1786074"/>
              <a:gd name="connsiteX3082" fmla="*/ 1396659 w 2077606"/>
              <a:gd name="connsiteY3082" fmla="*/ 744665 h 1786074"/>
              <a:gd name="connsiteX3083" fmla="*/ 1400649 w 2077606"/>
              <a:gd name="connsiteY3083" fmla="*/ 736689 h 1786074"/>
              <a:gd name="connsiteX3084" fmla="*/ 1402644 w 2077606"/>
              <a:gd name="connsiteY3084" fmla="*/ 732701 h 1786074"/>
              <a:gd name="connsiteX3085" fmla="*/ 1404639 w 2077606"/>
              <a:gd name="connsiteY3085" fmla="*/ 724725 h 1786074"/>
              <a:gd name="connsiteX3086" fmla="*/ 1406634 w 2077606"/>
              <a:gd name="connsiteY3086" fmla="*/ 724725 h 1786074"/>
              <a:gd name="connsiteX3087" fmla="*/ 1410624 w 2077606"/>
              <a:gd name="connsiteY3087" fmla="*/ 728713 h 1786074"/>
              <a:gd name="connsiteX3088" fmla="*/ 1414614 w 2077606"/>
              <a:gd name="connsiteY3088" fmla="*/ 728713 h 1786074"/>
              <a:gd name="connsiteX3089" fmla="*/ 1418604 w 2077606"/>
              <a:gd name="connsiteY3089" fmla="*/ 718744 h 1786074"/>
              <a:gd name="connsiteX3090" fmla="*/ 1428579 w 2077606"/>
              <a:gd name="connsiteY3090" fmla="*/ 718744 h 1786074"/>
              <a:gd name="connsiteX3091" fmla="*/ 1426584 w 2077606"/>
              <a:gd name="connsiteY3091" fmla="*/ 714756 h 1786074"/>
              <a:gd name="connsiteX3092" fmla="*/ 1418604 w 2077606"/>
              <a:gd name="connsiteY3092" fmla="*/ 708774 h 1786074"/>
              <a:gd name="connsiteX3093" fmla="*/ 1414614 w 2077606"/>
              <a:gd name="connsiteY3093" fmla="*/ 706780 h 1786074"/>
              <a:gd name="connsiteX3094" fmla="*/ 1414614 w 2077606"/>
              <a:gd name="connsiteY3094" fmla="*/ 692822 h 1786074"/>
              <a:gd name="connsiteX3095" fmla="*/ 1416609 w 2077606"/>
              <a:gd name="connsiteY3095" fmla="*/ 686840 h 1786074"/>
              <a:gd name="connsiteX3096" fmla="*/ 1418604 w 2077606"/>
              <a:gd name="connsiteY3096" fmla="*/ 682852 h 1786074"/>
              <a:gd name="connsiteX3097" fmla="*/ 1426584 w 2077606"/>
              <a:gd name="connsiteY3097" fmla="*/ 682852 h 1786074"/>
              <a:gd name="connsiteX3098" fmla="*/ 1440549 w 2077606"/>
              <a:gd name="connsiteY3098" fmla="*/ 678864 h 1786074"/>
              <a:gd name="connsiteX3099" fmla="*/ 1450524 w 2077606"/>
              <a:gd name="connsiteY3099" fmla="*/ 680858 h 1786074"/>
              <a:gd name="connsiteX3100" fmla="*/ 1460499 w 2077606"/>
              <a:gd name="connsiteY3100" fmla="*/ 682852 h 1786074"/>
              <a:gd name="connsiteX3101" fmla="*/ 1468479 w 2077606"/>
              <a:gd name="connsiteY3101" fmla="*/ 682852 h 1786074"/>
              <a:gd name="connsiteX3102" fmla="*/ 1476459 w 2077606"/>
              <a:gd name="connsiteY3102" fmla="*/ 682852 h 1786074"/>
              <a:gd name="connsiteX3103" fmla="*/ 1482444 w 2077606"/>
              <a:gd name="connsiteY3103" fmla="*/ 694816 h 1786074"/>
              <a:gd name="connsiteX3104" fmla="*/ 1488428 w 2077606"/>
              <a:gd name="connsiteY3104" fmla="*/ 700798 h 1786074"/>
              <a:gd name="connsiteX3105" fmla="*/ 1492418 w 2077606"/>
              <a:gd name="connsiteY3105" fmla="*/ 704786 h 1786074"/>
              <a:gd name="connsiteX3106" fmla="*/ 1502393 w 2077606"/>
              <a:gd name="connsiteY3106" fmla="*/ 706780 h 1786074"/>
              <a:gd name="connsiteX3107" fmla="*/ 1506383 w 2077606"/>
              <a:gd name="connsiteY3107" fmla="*/ 712762 h 1786074"/>
              <a:gd name="connsiteX3108" fmla="*/ 1504388 w 2077606"/>
              <a:gd name="connsiteY3108" fmla="*/ 714756 h 1786074"/>
              <a:gd name="connsiteX3109" fmla="*/ 1498403 w 2077606"/>
              <a:gd name="connsiteY3109" fmla="*/ 716750 h 1786074"/>
              <a:gd name="connsiteX3110" fmla="*/ 1494413 w 2077606"/>
              <a:gd name="connsiteY3110" fmla="*/ 724725 h 1786074"/>
              <a:gd name="connsiteX3111" fmla="*/ 1502393 w 2077606"/>
              <a:gd name="connsiteY3111" fmla="*/ 726719 h 1786074"/>
              <a:gd name="connsiteX3112" fmla="*/ 1502393 w 2077606"/>
              <a:gd name="connsiteY3112" fmla="*/ 734695 h 1786074"/>
              <a:gd name="connsiteX3113" fmla="*/ 1494413 w 2077606"/>
              <a:gd name="connsiteY3113" fmla="*/ 740677 h 1786074"/>
              <a:gd name="connsiteX3114" fmla="*/ 1488428 w 2077606"/>
              <a:gd name="connsiteY3114" fmla="*/ 740677 h 1786074"/>
              <a:gd name="connsiteX3115" fmla="*/ 1484438 w 2077606"/>
              <a:gd name="connsiteY3115" fmla="*/ 746659 h 1786074"/>
              <a:gd name="connsiteX3116" fmla="*/ 1478454 w 2077606"/>
              <a:gd name="connsiteY3116" fmla="*/ 746659 h 1786074"/>
              <a:gd name="connsiteX3117" fmla="*/ 1476459 w 2077606"/>
              <a:gd name="connsiteY3117" fmla="*/ 742671 h 1786074"/>
              <a:gd name="connsiteX3118" fmla="*/ 1468479 w 2077606"/>
              <a:gd name="connsiteY3118" fmla="*/ 742671 h 1786074"/>
              <a:gd name="connsiteX3119" fmla="*/ 1466484 w 2077606"/>
              <a:gd name="connsiteY3119" fmla="*/ 746659 h 1786074"/>
              <a:gd name="connsiteX3120" fmla="*/ 1472469 w 2077606"/>
              <a:gd name="connsiteY3120" fmla="*/ 748653 h 1786074"/>
              <a:gd name="connsiteX3121" fmla="*/ 1474464 w 2077606"/>
              <a:gd name="connsiteY3121" fmla="*/ 754635 h 1786074"/>
              <a:gd name="connsiteX3122" fmla="*/ 1476459 w 2077606"/>
              <a:gd name="connsiteY3122" fmla="*/ 758623 h 1786074"/>
              <a:gd name="connsiteX3123" fmla="*/ 1478454 w 2077606"/>
              <a:gd name="connsiteY3123" fmla="*/ 758623 h 1786074"/>
              <a:gd name="connsiteX3124" fmla="*/ 1478454 w 2077606"/>
              <a:gd name="connsiteY3124" fmla="*/ 766599 h 1786074"/>
              <a:gd name="connsiteX3125" fmla="*/ 1478454 w 2077606"/>
              <a:gd name="connsiteY3125" fmla="*/ 768593 h 1786074"/>
              <a:gd name="connsiteX3126" fmla="*/ 1484438 w 2077606"/>
              <a:gd name="connsiteY3126" fmla="*/ 776569 h 1786074"/>
              <a:gd name="connsiteX3127" fmla="*/ 1488428 w 2077606"/>
              <a:gd name="connsiteY3127" fmla="*/ 790527 h 1786074"/>
              <a:gd name="connsiteX3128" fmla="*/ 1484438 w 2077606"/>
              <a:gd name="connsiteY3128" fmla="*/ 794515 h 1786074"/>
              <a:gd name="connsiteX3129" fmla="*/ 1482444 w 2077606"/>
              <a:gd name="connsiteY3129" fmla="*/ 802491 h 1786074"/>
              <a:gd name="connsiteX3130" fmla="*/ 1480449 w 2077606"/>
              <a:gd name="connsiteY3130" fmla="*/ 810467 h 1786074"/>
              <a:gd name="connsiteX3131" fmla="*/ 1470474 w 2077606"/>
              <a:gd name="connsiteY3131" fmla="*/ 810467 h 1786074"/>
              <a:gd name="connsiteX3132" fmla="*/ 1466484 w 2077606"/>
              <a:gd name="connsiteY3132" fmla="*/ 818443 h 1786074"/>
              <a:gd name="connsiteX3133" fmla="*/ 1458504 w 2077606"/>
              <a:gd name="connsiteY3133" fmla="*/ 818443 h 1786074"/>
              <a:gd name="connsiteX3134" fmla="*/ 1452519 w 2077606"/>
              <a:gd name="connsiteY3134" fmla="*/ 822431 h 1786074"/>
              <a:gd name="connsiteX3135" fmla="*/ 1444539 w 2077606"/>
              <a:gd name="connsiteY3135" fmla="*/ 826419 h 1786074"/>
              <a:gd name="connsiteX3136" fmla="*/ 1440549 w 2077606"/>
              <a:gd name="connsiteY3136" fmla="*/ 830407 h 1786074"/>
              <a:gd name="connsiteX3137" fmla="*/ 1434564 w 2077606"/>
              <a:gd name="connsiteY3137" fmla="*/ 834395 h 1786074"/>
              <a:gd name="connsiteX3138" fmla="*/ 1430574 w 2077606"/>
              <a:gd name="connsiteY3138" fmla="*/ 836389 h 1786074"/>
              <a:gd name="connsiteX3139" fmla="*/ 1426584 w 2077606"/>
              <a:gd name="connsiteY3139" fmla="*/ 834395 h 1786074"/>
              <a:gd name="connsiteX3140" fmla="*/ 1426584 w 2077606"/>
              <a:gd name="connsiteY3140" fmla="*/ 826419 h 1786074"/>
              <a:gd name="connsiteX3141" fmla="*/ 1422594 w 2077606"/>
              <a:gd name="connsiteY3141" fmla="*/ 822431 h 1786074"/>
              <a:gd name="connsiteX3142" fmla="*/ 1422594 w 2077606"/>
              <a:gd name="connsiteY3142" fmla="*/ 816449 h 1786074"/>
              <a:gd name="connsiteX3143" fmla="*/ 1418604 w 2077606"/>
              <a:gd name="connsiteY3143" fmla="*/ 816449 h 1786074"/>
              <a:gd name="connsiteX3144" fmla="*/ 1416609 w 2077606"/>
              <a:gd name="connsiteY3144" fmla="*/ 812461 h 1786074"/>
              <a:gd name="connsiteX3145" fmla="*/ 1414614 w 2077606"/>
              <a:gd name="connsiteY3145" fmla="*/ 808473 h 1786074"/>
              <a:gd name="connsiteX3146" fmla="*/ 1410624 w 2077606"/>
              <a:gd name="connsiteY3146" fmla="*/ 808473 h 1786074"/>
              <a:gd name="connsiteX3147" fmla="*/ 1406634 w 2077606"/>
              <a:gd name="connsiteY3147" fmla="*/ 808473 h 1786074"/>
              <a:gd name="connsiteX3148" fmla="*/ 1402644 w 2077606"/>
              <a:gd name="connsiteY3148" fmla="*/ 810467 h 1786074"/>
              <a:gd name="connsiteX3149" fmla="*/ 1396659 w 2077606"/>
              <a:gd name="connsiteY3149" fmla="*/ 816449 h 1786074"/>
              <a:gd name="connsiteX3150" fmla="*/ 1402644 w 2077606"/>
              <a:gd name="connsiteY3150" fmla="*/ 818443 h 1786074"/>
              <a:gd name="connsiteX3151" fmla="*/ 1406634 w 2077606"/>
              <a:gd name="connsiteY3151" fmla="*/ 814455 h 1786074"/>
              <a:gd name="connsiteX3152" fmla="*/ 1410624 w 2077606"/>
              <a:gd name="connsiteY3152" fmla="*/ 816449 h 1786074"/>
              <a:gd name="connsiteX3153" fmla="*/ 1416609 w 2077606"/>
              <a:gd name="connsiteY3153" fmla="*/ 826419 h 1786074"/>
              <a:gd name="connsiteX3154" fmla="*/ 1422594 w 2077606"/>
              <a:gd name="connsiteY3154" fmla="*/ 836389 h 1786074"/>
              <a:gd name="connsiteX3155" fmla="*/ 1422594 w 2077606"/>
              <a:gd name="connsiteY3155" fmla="*/ 842371 h 1786074"/>
              <a:gd name="connsiteX3156" fmla="*/ 1416609 w 2077606"/>
              <a:gd name="connsiteY3156" fmla="*/ 842371 h 1786074"/>
              <a:gd name="connsiteX3157" fmla="*/ 1412619 w 2077606"/>
              <a:gd name="connsiteY3157" fmla="*/ 840377 h 1786074"/>
              <a:gd name="connsiteX3158" fmla="*/ 1414614 w 2077606"/>
              <a:gd name="connsiteY3158" fmla="*/ 836389 h 1786074"/>
              <a:gd name="connsiteX3159" fmla="*/ 1408629 w 2077606"/>
              <a:gd name="connsiteY3159" fmla="*/ 836389 h 1786074"/>
              <a:gd name="connsiteX3160" fmla="*/ 1406634 w 2077606"/>
              <a:gd name="connsiteY3160" fmla="*/ 842371 h 1786074"/>
              <a:gd name="connsiteX3161" fmla="*/ 1396659 w 2077606"/>
              <a:gd name="connsiteY3161" fmla="*/ 840377 h 1786074"/>
              <a:gd name="connsiteX3162" fmla="*/ 1396659 w 2077606"/>
              <a:gd name="connsiteY3162" fmla="*/ 836389 h 1786074"/>
              <a:gd name="connsiteX3163" fmla="*/ 1388679 w 2077606"/>
              <a:gd name="connsiteY3163" fmla="*/ 836389 h 1786074"/>
              <a:gd name="connsiteX3164" fmla="*/ 1392669 w 2077606"/>
              <a:gd name="connsiteY3164" fmla="*/ 828413 h 1786074"/>
              <a:gd name="connsiteX3165" fmla="*/ 1388679 w 2077606"/>
              <a:gd name="connsiteY3165" fmla="*/ 824425 h 1786074"/>
              <a:gd name="connsiteX3166" fmla="*/ 1382694 w 2077606"/>
              <a:gd name="connsiteY3166" fmla="*/ 828413 h 1786074"/>
              <a:gd name="connsiteX3167" fmla="*/ 1372719 w 2077606"/>
              <a:gd name="connsiteY3167" fmla="*/ 826419 h 1786074"/>
              <a:gd name="connsiteX3168" fmla="*/ 1362744 w 2077606"/>
              <a:gd name="connsiteY3168" fmla="*/ 826419 h 1786074"/>
              <a:gd name="connsiteX3169" fmla="*/ 1358754 w 2077606"/>
              <a:gd name="connsiteY3169" fmla="*/ 828413 h 1786074"/>
              <a:gd name="connsiteX3170" fmla="*/ 1354764 w 2077606"/>
              <a:gd name="connsiteY3170" fmla="*/ 832401 h 1786074"/>
              <a:gd name="connsiteX3171" fmla="*/ 1350774 w 2077606"/>
              <a:gd name="connsiteY3171" fmla="*/ 832401 h 1786074"/>
              <a:gd name="connsiteX3172" fmla="*/ 1348779 w 2077606"/>
              <a:gd name="connsiteY3172" fmla="*/ 836389 h 1786074"/>
              <a:gd name="connsiteX3173" fmla="*/ 1360749 w 2077606"/>
              <a:gd name="connsiteY3173" fmla="*/ 836389 h 1786074"/>
              <a:gd name="connsiteX3174" fmla="*/ 1366734 w 2077606"/>
              <a:gd name="connsiteY3174" fmla="*/ 836389 h 1786074"/>
              <a:gd name="connsiteX3175" fmla="*/ 1374714 w 2077606"/>
              <a:gd name="connsiteY3175" fmla="*/ 840377 h 1786074"/>
              <a:gd name="connsiteX3176" fmla="*/ 1372719 w 2077606"/>
              <a:gd name="connsiteY3176" fmla="*/ 844365 h 1786074"/>
              <a:gd name="connsiteX3177" fmla="*/ 1368729 w 2077606"/>
              <a:gd name="connsiteY3177" fmla="*/ 852341 h 1786074"/>
              <a:gd name="connsiteX3178" fmla="*/ 1360749 w 2077606"/>
              <a:gd name="connsiteY3178" fmla="*/ 860317 h 1786074"/>
              <a:gd name="connsiteX3179" fmla="*/ 1354764 w 2077606"/>
              <a:gd name="connsiteY3179" fmla="*/ 866299 h 1786074"/>
              <a:gd name="connsiteX3180" fmla="*/ 1344789 w 2077606"/>
              <a:gd name="connsiteY3180" fmla="*/ 870287 h 1786074"/>
              <a:gd name="connsiteX3181" fmla="*/ 1338804 w 2077606"/>
              <a:gd name="connsiteY3181" fmla="*/ 876269 h 1786074"/>
              <a:gd name="connsiteX3182" fmla="*/ 1332819 w 2077606"/>
              <a:gd name="connsiteY3182" fmla="*/ 878263 h 1786074"/>
              <a:gd name="connsiteX3183" fmla="*/ 1320849 w 2077606"/>
              <a:gd name="connsiteY3183" fmla="*/ 878263 h 1786074"/>
              <a:gd name="connsiteX3184" fmla="*/ 1310874 w 2077606"/>
              <a:gd name="connsiteY3184" fmla="*/ 872281 h 1786074"/>
              <a:gd name="connsiteX3185" fmla="*/ 1304889 w 2077606"/>
              <a:gd name="connsiteY3185" fmla="*/ 870287 h 1786074"/>
              <a:gd name="connsiteX3186" fmla="*/ 1298904 w 2077606"/>
              <a:gd name="connsiteY3186" fmla="*/ 868293 h 1786074"/>
              <a:gd name="connsiteX3187" fmla="*/ 1296909 w 2077606"/>
              <a:gd name="connsiteY3187" fmla="*/ 860317 h 1786074"/>
              <a:gd name="connsiteX3188" fmla="*/ 1288929 w 2077606"/>
              <a:gd name="connsiteY3188" fmla="*/ 860317 h 1786074"/>
              <a:gd name="connsiteX3189" fmla="*/ 1282944 w 2077606"/>
              <a:gd name="connsiteY3189" fmla="*/ 856329 h 1786074"/>
              <a:gd name="connsiteX3190" fmla="*/ 1274964 w 2077606"/>
              <a:gd name="connsiteY3190" fmla="*/ 854335 h 1786074"/>
              <a:gd name="connsiteX3191" fmla="*/ 1264989 w 2077606"/>
              <a:gd name="connsiteY3191" fmla="*/ 854335 h 1786074"/>
              <a:gd name="connsiteX3192" fmla="*/ 1260999 w 2077606"/>
              <a:gd name="connsiteY3192" fmla="*/ 856329 h 1786074"/>
              <a:gd name="connsiteX3193" fmla="*/ 1262994 w 2077606"/>
              <a:gd name="connsiteY3193" fmla="*/ 858323 h 1786074"/>
              <a:gd name="connsiteX3194" fmla="*/ 1270974 w 2077606"/>
              <a:gd name="connsiteY3194" fmla="*/ 858323 h 1786074"/>
              <a:gd name="connsiteX3195" fmla="*/ 1276959 w 2077606"/>
              <a:gd name="connsiteY3195" fmla="*/ 864305 h 1786074"/>
              <a:gd name="connsiteX3196" fmla="*/ 1284939 w 2077606"/>
              <a:gd name="connsiteY3196" fmla="*/ 874275 h 1786074"/>
              <a:gd name="connsiteX3197" fmla="*/ 1294914 w 2077606"/>
              <a:gd name="connsiteY3197" fmla="*/ 882251 h 1786074"/>
              <a:gd name="connsiteX3198" fmla="*/ 1306884 w 2077606"/>
              <a:gd name="connsiteY3198" fmla="*/ 882251 h 1786074"/>
              <a:gd name="connsiteX3199" fmla="*/ 1322844 w 2077606"/>
              <a:gd name="connsiteY3199" fmla="*/ 880257 h 1786074"/>
              <a:gd name="connsiteX3200" fmla="*/ 1334814 w 2077606"/>
              <a:gd name="connsiteY3200" fmla="*/ 882251 h 1786074"/>
              <a:gd name="connsiteX3201" fmla="*/ 1338804 w 2077606"/>
              <a:gd name="connsiteY3201" fmla="*/ 886239 h 1786074"/>
              <a:gd name="connsiteX3202" fmla="*/ 1332819 w 2077606"/>
              <a:gd name="connsiteY3202" fmla="*/ 896209 h 1786074"/>
              <a:gd name="connsiteX3203" fmla="*/ 1330824 w 2077606"/>
              <a:gd name="connsiteY3203" fmla="*/ 902191 h 1786074"/>
              <a:gd name="connsiteX3204" fmla="*/ 1326834 w 2077606"/>
              <a:gd name="connsiteY3204" fmla="*/ 908173 h 1786074"/>
              <a:gd name="connsiteX3205" fmla="*/ 1316859 w 2077606"/>
              <a:gd name="connsiteY3205" fmla="*/ 916149 h 1786074"/>
              <a:gd name="connsiteX3206" fmla="*/ 1308879 w 2077606"/>
              <a:gd name="connsiteY3206" fmla="*/ 924125 h 1786074"/>
              <a:gd name="connsiteX3207" fmla="*/ 1302894 w 2077606"/>
              <a:gd name="connsiteY3207" fmla="*/ 930107 h 1786074"/>
              <a:gd name="connsiteX3208" fmla="*/ 1300899 w 2077606"/>
              <a:gd name="connsiteY3208" fmla="*/ 932101 h 1786074"/>
              <a:gd name="connsiteX3209" fmla="*/ 1294914 w 2077606"/>
              <a:gd name="connsiteY3209" fmla="*/ 934095 h 1786074"/>
              <a:gd name="connsiteX3210" fmla="*/ 1292919 w 2077606"/>
              <a:gd name="connsiteY3210" fmla="*/ 938083 h 1786074"/>
              <a:gd name="connsiteX3211" fmla="*/ 1290924 w 2077606"/>
              <a:gd name="connsiteY3211" fmla="*/ 940077 h 1786074"/>
              <a:gd name="connsiteX3212" fmla="*/ 1284939 w 2077606"/>
              <a:gd name="connsiteY3212" fmla="*/ 942071 h 1786074"/>
              <a:gd name="connsiteX3213" fmla="*/ 1274964 w 2077606"/>
              <a:gd name="connsiteY3213" fmla="*/ 940077 h 1786074"/>
              <a:gd name="connsiteX3214" fmla="*/ 1266984 w 2077606"/>
              <a:gd name="connsiteY3214" fmla="*/ 938083 h 1786074"/>
              <a:gd name="connsiteX3215" fmla="*/ 1264989 w 2077606"/>
              <a:gd name="connsiteY3215" fmla="*/ 932101 h 1786074"/>
              <a:gd name="connsiteX3216" fmla="*/ 1260999 w 2077606"/>
              <a:gd name="connsiteY3216" fmla="*/ 934095 h 1786074"/>
              <a:gd name="connsiteX3217" fmla="*/ 1260999 w 2077606"/>
              <a:gd name="connsiteY3217" fmla="*/ 940077 h 1786074"/>
              <a:gd name="connsiteX3218" fmla="*/ 1259004 w 2077606"/>
              <a:gd name="connsiteY3218" fmla="*/ 944065 h 1786074"/>
              <a:gd name="connsiteX3219" fmla="*/ 1255014 w 2077606"/>
              <a:gd name="connsiteY3219" fmla="*/ 944065 h 1786074"/>
              <a:gd name="connsiteX3220" fmla="*/ 1253019 w 2077606"/>
              <a:gd name="connsiteY3220" fmla="*/ 948053 h 1786074"/>
              <a:gd name="connsiteX3221" fmla="*/ 1251024 w 2077606"/>
              <a:gd name="connsiteY3221" fmla="*/ 952041 h 1786074"/>
              <a:gd name="connsiteX3222" fmla="*/ 1247034 w 2077606"/>
              <a:gd name="connsiteY3222" fmla="*/ 954035 h 1786074"/>
              <a:gd name="connsiteX3223" fmla="*/ 1243044 w 2077606"/>
              <a:gd name="connsiteY3223" fmla="*/ 954035 h 1786074"/>
              <a:gd name="connsiteX3224" fmla="*/ 1239054 w 2077606"/>
              <a:gd name="connsiteY3224" fmla="*/ 954035 h 1786074"/>
              <a:gd name="connsiteX3225" fmla="*/ 1237059 w 2077606"/>
              <a:gd name="connsiteY3225" fmla="*/ 956029 h 1786074"/>
              <a:gd name="connsiteX3226" fmla="*/ 1233069 w 2077606"/>
              <a:gd name="connsiteY3226" fmla="*/ 958023 h 1786074"/>
              <a:gd name="connsiteX3227" fmla="*/ 1229079 w 2077606"/>
              <a:gd name="connsiteY3227" fmla="*/ 956029 h 1786074"/>
              <a:gd name="connsiteX3228" fmla="*/ 1225089 w 2077606"/>
              <a:gd name="connsiteY3228" fmla="*/ 956029 h 1786074"/>
              <a:gd name="connsiteX3229" fmla="*/ 1217109 w 2077606"/>
              <a:gd name="connsiteY3229" fmla="*/ 950047 h 1786074"/>
              <a:gd name="connsiteX3230" fmla="*/ 1211124 w 2077606"/>
              <a:gd name="connsiteY3230" fmla="*/ 950047 h 1786074"/>
              <a:gd name="connsiteX3231" fmla="*/ 1203144 w 2077606"/>
              <a:gd name="connsiteY3231" fmla="*/ 950047 h 1786074"/>
              <a:gd name="connsiteX3232" fmla="*/ 1197159 w 2077606"/>
              <a:gd name="connsiteY3232" fmla="*/ 958023 h 1786074"/>
              <a:gd name="connsiteX3233" fmla="*/ 1203144 w 2077606"/>
              <a:gd name="connsiteY3233" fmla="*/ 958023 h 1786074"/>
              <a:gd name="connsiteX3234" fmla="*/ 1215114 w 2077606"/>
              <a:gd name="connsiteY3234" fmla="*/ 958023 h 1786074"/>
              <a:gd name="connsiteX3235" fmla="*/ 1227084 w 2077606"/>
              <a:gd name="connsiteY3235" fmla="*/ 962011 h 1786074"/>
              <a:gd name="connsiteX3236" fmla="*/ 1233069 w 2077606"/>
              <a:gd name="connsiteY3236" fmla="*/ 969987 h 1786074"/>
              <a:gd name="connsiteX3237" fmla="*/ 1231074 w 2077606"/>
              <a:gd name="connsiteY3237" fmla="*/ 983945 h 1786074"/>
              <a:gd name="connsiteX3238" fmla="*/ 1225089 w 2077606"/>
              <a:gd name="connsiteY3238" fmla="*/ 987933 h 1786074"/>
              <a:gd name="connsiteX3239" fmla="*/ 1215114 w 2077606"/>
              <a:gd name="connsiteY3239" fmla="*/ 993915 h 1786074"/>
              <a:gd name="connsiteX3240" fmla="*/ 1213119 w 2077606"/>
              <a:gd name="connsiteY3240" fmla="*/ 999897 h 1786074"/>
              <a:gd name="connsiteX3241" fmla="*/ 1211124 w 2077606"/>
              <a:gd name="connsiteY3241" fmla="*/ 999897 h 1786074"/>
              <a:gd name="connsiteX3242" fmla="*/ 1209129 w 2077606"/>
              <a:gd name="connsiteY3242" fmla="*/ 995909 h 1786074"/>
              <a:gd name="connsiteX3243" fmla="*/ 1203144 w 2077606"/>
              <a:gd name="connsiteY3243" fmla="*/ 995909 h 1786074"/>
              <a:gd name="connsiteX3244" fmla="*/ 1199154 w 2077606"/>
              <a:gd name="connsiteY3244" fmla="*/ 991921 h 1786074"/>
              <a:gd name="connsiteX3245" fmla="*/ 1199154 w 2077606"/>
              <a:gd name="connsiteY3245" fmla="*/ 981951 h 1786074"/>
              <a:gd name="connsiteX3246" fmla="*/ 1199154 w 2077606"/>
              <a:gd name="connsiteY3246" fmla="*/ 975969 h 1786074"/>
              <a:gd name="connsiteX3247" fmla="*/ 1193169 w 2077606"/>
              <a:gd name="connsiteY3247" fmla="*/ 975969 h 1786074"/>
              <a:gd name="connsiteX3248" fmla="*/ 1195164 w 2077606"/>
              <a:gd name="connsiteY3248" fmla="*/ 983945 h 1786074"/>
              <a:gd name="connsiteX3249" fmla="*/ 1197159 w 2077606"/>
              <a:gd name="connsiteY3249" fmla="*/ 991921 h 1786074"/>
              <a:gd name="connsiteX3250" fmla="*/ 1195164 w 2077606"/>
              <a:gd name="connsiteY3250" fmla="*/ 995909 h 1786074"/>
              <a:gd name="connsiteX3251" fmla="*/ 1197159 w 2077606"/>
              <a:gd name="connsiteY3251" fmla="*/ 997903 h 1786074"/>
              <a:gd name="connsiteX3252" fmla="*/ 1197159 w 2077606"/>
              <a:gd name="connsiteY3252" fmla="*/ 1001891 h 1786074"/>
              <a:gd name="connsiteX3253" fmla="*/ 1193169 w 2077606"/>
              <a:gd name="connsiteY3253" fmla="*/ 1003885 h 1786074"/>
              <a:gd name="connsiteX3254" fmla="*/ 1187184 w 2077606"/>
              <a:gd name="connsiteY3254" fmla="*/ 1001891 h 1786074"/>
              <a:gd name="connsiteX3255" fmla="*/ 1187184 w 2077606"/>
              <a:gd name="connsiteY3255" fmla="*/ 1005879 h 1786074"/>
              <a:gd name="connsiteX3256" fmla="*/ 1183194 w 2077606"/>
              <a:gd name="connsiteY3256" fmla="*/ 1007873 h 1786074"/>
              <a:gd name="connsiteX3257" fmla="*/ 1181199 w 2077606"/>
              <a:gd name="connsiteY3257" fmla="*/ 1009867 h 1786074"/>
              <a:gd name="connsiteX3258" fmla="*/ 1181199 w 2077606"/>
              <a:gd name="connsiteY3258" fmla="*/ 1013855 h 1786074"/>
              <a:gd name="connsiteX3259" fmla="*/ 1177209 w 2077606"/>
              <a:gd name="connsiteY3259" fmla="*/ 1011861 h 1786074"/>
              <a:gd name="connsiteX3260" fmla="*/ 1173219 w 2077606"/>
              <a:gd name="connsiteY3260" fmla="*/ 1009867 h 1786074"/>
              <a:gd name="connsiteX3261" fmla="*/ 1173219 w 2077606"/>
              <a:gd name="connsiteY3261" fmla="*/ 1013855 h 1786074"/>
              <a:gd name="connsiteX3262" fmla="*/ 1171224 w 2077606"/>
              <a:gd name="connsiteY3262" fmla="*/ 1015849 h 1786074"/>
              <a:gd name="connsiteX3263" fmla="*/ 1169229 w 2077606"/>
              <a:gd name="connsiteY3263" fmla="*/ 1021831 h 1786074"/>
              <a:gd name="connsiteX3264" fmla="*/ 1167234 w 2077606"/>
              <a:gd name="connsiteY3264" fmla="*/ 1023825 h 1786074"/>
              <a:gd name="connsiteX3265" fmla="*/ 1163244 w 2077606"/>
              <a:gd name="connsiteY3265" fmla="*/ 1021831 h 1786074"/>
              <a:gd name="connsiteX3266" fmla="*/ 1163244 w 2077606"/>
              <a:gd name="connsiteY3266" fmla="*/ 1027813 h 1786074"/>
              <a:gd name="connsiteX3267" fmla="*/ 1167234 w 2077606"/>
              <a:gd name="connsiteY3267" fmla="*/ 1033795 h 1786074"/>
              <a:gd name="connsiteX3268" fmla="*/ 1163244 w 2077606"/>
              <a:gd name="connsiteY3268" fmla="*/ 1035789 h 1786074"/>
              <a:gd name="connsiteX3269" fmla="*/ 1159254 w 2077606"/>
              <a:gd name="connsiteY3269" fmla="*/ 1029807 h 1786074"/>
              <a:gd name="connsiteX3270" fmla="*/ 1157259 w 2077606"/>
              <a:gd name="connsiteY3270" fmla="*/ 1027813 h 1786074"/>
              <a:gd name="connsiteX3271" fmla="*/ 1155264 w 2077606"/>
              <a:gd name="connsiteY3271" fmla="*/ 1031801 h 1786074"/>
              <a:gd name="connsiteX3272" fmla="*/ 1159254 w 2077606"/>
              <a:gd name="connsiteY3272" fmla="*/ 1035789 h 1786074"/>
              <a:gd name="connsiteX3273" fmla="*/ 1157259 w 2077606"/>
              <a:gd name="connsiteY3273" fmla="*/ 1037783 h 1786074"/>
              <a:gd name="connsiteX3274" fmla="*/ 1155264 w 2077606"/>
              <a:gd name="connsiteY3274" fmla="*/ 1039777 h 1786074"/>
              <a:gd name="connsiteX3275" fmla="*/ 1151274 w 2077606"/>
              <a:gd name="connsiteY3275" fmla="*/ 1043765 h 1786074"/>
              <a:gd name="connsiteX3276" fmla="*/ 1147284 w 2077606"/>
              <a:gd name="connsiteY3276" fmla="*/ 1047753 h 1786074"/>
              <a:gd name="connsiteX3277" fmla="*/ 1145289 w 2077606"/>
              <a:gd name="connsiteY3277" fmla="*/ 1049747 h 1786074"/>
              <a:gd name="connsiteX3278" fmla="*/ 1141299 w 2077606"/>
              <a:gd name="connsiteY3278" fmla="*/ 1053735 h 1786074"/>
              <a:gd name="connsiteX3279" fmla="*/ 1141299 w 2077606"/>
              <a:gd name="connsiteY3279" fmla="*/ 1055729 h 1786074"/>
              <a:gd name="connsiteX3280" fmla="*/ 1141299 w 2077606"/>
              <a:gd name="connsiteY3280" fmla="*/ 1061711 h 1786074"/>
              <a:gd name="connsiteX3281" fmla="*/ 1135314 w 2077606"/>
              <a:gd name="connsiteY3281" fmla="*/ 1067693 h 1786074"/>
              <a:gd name="connsiteX3282" fmla="*/ 1129329 w 2077606"/>
              <a:gd name="connsiteY3282" fmla="*/ 1071681 h 1786074"/>
              <a:gd name="connsiteX3283" fmla="*/ 1127334 w 2077606"/>
              <a:gd name="connsiteY3283" fmla="*/ 1075669 h 1786074"/>
              <a:gd name="connsiteX3284" fmla="*/ 1123344 w 2077606"/>
              <a:gd name="connsiteY3284" fmla="*/ 1081651 h 1786074"/>
              <a:gd name="connsiteX3285" fmla="*/ 1115364 w 2077606"/>
              <a:gd name="connsiteY3285" fmla="*/ 1085639 h 1786074"/>
              <a:gd name="connsiteX3286" fmla="*/ 1115364 w 2077606"/>
              <a:gd name="connsiteY3286" fmla="*/ 1091621 h 1786074"/>
              <a:gd name="connsiteX3287" fmla="*/ 1115364 w 2077606"/>
              <a:gd name="connsiteY3287" fmla="*/ 1101591 h 1786074"/>
              <a:gd name="connsiteX3288" fmla="*/ 1107384 w 2077606"/>
              <a:gd name="connsiteY3288" fmla="*/ 1115549 h 1786074"/>
              <a:gd name="connsiteX3289" fmla="*/ 1107384 w 2077606"/>
              <a:gd name="connsiteY3289" fmla="*/ 1123525 h 1786074"/>
              <a:gd name="connsiteX3290" fmla="*/ 1107384 w 2077606"/>
              <a:gd name="connsiteY3290" fmla="*/ 1131501 h 1786074"/>
              <a:gd name="connsiteX3291" fmla="*/ 1103394 w 2077606"/>
              <a:gd name="connsiteY3291" fmla="*/ 1143465 h 1786074"/>
              <a:gd name="connsiteX3292" fmla="*/ 1105389 w 2077606"/>
              <a:gd name="connsiteY3292" fmla="*/ 1155429 h 1786074"/>
              <a:gd name="connsiteX3293" fmla="*/ 1111374 w 2077606"/>
              <a:gd name="connsiteY3293" fmla="*/ 1159417 h 1786074"/>
              <a:gd name="connsiteX3294" fmla="*/ 1119354 w 2077606"/>
              <a:gd name="connsiteY3294" fmla="*/ 1157423 h 1786074"/>
              <a:gd name="connsiteX3295" fmla="*/ 1127334 w 2077606"/>
              <a:gd name="connsiteY3295" fmla="*/ 1155429 h 1786074"/>
              <a:gd name="connsiteX3296" fmla="*/ 1133319 w 2077606"/>
              <a:gd name="connsiteY3296" fmla="*/ 1157423 h 1786074"/>
              <a:gd name="connsiteX3297" fmla="*/ 1137309 w 2077606"/>
              <a:gd name="connsiteY3297" fmla="*/ 1155429 h 1786074"/>
              <a:gd name="connsiteX3298" fmla="*/ 1137309 w 2077606"/>
              <a:gd name="connsiteY3298" fmla="*/ 1151441 h 1786074"/>
              <a:gd name="connsiteX3299" fmla="*/ 1143294 w 2077606"/>
              <a:gd name="connsiteY3299" fmla="*/ 1157423 h 1786074"/>
              <a:gd name="connsiteX3300" fmla="*/ 1141299 w 2077606"/>
              <a:gd name="connsiteY3300" fmla="*/ 1165399 h 1786074"/>
              <a:gd name="connsiteX3301" fmla="*/ 1141299 w 2077606"/>
              <a:gd name="connsiteY3301" fmla="*/ 1173375 h 1786074"/>
              <a:gd name="connsiteX3302" fmla="*/ 1143294 w 2077606"/>
              <a:gd name="connsiteY3302" fmla="*/ 1181351 h 1786074"/>
              <a:gd name="connsiteX3303" fmla="*/ 1141299 w 2077606"/>
              <a:gd name="connsiteY3303" fmla="*/ 1191321 h 1786074"/>
              <a:gd name="connsiteX3304" fmla="*/ 1143294 w 2077606"/>
              <a:gd name="connsiteY3304" fmla="*/ 1205278 h 1786074"/>
              <a:gd name="connsiteX3305" fmla="*/ 1147284 w 2077606"/>
              <a:gd name="connsiteY3305" fmla="*/ 1213254 h 1786074"/>
              <a:gd name="connsiteX3306" fmla="*/ 1147284 w 2077606"/>
              <a:gd name="connsiteY3306" fmla="*/ 1221230 h 1786074"/>
              <a:gd name="connsiteX3307" fmla="*/ 1143294 w 2077606"/>
              <a:gd name="connsiteY3307" fmla="*/ 1227212 h 1786074"/>
              <a:gd name="connsiteX3308" fmla="*/ 1149279 w 2077606"/>
              <a:gd name="connsiteY3308" fmla="*/ 1227212 h 1786074"/>
              <a:gd name="connsiteX3309" fmla="*/ 1157259 w 2077606"/>
              <a:gd name="connsiteY3309" fmla="*/ 1223224 h 1786074"/>
              <a:gd name="connsiteX3310" fmla="*/ 1167234 w 2077606"/>
              <a:gd name="connsiteY3310" fmla="*/ 1219236 h 1786074"/>
              <a:gd name="connsiteX3311" fmla="*/ 1181199 w 2077606"/>
              <a:gd name="connsiteY3311" fmla="*/ 1217242 h 1786074"/>
              <a:gd name="connsiteX3312" fmla="*/ 1189179 w 2077606"/>
              <a:gd name="connsiteY3312" fmla="*/ 1219236 h 1786074"/>
              <a:gd name="connsiteX3313" fmla="*/ 1195164 w 2077606"/>
              <a:gd name="connsiteY3313" fmla="*/ 1225218 h 1786074"/>
              <a:gd name="connsiteX3314" fmla="*/ 1203144 w 2077606"/>
              <a:gd name="connsiteY3314" fmla="*/ 1229206 h 1786074"/>
              <a:gd name="connsiteX3315" fmla="*/ 1215114 w 2077606"/>
              <a:gd name="connsiteY3315" fmla="*/ 1233194 h 1786074"/>
              <a:gd name="connsiteX3316" fmla="*/ 1225089 w 2077606"/>
              <a:gd name="connsiteY3316" fmla="*/ 1241170 h 1786074"/>
              <a:gd name="connsiteX3317" fmla="*/ 1233069 w 2077606"/>
              <a:gd name="connsiteY3317" fmla="*/ 1249146 h 1786074"/>
              <a:gd name="connsiteX3318" fmla="*/ 1239054 w 2077606"/>
              <a:gd name="connsiteY3318" fmla="*/ 1253134 h 1786074"/>
              <a:gd name="connsiteX3319" fmla="*/ 1245039 w 2077606"/>
              <a:gd name="connsiteY3319" fmla="*/ 1261110 h 1786074"/>
              <a:gd name="connsiteX3320" fmla="*/ 1249029 w 2077606"/>
              <a:gd name="connsiteY3320" fmla="*/ 1267092 h 1786074"/>
              <a:gd name="connsiteX3321" fmla="*/ 1253019 w 2077606"/>
              <a:gd name="connsiteY3321" fmla="*/ 1269086 h 1786074"/>
              <a:gd name="connsiteX3322" fmla="*/ 1262994 w 2077606"/>
              <a:gd name="connsiteY3322" fmla="*/ 1273074 h 1786074"/>
              <a:gd name="connsiteX3323" fmla="*/ 1280949 w 2077606"/>
              <a:gd name="connsiteY3323" fmla="*/ 1279056 h 1786074"/>
              <a:gd name="connsiteX3324" fmla="*/ 1288929 w 2077606"/>
              <a:gd name="connsiteY3324" fmla="*/ 1283044 h 1786074"/>
              <a:gd name="connsiteX3325" fmla="*/ 1296909 w 2077606"/>
              <a:gd name="connsiteY3325" fmla="*/ 1291020 h 1786074"/>
              <a:gd name="connsiteX3326" fmla="*/ 1302894 w 2077606"/>
              <a:gd name="connsiteY3326" fmla="*/ 1297002 h 1786074"/>
              <a:gd name="connsiteX3327" fmla="*/ 1312869 w 2077606"/>
              <a:gd name="connsiteY3327" fmla="*/ 1300990 h 1786074"/>
              <a:gd name="connsiteX3328" fmla="*/ 1316859 w 2077606"/>
              <a:gd name="connsiteY3328" fmla="*/ 1302984 h 1786074"/>
              <a:gd name="connsiteX3329" fmla="*/ 1328829 w 2077606"/>
              <a:gd name="connsiteY3329" fmla="*/ 1300990 h 1786074"/>
              <a:gd name="connsiteX3330" fmla="*/ 1344789 w 2077606"/>
              <a:gd name="connsiteY3330" fmla="*/ 1298996 h 1786074"/>
              <a:gd name="connsiteX3331" fmla="*/ 1352769 w 2077606"/>
              <a:gd name="connsiteY3331" fmla="*/ 1298996 h 1786074"/>
              <a:gd name="connsiteX3332" fmla="*/ 1356759 w 2077606"/>
              <a:gd name="connsiteY3332" fmla="*/ 1300990 h 1786074"/>
              <a:gd name="connsiteX3333" fmla="*/ 1360749 w 2077606"/>
              <a:gd name="connsiteY3333" fmla="*/ 1298996 h 1786074"/>
              <a:gd name="connsiteX3334" fmla="*/ 1364739 w 2077606"/>
              <a:gd name="connsiteY3334" fmla="*/ 1300990 h 1786074"/>
              <a:gd name="connsiteX3335" fmla="*/ 1368729 w 2077606"/>
              <a:gd name="connsiteY3335" fmla="*/ 1302984 h 1786074"/>
              <a:gd name="connsiteX3336" fmla="*/ 1372719 w 2077606"/>
              <a:gd name="connsiteY3336" fmla="*/ 1302984 h 1786074"/>
              <a:gd name="connsiteX3337" fmla="*/ 1378704 w 2077606"/>
              <a:gd name="connsiteY3337" fmla="*/ 1304978 h 1786074"/>
              <a:gd name="connsiteX3338" fmla="*/ 1376709 w 2077606"/>
              <a:gd name="connsiteY3338" fmla="*/ 1310960 h 1786074"/>
              <a:gd name="connsiteX3339" fmla="*/ 1376709 w 2077606"/>
              <a:gd name="connsiteY3339" fmla="*/ 1318936 h 1786074"/>
              <a:gd name="connsiteX3340" fmla="*/ 1372719 w 2077606"/>
              <a:gd name="connsiteY3340" fmla="*/ 1322924 h 1786074"/>
              <a:gd name="connsiteX3341" fmla="*/ 1368729 w 2077606"/>
              <a:gd name="connsiteY3341" fmla="*/ 1330900 h 1786074"/>
              <a:gd name="connsiteX3342" fmla="*/ 1370724 w 2077606"/>
              <a:gd name="connsiteY3342" fmla="*/ 1340870 h 1786074"/>
              <a:gd name="connsiteX3343" fmla="*/ 1372719 w 2077606"/>
              <a:gd name="connsiteY3343" fmla="*/ 1350840 h 1786074"/>
              <a:gd name="connsiteX3344" fmla="*/ 1370724 w 2077606"/>
              <a:gd name="connsiteY3344" fmla="*/ 1360810 h 1786074"/>
              <a:gd name="connsiteX3345" fmla="*/ 1366734 w 2077606"/>
              <a:gd name="connsiteY3345" fmla="*/ 1366792 h 1786074"/>
              <a:gd name="connsiteX3346" fmla="*/ 1366734 w 2077606"/>
              <a:gd name="connsiteY3346" fmla="*/ 1376762 h 1786074"/>
              <a:gd name="connsiteX3347" fmla="*/ 1360749 w 2077606"/>
              <a:gd name="connsiteY3347" fmla="*/ 1382744 h 1786074"/>
              <a:gd name="connsiteX3348" fmla="*/ 1358754 w 2077606"/>
              <a:gd name="connsiteY3348" fmla="*/ 1384738 h 1786074"/>
              <a:gd name="connsiteX3349" fmla="*/ 1364739 w 2077606"/>
              <a:gd name="connsiteY3349" fmla="*/ 1390720 h 1786074"/>
              <a:gd name="connsiteX3350" fmla="*/ 1370724 w 2077606"/>
              <a:gd name="connsiteY3350" fmla="*/ 1400690 h 1786074"/>
              <a:gd name="connsiteX3351" fmla="*/ 1372719 w 2077606"/>
              <a:gd name="connsiteY3351" fmla="*/ 1408666 h 1786074"/>
              <a:gd name="connsiteX3352" fmla="*/ 1368729 w 2077606"/>
              <a:gd name="connsiteY3352" fmla="*/ 1418636 h 1786074"/>
              <a:gd name="connsiteX3353" fmla="*/ 1372719 w 2077606"/>
              <a:gd name="connsiteY3353" fmla="*/ 1418636 h 1786074"/>
              <a:gd name="connsiteX3354" fmla="*/ 1378704 w 2077606"/>
              <a:gd name="connsiteY3354" fmla="*/ 1414648 h 1786074"/>
              <a:gd name="connsiteX3355" fmla="*/ 1380699 w 2077606"/>
              <a:gd name="connsiteY3355" fmla="*/ 1416642 h 1786074"/>
              <a:gd name="connsiteX3356" fmla="*/ 1382694 w 2077606"/>
              <a:gd name="connsiteY3356" fmla="*/ 1422624 h 1786074"/>
              <a:gd name="connsiteX3357" fmla="*/ 1390674 w 2077606"/>
              <a:gd name="connsiteY3357" fmla="*/ 1428606 h 1786074"/>
              <a:gd name="connsiteX3358" fmla="*/ 1394664 w 2077606"/>
              <a:gd name="connsiteY3358" fmla="*/ 1434588 h 1786074"/>
              <a:gd name="connsiteX3359" fmla="*/ 1396659 w 2077606"/>
              <a:gd name="connsiteY3359" fmla="*/ 1442564 h 1786074"/>
              <a:gd name="connsiteX3360" fmla="*/ 1394664 w 2077606"/>
              <a:gd name="connsiteY3360" fmla="*/ 1448546 h 1786074"/>
              <a:gd name="connsiteX3361" fmla="*/ 1392669 w 2077606"/>
              <a:gd name="connsiteY3361" fmla="*/ 1452534 h 1786074"/>
              <a:gd name="connsiteX3362" fmla="*/ 1388679 w 2077606"/>
              <a:gd name="connsiteY3362" fmla="*/ 1456522 h 1786074"/>
              <a:gd name="connsiteX3363" fmla="*/ 1384689 w 2077606"/>
              <a:gd name="connsiteY3363" fmla="*/ 1460510 h 1786074"/>
              <a:gd name="connsiteX3364" fmla="*/ 1390674 w 2077606"/>
              <a:gd name="connsiteY3364" fmla="*/ 1460510 h 1786074"/>
              <a:gd name="connsiteX3365" fmla="*/ 1396659 w 2077606"/>
              <a:gd name="connsiteY3365" fmla="*/ 1454528 h 1786074"/>
              <a:gd name="connsiteX3366" fmla="*/ 1404639 w 2077606"/>
              <a:gd name="connsiteY3366" fmla="*/ 1454528 h 1786074"/>
              <a:gd name="connsiteX3367" fmla="*/ 1414614 w 2077606"/>
              <a:gd name="connsiteY3367" fmla="*/ 1456522 h 1786074"/>
              <a:gd name="connsiteX3368" fmla="*/ 1418604 w 2077606"/>
              <a:gd name="connsiteY3368" fmla="*/ 1452534 h 1786074"/>
              <a:gd name="connsiteX3369" fmla="*/ 1418604 w 2077606"/>
              <a:gd name="connsiteY3369" fmla="*/ 1448546 h 1786074"/>
              <a:gd name="connsiteX3370" fmla="*/ 1422594 w 2077606"/>
              <a:gd name="connsiteY3370" fmla="*/ 1448546 h 1786074"/>
              <a:gd name="connsiteX3371" fmla="*/ 1422594 w 2077606"/>
              <a:gd name="connsiteY3371" fmla="*/ 1440570 h 1786074"/>
              <a:gd name="connsiteX3372" fmla="*/ 1426584 w 2077606"/>
              <a:gd name="connsiteY3372" fmla="*/ 1438576 h 1786074"/>
              <a:gd name="connsiteX3373" fmla="*/ 1430574 w 2077606"/>
              <a:gd name="connsiteY3373" fmla="*/ 1448546 h 1786074"/>
              <a:gd name="connsiteX3374" fmla="*/ 1434564 w 2077606"/>
              <a:gd name="connsiteY3374" fmla="*/ 1456522 h 1786074"/>
              <a:gd name="connsiteX3375" fmla="*/ 1438554 w 2077606"/>
              <a:gd name="connsiteY3375" fmla="*/ 1456522 h 1786074"/>
              <a:gd name="connsiteX3376" fmla="*/ 1436559 w 2077606"/>
              <a:gd name="connsiteY3376" fmla="*/ 1442564 h 1786074"/>
              <a:gd name="connsiteX3377" fmla="*/ 1440549 w 2077606"/>
              <a:gd name="connsiteY3377" fmla="*/ 1426612 h 1786074"/>
              <a:gd name="connsiteX3378" fmla="*/ 1448529 w 2077606"/>
              <a:gd name="connsiteY3378" fmla="*/ 1418636 h 1786074"/>
              <a:gd name="connsiteX3379" fmla="*/ 1448529 w 2077606"/>
              <a:gd name="connsiteY3379" fmla="*/ 1412654 h 1786074"/>
              <a:gd name="connsiteX3380" fmla="*/ 1448529 w 2077606"/>
              <a:gd name="connsiteY3380" fmla="*/ 1406672 h 1786074"/>
              <a:gd name="connsiteX3381" fmla="*/ 1446534 w 2077606"/>
              <a:gd name="connsiteY3381" fmla="*/ 1402684 h 1786074"/>
              <a:gd name="connsiteX3382" fmla="*/ 1448529 w 2077606"/>
              <a:gd name="connsiteY3382" fmla="*/ 1394708 h 1786074"/>
              <a:gd name="connsiteX3383" fmla="*/ 1446534 w 2077606"/>
              <a:gd name="connsiteY3383" fmla="*/ 1388726 h 1786074"/>
              <a:gd name="connsiteX3384" fmla="*/ 1444539 w 2077606"/>
              <a:gd name="connsiteY3384" fmla="*/ 1380750 h 1786074"/>
              <a:gd name="connsiteX3385" fmla="*/ 1444539 w 2077606"/>
              <a:gd name="connsiteY3385" fmla="*/ 1372774 h 1786074"/>
              <a:gd name="connsiteX3386" fmla="*/ 1444539 w 2077606"/>
              <a:gd name="connsiteY3386" fmla="*/ 1360810 h 1786074"/>
              <a:gd name="connsiteX3387" fmla="*/ 1448529 w 2077606"/>
              <a:gd name="connsiteY3387" fmla="*/ 1352834 h 1786074"/>
              <a:gd name="connsiteX3388" fmla="*/ 1446534 w 2077606"/>
              <a:gd name="connsiteY3388" fmla="*/ 1342864 h 1786074"/>
              <a:gd name="connsiteX3389" fmla="*/ 1440549 w 2077606"/>
              <a:gd name="connsiteY3389" fmla="*/ 1340870 h 1786074"/>
              <a:gd name="connsiteX3390" fmla="*/ 1438554 w 2077606"/>
              <a:gd name="connsiteY3390" fmla="*/ 1336882 h 1786074"/>
              <a:gd name="connsiteX3391" fmla="*/ 1436559 w 2077606"/>
              <a:gd name="connsiteY3391" fmla="*/ 1326912 h 1786074"/>
              <a:gd name="connsiteX3392" fmla="*/ 1434564 w 2077606"/>
              <a:gd name="connsiteY3392" fmla="*/ 1318936 h 1786074"/>
              <a:gd name="connsiteX3393" fmla="*/ 1438554 w 2077606"/>
              <a:gd name="connsiteY3393" fmla="*/ 1314948 h 1786074"/>
              <a:gd name="connsiteX3394" fmla="*/ 1454514 w 2077606"/>
              <a:gd name="connsiteY3394" fmla="*/ 1314948 h 1786074"/>
              <a:gd name="connsiteX3395" fmla="*/ 1464489 w 2077606"/>
              <a:gd name="connsiteY3395" fmla="*/ 1308966 h 1786074"/>
              <a:gd name="connsiteX3396" fmla="*/ 1474464 w 2077606"/>
              <a:gd name="connsiteY3396" fmla="*/ 1306972 h 1786074"/>
              <a:gd name="connsiteX3397" fmla="*/ 1480449 w 2077606"/>
              <a:gd name="connsiteY3397" fmla="*/ 1302984 h 1786074"/>
              <a:gd name="connsiteX3398" fmla="*/ 1486433 w 2077606"/>
              <a:gd name="connsiteY3398" fmla="*/ 1295008 h 1786074"/>
              <a:gd name="connsiteX3399" fmla="*/ 1494413 w 2077606"/>
              <a:gd name="connsiteY3399" fmla="*/ 1295008 h 1786074"/>
              <a:gd name="connsiteX3400" fmla="*/ 1500398 w 2077606"/>
              <a:gd name="connsiteY3400" fmla="*/ 1287032 h 1786074"/>
              <a:gd name="connsiteX3401" fmla="*/ 1504388 w 2077606"/>
              <a:gd name="connsiteY3401" fmla="*/ 1283044 h 1786074"/>
              <a:gd name="connsiteX3402" fmla="*/ 1504388 w 2077606"/>
              <a:gd name="connsiteY3402" fmla="*/ 1275068 h 1786074"/>
              <a:gd name="connsiteX3403" fmla="*/ 1514363 w 2077606"/>
              <a:gd name="connsiteY3403" fmla="*/ 1267092 h 1786074"/>
              <a:gd name="connsiteX3404" fmla="*/ 1516358 w 2077606"/>
              <a:gd name="connsiteY3404" fmla="*/ 1261110 h 1786074"/>
              <a:gd name="connsiteX3405" fmla="*/ 1516358 w 2077606"/>
              <a:gd name="connsiteY3405" fmla="*/ 1249146 h 1786074"/>
              <a:gd name="connsiteX3406" fmla="*/ 1522343 w 2077606"/>
              <a:gd name="connsiteY3406" fmla="*/ 1239176 h 1786074"/>
              <a:gd name="connsiteX3407" fmla="*/ 1524338 w 2077606"/>
              <a:gd name="connsiteY3407" fmla="*/ 1223224 h 1786074"/>
              <a:gd name="connsiteX3408" fmla="*/ 1522343 w 2077606"/>
              <a:gd name="connsiteY3408" fmla="*/ 1215248 h 1786074"/>
              <a:gd name="connsiteX3409" fmla="*/ 1520348 w 2077606"/>
              <a:gd name="connsiteY3409" fmla="*/ 1207272 h 1786074"/>
              <a:gd name="connsiteX3410" fmla="*/ 1518353 w 2077606"/>
              <a:gd name="connsiteY3410" fmla="*/ 1197303 h 1786074"/>
              <a:gd name="connsiteX3411" fmla="*/ 1512368 w 2077606"/>
              <a:gd name="connsiteY3411" fmla="*/ 1185339 h 1786074"/>
              <a:gd name="connsiteX3412" fmla="*/ 1506383 w 2077606"/>
              <a:gd name="connsiteY3412" fmla="*/ 1181351 h 1786074"/>
              <a:gd name="connsiteX3413" fmla="*/ 1500398 w 2077606"/>
              <a:gd name="connsiteY3413" fmla="*/ 1173375 h 1786074"/>
              <a:gd name="connsiteX3414" fmla="*/ 1494413 w 2077606"/>
              <a:gd name="connsiteY3414" fmla="*/ 1167393 h 1786074"/>
              <a:gd name="connsiteX3415" fmla="*/ 1490423 w 2077606"/>
              <a:gd name="connsiteY3415" fmla="*/ 1159417 h 1786074"/>
              <a:gd name="connsiteX3416" fmla="*/ 1494413 w 2077606"/>
              <a:gd name="connsiteY3416" fmla="*/ 1153435 h 1786074"/>
              <a:gd name="connsiteX3417" fmla="*/ 1496408 w 2077606"/>
              <a:gd name="connsiteY3417" fmla="*/ 1153435 h 1786074"/>
              <a:gd name="connsiteX3418" fmla="*/ 1496408 w 2077606"/>
              <a:gd name="connsiteY3418" fmla="*/ 1147453 h 1786074"/>
              <a:gd name="connsiteX3419" fmla="*/ 1502393 w 2077606"/>
              <a:gd name="connsiteY3419" fmla="*/ 1145459 h 1786074"/>
              <a:gd name="connsiteX3420" fmla="*/ 1508378 w 2077606"/>
              <a:gd name="connsiteY3420" fmla="*/ 1143465 h 1786074"/>
              <a:gd name="connsiteX3421" fmla="*/ 1512368 w 2077606"/>
              <a:gd name="connsiteY3421" fmla="*/ 1135489 h 1786074"/>
              <a:gd name="connsiteX3422" fmla="*/ 1512368 w 2077606"/>
              <a:gd name="connsiteY3422" fmla="*/ 1127513 h 1786074"/>
              <a:gd name="connsiteX3423" fmla="*/ 1518353 w 2077606"/>
              <a:gd name="connsiteY3423" fmla="*/ 1123525 h 1786074"/>
              <a:gd name="connsiteX3424" fmla="*/ 1518353 w 2077606"/>
              <a:gd name="connsiteY3424" fmla="*/ 1117543 h 1786074"/>
              <a:gd name="connsiteX3425" fmla="*/ 1522343 w 2077606"/>
              <a:gd name="connsiteY3425" fmla="*/ 1115549 h 1786074"/>
              <a:gd name="connsiteX3426" fmla="*/ 1518353 w 2077606"/>
              <a:gd name="connsiteY3426" fmla="*/ 1109567 h 1786074"/>
              <a:gd name="connsiteX3427" fmla="*/ 1520348 w 2077606"/>
              <a:gd name="connsiteY3427" fmla="*/ 1103585 h 1786074"/>
              <a:gd name="connsiteX3428" fmla="*/ 1522343 w 2077606"/>
              <a:gd name="connsiteY3428" fmla="*/ 1101591 h 1786074"/>
              <a:gd name="connsiteX3429" fmla="*/ 1522343 w 2077606"/>
              <a:gd name="connsiteY3429" fmla="*/ 1099597 h 1786074"/>
              <a:gd name="connsiteX3430" fmla="*/ 1518353 w 2077606"/>
              <a:gd name="connsiteY3430" fmla="*/ 1097603 h 1786074"/>
              <a:gd name="connsiteX3431" fmla="*/ 1520348 w 2077606"/>
              <a:gd name="connsiteY3431" fmla="*/ 1091621 h 1786074"/>
              <a:gd name="connsiteX3432" fmla="*/ 1522343 w 2077606"/>
              <a:gd name="connsiteY3432" fmla="*/ 1089627 h 1786074"/>
              <a:gd name="connsiteX3433" fmla="*/ 1520348 w 2077606"/>
              <a:gd name="connsiteY3433" fmla="*/ 1083645 h 1786074"/>
              <a:gd name="connsiteX3434" fmla="*/ 1520348 w 2077606"/>
              <a:gd name="connsiteY3434" fmla="*/ 1077663 h 1786074"/>
              <a:gd name="connsiteX3435" fmla="*/ 1510373 w 2077606"/>
              <a:gd name="connsiteY3435" fmla="*/ 1073675 h 1786074"/>
              <a:gd name="connsiteX3436" fmla="*/ 1518353 w 2077606"/>
              <a:gd name="connsiteY3436" fmla="*/ 1059717 h 1786074"/>
              <a:gd name="connsiteX3437" fmla="*/ 1520348 w 2077606"/>
              <a:gd name="connsiteY3437" fmla="*/ 1057723 h 1786074"/>
              <a:gd name="connsiteX3438" fmla="*/ 1520348 w 2077606"/>
              <a:gd name="connsiteY3438" fmla="*/ 1049747 h 1786074"/>
              <a:gd name="connsiteX3439" fmla="*/ 1528328 w 2077606"/>
              <a:gd name="connsiteY3439" fmla="*/ 1045759 h 1786074"/>
              <a:gd name="connsiteX3440" fmla="*/ 1526333 w 2077606"/>
              <a:gd name="connsiteY3440" fmla="*/ 1041771 h 1786074"/>
              <a:gd name="connsiteX3441" fmla="*/ 1520348 w 2077606"/>
              <a:gd name="connsiteY3441" fmla="*/ 1031801 h 1786074"/>
              <a:gd name="connsiteX3442" fmla="*/ 1518353 w 2077606"/>
              <a:gd name="connsiteY3442" fmla="*/ 1015849 h 1786074"/>
              <a:gd name="connsiteX3443" fmla="*/ 1522343 w 2077606"/>
              <a:gd name="connsiteY3443" fmla="*/ 1009867 h 1786074"/>
              <a:gd name="connsiteX3444" fmla="*/ 1526333 w 2077606"/>
              <a:gd name="connsiteY3444" fmla="*/ 1007873 h 1786074"/>
              <a:gd name="connsiteX3445" fmla="*/ 1536308 w 2077606"/>
              <a:gd name="connsiteY3445" fmla="*/ 1001891 h 1786074"/>
              <a:gd name="connsiteX3446" fmla="*/ 1538303 w 2077606"/>
              <a:gd name="connsiteY3446" fmla="*/ 997903 h 1786074"/>
              <a:gd name="connsiteX3447" fmla="*/ 1550273 w 2077606"/>
              <a:gd name="connsiteY3447" fmla="*/ 997903 h 1786074"/>
              <a:gd name="connsiteX3448" fmla="*/ 1554263 w 2077606"/>
              <a:gd name="connsiteY3448" fmla="*/ 999897 h 1786074"/>
              <a:gd name="connsiteX3449" fmla="*/ 1558253 w 2077606"/>
              <a:gd name="connsiteY3449" fmla="*/ 1001891 h 1786074"/>
              <a:gd name="connsiteX3450" fmla="*/ 1562243 w 2077606"/>
              <a:gd name="connsiteY3450" fmla="*/ 1003885 h 1786074"/>
              <a:gd name="connsiteX3451" fmla="*/ 1568228 w 2077606"/>
              <a:gd name="connsiteY3451" fmla="*/ 1007873 h 1786074"/>
              <a:gd name="connsiteX3452" fmla="*/ 1574213 w 2077606"/>
              <a:gd name="connsiteY3452" fmla="*/ 1007873 h 1786074"/>
              <a:gd name="connsiteX3453" fmla="*/ 1578203 w 2077606"/>
              <a:gd name="connsiteY3453" fmla="*/ 1009867 h 1786074"/>
              <a:gd name="connsiteX3454" fmla="*/ 1580198 w 2077606"/>
              <a:gd name="connsiteY3454" fmla="*/ 1013855 h 1786074"/>
              <a:gd name="connsiteX3455" fmla="*/ 1584188 w 2077606"/>
              <a:gd name="connsiteY3455" fmla="*/ 1011861 h 1786074"/>
              <a:gd name="connsiteX3456" fmla="*/ 1590173 w 2077606"/>
              <a:gd name="connsiteY3456" fmla="*/ 1011861 h 1786074"/>
              <a:gd name="connsiteX3457" fmla="*/ 1594163 w 2077606"/>
              <a:gd name="connsiteY3457" fmla="*/ 1015849 h 1786074"/>
              <a:gd name="connsiteX3458" fmla="*/ 1602143 w 2077606"/>
              <a:gd name="connsiteY3458" fmla="*/ 1013855 h 1786074"/>
              <a:gd name="connsiteX3459" fmla="*/ 1612118 w 2077606"/>
              <a:gd name="connsiteY3459" fmla="*/ 1013855 h 1786074"/>
              <a:gd name="connsiteX3460" fmla="*/ 1622093 w 2077606"/>
              <a:gd name="connsiteY3460" fmla="*/ 1005879 h 1786074"/>
              <a:gd name="connsiteX3461" fmla="*/ 1628078 w 2077606"/>
              <a:gd name="connsiteY3461" fmla="*/ 1003885 h 1786074"/>
              <a:gd name="connsiteX3462" fmla="*/ 1632068 w 2077606"/>
              <a:gd name="connsiteY3462" fmla="*/ 1007873 h 1786074"/>
              <a:gd name="connsiteX3463" fmla="*/ 1638053 w 2077606"/>
              <a:gd name="connsiteY3463" fmla="*/ 1011861 h 1786074"/>
              <a:gd name="connsiteX3464" fmla="*/ 1642043 w 2077606"/>
              <a:gd name="connsiteY3464" fmla="*/ 1017843 h 1786074"/>
              <a:gd name="connsiteX3465" fmla="*/ 1650023 w 2077606"/>
              <a:gd name="connsiteY3465" fmla="*/ 1021831 h 1786074"/>
              <a:gd name="connsiteX3466" fmla="*/ 1652018 w 2077606"/>
              <a:gd name="connsiteY3466" fmla="*/ 1027813 h 1786074"/>
              <a:gd name="connsiteX3467" fmla="*/ 1648028 w 2077606"/>
              <a:gd name="connsiteY3467" fmla="*/ 1033795 h 1786074"/>
              <a:gd name="connsiteX3468" fmla="*/ 1654013 w 2077606"/>
              <a:gd name="connsiteY3468" fmla="*/ 1031801 h 1786074"/>
              <a:gd name="connsiteX3469" fmla="*/ 1656008 w 2077606"/>
              <a:gd name="connsiteY3469" fmla="*/ 1029807 h 1786074"/>
              <a:gd name="connsiteX3470" fmla="*/ 1658003 w 2077606"/>
              <a:gd name="connsiteY3470" fmla="*/ 1035789 h 1786074"/>
              <a:gd name="connsiteX3471" fmla="*/ 1661993 w 2077606"/>
              <a:gd name="connsiteY3471" fmla="*/ 1037783 h 1786074"/>
              <a:gd name="connsiteX3472" fmla="*/ 1659998 w 2077606"/>
              <a:gd name="connsiteY3472" fmla="*/ 1041771 h 1786074"/>
              <a:gd name="connsiteX3473" fmla="*/ 1667978 w 2077606"/>
              <a:gd name="connsiteY3473" fmla="*/ 1041771 h 1786074"/>
              <a:gd name="connsiteX3474" fmla="*/ 1671968 w 2077606"/>
              <a:gd name="connsiteY3474" fmla="*/ 1045759 h 1786074"/>
              <a:gd name="connsiteX3475" fmla="*/ 1665983 w 2077606"/>
              <a:gd name="connsiteY3475" fmla="*/ 1051741 h 1786074"/>
              <a:gd name="connsiteX3476" fmla="*/ 1667978 w 2077606"/>
              <a:gd name="connsiteY3476" fmla="*/ 1055729 h 1786074"/>
              <a:gd name="connsiteX3477" fmla="*/ 1673963 w 2077606"/>
              <a:gd name="connsiteY3477" fmla="*/ 1057723 h 1786074"/>
              <a:gd name="connsiteX3478" fmla="*/ 1675958 w 2077606"/>
              <a:gd name="connsiteY3478" fmla="*/ 1059717 h 1786074"/>
              <a:gd name="connsiteX3479" fmla="*/ 1681943 w 2077606"/>
              <a:gd name="connsiteY3479" fmla="*/ 1061711 h 1786074"/>
              <a:gd name="connsiteX3480" fmla="*/ 1683938 w 2077606"/>
              <a:gd name="connsiteY3480" fmla="*/ 1063705 h 1786074"/>
              <a:gd name="connsiteX3481" fmla="*/ 1691918 w 2077606"/>
              <a:gd name="connsiteY3481" fmla="*/ 1063705 h 1786074"/>
              <a:gd name="connsiteX3482" fmla="*/ 1695908 w 2077606"/>
              <a:gd name="connsiteY3482" fmla="*/ 1065699 h 1786074"/>
              <a:gd name="connsiteX3483" fmla="*/ 1697903 w 2077606"/>
              <a:gd name="connsiteY3483" fmla="*/ 1063705 h 1786074"/>
              <a:gd name="connsiteX3484" fmla="*/ 1701893 w 2077606"/>
              <a:gd name="connsiteY3484" fmla="*/ 1063705 h 1786074"/>
              <a:gd name="connsiteX3485" fmla="*/ 1701893 w 2077606"/>
              <a:gd name="connsiteY3485" fmla="*/ 1069687 h 1786074"/>
              <a:gd name="connsiteX3486" fmla="*/ 1705883 w 2077606"/>
              <a:gd name="connsiteY3486" fmla="*/ 1071681 h 1786074"/>
              <a:gd name="connsiteX3487" fmla="*/ 1709873 w 2077606"/>
              <a:gd name="connsiteY3487" fmla="*/ 1071681 h 1786074"/>
              <a:gd name="connsiteX3488" fmla="*/ 1713863 w 2077606"/>
              <a:gd name="connsiteY3488" fmla="*/ 1069687 h 1786074"/>
              <a:gd name="connsiteX3489" fmla="*/ 1713863 w 2077606"/>
              <a:gd name="connsiteY3489" fmla="*/ 1065699 h 1786074"/>
              <a:gd name="connsiteX3490" fmla="*/ 1717853 w 2077606"/>
              <a:gd name="connsiteY3490" fmla="*/ 1065699 h 1786074"/>
              <a:gd name="connsiteX3491" fmla="*/ 1717853 w 2077606"/>
              <a:gd name="connsiteY3491" fmla="*/ 1075669 h 1786074"/>
              <a:gd name="connsiteX3492" fmla="*/ 1709873 w 2077606"/>
              <a:gd name="connsiteY3492" fmla="*/ 1081651 h 1786074"/>
              <a:gd name="connsiteX3493" fmla="*/ 1709873 w 2077606"/>
              <a:gd name="connsiteY3493" fmla="*/ 1087633 h 1786074"/>
              <a:gd name="connsiteX3494" fmla="*/ 1707878 w 2077606"/>
              <a:gd name="connsiteY3494" fmla="*/ 1093615 h 1786074"/>
              <a:gd name="connsiteX3495" fmla="*/ 1707878 w 2077606"/>
              <a:gd name="connsiteY3495" fmla="*/ 1099597 h 1786074"/>
              <a:gd name="connsiteX3496" fmla="*/ 1701893 w 2077606"/>
              <a:gd name="connsiteY3496" fmla="*/ 1105579 h 1786074"/>
              <a:gd name="connsiteX3497" fmla="*/ 1693913 w 2077606"/>
              <a:gd name="connsiteY3497" fmla="*/ 1105579 h 1786074"/>
              <a:gd name="connsiteX3498" fmla="*/ 1683938 w 2077606"/>
              <a:gd name="connsiteY3498" fmla="*/ 1105579 h 1786074"/>
              <a:gd name="connsiteX3499" fmla="*/ 1679948 w 2077606"/>
              <a:gd name="connsiteY3499" fmla="*/ 1109567 h 1786074"/>
              <a:gd name="connsiteX3500" fmla="*/ 1683938 w 2077606"/>
              <a:gd name="connsiteY3500" fmla="*/ 1113555 h 1786074"/>
              <a:gd name="connsiteX3501" fmla="*/ 1701893 w 2077606"/>
              <a:gd name="connsiteY3501" fmla="*/ 1113555 h 1786074"/>
              <a:gd name="connsiteX3502" fmla="*/ 1701893 w 2077606"/>
              <a:gd name="connsiteY3502" fmla="*/ 1121531 h 1786074"/>
              <a:gd name="connsiteX3503" fmla="*/ 1699898 w 2077606"/>
              <a:gd name="connsiteY3503" fmla="*/ 1125519 h 1786074"/>
              <a:gd name="connsiteX3504" fmla="*/ 1701893 w 2077606"/>
              <a:gd name="connsiteY3504" fmla="*/ 1129507 h 1786074"/>
              <a:gd name="connsiteX3505" fmla="*/ 1701893 w 2077606"/>
              <a:gd name="connsiteY3505" fmla="*/ 1133495 h 1786074"/>
              <a:gd name="connsiteX3506" fmla="*/ 1705883 w 2077606"/>
              <a:gd name="connsiteY3506" fmla="*/ 1135489 h 1786074"/>
              <a:gd name="connsiteX3507" fmla="*/ 1711868 w 2077606"/>
              <a:gd name="connsiteY3507" fmla="*/ 1135489 h 1786074"/>
              <a:gd name="connsiteX3508" fmla="*/ 1707878 w 2077606"/>
              <a:gd name="connsiteY3508" fmla="*/ 1139477 h 1786074"/>
              <a:gd name="connsiteX3509" fmla="*/ 1707878 w 2077606"/>
              <a:gd name="connsiteY3509" fmla="*/ 1143465 h 1786074"/>
              <a:gd name="connsiteX3510" fmla="*/ 1709873 w 2077606"/>
              <a:gd name="connsiteY3510" fmla="*/ 1147453 h 1786074"/>
              <a:gd name="connsiteX3511" fmla="*/ 1703888 w 2077606"/>
              <a:gd name="connsiteY3511" fmla="*/ 1149447 h 1786074"/>
              <a:gd name="connsiteX3512" fmla="*/ 1701893 w 2077606"/>
              <a:gd name="connsiteY3512" fmla="*/ 1153435 h 1786074"/>
              <a:gd name="connsiteX3513" fmla="*/ 1697903 w 2077606"/>
              <a:gd name="connsiteY3513" fmla="*/ 1155429 h 1786074"/>
              <a:gd name="connsiteX3514" fmla="*/ 1693913 w 2077606"/>
              <a:gd name="connsiteY3514" fmla="*/ 1157423 h 1786074"/>
              <a:gd name="connsiteX3515" fmla="*/ 1693913 w 2077606"/>
              <a:gd name="connsiteY3515" fmla="*/ 1163405 h 1786074"/>
              <a:gd name="connsiteX3516" fmla="*/ 1699898 w 2077606"/>
              <a:gd name="connsiteY3516" fmla="*/ 1161411 h 1786074"/>
              <a:gd name="connsiteX3517" fmla="*/ 1707878 w 2077606"/>
              <a:gd name="connsiteY3517" fmla="*/ 1155429 h 1786074"/>
              <a:gd name="connsiteX3518" fmla="*/ 1715858 w 2077606"/>
              <a:gd name="connsiteY3518" fmla="*/ 1153435 h 1786074"/>
              <a:gd name="connsiteX3519" fmla="*/ 1721843 w 2077606"/>
              <a:gd name="connsiteY3519" fmla="*/ 1153435 h 1786074"/>
              <a:gd name="connsiteX3520" fmla="*/ 1725833 w 2077606"/>
              <a:gd name="connsiteY3520" fmla="*/ 1151441 h 1786074"/>
              <a:gd name="connsiteX3521" fmla="*/ 1731818 w 2077606"/>
              <a:gd name="connsiteY3521" fmla="*/ 1157423 h 1786074"/>
              <a:gd name="connsiteX3522" fmla="*/ 1733813 w 2077606"/>
              <a:gd name="connsiteY3522" fmla="*/ 1165399 h 1786074"/>
              <a:gd name="connsiteX3523" fmla="*/ 1737803 w 2077606"/>
              <a:gd name="connsiteY3523" fmla="*/ 1167393 h 1786074"/>
              <a:gd name="connsiteX3524" fmla="*/ 1739798 w 2077606"/>
              <a:gd name="connsiteY3524" fmla="*/ 1169387 h 1786074"/>
              <a:gd name="connsiteX3525" fmla="*/ 1735808 w 2077606"/>
              <a:gd name="connsiteY3525" fmla="*/ 1181351 h 1786074"/>
              <a:gd name="connsiteX3526" fmla="*/ 1741793 w 2077606"/>
              <a:gd name="connsiteY3526" fmla="*/ 1179357 h 1786074"/>
              <a:gd name="connsiteX3527" fmla="*/ 1747778 w 2077606"/>
              <a:gd name="connsiteY3527" fmla="*/ 1181351 h 1786074"/>
              <a:gd name="connsiteX3528" fmla="*/ 1753763 w 2077606"/>
              <a:gd name="connsiteY3528" fmla="*/ 1177363 h 1786074"/>
              <a:gd name="connsiteX3529" fmla="*/ 1761743 w 2077606"/>
              <a:gd name="connsiteY3529" fmla="*/ 1171381 h 1786074"/>
              <a:gd name="connsiteX3530" fmla="*/ 1769723 w 2077606"/>
              <a:gd name="connsiteY3530" fmla="*/ 1171381 h 1786074"/>
              <a:gd name="connsiteX3531" fmla="*/ 1773713 w 2077606"/>
              <a:gd name="connsiteY3531" fmla="*/ 1167393 h 1786074"/>
              <a:gd name="connsiteX3532" fmla="*/ 1775708 w 2077606"/>
              <a:gd name="connsiteY3532" fmla="*/ 1161411 h 1786074"/>
              <a:gd name="connsiteX3533" fmla="*/ 1777703 w 2077606"/>
              <a:gd name="connsiteY3533" fmla="*/ 1159417 h 1786074"/>
              <a:gd name="connsiteX3534" fmla="*/ 1779698 w 2077606"/>
              <a:gd name="connsiteY3534" fmla="*/ 1157423 h 1786074"/>
              <a:gd name="connsiteX3535" fmla="*/ 1785683 w 2077606"/>
              <a:gd name="connsiteY3535" fmla="*/ 1157423 h 1786074"/>
              <a:gd name="connsiteX3536" fmla="*/ 1785683 w 2077606"/>
              <a:gd name="connsiteY3536" fmla="*/ 1167393 h 1786074"/>
              <a:gd name="connsiteX3537" fmla="*/ 1783688 w 2077606"/>
              <a:gd name="connsiteY3537" fmla="*/ 1173375 h 1786074"/>
              <a:gd name="connsiteX3538" fmla="*/ 1789673 w 2077606"/>
              <a:gd name="connsiteY3538" fmla="*/ 1171381 h 1786074"/>
              <a:gd name="connsiteX3539" fmla="*/ 1793663 w 2077606"/>
              <a:gd name="connsiteY3539" fmla="*/ 1163405 h 1786074"/>
              <a:gd name="connsiteX3540" fmla="*/ 1795658 w 2077606"/>
              <a:gd name="connsiteY3540" fmla="*/ 1155429 h 1786074"/>
              <a:gd name="connsiteX3541" fmla="*/ 1793663 w 2077606"/>
              <a:gd name="connsiteY3541" fmla="*/ 1149447 h 1786074"/>
              <a:gd name="connsiteX3542" fmla="*/ 1799648 w 2077606"/>
              <a:gd name="connsiteY3542" fmla="*/ 1147453 h 1786074"/>
              <a:gd name="connsiteX3543" fmla="*/ 1805633 w 2077606"/>
              <a:gd name="connsiteY3543" fmla="*/ 1147453 h 1786074"/>
              <a:gd name="connsiteX3544" fmla="*/ 1805633 w 2077606"/>
              <a:gd name="connsiteY3544" fmla="*/ 1143465 h 1786074"/>
              <a:gd name="connsiteX3545" fmla="*/ 1805633 w 2077606"/>
              <a:gd name="connsiteY3545" fmla="*/ 1139477 h 1786074"/>
              <a:gd name="connsiteX3546" fmla="*/ 1811618 w 2077606"/>
              <a:gd name="connsiteY3546" fmla="*/ 1135489 h 1786074"/>
              <a:gd name="connsiteX3547" fmla="*/ 1813613 w 2077606"/>
              <a:gd name="connsiteY3547" fmla="*/ 1129507 h 1786074"/>
              <a:gd name="connsiteX3548" fmla="*/ 1809623 w 2077606"/>
              <a:gd name="connsiteY3548" fmla="*/ 1121531 h 1786074"/>
              <a:gd name="connsiteX3549" fmla="*/ 1819598 w 2077606"/>
              <a:gd name="connsiteY3549" fmla="*/ 1105579 h 1786074"/>
              <a:gd name="connsiteX3550" fmla="*/ 1827578 w 2077606"/>
              <a:gd name="connsiteY3550" fmla="*/ 1093615 h 1786074"/>
              <a:gd name="connsiteX3551" fmla="*/ 1829573 w 2077606"/>
              <a:gd name="connsiteY3551" fmla="*/ 1091621 h 1786074"/>
              <a:gd name="connsiteX3552" fmla="*/ 1829573 w 2077606"/>
              <a:gd name="connsiteY3552" fmla="*/ 1085639 h 1786074"/>
              <a:gd name="connsiteX3553" fmla="*/ 1835558 w 2077606"/>
              <a:gd name="connsiteY3553" fmla="*/ 1089627 h 1786074"/>
              <a:gd name="connsiteX3554" fmla="*/ 1835558 w 2077606"/>
              <a:gd name="connsiteY3554" fmla="*/ 1099597 h 1786074"/>
              <a:gd name="connsiteX3555" fmla="*/ 1839548 w 2077606"/>
              <a:gd name="connsiteY3555" fmla="*/ 1101591 h 1786074"/>
              <a:gd name="connsiteX3556" fmla="*/ 1841543 w 2077606"/>
              <a:gd name="connsiteY3556" fmla="*/ 1105579 h 1786074"/>
              <a:gd name="connsiteX3557" fmla="*/ 1841543 w 2077606"/>
              <a:gd name="connsiteY3557" fmla="*/ 1115549 h 1786074"/>
              <a:gd name="connsiteX3558" fmla="*/ 1841543 w 2077606"/>
              <a:gd name="connsiteY3558" fmla="*/ 1119537 h 1786074"/>
              <a:gd name="connsiteX3559" fmla="*/ 1847528 w 2077606"/>
              <a:gd name="connsiteY3559" fmla="*/ 1125519 h 1786074"/>
              <a:gd name="connsiteX3560" fmla="*/ 1845533 w 2077606"/>
              <a:gd name="connsiteY3560" fmla="*/ 1131501 h 1786074"/>
              <a:gd name="connsiteX3561" fmla="*/ 1849523 w 2077606"/>
              <a:gd name="connsiteY3561" fmla="*/ 1135489 h 1786074"/>
              <a:gd name="connsiteX3562" fmla="*/ 1853513 w 2077606"/>
              <a:gd name="connsiteY3562" fmla="*/ 1139477 h 1786074"/>
              <a:gd name="connsiteX3563" fmla="*/ 1845533 w 2077606"/>
              <a:gd name="connsiteY3563" fmla="*/ 1143465 h 1786074"/>
              <a:gd name="connsiteX3564" fmla="*/ 1845533 w 2077606"/>
              <a:gd name="connsiteY3564" fmla="*/ 1147453 h 1786074"/>
              <a:gd name="connsiteX3565" fmla="*/ 1849523 w 2077606"/>
              <a:gd name="connsiteY3565" fmla="*/ 1145459 h 1786074"/>
              <a:gd name="connsiteX3566" fmla="*/ 1857503 w 2077606"/>
              <a:gd name="connsiteY3566" fmla="*/ 1143465 h 1786074"/>
              <a:gd name="connsiteX3567" fmla="*/ 1855508 w 2077606"/>
              <a:gd name="connsiteY3567" fmla="*/ 1149447 h 1786074"/>
              <a:gd name="connsiteX3568" fmla="*/ 1857503 w 2077606"/>
              <a:gd name="connsiteY3568" fmla="*/ 1153435 h 1786074"/>
              <a:gd name="connsiteX3569" fmla="*/ 1863488 w 2077606"/>
              <a:gd name="connsiteY3569" fmla="*/ 1153435 h 1786074"/>
              <a:gd name="connsiteX3570" fmla="*/ 1865483 w 2077606"/>
              <a:gd name="connsiteY3570" fmla="*/ 1159417 h 1786074"/>
              <a:gd name="connsiteX3571" fmla="*/ 1859498 w 2077606"/>
              <a:gd name="connsiteY3571" fmla="*/ 1165399 h 1786074"/>
              <a:gd name="connsiteX3572" fmla="*/ 1851518 w 2077606"/>
              <a:gd name="connsiteY3572" fmla="*/ 1165399 h 1786074"/>
              <a:gd name="connsiteX3573" fmla="*/ 1849523 w 2077606"/>
              <a:gd name="connsiteY3573" fmla="*/ 1167393 h 1786074"/>
              <a:gd name="connsiteX3574" fmla="*/ 1849523 w 2077606"/>
              <a:gd name="connsiteY3574" fmla="*/ 1171381 h 1786074"/>
              <a:gd name="connsiteX3575" fmla="*/ 1857503 w 2077606"/>
              <a:gd name="connsiteY3575" fmla="*/ 1169387 h 1786074"/>
              <a:gd name="connsiteX3576" fmla="*/ 1865483 w 2077606"/>
              <a:gd name="connsiteY3576" fmla="*/ 1165399 h 1786074"/>
              <a:gd name="connsiteX3577" fmla="*/ 1871468 w 2077606"/>
              <a:gd name="connsiteY3577" fmla="*/ 1169387 h 1786074"/>
              <a:gd name="connsiteX3578" fmla="*/ 1865483 w 2077606"/>
              <a:gd name="connsiteY3578" fmla="*/ 1177363 h 1786074"/>
              <a:gd name="connsiteX3579" fmla="*/ 1857503 w 2077606"/>
              <a:gd name="connsiteY3579" fmla="*/ 1183345 h 1786074"/>
              <a:gd name="connsiteX3580" fmla="*/ 1851518 w 2077606"/>
              <a:gd name="connsiteY3580" fmla="*/ 1187333 h 1786074"/>
              <a:gd name="connsiteX3581" fmla="*/ 1859498 w 2077606"/>
              <a:gd name="connsiteY3581" fmla="*/ 1185339 h 1786074"/>
              <a:gd name="connsiteX3582" fmla="*/ 1871468 w 2077606"/>
              <a:gd name="connsiteY3582" fmla="*/ 1179357 h 1786074"/>
              <a:gd name="connsiteX3583" fmla="*/ 1875458 w 2077606"/>
              <a:gd name="connsiteY3583" fmla="*/ 1181351 h 1786074"/>
              <a:gd name="connsiteX3584" fmla="*/ 1873463 w 2077606"/>
              <a:gd name="connsiteY3584" fmla="*/ 1189327 h 1786074"/>
              <a:gd name="connsiteX3585" fmla="*/ 1879448 w 2077606"/>
              <a:gd name="connsiteY3585" fmla="*/ 1189327 h 1786074"/>
              <a:gd name="connsiteX3586" fmla="*/ 1879448 w 2077606"/>
              <a:gd name="connsiteY3586" fmla="*/ 1197303 h 1786074"/>
              <a:gd name="connsiteX3587" fmla="*/ 1879448 w 2077606"/>
              <a:gd name="connsiteY3587" fmla="*/ 1203284 h 1786074"/>
              <a:gd name="connsiteX3588" fmla="*/ 1875458 w 2077606"/>
              <a:gd name="connsiteY3588" fmla="*/ 1205278 h 1786074"/>
              <a:gd name="connsiteX3589" fmla="*/ 1871468 w 2077606"/>
              <a:gd name="connsiteY3589" fmla="*/ 1205278 h 1786074"/>
              <a:gd name="connsiteX3590" fmla="*/ 1871468 w 2077606"/>
              <a:gd name="connsiteY3590" fmla="*/ 1209266 h 1786074"/>
              <a:gd name="connsiteX3591" fmla="*/ 1875458 w 2077606"/>
              <a:gd name="connsiteY3591" fmla="*/ 1207272 h 1786074"/>
              <a:gd name="connsiteX3592" fmla="*/ 1879448 w 2077606"/>
              <a:gd name="connsiteY3592" fmla="*/ 1211260 h 1786074"/>
              <a:gd name="connsiteX3593" fmla="*/ 1881443 w 2077606"/>
              <a:gd name="connsiteY3593" fmla="*/ 1217242 h 1786074"/>
              <a:gd name="connsiteX3594" fmla="*/ 1887427 w 2077606"/>
              <a:gd name="connsiteY3594" fmla="*/ 1219236 h 1786074"/>
              <a:gd name="connsiteX3595" fmla="*/ 1893412 w 2077606"/>
              <a:gd name="connsiteY3595" fmla="*/ 1221230 h 1786074"/>
              <a:gd name="connsiteX3596" fmla="*/ 1889422 w 2077606"/>
              <a:gd name="connsiteY3596" fmla="*/ 1229206 h 1786074"/>
              <a:gd name="connsiteX3597" fmla="*/ 1887427 w 2077606"/>
              <a:gd name="connsiteY3597" fmla="*/ 1235188 h 1786074"/>
              <a:gd name="connsiteX3598" fmla="*/ 1883438 w 2077606"/>
              <a:gd name="connsiteY3598" fmla="*/ 1233194 h 1786074"/>
              <a:gd name="connsiteX3599" fmla="*/ 1879448 w 2077606"/>
              <a:gd name="connsiteY3599" fmla="*/ 1237182 h 1786074"/>
              <a:gd name="connsiteX3600" fmla="*/ 1873463 w 2077606"/>
              <a:gd name="connsiteY3600" fmla="*/ 1237182 h 1786074"/>
              <a:gd name="connsiteX3601" fmla="*/ 1869473 w 2077606"/>
              <a:gd name="connsiteY3601" fmla="*/ 1235188 h 1786074"/>
              <a:gd name="connsiteX3602" fmla="*/ 1865483 w 2077606"/>
              <a:gd name="connsiteY3602" fmla="*/ 1233194 h 1786074"/>
              <a:gd name="connsiteX3603" fmla="*/ 1861493 w 2077606"/>
              <a:gd name="connsiteY3603" fmla="*/ 1235188 h 1786074"/>
              <a:gd name="connsiteX3604" fmla="*/ 1867478 w 2077606"/>
              <a:gd name="connsiteY3604" fmla="*/ 1237182 h 1786074"/>
              <a:gd name="connsiteX3605" fmla="*/ 1879448 w 2077606"/>
              <a:gd name="connsiteY3605" fmla="*/ 1241170 h 1786074"/>
              <a:gd name="connsiteX3606" fmla="*/ 1877453 w 2077606"/>
              <a:gd name="connsiteY3606" fmla="*/ 1245158 h 1786074"/>
              <a:gd name="connsiteX3607" fmla="*/ 1871468 w 2077606"/>
              <a:gd name="connsiteY3607" fmla="*/ 1249146 h 1786074"/>
              <a:gd name="connsiteX3608" fmla="*/ 1875458 w 2077606"/>
              <a:gd name="connsiteY3608" fmla="*/ 1253134 h 1786074"/>
              <a:gd name="connsiteX3609" fmla="*/ 1875458 w 2077606"/>
              <a:gd name="connsiteY3609" fmla="*/ 1255128 h 1786074"/>
              <a:gd name="connsiteX3610" fmla="*/ 1873463 w 2077606"/>
              <a:gd name="connsiteY3610" fmla="*/ 1259116 h 1786074"/>
              <a:gd name="connsiteX3611" fmla="*/ 1879448 w 2077606"/>
              <a:gd name="connsiteY3611" fmla="*/ 1259116 h 1786074"/>
              <a:gd name="connsiteX3612" fmla="*/ 1885432 w 2077606"/>
              <a:gd name="connsiteY3612" fmla="*/ 1259116 h 1786074"/>
              <a:gd name="connsiteX3613" fmla="*/ 1887427 w 2077606"/>
              <a:gd name="connsiteY3613" fmla="*/ 1261110 h 1786074"/>
              <a:gd name="connsiteX3614" fmla="*/ 1887427 w 2077606"/>
              <a:gd name="connsiteY3614" fmla="*/ 1271080 h 1786074"/>
              <a:gd name="connsiteX3615" fmla="*/ 1895407 w 2077606"/>
              <a:gd name="connsiteY3615" fmla="*/ 1273074 h 1786074"/>
              <a:gd name="connsiteX3616" fmla="*/ 1899397 w 2077606"/>
              <a:gd name="connsiteY3616" fmla="*/ 1277062 h 1786074"/>
              <a:gd name="connsiteX3617" fmla="*/ 1899397 w 2077606"/>
              <a:gd name="connsiteY3617" fmla="*/ 1281050 h 1786074"/>
              <a:gd name="connsiteX3618" fmla="*/ 1905382 w 2077606"/>
              <a:gd name="connsiteY3618" fmla="*/ 1279056 h 1786074"/>
              <a:gd name="connsiteX3619" fmla="*/ 1909372 w 2077606"/>
              <a:gd name="connsiteY3619" fmla="*/ 1279056 h 1786074"/>
              <a:gd name="connsiteX3620" fmla="*/ 1909372 w 2077606"/>
              <a:gd name="connsiteY3620" fmla="*/ 1285038 h 1786074"/>
              <a:gd name="connsiteX3621" fmla="*/ 1909372 w 2077606"/>
              <a:gd name="connsiteY3621" fmla="*/ 1289026 h 1786074"/>
              <a:gd name="connsiteX3622" fmla="*/ 1911367 w 2077606"/>
              <a:gd name="connsiteY3622" fmla="*/ 1291020 h 1786074"/>
              <a:gd name="connsiteX3623" fmla="*/ 1909372 w 2077606"/>
              <a:gd name="connsiteY3623" fmla="*/ 1297002 h 1786074"/>
              <a:gd name="connsiteX3624" fmla="*/ 1905382 w 2077606"/>
              <a:gd name="connsiteY3624" fmla="*/ 1300990 h 1786074"/>
              <a:gd name="connsiteX3625" fmla="*/ 1907377 w 2077606"/>
              <a:gd name="connsiteY3625" fmla="*/ 1304978 h 1786074"/>
              <a:gd name="connsiteX3626" fmla="*/ 1917352 w 2077606"/>
              <a:gd name="connsiteY3626" fmla="*/ 1298996 h 1786074"/>
              <a:gd name="connsiteX3627" fmla="*/ 1925332 w 2077606"/>
              <a:gd name="connsiteY3627" fmla="*/ 1297002 h 1786074"/>
              <a:gd name="connsiteX3628" fmla="*/ 1929322 w 2077606"/>
              <a:gd name="connsiteY3628" fmla="*/ 1298996 h 1786074"/>
              <a:gd name="connsiteX3629" fmla="*/ 1931317 w 2077606"/>
              <a:gd name="connsiteY3629" fmla="*/ 1302984 h 1786074"/>
              <a:gd name="connsiteX3630" fmla="*/ 1937302 w 2077606"/>
              <a:gd name="connsiteY3630" fmla="*/ 1300990 h 1786074"/>
              <a:gd name="connsiteX3631" fmla="*/ 1939297 w 2077606"/>
              <a:gd name="connsiteY3631" fmla="*/ 1304978 h 1786074"/>
              <a:gd name="connsiteX3632" fmla="*/ 1941292 w 2077606"/>
              <a:gd name="connsiteY3632" fmla="*/ 1306972 h 1786074"/>
              <a:gd name="connsiteX3633" fmla="*/ 1943287 w 2077606"/>
              <a:gd name="connsiteY3633" fmla="*/ 1310960 h 1786074"/>
              <a:gd name="connsiteX3634" fmla="*/ 1945282 w 2077606"/>
              <a:gd name="connsiteY3634" fmla="*/ 1312954 h 1786074"/>
              <a:gd name="connsiteX3635" fmla="*/ 1951267 w 2077606"/>
              <a:gd name="connsiteY3635" fmla="*/ 1314948 h 1786074"/>
              <a:gd name="connsiteX3636" fmla="*/ 1963237 w 2077606"/>
              <a:gd name="connsiteY3636" fmla="*/ 1312954 h 1786074"/>
              <a:gd name="connsiteX3637" fmla="*/ 1967227 w 2077606"/>
              <a:gd name="connsiteY3637" fmla="*/ 1318936 h 1786074"/>
              <a:gd name="connsiteX3638" fmla="*/ 1971217 w 2077606"/>
              <a:gd name="connsiteY3638" fmla="*/ 1320930 h 1786074"/>
              <a:gd name="connsiteX3639" fmla="*/ 1981192 w 2077606"/>
              <a:gd name="connsiteY3639" fmla="*/ 1320930 h 1786074"/>
              <a:gd name="connsiteX3640" fmla="*/ 1985182 w 2077606"/>
              <a:gd name="connsiteY3640" fmla="*/ 1324918 h 1786074"/>
              <a:gd name="connsiteX3641" fmla="*/ 1973212 w 2077606"/>
              <a:gd name="connsiteY3641" fmla="*/ 1328906 h 1786074"/>
              <a:gd name="connsiteX3642" fmla="*/ 1965232 w 2077606"/>
              <a:gd name="connsiteY3642" fmla="*/ 1328906 h 1786074"/>
              <a:gd name="connsiteX3643" fmla="*/ 1959247 w 2077606"/>
              <a:gd name="connsiteY3643" fmla="*/ 1328906 h 1786074"/>
              <a:gd name="connsiteX3644" fmla="*/ 1955257 w 2077606"/>
              <a:gd name="connsiteY3644" fmla="*/ 1330900 h 1786074"/>
              <a:gd name="connsiteX3645" fmla="*/ 1955257 w 2077606"/>
              <a:gd name="connsiteY3645" fmla="*/ 1332894 h 1786074"/>
              <a:gd name="connsiteX3646" fmla="*/ 1947277 w 2077606"/>
              <a:gd name="connsiteY3646" fmla="*/ 1336882 h 1786074"/>
              <a:gd name="connsiteX3647" fmla="*/ 1943287 w 2077606"/>
              <a:gd name="connsiteY3647" fmla="*/ 1340870 h 1786074"/>
              <a:gd name="connsiteX3648" fmla="*/ 1933312 w 2077606"/>
              <a:gd name="connsiteY3648" fmla="*/ 1342864 h 1786074"/>
              <a:gd name="connsiteX3649" fmla="*/ 1925332 w 2077606"/>
              <a:gd name="connsiteY3649" fmla="*/ 1344858 h 1786074"/>
              <a:gd name="connsiteX3650" fmla="*/ 1927327 w 2077606"/>
              <a:gd name="connsiteY3650" fmla="*/ 1346852 h 1786074"/>
              <a:gd name="connsiteX3651" fmla="*/ 1933312 w 2077606"/>
              <a:gd name="connsiteY3651" fmla="*/ 1346852 h 1786074"/>
              <a:gd name="connsiteX3652" fmla="*/ 1927327 w 2077606"/>
              <a:gd name="connsiteY3652" fmla="*/ 1350840 h 1786074"/>
              <a:gd name="connsiteX3653" fmla="*/ 1915357 w 2077606"/>
              <a:gd name="connsiteY3653" fmla="*/ 1352834 h 1786074"/>
              <a:gd name="connsiteX3654" fmla="*/ 1911367 w 2077606"/>
              <a:gd name="connsiteY3654" fmla="*/ 1354828 h 1786074"/>
              <a:gd name="connsiteX3655" fmla="*/ 1907377 w 2077606"/>
              <a:gd name="connsiteY3655" fmla="*/ 1358816 h 1786074"/>
              <a:gd name="connsiteX3656" fmla="*/ 1899397 w 2077606"/>
              <a:gd name="connsiteY3656" fmla="*/ 1358816 h 1786074"/>
              <a:gd name="connsiteX3657" fmla="*/ 1891417 w 2077606"/>
              <a:gd name="connsiteY3657" fmla="*/ 1356822 h 1786074"/>
              <a:gd name="connsiteX3658" fmla="*/ 1887427 w 2077606"/>
              <a:gd name="connsiteY3658" fmla="*/ 1358816 h 1786074"/>
              <a:gd name="connsiteX3659" fmla="*/ 1891417 w 2077606"/>
              <a:gd name="connsiteY3659" fmla="*/ 1360810 h 1786074"/>
              <a:gd name="connsiteX3660" fmla="*/ 1897402 w 2077606"/>
              <a:gd name="connsiteY3660" fmla="*/ 1366792 h 1786074"/>
              <a:gd name="connsiteX3661" fmla="*/ 1897402 w 2077606"/>
              <a:gd name="connsiteY3661" fmla="*/ 1370780 h 1786074"/>
              <a:gd name="connsiteX3662" fmla="*/ 1887427 w 2077606"/>
              <a:gd name="connsiteY3662" fmla="*/ 1376762 h 1786074"/>
              <a:gd name="connsiteX3663" fmla="*/ 1877453 w 2077606"/>
              <a:gd name="connsiteY3663" fmla="*/ 1382744 h 1786074"/>
              <a:gd name="connsiteX3664" fmla="*/ 1869473 w 2077606"/>
              <a:gd name="connsiteY3664" fmla="*/ 1390720 h 1786074"/>
              <a:gd name="connsiteX3665" fmla="*/ 1867478 w 2077606"/>
              <a:gd name="connsiteY3665" fmla="*/ 1394708 h 1786074"/>
              <a:gd name="connsiteX3666" fmla="*/ 1875458 w 2077606"/>
              <a:gd name="connsiteY3666" fmla="*/ 1388726 h 1786074"/>
              <a:gd name="connsiteX3667" fmla="*/ 1887427 w 2077606"/>
              <a:gd name="connsiteY3667" fmla="*/ 1380750 h 1786074"/>
              <a:gd name="connsiteX3668" fmla="*/ 1901392 w 2077606"/>
              <a:gd name="connsiteY3668" fmla="*/ 1374768 h 1786074"/>
              <a:gd name="connsiteX3669" fmla="*/ 1905382 w 2077606"/>
              <a:gd name="connsiteY3669" fmla="*/ 1372774 h 1786074"/>
              <a:gd name="connsiteX3670" fmla="*/ 1911367 w 2077606"/>
              <a:gd name="connsiteY3670" fmla="*/ 1362804 h 1786074"/>
              <a:gd name="connsiteX3671" fmla="*/ 1923337 w 2077606"/>
              <a:gd name="connsiteY3671" fmla="*/ 1358816 h 1786074"/>
              <a:gd name="connsiteX3672" fmla="*/ 1931317 w 2077606"/>
              <a:gd name="connsiteY3672" fmla="*/ 1356822 h 1786074"/>
              <a:gd name="connsiteX3673" fmla="*/ 1937302 w 2077606"/>
              <a:gd name="connsiteY3673" fmla="*/ 1350840 h 1786074"/>
              <a:gd name="connsiteX3674" fmla="*/ 1943287 w 2077606"/>
              <a:gd name="connsiteY3674" fmla="*/ 1350840 h 1786074"/>
              <a:gd name="connsiteX3675" fmla="*/ 1949272 w 2077606"/>
              <a:gd name="connsiteY3675" fmla="*/ 1344858 h 1786074"/>
              <a:gd name="connsiteX3676" fmla="*/ 1951267 w 2077606"/>
              <a:gd name="connsiteY3676" fmla="*/ 1338876 h 1786074"/>
              <a:gd name="connsiteX3677" fmla="*/ 1955257 w 2077606"/>
              <a:gd name="connsiteY3677" fmla="*/ 1336882 h 1786074"/>
              <a:gd name="connsiteX3678" fmla="*/ 1963237 w 2077606"/>
              <a:gd name="connsiteY3678" fmla="*/ 1338876 h 1786074"/>
              <a:gd name="connsiteX3679" fmla="*/ 1971217 w 2077606"/>
              <a:gd name="connsiteY3679" fmla="*/ 1338876 h 1786074"/>
              <a:gd name="connsiteX3680" fmla="*/ 1979197 w 2077606"/>
              <a:gd name="connsiteY3680" fmla="*/ 1344858 h 1786074"/>
              <a:gd name="connsiteX3681" fmla="*/ 1981192 w 2077606"/>
              <a:gd name="connsiteY3681" fmla="*/ 1352834 h 1786074"/>
              <a:gd name="connsiteX3682" fmla="*/ 1977202 w 2077606"/>
              <a:gd name="connsiteY3682" fmla="*/ 1356822 h 1786074"/>
              <a:gd name="connsiteX3683" fmla="*/ 1971217 w 2077606"/>
              <a:gd name="connsiteY3683" fmla="*/ 1358816 h 1786074"/>
              <a:gd name="connsiteX3684" fmla="*/ 1975207 w 2077606"/>
              <a:gd name="connsiteY3684" fmla="*/ 1362804 h 1786074"/>
              <a:gd name="connsiteX3685" fmla="*/ 1979197 w 2077606"/>
              <a:gd name="connsiteY3685" fmla="*/ 1364798 h 1786074"/>
              <a:gd name="connsiteX3686" fmla="*/ 1981192 w 2077606"/>
              <a:gd name="connsiteY3686" fmla="*/ 1356822 h 1786074"/>
              <a:gd name="connsiteX3687" fmla="*/ 1985182 w 2077606"/>
              <a:gd name="connsiteY3687" fmla="*/ 1352834 h 1786074"/>
              <a:gd name="connsiteX3688" fmla="*/ 1993162 w 2077606"/>
              <a:gd name="connsiteY3688" fmla="*/ 1354828 h 1786074"/>
              <a:gd name="connsiteX3689" fmla="*/ 1997152 w 2077606"/>
              <a:gd name="connsiteY3689" fmla="*/ 1358816 h 1786074"/>
              <a:gd name="connsiteX3690" fmla="*/ 1999147 w 2077606"/>
              <a:gd name="connsiteY3690" fmla="*/ 1358816 h 1786074"/>
              <a:gd name="connsiteX3691" fmla="*/ 2005132 w 2077606"/>
              <a:gd name="connsiteY3691" fmla="*/ 1358816 h 1786074"/>
              <a:gd name="connsiteX3692" fmla="*/ 2005132 w 2077606"/>
              <a:gd name="connsiteY3692" fmla="*/ 1366792 h 1786074"/>
              <a:gd name="connsiteX3693" fmla="*/ 2009122 w 2077606"/>
              <a:gd name="connsiteY3693" fmla="*/ 1368786 h 1786074"/>
              <a:gd name="connsiteX3694" fmla="*/ 2011117 w 2077606"/>
              <a:gd name="connsiteY3694" fmla="*/ 1374768 h 1786074"/>
              <a:gd name="connsiteX3695" fmla="*/ 2009122 w 2077606"/>
              <a:gd name="connsiteY3695" fmla="*/ 1378756 h 1786074"/>
              <a:gd name="connsiteX3696" fmla="*/ 2009122 w 2077606"/>
              <a:gd name="connsiteY3696" fmla="*/ 1380750 h 1786074"/>
              <a:gd name="connsiteX3697" fmla="*/ 2007127 w 2077606"/>
              <a:gd name="connsiteY3697" fmla="*/ 1384738 h 1786074"/>
              <a:gd name="connsiteX3698" fmla="*/ 2003137 w 2077606"/>
              <a:gd name="connsiteY3698" fmla="*/ 1384738 h 1786074"/>
              <a:gd name="connsiteX3699" fmla="*/ 2005132 w 2077606"/>
              <a:gd name="connsiteY3699" fmla="*/ 1386732 h 1786074"/>
              <a:gd name="connsiteX3700" fmla="*/ 2005132 w 2077606"/>
              <a:gd name="connsiteY3700" fmla="*/ 1392714 h 1786074"/>
              <a:gd name="connsiteX3701" fmla="*/ 2003137 w 2077606"/>
              <a:gd name="connsiteY3701" fmla="*/ 1392714 h 1786074"/>
              <a:gd name="connsiteX3702" fmla="*/ 2005132 w 2077606"/>
              <a:gd name="connsiteY3702" fmla="*/ 1398696 h 1786074"/>
              <a:gd name="connsiteX3703" fmla="*/ 2001142 w 2077606"/>
              <a:gd name="connsiteY3703" fmla="*/ 1398696 h 1786074"/>
              <a:gd name="connsiteX3704" fmla="*/ 1999147 w 2077606"/>
              <a:gd name="connsiteY3704" fmla="*/ 1400690 h 1786074"/>
              <a:gd name="connsiteX3705" fmla="*/ 2007127 w 2077606"/>
              <a:gd name="connsiteY3705" fmla="*/ 1404678 h 1786074"/>
              <a:gd name="connsiteX3706" fmla="*/ 2009122 w 2077606"/>
              <a:gd name="connsiteY3706" fmla="*/ 1408666 h 1786074"/>
              <a:gd name="connsiteX3707" fmla="*/ 2005132 w 2077606"/>
              <a:gd name="connsiteY3707" fmla="*/ 1408666 h 1786074"/>
              <a:gd name="connsiteX3708" fmla="*/ 2005132 w 2077606"/>
              <a:gd name="connsiteY3708" fmla="*/ 1416642 h 1786074"/>
              <a:gd name="connsiteX3709" fmla="*/ 2003137 w 2077606"/>
              <a:gd name="connsiteY3709" fmla="*/ 1426612 h 1786074"/>
              <a:gd name="connsiteX3710" fmla="*/ 2003137 w 2077606"/>
              <a:gd name="connsiteY3710" fmla="*/ 1430600 h 1786074"/>
              <a:gd name="connsiteX3711" fmla="*/ 1999147 w 2077606"/>
              <a:gd name="connsiteY3711" fmla="*/ 1428606 h 1786074"/>
              <a:gd name="connsiteX3712" fmla="*/ 1997152 w 2077606"/>
              <a:gd name="connsiteY3712" fmla="*/ 1430600 h 1786074"/>
              <a:gd name="connsiteX3713" fmla="*/ 1991167 w 2077606"/>
              <a:gd name="connsiteY3713" fmla="*/ 1436582 h 1786074"/>
              <a:gd name="connsiteX3714" fmla="*/ 1985182 w 2077606"/>
              <a:gd name="connsiteY3714" fmla="*/ 1436582 h 1786074"/>
              <a:gd name="connsiteX3715" fmla="*/ 1981192 w 2077606"/>
              <a:gd name="connsiteY3715" fmla="*/ 1438576 h 1786074"/>
              <a:gd name="connsiteX3716" fmla="*/ 1977202 w 2077606"/>
              <a:gd name="connsiteY3716" fmla="*/ 1442564 h 1786074"/>
              <a:gd name="connsiteX3717" fmla="*/ 1971217 w 2077606"/>
              <a:gd name="connsiteY3717" fmla="*/ 1444558 h 1786074"/>
              <a:gd name="connsiteX3718" fmla="*/ 1967227 w 2077606"/>
              <a:gd name="connsiteY3718" fmla="*/ 1444558 h 1786074"/>
              <a:gd name="connsiteX3719" fmla="*/ 1963237 w 2077606"/>
              <a:gd name="connsiteY3719" fmla="*/ 1442564 h 1786074"/>
              <a:gd name="connsiteX3720" fmla="*/ 1959247 w 2077606"/>
              <a:gd name="connsiteY3720" fmla="*/ 1446552 h 1786074"/>
              <a:gd name="connsiteX3721" fmla="*/ 1955257 w 2077606"/>
              <a:gd name="connsiteY3721" fmla="*/ 1442564 h 1786074"/>
              <a:gd name="connsiteX3722" fmla="*/ 1951267 w 2077606"/>
              <a:gd name="connsiteY3722" fmla="*/ 1444558 h 1786074"/>
              <a:gd name="connsiteX3723" fmla="*/ 1947277 w 2077606"/>
              <a:gd name="connsiteY3723" fmla="*/ 1448546 h 1786074"/>
              <a:gd name="connsiteX3724" fmla="*/ 1941292 w 2077606"/>
              <a:gd name="connsiteY3724" fmla="*/ 1448546 h 1786074"/>
              <a:gd name="connsiteX3725" fmla="*/ 1937302 w 2077606"/>
              <a:gd name="connsiteY3725" fmla="*/ 1448546 h 1786074"/>
              <a:gd name="connsiteX3726" fmla="*/ 1931317 w 2077606"/>
              <a:gd name="connsiteY3726" fmla="*/ 1452534 h 1786074"/>
              <a:gd name="connsiteX3727" fmla="*/ 1929322 w 2077606"/>
              <a:gd name="connsiteY3727" fmla="*/ 1456522 h 1786074"/>
              <a:gd name="connsiteX3728" fmla="*/ 1925332 w 2077606"/>
              <a:gd name="connsiteY3728" fmla="*/ 1462504 h 1786074"/>
              <a:gd name="connsiteX3729" fmla="*/ 1921342 w 2077606"/>
              <a:gd name="connsiteY3729" fmla="*/ 1466492 h 1786074"/>
              <a:gd name="connsiteX3730" fmla="*/ 1921342 w 2077606"/>
              <a:gd name="connsiteY3730" fmla="*/ 1470480 h 1786074"/>
              <a:gd name="connsiteX3731" fmla="*/ 1915357 w 2077606"/>
              <a:gd name="connsiteY3731" fmla="*/ 1468486 h 1786074"/>
              <a:gd name="connsiteX3732" fmla="*/ 1905382 w 2077606"/>
              <a:gd name="connsiteY3732" fmla="*/ 1484438 h 1786074"/>
              <a:gd name="connsiteX3733" fmla="*/ 1899397 w 2077606"/>
              <a:gd name="connsiteY3733" fmla="*/ 1486432 h 1786074"/>
              <a:gd name="connsiteX3734" fmla="*/ 1897402 w 2077606"/>
              <a:gd name="connsiteY3734" fmla="*/ 1492414 h 1786074"/>
              <a:gd name="connsiteX3735" fmla="*/ 1889422 w 2077606"/>
              <a:gd name="connsiteY3735" fmla="*/ 1492414 h 1786074"/>
              <a:gd name="connsiteX3736" fmla="*/ 1879448 w 2077606"/>
              <a:gd name="connsiteY3736" fmla="*/ 1492414 h 1786074"/>
              <a:gd name="connsiteX3737" fmla="*/ 1873463 w 2077606"/>
              <a:gd name="connsiteY3737" fmla="*/ 1492414 h 1786074"/>
              <a:gd name="connsiteX3738" fmla="*/ 1869473 w 2077606"/>
              <a:gd name="connsiteY3738" fmla="*/ 1492414 h 1786074"/>
              <a:gd name="connsiteX3739" fmla="*/ 1867478 w 2077606"/>
              <a:gd name="connsiteY3739" fmla="*/ 1492414 h 1786074"/>
              <a:gd name="connsiteX3740" fmla="*/ 1863488 w 2077606"/>
              <a:gd name="connsiteY3740" fmla="*/ 1492414 h 1786074"/>
              <a:gd name="connsiteX3741" fmla="*/ 1859498 w 2077606"/>
              <a:gd name="connsiteY3741" fmla="*/ 1494408 h 1786074"/>
              <a:gd name="connsiteX3742" fmla="*/ 1851518 w 2077606"/>
              <a:gd name="connsiteY3742" fmla="*/ 1496402 h 1786074"/>
              <a:gd name="connsiteX3743" fmla="*/ 1849523 w 2077606"/>
              <a:gd name="connsiteY3743" fmla="*/ 1494408 h 1786074"/>
              <a:gd name="connsiteX3744" fmla="*/ 1847528 w 2077606"/>
              <a:gd name="connsiteY3744" fmla="*/ 1490420 h 1786074"/>
              <a:gd name="connsiteX3745" fmla="*/ 1837553 w 2077606"/>
              <a:gd name="connsiteY3745" fmla="*/ 1490420 h 1786074"/>
              <a:gd name="connsiteX3746" fmla="*/ 1833563 w 2077606"/>
              <a:gd name="connsiteY3746" fmla="*/ 1490420 h 1786074"/>
              <a:gd name="connsiteX3747" fmla="*/ 1833563 w 2077606"/>
              <a:gd name="connsiteY3747" fmla="*/ 1494408 h 1786074"/>
              <a:gd name="connsiteX3748" fmla="*/ 1825583 w 2077606"/>
              <a:gd name="connsiteY3748" fmla="*/ 1492414 h 1786074"/>
              <a:gd name="connsiteX3749" fmla="*/ 1819598 w 2077606"/>
              <a:gd name="connsiteY3749" fmla="*/ 1492414 h 1786074"/>
              <a:gd name="connsiteX3750" fmla="*/ 1815608 w 2077606"/>
              <a:gd name="connsiteY3750" fmla="*/ 1494408 h 1786074"/>
              <a:gd name="connsiteX3751" fmla="*/ 1809623 w 2077606"/>
              <a:gd name="connsiteY3751" fmla="*/ 1494408 h 1786074"/>
              <a:gd name="connsiteX3752" fmla="*/ 1801643 w 2077606"/>
              <a:gd name="connsiteY3752" fmla="*/ 1490420 h 1786074"/>
              <a:gd name="connsiteX3753" fmla="*/ 1797653 w 2077606"/>
              <a:gd name="connsiteY3753" fmla="*/ 1492414 h 1786074"/>
              <a:gd name="connsiteX3754" fmla="*/ 1793663 w 2077606"/>
              <a:gd name="connsiteY3754" fmla="*/ 1494408 h 1786074"/>
              <a:gd name="connsiteX3755" fmla="*/ 1789673 w 2077606"/>
              <a:gd name="connsiteY3755" fmla="*/ 1494408 h 1786074"/>
              <a:gd name="connsiteX3756" fmla="*/ 1785683 w 2077606"/>
              <a:gd name="connsiteY3756" fmla="*/ 1492414 h 1786074"/>
              <a:gd name="connsiteX3757" fmla="*/ 1781693 w 2077606"/>
              <a:gd name="connsiteY3757" fmla="*/ 1492414 h 1786074"/>
              <a:gd name="connsiteX3758" fmla="*/ 1779698 w 2077606"/>
              <a:gd name="connsiteY3758" fmla="*/ 1494408 h 1786074"/>
              <a:gd name="connsiteX3759" fmla="*/ 1773713 w 2077606"/>
              <a:gd name="connsiteY3759" fmla="*/ 1492414 h 1786074"/>
              <a:gd name="connsiteX3760" fmla="*/ 1769723 w 2077606"/>
              <a:gd name="connsiteY3760" fmla="*/ 1490420 h 1786074"/>
              <a:gd name="connsiteX3761" fmla="*/ 1761743 w 2077606"/>
              <a:gd name="connsiteY3761" fmla="*/ 1494408 h 1786074"/>
              <a:gd name="connsiteX3762" fmla="*/ 1755758 w 2077606"/>
              <a:gd name="connsiteY3762" fmla="*/ 1494408 h 1786074"/>
              <a:gd name="connsiteX3763" fmla="*/ 1745783 w 2077606"/>
              <a:gd name="connsiteY3763" fmla="*/ 1492414 h 1786074"/>
              <a:gd name="connsiteX3764" fmla="*/ 1731818 w 2077606"/>
              <a:gd name="connsiteY3764" fmla="*/ 1494408 h 1786074"/>
              <a:gd name="connsiteX3765" fmla="*/ 1723838 w 2077606"/>
              <a:gd name="connsiteY3765" fmla="*/ 1504378 h 1786074"/>
              <a:gd name="connsiteX3766" fmla="*/ 1717853 w 2077606"/>
              <a:gd name="connsiteY3766" fmla="*/ 1510360 h 1786074"/>
              <a:gd name="connsiteX3767" fmla="*/ 1713863 w 2077606"/>
              <a:gd name="connsiteY3767" fmla="*/ 1514348 h 1786074"/>
              <a:gd name="connsiteX3768" fmla="*/ 1707878 w 2077606"/>
              <a:gd name="connsiteY3768" fmla="*/ 1524318 h 1786074"/>
              <a:gd name="connsiteX3769" fmla="*/ 1695908 w 2077606"/>
              <a:gd name="connsiteY3769" fmla="*/ 1528306 h 1786074"/>
              <a:gd name="connsiteX3770" fmla="*/ 1685933 w 2077606"/>
              <a:gd name="connsiteY3770" fmla="*/ 1528306 h 1786074"/>
              <a:gd name="connsiteX3771" fmla="*/ 1679948 w 2077606"/>
              <a:gd name="connsiteY3771" fmla="*/ 1536282 h 1786074"/>
              <a:gd name="connsiteX3772" fmla="*/ 1675958 w 2077606"/>
              <a:gd name="connsiteY3772" fmla="*/ 1542264 h 1786074"/>
              <a:gd name="connsiteX3773" fmla="*/ 1667978 w 2077606"/>
              <a:gd name="connsiteY3773" fmla="*/ 1550240 h 1786074"/>
              <a:gd name="connsiteX3774" fmla="*/ 1658003 w 2077606"/>
              <a:gd name="connsiteY3774" fmla="*/ 1556222 h 1786074"/>
              <a:gd name="connsiteX3775" fmla="*/ 1656008 w 2077606"/>
              <a:gd name="connsiteY3775" fmla="*/ 1564198 h 1786074"/>
              <a:gd name="connsiteX3776" fmla="*/ 1648028 w 2077606"/>
              <a:gd name="connsiteY3776" fmla="*/ 1570180 h 1786074"/>
              <a:gd name="connsiteX3777" fmla="*/ 1638053 w 2077606"/>
              <a:gd name="connsiteY3777" fmla="*/ 1584138 h 1786074"/>
              <a:gd name="connsiteX3778" fmla="*/ 1630073 w 2077606"/>
              <a:gd name="connsiteY3778" fmla="*/ 1592114 h 1786074"/>
              <a:gd name="connsiteX3779" fmla="*/ 1620098 w 2077606"/>
              <a:gd name="connsiteY3779" fmla="*/ 1604078 h 1786074"/>
              <a:gd name="connsiteX3780" fmla="*/ 1614113 w 2077606"/>
              <a:gd name="connsiteY3780" fmla="*/ 1612054 h 1786074"/>
              <a:gd name="connsiteX3781" fmla="*/ 1604138 w 2077606"/>
              <a:gd name="connsiteY3781" fmla="*/ 1616042 h 1786074"/>
              <a:gd name="connsiteX3782" fmla="*/ 1596158 w 2077606"/>
              <a:gd name="connsiteY3782" fmla="*/ 1622024 h 1786074"/>
              <a:gd name="connsiteX3783" fmla="*/ 1588178 w 2077606"/>
              <a:gd name="connsiteY3783" fmla="*/ 1626012 h 1786074"/>
              <a:gd name="connsiteX3784" fmla="*/ 1578203 w 2077606"/>
              <a:gd name="connsiteY3784" fmla="*/ 1630000 h 1786074"/>
              <a:gd name="connsiteX3785" fmla="*/ 1566233 w 2077606"/>
              <a:gd name="connsiteY3785" fmla="*/ 1637976 h 1786074"/>
              <a:gd name="connsiteX3786" fmla="*/ 1558253 w 2077606"/>
              <a:gd name="connsiteY3786" fmla="*/ 1641964 h 1786074"/>
              <a:gd name="connsiteX3787" fmla="*/ 1546283 w 2077606"/>
              <a:gd name="connsiteY3787" fmla="*/ 1651933 h 1786074"/>
              <a:gd name="connsiteX3788" fmla="*/ 1536308 w 2077606"/>
              <a:gd name="connsiteY3788" fmla="*/ 1659909 h 1786074"/>
              <a:gd name="connsiteX3789" fmla="*/ 1528328 w 2077606"/>
              <a:gd name="connsiteY3789" fmla="*/ 1667885 h 1786074"/>
              <a:gd name="connsiteX3790" fmla="*/ 1525336 w 2077606"/>
              <a:gd name="connsiteY3790" fmla="*/ 1671873 h 1786074"/>
              <a:gd name="connsiteX3791" fmla="*/ 1522343 w 2077606"/>
              <a:gd name="connsiteY3791" fmla="*/ 1671873 h 1786074"/>
              <a:gd name="connsiteX3792" fmla="*/ 1508378 w 2077606"/>
              <a:gd name="connsiteY3792" fmla="*/ 1673867 h 1786074"/>
              <a:gd name="connsiteX3793" fmla="*/ 1488428 w 2077606"/>
              <a:gd name="connsiteY3793" fmla="*/ 1687825 h 1786074"/>
              <a:gd name="connsiteX3794" fmla="*/ 1486433 w 2077606"/>
              <a:gd name="connsiteY3794" fmla="*/ 1691813 h 1786074"/>
              <a:gd name="connsiteX3795" fmla="*/ 1472469 w 2077606"/>
              <a:gd name="connsiteY3795" fmla="*/ 1711753 h 1786074"/>
              <a:gd name="connsiteX3796" fmla="*/ 1458504 w 2077606"/>
              <a:gd name="connsiteY3796" fmla="*/ 1719729 h 1786074"/>
              <a:gd name="connsiteX3797" fmla="*/ 1428579 w 2077606"/>
              <a:gd name="connsiteY3797" fmla="*/ 1729699 h 1786074"/>
              <a:gd name="connsiteX3798" fmla="*/ 1404639 w 2077606"/>
              <a:gd name="connsiteY3798" fmla="*/ 1733687 h 1786074"/>
              <a:gd name="connsiteX3799" fmla="*/ 1392669 w 2077606"/>
              <a:gd name="connsiteY3799" fmla="*/ 1741663 h 1786074"/>
              <a:gd name="connsiteX3800" fmla="*/ 1390674 w 2077606"/>
              <a:gd name="connsiteY3800" fmla="*/ 1753627 h 1786074"/>
              <a:gd name="connsiteX3801" fmla="*/ 1374714 w 2077606"/>
              <a:gd name="connsiteY3801" fmla="*/ 1765591 h 1786074"/>
              <a:gd name="connsiteX3802" fmla="*/ 1364739 w 2077606"/>
              <a:gd name="connsiteY3802" fmla="*/ 1769579 h 1786074"/>
              <a:gd name="connsiteX3803" fmla="*/ 1350774 w 2077606"/>
              <a:gd name="connsiteY3803" fmla="*/ 1769579 h 1786074"/>
              <a:gd name="connsiteX3804" fmla="*/ 1328829 w 2077606"/>
              <a:gd name="connsiteY3804" fmla="*/ 1769579 h 1786074"/>
              <a:gd name="connsiteX3805" fmla="*/ 1320849 w 2077606"/>
              <a:gd name="connsiteY3805" fmla="*/ 1771573 h 1786074"/>
              <a:gd name="connsiteX3806" fmla="*/ 1310874 w 2077606"/>
              <a:gd name="connsiteY3806" fmla="*/ 1781543 h 1786074"/>
              <a:gd name="connsiteX3807" fmla="*/ 1302894 w 2077606"/>
              <a:gd name="connsiteY3807" fmla="*/ 1785531 h 1786074"/>
              <a:gd name="connsiteX3808" fmla="*/ 1290924 w 2077606"/>
              <a:gd name="connsiteY3808" fmla="*/ 1781543 h 1786074"/>
              <a:gd name="connsiteX3809" fmla="*/ 1288929 w 2077606"/>
              <a:gd name="connsiteY3809" fmla="*/ 1765591 h 1786074"/>
              <a:gd name="connsiteX3810" fmla="*/ 1298904 w 2077606"/>
              <a:gd name="connsiteY3810" fmla="*/ 1757615 h 1786074"/>
              <a:gd name="connsiteX3811" fmla="*/ 1312869 w 2077606"/>
              <a:gd name="connsiteY3811" fmla="*/ 1741663 h 1786074"/>
              <a:gd name="connsiteX3812" fmla="*/ 1300899 w 2077606"/>
              <a:gd name="connsiteY3812" fmla="*/ 1729699 h 1786074"/>
              <a:gd name="connsiteX3813" fmla="*/ 1294914 w 2077606"/>
              <a:gd name="connsiteY3813" fmla="*/ 1717735 h 1786074"/>
              <a:gd name="connsiteX3814" fmla="*/ 1308879 w 2077606"/>
              <a:gd name="connsiteY3814" fmla="*/ 1695801 h 1786074"/>
              <a:gd name="connsiteX3815" fmla="*/ 1302894 w 2077606"/>
              <a:gd name="connsiteY3815" fmla="*/ 1665891 h 1786074"/>
              <a:gd name="connsiteX3816" fmla="*/ 1284939 w 2077606"/>
              <a:gd name="connsiteY3816" fmla="*/ 1639970 h 1786074"/>
              <a:gd name="connsiteX3817" fmla="*/ 1262994 w 2077606"/>
              <a:gd name="connsiteY3817" fmla="*/ 1620030 h 1786074"/>
              <a:gd name="connsiteX3818" fmla="*/ 1239054 w 2077606"/>
              <a:gd name="connsiteY3818" fmla="*/ 1582144 h 1786074"/>
              <a:gd name="connsiteX3819" fmla="*/ 1215114 w 2077606"/>
              <a:gd name="connsiteY3819" fmla="*/ 1564198 h 1786074"/>
              <a:gd name="connsiteX3820" fmla="*/ 1161249 w 2077606"/>
              <a:gd name="connsiteY3820" fmla="*/ 1562204 h 1786074"/>
              <a:gd name="connsiteX3821" fmla="*/ 1133319 w 2077606"/>
              <a:gd name="connsiteY3821" fmla="*/ 1558216 h 1786074"/>
              <a:gd name="connsiteX3822" fmla="*/ 1109379 w 2077606"/>
              <a:gd name="connsiteY3822" fmla="*/ 1542264 h 1786074"/>
              <a:gd name="connsiteX3823" fmla="*/ 1085439 w 2077606"/>
              <a:gd name="connsiteY3823" fmla="*/ 1532294 h 1786074"/>
              <a:gd name="connsiteX3824" fmla="*/ 1027585 w 2077606"/>
              <a:gd name="connsiteY3824" fmla="*/ 1532294 h 1786074"/>
              <a:gd name="connsiteX3825" fmla="*/ 1011625 w 2077606"/>
              <a:gd name="connsiteY3825" fmla="*/ 1538276 h 1786074"/>
              <a:gd name="connsiteX3826" fmla="*/ 957760 w 2077606"/>
              <a:gd name="connsiteY3826" fmla="*/ 1536282 h 1786074"/>
              <a:gd name="connsiteX3827" fmla="*/ 911875 w 2077606"/>
              <a:gd name="connsiteY3827" fmla="*/ 1536282 h 1786074"/>
              <a:gd name="connsiteX3828" fmla="*/ 860005 w 2077606"/>
              <a:gd name="connsiteY3828" fmla="*/ 1536282 h 1786074"/>
              <a:gd name="connsiteX3829" fmla="*/ 772225 w 2077606"/>
              <a:gd name="connsiteY3829" fmla="*/ 1536282 h 1786074"/>
              <a:gd name="connsiteX3830" fmla="*/ 682450 w 2077606"/>
              <a:gd name="connsiteY3830" fmla="*/ 1536282 h 1786074"/>
              <a:gd name="connsiteX3831" fmla="*/ 610631 w 2077606"/>
              <a:gd name="connsiteY3831" fmla="*/ 1536282 h 1786074"/>
              <a:gd name="connsiteX3832" fmla="*/ 552776 w 2077606"/>
              <a:gd name="connsiteY3832" fmla="*/ 1534288 h 1786074"/>
              <a:gd name="connsiteX3833" fmla="*/ 464996 w 2077606"/>
              <a:gd name="connsiteY3833" fmla="*/ 1534288 h 1786074"/>
              <a:gd name="connsiteX3834" fmla="*/ 387191 w 2077606"/>
              <a:gd name="connsiteY3834" fmla="*/ 1532294 h 1786074"/>
              <a:gd name="connsiteX3835" fmla="*/ 357266 w 2077606"/>
              <a:gd name="connsiteY3835" fmla="*/ 1534288 h 1786074"/>
              <a:gd name="connsiteX3836" fmla="*/ 345296 w 2077606"/>
              <a:gd name="connsiteY3836" fmla="*/ 1524318 h 1786074"/>
              <a:gd name="connsiteX3837" fmla="*/ 333326 w 2077606"/>
              <a:gd name="connsiteY3837" fmla="*/ 1526312 h 1786074"/>
              <a:gd name="connsiteX3838" fmla="*/ 331331 w 2077606"/>
              <a:gd name="connsiteY3838" fmla="*/ 1526312 h 1786074"/>
              <a:gd name="connsiteX3839" fmla="*/ 327341 w 2077606"/>
              <a:gd name="connsiteY3839" fmla="*/ 1526312 h 1786074"/>
              <a:gd name="connsiteX3840" fmla="*/ 321356 w 2077606"/>
              <a:gd name="connsiteY3840" fmla="*/ 1524318 h 1786074"/>
              <a:gd name="connsiteX3841" fmla="*/ 325346 w 2077606"/>
              <a:gd name="connsiteY3841" fmla="*/ 1520330 h 1786074"/>
              <a:gd name="connsiteX3842" fmla="*/ 327341 w 2077606"/>
              <a:gd name="connsiteY3842" fmla="*/ 1516342 h 1786074"/>
              <a:gd name="connsiteX3843" fmla="*/ 323351 w 2077606"/>
              <a:gd name="connsiteY3843" fmla="*/ 1516342 h 1786074"/>
              <a:gd name="connsiteX3844" fmla="*/ 319361 w 2077606"/>
              <a:gd name="connsiteY3844" fmla="*/ 1520330 h 1786074"/>
              <a:gd name="connsiteX3845" fmla="*/ 317366 w 2077606"/>
              <a:gd name="connsiteY3845" fmla="*/ 1518336 h 1786074"/>
              <a:gd name="connsiteX3846" fmla="*/ 315371 w 2077606"/>
              <a:gd name="connsiteY3846" fmla="*/ 1506372 h 1786074"/>
              <a:gd name="connsiteX3847" fmla="*/ 321356 w 2077606"/>
              <a:gd name="connsiteY3847" fmla="*/ 1496402 h 1786074"/>
              <a:gd name="connsiteX3848" fmla="*/ 321356 w 2077606"/>
              <a:gd name="connsiteY3848" fmla="*/ 1490420 h 1786074"/>
              <a:gd name="connsiteX3849" fmla="*/ 317366 w 2077606"/>
              <a:gd name="connsiteY3849" fmla="*/ 1490420 h 1786074"/>
              <a:gd name="connsiteX3850" fmla="*/ 313376 w 2077606"/>
              <a:gd name="connsiteY3850" fmla="*/ 1504378 h 1786074"/>
              <a:gd name="connsiteX3851" fmla="*/ 307391 w 2077606"/>
              <a:gd name="connsiteY3851" fmla="*/ 1512354 h 1786074"/>
              <a:gd name="connsiteX3852" fmla="*/ 303401 w 2077606"/>
              <a:gd name="connsiteY3852" fmla="*/ 1512354 h 1786074"/>
              <a:gd name="connsiteX3853" fmla="*/ 297416 w 2077606"/>
              <a:gd name="connsiteY3853" fmla="*/ 1502384 h 1786074"/>
              <a:gd name="connsiteX3854" fmla="*/ 297416 w 2077606"/>
              <a:gd name="connsiteY3854" fmla="*/ 1494408 h 1786074"/>
              <a:gd name="connsiteX3855" fmla="*/ 303401 w 2077606"/>
              <a:gd name="connsiteY3855" fmla="*/ 1488426 h 1786074"/>
              <a:gd name="connsiteX3856" fmla="*/ 309386 w 2077606"/>
              <a:gd name="connsiteY3856" fmla="*/ 1486432 h 1786074"/>
              <a:gd name="connsiteX3857" fmla="*/ 307391 w 2077606"/>
              <a:gd name="connsiteY3857" fmla="*/ 1482444 h 1786074"/>
              <a:gd name="connsiteX3858" fmla="*/ 301406 w 2077606"/>
              <a:gd name="connsiteY3858" fmla="*/ 1484438 h 1786074"/>
              <a:gd name="connsiteX3859" fmla="*/ 297416 w 2077606"/>
              <a:gd name="connsiteY3859" fmla="*/ 1484438 h 1786074"/>
              <a:gd name="connsiteX3860" fmla="*/ 299411 w 2077606"/>
              <a:gd name="connsiteY3860" fmla="*/ 1476462 h 1786074"/>
              <a:gd name="connsiteX3861" fmla="*/ 295421 w 2077606"/>
              <a:gd name="connsiteY3861" fmla="*/ 1476462 h 1786074"/>
              <a:gd name="connsiteX3862" fmla="*/ 289436 w 2077606"/>
              <a:gd name="connsiteY3862" fmla="*/ 1482444 h 1786074"/>
              <a:gd name="connsiteX3863" fmla="*/ 285446 w 2077606"/>
              <a:gd name="connsiteY3863" fmla="*/ 1480450 h 1786074"/>
              <a:gd name="connsiteX3864" fmla="*/ 283451 w 2077606"/>
              <a:gd name="connsiteY3864" fmla="*/ 1476462 h 1786074"/>
              <a:gd name="connsiteX3865" fmla="*/ 281456 w 2077606"/>
              <a:gd name="connsiteY3865" fmla="*/ 1472474 h 1786074"/>
              <a:gd name="connsiteX3866" fmla="*/ 283451 w 2077606"/>
              <a:gd name="connsiteY3866" fmla="*/ 1464498 h 1786074"/>
              <a:gd name="connsiteX3867" fmla="*/ 285446 w 2077606"/>
              <a:gd name="connsiteY3867" fmla="*/ 1460510 h 1786074"/>
              <a:gd name="connsiteX3868" fmla="*/ 283451 w 2077606"/>
              <a:gd name="connsiteY3868" fmla="*/ 1456522 h 1786074"/>
              <a:gd name="connsiteX3869" fmla="*/ 279461 w 2077606"/>
              <a:gd name="connsiteY3869" fmla="*/ 1460510 h 1786074"/>
              <a:gd name="connsiteX3870" fmla="*/ 279461 w 2077606"/>
              <a:gd name="connsiteY3870" fmla="*/ 1468486 h 1786074"/>
              <a:gd name="connsiteX3871" fmla="*/ 275471 w 2077606"/>
              <a:gd name="connsiteY3871" fmla="*/ 1472474 h 1786074"/>
              <a:gd name="connsiteX3872" fmla="*/ 271481 w 2077606"/>
              <a:gd name="connsiteY3872" fmla="*/ 1470480 h 1786074"/>
              <a:gd name="connsiteX3873" fmla="*/ 267491 w 2077606"/>
              <a:gd name="connsiteY3873" fmla="*/ 1468486 h 1786074"/>
              <a:gd name="connsiteX3874" fmla="*/ 267491 w 2077606"/>
              <a:gd name="connsiteY3874" fmla="*/ 1462504 h 1786074"/>
              <a:gd name="connsiteX3875" fmla="*/ 263501 w 2077606"/>
              <a:gd name="connsiteY3875" fmla="*/ 1460510 h 1786074"/>
              <a:gd name="connsiteX3876" fmla="*/ 259511 w 2077606"/>
              <a:gd name="connsiteY3876" fmla="*/ 1458516 h 1786074"/>
              <a:gd name="connsiteX3877" fmla="*/ 257516 w 2077606"/>
              <a:gd name="connsiteY3877" fmla="*/ 1452534 h 1786074"/>
              <a:gd name="connsiteX3878" fmla="*/ 249536 w 2077606"/>
              <a:gd name="connsiteY3878" fmla="*/ 1450540 h 1786074"/>
              <a:gd name="connsiteX3879" fmla="*/ 243551 w 2077606"/>
              <a:gd name="connsiteY3879" fmla="*/ 1450540 h 1786074"/>
              <a:gd name="connsiteX3880" fmla="*/ 243551 w 2077606"/>
              <a:gd name="connsiteY3880" fmla="*/ 1442564 h 1786074"/>
              <a:gd name="connsiteX3881" fmla="*/ 251531 w 2077606"/>
              <a:gd name="connsiteY3881" fmla="*/ 1438576 h 1786074"/>
              <a:gd name="connsiteX3882" fmla="*/ 257516 w 2077606"/>
              <a:gd name="connsiteY3882" fmla="*/ 1434588 h 1786074"/>
              <a:gd name="connsiteX3883" fmla="*/ 263501 w 2077606"/>
              <a:gd name="connsiteY3883" fmla="*/ 1434588 h 1786074"/>
              <a:gd name="connsiteX3884" fmla="*/ 263501 w 2077606"/>
              <a:gd name="connsiteY3884" fmla="*/ 1430600 h 1786074"/>
              <a:gd name="connsiteX3885" fmla="*/ 261506 w 2077606"/>
              <a:gd name="connsiteY3885" fmla="*/ 1430600 h 1786074"/>
              <a:gd name="connsiteX3886" fmla="*/ 255521 w 2077606"/>
              <a:gd name="connsiteY3886" fmla="*/ 1434588 h 1786074"/>
              <a:gd name="connsiteX3887" fmla="*/ 249536 w 2077606"/>
              <a:gd name="connsiteY3887" fmla="*/ 1434588 h 1786074"/>
              <a:gd name="connsiteX3888" fmla="*/ 245546 w 2077606"/>
              <a:gd name="connsiteY3888" fmla="*/ 1434588 h 1786074"/>
              <a:gd name="connsiteX3889" fmla="*/ 241556 w 2077606"/>
              <a:gd name="connsiteY3889" fmla="*/ 1438576 h 1786074"/>
              <a:gd name="connsiteX3890" fmla="*/ 237566 w 2077606"/>
              <a:gd name="connsiteY3890" fmla="*/ 1436582 h 1786074"/>
              <a:gd name="connsiteX3891" fmla="*/ 239561 w 2077606"/>
              <a:gd name="connsiteY3891" fmla="*/ 1426612 h 1786074"/>
              <a:gd name="connsiteX3892" fmla="*/ 247541 w 2077606"/>
              <a:gd name="connsiteY3892" fmla="*/ 1418636 h 1786074"/>
              <a:gd name="connsiteX3893" fmla="*/ 263501 w 2077606"/>
              <a:gd name="connsiteY3893" fmla="*/ 1412654 h 1786074"/>
              <a:gd name="connsiteX3894" fmla="*/ 265496 w 2077606"/>
              <a:gd name="connsiteY3894" fmla="*/ 1420630 h 1786074"/>
              <a:gd name="connsiteX3895" fmla="*/ 269486 w 2077606"/>
              <a:gd name="connsiteY3895" fmla="*/ 1422624 h 1786074"/>
              <a:gd name="connsiteX3896" fmla="*/ 267491 w 2077606"/>
              <a:gd name="connsiteY3896" fmla="*/ 1416642 h 1786074"/>
              <a:gd name="connsiteX3897" fmla="*/ 265496 w 2077606"/>
              <a:gd name="connsiteY3897" fmla="*/ 1410660 h 1786074"/>
              <a:gd name="connsiteX3898" fmla="*/ 263501 w 2077606"/>
              <a:gd name="connsiteY3898" fmla="*/ 1408666 h 1786074"/>
              <a:gd name="connsiteX3899" fmla="*/ 263501 w 2077606"/>
              <a:gd name="connsiteY3899" fmla="*/ 1400690 h 1786074"/>
              <a:gd name="connsiteX3900" fmla="*/ 269486 w 2077606"/>
              <a:gd name="connsiteY3900" fmla="*/ 1394708 h 1786074"/>
              <a:gd name="connsiteX3901" fmla="*/ 267491 w 2077606"/>
              <a:gd name="connsiteY3901" fmla="*/ 1388726 h 1786074"/>
              <a:gd name="connsiteX3902" fmla="*/ 261506 w 2077606"/>
              <a:gd name="connsiteY3902" fmla="*/ 1396702 h 1786074"/>
              <a:gd name="connsiteX3903" fmla="*/ 255521 w 2077606"/>
              <a:gd name="connsiteY3903" fmla="*/ 1406672 h 1786074"/>
              <a:gd name="connsiteX3904" fmla="*/ 253526 w 2077606"/>
              <a:gd name="connsiteY3904" fmla="*/ 1412654 h 1786074"/>
              <a:gd name="connsiteX3905" fmla="*/ 245546 w 2077606"/>
              <a:gd name="connsiteY3905" fmla="*/ 1412654 h 1786074"/>
              <a:gd name="connsiteX3906" fmla="*/ 243551 w 2077606"/>
              <a:gd name="connsiteY3906" fmla="*/ 1406672 h 1786074"/>
              <a:gd name="connsiteX3907" fmla="*/ 241556 w 2077606"/>
              <a:gd name="connsiteY3907" fmla="*/ 1404678 h 1786074"/>
              <a:gd name="connsiteX3908" fmla="*/ 243551 w 2077606"/>
              <a:gd name="connsiteY3908" fmla="*/ 1402684 h 1786074"/>
              <a:gd name="connsiteX3909" fmla="*/ 241556 w 2077606"/>
              <a:gd name="connsiteY3909" fmla="*/ 1398696 h 1786074"/>
              <a:gd name="connsiteX3910" fmla="*/ 239561 w 2077606"/>
              <a:gd name="connsiteY3910" fmla="*/ 1396702 h 1786074"/>
              <a:gd name="connsiteX3911" fmla="*/ 243551 w 2077606"/>
              <a:gd name="connsiteY3911" fmla="*/ 1394708 h 1786074"/>
              <a:gd name="connsiteX3912" fmla="*/ 243551 w 2077606"/>
              <a:gd name="connsiteY3912" fmla="*/ 1388726 h 1786074"/>
              <a:gd name="connsiteX3913" fmla="*/ 237566 w 2077606"/>
              <a:gd name="connsiteY3913" fmla="*/ 1388726 h 1786074"/>
              <a:gd name="connsiteX3914" fmla="*/ 231581 w 2077606"/>
              <a:gd name="connsiteY3914" fmla="*/ 1384738 h 1786074"/>
              <a:gd name="connsiteX3915" fmla="*/ 231581 w 2077606"/>
              <a:gd name="connsiteY3915" fmla="*/ 1378756 h 1786074"/>
              <a:gd name="connsiteX3916" fmla="*/ 229586 w 2077606"/>
              <a:gd name="connsiteY3916" fmla="*/ 1372774 h 1786074"/>
              <a:gd name="connsiteX3917" fmla="*/ 231581 w 2077606"/>
              <a:gd name="connsiteY3917" fmla="*/ 1366792 h 1786074"/>
              <a:gd name="connsiteX3918" fmla="*/ 235571 w 2077606"/>
              <a:gd name="connsiteY3918" fmla="*/ 1366792 h 1786074"/>
              <a:gd name="connsiteX3919" fmla="*/ 239561 w 2077606"/>
              <a:gd name="connsiteY3919" fmla="*/ 1366792 h 1786074"/>
              <a:gd name="connsiteX3920" fmla="*/ 241556 w 2077606"/>
              <a:gd name="connsiteY3920" fmla="*/ 1366792 h 1786074"/>
              <a:gd name="connsiteX3921" fmla="*/ 247541 w 2077606"/>
              <a:gd name="connsiteY3921" fmla="*/ 1368786 h 1786074"/>
              <a:gd name="connsiteX3922" fmla="*/ 251531 w 2077606"/>
              <a:gd name="connsiteY3922" fmla="*/ 1368786 h 1786074"/>
              <a:gd name="connsiteX3923" fmla="*/ 249536 w 2077606"/>
              <a:gd name="connsiteY3923" fmla="*/ 1360810 h 1786074"/>
              <a:gd name="connsiteX3924" fmla="*/ 245546 w 2077606"/>
              <a:gd name="connsiteY3924" fmla="*/ 1358816 h 1786074"/>
              <a:gd name="connsiteX3925" fmla="*/ 237566 w 2077606"/>
              <a:gd name="connsiteY3925" fmla="*/ 1360810 h 1786074"/>
              <a:gd name="connsiteX3926" fmla="*/ 231581 w 2077606"/>
              <a:gd name="connsiteY3926" fmla="*/ 1356822 h 1786074"/>
              <a:gd name="connsiteX3927" fmla="*/ 235571 w 2077606"/>
              <a:gd name="connsiteY3927" fmla="*/ 1350840 h 1786074"/>
              <a:gd name="connsiteX3928" fmla="*/ 239561 w 2077606"/>
              <a:gd name="connsiteY3928" fmla="*/ 1346852 h 1786074"/>
              <a:gd name="connsiteX3929" fmla="*/ 239561 w 2077606"/>
              <a:gd name="connsiteY3929" fmla="*/ 1342864 h 1786074"/>
              <a:gd name="connsiteX3930" fmla="*/ 233576 w 2077606"/>
              <a:gd name="connsiteY3930" fmla="*/ 1344858 h 1786074"/>
              <a:gd name="connsiteX3931" fmla="*/ 227592 w 2077606"/>
              <a:gd name="connsiteY3931" fmla="*/ 1352834 h 1786074"/>
              <a:gd name="connsiteX3932" fmla="*/ 217617 w 2077606"/>
              <a:gd name="connsiteY3932" fmla="*/ 1360810 h 1786074"/>
              <a:gd name="connsiteX3933" fmla="*/ 211632 w 2077606"/>
              <a:gd name="connsiteY3933" fmla="*/ 1360810 h 1786074"/>
              <a:gd name="connsiteX3934" fmla="*/ 207642 w 2077606"/>
              <a:gd name="connsiteY3934" fmla="*/ 1350840 h 1786074"/>
              <a:gd name="connsiteX3935" fmla="*/ 207642 w 2077606"/>
              <a:gd name="connsiteY3935" fmla="*/ 1342864 h 1786074"/>
              <a:gd name="connsiteX3936" fmla="*/ 207642 w 2077606"/>
              <a:gd name="connsiteY3936" fmla="*/ 1338876 h 1786074"/>
              <a:gd name="connsiteX3937" fmla="*/ 217617 w 2077606"/>
              <a:gd name="connsiteY3937" fmla="*/ 1338876 h 1786074"/>
              <a:gd name="connsiteX3938" fmla="*/ 223602 w 2077606"/>
              <a:gd name="connsiteY3938" fmla="*/ 1334888 h 1786074"/>
              <a:gd name="connsiteX3939" fmla="*/ 225597 w 2077606"/>
              <a:gd name="connsiteY3939" fmla="*/ 1330900 h 1786074"/>
              <a:gd name="connsiteX3940" fmla="*/ 219612 w 2077606"/>
              <a:gd name="connsiteY3940" fmla="*/ 1330900 h 1786074"/>
              <a:gd name="connsiteX3941" fmla="*/ 213627 w 2077606"/>
              <a:gd name="connsiteY3941" fmla="*/ 1332894 h 1786074"/>
              <a:gd name="connsiteX3942" fmla="*/ 209637 w 2077606"/>
              <a:gd name="connsiteY3942" fmla="*/ 1330900 h 1786074"/>
              <a:gd name="connsiteX3943" fmla="*/ 205647 w 2077606"/>
              <a:gd name="connsiteY3943" fmla="*/ 1334888 h 1786074"/>
              <a:gd name="connsiteX3944" fmla="*/ 201657 w 2077606"/>
              <a:gd name="connsiteY3944" fmla="*/ 1334888 h 1786074"/>
              <a:gd name="connsiteX3945" fmla="*/ 203652 w 2077606"/>
              <a:gd name="connsiteY3945" fmla="*/ 1330900 h 1786074"/>
              <a:gd name="connsiteX3946" fmla="*/ 201657 w 2077606"/>
              <a:gd name="connsiteY3946" fmla="*/ 1324918 h 1786074"/>
              <a:gd name="connsiteX3947" fmla="*/ 199662 w 2077606"/>
              <a:gd name="connsiteY3947" fmla="*/ 1320930 h 1786074"/>
              <a:gd name="connsiteX3948" fmla="*/ 203652 w 2077606"/>
              <a:gd name="connsiteY3948" fmla="*/ 1320930 h 1786074"/>
              <a:gd name="connsiteX3949" fmla="*/ 205647 w 2077606"/>
              <a:gd name="connsiteY3949" fmla="*/ 1316942 h 1786074"/>
              <a:gd name="connsiteX3950" fmla="*/ 207642 w 2077606"/>
              <a:gd name="connsiteY3950" fmla="*/ 1312954 h 1786074"/>
              <a:gd name="connsiteX3951" fmla="*/ 211632 w 2077606"/>
              <a:gd name="connsiteY3951" fmla="*/ 1310960 h 1786074"/>
              <a:gd name="connsiteX3952" fmla="*/ 213627 w 2077606"/>
              <a:gd name="connsiteY3952" fmla="*/ 1304978 h 1786074"/>
              <a:gd name="connsiteX3953" fmla="*/ 217617 w 2077606"/>
              <a:gd name="connsiteY3953" fmla="*/ 1304978 h 1786074"/>
              <a:gd name="connsiteX3954" fmla="*/ 219612 w 2077606"/>
              <a:gd name="connsiteY3954" fmla="*/ 1300990 h 1786074"/>
              <a:gd name="connsiteX3955" fmla="*/ 221607 w 2077606"/>
              <a:gd name="connsiteY3955" fmla="*/ 1293014 h 1786074"/>
              <a:gd name="connsiteX3956" fmla="*/ 227592 w 2077606"/>
              <a:gd name="connsiteY3956" fmla="*/ 1289026 h 1786074"/>
              <a:gd name="connsiteX3957" fmla="*/ 225597 w 2077606"/>
              <a:gd name="connsiteY3957" fmla="*/ 1283044 h 1786074"/>
              <a:gd name="connsiteX3958" fmla="*/ 221607 w 2077606"/>
              <a:gd name="connsiteY3958" fmla="*/ 1283044 h 1786074"/>
              <a:gd name="connsiteX3959" fmla="*/ 219612 w 2077606"/>
              <a:gd name="connsiteY3959" fmla="*/ 1289026 h 1786074"/>
              <a:gd name="connsiteX3960" fmla="*/ 217617 w 2077606"/>
              <a:gd name="connsiteY3960" fmla="*/ 1298996 h 1786074"/>
              <a:gd name="connsiteX3961" fmla="*/ 215622 w 2077606"/>
              <a:gd name="connsiteY3961" fmla="*/ 1302984 h 1786074"/>
              <a:gd name="connsiteX3962" fmla="*/ 213627 w 2077606"/>
              <a:gd name="connsiteY3962" fmla="*/ 1300990 h 1786074"/>
              <a:gd name="connsiteX3963" fmla="*/ 213627 w 2077606"/>
              <a:gd name="connsiteY3963" fmla="*/ 1298996 h 1786074"/>
              <a:gd name="connsiteX3964" fmla="*/ 215622 w 2077606"/>
              <a:gd name="connsiteY3964" fmla="*/ 1291020 h 1786074"/>
              <a:gd name="connsiteX3965" fmla="*/ 219612 w 2077606"/>
              <a:gd name="connsiteY3965" fmla="*/ 1271080 h 1786074"/>
              <a:gd name="connsiteX3966" fmla="*/ 219612 w 2077606"/>
              <a:gd name="connsiteY3966" fmla="*/ 1261110 h 1786074"/>
              <a:gd name="connsiteX3967" fmla="*/ 207642 w 2077606"/>
              <a:gd name="connsiteY3967" fmla="*/ 1247152 h 1786074"/>
              <a:gd name="connsiteX3968" fmla="*/ 187692 w 2077606"/>
              <a:gd name="connsiteY3968" fmla="*/ 1231200 h 1786074"/>
              <a:gd name="connsiteX3969" fmla="*/ 181707 w 2077606"/>
              <a:gd name="connsiteY3969" fmla="*/ 1211260 h 1786074"/>
              <a:gd name="connsiteX3970" fmla="*/ 175722 w 2077606"/>
              <a:gd name="connsiteY3970" fmla="*/ 1199296 h 1786074"/>
              <a:gd name="connsiteX3971" fmla="*/ 175722 w 2077606"/>
              <a:gd name="connsiteY3971" fmla="*/ 1179357 h 1786074"/>
              <a:gd name="connsiteX3972" fmla="*/ 173727 w 2077606"/>
              <a:gd name="connsiteY3972" fmla="*/ 1175369 h 1786074"/>
              <a:gd name="connsiteX3973" fmla="*/ 163752 w 2077606"/>
              <a:gd name="connsiteY3973" fmla="*/ 1165399 h 1786074"/>
              <a:gd name="connsiteX3974" fmla="*/ 159762 w 2077606"/>
              <a:gd name="connsiteY3974" fmla="*/ 1153435 h 1786074"/>
              <a:gd name="connsiteX3975" fmla="*/ 151782 w 2077606"/>
              <a:gd name="connsiteY3975" fmla="*/ 1143465 h 1786074"/>
              <a:gd name="connsiteX3976" fmla="*/ 145797 w 2077606"/>
              <a:gd name="connsiteY3976" fmla="*/ 1137483 h 1786074"/>
              <a:gd name="connsiteX3977" fmla="*/ 145797 w 2077606"/>
              <a:gd name="connsiteY3977" fmla="*/ 1121531 h 1786074"/>
              <a:gd name="connsiteX3978" fmla="*/ 137817 w 2077606"/>
              <a:gd name="connsiteY3978" fmla="*/ 1119537 h 1786074"/>
              <a:gd name="connsiteX3979" fmla="*/ 127842 w 2077606"/>
              <a:gd name="connsiteY3979" fmla="*/ 1115549 h 1786074"/>
              <a:gd name="connsiteX3980" fmla="*/ 111882 w 2077606"/>
              <a:gd name="connsiteY3980" fmla="*/ 1113555 h 1786074"/>
              <a:gd name="connsiteX3981" fmla="*/ 97917 w 2077606"/>
              <a:gd name="connsiteY3981" fmla="*/ 1127513 h 1786074"/>
              <a:gd name="connsiteX3982" fmla="*/ 85947 w 2077606"/>
              <a:gd name="connsiteY3982" fmla="*/ 1139477 h 1786074"/>
              <a:gd name="connsiteX3983" fmla="*/ 77967 w 2077606"/>
              <a:gd name="connsiteY3983" fmla="*/ 1141471 h 1786074"/>
              <a:gd name="connsiteX3984" fmla="*/ 69987 w 2077606"/>
              <a:gd name="connsiteY3984" fmla="*/ 1143465 h 1786074"/>
              <a:gd name="connsiteX3985" fmla="*/ 65997 w 2077606"/>
              <a:gd name="connsiteY3985" fmla="*/ 1141471 h 1786074"/>
              <a:gd name="connsiteX3986" fmla="*/ 60012 w 2077606"/>
              <a:gd name="connsiteY3986" fmla="*/ 1123525 h 1786074"/>
              <a:gd name="connsiteX3987" fmla="*/ 46047 w 2077606"/>
              <a:gd name="connsiteY3987" fmla="*/ 1105579 h 1786074"/>
              <a:gd name="connsiteX3988" fmla="*/ 38067 w 2077606"/>
              <a:gd name="connsiteY3988" fmla="*/ 1091621 h 1786074"/>
              <a:gd name="connsiteX3989" fmla="*/ 32082 w 2077606"/>
              <a:gd name="connsiteY3989" fmla="*/ 1087633 h 1786074"/>
              <a:gd name="connsiteX3990" fmla="*/ 26097 w 2077606"/>
              <a:gd name="connsiteY3990" fmla="*/ 1085639 h 1786074"/>
              <a:gd name="connsiteX3991" fmla="*/ 8142 w 2077606"/>
              <a:gd name="connsiteY3991" fmla="*/ 1089627 h 1786074"/>
              <a:gd name="connsiteX3992" fmla="*/ 163 w 2077606"/>
              <a:gd name="connsiteY3992" fmla="*/ 1087633 h 1786074"/>
              <a:gd name="connsiteX3993" fmla="*/ 12132 w 2077606"/>
              <a:gd name="connsiteY3993" fmla="*/ 1053735 h 1786074"/>
              <a:gd name="connsiteX3994" fmla="*/ 32082 w 2077606"/>
              <a:gd name="connsiteY3994" fmla="*/ 993915 h 1786074"/>
              <a:gd name="connsiteX3995" fmla="*/ 44052 w 2077606"/>
              <a:gd name="connsiteY3995" fmla="*/ 950047 h 1786074"/>
              <a:gd name="connsiteX3996" fmla="*/ 58017 w 2077606"/>
              <a:gd name="connsiteY3996" fmla="*/ 904185 h 1786074"/>
              <a:gd name="connsiteX3997" fmla="*/ 71982 w 2077606"/>
              <a:gd name="connsiteY3997" fmla="*/ 860317 h 1786074"/>
              <a:gd name="connsiteX3998" fmla="*/ 89937 w 2077606"/>
              <a:gd name="connsiteY3998" fmla="*/ 806479 h 1786074"/>
              <a:gd name="connsiteX3999" fmla="*/ 103902 w 2077606"/>
              <a:gd name="connsiteY3999" fmla="*/ 762611 h 1786074"/>
              <a:gd name="connsiteX4000" fmla="*/ 123852 w 2077606"/>
              <a:gd name="connsiteY4000" fmla="*/ 698804 h 1786074"/>
              <a:gd name="connsiteX4001" fmla="*/ 129837 w 2077606"/>
              <a:gd name="connsiteY4001" fmla="*/ 678864 h 1786074"/>
              <a:gd name="connsiteX4002" fmla="*/ 133827 w 2077606"/>
              <a:gd name="connsiteY4002" fmla="*/ 682852 h 1786074"/>
              <a:gd name="connsiteX4003" fmla="*/ 143802 w 2077606"/>
              <a:gd name="connsiteY4003" fmla="*/ 684846 h 1786074"/>
              <a:gd name="connsiteX4004" fmla="*/ 147792 w 2077606"/>
              <a:gd name="connsiteY4004" fmla="*/ 684846 h 1786074"/>
              <a:gd name="connsiteX4005" fmla="*/ 153777 w 2077606"/>
              <a:gd name="connsiteY4005" fmla="*/ 684846 h 1786074"/>
              <a:gd name="connsiteX4006" fmla="*/ 159762 w 2077606"/>
              <a:gd name="connsiteY4006" fmla="*/ 686840 h 1786074"/>
              <a:gd name="connsiteX4007" fmla="*/ 163752 w 2077606"/>
              <a:gd name="connsiteY4007" fmla="*/ 684846 h 1786074"/>
              <a:gd name="connsiteX4008" fmla="*/ 173727 w 2077606"/>
              <a:gd name="connsiteY4008" fmla="*/ 686840 h 1786074"/>
              <a:gd name="connsiteX4009" fmla="*/ 181707 w 2077606"/>
              <a:gd name="connsiteY4009" fmla="*/ 686840 h 1786074"/>
              <a:gd name="connsiteX4010" fmla="*/ 189687 w 2077606"/>
              <a:gd name="connsiteY4010" fmla="*/ 686840 h 1786074"/>
              <a:gd name="connsiteX4011" fmla="*/ 185697 w 2077606"/>
              <a:gd name="connsiteY4011" fmla="*/ 690828 h 1786074"/>
              <a:gd name="connsiteX4012" fmla="*/ 185697 w 2077606"/>
              <a:gd name="connsiteY4012" fmla="*/ 696810 h 1786074"/>
              <a:gd name="connsiteX4013" fmla="*/ 187692 w 2077606"/>
              <a:gd name="connsiteY4013" fmla="*/ 696810 h 1786074"/>
              <a:gd name="connsiteX4014" fmla="*/ 191682 w 2077606"/>
              <a:gd name="connsiteY4014" fmla="*/ 696810 h 1786074"/>
              <a:gd name="connsiteX4015" fmla="*/ 193677 w 2077606"/>
              <a:gd name="connsiteY4015" fmla="*/ 700798 h 1786074"/>
              <a:gd name="connsiteX4016" fmla="*/ 197667 w 2077606"/>
              <a:gd name="connsiteY4016" fmla="*/ 696810 h 1786074"/>
              <a:gd name="connsiteX4017" fmla="*/ 197667 w 2077606"/>
              <a:gd name="connsiteY4017" fmla="*/ 700798 h 1786074"/>
              <a:gd name="connsiteX4018" fmla="*/ 199662 w 2077606"/>
              <a:gd name="connsiteY4018" fmla="*/ 704786 h 1786074"/>
              <a:gd name="connsiteX4019" fmla="*/ 205647 w 2077606"/>
              <a:gd name="connsiteY4019" fmla="*/ 706780 h 1786074"/>
              <a:gd name="connsiteX4020" fmla="*/ 207642 w 2077606"/>
              <a:gd name="connsiteY4020" fmla="*/ 710768 h 1786074"/>
              <a:gd name="connsiteX4021" fmla="*/ 213627 w 2077606"/>
              <a:gd name="connsiteY4021" fmla="*/ 710768 h 1786074"/>
              <a:gd name="connsiteX4022" fmla="*/ 215622 w 2077606"/>
              <a:gd name="connsiteY4022" fmla="*/ 714756 h 1786074"/>
              <a:gd name="connsiteX4023" fmla="*/ 219612 w 2077606"/>
              <a:gd name="connsiteY4023" fmla="*/ 714756 h 1786074"/>
              <a:gd name="connsiteX4024" fmla="*/ 225597 w 2077606"/>
              <a:gd name="connsiteY4024" fmla="*/ 718744 h 1786074"/>
              <a:gd name="connsiteX4025" fmla="*/ 227592 w 2077606"/>
              <a:gd name="connsiteY4025" fmla="*/ 720738 h 1786074"/>
              <a:gd name="connsiteX4026" fmla="*/ 235571 w 2077606"/>
              <a:gd name="connsiteY4026" fmla="*/ 718744 h 1786074"/>
              <a:gd name="connsiteX4027" fmla="*/ 241556 w 2077606"/>
              <a:gd name="connsiteY4027" fmla="*/ 716750 h 1786074"/>
              <a:gd name="connsiteX4028" fmla="*/ 247541 w 2077606"/>
              <a:gd name="connsiteY4028" fmla="*/ 720738 h 1786074"/>
              <a:gd name="connsiteX4029" fmla="*/ 249536 w 2077606"/>
              <a:gd name="connsiteY4029" fmla="*/ 722731 h 1786074"/>
              <a:gd name="connsiteX4030" fmla="*/ 249536 w 2077606"/>
              <a:gd name="connsiteY4030" fmla="*/ 720738 h 1786074"/>
              <a:gd name="connsiteX4031" fmla="*/ 253526 w 2077606"/>
              <a:gd name="connsiteY4031" fmla="*/ 716750 h 1786074"/>
              <a:gd name="connsiteX4032" fmla="*/ 251531 w 2077606"/>
              <a:gd name="connsiteY4032" fmla="*/ 710768 h 1786074"/>
              <a:gd name="connsiteX4033" fmla="*/ 249536 w 2077606"/>
              <a:gd name="connsiteY4033" fmla="*/ 708774 h 1786074"/>
              <a:gd name="connsiteX4034" fmla="*/ 251531 w 2077606"/>
              <a:gd name="connsiteY4034" fmla="*/ 702792 h 1786074"/>
              <a:gd name="connsiteX4035" fmla="*/ 257516 w 2077606"/>
              <a:gd name="connsiteY4035" fmla="*/ 704786 h 1786074"/>
              <a:gd name="connsiteX4036" fmla="*/ 261506 w 2077606"/>
              <a:gd name="connsiteY4036" fmla="*/ 704786 h 1786074"/>
              <a:gd name="connsiteX4037" fmla="*/ 265496 w 2077606"/>
              <a:gd name="connsiteY4037" fmla="*/ 704786 h 1786074"/>
              <a:gd name="connsiteX4038" fmla="*/ 265496 w 2077606"/>
              <a:gd name="connsiteY4038" fmla="*/ 708774 h 1786074"/>
              <a:gd name="connsiteX4039" fmla="*/ 271481 w 2077606"/>
              <a:gd name="connsiteY4039" fmla="*/ 708774 h 1786074"/>
              <a:gd name="connsiteX4040" fmla="*/ 269486 w 2077606"/>
              <a:gd name="connsiteY4040" fmla="*/ 700798 h 1786074"/>
              <a:gd name="connsiteX4041" fmla="*/ 273476 w 2077606"/>
              <a:gd name="connsiteY4041" fmla="*/ 694816 h 1786074"/>
              <a:gd name="connsiteX4042" fmla="*/ 279461 w 2077606"/>
              <a:gd name="connsiteY4042" fmla="*/ 696810 h 1786074"/>
              <a:gd name="connsiteX4043" fmla="*/ 283451 w 2077606"/>
              <a:gd name="connsiteY4043" fmla="*/ 696810 h 1786074"/>
              <a:gd name="connsiteX4044" fmla="*/ 287441 w 2077606"/>
              <a:gd name="connsiteY4044" fmla="*/ 692822 h 1786074"/>
              <a:gd name="connsiteX4045" fmla="*/ 291431 w 2077606"/>
              <a:gd name="connsiteY4045" fmla="*/ 692822 h 1786074"/>
              <a:gd name="connsiteX4046" fmla="*/ 293426 w 2077606"/>
              <a:gd name="connsiteY4046" fmla="*/ 686840 h 1786074"/>
              <a:gd name="connsiteX4047" fmla="*/ 293426 w 2077606"/>
              <a:gd name="connsiteY4047" fmla="*/ 682852 h 1786074"/>
              <a:gd name="connsiteX4048" fmla="*/ 295421 w 2077606"/>
              <a:gd name="connsiteY4048" fmla="*/ 682852 h 1786074"/>
              <a:gd name="connsiteX4049" fmla="*/ 297416 w 2077606"/>
              <a:gd name="connsiteY4049" fmla="*/ 686840 h 1786074"/>
              <a:gd name="connsiteX4050" fmla="*/ 301406 w 2077606"/>
              <a:gd name="connsiteY4050" fmla="*/ 690828 h 1786074"/>
              <a:gd name="connsiteX4051" fmla="*/ 299411 w 2077606"/>
              <a:gd name="connsiteY4051" fmla="*/ 696810 h 1786074"/>
              <a:gd name="connsiteX4052" fmla="*/ 291431 w 2077606"/>
              <a:gd name="connsiteY4052" fmla="*/ 702792 h 1786074"/>
              <a:gd name="connsiteX4053" fmla="*/ 279461 w 2077606"/>
              <a:gd name="connsiteY4053" fmla="*/ 708774 h 1786074"/>
              <a:gd name="connsiteX4054" fmla="*/ 281456 w 2077606"/>
              <a:gd name="connsiteY4054" fmla="*/ 712762 h 1786074"/>
              <a:gd name="connsiteX4055" fmla="*/ 293426 w 2077606"/>
              <a:gd name="connsiteY4055" fmla="*/ 706780 h 1786074"/>
              <a:gd name="connsiteX4056" fmla="*/ 305396 w 2077606"/>
              <a:gd name="connsiteY4056" fmla="*/ 698804 h 1786074"/>
              <a:gd name="connsiteX4057" fmla="*/ 311381 w 2077606"/>
              <a:gd name="connsiteY4057" fmla="*/ 694816 h 1786074"/>
              <a:gd name="connsiteX4058" fmla="*/ 319361 w 2077606"/>
              <a:gd name="connsiteY4058" fmla="*/ 694816 h 1786074"/>
              <a:gd name="connsiteX4059" fmla="*/ 325346 w 2077606"/>
              <a:gd name="connsiteY4059" fmla="*/ 694816 h 1786074"/>
              <a:gd name="connsiteX4060" fmla="*/ 329336 w 2077606"/>
              <a:gd name="connsiteY4060" fmla="*/ 686840 h 1786074"/>
              <a:gd name="connsiteX4061" fmla="*/ 331331 w 2077606"/>
              <a:gd name="connsiteY4061" fmla="*/ 684846 h 1786074"/>
              <a:gd name="connsiteX4062" fmla="*/ 337316 w 2077606"/>
              <a:gd name="connsiteY4062" fmla="*/ 684846 h 1786074"/>
              <a:gd name="connsiteX4063" fmla="*/ 337316 w 2077606"/>
              <a:gd name="connsiteY4063" fmla="*/ 682852 h 1786074"/>
              <a:gd name="connsiteX4064" fmla="*/ 335321 w 2077606"/>
              <a:gd name="connsiteY4064" fmla="*/ 680858 h 1786074"/>
              <a:gd name="connsiteX4065" fmla="*/ 341306 w 2077606"/>
              <a:gd name="connsiteY4065" fmla="*/ 680858 h 1786074"/>
              <a:gd name="connsiteX4066" fmla="*/ 347291 w 2077606"/>
              <a:gd name="connsiteY4066" fmla="*/ 678864 h 1786074"/>
              <a:gd name="connsiteX4067" fmla="*/ 355271 w 2077606"/>
              <a:gd name="connsiteY4067" fmla="*/ 678864 h 1786074"/>
              <a:gd name="connsiteX4068" fmla="*/ 359261 w 2077606"/>
              <a:gd name="connsiteY4068" fmla="*/ 674876 h 1786074"/>
              <a:gd name="connsiteX4069" fmla="*/ 365246 w 2077606"/>
              <a:gd name="connsiteY4069" fmla="*/ 676870 h 1786074"/>
              <a:gd name="connsiteX4070" fmla="*/ 375221 w 2077606"/>
              <a:gd name="connsiteY4070" fmla="*/ 670888 h 1786074"/>
              <a:gd name="connsiteX4071" fmla="*/ 379211 w 2077606"/>
              <a:gd name="connsiteY4071" fmla="*/ 664906 h 1786074"/>
              <a:gd name="connsiteX4072" fmla="*/ 385196 w 2077606"/>
              <a:gd name="connsiteY4072" fmla="*/ 662912 h 1786074"/>
              <a:gd name="connsiteX4073" fmla="*/ 393176 w 2077606"/>
              <a:gd name="connsiteY4073" fmla="*/ 662912 h 1786074"/>
              <a:gd name="connsiteX4074" fmla="*/ 401156 w 2077606"/>
              <a:gd name="connsiteY4074" fmla="*/ 662912 h 1786074"/>
              <a:gd name="connsiteX4075" fmla="*/ 409136 w 2077606"/>
              <a:gd name="connsiteY4075" fmla="*/ 660918 h 1786074"/>
              <a:gd name="connsiteX4076" fmla="*/ 415121 w 2077606"/>
              <a:gd name="connsiteY4076" fmla="*/ 660918 h 1786074"/>
              <a:gd name="connsiteX4077" fmla="*/ 415121 w 2077606"/>
              <a:gd name="connsiteY4077" fmla="*/ 666900 h 1786074"/>
              <a:gd name="connsiteX4078" fmla="*/ 409136 w 2077606"/>
              <a:gd name="connsiteY4078" fmla="*/ 666900 h 1786074"/>
              <a:gd name="connsiteX4079" fmla="*/ 407141 w 2077606"/>
              <a:gd name="connsiteY4079" fmla="*/ 670888 h 1786074"/>
              <a:gd name="connsiteX4080" fmla="*/ 401156 w 2077606"/>
              <a:gd name="connsiteY4080" fmla="*/ 670888 h 1786074"/>
              <a:gd name="connsiteX4081" fmla="*/ 397166 w 2077606"/>
              <a:gd name="connsiteY4081" fmla="*/ 674876 h 1786074"/>
              <a:gd name="connsiteX4082" fmla="*/ 393176 w 2077606"/>
              <a:gd name="connsiteY4082" fmla="*/ 676870 h 1786074"/>
              <a:gd name="connsiteX4083" fmla="*/ 385196 w 2077606"/>
              <a:gd name="connsiteY4083" fmla="*/ 676870 h 1786074"/>
              <a:gd name="connsiteX4084" fmla="*/ 379211 w 2077606"/>
              <a:gd name="connsiteY4084" fmla="*/ 682852 h 1786074"/>
              <a:gd name="connsiteX4085" fmla="*/ 375221 w 2077606"/>
              <a:gd name="connsiteY4085" fmla="*/ 686840 h 1786074"/>
              <a:gd name="connsiteX4086" fmla="*/ 365246 w 2077606"/>
              <a:gd name="connsiteY4086" fmla="*/ 686840 h 1786074"/>
              <a:gd name="connsiteX4087" fmla="*/ 353276 w 2077606"/>
              <a:gd name="connsiteY4087" fmla="*/ 690828 h 1786074"/>
              <a:gd name="connsiteX4088" fmla="*/ 345296 w 2077606"/>
              <a:gd name="connsiteY4088" fmla="*/ 692822 h 1786074"/>
              <a:gd name="connsiteX4089" fmla="*/ 341306 w 2077606"/>
              <a:gd name="connsiteY4089" fmla="*/ 696810 h 1786074"/>
              <a:gd name="connsiteX4090" fmla="*/ 335321 w 2077606"/>
              <a:gd name="connsiteY4090" fmla="*/ 698804 h 1786074"/>
              <a:gd name="connsiteX4091" fmla="*/ 327341 w 2077606"/>
              <a:gd name="connsiteY4091" fmla="*/ 698804 h 1786074"/>
              <a:gd name="connsiteX4092" fmla="*/ 323351 w 2077606"/>
              <a:gd name="connsiteY4092" fmla="*/ 704786 h 1786074"/>
              <a:gd name="connsiteX4093" fmla="*/ 319361 w 2077606"/>
              <a:gd name="connsiteY4093" fmla="*/ 708774 h 1786074"/>
              <a:gd name="connsiteX4094" fmla="*/ 315371 w 2077606"/>
              <a:gd name="connsiteY4094" fmla="*/ 708774 h 1786074"/>
              <a:gd name="connsiteX4095" fmla="*/ 311381 w 2077606"/>
              <a:gd name="connsiteY4095" fmla="*/ 710768 h 1786074"/>
              <a:gd name="connsiteX4096" fmla="*/ 311381 w 2077606"/>
              <a:gd name="connsiteY4096" fmla="*/ 720738 h 1786074"/>
              <a:gd name="connsiteX4097" fmla="*/ 319361 w 2077606"/>
              <a:gd name="connsiteY4097" fmla="*/ 720738 h 1786074"/>
              <a:gd name="connsiteX4098" fmla="*/ 323351 w 2077606"/>
              <a:gd name="connsiteY4098" fmla="*/ 718744 h 1786074"/>
              <a:gd name="connsiteX4099" fmla="*/ 325346 w 2077606"/>
              <a:gd name="connsiteY4099" fmla="*/ 708774 h 1786074"/>
              <a:gd name="connsiteX4100" fmla="*/ 335321 w 2077606"/>
              <a:gd name="connsiteY4100" fmla="*/ 702792 h 1786074"/>
              <a:gd name="connsiteX4101" fmla="*/ 343301 w 2077606"/>
              <a:gd name="connsiteY4101" fmla="*/ 700798 h 1786074"/>
              <a:gd name="connsiteX4102" fmla="*/ 349286 w 2077606"/>
              <a:gd name="connsiteY4102" fmla="*/ 698804 h 1786074"/>
              <a:gd name="connsiteX4103" fmla="*/ 353276 w 2077606"/>
              <a:gd name="connsiteY4103" fmla="*/ 694816 h 1786074"/>
              <a:gd name="connsiteX4104" fmla="*/ 357266 w 2077606"/>
              <a:gd name="connsiteY4104" fmla="*/ 696810 h 1786074"/>
              <a:gd name="connsiteX4105" fmla="*/ 361256 w 2077606"/>
              <a:gd name="connsiteY4105" fmla="*/ 694816 h 1786074"/>
              <a:gd name="connsiteX4106" fmla="*/ 367241 w 2077606"/>
              <a:gd name="connsiteY4106" fmla="*/ 692822 h 1786074"/>
              <a:gd name="connsiteX4107" fmla="*/ 367241 w 2077606"/>
              <a:gd name="connsiteY4107" fmla="*/ 696810 h 1786074"/>
              <a:gd name="connsiteX4108" fmla="*/ 365246 w 2077606"/>
              <a:gd name="connsiteY4108" fmla="*/ 700798 h 1786074"/>
              <a:gd name="connsiteX4109" fmla="*/ 371231 w 2077606"/>
              <a:gd name="connsiteY4109" fmla="*/ 700798 h 1786074"/>
              <a:gd name="connsiteX4110" fmla="*/ 375221 w 2077606"/>
              <a:gd name="connsiteY4110" fmla="*/ 694816 h 1786074"/>
              <a:gd name="connsiteX4111" fmla="*/ 379211 w 2077606"/>
              <a:gd name="connsiteY4111" fmla="*/ 692822 h 1786074"/>
              <a:gd name="connsiteX4112" fmla="*/ 385196 w 2077606"/>
              <a:gd name="connsiteY4112" fmla="*/ 688834 h 1786074"/>
              <a:gd name="connsiteX4113" fmla="*/ 389186 w 2077606"/>
              <a:gd name="connsiteY4113" fmla="*/ 682852 h 1786074"/>
              <a:gd name="connsiteX4114" fmla="*/ 395171 w 2077606"/>
              <a:gd name="connsiteY4114" fmla="*/ 682852 h 1786074"/>
              <a:gd name="connsiteX4115" fmla="*/ 399161 w 2077606"/>
              <a:gd name="connsiteY4115" fmla="*/ 678864 h 1786074"/>
              <a:gd name="connsiteX4116" fmla="*/ 405146 w 2077606"/>
              <a:gd name="connsiteY4116" fmla="*/ 676870 h 1786074"/>
              <a:gd name="connsiteX4117" fmla="*/ 417116 w 2077606"/>
              <a:gd name="connsiteY4117" fmla="*/ 674876 h 1786074"/>
              <a:gd name="connsiteX4118" fmla="*/ 421106 w 2077606"/>
              <a:gd name="connsiteY4118" fmla="*/ 672882 h 1786074"/>
              <a:gd name="connsiteX4119" fmla="*/ 421106 w 2077606"/>
              <a:gd name="connsiteY4119" fmla="*/ 676870 h 1786074"/>
              <a:gd name="connsiteX4120" fmla="*/ 429086 w 2077606"/>
              <a:gd name="connsiteY4120" fmla="*/ 676870 h 1786074"/>
              <a:gd name="connsiteX4121" fmla="*/ 435071 w 2077606"/>
              <a:gd name="connsiteY4121" fmla="*/ 672882 h 1786074"/>
              <a:gd name="connsiteX4122" fmla="*/ 437066 w 2077606"/>
              <a:gd name="connsiteY4122" fmla="*/ 670888 h 1786074"/>
              <a:gd name="connsiteX4123" fmla="*/ 441056 w 2077606"/>
              <a:gd name="connsiteY4123" fmla="*/ 660918 h 1786074"/>
              <a:gd name="connsiteX4124" fmla="*/ 443051 w 2077606"/>
              <a:gd name="connsiteY4124" fmla="*/ 658924 h 1786074"/>
              <a:gd name="connsiteX4125" fmla="*/ 447041 w 2077606"/>
              <a:gd name="connsiteY4125" fmla="*/ 656930 h 1786074"/>
              <a:gd name="connsiteX4126" fmla="*/ 447041 w 2077606"/>
              <a:gd name="connsiteY4126" fmla="*/ 650948 h 1786074"/>
              <a:gd name="connsiteX4127" fmla="*/ 447041 w 2077606"/>
              <a:gd name="connsiteY4127" fmla="*/ 646960 h 1786074"/>
              <a:gd name="connsiteX4128" fmla="*/ 451031 w 2077606"/>
              <a:gd name="connsiteY4128" fmla="*/ 640978 h 1786074"/>
              <a:gd name="connsiteX4129" fmla="*/ 455021 w 2077606"/>
              <a:gd name="connsiteY4129" fmla="*/ 640978 h 1786074"/>
              <a:gd name="connsiteX4130" fmla="*/ 457016 w 2077606"/>
              <a:gd name="connsiteY4130" fmla="*/ 646960 h 1786074"/>
              <a:gd name="connsiteX4131" fmla="*/ 461006 w 2077606"/>
              <a:gd name="connsiteY4131" fmla="*/ 650948 h 1786074"/>
              <a:gd name="connsiteX4132" fmla="*/ 464996 w 2077606"/>
              <a:gd name="connsiteY4132" fmla="*/ 660918 h 1786074"/>
              <a:gd name="connsiteX4133" fmla="*/ 466991 w 2077606"/>
              <a:gd name="connsiteY4133" fmla="*/ 664906 h 1786074"/>
              <a:gd name="connsiteX4134" fmla="*/ 468986 w 2077606"/>
              <a:gd name="connsiteY4134" fmla="*/ 670888 h 1786074"/>
              <a:gd name="connsiteX4135" fmla="*/ 464996 w 2077606"/>
              <a:gd name="connsiteY4135" fmla="*/ 676870 h 1786074"/>
              <a:gd name="connsiteX4136" fmla="*/ 470981 w 2077606"/>
              <a:gd name="connsiteY4136" fmla="*/ 682852 h 1786074"/>
              <a:gd name="connsiteX4137" fmla="*/ 474971 w 2077606"/>
              <a:gd name="connsiteY4137" fmla="*/ 686840 h 1786074"/>
              <a:gd name="connsiteX4138" fmla="*/ 480956 w 2077606"/>
              <a:gd name="connsiteY4138" fmla="*/ 692822 h 1786074"/>
              <a:gd name="connsiteX4139" fmla="*/ 484946 w 2077606"/>
              <a:gd name="connsiteY4139" fmla="*/ 698804 h 1786074"/>
              <a:gd name="connsiteX4140" fmla="*/ 490931 w 2077606"/>
              <a:gd name="connsiteY4140" fmla="*/ 698804 h 1786074"/>
              <a:gd name="connsiteX4141" fmla="*/ 492926 w 2077606"/>
              <a:gd name="connsiteY4141" fmla="*/ 700798 h 1786074"/>
              <a:gd name="connsiteX4142" fmla="*/ 498911 w 2077606"/>
              <a:gd name="connsiteY4142" fmla="*/ 702792 h 1786074"/>
              <a:gd name="connsiteX4143" fmla="*/ 498911 w 2077606"/>
              <a:gd name="connsiteY4143" fmla="*/ 698804 h 1786074"/>
              <a:gd name="connsiteX4144" fmla="*/ 496916 w 2077606"/>
              <a:gd name="connsiteY4144" fmla="*/ 696810 h 1786074"/>
              <a:gd name="connsiteX4145" fmla="*/ 500906 w 2077606"/>
              <a:gd name="connsiteY4145" fmla="*/ 694816 h 1786074"/>
              <a:gd name="connsiteX4146" fmla="*/ 502901 w 2077606"/>
              <a:gd name="connsiteY4146" fmla="*/ 690828 h 1786074"/>
              <a:gd name="connsiteX4147" fmla="*/ 506891 w 2077606"/>
              <a:gd name="connsiteY4147" fmla="*/ 684846 h 1786074"/>
              <a:gd name="connsiteX4148" fmla="*/ 512876 w 2077606"/>
              <a:gd name="connsiteY4148" fmla="*/ 682852 h 1786074"/>
              <a:gd name="connsiteX4149" fmla="*/ 510881 w 2077606"/>
              <a:gd name="connsiteY4149" fmla="*/ 678864 h 1786074"/>
              <a:gd name="connsiteX4150" fmla="*/ 506891 w 2077606"/>
              <a:gd name="connsiteY4150" fmla="*/ 674876 h 1786074"/>
              <a:gd name="connsiteX4151" fmla="*/ 512876 w 2077606"/>
              <a:gd name="connsiteY4151" fmla="*/ 672882 h 1786074"/>
              <a:gd name="connsiteX4152" fmla="*/ 520856 w 2077606"/>
              <a:gd name="connsiteY4152" fmla="*/ 662912 h 1786074"/>
              <a:gd name="connsiteX4153" fmla="*/ 526841 w 2077606"/>
              <a:gd name="connsiteY4153" fmla="*/ 664906 h 1786074"/>
              <a:gd name="connsiteX4154" fmla="*/ 524846 w 2077606"/>
              <a:gd name="connsiteY4154" fmla="*/ 678864 h 1786074"/>
              <a:gd name="connsiteX4155" fmla="*/ 530831 w 2077606"/>
              <a:gd name="connsiteY4155" fmla="*/ 680858 h 1786074"/>
              <a:gd name="connsiteX4156" fmla="*/ 526841 w 2077606"/>
              <a:gd name="connsiteY4156" fmla="*/ 686840 h 1786074"/>
              <a:gd name="connsiteX4157" fmla="*/ 522851 w 2077606"/>
              <a:gd name="connsiteY4157" fmla="*/ 690828 h 1786074"/>
              <a:gd name="connsiteX4158" fmla="*/ 518861 w 2077606"/>
              <a:gd name="connsiteY4158" fmla="*/ 694816 h 1786074"/>
              <a:gd name="connsiteX4159" fmla="*/ 518861 w 2077606"/>
              <a:gd name="connsiteY4159" fmla="*/ 698804 h 1786074"/>
              <a:gd name="connsiteX4160" fmla="*/ 522851 w 2077606"/>
              <a:gd name="connsiteY4160" fmla="*/ 700798 h 1786074"/>
              <a:gd name="connsiteX4161" fmla="*/ 526841 w 2077606"/>
              <a:gd name="connsiteY4161" fmla="*/ 698804 h 1786074"/>
              <a:gd name="connsiteX4162" fmla="*/ 530831 w 2077606"/>
              <a:gd name="connsiteY4162" fmla="*/ 700798 h 1786074"/>
              <a:gd name="connsiteX4163" fmla="*/ 536816 w 2077606"/>
              <a:gd name="connsiteY4163" fmla="*/ 696810 h 1786074"/>
              <a:gd name="connsiteX4164" fmla="*/ 552776 w 2077606"/>
              <a:gd name="connsiteY4164" fmla="*/ 690828 h 1786074"/>
              <a:gd name="connsiteX4165" fmla="*/ 552776 w 2077606"/>
              <a:gd name="connsiteY4165" fmla="*/ 682852 h 1786074"/>
              <a:gd name="connsiteX4166" fmla="*/ 556766 w 2077606"/>
              <a:gd name="connsiteY4166" fmla="*/ 676870 h 1786074"/>
              <a:gd name="connsiteX4167" fmla="*/ 568736 w 2077606"/>
              <a:gd name="connsiteY4167" fmla="*/ 678864 h 1786074"/>
              <a:gd name="connsiteX4168" fmla="*/ 582701 w 2077606"/>
              <a:gd name="connsiteY4168" fmla="*/ 678864 h 1786074"/>
              <a:gd name="connsiteX4169" fmla="*/ 594671 w 2077606"/>
              <a:gd name="connsiteY4169" fmla="*/ 680858 h 1786074"/>
              <a:gd name="connsiteX4170" fmla="*/ 602651 w 2077606"/>
              <a:gd name="connsiteY4170" fmla="*/ 684846 h 1786074"/>
              <a:gd name="connsiteX4171" fmla="*/ 606641 w 2077606"/>
              <a:gd name="connsiteY4171" fmla="*/ 694816 h 1786074"/>
              <a:gd name="connsiteX4172" fmla="*/ 620606 w 2077606"/>
              <a:gd name="connsiteY4172" fmla="*/ 698804 h 1786074"/>
              <a:gd name="connsiteX4173" fmla="*/ 632576 w 2077606"/>
              <a:gd name="connsiteY4173" fmla="*/ 700798 h 1786074"/>
              <a:gd name="connsiteX4174" fmla="*/ 644545 w 2077606"/>
              <a:gd name="connsiteY4174" fmla="*/ 704786 h 1786074"/>
              <a:gd name="connsiteX4175" fmla="*/ 658510 w 2077606"/>
              <a:gd name="connsiteY4175" fmla="*/ 712762 h 1786074"/>
              <a:gd name="connsiteX4176" fmla="*/ 662500 w 2077606"/>
              <a:gd name="connsiteY4176" fmla="*/ 714756 h 1786074"/>
              <a:gd name="connsiteX4177" fmla="*/ 670480 w 2077606"/>
              <a:gd name="connsiteY4177" fmla="*/ 716750 h 1786074"/>
              <a:gd name="connsiteX4178" fmla="*/ 676465 w 2077606"/>
              <a:gd name="connsiteY4178" fmla="*/ 718744 h 1786074"/>
              <a:gd name="connsiteX4179" fmla="*/ 680455 w 2077606"/>
              <a:gd name="connsiteY4179" fmla="*/ 720738 h 1786074"/>
              <a:gd name="connsiteX4180" fmla="*/ 686440 w 2077606"/>
              <a:gd name="connsiteY4180" fmla="*/ 716750 h 1786074"/>
              <a:gd name="connsiteX4181" fmla="*/ 692425 w 2077606"/>
              <a:gd name="connsiteY4181" fmla="*/ 720738 h 1786074"/>
              <a:gd name="connsiteX4182" fmla="*/ 700405 w 2077606"/>
              <a:gd name="connsiteY4182" fmla="*/ 720738 h 1786074"/>
              <a:gd name="connsiteX4183" fmla="*/ 704395 w 2077606"/>
              <a:gd name="connsiteY4183" fmla="*/ 722731 h 1786074"/>
              <a:gd name="connsiteX4184" fmla="*/ 704395 w 2077606"/>
              <a:gd name="connsiteY4184" fmla="*/ 718744 h 1786074"/>
              <a:gd name="connsiteX4185" fmla="*/ 702400 w 2077606"/>
              <a:gd name="connsiteY4185" fmla="*/ 716750 h 1786074"/>
              <a:gd name="connsiteX4186" fmla="*/ 708385 w 2077606"/>
              <a:gd name="connsiteY4186" fmla="*/ 712762 h 1786074"/>
              <a:gd name="connsiteX4187" fmla="*/ 708385 w 2077606"/>
              <a:gd name="connsiteY4187" fmla="*/ 716750 h 1786074"/>
              <a:gd name="connsiteX4188" fmla="*/ 712375 w 2077606"/>
              <a:gd name="connsiteY4188" fmla="*/ 712762 h 1786074"/>
              <a:gd name="connsiteX4189" fmla="*/ 716365 w 2077606"/>
              <a:gd name="connsiteY4189" fmla="*/ 714756 h 1786074"/>
              <a:gd name="connsiteX4190" fmla="*/ 720355 w 2077606"/>
              <a:gd name="connsiteY4190" fmla="*/ 718744 h 1786074"/>
              <a:gd name="connsiteX4191" fmla="*/ 728335 w 2077606"/>
              <a:gd name="connsiteY4191" fmla="*/ 720738 h 1786074"/>
              <a:gd name="connsiteX4192" fmla="*/ 730330 w 2077606"/>
              <a:gd name="connsiteY4192" fmla="*/ 722731 h 1786074"/>
              <a:gd name="connsiteX4193" fmla="*/ 732325 w 2077606"/>
              <a:gd name="connsiteY4193" fmla="*/ 726719 h 1786074"/>
              <a:gd name="connsiteX4194" fmla="*/ 736315 w 2077606"/>
              <a:gd name="connsiteY4194" fmla="*/ 728713 h 1786074"/>
              <a:gd name="connsiteX4195" fmla="*/ 738310 w 2077606"/>
              <a:gd name="connsiteY4195" fmla="*/ 730707 h 1786074"/>
              <a:gd name="connsiteX4196" fmla="*/ 740305 w 2077606"/>
              <a:gd name="connsiteY4196" fmla="*/ 738683 h 1786074"/>
              <a:gd name="connsiteX4197" fmla="*/ 742300 w 2077606"/>
              <a:gd name="connsiteY4197" fmla="*/ 740677 h 1786074"/>
              <a:gd name="connsiteX4198" fmla="*/ 740305 w 2077606"/>
              <a:gd name="connsiteY4198" fmla="*/ 746659 h 1786074"/>
              <a:gd name="connsiteX4199" fmla="*/ 736315 w 2077606"/>
              <a:gd name="connsiteY4199" fmla="*/ 746659 h 1786074"/>
              <a:gd name="connsiteX4200" fmla="*/ 732325 w 2077606"/>
              <a:gd name="connsiteY4200" fmla="*/ 746659 h 1786074"/>
              <a:gd name="connsiteX4201" fmla="*/ 728335 w 2077606"/>
              <a:gd name="connsiteY4201" fmla="*/ 744665 h 1786074"/>
              <a:gd name="connsiteX4202" fmla="*/ 726340 w 2077606"/>
              <a:gd name="connsiteY4202" fmla="*/ 746659 h 1786074"/>
              <a:gd name="connsiteX4203" fmla="*/ 724345 w 2077606"/>
              <a:gd name="connsiteY4203" fmla="*/ 748653 h 1786074"/>
              <a:gd name="connsiteX4204" fmla="*/ 718360 w 2077606"/>
              <a:gd name="connsiteY4204" fmla="*/ 748653 h 1786074"/>
              <a:gd name="connsiteX4205" fmla="*/ 714370 w 2077606"/>
              <a:gd name="connsiteY4205" fmla="*/ 750647 h 1786074"/>
              <a:gd name="connsiteX4206" fmla="*/ 714370 w 2077606"/>
              <a:gd name="connsiteY4206" fmla="*/ 758623 h 1786074"/>
              <a:gd name="connsiteX4207" fmla="*/ 708385 w 2077606"/>
              <a:gd name="connsiteY4207" fmla="*/ 762611 h 1786074"/>
              <a:gd name="connsiteX4208" fmla="*/ 704395 w 2077606"/>
              <a:gd name="connsiteY4208" fmla="*/ 766599 h 1786074"/>
              <a:gd name="connsiteX4209" fmla="*/ 710380 w 2077606"/>
              <a:gd name="connsiteY4209" fmla="*/ 766599 h 1786074"/>
              <a:gd name="connsiteX4210" fmla="*/ 716365 w 2077606"/>
              <a:gd name="connsiteY4210" fmla="*/ 764605 h 1786074"/>
              <a:gd name="connsiteX4211" fmla="*/ 728335 w 2077606"/>
              <a:gd name="connsiteY4211" fmla="*/ 766599 h 1786074"/>
              <a:gd name="connsiteX4212" fmla="*/ 738310 w 2077606"/>
              <a:gd name="connsiteY4212" fmla="*/ 770587 h 1786074"/>
              <a:gd name="connsiteX4213" fmla="*/ 746290 w 2077606"/>
              <a:gd name="connsiteY4213" fmla="*/ 770587 h 1786074"/>
              <a:gd name="connsiteX4214" fmla="*/ 756265 w 2077606"/>
              <a:gd name="connsiteY4214" fmla="*/ 770587 h 1786074"/>
              <a:gd name="connsiteX4215" fmla="*/ 762250 w 2077606"/>
              <a:gd name="connsiteY4215" fmla="*/ 772581 h 1786074"/>
              <a:gd name="connsiteX4216" fmla="*/ 768235 w 2077606"/>
              <a:gd name="connsiteY4216" fmla="*/ 770587 h 1786074"/>
              <a:gd name="connsiteX4217" fmla="*/ 772225 w 2077606"/>
              <a:gd name="connsiteY4217" fmla="*/ 772581 h 1786074"/>
              <a:gd name="connsiteX4218" fmla="*/ 778210 w 2077606"/>
              <a:gd name="connsiteY4218" fmla="*/ 772581 h 1786074"/>
              <a:gd name="connsiteX4219" fmla="*/ 782200 w 2077606"/>
              <a:gd name="connsiteY4219" fmla="*/ 770587 h 1786074"/>
              <a:gd name="connsiteX4220" fmla="*/ 784195 w 2077606"/>
              <a:gd name="connsiteY4220" fmla="*/ 772581 h 1786074"/>
              <a:gd name="connsiteX4221" fmla="*/ 788185 w 2077606"/>
              <a:gd name="connsiteY4221" fmla="*/ 770587 h 1786074"/>
              <a:gd name="connsiteX4222" fmla="*/ 794170 w 2077606"/>
              <a:gd name="connsiteY4222" fmla="*/ 770587 h 1786074"/>
              <a:gd name="connsiteX4223" fmla="*/ 798160 w 2077606"/>
              <a:gd name="connsiteY4223" fmla="*/ 768593 h 1786074"/>
              <a:gd name="connsiteX4224" fmla="*/ 804145 w 2077606"/>
              <a:gd name="connsiteY4224" fmla="*/ 766599 h 1786074"/>
              <a:gd name="connsiteX4225" fmla="*/ 806140 w 2077606"/>
              <a:gd name="connsiteY4225" fmla="*/ 764605 h 1786074"/>
              <a:gd name="connsiteX4226" fmla="*/ 812125 w 2077606"/>
              <a:gd name="connsiteY4226" fmla="*/ 764605 h 1786074"/>
              <a:gd name="connsiteX4227" fmla="*/ 808135 w 2077606"/>
              <a:gd name="connsiteY4227" fmla="*/ 768593 h 1786074"/>
              <a:gd name="connsiteX4228" fmla="*/ 814120 w 2077606"/>
              <a:gd name="connsiteY4228" fmla="*/ 768593 h 1786074"/>
              <a:gd name="connsiteX4229" fmla="*/ 822100 w 2077606"/>
              <a:gd name="connsiteY4229" fmla="*/ 766599 h 1786074"/>
              <a:gd name="connsiteX4230" fmla="*/ 828085 w 2077606"/>
              <a:gd name="connsiteY4230" fmla="*/ 762611 h 1786074"/>
              <a:gd name="connsiteX4231" fmla="*/ 830080 w 2077606"/>
              <a:gd name="connsiteY4231" fmla="*/ 760617 h 1786074"/>
              <a:gd name="connsiteX4232" fmla="*/ 836065 w 2077606"/>
              <a:gd name="connsiteY4232" fmla="*/ 760617 h 1786074"/>
              <a:gd name="connsiteX4233" fmla="*/ 836065 w 2077606"/>
              <a:gd name="connsiteY4233" fmla="*/ 768593 h 1786074"/>
              <a:gd name="connsiteX4234" fmla="*/ 836065 w 2077606"/>
              <a:gd name="connsiteY4234" fmla="*/ 772581 h 1786074"/>
              <a:gd name="connsiteX4235" fmla="*/ 844045 w 2077606"/>
              <a:gd name="connsiteY4235" fmla="*/ 770587 h 1786074"/>
              <a:gd name="connsiteX4236" fmla="*/ 850030 w 2077606"/>
              <a:gd name="connsiteY4236" fmla="*/ 770587 h 1786074"/>
              <a:gd name="connsiteX4237" fmla="*/ 854020 w 2077606"/>
              <a:gd name="connsiteY4237" fmla="*/ 772581 h 1786074"/>
              <a:gd name="connsiteX4238" fmla="*/ 856015 w 2077606"/>
              <a:gd name="connsiteY4238" fmla="*/ 774575 h 1786074"/>
              <a:gd name="connsiteX4239" fmla="*/ 854020 w 2077606"/>
              <a:gd name="connsiteY4239" fmla="*/ 780557 h 1786074"/>
              <a:gd name="connsiteX4240" fmla="*/ 854020 w 2077606"/>
              <a:gd name="connsiteY4240" fmla="*/ 786539 h 1786074"/>
              <a:gd name="connsiteX4241" fmla="*/ 860005 w 2077606"/>
              <a:gd name="connsiteY4241" fmla="*/ 786539 h 1786074"/>
              <a:gd name="connsiteX4242" fmla="*/ 860005 w 2077606"/>
              <a:gd name="connsiteY4242" fmla="*/ 778563 h 1786074"/>
              <a:gd name="connsiteX4243" fmla="*/ 863995 w 2077606"/>
              <a:gd name="connsiteY4243" fmla="*/ 776569 h 1786074"/>
              <a:gd name="connsiteX4244" fmla="*/ 865990 w 2077606"/>
              <a:gd name="connsiteY4244" fmla="*/ 776569 h 1786074"/>
              <a:gd name="connsiteX4245" fmla="*/ 863995 w 2077606"/>
              <a:gd name="connsiteY4245" fmla="*/ 784545 h 1786074"/>
              <a:gd name="connsiteX4246" fmla="*/ 865990 w 2077606"/>
              <a:gd name="connsiteY4246" fmla="*/ 784545 h 1786074"/>
              <a:gd name="connsiteX4247" fmla="*/ 869980 w 2077606"/>
              <a:gd name="connsiteY4247" fmla="*/ 784545 h 1786074"/>
              <a:gd name="connsiteX4248" fmla="*/ 873970 w 2077606"/>
              <a:gd name="connsiteY4248" fmla="*/ 790527 h 1786074"/>
              <a:gd name="connsiteX4249" fmla="*/ 869980 w 2077606"/>
              <a:gd name="connsiteY4249" fmla="*/ 800497 h 1786074"/>
              <a:gd name="connsiteX4250" fmla="*/ 867985 w 2077606"/>
              <a:gd name="connsiteY4250" fmla="*/ 802491 h 1786074"/>
              <a:gd name="connsiteX4251" fmla="*/ 863995 w 2077606"/>
              <a:gd name="connsiteY4251" fmla="*/ 798503 h 1786074"/>
              <a:gd name="connsiteX4252" fmla="*/ 860005 w 2077606"/>
              <a:gd name="connsiteY4252" fmla="*/ 802491 h 1786074"/>
              <a:gd name="connsiteX4253" fmla="*/ 862000 w 2077606"/>
              <a:gd name="connsiteY4253" fmla="*/ 806479 h 1786074"/>
              <a:gd name="connsiteX4254" fmla="*/ 863995 w 2077606"/>
              <a:gd name="connsiteY4254" fmla="*/ 814455 h 1786074"/>
              <a:gd name="connsiteX4255" fmla="*/ 869980 w 2077606"/>
              <a:gd name="connsiteY4255" fmla="*/ 814455 h 1786074"/>
              <a:gd name="connsiteX4256" fmla="*/ 871975 w 2077606"/>
              <a:gd name="connsiteY4256" fmla="*/ 818443 h 1786074"/>
              <a:gd name="connsiteX4257" fmla="*/ 875965 w 2077606"/>
              <a:gd name="connsiteY4257" fmla="*/ 816449 h 1786074"/>
              <a:gd name="connsiteX4258" fmla="*/ 877960 w 2077606"/>
              <a:gd name="connsiteY4258" fmla="*/ 812461 h 1786074"/>
              <a:gd name="connsiteX4259" fmla="*/ 881950 w 2077606"/>
              <a:gd name="connsiteY4259" fmla="*/ 812461 h 1786074"/>
              <a:gd name="connsiteX4260" fmla="*/ 883945 w 2077606"/>
              <a:gd name="connsiteY4260" fmla="*/ 804485 h 1786074"/>
              <a:gd name="connsiteX4261" fmla="*/ 885940 w 2077606"/>
              <a:gd name="connsiteY4261" fmla="*/ 798503 h 1786074"/>
              <a:gd name="connsiteX4262" fmla="*/ 883945 w 2077606"/>
              <a:gd name="connsiteY4262" fmla="*/ 792521 h 1786074"/>
              <a:gd name="connsiteX4263" fmla="*/ 883945 w 2077606"/>
              <a:gd name="connsiteY4263" fmla="*/ 782551 h 1786074"/>
              <a:gd name="connsiteX4264" fmla="*/ 881950 w 2077606"/>
              <a:gd name="connsiteY4264" fmla="*/ 776569 h 1786074"/>
              <a:gd name="connsiteX4265" fmla="*/ 879955 w 2077606"/>
              <a:gd name="connsiteY4265" fmla="*/ 770587 h 1786074"/>
              <a:gd name="connsiteX4266" fmla="*/ 881950 w 2077606"/>
              <a:gd name="connsiteY4266" fmla="*/ 764605 h 1786074"/>
              <a:gd name="connsiteX4267" fmla="*/ 883945 w 2077606"/>
              <a:gd name="connsiteY4267" fmla="*/ 762611 h 1786074"/>
              <a:gd name="connsiteX4268" fmla="*/ 881950 w 2077606"/>
              <a:gd name="connsiteY4268" fmla="*/ 758623 h 1786074"/>
              <a:gd name="connsiteX4269" fmla="*/ 883945 w 2077606"/>
              <a:gd name="connsiteY4269" fmla="*/ 756629 h 1786074"/>
              <a:gd name="connsiteX4270" fmla="*/ 887935 w 2077606"/>
              <a:gd name="connsiteY4270" fmla="*/ 758623 h 1786074"/>
              <a:gd name="connsiteX4271" fmla="*/ 891925 w 2077606"/>
              <a:gd name="connsiteY4271" fmla="*/ 756629 h 1786074"/>
              <a:gd name="connsiteX4272" fmla="*/ 895915 w 2077606"/>
              <a:gd name="connsiteY4272" fmla="*/ 758623 h 1786074"/>
              <a:gd name="connsiteX4273" fmla="*/ 899905 w 2077606"/>
              <a:gd name="connsiteY4273" fmla="*/ 758623 h 1786074"/>
              <a:gd name="connsiteX4274" fmla="*/ 903895 w 2077606"/>
              <a:gd name="connsiteY4274" fmla="*/ 754635 h 1786074"/>
              <a:gd name="connsiteX4275" fmla="*/ 907885 w 2077606"/>
              <a:gd name="connsiteY4275" fmla="*/ 756629 h 1786074"/>
              <a:gd name="connsiteX4276" fmla="*/ 913870 w 2077606"/>
              <a:gd name="connsiteY4276" fmla="*/ 752641 h 1786074"/>
              <a:gd name="connsiteX4277" fmla="*/ 917860 w 2077606"/>
              <a:gd name="connsiteY4277" fmla="*/ 752641 h 1786074"/>
              <a:gd name="connsiteX4278" fmla="*/ 921850 w 2077606"/>
              <a:gd name="connsiteY4278" fmla="*/ 750647 h 1786074"/>
              <a:gd name="connsiteX4279" fmla="*/ 923845 w 2077606"/>
              <a:gd name="connsiteY4279" fmla="*/ 746659 h 1786074"/>
              <a:gd name="connsiteX4280" fmla="*/ 925840 w 2077606"/>
              <a:gd name="connsiteY4280" fmla="*/ 746659 h 1786074"/>
              <a:gd name="connsiteX4281" fmla="*/ 931825 w 2077606"/>
              <a:gd name="connsiteY4281" fmla="*/ 742671 h 1786074"/>
              <a:gd name="connsiteX4282" fmla="*/ 937810 w 2077606"/>
              <a:gd name="connsiteY4282" fmla="*/ 740677 h 1786074"/>
              <a:gd name="connsiteX4283" fmla="*/ 941800 w 2077606"/>
              <a:gd name="connsiteY4283" fmla="*/ 738683 h 1786074"/>
              <a:gd name="connsiteX4284" fmla="*/ 941800 w 2077606"/>
              <a:gd name="connsiteY4284" fmla="*/ 730707 h 1786074"/>
              <a:gd name="connsiteX4285" fmla="*/ 935815 w 2077606"/>
              <a:gd name="connsiteY4285" fmla="*/ 730707 h 1786074"/>
              <a:gd name="connsiteX4286" fmla="*/ 929830 w 2077606"/>
              <a:gd name="connsiteY4286" fmla="*/ 736689 h 1786074"/>
              <a:gd name="connsiteX4287" fmla="*/ 923845 w 2077606"/>
              <a:gd name="connsiteY4287" fmla="*/ 736689 h 1786074"/>
              <a:gd name="connsiteX4288" fmla="*/ 921850 w 2077606"/>
              <a:gd name="connsiteY4288" fmla="*/ 740677 h 1786074"/>
              <a:gd name="connsiteX4289" fmla="*/ 919855 w 2077606"/>
              <a:gd name="connsiteY4289" fmla="*/ 744665 h 1786074"/>
              <a:gd name="connsiteX4290" fmla="*/ 915865 w 2077606"/>
              <a:gd name="connsiteY4290" fmla="*/ 742671 h 1786074"/>
              <a:gd name="connsiteX4291" fmla="*/ 907885 w 2077606"/>
              <a:gd name="connsiteY4291" fmla="*/ 744665 h 1786074"/>
              <a:gd name="connsiteX4292" fmla="*/ 903895 w 2077606"/>
              <a:gd name="connsiteY4292" fmla="*/ 744665 h 1786074"/>
              <a:gd name="connsiteX4293" fmla="*/ 899905 w 2077606"/>
              <a:gd name="connsiteY4293" fmla="*/ 746659 h 1786074"/>
              <a:gd name="connsiteX4294" fmla="*/ 887935 w 2077606"/>
              <a:gd name="connsiteY4294" fmla="*/ 744665 h 1786074"/>
              <a:gd name="connsiteX4295" fmla="*/ 887935 w 2077606"/>
              <a:gd name="connsiteY4295" fmla="*/ 750647 h 1786074"/>
              <a:gd name="connsiteX4296" fmla="*/ 885940 w 2077606"/>
              <a:gd name="connsiteY4296" fmla="*/ 752641 h 1786074"/>
              <a:gd name="connsiteX4297" fmla="*/ 875965 w 2077606"/>
              <a:gd name="connsiteY4297" fmla="*/ 754635 h 1786074"/>
              <a:gd name="connsiteX4298" fmla="*/ 873970 w 2077606"/>
              <a:gd name="connsiteY4298" fmla="*/ 750647 h 1786074"/>
              <a:gd name="connsiteX4299" fmla="*/ 881950 w 2077606"/>
              <a:gd name="connsiteY4299" fmla="*/ 734695 h 1786074"/>
              <a:gd name="connsiteX4300" fmla="*/ 889930 w 2077606"/>
              <a:gd name="connsiteY4300" fmla="*/ 730707 h 1786074"/>
              <a:gd name="connsiteX4301" fmla="*/ 907885 w 2077606"/>
              <a:gd name="connsiteY4301" fmla="*/ 730707 h 1786074"/>
              <a:gd name="connsiteX4302" fmla="*/ 913870 w 2077606"/>
              <a:gd name="connsiteY4302" fmla="*/ 724725 h 1786074"/>
              <a:gd name="connsiteX4303" fmla="*/ 927835 w 2077606"/>
              <a:gd name="connsiteY4303" fmla="*/ 720738 h 1786074"/>
              <a:gd name="connsiteX4304" fmla="*/ 937810 w 2077606"/>
              <a:gd name="connsiteY4304" fmla="*/ 720738 h 1786074"/>
              <a:gd name="connsiteX4305" fmla="*/ 945790 w 2077606"/>
              <a:gd name="connsiteY4305" fmla="*/ 722731 h 1786074"/>
              <a:gd name="connsiteX4306" fmla="*/ 947785 w 2077606"/>
              <a:gd name="connsiteY4306" fmla="*/ 730707 h 1786074"/>
              <a:gd name="connsiteX4307" fmla="*/ 957760 w 2077606"/>
              <a:gd name="connsiteY4307" fmla="*/ 734695 h 1786074"/>
              <a:gd name="connsiteX4308" fmla="*/ 961750 w 2077606"/>
              <a:gd name="connsiteY4308" fmla="*/ 738683 h 1786074"/>
              <a:gd name="connsiteX4309" fmla="*/ 963745 w 2077606"/>
              <a:gd name="connsiteY4309" fmla="*/ 744665 h 1786074"/>
              <a:gd name="connsiteX4310" fmla="*/ 961750 w 2077606"/>
              <a:gd name="connsiteY4310" fmla="*/ 746659 h 1786074"/>
              <a:gd name="connsiteX4311" fmla="*/ 955765 w 2077606"/>
              <a:gd name="connsiteY4311" fmla="*/ 742671 h 1786074"/>
              <a:gd name="connsiteX4312" fmla="*/ 949780 w 2077606"/>
              <a:gd name="connsiteY4312" fmla="*/ 740677 h 1786074"/>
              <a:gd name="connsiteX4313" fmla="*/ 949780 w 2077606"/>
              <a:gd name="connsiteY4313" fmla="*/ 746659 h 1786074"/>
              <a:gd name="connsiteX4314" fmla="*/ 953770 w 2077606"/>
              <a:gd name="connsiteY4314" fmla="*/ 746659 h 1786074"/>
              <a:gd name="connsiteX4315" fmla="*/ 957760 w 2077606"/>
              <a:gd name="connsiteY4315" fmla="*/ 748653 h 1786074"/>
              <a:gd name="connsiteX4316" fmla="*/ 957760 w 2077606"/>
              <a:gd name="connsiteY4316" fmla="*/ 750647 h 1786074"/>
              <a:gd name="connsiteX4317" fmla="*/ 963745 w 2077606"/>
              <a:gd name="connsiteY4317" fmla="*/ 752641 h 1786074"/>
              <a:gd name="connsiteX4318" fmla="*/ 961750 w 2077606"/>
              <a:gd name="connsiteY4318" fmla="*/ 756629 h 1786074"/>
              <a:gd name="connsiteX4319" fmla="*/ 967735 w 2077606"/>
              <a:gd name="connsiteY4319" fmla="*/ 758623 h 1786074"/>
              <a:gd name="connsiteX4320" fmla="*/ 971725 w 2077606"/>
              <a:gd name="connsiteY4320" fmla="*/ 758623 h 1786074"/>
              <a:gd name="connsiteX4321" fmla="*/ 977710 w 2077606"/>
              <a:gd name="connsiteY4321" fmla="*/ 760617 h 1786074"/>
              <a:gd name="connsiteX4322" fmla="*/ 985690 w 2077606"/>
              <a:gd name="connsiteY4322" fmla="*/ 756629 h 1786074"/>
              <a:gd name="connsiteX4323" fmla="*/ 989680 w 2077606"/>
              <a:gd name="connsiteY4323" fmla="*/ 756629 h 1786074"/>
              <a:gd name="connsiteX4324" fmla="*/ 995665 w 2077606"/>
              <a:gd name="connsiteY4324" fmla="*/ 764605 h 1786074"/>
              <a:gd name="connsiteX4325" fmla="*/ 1003645 w 2077606"/>
              <a:gd name="connsiteY4325" fmla="*/ 768593 h 1786074"/>
              <a:gd name="connsiteX4326" fmla="*/ 1005640 w 2077606"/>
              <a:gd name="connsiteY4326" fmla="*/ 768593 h 1786074"/>
              <a:gd name="connsiteX4327" fmla="*/ 1009630 w 2077606"/>
              <a:gd name="connsiteY4327" fmla="*/ 768593 h 1786074"/>
              <a:gd name="connsiteX4328" fmla="*/ 1013620 w 2077606"/>
              <a:gd name="connsiteY4328" fmla="*/ 770587 h 1786074"/>
              <a:gd name="connsiteX4329" fmla="*/ 1019605 w 2077606"/>
              <a:gd name="connsiteY4329" fmla="*/ 768593 h 1786074"/>
              <a:gd name="connsiteX4330" fmla="*/ 1025590 w 2077606"/>
              <a:gd name="connsiteY4330" fmla="*/ 770587 h 1786074"/>
              <a:gd name="connsiteX4331" fmla="*/ 1033570 w 2077606"/>
              <a:gd name="connsiteY4331" fmla="*/ 770587 h 1786074"/>
              <a:gd name="connsiteX4332" fmla="*/ 1041550 w 2077606"/>
              <a:gd name="connsiteY4332" fmla="*/ 768593 h 1786074"/>
              <a:gd name="connsiteX4333" fmla="*/ 1049529 w 2077606"/>
              <a:gd name="connsiteY4333" fmla="*/ 768593 h 1786074"/>
              <a:gd name="connsiteX4334" fmla="*/ 1053520 w 2077606"/>
              <a:gd name="connsiteY4334" fmla="*/ 768593 h 1786074"/>
              <a:gd name="connsiteX4335" fmla="*/ 1057510 w 2077606"/>
              <a:gd name="connsiteY4335" fmla="*/ 766599 h 1786074"/>
              <a:gd name="connsiteX4336" fmla="*/ 1067485 w 2077606"/>
              <a:gd name="connsiteY4336" fmla="*/ 768593 h 1786074"/>
              <a:gd name="connsiteX4337" fmla="*/ 1071475 w 2077606"/>
              <a:gd name="connsiteY4337" fmla="*/ 768593 h 1786074"/>
              <a:gd name="connsiteX4338" fmla="*/ 1081449 w 2077606"/>
              <a:gd name="connsiteY4338" fmla="*/ 770587 h 1786074"/>
              <a:gd name="connsiteX4339" fmla="*/ 1089429 w 2077606"/>
              <a:gd name="connsiteY4339" fmla="*/ 772581 h 1786074"/>
              <a:gd name="connsiteX4340" fmla="*/ 1097409 w 2077606"/>
              <a:gd name="connsiteY4340" fmla="*/ 768593 h 1786074"/>
              <a:gd name="connsiteX4341" fmla="*/ 1093419 w 2077606"/>
              <a:gd name="connsiteY4341" fmla="*/ 764605 h 1786074"/>
              <a:gd name="connsiteX4342" fmla="*/ 1093419 w 2077606"/>
              <a:gd name="connsiteY4342" fmla="*/ 758623 h 1786074"/>
              <a:gd name="connsiteX4343" fmla="*/ 1101399 w 2077606"/>
              <a:gd name="connsiteY4343" fmla="*/ 758623 h 1786074"/>
              <a:gd name="connsiteX4344" fmla="*/ 1101399 w 2077606"/>
              <a:gd name="connsiteY4344" fmla="*/ 752641 h 1786074"/>
              <a:gd name="connsiteX4345" fmla="*/ 1099404 w 2077606"/>
              <a:gd name="connsiteY4345" fmla="*/ 744665 h 1786074"/>
              <a:gd name="connsiteX4346" fmla="*/ 1105389 w 2077606"/>
              <a:gd name="connsiteY4346" fmla="*/ 742671 h 1786074"/>
              <a:gd name="connsiteX4347" fmla="*/ 1111374 w 2077606"/>
              <a:gd name="connsiteY4347" fmla="*/ 746659 h 1786074"/>
              <a:gd name="connsiteX4348" fmla="*/ 1115364 w 2077606"/>
              <a:gd name="connsiteY4348" fmla="*/ 740677 h 1786074"/>
              <a:gd name="connsiteX4349" fmla="*/ 1121349 w 2077606"/>
              <a:gd name="connsiteY4349" fmla="*/ 738683 h 1786074"/>
              <a:gd name="connsiteX4350" fmla="*/ 1123344 w 2077606"/>
              <a:gd name="connsiteY4350" fmla="*/ 744665 h 1786074"/>
              <a:gd name="connsiteX4351" fmla="*/ 1127334 w 2077606"/>
              <a:gd name="connsiteY4351" fmla="*/ 742671 h 1786074"/>
              <a:gd name="connsiteX4352" fmla="*/ 1135314 w 2077606"/>
              <a:gd name="connsiteY4352" fmla="*/ 744665 h 1786074"/>
              <a:gd name="connsiteX4353" fmla="*/ 1135314 w 2077606"/>
              <a:gd name="connsiteY4353" fmla="*/ 748653 h 1786074"/>
              <a:gd name="connsiteX4354" fmla="*/ 1143294 w 2077606"/>
              <a:gd name="connsiteY4354" fmla="*/ 746659 h 1786074"/>
              <a:gd name="connsiteX4355" fmla="*/ 1145289 w 2077606"/>
              <a:gd name="connsiteY4355" fmla="*/ 750647 h 1786074"/>
              <a:gd name="connsiteX4356" fmla="*/ 1135314 w 2077606"/>
              <a:gd name="connsiteY4356" fmla="*/ 756629 h 1786074"/>
              <a:gd name="connsiteX4357" fmla="*/ 1135314 w 2077606"/>
              <a:gd name="connsiteY4357" fmla="*/ 760617 h 1786074"/>
              <a:gd name="connsiteX4358" fmla="*/ 1139304 w 2077606"/>
              <a:gd name="connsiteY4358" fmla="*/ 758623 h 1786074"/>
              <a:gd name="connsiteX4359" fmla="*/ 1141299 w 2077606"/>
              <a:gd name="connsiteY4359" fmla="*/ 756629 h 1786074"/>
              <a:gd name="connsiteX4360" fmla="*/ 1151274 w 2077606"/>
              <a:gd name="connsiteY4360" fmla="*/ 750647 h 1786074"/>
              <a:gd name="connsiteX4361" fmla="*/ 1157259 w 2077606"/>
              <a:gd name="connsiteY4361" fmla="*/ 750647 h 1786074"/>
              <a:gd name="connsiteX4362" fmla="*/ 1155264 w 2077606"/>
              <a:gd name="connsiteY4362" fmla="*/ 756629 h 1786074"/>
              <a:gd name="connsiteX4363" fmla="*/ 1149279 w 2077606"/>
              <a:gd name="connsiteY4363" fmla="*/ 768593 h 1786074"/>
              <a:gd name="connsiteX4364" fmla="*/ 1149279 w 2077606"/>
              <a:gd name="connsiteY4364" fmla="*/ 774575 h 1786074"/>
              <a:gd name="connsiteX4365" fmla="*/ 1143294 w 2077606"/>
              <a:gd name="connsiteY4365" fmla="*/ 778563 h 1786074"/>
              <a:gd name="connsiteX4366" fmla="*/ 1143294 w 2077606"/>
              <a:gd name="connsiteY4366" fmla="*/ 782551 h 1786074"/>
              <a:gd name="connsiteX4367" fmla="*/ 1145289 w 2077606"/>
              <a:gd name="connsiteY4367" fmla="*/ 784545 h 1786074"/>
              <a:gd name="connsiteX4368" fmla="*/ 1145289 w 2077606"/>
              <a:gd name="connsiteY4368" fmla="*/ 792521 h 1786074"/>
              <a:gd name="connsiteX4369" fmla="*/ 1151274 w 2077606"/>
              <a:gd name="connsiteY4369" fmla="*/ 794515 h 1786074"/>
              <a:gd name="connsiteX4370" fmla="*/ 1155264 w 2077606"/>
              <a:gd name="connsiteY4370" fmla="*/ 788533 h 1786074"/>
              <a:gd name="connsiteX4371" fmla="*/ 1159254 w 2077606"/>
              <a:gd name="connsiteY4371" fmla="*/ 790527 h 1786074"/>
              <a:gd name="connsiteX4372" fmla="*/ 1157259 w 2077606"/>
              <a:gd name="connsiteY4372" fmla="*/ 796509 h 1786074"/>
              <a:gd name="connsiteX4373" fmla="*/ 1161249 w 2077606"/>
              <a:gd name="connsiteY4373" fmla="*/ 796509 h 1786074"/>
              <a:gd name="connsiteX4374" fmla="*/ 1161249 w 2077606"/>
              <a:gd name="connsiteY4374" fmla="*/ 804485 h 1786074"/>
              <a:gd name="connsiteX4375" fmla="*/ 1155264 w 2077606"/>
              <a:gd name="connsiteY4375" fmla="*/ 806479 h 1786074"/>
              <a:gd name="connsiteX4376" fmla="*/ 1147284 w 2077606"/>
              <a:gd name="connsiteY4376" fmla="*/ 802491 h 1786074"/>
              <a:gd name="connsiteX4377" fmla="*/ 1135314 w 2077606"/>
              <a:gd name="connsiteY4377" fmla="*/ 802491 h 1786074"/>
              <a:gd name="connsiteX4378" fmla="*/ 1137309 w 2077606"/>
              <a:gd name="connsiteY4378" fmla="*/ 808473 h 1786074"/>
              <a:gd name="connsiteX4379" fmla="*/ 1139304 w 2077606"/>
              <a:gd name="connsiteY4379" fmla="*/ 814455 h 1786074"/>
              <a:gd name="connsiteX4380" fmla="*/ 1143294 w 2077606"/>
              <a:gd name="connsiteY4380" fmla="*/ 818443 h 1786074"/>
              <a:gd name="connsiteX4381" fmla="*/ 1145289 w 2077606"/>
              <a:gd name="connsiteY4381" fmla="*/ 816449 h 1786074"/>
              <a:gd name="connsiteX4382" fmla="*/ 1147284 w 2077606"/>
              <a:gd name="connsiteY4382" fmla="*/ 808473 h 1786074"/>
              <a:gd name="connsiteX4383" fmla="*/ 1155264 w 2077606"/>
              <a:gd name="connsiteY4383" fmla="*/ 806479 h 1786074"/>
              <a:gd name="connsiteX4384" fmla="*/ 1165239 w 2077606"/>
              <a:gd name="connsiteY4384" fmla="*/ 808473 h 1786074"/>
              <a:gd name="connsiteX4385" fmla="*/ 1167234 w 2077606"/>
              <a:gd name="connsiteY4385" fmla="*/ 798503 h 1786074"/>
              <a:gd name="connsiteX4386" fmla="*/ 1167234 w 2077606"/>
              <a:gd name="connsiteY4386" fmla="*/ 778563 h 1786074"/>
              <a:gd name="connsiteX4387" fmla="*/ 1159254 w 2077606"/>
              <a:gd name="connsiteY4387" fmla="*/ 772581 h 1786074"/>
              <a:gd name="connsiteX4388" fmla="*/ 1165239 w 2077606"/>
              <a:gd name="connsiteY4388" fmla="*/ 766599 h 1786074"/>
              <a:gd name="connsiteX4389" fmla="*/ 1169229 w 2077606"/>
              <a:gd name="connsiteY4389" fmla="*/ 756629 h 1786074"/>
              <a:gd name="connsiteX4390" fmla="*/ 1181199 w 2077606"/>
              <a:gd name="connsiteY4390" fmla="*/ 758623 h 1786074"/>
              <a:gd name="connsiteX4391" fmla="*/ 1183194 w 2077606"/>
              <a:gd name="connsiteY4391" fmla="*/ 754635 h 1786074"/>
              <a:gd name="connsiteX4392" fmla="*/ 1187184 w 2077606"/>
              <a:gd name="connsiteY4392" fmla="*/ 750647 h 1786074"/>
              <a:gd name="connsiteX4393" fmla="*/ 1197159 w 2077606"/>
              <a:gd name="connsiteY4393" fmla="*/ 750647 h 1786074"/>
              <a:gd name="connsiteX4394" fmla="*/ 1205139 w 2077606"/>
              <a:gd name="connsiteY4394" fmla="*/ 742671 h 1786074"/>
              <a:gd name="connsiteX4395" fmla="*/ 1213119 w 2077606"/>
              <a:gd name="connsiteY4395" fmla="*/ 736689 h 1786074"/>
              <a:gd name="connsiteX4396" fmla="*/ 1215114 w 2077606"/>
              <a:gd name="connsiteY4396" fmla="*/ 730707 h 1786074"/>
              <a:gd name="connsiteX4397" fmla="*/ 1215114 w 2077606"/>
              <a:gd name="connsiteY4397" fmla="*/ 724725 h 1786074"/>
              <a:gd name="connsiteX4398" fmla="*/ 1217109 w 2077606"/>
              <a:gd name="connsiteY4398" fmla="*/ 718744 h 1786074"/>
              <a:gd name="connsiteX4399" fmla="*/ 1211124 w 2077606"/>
              <a:gd name="connsiteY4399" fmla="*/ 716750 h 1786074"/>
              <a:gd name="connsiteX4400" fmla="*/ 1211124 w 2077606"/>
              <a:gd name="connsiteY4400" fmla="*/ 724725 h 1786074"/>
              <a:gd name="connsiteX4401" fmla="*/ 1207134 w 2077606"/>
              <a:gd name="connsiteY4401" fmla="*/ 728713 h 1786074"/>
              <a:gd name="connsiteX4402" fmla="*/ 1201149 w 2077606"/>
              <a:gd name="connsiteY4402" fmla="*/ 728713 h 1786074"/>
              <a:gd name="connsiteX4403" fmla="*/ 1197159 w 2077606"/>
              <a:gd name="connsiteY4403" fmla="*/ 732701 h 1786074"/>
              <a:gd name="connsiteX4404" fmla="*/ 1193169 w 2077606"/>
              <a:gd name="connsiteY4404" fmla="*/ 732701 h 1786074"/>
              <a:gd name="connsiteX4405" fmla="*/ 1195164 w 2077606"/>
              <a:gd name="connsiteY4405" fmla="*/ 726719 h 1786074"/>
              <a:gd name="connsiteX4406" fmla="*/ 1195164 w 2077606"/>
              <a:gd name="connsiteY4406" fmla="*/ 722731 h 1786074"/>
              <a:gd name="connsiteX4407" fmla="*/ 1199154 w 2077606"/>
              <a:gd name="connsiteY4407" fmla="*/ 714756 h 1786074"/>
              <a:gd name="connsiteX4408" fmla="*/ 1207134 w 2077606"/>
              <a:gd name="connsiteY4408" fmla="*/ 708774 h 1786074"/>
              <a:gd name="connsiteX4409" fmla="*/ 1211124 w 2077606"/>
              <a:gd name="connsiteY4409" fmla="*/ 700798 h 1786074"/>
              <a:gd name="connsiteX4410" fmla="*/ 1213119 w 2077606"/>
              <a:gd name="connsiteY4410" fmla="*/ 696810 h 1786074"/>
              <a:gd name="connsiteX4411" fmla="*/ 1221099 w 2077606"/>
              <a:gd name="connsiteY4411" fmla="*/ 696810 h 1786074"/>
              <a:gd name="connsiteX4412" fmla="*/ 1221099 w 2077606"/>
              <a:gd name="connsiteY4412" fmla="*/ 700798 h 1786074"/>
              <a:gd name="connsiteX4413" fmla="*/ 1229079 w 2077606"/>
              <a:gd name="connsiteY4413" fmla="*/ 698804 h 1786074"/>
              <a:gd name="connsiteX4414" fmla="*/ 1233069 w 2077606"/>
              <a:gd name="connsiteY4414" fmla="*/ 694816 h 1786074"/>
              <a:gd name="connsiteX4415" fmla="*/ 1243044 w 2077606"/>
              <a:gd name="connsiteY4415" fmla="*/ 694816 h 1786074"/>
              <a:gd name="connsiteX4416" fmla="*/ 1247034 w 2077606"/>
              <a:gd name="connsiteY4416" fmla="*/ 692822 h 1786074"/>
              <a:gd name="connsiteX4417" fmla="*/ 1245039 w 2077606"/>
              <a:gd name="connsiteY4417" fmla="*/ 690828 h 1786074"/>
              <a:gd name="connsiteX4418" fmla="*/ 1237059 w 2077606"/>
              <a:gd name="connsiteY4418" fmla="*/ 692822 h 1786074"/>
              <a:gd name="connsiteX4419" fmla="*/ 1229079 w 2077606"/>
              <a:gd name="connsiteY4419" fmla="*/ 692822 h 1786074"/>
              <a:gd name="connsiteX4420" fmla="*/ 1219104 w 2077606"/>
              <a:gd name="connsiteY4420" fmla="*/ 690828 h 1786074"/>
              <a:gd name="connsiteX4421" fmla="*/ 1211124 w 2077606"/>
              <a:gd name="connsiteY4421" fmla="*/ 686840 h 1786074"/>
              <a:gd name="connsiteX4422" fmla="*/ 1205139 w 2077606"/>
              <a:gd name="connsiteY4422" fmla="*/ 682852 h 1786074"/>
              <a:gd name="connsiteX4423" fmla="*/ 1201149 w 2077606"/>
              <a:gd name="connsiteY4423" fmla="*/ 684846 h 1786074"/>
              <a:gd name="connsiteX4424" fmla="*/ 1197159 w 2077606"/>
              <a:gd name="connsiteY4424" fmla="*/ 686840 h 1786074"/>
              <a:gd name="connsiteX4425" fmla="*/ 1187184 w 2077606"/>
              <a:gd name="connsiteY4425" fmla="*/ 686840 h 1786074"/>
              <a:gd name="connsiteX4426" fmla="*/ 1181199 w 2077606"/>
              <a:gd name="connsiteY4426" fmla="*/ 678864 h 1786074"/>
              <a:gd name="connsiteX4427" fmla="*/ 1173219 w 2077606"/>
              <a:gd name="connsiteY4427" fmla="*/ 680858 h 1786074"/>
              <a:gd name="connsiteX4428" fmla="*/ 1167234 w 2077606"/>
              <a:gd name="connsiteY4428" fmla="*/ 678864 h 1786074"/>
              <a:gd name="connsiteX4429" fmla="*/ 1167234 w 2077606"/>
              <a:gd name="connsiteY4429" fmla="*/ 650948 h 1786074"/>
              <a:gd name="connsiteX4430" fmla="*/ 1175214 w 2077606"/>
              <a:gd name="connsiteY4430" fmla="*/ 642972 h 1786074"/>
              <a:gd name="connsiteX4431" fmla="*/ 1179204 w 2077606"/>
              <a:gd name="connsiteY4431" fmla="*/ 640978 h 1786074"/>
              <a:gd name="connsiteX4432" fmla="*/ 1185189 w 2077606"/>
              <a:gd name="connsiteY4432" fmla="*/ 642972 h 1786074"/>
              <a:gd name="connsiteX4433" fmla="*/ 1187184 w 2077606"/>
              <a:gd name="connsiteY4433" fmla="*/ 634996 h 1786074"/>
              <a:gd name="connsiteX4434" fmla="*/ 1181199 w 2077606"/>
              <a:gd name="connsiteY4434" fmla="*/ 633002 h 1786074"/>
              <a:gd name="connsiteX4435" fmla="*/ 1177209 w 2077606"/>
              <a:gd name="connsiteY4435" fmla="*/ 625026 h 1786074"/>
              <a:gd name="connsiteX4436" fmla="*/ 1179204 w 2077606"/>
              <a:gd name="connsiteY4436" fmla="*/ 621038 h 1786074"/>
              <a:gd name="connsiteX4437" fmla="*/ 1183194 w 2077606"/>
              <a:gd name="connsiteY4437" fmla="*/ 617050 h 1786074"/>
              <a:gd name="connsiteX4438" fmla="*/ 1187184 w 2077606"/>
              <a:gd name="connsiteY4438" fmla="*/ 605086 h 1786074"/>
              <a:gd name="connsiteX4439" fmla="*/ 1191174 w 2077606"/>
              <a:gd name="connsiteY4439" fmla="*/ 601098 h 1786074"/>
              <a:gd name="connsiteX4440" fmla="*/ 1197159 w 2077606"/>
              <a:gd name="connsiteY4440" fmla="*/ 605086 h 1786074"/>
              <a:gd name="connsiteX4441" fmla="*/ 1205139 w 2077606"/>
              <a:gd name="connsiteY4441" fmla="*/ 605086 h 1786074"/>
              <a:gd name="connsiteX4442" fmla="*/ 1205139 w 2077606"/>
              <a:gd name="connsiteY4442" fmla="*/ 599104 h 1786074"/>
              <a:gd name="connsiteX4443" fmla="*/ 1199154 w 2077606"/>
              <a:gd name="connsiteY4443" fmla="*/ 597110 h 1786074"/>
              <a:gd name="connsiteX4444" fmla="*/ 1199154 w 2077606"/>
              <a:gd name="connsiteY4444" fmla="*/ 593122 h 1786074"/>
              <a:gd name="connsiteX4445" fmla="*/ 1209129 w 2077606"/>
              <a:gd name="connsiteY4445" fmla="*/ 589134 h 1786074"/>
              <a:gd name="connsiteX4446" fmla="*/ 1209129 w 2077606"/>
              <a:gd name="connsiteY4446" fmla="*/ 585146 h 1786074"/>
              <a:gd name="connsiteX4447" fmla="*/ 1219104 w 2077606"/>
              <a:gd name="connsiteY4447" fmla="*/ 583152 h 1786074"/>
              <a:gd name="connsiteX4448" fmla="*/ 1215114 w 2077606"/>
              <a:gd name="connsiteY4448" fmla="*/ 577170 h 1786074"/>
              <a:gd name="connsiteX4449" fmla="*/ 1215114 w 2077606"/>
              <a:gd name="connsiteY4449" fmla="*/ 567200 h 1786074"/>
              <a:gd name="connsiteX4450" fmla="*/ 1219104 w 2077606"/>
              <a:gd name="connsiteY4450" fmla="*/ 559224 h 1786074"/>
              <a:gd name="connsiteX4451" fmla="*/ 1219104 w 2077606"/>
              <a:gd name="connsiteY4451" fmla="*/ 551248 h 1786074"/>
              <a:gd name="connsiteX4452" fmla="*/ 1221099 w 2077606"/>
              <a:gd name="connsiteY4452" fmla="*/ 549254 h 1786074"/>
              <a:gd name="connsiteX4453" fmla="*/ 1217109 w 2077606"/>
              <a:gd name="connsiteY4453" fmla="*/ 539284 h 1786074"/>
              <a:gd name="connsiteX4454" fmla="*/ 1213119 w 2077606"/>
              <a:gd name="connsiteY4454" fmla="*/ 537290 h 1786074"/>
              <a:gd name="connsiteX4455" fmla="*/ 1215114 w 2077606"/>
              <a:gd name="connsiteY4455" fmla="*/ 531308 h 1786074"/>
              <a:gd name="connsiteX4456" fmla="*/ 1215114 w 2077606"/>
              <a:gd name="connsiteY4456" fmla="*/ 521338 h 1786074"/>
              <a:gd name="connsiteX4457" fmla="*/ 1221099 w 2077606"/>
              <a:gd name="connsiteY4457" fmla="*/ 519344 h 1786074"/>
              <a:gd name="connsiteX4458" fmla="*/ 1221099 w 2077606"/>
              <a:gd name="connsiteY4458" fmla="*/ 509374 h 1786074"/>
              <a:gd name="connsiteX4459" fmla="*/ 1223094 w 2077606"/>
              <a:gd name="connsiteY4459" fmla="*/ 497410 h 1786074"/>
              <a:gd name="connsiteX4460" fmla="*/ 1223094 w 2077606"/>
              <a:gd name="connsiteY4460" fmla="*/ 489434 h 1786074"/>
              <a:gd name="connsiteX4461" fmla="*/ 1229079 w 2077606"/>
              <a:gd name="connsiteY4461" fmla="*/ 487440 h 1786074"/>
              <a:gd name="connsiteX4462" fmla="*/ 1235064 w 2077606"/>
              <a:gd name="connsiteY4462" fmla="*/ 493422 h 1786074"/>
              <a:gd name="connsiteX4463" fmla="*/ 1241049 w 2077606"/>
              <a:gd name="connsiteY4463" fmla="*/ 497410 h 1786074"/>
              <a:gd name="connsiteX4464" fmla="*/ 1251024 w 2077606"/>
              <a:gd name="connsiteY4464" fmla="*/ 499404 h 1786074"/>
              <a:gd name="connsiteX4465" fmla="*/ 1262994 w 2077606"/>
              <a:gd name="connsiteY4465" fmla="*/ 501398 h 1786074"/>
              <a:gd name="connsiteX4466" fmla="*/ 1245039 w 2077606"/>
              <a:gd name="connsiteY4466" fmla="*/ 495416 h 1786074"/>
              <a:gd name="connsiteX4467" fmla="*/ 1241049 w 2077606"/>
              <a:gd name="connsiteY4467" fmla="*/ 493422 h 1786074"/>
              <a:gd name="connsiteX4468" fmla="*/ 1239054 w 2077606"/>
              <a:gd name="connsiteY4468" fmla="*/ 485446 h 1786074"/>
              <a:gd name="connsiteX4469" fmla="*/ 1237059 w 2077606"/>
              <a:gd name="connsiteY4469" fmla="*/ 479464 h 1786074"/>
              <a:gd name="connsiteX4470" fmla="*/ 1241049 w 2077606"/>
              <a:gd name="connsiteY4470" fmla="*/ 479464 h 1786074"/>
              <a:gd name="connsiteX4471" fmla="*/ 1249029 w 2077606"/>
              <a:gd name="connsiteY4471" fmla="*/ 475476 h 1786074"/>
              <a:gd name="connsiteX4472" fmla="*/ 1257009 w 2077606"/>
              <a:gd name="connsiteY4472" fmla="*/ 473482 h 1786074"/>
              <a:gd name="connsiteX4473" fmla="*/ 1266984 w 2077606"/>
              <a:gd name="connsiteY4473" fmla="*/ 471488 h 1786074"/>
              <a:gd name="connsiteX4474" fmla="*/ 1144872 w 2077606"/>
              <a:gd name="connsiteY4474" fmla="*/ 469900 h 1786074"/>
              <a:gd name="connsiteX4475" fmla="*/ 1149105 w 2077606"/>
              <a:gd name="connsiteY4475" fmla="*/ 473869 h 1786074"/>
              <a:gd name="connsiteX4476" fmla="*/ 1142755 w 2077606"/>
              <a:gd name="connsiteY4476" fmla="*/ 473869 h 1786074"/>
              <a:gd name="connsiteX4477" fmla="*/ 1144872 w 2077606"/>
              <a:gd name="connsiteY4477" fmla="*/ 469900 h 1786074"/>
              <a:gd name="connsiteX4478" fmla="*/ 1157836 w 2077606"/>
              <a:gd name="connsiteY4478" fmla="*/ 466725 h 1786074"/>
              <a:gd name="connsiteX4479" fmla="*/ 1161805 w 2077606"/>
              <a:gd name="connsiteY4479" fmla="*/ 470958 h 1786074"/>
              <a:gd name="connsiteX4480" fmla="*/ 1153867 w 2077606"/>
              <a:gd name="connsiteY4480" fmla="*/ 468842 h 1786074"/>
              <a:gd name="connsiteX4481" fmla="*/ 1157836 w 2077606"/>
              <a:gd name="connsiteY4481" fmla="*/ 466725 h 1786074"/>
              <a:gd name="connsiteX4482" fmla="*/ 1217490 w 2077606"/>
              <a:gd name="connsiteY4482" fmla="*/ 458788 h 1786074"/>
              <a:gd name="connsiteX4483" fmla="*/ 1223351 w 2077606"/>
              <a:gd name="connsiteY4483" fmla="*/ 460905 h 1786074"/>
              <a:gd name="connsiteX4484" fmla="*/ 1221397 w 2077606"/>
              <a:gd name="connsiteY4484" fmla="*/ 467255 h 1786074"/>
              <a:gd name="connsiteX4485" fmla="*/ 1209674 w 2077606"/>
              <a:gd name="connsiteY4485" fmla="*/ 469371 h 1786074"/>
              <a:gd name="connsiteX4486" fmla="*/ 1199905 w 2077606"/>
              <a:gd name="connsiteY4486" fmla="*/ 465138 h 1786074"/>
              <a:gd name="connsiteX4487" fmla="*/ 1207721 w 2077606"/>
              <a:gd name="connsiteY4487" fmla="*/ 460905 h 1786074"/>
              <a:gd name="connsiteX4488" fmla="*/ 1217490 w 2077606"/>
              <a:gd name="connsiteY4488" fmla="*/ 458788 h 1786074"/>
              <a:gd name="connsiteX4489" fmla="*/ 655208 w 2077606"/>
              <a:gd name="connsiteY4489" fmla="*/ 452844 h 1786074"/>
              <a:gd name="connsiteX4490" fmla="*/ 667170 w 2077606"/>
              <a:gd name="connsiteY4490" fmla="*/ 454837 h 1786074"/>
              <a:gd name="connsiteX4491" fmla="*/ 671157 w 2077606"/>
              <a:gd name="connsiteY4491" fmla="*/ 458824 h 1786074"/>
              <a:gd name="connsiteX4492" fmla="*/ 683118 w 2077606"/>
              <a:gd name="connsiteY4492" fmla="*/ 462812 h 1786074"/>
              <a:gd name="connsiteX4493" fmla="*/ 695080 w 2077606"/>
              <a:gd name="connsiteY4493" fmla="*/ 466799 h 1786074"/>
              <a:gd name="connsiteX4494" fmla="*/ 701061 w 2077606"/>
              <a:gd name="connsiteY4494" fmla="*/ 462812 h 1786074"/>
              <a:gd name="connsiteX4495" fmla="*/ 705048 w 2077606"/>
              <a:gd name="connsiteY4495" fmla="*/ 468792 h 1786074"/>
              <a:gd name="connsiteX4496" fmla="*/ 703054 w 2077606"/>
              <a:gd name="connsiteY4496" fmla="*/ 476767 h 1786074"/>
              <a:gd name="connsiteX4497" fmla="*/ 709035 w 2077606"/>
              <a:gd name="connsiteY4497" fmla="*/ 470786 h 1786074"/>
              <a:gd name="connsiteX4498" fmla="*/ 720997 w 2077606"/>
              <a:gd name="connsiteY4498" fmla="*/ 466799 h 1786074"/>
              <a:gd name="connsiteX4499" fmla="*/ 732959 w 2077606"/>
              <a:gd name="connsiteY4499" fmla="*/ 464805 h 1786074"/>
              <a:gd name="connsiteX4500" fmla="*/ 740933 w 2077606"/>
              <a:gd name="connsiteY4500" fmla="*/ 464805 h 1786074"/>
              <a:gd name="connsiteX4501" fmla="*/ 750901 w 2077606"/>
              <a:gd name="connsiteY4501" fmla="*/ 472780 h 1786074"/>
              <a:gd name="connsiteX4502" fmla="*/ 756882 w 2077606"/>
              <a:gd name="connsiteY4502" fmla="*/ 480754 h 1786074"/>
              <a:gd name="connsiteX4503" fmla="*/ 766850 w 2077606"/>
              <a:gd name="connsiteY4503" fmla="*/ 484741 h 1786074"/>
              <a:gd name="connsiteX4504" fmla="*/ 772831 w 2077606"/>
              <a:gd name="connsiteY4504" fmla="*/ 488729 h 1786074"/>
              <a:gd name="connsiteX4505" fmla="*/ 780805 w 2077606"/>
              <a:gd name="connsiteY4505" fmla="*/ 496703 h 1786074"/>
              <a:gd name="connsiteX4506" fmla="*/ 778811 w 2077606"/>
              <a:gd name="connsiteY4506" fmla="*/ 502684 h 1786074"/>
              <a:gd name="connsiteX4507" fmla="*/ 766850 w 2077606"/>
              <a:gd name="connsiteY4507" fmla="*/ 506671 h 1786074"/>
              <a:gd name="connsiteX4508" fmla="*/ 752895 w 2077606"/>
              <a:gd name="connsiteY4508" fmla="*/ 506671 h 1786074"/>
              <a:gd name="connsiteX4509" fmla="*/ 746914 w 2077606"/>
              <a:gd name="connsiteY4509" fmla="*/ 510658 h 1786074"/>
              <a:gd name="connsiteX4510" fmla="*/ 738939 w 2077606"/>
              <a:gd name="connsiteY4510" fmla="*/ 514645 h 1786074"/>
              <a:gd name="connsiteX4511" fmla="*/ 726978 w 2077606"/>
              <a:gd name="connsiteY4511" fmla="*/ 518633 h 1786074"/>
              <a:gd name="connsiteX4512" fmla="*/ 722991 w 2077606"/>
              <a:gd name="connsiteY4512" fmla="*/ 520626 h 1786074"/>
              <a:gd name="connsiteX4513" fmla="*/ 717010 w 2077606"/>
              <a:gd name="connsiteY4513" fmla="*/ 522620 h 1786074"/>
              <a:gd name="connsiteX4514" fmla="*/ 713023 w 2077606"/>
              <a:gd name="connsiteY4514" fmla="*/ 528601 h 1786074"/>
              <a:gd name="connsiteX4515" fmla="*/ 707042 w 2077606"/>
              <a:gd name="connsiteY4515" fmla="*/ 528601 h 1786074"/>
              <a:gd name="connsiteX4516" fmla="*/ 703054 w 2077606"/>
              <a:gd name="connsiteY4516" fmla="*/ 530594 h 1786074"/>
              <a:gd name="connsiteX4517" fmla="*/ 695080 w 2077606"/>
              <a:gd name="connsiteY4517" fmla="*/ 536575 h 1786074"/>
              <a:gd name="connsiteX4518" fmla="*/ 691093 w 2077606"/>
              <a:gd name="connsiteY4518" fmla="*/ 532588 h 1786074"/>
              <a:gd name="connsiteX4519" fmla="*/ 687106 w 2077606"/>
              <a:gd name="connsiteY4519" fmla="*/ 536575 h 1786074"/>
              <a:gd name="connsiteX4520" fmla="*/ 683118 w 2077606"/>
              <a:gd name="connsiteY4520" fmla="*/ 542556 h 1786074"/>
              <a:gd name="connsiteX4521" fmla="*/ 681125 w 2077606"/>
              <a:gd name="connsiteY4521" fmla="*/ 546543 h 1786074"/>
              <a:gd name="connsiteX4522" fmla="*/ 673150 w 2077606"/>
              <a:gd name="connsiteY4522" fmla="*/ 556511 h 1786074"/>
              <a:gd name="connsiteX4523" fmla="*/ 665176 w 2077606"/>
              <a:gd name="connsiteY4523" fmla="*/ 562492 h 1786074"/>
              <a:gd name="connsiteX4524" fmla="*/ 663182 w 2077606"/>
              <a:gd name="connsiteY4524" fmla="*/ 562492 h 1786074"/>
              <a:gd name="connsiteX4525" fmla="*/ 659195 w 2077606"/>
              <a:gd name="connsiteY4525" fmla="*/ 564486 h 1786074"/>
              <a:gd name="connsiteX4526" fmla="*/ 655208 w 2077606"/>
              <a:gd name="connsiteY4526" fmla="*/ 560498 h 1786074"/>
              <a:gd name="connsiteX4527" fmla="*/ 651221 w 2077606"/>
              <a:gd name="connsiteY4527" fmla="*/ 556511 h 1786074"/>
              <a:gd name="connsiteX4528" fmla="*/ 649227 w 2077606"/>
              <a:gd name="connsiteY4528" fmla="*/ 564486 h 1786074"/>
              <a:gd name="connsiteX4529" fmla="*/ 647234 w 2077606"/>
              <a:gd name="connsiteY4529" fmla="*/ 570466 h 1786074"/>
              <a:gd name="connsiteX4530" fmla="*/ 641253 w 2077606"/>
              <a:gd name="connsiteY4530" fmla="*/ 578441 h 1786074"/>
              <a:gd name="connsiteX4531" fmla="*/ 639259 w 2077606"/>
              <a:gd name="connsiteY4531" fmla="*/ 594390 h 1786074"/>
              <a:gd name="connsiteX4532" fmla="*/ 633278 w 2077606"/>
              <a:gd name="connsiteY4532" fmla="*/ 604358 h 1786074"/>
              <a:gd name="connsiteX4533" fmla="*/ 623310 w 2077606"/>
              <a:gd name="connsiteY4533" fmla="*/ 606351 h 1786074"/>
              <a:gd name="connsiteX4534" fmla="*/ 617329 w 2077606"/>
              <a:gd name="connsiteY4534" fmla="*/ 606351 h 1786074"/>
              <a:gd name="connsiteX4535" fmla="*/ 611349 w 2077606"/>
              <a:gd name="connsiteY4535" fmla="*/ 604358 h 1786074"/>
              <a:gd name="connsiteX4536" fmla="*/ 595400 w 2077606"/>
              <a:gd name="connsiteY4536" fmla="*/ 610338 h 1786074"/>
              <a:gd name="connsiteX4537" fmla="*/ 579451 w 2077606"/>
              <a:gd name="connsiteY4537" fmla="*/ 620306 h 1786074"/>
              <a:gd name="connsiteX4538" fmla="*/ 569483 w 2077606"/>
              <a:gd name="connsiteY4538" fmla="*/ 618313 h 1786074"/>
              <a:gd name="connsiteX4539" fmla="*/ 565496 w 2077606"/>
              <a:gd name="connsiteY4539" fmla="*/ 610338 h 1786074"/>
              <a:gd name="connsiteX4540" fmla="*/ 561509 w 2077606"/>
              <a:gd name="connsiteY4540" fmla="*/ 590402 h 1786074"/>
              <a:gd name="connsiteX4541" fmla="*/ 551541 w 2077606"/>
              <a:gd name="connsiteY4541" fmla="*/ 582428 h 1786074"/>
              <a:gd name="connsiteX4542" fmla="*/ 537585 w 2077606"/>
              <a:gd name="connsiteY4542" fmla="*/ 578441 h 1786074"/>
              <a:gd name="connsiteX4543" fmla="*/ 525624 w 2077606"/>
              <a:gd name="connsiteY4543" fmla="*/ 576447 h 1786074"/>
              <a:gd name="connsiteX4544" fmla="*/ 527617 w 2077606"/>
              <a:gd name="connsiteY4544" fmla="*/ 568473 h 1786074"/>
              <a:gd name="connsiteX4545" fmla="*/ 533598 w 2077606"/>
              <a:gd name="connsiteY4545" fmla="*/ 562492 h 1786074"/>
              <a:gd name="connsiteX4546" fmla="*/ 541573 w 2077606"/>
              <a:gd name="connsiteY4546" fmla="*/ 552524 h 1786074"/>
              <a:gd name="connsiteX4547" fmla="*/ 549547 w 2077606"/>
              <a:gd name="connsiteY4547" fmla="*/ 544549 h 1786074"/>
              <a:gd name="connsiteX4548" fmla="*/ 551541 w 2077606"/>
              <a:gd name="connsiteY4548" fmla="*/ 538569 h 1786074"/>
              <a:gd name="connsiteX4549" fmla="*/ 557521 w 2077606"/>
              <a:gd name="connsiteY4549" fmla="*/ 530594 h 1786074"/>
              <a:gd name="connsiteX4550" fmla="*/ 565496 w 2077606"/>
              <a:gd name="connsiteY4550" fmla="*/ 526607 h 1786074"/>
              <a:gd name="connsiteX4551" fmla="*/ 559515 w 2077606"/>
              <a:gd name="connsiteY4551" fmla="*/ 520626 h 1786074"/>
              <a:gd name="connsiteX4552" fmla="*/ 563502 w 2077606"/>
              <a:gd name="connsiteY4552" fmla="*/ 516639 h 1786074"/>
              <a:gd name="connsiteX4553" fmla="*/ 565496 w 2077606"/>
              <a:gd name="connsiteY4553" fmla="*/ 514645 h 1786074"/>
              <a:gd name="connsiteX4554" fmla="*/ 571477 w 2077606"/>
              <a:gd name="connsiteY4554" fmla="*/ 508665 h 1786074"/>
              <a:gd name="connsiteX4555" fmla="*/ 575464 w 2077606"/>
              <a:gd name="connsiteY4555" fmla="*/ 506671 h 1786074"/>
              <a:gd name="connsiteX4556" fmla="*/ 579451 w 2077606"/>
              <a:gd name="connsiteY4556" fmla="*/ 504677 h 1786074"/>
              <a:gd name="connsiteX4557" fmla="*/ 583438 w 2077606"/>
              <a:gd name="connsiteY4557" fmla="*/ 498697 h 1786074"/>
              <a:gd name="connsiteX4558" fmla="*/ 583438 w 2077606"/>
              <a:gd name="connsiteY4558" fmla="*/ 492716 h 1786074"/>
              <a:gd name="connsiteX4559" fmla="*/ 591413 w 2077606"/>
              <a:gd name="connsiteY4559" fmla="*/ 492716 h 1786074"/>
              <a:gd name="connsiteX4560" fmla="*/ 587425 w 2077606"/>
              <a:gd name="connsiteY4560" fmla="*/ 484741 h 1786074"/>
              <a:gd name="connsiteX4561" fmla="*/ 581445 w 2077606"/>
              <a:gd name="connsiteY4561" fmla="*/ 482748 h 1786074"/>
              <a:gd name="connsiteX4562" fmla="*/ 583438 w 2077606"/>
              <a:gd name="connsiteY4562" fmla="*/ 480754 h 1786074"/>
              <a:gd name="connsiteX4563" fmla="*/ 585432 w 2077606"/>
              <a:gd name="connsiteY4563" fmla="*/ 476767 h 1786074"/>
              <a:gd name="connsiteX4564" fmla="*/ 583438 w 2077606"/>
              <a:gd name="connsiteY4564" fmla="*/ 470786 h 1786074"/>
              <a:gd name="connsiteX4565" fmla="*/ 581445 w 2077606"/>
              <a:gd name="connsiteY4565" fmla="*/ 464805 h 1786074"/>
              <a:gd name="connsiteX4566" fmla="*/ 581445 w 2077606"/>
              <a:gd name="connsiteY4566" fmla="*/ 458824 h 1786074"/>
              <a:gd name="connsiteX4567" fmla="*/ 595400 w 2077606"/>
              <a:gd name="connsiteY4567" fmla="*/ 460818 h 1786074"/>
              <a:gd name="connsiteX4568" fmla="*/ 599387 w 2077606"/>
              <a:gd name="connsiteY4568" fmla="*/ 458824 h 1786074"/>
              <a:gd name="connsiteX4569" fmla="*/ 607361 w 2077606"/>
              <a:gd name="connsiteY4569" fmla="*/ 460818 h 1786074"/>
              <a:gd name="connsiteX4570" fmla="*/ 613342 w 2077606"/>
              <a:gd name="connsiteY4570" fmla="*/ 460818 h 1786074"/>
              <a:gd name="connsiteX4571" fmla="*/ 619323 w 2077606"/>
              <a:gd name="connsiteY4571" fmla="*/ 456831 h 1786074"/>
              <a:gd name="connsiteX4572" fmla="*/ 623310 w 2077606"/>
              <a:gd name="connsiteY4572" fmla="*/ 458824 h 1786074"/>
              <a:gd name="connsiteX4573" fmla="*/ 627298 w 2077606"/>
              <a:gd name="connsiteY4573" fmla="*/ 460818 h 1786074"/>
              <a:gd name="connsiteX4574" fmla="*/ 633278 w 2077606"/>
              <a:gd name="connsiteY4574" fmla="*/ 460818 h 1786074"/>
              <a:gd name="connsiteX4575" fmla="*/ 643246 w 2077606"/>
              <a:gd name="connsiteY4575" fmla="*/ 460818 h 1786074"/>
              <a:gd name="connsiteX4576" fmla="*/ 655208 w 2077606"/>
              <a:gd name="connsiteY4576" fmla="*/ 452844 h 1786074"/>
              <a:gd name="connsiteX4577" fmla="*/ 1106242 w 2077606"/>
              <a:gd name="connsiteY4577" fmla="*/ 450850 h 1786074"/>
              <a:gd name="connsiteX4578" fmla="*/ 1104125 w 2077606"/>
              <a:gd name="connsiteY4578" fmla="*/ 455612 h 1786074"/>
              <a:gd name="connsiteX4579" fmla="*/ 1099892 w 2077606"/>
              <a:gd name="connsiteY4579" fmla="*/ 453231 h 1786074"/>
              <a:gd name="connsiteX4580" fmla="*/ 1102009 w 2077606"/>
              <a:gd name="connsiteY4580" fmla="*/ 453231 h 1786074"/>
              <a:gd name="connsiteX4581" fmla="*/ 1106242 w 2077606"/>
              <a:gd name="connsiteY4581" fmla="*/ 450850 h 1786074"/>
              <a:gd name="connsiteX4582" fmla="*/ 1175140 w 2077606"/>
              <a:gd name="connsiteY4582" fmla="*/ 444897 h 1786074"/>
              <a:gd name="connsiteX4583" fmla="*/ 1177045 w 2077606"/>
              <a:gd name="connsiteY4583" fmla="*/ 448866 h 1786074"/>
              <a:gd name="connsiteX4584" fmla="*/ 1173235 w 2077606"/>
              <a:gd name="connsiteY4584" fmla="*/ 446881 h 1786074"/>
              <a:gd name="connsiteX4585" fmla="*/ 1175140 w 2077606"/>
              <a:gd name="connsiteY4585" fmla="*/ 444897 h 1786074"/>
              <a:gd name="connsiteX4586" fmla="*/ 1123705 w 2077606"/>
              <a:gd name="connsiteY4586" fmla="*/ 403225 h 1786074"/>
              <a:gd name="connsiteX4587" fmla="*/ 1126880 w 2077606"/>
              <a:gd name="connsiteY4587" fmla="*/ 405342 h 1786074"/>
              <a:gd name="connsiteX4588" fmla="*/ 1123705 w 2077606"/>
              <a:gd name="connsiteY4588" fmla="*/ 405342 h 1786074"/>
              <a:gd name="connsiteX4589" fmla="*/ 1123705 w 2077606"/>
              <a:gd name="connsiteY4589" fmla="*/ 403225 h 1786074"/>
              <a:gd name="connsiteX4590" fmla="*/ 1259436 w 2077606"/>
              <a:gd name="connsiteY4590" fmla="*/ 400050 h 1786074"/>
              <a:gd name="connsiteX4591" fmla="*/ 1267374 w 2077606"/>
              <a:gd name="connsiteY4591" fmla="*/ 400050 h 1786074"/>
              <a:gd name="connsiteX4592" fmla="*/ 1275311 w 2077606"/>
              <a:gd name="connsiteY4592" fmla="*/ 402049 h 1786074"/>
              <a:gd name="connsiteX4593" fmla="*/ 1283249 w 2077606"/>
              <a:gd name="connsiteY4593" fmla="*/ 406047 h 1786074"/>
              <a:gd name="connsiteX4594" fmla="*/ 1289202 w 2077606"/>
              <a:gd name="connsiteY4594" fmla="*/ 412044 h 1786074"/>
              <a:gd name="connsiteX4595" fmla="*/ 1291186 w 2077606"/>
              <a:gd name="connsiteY4595" fmla="*/ 416043 h 1786074"/>
              <a:gd name="connsiteX4596" fmla="*/ 1291186 w 2077606"/>
              <a:gd name="connsiteY4596" fmla="*/ 424039 h 1786074"/>
              <a:gd name="connsiteX4597" fmla="*/ 1289202 w 2077606"/>
              <a:gd name="connsiteY4597" fmla="*/ 430036 h 1786074"/>
              <a:gd name="connsiteX4598" fmla="*/ 1291186 w 2077606"/>
              <a:gd name="connsiteY4598" fmla="*/ 438032 h 1786074"/>
              <a:gd name="connsiteX4599" fmla="*/ 1291186 w 2077606"/>
              <a:gd name="connsiteY4599" fmla="*/ 444030 h 1786074"/>
              <a:gd name="connsiteX4600" fmla="*/ 1285233 w 2077606"/>
              <a:gd name="connsiteY4600" fmla="*/ 452026 h 1786074"/>
              <a:gd name="connsiteX4601" fmla="*/ 1279280 w 2077606"/>
              <a:gd name="connsiteY4601" fmla="*/ 452026 h 1786074"/>
              <a:gd name="connsiteX4602" fmla="*/ 1273327 w 2077606"/>
              <a:gd name="connsiteY4602" fmla="*/ 452026 h 1786074"/>
              <a:gd name="connsiteX4603" fmla="*/ 1267374 w 2077606"/>
              <a:gd name="connsiteY4603" fmla="*/ 452026 h 1786074"/>
              <a:gd name="connsiteX4604" fmla="*/ 1261421 w 2077606"/>
              <a:gd name="connsiteY4604" fmla="*/ 452026 h 1786074"/>
              <a:gd name="connsiteX4605" fmla="*/ 1255468 w 2077606"/>
              <a:gd name="connsiteY4605" fmla="*/ 454025 h 1786074"/>
              <a:gd name="connsiteX4606" fmla="*/ 1249515 w 2077606"/>
              <a:gd name="connsiteY4606" fmla="*/ 452026 h 1786074"/>
              <a:gd name="connsiteX4607" fmla="*/ 1247530 w 2077606"/>
              <a:gd name="connsiteY4607" fmla="*/ 448028 h 1786074"/>
              <a:gd name="connsiteX4608" fmla="*/ 1247530 w 2077606"/>
              <a:gd name="connsiteY4608" fmla="*/ 442030 h 1786074"/>
              <a:gd name="connsiteX4609" fmla="*/ 1243561 w 2077606"/>
              <a:gd name="connsiteY4609" fmla="*/ 446029 h 1786074"/>
              <a:gd name="connsiteX4610" fmla="*/ 1239593 w 2077606"/>
              <a:gd name="connsiteY4610" fmla="*/ 450027 h 1786074"/>
              <a:gd name="connsiteX4611" fmla="*/ 1237608 w 2077606"/>
              <a:gd name="connsiteY4611" fmla="*/ 446029 h 1786074"/>
              <a:gd name="connsiteX4612" fmla="*/ 1233640 w 2077606"/>
              <a:gd name="connsiteY4612" fmla="*/ 444030 h 1786074"/>
              <a:gd name="connsiteX4613" fmla="*/ 1229671 w 2077606"/>
              <a:gd name="connsiteY4613" fmla="*/ 444030 h 1786074"/>
              <a:gd name="connsiteX4614" fmla="*/ 1225702 w 2077606"/>
              <a:gd name="connsiteY4614" fmla="*/ 438032 h 1786074"/>
              <a:gd name="connsiteX4615" fmla="*/ 1215780 w 2077606"/>
              <a:gd name="connsiteY4615" fmla="*/ 436033 h 1786074"/>
              <a:gd name="connsiteX4616" fmla="*/ 1219749 w 2077606"/>
              <a:gd name="connsiteY4616" fmla="*/ 428037 h 1786074"/>
              <a:gd name="connsiteX4617" fmla="*/ 1223718 w 2077606"/>
              <a:gd name="connsiteY4617" fmla="*/ 424039 h 1786074"/>
              <a:gd name="connsiteX4618" fmla="*/ 1227686 w 2077606"/>
              <a:gd name="connsiteY4618" fmla="*/ 420041 h 1786074"/>
              <a:gd name="connsiteX4619" fmla="*/ 1235624 w 2077606"/>
              <a:gd name="connsiteY4619" fmla="*/ 418042 h 1786074"/>
              <a:gd name="connsiteX4620" fmla="*/ 1241577 w 2077606"/>
              <a:gd name="connsiteY4620" fmla="*/ 406047 h 1786074"/>
              <a:gd name="connsiteX4621" fmla="*/ 1253483 w 2077606"/>
              <a:gd name="connsiteY4621" fmla="*/ 402049 h 1786074"/>
              <a:gd name="connsiteX4622" fmla="*/ 1259436 w 2077606"/>
              <a:gd name="connsiteY4622" fmla="*/ 400050 h 1786074"/>
              <a:gd name="connsiteX4623" fmla="*/ 1224029 w 2077606"/>
              <a:gd name="connsiteY4623" fmla="*/ 397308 h 1786074"/>
              <a:gd name="connsiteX4624" fmla="*/ 1225305 w 2077606"/>
              <a:gd name="connsiteY4624" fmla="*/ 401349 h 1786074"/>
              <a:gd name="connsiteX4625" fmla="*/ 1229387 w 2077606"/>
              <a:gd name="connsiteY4625" fmla="*/ 399329 h 1786074"/>
              <a:gd name="connsiteX4626" fmla="*/ 1233469 w 2077606"/>
              <a:gd name="connsiteY4626" fmla="*/ 401349 h 1786074"/>
              <a:gd name="connsiteX4627" fmla="*/ 1235510 w 2077606"/>
              <a:gd name="connsiteY4627" fmla="*/ 403370 h 1786074"/>
              <a:gd name="connsiteX4628" fmla="*/ 1237551 w 2077606"/>
              <a:gd name="connsiteY4628" fmla="*/ 405390 h 1786074"/>
              <a:gd name="connsiteX4629" fmla="*/ 1231428 w 2077606"/>
              <a:gd name="connsiteY4629" fmla="*/ 407411 h 1786074"/>
              <a:gd name="connsiteX4630" fmla="*/ 1227346 w 2077606"/>
              <a:gd name="connsiteY4630" fmla="*/ 409431 h 1786074"/>
              <a:gd name="connsiteX4631" fmla="*/ 1221222 w 2077606"/>
              <a:gd name="connsiteY4631" fmla="*/ 413472 h 1786074"/>
              <a:gd name="connsiteX4632" fmla="*/ 1215099 w 2077606"/>
              <a:gd name="connsiteY4632" fmla="*/ 415492 h 1786074"/>
              <a:gd name="connsiteX4633" fmla="*/ 1213058 w 2077606"/>
              <a:gd name="connsiteY4633" fmla="*/ 409431 h 1786074"/>
              <a:gd name="connsiteX4634" fmla="*/ 1215099 w 2077606"/>
              <a:gd name="connsiteY4634" fmla="*/ 405390 h 1786074"/>
              <a:gd name="connsiteX4635" fmla="*/ 1217140 w 2077606"/>
              <a:gd name="connsiteY4635" fmla="*/ 403370 h 1786074"/>
              <a:gd name="connsiteX4636" fmla="*/ 1219181 w 2077606"/>
              <a:gd name="connsiteY4636" fmla="*/ 401349 h 1786074"/>
              <a:gd name="connsiteX4637" fmla="*/ 1221222 w 2077606"/>
              <a:gd name="connsiteY4637" fmla="*/ 399329 h 1786074"/>
              <a:gd name="connsiteX4638" fmla="*/ 1224029 w 2077606"/>
              <a:gd name="connsiteY4638" fmla="*/ 397308 h 1786074"/>
              <a:gd name="connsiteX4639" fmla="*/ 1073540 w 2077606"/>
              <a:gd name="connsiteY4639" fmla="*/ 389334 h 1786074"/>
              <a:gd name="connsiteX4640" fmla="*/ 1080208 w 2077606"/>
              <a:gd name="connsiteY4640" fmla="*/ 393303 h 1786074"/>
              <a:gd name="connsiteX4641" fmla="*/ 1071317 w 2077606"/>
              <a:gd name="connsiteY4641" fmla="*/ 391318 h 1786074"/>
              <a:gd name="connsiteX4642" fmla="*/ 1073540 w 2077606"/>
              <a:gd name="connsiteY4642" fmla="*/ 389334 h 1786074"/>
              <a:gd name="connsiteX4643" fmla="*/ 1224511 w 2077606"/>
              <a:gd name="connsiteY4643" fmla="*/ 388938 h 1786074"/>
              <a:gd name="connsiteX4644" fmla="*/ 1228480 w 2077606"/>
              <a:gd name="connsiteY4644" fmla="*/ 393171 h 1786074"/>
              <a:gd name="connsiteX4645" fmla="*/ 1220542 w 2077606"/>
              <a:gd name="connsiteY4645" fmla="*/ 391055 h 1786074"/>
              <a:gd name="connsiteX4646" fmla="*/ 1224511 w 2077606"/>
              <a:gd name="connsiteY4646" fmla="*/ 388938 h 1786074"/>
              <a:gd name="connsiteX4647" fmla="*/ 1117884 w 2077606"/>
              <a:gd name="connsiteY4647" fmla="*/ 388938 h 1786074"/>
              <a:gd name="connsiteX4648" fmla="*/ 1121941 w 2077606"/>
              <a:gd name="connsiteY4648" fmla="*/ 388938 h 1786074"/>
              <a:gd name="connsiteX4649" fmla="*/ 1128027 w 2077606"/>
              <a:gd name="connsiteY4649" fmla="*/ 393171 h 1786074"/>
              <a:gd name="connsiteX4650" fmla="*/ 1128027 w 2077606"/>
              <a:gd name="connsiteY4650" fmla="*/ 397405 h 1786074"/>
              <a:gd name="connsiteX4651" fmla="*/ 1121941 w 2077606"/>
              <a:gd name="connsiteY4651" fmla="*/ 399521 h 1786074"/>
              <a:gd name="connsiteX4652" fmla="*/ 1113827 w 2077606"/>
              <a:gd name="connsiteY4652" fmla="*/ 403755 h 1786074"/>
              <a:gd name="connsiteX4653" fmla="*/ 1105713 w 2077606"/>
              <a:gd name="connsiteY4653" fmla="*/ 403755 h 1786074"/>
              <a:gd name="connsiteX4654" fmla="*/ 1099628 w 2077606"/>
              <a:gd name="connsiteY4654" fmla="*/ 405871 h 1786074"/>
              <a:gd name="connsiteX4655" fmla="*/ 1093542 w 2077606"/>
              <a:gd name="connsiteY4655" fmla="*/ 401638 h 1786074"/>
              <a:gd name="connsiteX4656" fmla="*/ 1101656 w 2077606"/>
              <a:gd name="connsiteY4656" fmla="*/ 399521 h 1786074"/>
              <a:gd name="connsiteX4657" fmla="*/ 1105713 w 2077606"/>
              <a:gd name="connsiteY4657" fmla="*/ 395288 h 1786074"/>
              <a:gd name="connsiteX4658" fmla="*/ 1107742 w 2077606"/>
              <a:gd name="connsiteY4658" fmla="*/ 391055 h 1786074"/>
              <a:gd name="connsiteX4659" fmla="*/ 1113827 w 2077606"/>
              <a:gd name="connsiteY4659" fmla="*/ 391055 h 1786074"/>
              <a:gd name="connsiteX4660" fmla="*/ 1117884 w 2077606"/>
              <a:gd name="connsiteY4660" fmla="*/ 388938 h 1786074"/>
              <a:gd name="connsiteX4661" fmla="*/ 1248721 w 2077606"/>
              <a:gd name="connsiteY4661" fmla="*/ 384175 h 1786074"/>
              <a:gd name="connsiteX4662" fmla="*/ 1248721 w 2077606"/>
              <a:gd name="connsiteY4662" fmla="*/ 388143 h 1786074"/>
              <a:gd name="connsiteX4663" fmla="*/ 1242767 w 2077606"/>
              <a:gd name="connsiteY4663" fmla="*/ 390128 h 1786074"/>
              <a:gd name="connsiteX4664" fmla="*/ 1242767 w 2077606"/>
              <a:gd name="connsiteY4664" fmla="*/ 386159 h 1786074"/>
              <a:gd name="connsiteX4665" fmla="*/ 1248721 w 2077606"/>
              <a:gd name="connsiteY4665" fmla="*/ 384175 h 1786074"/>
              <a:gd name="connsiteX4666" fmla="*/ 1105222 w 2077606"/>
              <a:gd name="connsiteY4666" fmla="*/ 384175 h 1786074"/>
              <a:gd name="connsiteX4667" fmla="*/ 1111005 w 2077606"/>
              <a:gd name="connsiteY4667" fmla="*/ 388144 h 1786074"/>
              <a:gd name="connsiteX4668" fmla="*/ 1105222 w 2077606"/>
              <a:gd name="connsiteY4668" fmla="*/ 390128 h 1786074"/>
              <a:gd name="connsiteX4669" fmla="*/ 1093656 w 2077606"/>
              <a:gd name="connsiteY4669" fmla="*/ 394097 h 1786074"/>
              <a:gd name="connsiteX4670" fmla="*/ 1087873 w 2077606"/>
              <a:gd name="connsiteY4670" fmla="*/ 398066 h 1786074"/>
              <a:gd name="connsiteX4671" fmla="*/ 1084017 w 2077606"/>
              <a:gd name="connsiteY4671" fmla="*/ 396081 h 1786074"/>
              <a:gd name="connsiteX4672" fmla="*/ 1087873 w 2077606"/>
              <a:gd name="connsiteY4672" fmla="*/ 392112 h 1786074"/>
              <a:gd name="connsiteX4673" fmla="*/ 1089800 w 2077606"/>
              <a:gd name="connsiteY4673" fmla="*/ 392112 h 1786074"/>
              <a:gd name="connsiteX4674" fmla="*/ 1093656 w 2077606"/>
              <a:gd name="connsiteY4674" fmla="*/ 390128 h 1786074"/>
              <a:gd name="connsiteX4675" fmla="*/ 1101367 w 2077606"/>
              <a:gd name="connsiteY4675" fmla="*/ 386159 h 1786074"/>
              <a:gd name="connsiteX4676" fmla="*/ 1105222 w 2077606"/>
              <a:gd name="connsiteY4676" fmla="*/ 384175 h 1786074"/>
              <a:gd name="connsiteX4677" fmla="*/ 1273459 w 2077606"/>
              <a:gd name="connsiteY4677" fmla="*/ 379413 h 1786074"/>
              <a:gd name="connsiteX4678" fmla="*/ 1275575 w 2077606"/>
              <a:gd name="connsiteY4678" fmla="*/ 385536 h 1786074"/>
              <a:gd name="connsiteX4679" fmla="*/ 1275575 w 2077606"/>
              <a:gd name="connsiteY4679" fmla="*/ 389618 h 1786074"/>
              <a:gd name="connsiteX4680" fmla="*/ 1273459 w 2077606"/>
              <a:gd name="connsiteY4680" fmla="*/ 393700 h 1786074"/>
              <a:gd name="connsiteX4681" fmla="*/ 1264992 w 2077606"/>
              <a:gd name="connsiteY4681" fmla="*/ 387577 h 1786074"/>
              <a:gd name="connsiteX4682" fmla="*/ 1269225 w 2077606"/>
              <a:gd name="connsiteY4682" fmla="*/ 381454 h 1786074"/>
              <a:gd name="connsiteX4683" fmla="*/ 1273459 w 2077606"/>
              <a:gd name="connsiteY4683" fmla="*/ 379413 h 1786074"/>
              <a:gd name="connsiteX4684" fmla="*/ 1098221 w 2077606"/>
              <a:gd name="connsiteY4684" fmla="*/ 379413 h 1786074"/>
              <a:gd name="connsiteX4685" fmla="*/ 1106242 w 2077606"/>
              <a:gd name="connsiteY4685" fmla="*/ 381397 h 1786074"/>
              <a:gd name="connsiteX4686" fmla="*/ 1096216 w 2077606"/>
              <a:gd name="connsiteY4686" fmla="*/ 385366 h 1786074"/>
              <a:gd name="connsiteX4687" fmla="*/ 1084184 w 2077606"/>
              <a:gd name="connsiteY4687" fmla="*/ 387350 h 1786074"/>
              <a:gd name="connsiteX4688" fmla="*/ 1070147 w 2077606"/>
              <a:gd name="connsiteY4688" fmla="*/ 385366 h 1786074"/>
              <a:gd name="connsiteX4689" fmla="*/ 1072153 w 2077606"/>
              <a:gd name="connsiteY4689" fmla="*/ 383381 h 1786074"/>
              <a:gd name="connsiteX4690" fmla="*/ 1084184 w 2077606"/>
              <a:gd name="connsiteY4690" fmla="*/ 383381 h 1786074"/>
              <a:gd name="connsiteX4691" fmla="*/ 1092205 w 2077606"/>
              <a:gd name="connsiteY4691" fmla="*/ 381397 h 1786074"/>
              <a:gd name="connsiteX4692" fmla="*/ 1098221 w 2077606"/>
              <a:gd name="connsiteY4692" fmla="*/ 379413 h 1786074"/>
              <a:gd name="connsiteX4693" fmla="*/ 761819 w 2077606"/>
              <a:gd name="connsiteY4693" fmla="*/ 378221 h 1786074"/>
              <a:gd name="connsiteX4694" fmla="*/ 765756 w 2077606"/>
              <a:gd name="connsiteY4694" fmla="*/ 378221 h 1786074"/>
              <a:gd name="connsiteX4695" fmla="*/ 769693 w 2077606"/>
              <a:gd name="connsiteY4695" fmla="*/ 380206 h 1786074"/>
              <a:gd name="connsiteX4696" fmla="*/ 765756 w 2077606"/>
              <a:gd name="connsiteY4696" fmla="*/ 384174 h 1786074"/>
              <a:gd name="connsiteX4697" fmla="*/ 761819 w 2077606"/>
              <a:gd name="connsiteY4697" fmla="*/ 386159 h 1786074"/>
              <a:gd name="connsiteX4698" fmla="*/ 757882 w 2077606"/>
              <a:gd name="connsiteY4698" fmla="*/ 390128 h 1786074"/>
              <a:gd name="connsiteX4699" fmla="*/ 751976 w 2077606"/>
              <a:gd name="connsiteY4699" fmla="*/ 394096 h 1786074"/>
              <a:gd name="connsiteX4700" fmla="*/ 748039 w 2077606"/>
              <a:gd name="connsiteY4700" fmla="*/ 402034 h 1786074"/>
              <a:gd name="connsiteX4701" fmla="*/ 744102 w 2077606"/>
              <a:gd name="connsiteY4701" fmla="*/ 404018 h 1786074"/>
              <a:gd name="connsiteX4702" fmla="*/ 738197 w 2077606"/>
              <a:gd name="connsiteY4702" fmla="*/ 407987 h 1786074"/>
              <a:gd name="connsiteX4703" fmla="*/ 728354 w 2077606"/>
              <a:gd name="connsiteY4703" fmla="*/ 406003 h 1786074"/>
              <a:gd name="connsiteX4704" fmla="*/ 726386 w 2077606"/>
              <a:gd name="connsiteY4704" fmla="*/ 402034 h 1786074"/>
              <a:gd name="connsiteX4705" fmla="*/ 722449 w 2077606"/>
              <a:gd name="connsiteY4705" fmla="*/ 396081 h 1786074"/>
              <a:gd name="connsiteX4706" fmla="*/ 726386 w 2077606"/>
              <a:gd name="connsiteY4706" fmla="*/ 394096 h 1786074"/>
              <a:gd name="connsiteX4707" fmla="*/ 732291 w 2077606"/>
              <a:gd name="connsiteY4707" fmla="*/ 392112 h 1786074"/>
              <a:gd name="connsiteX4708" fmla="*/ 736228 w 2077606"/>
              <a:gd name="connsiteY4708" fmla="*/ 386159 h 1786074"/>
              <a:gd name="connsiteX4709" fmla="*/ 740165 w 2077606"/>
              <a:gd name="connsiteY4709" fmla="*/ 388143 h 1786074"/>
              <a:gd name="connsiteX4710" fmla="*/ 742134 w 2077606"/>
              <a:gd name="connsiteY4710" fmla="*/ 388143 h 1786074"/>
              <a:gd name="connsiteX4711" fmla="*/ 746071 w 2077606"/>
              <a:gd name="connsiteY4711" fmla="*/ 386159 h 1786074"/>
              <a:gd name="connsiteX4712" fmla="*/ 750008 w 2077606"/>
              <a:gd name="connsiteY4712" fmla="*/ 384174 h 1786074"/>
              <a:gd name="connsiteX4713" fmla="*/ 753945 w 2077606"/>
              <a:gd name="connsiteY4713" fmla="*/ 382190 h 1786074"/>
              <a:gd name="connsiteX4714" fmla="*/ 757882 w 2077606"/>
              <a:gd name="connsiteY4714" fmla="*/ 380206 h 1786074"/>
              <a:gd name="connsiteX4715" fmla="*/ 761819 w 2077606"/>
              <a:gd name="connsiteY4715" fmla="*/ 378221 h 1786074"/>
              <a:gd name="connsiteX4716" fmla="*/ 1100181 w 2077606"/>
              <a:gd name="connsiteY4716" fmla="*/ 365125 h 1786074"/>
              <a:gd name="connsiteX4717" fmla="*/ 1104222 w 2077606"/>
              <a:gd name="connsiteY4717" fmla="*/ 365125 h 1786074"/>
              <a:gd name="connsiteX4718" fmla="*/ 1102201 w 2077606"/>
              <a:gd name="connsiteY4718" fmla="*/ 371248 h 1786074"/>
              <a:gd name="connsiteX4719" fmla="*/ 1098160 w 2077606"/>
              <a:gd name="connsiteY4719" fmla="*/ 375330 h 1786074"/>
              <a:gd name="connsiteX4720" fmla="*/ 1090078 w 2077606"/>
              <a:gd name="connsiteY4720" fmla="*/ 379412 h 1786074"/>
              <a:gd name="connsiteX4721" fmla="*/ 1084017 w 2077606"/>
              <a:gd name="connsiteY4721" fmla="*/ 377371 h 1786074"/>
              <a:gd name="connsiteX4722" fmla="*/ 1075935 w 2077606"/>
              <a:gd name="connsiteY4722" fmla="*/ 377371 h 1786074"/>
              <a:gd name="connsiteX4723" fmla="*/ 1067853 w 2077606"/>
              <a:gd name="connsiteY4723" fmla="*/ 377371 h 1786074"/>
              <a:gd name="connsiteX4724" fmla="*/ 1063813 w 2077606"/>
              <a:gd name="connsiteY4724" fmla="*/ 371248 h 1786074"/>
              <a:gd name="connsiteX4725" fmla="*/ 1067853 w 2077606"/>
              <a:gd name="connsiteY4725" fmla="*/ 367166 h 1786074"/>
              <a:gd name="connsiteX4726" fmla="*/ 1071894 w 2077606"/>
              <a:gd name="connsiteY4726" fmla="*/ 369207 h 1786074"/>
              <a:gd name="connsiteX4727" fmla="*/ 1075935 w 2077606"/>
              <a:gd name="connsiteY4727" fmla="*/ 369207 h 1786074"/>
              <a:gd name="connsiteX4728" fmla="*/ 1081997 w 2077606"/>
              <a:gd name="connsiteY4728" fmla="*/ 369207 h 1786074"/>
              <a:gd name="connsiteX4729" fmla="*/ 1086038 w 2077606"/>
              <a:gd name="connsiteY4729" fmla="*/ 367166 h 1786074"/>
              <a:gd name="connsiteX4730" fmla="*/ 1092099 w 2077606"/>
              <a:gd name="connsiteY4730" fmla="*/ 369207 h 1786074"/>
              <a:gd name="connsiteX4731" fmla="*/ 1096140 w 2077606"/>
              <a:gd name="connsiteY4731" fmla="*/ 367166 h 1786074"/>
              <a:gd name="connsiteX4732" fmla="*/ 1100181 w 2077606"/>
              <a:gd name="connsiteY4732" fmla="*/ 365125 h 1786074"/>
              <a:gd name="connsiteX4733" fmla="*/ 1069421 w 2077606"/>
              <a:gd name="connsiteY4733" fmla="*/ 348876 h 1786074"/>
              <a:gd name="connsiteX4734" fmla="*/ 1075727 w 2077606"/>
              <a:gd name="connsiteY4734" fmla="*/ 349603 h 1786074"/>
              <a:gd name="connsiteX4735" fmla="*/ 1081548 w 2077606"/>
              <a:gd name="connsiteY4735" fmla="*/ 349603 h 1786074"/>
              <a:gd name="connsiteX4736" fmla="*/ 1083488 w 2077606"/>
              <a:gd name="connsiteY4736" fmla="*/ 353484 h 1786074"/>
              <a:gd name="connsiteX4737" fmla="*/ 1087369 w 2077606"/>
              <a:gd name="connsiteY4737" fmla="*/ 357364 h 1786074"/>
              <a:gd name="connsiteX4738" fmla="*/ 1091250 w 2077606"/>
              <a:gd name="connsiteY4738" fmla="*/ 357364 h 1786074"/>
              <a:gd name="connsiteX4739" fmla="*/ 1093190 w 2077606"/>
              <a:gd name="connsiteY4739" fmla="*/ 361244 h 1786074"/>
              <a:gd name="connsiteX4740" fmla="*/ 1081548 w 2077606"/>
              <a:gd name="connsiteY4740" fmla="*/ 363185 h 1786074"/>
              <a:gd name="connsiteX4741" fmla="*/ 1071847 w 2077606"/>
              <a:gd name="connsiteY4741" fmla="*/ 363185 h 1786074"/>
              <a:gd name="connsiteX4742" fmla="*/ 1062145 w 2077606"/>
              <a:gd name="connsiteY4742" fmla="*/ 355424 h 1786074"/>
              <a:gd name="connsiteX4743" fmla="*/ 1066026 w 2077606"/>
              <a:gd name="connsiteY4743" fmla="*/ 349603 h 1786074"/>
              <a:gd name="connsiteX4744" fmla="*/ 1069421 w 2077606"/>
              <a:gd name="connsiteY4744" fmla="*/ 348876 h 1786074"/>
              <a:gd name="connsiteX4745" fmla="*/ 1171267 w 2077606"/>
              <a:gd name="connsiteY4745" fmla="*/ 344927 h 1786074"/>
              <a:gd name="connsiteX4746" fmla="*/ 1175204 w 2077606"/>
              <a:gd name="connsiteY4746" fmla="*/ 348980 h 1786074"/>
              <a:gd name="connsiteX4747" fmla="*/ 1179141 w 2077606"/>
              <a:gd name="connsiteY4747" fmla="*/ 353033 h 1786074"/>
              <a:gd name="connsiteX4748" fmla="*/ 1181109 w 2077606"/>
              <a:gd name="connsiteY4748" fmla="*/ 357086 h 1786074"/>
              <a:gd name="connsiteX4749" fmla="*/ 1187015 w 2077606"/>
              <a:gd name="connsiteY4749" fmla="*/ 361139 h 1786074"/>
              <a:gd name="connsiteX4750" fmla="*/ 1190952 w 2077606"/>
              <a:gd name="connsiteY4750" fmla="*/ 353033 h 1786074"/>
              <a:gd name="connsiteX4751" fmla="*/ 1194889 w 2077606"/>
              <a:gd name="connsiteY4751" fmla="*/ 353033 h 1786074"/>
              <a:gd name="connsiteX4752" fmla="*/ 1198826 w 2077606"/>
              <a:gd name="connsiteY4752" fmla="*/ 351006 h 1786074"/>
              <a:gd name="connsiteX4753" fmla="*/ 1196857 w 2077606"/>
              <a:gd name="connsiteY4753" fmla="*/ 348980 h 1786074"/>
              <a:gd name="connsiteX4754" fmla="*/ 1190952 w 2077606"/>
              <a:gd name="connsiteY4754" fmla="*/ 351006 h 1786074"/>
              <a:gd name="connsiteX4755" fmla="*/ 1188983 w 2077606"/>
              <a:gd name="connsiteY4755" fmla="*/ 344927 h 1786074"/>
              <a:gd name="connsiteX4756" fmla="*/ 1194889 w 2077606"/>
              <a:gd name="connsiteY4756" fmla="*/ 344927 h 1786074"/>
              <a:gd name="connsiteX4757" fmla="*/ 1202763 w 2077606"/>
              <a:gd name="connsiteY4757" fmla="*/ 344927 h 1786074"/>
              <a:gd name="connsiteX4758" fmla="*/ 1204731 w 2077606"/>
              <a:gd name="connsiteY4758" fmla="*/ 348980 h 1786074"/>
              <a:gd name="connsiteX4759" fmla="*/ 1206700 w 2077606"/>
              <a:gd name="connsiteY4759" fmla="*/ 353033 h 1786074"/>
              <a:gd name="connsiteX4760" fmla="*/ 1208668 w 2077606"/>
              <a:gd name="connsiteY4760" fmla="*/ 359113 h 1786074"/>
              <a:gd name="connsiteX4761" fmla="*/ 1210637 w 2077606"/>
              <a:gd name="connsiteY4761" fmla="*/ 365192 h 1786074"/>
              <a:gd name="connsiteX4762" fmla="*/ 1208668 w 2077606"/>
              <a:gd name="connsiteY4762" fmla="*/ 373299 h 1786074"/>
              <a:gd name="connsiteX4763" fmla="*/ 1210637 w 2077606"/>
              <a:gd name="connsiteY4763" fmla="*/ 383432 h 1786074"/>
              <a:gd name="connsiteX4764" fmla="*/ 1200794 w 2077606"/>
              <a:gd name="connsiteY4764" fmla="*/ 391538 h 1786074"/>
              <a:gd name="connsiteX4765" fmla="*/ 1206700 w 2077606"/>
              <a:gd name="connsiteY4765" fmla="*/ 395591 h 1786074"/>
              <a:gd name="connsiteX4766" fmla="*/ 1208668 w 2077606"/>
              <a:gd name="connsiteY4766" fmla="*/ 409778 h 1786074"/>
              <a:gd name="connsiteX4767" fmla="*/ 1202763 w 2077606"/>
              <a:gd name="connsiteY4767" fmla="*/ 407751 h 1786074"/>
              <a:gd name="connsiteX4768" fmla="*/ 1196857 w 2077606"/>
              <a:gd name="connsiteY4768" fmla="*/ 403698 h 1786074"/>
              <a:gd name="connsiteX4769" fmla="*/ 1190952 w 2077606"/>
              <a:gd name="connsiteY4769" fmla="*/ 409778 h 1786074"/>
              <a:gd name="connsiteX4770" fmla="*/ 1192920 w 2077606"/>
              <a:gd name="connsiteY4770" fmla="*/ 419911 h 1786074"/>
              <a:gd name="connsiteX4771" fmla="*/ 1192920 w 2077606"/>
              <a:gd name="connsiteY4771" fmla="*/ 425990 h 1786074"/>
              <a:gd name="connsiteX4772" fmla="*/ 1187015 w 2077606"/>
              <a:gd name="connsiteY4772" fmla="*/ 421937 h 1786074"/>
              <a:gd name="connsiteX4773" fmla="*/ 1187015 w 2077606"/>
              <a:gd name="connsiteY4773" fmla="*/ 425990 h 1786074"/>
              <a:gd name="connsiteX4774" fmla="*/ 1185046 w 2077606"/>
              <a:gd name="connsiteY4774" fmla="*/ 430044 h 1786074"/>
              <a:gd name="connsiteX4775" fmla="*/ 1175204 w 2077606"/>
              <a:gd name="connsiteY4775" fmla="*/ 430044 h 1786074"/>
              <a:gd name="connsiteX4776" fmla="*/ 1165361 w 2077606"/>
              <a:gd name="connsiteY4776" fmla="*/ 430044 h 1786074"/>
              <a:gd name="connsiteX4777" fmla="*/ 1159456 w 2077606"/>
              <a:gd name="connsiteY4777" fmla="*/ 430044 h 1786074"/>
              <a:gd name="connsiteX4778" fmla="*/ 1155519 w 2077606"/>
              <a:gd name="connsiteY4778" fmla="*/ 425990 h 1786074"/>
              <a:gd name="connsiteX4779" fmla="*/ 1151582 w 2077606"/>
              <a:gd name="connsiteY4779" fmla="*/ 423964 h 1786074"/>
              <a:gd name="connsiteX4780" fmla="*/ 1149613 w 2077606"/>
              <a:gd name="connsiteY4780" fmla="*/ 432070 h 1786074"/>
              <a:gd name="connsiteX4781" fmla="*/ 1147645 w 2077606"/>
              <a:gd name="connsiteY4781" fmla="*/ 436123 h 1786074"/>
              <a:gd name="connsiteX4782" fmla="*/ 1141739 w 2077606"/>
              <a:gd name="connsiteY4782" fmla="*/ 430044 h 1786074"/>
              <a:gd name="connsiteX4783" fmla="*/ 1131897 w 2077606"/>
              <a:gd name="connsiteY4783" fmla="*/ 430044 h 1786074"/>
              <a:gd name="connsiteX4784" fmla="*/ 1135834 w 2077606"/>
              <a:gd name="connsiteY4784" fmla="*/ 419911 h 1786074"/>
              <a:gd name="connsiteX4785" fmla="*/ 1135834 w 2077606"/>
              <a:gd name="connsiteY4785" fmla="*/ 415857 h 1786074"/>
              <a:gd name="connsiteX4786" fmla="*/ 1133865 w 2077606"/>
              <a:gd name="connsiteY4786" fmla="*/ 413831 h 1786074"/>
              <a:gd name="connsiteX4787" fmla="*/ 1139771 w 2077606"/>
              <a:gd name="connsiteY4787" fmla="*/ 407751 h 1786074"/>
              <a:gd name="connsiteX4788" fmla="*/ 1143708 w 2077606"/>
              <a:gd name="connsiteY4788" fmla="*/ 411804 h 1786074"/>
              <a:gd name="connsiteX4789" fmla="*/ 1145676 w 2077606"/>
              <a:gd name="connsiteY4789" fmla="*/ 409778 h 1786074"/>
              <a:gd name="connsiteX4790" fmla="*/ 1149613 w 2077606"/>
              <a:gd name="connsiteY4790" fmla="*/ 407751 h 1786074"/>
              <a:gd name="connsiteX4791" fmla="*/ 1155519 w 2077606"/>
              <a:gd name="connsiteY4791" fmla="*/ 401671 h 1786074"/>
              <a:gd name="connsiteX4792" fmla="*/ 1153550 w 2077606"/>
              <a:gd name="connsiteY4792" fmla="*/ 395591 h 1786074"/>
              <a:gd name="connsiteX4793" fmla="*/ 1153550 w 2077606"/>
              <a:gd name="connsiteY4793" fmla="*/ 397618 h 1786074"/>
              <a:gd name="connsiteX4794" fmla="*/ 1151582 w 2077606"/>
              <a:gd name="connsiteY4794" fmla="*/ 401671 h 1786074"/>
              <a:gd name="connsiteX4795" fmla="*/ 1143708 w 2077606"/>
              <a:gd name="connsiteY4795" fmla="*/ 403698 h 1786074"/>
              <a:gd name="connsiteX4796" fmla="*/ 1143708 w 2077606"/>
              <a:gd name="connsiteY4796" fmla="*/ 399645 h 1786074"/>
              <a:gd name="connsiteX4797" fmla="*/ 1145676 w 2077606"/>
              <a:gd name="connsiteY4797" fmla="*/ 395591 h 1786074"/>
              <a:gd name="connsiteX4798" fmla="*/ 1133865 w 2077606"/>
              <a:gd name="connsiteY4798" fmla="*/ 397618 h 1786074"/>
              <a:gd name="connsiteX4799" fmla="*/ 1125991 w 2077606"/>
              <a:gd name="connsiteY4799" fmla="*/ 385458 h 1786074"/>
              <a:gd name="connsiteX4800" fmla="*/ 1127960 w 2077606"/>
              <a:gd name="connsiteY4800" fmla="*/ 379379 h 1786074"/>
              <a:gd name="connsiteX4801" fmla="*/ 1118117 w 2077606"/>
              <a:gd name="connsiteY4801" fmla="*/ 383432 h 1786074"/>
              <a:gd name="connsiteX4802" fmla="*/ 1118117 w 2077606"/>
              <a:gd name="connsiteY4802" fmla="*/ 377352 h 1786074"/>
              <a:gd name="connsiteX4803" fmla="*/ 1125991 w 2077606"/>
              <a:gd name="connsiteY4803" fmla="*/ 371272 h 1786074"/>
              <a:gd name="connsiteX4804" fmla="*/ 1125991 w 2077606"/>
              <a:gd name="connsiteY4804" fmla="*/ 367219 h 1786074"/>
              <a:gd name="connsiteX4805" fmla="*/ 1118117 w 2077606"/>
              <a:gd name="connsiteY4805" fmla="*/ 371272 h 1786074"/>
              <a:gd name="connsiteX4806" fmla="*/ 1114180 w 2077606"/>
              <a:gd name="connsiteY4806" fmla="*/ 371272 h 1786074"/>
              <a:gd name="connsiteX4807" fmla="*/ 1131897 w 2077606"/>
              <a:gd name="connsiteY4807" fmla="*/ 359113 h 1786074"/>
              <a:gd name="connsiteX4808" fmla="*/ 1137802 w 2077606"/>
              <a:gd name="connsiteY4808" fmla="*/ 371272 h 1786074"/>
              <a:gd name="connsiteX4809" fmla="*/ 1141739 w 2077606"/>
              <a:gd name="connsiteY4809" fmla="*/ 377352 h 1786074"/>
              <a:gd name="connsiteX4810" fmla="*/ 1143708 w 2077606"/>
              <a:gd name="connsiteY4810" fmla="*/ 379379 h 1786074"/>
              <a:gd name="connsiteX4811" fmla="*/ 1149613 w 2077606"/>
              <a:gd name="connsiteY4811" fmla="*/ 381405 h 1786074"/>
              <a:gd name="connsiteX4812" fmla="*/ 1155519 w 2077606"/>
              <a:gd name="connsiteY4812" fmla="*/ 387485 h 1786074"/>
              <a:gd name="connsiteX4813" fmla="*/ 1159456 w 2077606"/>
              <a:gd name="connsiteY4813" fmla="*/ 387485 h 1786074"/>
              <a:gd name="connsiteX4814" fmla="*/ 1159456 w 2077606"/>
              <a:gd name="connsiteY4814" fmla="*/ 383432 h 1786074"/>
              <a:gd name="connsiteX4815" fmla="*/ 1157487 w 2077606"/>
              <a:gd name="connsiteY4815" fmla="*/ 373299 h 1786074"/>
              <a:gd name="connsiteX4816" fmla="*/ 1159456 w 2077606"/>
              <a:gd name="connsiteY4816" fmla="*/ 365192 h 1786074"/>
              <a:gd name="connsiteX4817" fmla="*/ 1159456 w 2077606"/>
              <a:gd name="connsiteY4817" fmla="*/ 361139 h 1786074"/>
              <a:gd name="connsiteX4818" fmla="*/ 1151582 w 2077606"/>
              <a:gd name="connsiteY4818" fmla="*/ 361139 h 1786074"/>
              <a:gd name="connsiteX4819" fmla="*/ 1143708 w 2077606"/>
              <a:gd name="connsiteY4819" fmla="*/ 359113 h 1786074"/>
              <a:gd name="connsiteX4820" fmla="*/ 1149613 w 2077606"/>
              <a:gd name="connsiteY4820" fmla="*/ 355060 h 1786074"/>
              <a:gd name="connsiteX4821" fmla="*/ 1153550 w 2077606"/>
              <a:gd name="connsiteY4821" fmla="*/ 355060 h 1786074"/>
              <a:gd name="connsiteX4822" fmla="*/ 1155519 w 2077606"/>
              <a:gd name="connsiteY4822" fmla="*/ 348980 h 1786074"/>
              <a:gd name="connsiteX4823" fmla="*/ 1165361 w 2077606"/>
              <a:gd name="connsiteY4823" fmla="*/ 351006 h 1786074"/>
              <a:gd name="connsiteX4824" fmla="*/ 1171267 w 2077606"/>
              <a:gd name="connsiteY4824" fmla="*/ 351006 h 1786074"/>
              <a:gd name="connsiteX4825" fmla="*/ 1171267 w 2077606"/>
              <a:gd name="connsiteY4825" fmla="*/ 348980 h 1786074"/>
              <a:gd name="connsiteX4826" fmla="*/ 1167330 w 2077606"/>
              <a:gd name="connsiteY4826" fmla="*/ 346953 h 1786074"/>
              <a:gd name="connsiteX4827" fmla="*/ 1171267 w 2077606"/>
              <a:gd name="connsiteY4827" fmla="*/ 344927 h 1786074"/>
              <a:gd name="connsiteX4828" fmla="*/ 1147640 w 2077606"/>
              <a:gd name="connsiteY4828" fmla="*/ 342900 h 1786074"/>
              <a:gd name="connsiteX4829" fmla="*/ 1153868 w 2077606"/>
              <a:gd name="connsiteY4829" fmla="*/ 344941 h 1786074"/>
              <a:gd name="connsiteX4830" fmla="*/ 1147640 w 2077606"/>
              <a:gd name="connsiteY4830" fmla="*/ 349023 h 1786074"/>
              <a:gd name="connsiteX4831" fmla="*/ 1141412 w 2077606"/>
              <a:gd name="connsiteY4831" fmla="*/ 353105 h 1786074"/>
              <a:gd name="connsiteX4832" fmla="*/ 1128956 w 2077606"/>
              <a:gd name="connsiteY4832" fmla="*/ 357187 h 1786074"/>
              <a:gd name="connsiteX4833" fmla="*/ 1131032 w 2077606"/>
              <a:gd name="connsiteY4833" fmla="*/ 351064 h 1786074"/>
              <a:gd name="connsiteX4834" fmla="*/ 1133108 w 2077606"/>
              <a:gd name="connsiteY4834" fmla="*/ 351064 h 1786074"/>
              <a:gd name="connsiteX4835" fmla="*/ 1139336 w 2077606"/>
              <a:gd name="connsiteY4835" fmla="*/ 349023 h 1786074"/>
              <a:gd name="connsiteX4836" fmla="*/ 1147640 w 2077606"/>
              <a:gd name="connsiteY4836" fmla="*/ 342900 h 1786074"/>
              <a:gd name="connsiteX4837" fmla="*/ 961476 w 2077606"/>
              <a:gd name="connsiteY4837" fmla="*/ 335371 h 1786074"/>
              <a:gd name="connsiteX4838" fmla="*/ 965462 w 2077606"/>
              <a:gd name="connsiteY4838" fmla="*/ 335371 h 1786074"/>
              <a:gd name="connsiteX4839" fmla="*/ 969448 w 2077606"/>
              <a:gd name="connsiteY4839" fmla="*/ 339364 h 1786074"/>
              <a:gd name="connsiteX4840" fmla="*/ 975426 w 2077606"/>
              <a:gd name="connsiteY4840" fmla="*/ 339364 h 1786074"/>
              <a:gd name="connsiteX4841" fmla="*/ 979412 w 2077606"/>
              <a:gd name="connsiteY4841" fmla="*/ 343357 h 1786074"/>
              <a:gd name="connsiteX4842" fmla="*/ 979412 w 2077606"/>
              <a:gd name="connsiteY4842" fmla="*/ 347350 h 1786074"/>
              <a:gd name="connsiteX4843" fmla="*/ 977419 w 2077606"/>
              <a:gd name="connsiteY4843" fmla="*/ 351342 h 1786074"/>
              <a:gd name="connsiteX4844" fmla="*/ 977419 w 2077606"/>
              <a:gd name="connsiteY4844" fmla="*/ 357332 h 1786074"/>
              <a:gd name="connsiteX4845" fmla="*/ 979412 w 2077606"/>
              <a:gd name="connsiteY4845" fmla="*/ 367314 h 1786074"/>
              <a:gd name="connsiteX4846" fmla="*/ 971441 w 2077606"/>
              <a:gd name="connsiteY4846" fmla="*/ 371306 h 1786074"/>
              <a:gd name="connsiteX4847" fmla="*/ 971441 w 2077606"/>
              <a:gd name="connsiteY4847" fmla="*/ 375299 h 1786074"/>
              <a:gd name="connsiteX4848" fmla="*/ 983398 w 2077606"/>
              <a:gd name="connsiteY4848" fmla="*/ 383285 h 1786074"/>
              <a:gd name="connsiteX4849" fmla="*/ 981405 w 2077606"/>
              <a:gd name="connsiteY4849" fmla="*/ 387278 h 1786074"/>
              <a:gd name="connsiteX4850" fmla="*/ 977419 w 2077606"/>
              <a:gd name="connsiteY4850" fmla="*/ 391270 h 1786074"/>
              <a:gd name="connsiteX4851" fmla="*/ 979412 w 2077606"/>
              <a:gd name="connsiteY4851" fmla="*/ 393267 h 1786074"/>
              <a:gd name="connsiteX4852" fmla="*/ 985390 w 2077606"/>
              <a:gd name="connsiteY4852" fmla="*/ 393267 h 1786074"/>
              <a:gd name="connsiteX4853" fmla="*/ 991369 w 2077606"/>
              <a:gd name="connsiteY4853" fmla="*/ 385281 h 1786074"/>
              <a:gd name="connsiteX4854" fmla="*/ 997347 w 2077606"/>
              <a:gd name="connsiteY4854" fmla="*/ 393267 h 1786074"/>
              <a:gd name="connsiteX4855" fmla="*/ 999340 w 2077606"/>
              <a:gd name="connsiteY4855" fmla="*/ 399256 h 1786074"/>
              <a:gd name="connsiteX4856" fmla="*/ 1003326 w 2077606"/>
              <a:gd name="connsiteY4856" fmla="*/ 393267 h 1786074"/>
              <a:gd name="connsiteX4857" fmla="*/ 1001333 w 2077606"/>
              <a:gd name="connsiteY4857" fmla="*/ 387278 h 1786074"/>
              <a:gd name="connsiteX4858" fmla="*/ 1005319 w 2077606"/>
              <a:gd name="connsiteY4858" fmla="*/ 377296 h 1786074"/>
              <a:gd name="connsiteX4859" fmla="*/ 1017275 w 2077606"/>
              <a:gd name="connsiteY4859" fmla="*/ 375299 h 1786074"/>
              <a:gd name="connsiteX4860" fmla="*/ 1021261 w 2077606"/>
              <a:gd name="connsiteY4860" fmla="*/ 379292 h 1786074"/>
              <a:gd name="connsiteX4861" fmla="*/ 1025247 w 2077606"/>
              <a:gd name="connsiteY4861" fmla="*/ 385281 h 1786074"/>
              <a:gd name="connsiteX4862" fmla="*/ 1031225 w 2077606"/>
              <a:gd name="connsiteY4862" fmla="*/ 387278 h 1786074"/>
              <a:gd name="connsiteX4863" fmla="*/ 1033218 w 2077606"/>
              <a:gd name="connsiteY4863" fmla="*/ 389274 h 1786074"/>
              <a:gd name="connsiteX4864" fmla="*/ 1033218 w 2077606"/>
              <a:gd name="connsiteY4864" fmla="*/ 393267 h 1786074"/>
              <a:gd name="connsiteX4865" fmla="*/ 1031225 w 2077606"/>
              <a:gd name="connsiteY4865" fmla="*/ 399256 h 1786074"/>
              <a:gd name="connsiteX4866" fmla="*/ 1025247 w 2077606"/>
              <a:gd name="connsiteY4866" fmla="*/ 407242 h 1786074"/>
              <a:gd name="connsiteX4867" fmla="*/ 1021261 w 2077606"/>
              <a:gd name="connsiteY4867" fmla="*/ 411234 h 1786074"/>
              <a:gd name="connsiteX4868" fmla="*/ 1017275 w 2077606"/>
              <a:gd name="connsiteY4868" fmla="*/ 419220 h 1786074"/>
              <a:gd name="connsiteX4869" fmla="*/ 1013290 w 2077606"/>
              <a:gd name="connsiteY4869" fmla="*/ 425209 h 1786074"/>
              <a:gd name="connsiteX4870" fmla="*/ 1011297 w 2077606"/>
              <a:gd name="connsiteY4870" fmla="*/ 429202 h 1786074"/>
              <a:gd name="connsiteX4871" fmla="*/ 1003326 w 2077606"/>
              <a:gd name="connsiteY4871" fmla="*/ 429202 h 1786074"/>
              <a:gd name="connsiteX4872" fmla="*/ 999340 w 2077606"/>
              <a:gd name="connsiteY4872" fmla="*/ 429202 h 1786074"/>
              <a:gd name="connsiteX4873" fmla="*/ 993362 w 2077606"/>
              <a:gd name="connsiteY4873" fmla="*/ 431198 h 1786074"/>
              <a:gd name="connsiteX4874" fmla="*/ 985390 w 2077606"/>
              <a:gd name="connsiteY4874" fmla="*/ 431198 h 1786074"/>
              <a:gd name="connsiteX4875" fmla="*/ 983398 w 2077606"/>
              <a:gd name="connsiteY4875" fmla="*/ 435191 h 1786074"/>
              <a:gd name="connsiteX4876" fmla="*/ 977419 w 2077606"/>
              <a:gd name="connsiteY4876" fmla="*/ 437187 h 1786074"/>
              <a:gd name="connsiteX4877" fmla="*/ 971441 w 2077606"/>
              <a:gd name="connsiteY4877" fmla="*/ 433195 h 1786074"/>
              <a:gd name="connsiteX4878" fmla="*/ 971441 w 2077606"/>
              <a:gd name="connsiteY4878" fmla="*/ 431198 h 1786074"/>
              <a:gd name="connsiteX4879" fmla="*/ 967455 w 2077606"/>
              <a:gd name="connsiteY4879" fmla="*/ 429202 h 1786074"/>
              <a:gd name="connsiteX4880" fmla="*/ 963469 w 2077606"/>
              <a:gd name="connsiteY4880" fmla="*/ 431198 h 1786074"/>
              <a:gd name="connsiteX4881" fmla="*/ 959484 w 2077606"/>
              <a:gd name="connsiteY4881" fmla="*/ 437187 h 1786074"/>
              <a:gd name="connsiteX4882" fmla="*/ 953505 w 2077606"/>
              <a:gd name="connsiteY4882" fmla="*/ 433195 h 1786074"/>
              <a:gd name="connsiteX4883" fmla="*/ 951512 w 2077606"/>
              <a:gd name="connsiteY4883" fmla="*/ 429202 h 1786074"/>
              <a:gd name="connsiteX4884" fmla="*/ 943541 w 2077606"/>
              <a:gd name="connsiteY4884" fmla="*/ 431198 h 1786074"/>
              <a:gd name="connsiteX4885" fmla="*/ 939555 w 2077606"/>
              <a:gd name="connsiteY4885" fmla="*/ 433195 h 1786074"/>
              <a:gd name="connsiteX4886" fmla="*/ 935570 w 2077606"/>
              <a:gd name="connsiteY4886" fmla="*/ 435191 h 1786074"/>
              <a:gd name="connsiteX4887" fmla="*/ 929591 w 2077606"/>
              <a:gd name="connsiteY4887" fmla="*/ 437187 h 1786074"/>
              <a:gd name="connsiteX4888" fmla="*/ 919627 w 2077606"/>
              <a:gd name="connsiteY4888" fmla="*/ 437187 h 1786074"/>
              <a:gd name="connsiteX4889" fmla="*/ 909663 w 2077606"/>
              <a:gd name="connsiteY4889" fmla="*/ 443177 h 1786074"/>
              <a:gd name="connsiteX4890" fmla="*/ 901692 w 2077606"/>
              <a:gd name="connsiteY4890" fmla="*/ 447169 h 1786074"/>
              <a:gd name="connsiteX4891" fmla="*/ 893720 w 2077606"/>
              <a:gd name="connsiteY4891" fmla="*/ 453159 h 1786074"/>
              <a:gd name="connsiteX4892" fmla="*/ 881764 w 2077606"/>
              <a:gd name="connsiteY4892" fmla="*/ 455155 h 1786074"/>
              <a:gd name="connsiteX4893" fmla="*/ 869807 w 2077606"/>
              <a:gd name="connsiteY4893" fmla="*/ 461144 h 1786074"/>
              <a:gd name="connsiteX4894" fmla="*/ 855857 w 2077606"/>
              <a:gd name="connsiteY4894" fmla="*/ 463141 h 1786074"/>
              <a:gd name="connsiteX4895" fmla="*/ 831943 w 2077606"/>
              <a:gd name="connsiteY4895" fmla="*/ 461144 h 1786074"/>
              <a:gd name="connsiteX4896" fmla="*/ 819986 w 2077606"/>
              <a:gd name="connsiteY4896" fmla="*/ 447169 h 1786074"/>
              <a:gd name="connsiteX4897" fmla="*/ 829950 w 2077606"/>
              <a:gd name="connsiteY4897" fmla="*/ 441180 h 1786074"/>
              <a:gd name="connsiteX4898" fmla="*/ 835929 w 2077606"/>
              <a:gd name="connsiteY4898" fmla="*/ 439184 h 1786074"/>
              <a:gd name="connsiteX4899" fmla="*/ 841907 w 2077606"/>
              <a:gd name="connsiteY4899" fmla="*/ 437187 h 1786074"/>
              <a:gd name="connsiteX4900" fmla="*/ 851871 w 2077606"/>
              <a:gd name="connsiteY4900" fmla="*/ 433195 h 1786074"/>
              <a:gd name="connsiteX4901" fmla="*/ 863828 w 2077606"/>
              <a:gd name="connsiteY4901" fmla="*/ 429202 h 1786074"/>
              <a:gd name="connsiteX4902" fmla="*/ 871799 w 2077606"/>
              <a:gd name="connsiteY4902" fmla="*/ 427205 h 1786074"/>
              <a:gd name="connsiteX4903" fmla="*/ 875785 w 2077606"/>
              <a:gd name="connsiteY4903" fmla="*/ 429202 h 1786074"/>
              <a:gd name="connsiteX4904" fmla="*/ 883756 w 2077606"/>
              <a:gd name="connsiteY4904" fmla="*/ 431198 h 1786074"/>
              <a:gd name="connsiteX4905" fmla="*/ 893720 w 2077606"/>
              <a:gd name="connsiteY4905" fmla="*/ 425209 h 1786074"/>
              <a:gd name="connsiteX4906" fmla="*/ 893720 w 2077606"/>
              <a:gd name="connsiteY4906" fmla="*/ 421216 h 1786074"/>
              <a:gd name="connsiteX4907" fmla="*/ 879771 w 2077606"/>
              <a:gd name="connsiteY4907" fmla="*/ 425209 h 1786074"/>
              <a:gd name="connsiteX4908" fmla="*/ 869807 w 2077606"/>
              <a:gd name="connsiteY4908" fmla="*/ 425209 h 1786074"/>
              <a:gd name="connsiteX4909" fmla="*/ 859842 w 2077606"/>
              <a:gd name="connsiteY4909" fmla="*/ 425209 h 1786074"/>
              <a:gd name="connsiteX4910" fmla="*/ 851871 w 2077606"/>
              <a:gd name="connsiteY4910" fmla="*/ 425209 h 1786074"/>
              <a:gd name="connsiteX4911" fmla="*/ 835929 w 2077606"/>
              <a:gd name="connsiteY4911" fmla="*/ 425209 h 1786074"/>
              <a:gd name="connsiteX4912" fmla="*/ 839914 w 2077606"/>
              <a:gd name="connsiteY4912" fmla="*/ 417223 h 1786074"/>
              <a:gd name="connsiteX4913" fmla="*/ 839914 w 2077606"/>
              <a:gd name="connsiteY4913" fmla="*/ 411234 h 1786074"/>
              <a:gd name="connsiteX4914" fmla="*/ 833936 w 2077606"/>
              <a:gd name="connsiteY4914" fmla="*/ 415227 h 1786074"/>
              <a:gd name="connsiteX4915" fmla="*/ 831943 w 2077606"/>
              <a:gd name="connsiteY4915" fmla="*/ 423213 h 1786074"/>
              <a:gd name="connsiteX4916" fmla="*/ 827957 w 2077606"/>
              <a:gd name="connsiteY4916" fmla="*/ 425209 h 1786074"/>
              <a:gd name="connsiteX4917" fmla="*/ 827957 w 2077606"/>
              <a:gd name="connsiteY4917" fmla="*/ 429202 h 1786074"/>
              <a:gd name="connsiteX4918" fmla="*/ 819986 w 2077606"/>
              <a:gd name="connsiteY4918" fmla="*/ 427205 h 1786074"/>
              <a:gd name="connsiteX4919" fmla="*/ 810022 w 2077606"/>
              <a:gd name="connsiteY4919" fmla="*/ 431198 h 1786074"/>
              <a:gd name="connsiteX4920" fmla="*/ 806036 w 2077606"/>
              <a:gd name="connsiteY4920" fmla="*/ 421216 h 1786074"/>
              <a:gd name="connsiteX4921" fmla="*/ 800058 w 2077606"/>
              <a:gd name="connsiteY4921" fmla="*/ 425209 h 1786074"/>
              <a:gd name="connsiteX4922" fmla="*/ 796072 w 2077606"/>
              <a:gd name="connsiteY4922" fmla="*/ 431198 h 1786074"/>
              <a:gd name="connsiteX4923" fmla="*/ 790094 w 2077606"/>
              <a:gd name="connsiteY4923" fmla="*/ 431198 h 1786074"/>
              <a:gd name="connsiteX4924" fmla="*/ 788101 w 2077606"/>
              <a:gd name="connsiteY4924" fmla="*/ 427205 h 1786074"/>
              <a:gd name="connsiteX4925" fmla="*/ 784115 w 2077606"/>
              <a:gd name="connsiteY4925" fmla="*/ 425209 h 1786074"/>
              <a:gd name="connsiteX4926" fmla="*/ 782122 w 2077606"/>
              <a:gd name="connsiteY4926" fmla="*/ 419220 h 1786074"/>
              <a:gd name="connsiteX4927" fmla="*/ 776144 w 2077606"/>
              <a:gd name="connsiteY4927" fmla="*/ 427205 h 1786074"/>
              <a:gd name="connsiteX4928" fmla="*/ 764187 w 2077606"/>
              <a:gd name="connsiteY4928" fmla="*/ 421216 h 1786074"/>
              <a:gd name="connsiteX4929" fmla="*/ 754223 w 2077606"/>
              <a:gd name="connsiteY4929" fmla="*/ 421216 h 1786074"/>
              <a:gd name="connsiteX4930" fmla="*/ 754223 w 2077606"/>
              <a:gd name="connsiteY4930" fmla="*/ 413231 h 1786074"/>
              <a:gd name="connsiteX4931" fmla="*/ 762194 w 2077606"/>
              <a:gd name="connsiteY4931" fmla="*/ 409238 h 1786074"/>
              <a:gd name="connsiteX4932" fmla="*/ 772158 w 2077606"/>
              <a:gd name="connsiteY4932" fmla="*/ 407242 h 1786074"/>
              <a:gd name="connsiteX4933" fmla="*/ 782122 w 2077606"/>
              <a:gd name="connsiteY4933" fmla="*/ 409238 h 1786074"/>
              <a:gd name="connsiteX4934" fmla="*/ 798065 w 2077606"/>
              <a:gd name="connsiteY4934" fmla="*/ 405245 h 1786074"/>
              <a:gd name="connsiteX4935" fmla="*/ 806036 w 2077606"/>
              <a:gd name="connsiteY4935" fmla="*/ 401252 h 1786074"/>
              <a:gd name="connsiteX4936" fmla="*/ 814008 w 2077606"/>
              <a:gd name="connsiteY4936" fmla="*/ 399256 h 1786074"/>
              <a:gd name="connsiteX4937" fmla="*/ 810022 w 2077606"/>
              <a:gd name="connsiteY4937" fmla="*/ 397260 h 1786074"/>
              <a:gd name="connsiteX4938" fmla="*/ 804043 w 2077606"/>
              <a:gd name="connsiteY4938" fmla="*/ 397260 h 1786074"/>
              <a:gd name="connsiteX4939" fmla="*/ 798065 w 2077606"/>
              <a:gd name="connsiteY4939" fmla="*/ 399256 h 1786074"/>
              <a:gd name="connsiteX4940" fmla="*/ 790094 w 2077606"/>
              <a:gd name="connsiteY4940" fmla="*/ 405245 h 1786074"/>
              <a:gd name="connsiteX4941" fmla="*/ 784115 w 2077606"/>
              <a:gd name="connsiteY4941" fmla="*/ 405245 h 1786074"/>
              <a:gd name="connsiteX4942" fmla="*/ 778137 w 2077606"/>
              <a:gd name="connsiteY4942" fmla="*/ 407242 h 1786074"/>
              <a:gd name="connsiteX4943" fmla="*/ 772158 w 2077606"/>
              <a:gd name="connsiteY4943" fmla="*/ 405245 h 1786074"/>
              <a:gd name="connsiteX4944" fmla="*/ 768173 w 2077606"/>
              <a:gd name="connsiteY4944" fmla="*/ 399256 h 1786074"/>
              <a:gd name="connsiteX4945" fmla="*/ 776144 w 2077606"/>
              <a:gd name="connsiteY4945" fmla="*/ 393267 h 1786074"/>
              <a:gd name="connsiteX4946" fmla="*/ 788101 w 2077606"/>
              <a:gd name="connsiteY4946" fmla="*/ 393267 h 1786074"/>
              <a:gd name="connsiteX4947" fmla="*/ 796072 w 2077606"/>
              <a:gd name="connsiteY4947" fmla="*/ 391270 h 1786074"/>
              <a:gd name="connsiteX4948" fmla="*/ 810022 w 2077606"/>
              <a:gd name="connsiteY4948" fmla="*/ 389274 h 1786074"/>
              <a:gd name="connsiteX4949" fmla="*/ 817993 w 2077606"/>
              <a:gd name="connsiteY4949" fmla="*/ 391270 h 1786074"/>
              <a:gd name="connsiteX4950" fmla="*/ 821979 w 2077606"/>
              <a:gd name="connsiteY4950" fmla="*/ 387278 h 1786074"/>
              <a:gd name="connsiteX4951" fmla="*/ 816000 w 2077606"/>
              <a:gd name="connsiteY4951" fmla="*/ 385281 h 1786074"/>
              <a:gd name="connsiteX4952" fmla="*/ 808029 w 2077606"/>
              <a:gd name="connsiteY4952" fmla="*/ 385281 h 1786074"/>
              <a:gd name="connsiteX4953" fmla="*/ 802051 w 2077606"/>
              <a:gd name="connsiteY4953" fmla="*/ 387278 h 1786074"/>
              <a:gd name="connsiteX4954" fmla="*/ 794079 w 2077606"/>
              <a:gd name="connsiteY4954" fmla="*/ 387278 h 1786074"/>
              <a:gd name="connsiteX4955" fmla="*/ 788101 w 2077606"/>
              <a:gd name="connsiteY4955" fmla="*/ 387278 h 1786074"/>
              <a:gd name="connsiteX4956" fmla="*/ 788101 w 2077606"/>
              <a:gd name="connsiteY4956" fmla="*/ 383285 h 1786074"/>
              <a:gd name="connsiteX4957" fmla="*/ 788101 w 2077606"/>
              <a:gd name="connsiteY4957" fmla="*/ 377296 h 1786074"/>
              <a:gd name="connsiteX4958" fmla="*/ 792087 w 2077606"/>
              <a:gd name="connsiteY4958" fmla="*/ 375299 h 1786074"/>
              <a:gd name="connsiteX4959" fmla="*/ 796072 w 2077606"/>
              <a:gd name="connsiteY4959" fmla="*/ 373303 h 1786074"/>
              <a:gd name="connsiteX4960" fmla="*/ 800058 w 2077606"/>
              <a:gd name="connsiteY4960" fmla="*/ 373303 h 1786074"/>
              <a:gd name="connsiteX4961" fmla="*/ 806036 w 2077606"/>
              <a:gd name="connsiteY4961" fmla="*/ 373303 h 1786074"/>
              <a:gd name="connsiteX4962" fmla="*/ 810022 w 2077606"/>
              <a:gd name="connsiteY4962" fmla="*/ 373303 h 1786074"/>
              <a:gd name="connsiteX4963" fmla="*/ 816000 w 2077606"/>
              <a:gd name="connsiteY4963" fmla="*/ 373303 h 1786074"/>
              <a:gd name="connsiteX4964" fmla="*/ 819986 w 2077606"/>
              <a:gd name="connsiteY4964" fmla="*/ 373303 h 1786074"/>
              <a:gd name="connsiteX4965" fmla="*/ 827957 w 2077606"/>
              <a:gd name="connsiteY4965" fmla="*/ 373303 h 1786074"/>
              <a:gd name="connsiteX4966" fmla="*/ 833936 w 2077606"/>
              <a:gd name="connsiteY4966" fmla="*/ 373303 h 1786074"/>
              <a:gd name="connsiteX4967" fmla="*/ 829950 w 2077606"/>
              <a:gd name="connsiteY4967" fmla="*/ 367314 h 1786074"/>
              <a:gd name="connsiteX4968" fmla="*/ 827957 w 2077606"/>
              <a:gd name="connsiteY4968" fmla="*/ 367314 h 1786074"/>
              <a:gd name="connsiteX4969" fmla="*/ 821979 w 2077606"/>
              <a:gd name="connsiteY4969" fmla="*/ 369310 h 1786074"/>
              <a:gd name="connsiteX4970" fmla="*/ 819986 w 2077606"/>
              <a:gd name="connsiteY4970" fmla="*/ 369310 h 1786074"/>
              <a:gd name="connsiteX4971" fmla="*/ 812015 w 2077606"/>
              <a:gd name="connsiteY4971" fmla="*/ 365317 h 1786074"/>
              <a:gd name="connsiteX4972" fmla="*/ 821979 w 2077606"/>
              <a:gd name="connsiteY4972" fmla="*/ 357332 h 1786074"/>
              <a:gd name="connsiteX4973" fmla="*/ 835929 w 2077606"/>
              <a:gd name="connsiteY4973" fmla="*/ 357332 h 1786074"/>
              <a:gd name="connsiteX4974" fmla="*/ 841907 w 2077606"/>
              <a:gd name="connsiteY4974" fmla="*/ 357332 h 1786074"/>
              <a:gd name="connsiteX4975" fmla="*/ 845893 w 2077606"/>
              <a:gd name="connsiteY4975" fmla="*/ 355335 h 1786074"/>
              <a:gd name="connsiteX4976" fmla="*/ 851871 w 2077606"/>
              <a:gd name="connsiteY4976" fmla="*/ 357332 h 1786074"/>
              <a:gd name="connsiteX4977" fmla="*/ 849878 w 2077606"/>
              <a:gd name="connsiteY4977" fmla="*/ 363321 h 1786074"/>
              <a:gd name="connsiteX4978" fmla="*/ 847886 w 2077606"/>
              <a:gd name="connsiteY4978" fmla="*/ 367314 h 1786074"/>
              <a:gd name="connsiteX4979" fmla="*/ 849878 w 2077606"/>
              <a:gd name="connsiteY4979" fmla="*/ 371306 h 1786074"/>
              <a:gd name="connsiteX4980" fmla="*/ 859842 w 2077606"/>
              <a:gd name="connsiteY4980" fmla="*/ 371306 h 1786074"/>
              <a:gd name="connsiteX4981" fmla="*/ 863828 w 2077606"/>
              <a:gd name="connsiteY4981" fmla="*/ 369310 h 1786074"/>
              <a:gd name="connsiteX4982" fmla="*/ 873792 w 2077606"/>
              <a:gd name="connsiteY4982" fmla="*/ 369310 h 1786074"/>
              <a:gd name="connsiteX4983" fmla="*/ 875785 w 2077606"/>
              <a:gd name="connsiteY4983" fmla="*/ 369310 h 1786074"/>
              <a:gd name="connsiteX4984" fmla="*/ 881764 w 2077606"/>
              <a:gd name="connsiteY4984" fmla="*/ 371306 h 1786074"/>
              <a:gd name="connsiteX4985" fmla="*/ 885749 w 2077606"/>
              <a:gd name="connsiteY4985" fmla="*/ 375299 h 1786074"/>
              <a:gd name="connsiteX4986" fmla="*/ 885749 w 2077606"/>
              <a:gd name="connsiteY4986" fmla="*/ 381288 h 1786074"/>
              <a:gd name="connsiteX4987" fmla="*/ 895713 w 2077606"/>
              <a:gd name="connsiteY4987" fmla="*/ 385281 h 1786074"/>
              <a:gd name="connsiteX4988" fmla="*/ 895713 w 2077606"/>
              <a:gd name="connsiteY4988" fmla="*/ 387278 h 1786074"/>
              <a:gd name="connsiteX4989" fmla="*/ 891728 w 2077606"/>
              <a:gd name="connsiteY4989" fmla="*/ 387278 h 1786074"/>
              <a:gd name="connsiteX4990" fmla="*/ 887742 w 2077606"/>
              <a:gd name="connsiteY4990" fmla="*/ 389274 h 1786074"/>
              <a:gd name="connsiteX4991" fmla="*/ 893720 w 2077606"/>
              <a:gd name="connsiteY4991" fmla="*/ 393267 h 1786074"/>
              <a:gd name="connsiteX4992" fmla="*/ 899699 w 2077606"/>
              <a:gd name="connsiteY4992" fmla="*/ 391270 h 1786074"/>
              <a:gd name="connsiteX4993" fmla="*/ 899699 w 2077606"/>
              <a:gd name="connsiteY4993" fmla="*/ 399256 h 1786074"/>
              <a:gd name="connsiteX4994" fmla="*/ 899699 w 2077606"/>
              <a:gd name="connsiteY4994" fmla="*/ 403249 h 1786074"/>
              <a:gd name="connsiteX4995" fmla="*/ 905677 w 2077606"/>
              <a:gd name="connsiteY4995" fmla="*/ 407242 h 1786074"/>
              <a:gd name="connsiteX4996" fmla="*/ 919627 w 2077606"/>
              <a:gd name="connsiteY4996" fmla="*/ 401252 h 1786074"/>
              <a:gd name="connsiteX4997" fmla="*/ 935570 w 2077606"/>
              <a:gd name="connsiteY4997" fmla="*/ 405245 h 1786074"/>
              <a:gd name="connsiteX4998" fmla="*/ 943541 w 2077606"/>
              <a:gd name="connsiteY4998" fmla="*/ 405245 h 1786074"/>
              <a:gd name="connsiteX4999" fmla="*/ 947527 w 2077606"/>
              <a:gd name="connsiteY4999" fmla="*/ 405245 h 1786074"/>
              <a:gd name="connsiteX5000" fmla="*/ 953505 w 2077606"/>
              <a:gd name="connsiteY5000" fmla="*/ 403249 h 1786074"/>
              <a:gd name="connsiteX5001" fmla="*/ 957491 w 2077606"/>
              <a:gd name="connsiteY5001" fmla="*/ 401252 h 1786074"/>
              <a:gd name="connsiteX5002" fmla="*/ 953505 w 2077606"/>
              <a:gd name="connsiteY5002" fmla="*/ 399256 h 1786074"/>
              <a:gd name="connsiteX5003" fmla="*/ 953505 w 2077606"/>
              <a:gd name="connsiteY5003" fmla="*/ 395263 h 1786074"/>
              <a:gd name="connsiteX5004" fmla="*/ 949520 w 2077606"/>
              <a:gd name="connsiteY5004" fmla="*/ 393267 h 1786074"/>
              <a:gd name="connsiteX5005" fmla="*/ 945534 w 2077606"/>
              <a:gd name="connsiteY5005" fmla="*/ 391270 h 1786074"/>
              <a:gd name="connsiteX5006" fmla="*/ 939555 w 2077606"/>
              <a:gd name="connsiteY5006" fmla="*/ 389274 h 1786074"/>
              <a:gd name="connsiteX5007" fmla="*/ 935570 w 2077606"/>
              <a:gd name="connsiteY5007" fmla="*/ 383285 h 1786074"/>
              <a:gd name="connsiteX5008" fmla="*/ 941548 w 2077606"/>
              <a:gd name="connsiteY5008" fmla="*/ 383285 h 1786074"/>
              <a:gd name="connsiteX5009" fmla="*/ 949520 w 2077606"/>
              <a:gd name="connsiteY5009" fmla="*/ 379292 h 1786074"/>
              <a:gd name="connsiteX5010" fmla="*/ 951512 w 2077606"/>
              <a:gd name="connsiteY5010" fmla="*/ 375299 h 1786074"/>
              <a:gd name="connsiteX5011" fmla="*/ 947527 w 2077606"/>
              <a:gd name="connsiteY5011" fmla="*/ 377296 h 1786074"/>
              <a:gd name="connsiteX5012" fmla="*/ 945534 w 2077606"/>
              <a:gd name="connsiteY5012" fmla="*/ 375299 h 1786074"/>
              <a:gd name="connsiteX5013" fmla="*/ 941548 w 2077606"/>
              <a:gd name="connsiteY5013" fmla="*/ 371306 h 1786074"/>
              <a:gd name="connsiteX5014" fmla="*/ 933577 w 2077606"/>
              <a:gd name="connsiteY5014" fmla="*/ 371306 h 1786074"/>
              <a:gd name="connsiteX5015" fmla="*/ 935570 w 2077606"/>
              <a:gd name="connsiteY5015" fmla="*/ 361324 h 1786074"/>
              <a:gd name="connsiteX5016" fmla="*/ 945534 w 2077606"/>
              <a:gd name="connsiteY5016" fmla="*/ 357332 h 1786074"/>
              <a:gd name="connsiteX5017" fmla="*/ 949520 w 2077606"/>
              <a:gd name="connsiteY5017" fmla="*/ 353339 h 1786074"/>
              <a:gd name="connsiteX5018" fmla="*/ 951512 w 2077606"/>
              <a:gd name="connsiteY5018" fmla="*/ 349346 h 1786074"/>
              <a:gd name="connsiteX5019" fmla="*/ 957491 w 2077606"/>
              <a:gd name="connsiteY5019" fmla="*/ 347350 h 1786074"/>
              <a:gd name="connsiteX5020" fmla="*/ 961476 w 2077606"/>
              <a:gd name="connsiteY5020" fmla="*/ 343357 h 1786074"/>
              <a:gd name="connsiteX5021" fmla="*/ 963469 w 2077606"/>
              <a:gd name="connsiteY5021" fmla="*/ 339364 h 1786074"/>
              <a:gd name="connsiteX5022" fmla="*/ 961476 w 2077606"/>
              <a:gd name="connsiteY5022" fmla="*/ 335371 h 1786074"/>
              <a:gd name="connsiteX5023" fmla="*/ 844388 w 2077606"/>
              <a:gd name="connsiteY5023" fmla="*/ 334962 h 1786074"/>
              <a:gd name="connsiteX5024" fmla="*/ 852409 w 2077606"/>
              <a:gd name="connsiteY5024" fmla="*/ 337003 h 1786074"/>
              <a:gd name="connsiteX5025" fmla="*/ 860430 w 2077606"/>
              <a:gd name="connsiteY5025" fmla="*/ 334962 h 1786074"/>
              <a:gd name="connsiteX5026" fmla="*/ 864441 w 2077606"/>
              <a:gd name="connsiteY5026" fmla="*/ 337003 h 1786074"/>
              <a:gd name="connsiteX5027" fmla="*/ 870457 w 2077606"/>
              <a:gd name="connsiteY5027" fmla="*/ 339044 h 1786074"/>
              <a:gd name="connsiteX5028" fmla="*/ 870457 w 2077606"/>
              <a:gd name="connsiteY5028" fmla="*/ 345167 h 1786074"/>
              <a:gd name="connsiteX5029" fmla="*/ 862435 w 2077606"/>
              <a:gd name="connsiteY5029" fmla="*/ 347208 h 1786074"/>
              <a:gd name="connsiteX5030" fmla="*/ 856420 w 2077606"/>
              <a:gd name="connsiteY5030" fmla="*/ 347208 h 1786074"/>
              <a:gd name="connsiteX5031" fmla="*/ 850404 w 2077606"/>
              <a:gd name="connsiteY5031" fmla="*/ 345167 h 1786074"/>
              <a:gd name="connsiteX5032" fmla="*/ 846393 w 2077606"/>
              <a:gd name="connsiteY5032" fmla="*/ 345167 h 1786074"/>
              <a:gd name="connsiteX5033" fmla="*/ 838372 w 2077606"/>
              <a:gd name="connsiteY5033" fmla="*/ 343126 h 1786074"/>
              <a:gd name="connsiteX5034" fmla="*/ 844388 w 2077606"/>
              <a:gd name="connsiteY5034" fmla="*/ 334962 h 1786074"/>
              <a:gd name="connsiteX5035" fmla="*/ 1221072 w 2077606"/>
              <a:gd name="connsiteY5035" fmla="*/ 331787 h 1786074"/>
              <a:gd name="connsiteX5036" fmla="*/ 1225305 w 2077606"/>
              <a:gd name="connsiteY5036" fmla="*/ 336020 h 1786074"/>
              <a:gd name="connsiteX5037" fmla="*/ 1218955 w 2077606"/>
              <a:gd name="connsiteY5037" fmla="*/ 336020 h 1786074"/>
              <a:gd name="connsiteX5038" fmla="*/ 1221072 w 2077606"/>
              <a:gd name="connsiteY5038" fmla="*/ 331787 h 1786074"/>
              <a:gd name="connsiteX5039" fmla="*/ 1259588 w 2077606"/>
              <a:gd name="connsiteY5039" fmla="*/ 327025 h 1786074"/>
              <a:gd name="connsiteX5040" fmla="*/ 1267569 w 2077606"/>
              <a:gd name="connsiteY5040" fmla="*/ 329033 h 1786074"/>
              <a:gd name="connsiteX5041" fmla="*/ 1271559 w 2077606"/>
              <a:gd name="connsiteY5041" fmla="*/ 333048 h 1786074"/>
              <a:gd name="connsiteX5042" fmla="*/ 1277545 w 2077606"/>
              <a:gd name="connsiteY5042" fmla="*/ 333048 h 1786074"/>
              <a:gd name="connsiteX5043" fmla="*/ 1281536 w 2077606"/>
              <a:gd name="connsiteY5043" fmla="*/ 333048 h 1786074"/>
              <a:gd name="connsiteX5044" fmla="*/ 1283531 w 2077606"/>
              <a:gd name="connsiteY5044" fmla="*/ 335056 h 1786074"/>
              <a:gd name="connsiteX5045" fmla="*/ 1287521 w 2077606"/>
              <a:gd name="connsiteY5045" fmla="*/ 337064 h 1786074"/>
              <a:gd name="connsiteX5046" fmla="*/ 1291512 w 2077606"/>
              <a:gd name="connsiteY5046" fmla="*/ 337064 h 1786074"/>
              <a:gd name="connsiteX5047" fmla="*/ 1295502 w 2077606"/>
              <a:gd name="connsiteY5047" fmla="*/ 339071 h 1786074"/>
              <a:gd name="connsiteX5048" fmla="*/ 1297497 w 2077606"/>
              <a:gd name="connsiteY5048" fmla="*/ 339071 h 1786074"/>
              <a:gd name="connsiteX5049" fmla="*/ 1305478 w 2077606"/>
              <a:gd name="connsiteY5049" fmla="*/ 341079 h 1786074"/>
              <a:gd name="connsiteX5050" fmla="*/ 1313459 w 2077606"/>
              <a:gd name="connsiteY5050" fmla="*/ 349110 h 1786074"/>
              <a:gd name="connsiteX5051" fmla="*/ 1309469 w 2077606"/>
              <a:gd name="connsiteY5051" fmla="*/ 355133 h 1786074"/>
              <a:gd name="connsiteX5052" fmla="*/ 1309469 w 2077606"/>
              <a:gd name="connsiteY5052" fmla="*/ 361156 h 1786074"/>
              <a:gd name="connsiteX5053" fmla="*/ 1315454 w 2077606"/>
              <a:gd name="connsiteY5053" fmla="*/ 355133 h 1786074"/>
              <a:gd name="connsiteX5054" fmla="*/ 1325430 w 2077606"/>
              <a:gd name="connsiteY5054" fmla="*/ 353125 h 1786074"/>
              <a:gd name="connsiteX5055" fmla="*/ 1335406 w 2077606"/>
              <a:gd name="connsiteY5055" fmla="*/ 353125 h 1786074"/>
              <a:gd name="connsiteX5056" fmla="*/ 1345383 w 2077606"/>
              <a:gd name="connsiteY5056" fmla="*/ 349110 h 1786074"/>
              <a:gd name="connsiteX5057" fmla="*/ 1355359 w 2077606"/>
              <a:gd name="connsiteY5057" fmla="*/ 349110 h 1786074"/>
              <a:gd name="connsiteX5058" fmla="*/ 1361344 w 2077606"/>
              <a:gd name="connsiteY5058" fmla="*/ 349110 h 1786074"/>
              <a:gd name="connsiteX5059" fmla="*/ 1367330 w 2077606"/>
              <a:gd name="connsiteY5059" fmla="*/ 355133 h 1786074"/>
              <a:gd name="connsiteX5060" fmla="*/ 1369325 w 2077606"/>
              <a:gd name="connsiteY5060" fmla="*/ 359148 h 1786074"/>
              <a:gd name="connsiteX5061" fmla="*/ 1365335 w 2077606"/>
              <a:gd name="connsiteY5061" fmla="*/ 361156 h 1786074"/>
              <a:gd name="connsiteX5062" fmla="*/ 1355359 w 2077606"/>
              <a:gd name="connsiteY5062" fmla="*/ 359148 h 1786074"/>
              <a:gd name="connsiteX5063" fmla="*/ 1351368 w 2077606"/>
              <a:gd name="connsiteY5063" fmla="*/ 363164 h 1786074"/>
              <a:gd name="connsiteX5064" fmla="*/ 1359349 w 2077606"/>
              <a:gd name="connsiteY5064" fmla="*/ 365172 h 1786074"/>
              <a:gd name="connsiteX5065" fmla="*/ 1365335 w 2077606"/>
              <a:gd name="connsiteY5065" fmla="*/ 367179 h 1786074"/>
              <a:gd name="connsiteX5066" fmla="*/ 1367330 w 2077606"/>
              <a:gd name="connsiteY5066" fmla="*/ 367179 h 1786074"/>
              <a:gd name="connsiteX5067" fmla="*/ 1371320 w 2077606"/>
              <a:gd name="connsiteY5067" fmla="*/ 365172 h 1786074"/>
              <a:gd name="connsiteX5068" fmla="*/ 1377306 w 2077606"/>
              <a:gd name="connsiteY5068" fmla="*/ 367179 h 1786074"/>
              <a:gd name="connsiteX5069" fmla="*/ 1383292 w 2077606"/>
              <a:gd name="connsiteY5069" fmla="*/ 371195 h 1786074"/>
              <a:gd name="connsiteX5070" fmla="*/ 1391273 w 2077606"/>
              <a:gd name="connsiteY5070" fmla="*/ 371195 h 1786074"/>
              <a:gd name="connsiteX5071" fmla="*/ 1395263 w 2077606"/>
              <a:gd name="connsiteY5071" fmla="*/ 373203 h 1786074"/>
              <a:gd name="connsiteX5072" fmla="*/ 1395263 w 2077606"/>
              <a:gd name="connsiteY5072" fmla="*/ 377218 h 1786074"/>
              <a:gd name="connsiteX5073" fmla="*/ 1391273 w 2077606"/>
              <a:gd name="connsiteY5073" fmla="*/ 379226 h 1786074"/>
              <a:gd name="connsiteX5074" fmla="*/ 1379301 w 2077606"/>
              <a:gd name="connsiteY5074" fmla="*/ 377218 h 1786074"/>
              <a:gd name="connsiteX5075" fmla="*/ 1375311 w 2077606"/>
              <a:gd name="connsiteY5075" fmla="*/ 379226 h 1786074"/>
              <a:gd name="connsiteX5076" fmla="*/ 1365335 w 2077606"/>
              <a:gd name="connsiteY5076" fmla="*/ 375210 h 1786074"/>
              <a:gd name="connsiteX5077" fmla="*/ 1359349 w 2077606"/>
              <a:gd name="connsiteY5077" fmla="*/ 375210 h 1786074"/>
              <a:gd name="connsiteX5078" fmla="*/ 1355359 w 2077606"/>
              <a:gd name="connsiteY5078" fmla="*/ 375210 h 1786074"/>
              <a:gd name="connsiteX5079" fmla="*/ 1357354 w 2077606"/>
              <a:gd name="connsiteY5079" fmla="*/ 379226 h 1786074"/>
              <a:gd name="connsiteX5080" fmla="*/ 1353363 w 2077606"/>
              <a:gd name="connsiteY5080" fmla="*/ 383241 h 1786074"/>
              <a:gd name="connsiteX5081" fmla="*/ 1351368 w 2077606"/>
              <a:gd name="connsiteY5081" fmla="*/ 387257 h 1786074"/>
              <a:gd name="connsiteX5082" fmla="*/ 1353363 w 2077606"/>
              <a:gd name="connsiteY5082" fmla="*/ 391272 h 1786074"/>
              <a:gd name="connsiteX5083" fmla="*/ 1359349 w 2077606"/>
              <a:gd name="connsiteY5083" fmla="*/ 389264 h 1786074"/>
              <a:gd name="connsiteX5084" fmla="*/ 1367330 w 2077606"/>
              <a:gd name="connsiteY5084" fmla="*/ 387257 h 1786074"/>
              <a:gd name="connsiteX5085" fmla="*/ 1375311 w 2077606"/>
              <a:gd name="connsiteY5085" fmla="*/ 385249 h 1786074"/>
              <a:gd name="connsiteX5086" fmla="*/ 1381297 w 2077606"/>
              <a:gd name="connsiteY5086" fmla="*/ 391272 h 1786074"/>
              <a:gd name="connsiteX5087" fmla="*/ 1385287 w 2077606"/>
              <a:gd name="connsiteY5087" fmla="*/ 393280 h 1786074"/>
              <a:gd name="connsiteX5088" fmla="*/ 1393268 w 2077606"/>
              <a:gd name="connsiteY5088" fmla="*/ 399303 h 1786074"/>
              <a:gd name="connsiteX5089" fmla="*/ 1387282 w 2077606"/>
              <a:gd name="connsiteY5089" fmla="*/ 403318 h 1786074"/>
              <a:gd name="connsiteX5090" fmla="*/ 1381297 w 2077606"/>
              <a:gd name="connsiteY5090" fmla="*/ 403318 h 1786074"/>
              <a:gd name="connsiteX5091" fmla="*/ 1379301 w 2077606"/>
              <a:gd name="connsiteY5091" fmla="*/ 409341 h 1786074"/>
              <a:gd name="connsiteX5092" fmla="*/ 1387282 w 2077606"/>
              <a:gd name="connsiteY5092" fmla="*/ 407334 h 1786074"/>
              <a:gd name="connsiteX5093" fmla="*/ 1389277 w 2077606"/>
              <a:gd name="connsiteY5093" fmla="*/ 415365 h 1786074"/>
              <a:gd name="connsiteX5094" fmla="*/ 1393268 w 2077606"/>
              <a:gd name="connsiteY5094" fmla="*/ 417372 h 1786074"/>
              <a:gd name="connsiteX5095" fmla="*/ 1395263 w 2077606"/>
              <a:gd name="connsiteY5095" fmla="*/ 411349 h 1786074"/>
              <a:gd name="connsiteX5096" fmla="*/ 1403244 w 2077606"/>
              <a:gd name="connsiteY5096" fmla="*/ 403318 h 1786074"/>
              <a:gd name="connsiteX5097" fmla="*/ 1409230 w 2077606"/>
              <a:gd name="connsiteY5097" fmla="*/ 409341 h 1786074"/>
              <a:gd name="connsiteX5098" fmla="*/ 1409230 w 2077606"/>
              <a:gd name="connsiteY5098" fmla="*/ 411349 h 1786074"/>
              <a:gd name="connsiteX5099" fmla="*/ 1411225 w 2077606"/>
              <a:gd name="connsiteY5099" fmla="*/ 413357 h 1786074"/>
              <a:gd name="connsiteX5100" fmla="*/ 1413220 w 2077606"/>
              <a:gd name="connsiteY5100" fmla="*/ 413357 h 1786074"/>
              <a:gd name="connsiteX5101" fmla="*/ 1419206 w 2077606"/>
              <a:gd name="connsiteY5101" fmla="*/ 409341 h 1786074"/>
              <a:gd name="connsiteX5102" fmla="*/ 1419206 w 2077606"/>
              <a:gd name="connsiteY5102" fmla="*/ 415365 h 1786074"/>
              <a:gd name="connsiteX5103" fmla="*/ 1421201 w 2077606"/>
              <a:gd name="connsiteY5103" fmla="*/ 413357 h 1786074"/>
              <a:gd name="connsiteX5104" fmla="*/ 1425191 w 2077606"/>
              <a:gd name="connsiteY5104" fmla="*/ 411349 h 1786074"/>
              <a:gd name="connsiteX5105" fmla="*/ 1427187 w 2077606"/>
              <a:gd name="connsiteY5105" fmla="*/ 405326 h 1786074"/>
              <a:gd name="connsiteX5106" fmla="*/ 1429182 w 2077606"/>
              <a:gd name="connsiteY5106" fmla="*/ 403318 h 1786074"/>
              <a:gd name="connsiteX5107" fmla="*/ 1433172 w 2077606"/>
              <a:gd name="connsiteY5107" fmla="*/ 411349 h 1786074"/>
              <a:gd name="connsiteX5108" fmla="*/ 1441153 w 2077606"/>
              <a:gd name="connsiteY5108" fmla="*/ 409341 h 1786074"/>
              <a:gd name="connsiteX5109" fmla="*/ 1449134 w 2077606"/>
              <a:gd name="connsiteY5109" fmla="*/ 413357 h 1786074"/>
              <a:gd name="connsiteX5110" fmla="*/ 1445144 w 2077606"/>
              <a:gd name="connsiteY5110" fmla="*/ 417372 h 1786074"/>
              <a:gd name="connsiteX5111" fmla="*/ 1449134 w 2077606"/>
              <a:gd name="connsiteY5111" fmla="*/ 419380 h 1786074"/>
              <a:gd name="connsiteX5112" fmla="*/ 1455120 w 2077606"/>
              <a:gd name="connsiteY5112" fmla="*/ 417372 h 1786074"/>
              <a:gd name="connsiteX5113" fmla="*/ 1463100 w 2077606"/>
              <a:gd name="connsiteY5113" fmla="*/ 417372 h 1786074"/>
              <a:gd name="connsiteX5114" fmla="*/ 1459110 w 2077606"/>
              <a:gd name="connsiteY5114" fmla="*/ 413357 h 1786074"/>
              <a:gd name="connsiteX5115" fmla="*/ 1459110 w 2077606"/>
              <a:gd name="connsiteY5115" fmla="*/ 407334 h 1786074"/>
              <a:gd name="connsiteX5116" fmla="*/ 1469086 w 2077606"/>
              <a:gd name="connsiteY5116" fmla="*/ 405326 h 1786074"/>
              <a:gd name="connsiteX5117" fmla="*/ 1477067 w 2077606"/>
              <a:gd name="connsiteY5117" fmla="*/ 407334 h 1786074"/>
              <a:gd name="connsiteX5118" fmla="*/ 1483053 w 2077606"/>
              <a:gd name="connsiteY5118" fmla="*/ 403318 h 1786074"/>
              <a:gd name="connsiteX5119" fmla="*/ 1487043 w 2077606"/>
              <a:gd name="connsiteY5119" fmla="*/ 401311 h 1786074"/>
              <a:gd name="connsiteX5120" fmla="*/ 1491034 w 2077606"/>
              <a:gd name="connsiteY5120" fmla="*/ 401311 h 1786074"/>
              <a:gd name="connsiteX5121" fmla="*/ 1495024 w 2077606"/>
              <a:gd name="connsiteY5121" fmla="*/ 397295 h 1786074"/>
              <a:gd name="connsiteX5122" fmla="*/ 1499014 w 2077606"/>
              <a:gd name="connsiteY5122" fmla="*/ 395287 h 1786074"/>
              <a:gd name="connsiteX5123" fmla="*/ 1505000 w 2077606"/>
              <a:gd name="connsiteY5123" fmla="*/ 395287 h 1786074"/>
              <a:gd name="connsiteX5124" fmla="*/ 1518967 w 2077606"/>
              <a:gd name="connsiteY5124" fmla="*/ 395287 h 1786074"/>
              <a:gd name="connsiteX5125" fmla="*/ 1536924 w 2077606"/>
              <a:gd name="connsiteY5125" fmla="*/ 393280 h 1786074"/>
              <a:gd name="connsiteX5126" fmla="*/ 1550890 w 2077606"/>
              <a:gd name="connsiteY5126" fmla="*/ 395287 h 1786074"/>
              <a:gd name="connsiteX5127" fmla="*/ 1560866 w 2077606"/>
              <a:gd name="connsiteY5127" fmla="*/ 393280 h 1786074"/>
              <a:gd name="connsiteX5128" fmla="*/ 1566852 w 2077606"/>
              <a:gd name="connsiteY5128" fmla="*/ 391272 h 1786074"/>
              <a:gd name="connsiteX5129" fmla="*/ 1572838 w 2077606"/>
              <a:gd name="connsiteY5129" fmla="*/ 397295 h 1786074"/>
              <a:gd name="connsiteX5130" fmla="*/ 1582814 w 2077606"/>
              <a:gd name="connsiteY5130" fmla="*/ 397295 h 1786074"/>
              <a:gd name="connsiteX5131" fmla="*/ 1584809 w 2077606"/>
              <a:gd name="connsiteY5131" fmla="*/ 397295 h 1786074"/>
              <a:gd name="connsiteX5132" fmla="*/ 1586804 w 2077606"/>
              <a:gd name="connsiteY5132" fmla="*/ 397295 h 1786074"/>
              <a:gd name="connsiteX5133" fmla="*/ 1592790 w 2077606"/>
              <a:gd name="connsiteY5133" fmla="*/ 401311 h 1786074"/>
              <a:gd name="connsiteX5134" fmla="*/ 1592790 w 2077606"/>
              <a:gd name="connsiteY5134" fmla="*/ 403318 h 1786074"/>
              <a:gd name="connsiteX5135" fmla="*/ 1594785 w 2077606"/>
              <a:gd name="connsiteY5135" fmla="*/ 413357 h 1786074"/>
              <a:gd name="connsiteX5136" fmla="*/ 1594785 w 2077606"/>
              <a:gd name="connsiteY5136" fmla="*/ 415365 h 1786074"/>
              <a:gd name="connsiteX5137" fmla="*/ 1594785 w 2077606"/>
              <a:gd name="connsiteY5137" fmla="*/ 421388 h 1786074"/>
              <a:gd name="connsiteX5138" fmla="*/ 1584809 w 2077606"/>
              <a:gd name="connsiteY5138" fmla="*/ 425403 h 1786074"/>
              <a:gd name="connsiteX5139" fmla="*/ 1580818 w 2077606"/>
              <a:gd name="connsiteY5139" fmla="*/ 431426 h 1786074"/>
              <a:gd name="connsiteX5140" fmla="*/ 1588799 w 2077606"/>
              <a:gd name="connsiteY5140" fmla="*/ 431426 h 1786074"/>
              <a:gd name="connsiteX5141" fmla="*/ 1590794 w 2077606"/>
              <a:gd name="connsiteY5141" fmla="*/ 429419 h 1786074"/>
              <a:gd name="connsiteX5142" fmla="*/ 1592790 w 2077606"/>
              <a:gd name="connsiteY5142" fmla="*/ 433434 h 1786074"/>
              <a:gd name="connsiteX5143" fmla="*/ 1588799 w 2077606"/>
              <a:gd name="connsiteY5143" fmla="*/ 443473 h 1786074"/>
              <a:gd name="connsiteX5144" fmla="*/ 1584809 w 2077606"/>
              <a:gd name="connsiteY5144" fmla="*/ 445480 h 1786074"/>
              <a:gd name="connsiteX5145" fmla="*/ 1582814 w 2077606"/>
              <a:gd name="connsiteY5145" fmla="*/ 441465 h 1786074"/>
              <a:gd name="connsiteX5146" fmla="*/ 1580818 w 2077606"/>
              <a:gd name="connsiteY5146" fmla="*/ 439457 h 1786074"/>
              <a:gd name="connsiteX5147" fmla="*/ 1578823 w 2077606"/>
              <a:gd name="connsiteY5147" fmla="*/ 443473 h 1786074"/>
              <a:gd name="connsiteX5148" fmla="*/ 1582814 w 2077606"/>
              <a:gd name="connsiteY5148" fmla="*/ 447488 h 1786074"/>
              <a:gd name="connsiteX5149" fmla="*/ 1578823 w 2077606"/>
              <a:gd name="connsiteY5149" fmla="*/ 451504 h 1786074"/>
              <a:gd name="connsiteX5150" fmla="*/ 1574833 w 2077606"/>
              <a:gd name="connsiteY5150" fmla="*/ 453511 h 1786074"/>
              <a:gd name="connsiteX5151" fmla="*/ 1568847 w 2077606"/>
              <a:gd name="connsiteY5151" fmla="*/ 455519 h 1786074"/>
              <a:gd name="connsiteX5152" fmla="*/ 1560866 w 2077606"/>
              <a:gd name="connsiteY5152" fmla="*/ 453511 h 1786074"/>
              <a:gd name="connsiteX5153" fmla="*/ 1548895 w 2077606"/>
              <a:gd name="connsiteY5153" fmla="*/ 459534 h 1786074"/>
              <a:gd name="connsiteX5154" fmla="*/ 1536924 w 2077606"/>
              <a:gd name="connsiteY5154" fmla="*/ 459534 h 1786074"/>
              <a:gd name="connsiteX5155" fmla="*/ 1526947 w 2077606"/>
              <a:gd name="connsiteY5155" fmla="*/ 461542 h 1786074"/>
              <a:gd name="connsiteX5156" fmla="*/ 1516971 w 2077606"/>
              <a:gd name="connsiteY5156" fmla="*/ 459534 h 1786074"/>
              <a:gd name="connsiteX5157" fmla="*/ 1514976 w 2077606"/>
              <a:gd name="connsiteY5157" fmla="*/ 449496 h 1786074"/>
              <a:gd name="connsiteX5158" fmla="*/ 1518967 w 2077606"/>
              <a:gd name="connsiteY5158" fmla="*/ 445480 h 1786074"/>
              <a:gd name="connsiteX5159" fmla="*/ 1516971 w 2077606"/>
              <a:gd name="connsiteY5159" fmla="*/ 443473 h 1786074"/>
              <a:gd name="connsiteX5160" fmla="*/ 1510986 w 2077606"/>
              <a:gd name="connsiteY5160" fmla="*/ 439457 h 1786074"/>
              <a:gd name="connsiteX5161" fmla="*/ 1512981 w 2077606"/>
              <a:gd name="connsiteY5161" fmla="*/ 445480 h 1786074"/>
              <a:gd name="connsiteX5162" fmla="*/ 1510986 w 2077606"/>
              <a:gd name="connsiteY5162" fmla="*/ 449496 h 1786074"/>
              <a:gd name="connsiteX5163" fmla="*/ 1508991 w 2077606"/>
              <a:gd name="connsiteY5163" fmla="*/ 455519 h 1786074"/>
              <a:gd name="connsiteX5164" fmla="*/ 1501010 w 2077606"/>
              <a:gd name="connsiteY5164" fmla="*/ 457527 h 1786074"/>
              <a:gd name="connsiteX5165" fmla="*/ 1493029 w 2077606"/>
              <a:gd name="connsiteY5165" fmla="*/ 457527 h 1786074"/>
              <a:gd name="connsiteX5166" fmla="*/ 1483053 w 2077606"/>
              <a:gd name="connsiteY5166" fmla="*/ 457527 h 1786074"/>
              <a:gd name="connsiteX5167" fmla="*/ 1475072 w 2077606"/>
              <a:gd name="connsiteY5167" fmla="*/ 459534 h 1786074"/>
              <a:gd name="connsiteX5168" fmla="*/ 1473077 w 2077606"/>
              <a:gd name="connsiteY5168" fmla="*/ 455519 h 1786074"/>
              <a:gd name="connsiteX5169" fmla="*/ 1471081 w 2077606"/>
              <a:gd name="connsiteY5169" fmla="*/ 453511 h 1786074"/>
              <a:gd name="connsiteX5170" fmla="*/ 1467091 w 2077606"/>
              <a:gd name="connsiteY5170" fmla="*/ 457527 h 1786074"/>
              <a:gd name="connsiteX5171" fmla="*/ 1463100 w 2077606"/>
              <a:gd name="connsiteY5171" fmla="*/ 459534 h 1786074"/>
              <a:gd name="connsiteX5172" fmla="*/ 1461105 w 2077606"/>
              <a:gd name="connsiteY5172" fmla="*/ 455519 h 1786074"/>
              <a:gd name="connsiteX5173" fmla="*/ 1461105 w 2077606"/>
              <a:gd name="connsiteY5173" fmla="*/ 451504 h 1786074"/>
              <a:gd name="connsiteX5174" fmla="*/ 1459110 w 2077606"/>
              <a:gd name="connsiteY5174" fmla="*/ 453511 h 1786074"/>
              <a:gd name="connsiteX5175" fmla="*/ 1459110 w 2077606"/>
              <a:gd name="connsiteY5175" fmla="*/ 459534 h 1786074"/>
              <a:gd name="connsiteX5176" fmla="*/ 1447139 w 2077606"/>
              <a:gd name="connsiteY5176" fmla="*/ 463550 h 1786074"/>
              <a:gd name="connsiteX5177" fmla="*/ 1445144 w 2077606"/>
              <a:gd name="connsiteY5177" fmla="*/ 457527 h 1786074"/>
              <a:gd name="connsiteX5178" fmla="*/ 1441153 w 2077606"/>
              <a:gd name="connsiteY5178" fmla="*/ 459534 h 1786074"/>
              <a:gd name="connsiteX5179" fmla="*/ 1437163 w 2077606"/>
              <a:gd name="connsiteY5179" fmla="*/ 459534 h 1786074"/>
              <a:gd name="connsiteX5180" fmla="*/ 1433172 w 2077606"/>
              <a:gd name="connsiteY5180" fmla="*/ 455519 h 1786074"/>
              <a:gd name="connsiteX5181" fmla="*/ 1433172 w 2077606"/>
              <a:gd name="connsiteY5181" fmla="*/ 459534 h 1786074"/>
              <a:gd name="connsiteX5182" fmla="*/ 1429182 w 2077606"/>
              <a:gd name="connsiteY5182" fmla="*/ 461542 h 1786074"/>
              <a:gd name="connsiteX5183" fmla="*/ 1425191 w 2077606"/>
              <a:gd name="connsiteY5183" fmla="*/ 463550 h 1786074"/>
              <a:gd name="connsiteX5184" fmla="*/ 1421201 w 2077606"/>
              <a:gd name="connsiteY5184" fmla="*/ 461542 h 1786074"/>
              <a:gd name="connsiteX5185" fmla="*/ 1417210 w 2077606"/>
              <a:gd name="connsiteY5185" fmla="*/ 461542 h 1786074"/>
              <a:gd name="connsiteX5186" fmla="*/ 1413220 w 2077606"/>
              <a:gd name="connsiteY5186" fmla="*/ 463550 h 1786074"/>
              <a:gd name="connsiteX5187" fmla="*/ 1407234 w 2077606"/>
              <a:gd name="connsiteY5187" fmla="*/ 461542 h 1786074"/>
              <a:gd name="connsiteX5188" fmla="*/ 1401249 w 2077606"/>
              <a:gd name="connsiteY5188" fmla="*/ 461542 h 1786074"/>
              <a:gd name="connsiteX5189" fmla="*/ 1397258 w 2077606"/>
              <a:gd name="connsiteY5189" fmla="*/ 459534 h 1786074"/>
              <a:gd name="connsiteX5190" fmla="*/ 1391273 w 2077606"/>
              <a:gd name="connsiteY5190" fmla="*/ 457527 h 1786074"/>
              <a:gd name="connsiteX5191" fmla="*/ 1391273 w 2077606"/>
              <a:gd name="connsiteY5191" fmla="*/ 449496 h 1786074"/>
              <a:gd name="connsiteX5192" fmla="*/ 1393268 w 2077606"/>
              <a:gd name="connsiteY5192" fmla="*/ 445480 h 1786074"/>
              <a:gd name="connsiteX5193" fmla="*/ 1387282 w 2077606"/>
              <a:gd name="connsiteY5193" fmla="*/ 449496 h 1786074"/>
              <a:gd name="connsiteX5194" fmla="*/ 1381297 w 2077606"/>
              <a:gd name="connsiteY5194" fmla="*/ 449496 h 1786074"/>
              <a:gd name="connsiteX5195" fmla="*/ 1381297 w 2077606"/>
              <a:gd name="connsiteY5195" fmla="*/ 455519 h 1786074"/>
              <a:gd name="connsiteX5196" fmla="*/ 1373316 w 2077606"/>
              <a:gd name="connsiteY5196" fmla="*/ 455519 h 1786074"/>
              <a:gd name="connsiteX5197" fmla="*/ 1363340 w 2077606"/>
              <a:gd name="connsiteY5197" fmla="*/ 455519 h 1786074"/>
              <a:gd name="connsiteX5198" fmla="*/ 1359349 w 2077606"/>
              <a:gd name="connsiteY5198" fmla="*/ 455519 h 1786074"/>
              <a:gd name="connsiteX5199" fmla="*/ 1351368 w 2077606"/>
              <a:gd name="connsiteY5199" fmla="*/ 451504 h 1786074"/>
              <a:gd name="connsiteX5200" fmla="*/ 1345383 w 2077606"/>
              <a:gd name="connsiteY5200" fmla="*/ 447488 h 1786074"/>
              <a:gd name="connsiteX5201" fmla="*/ 1341392 w 2077606"/>
              <a:gd name="connsiteY5201" fmla="*/ 443473 h 1786074"/>
              <a:gd name="connsiteX5202" fmla="*/ 1339397 w 2077606"/>
              <a:gd name="connsiteY5202" fmla="*/ 447488 h 1786074"/>
              <a:gd name="connsiteX5203" fmla="*/ 1335406 w 2077606"/>
              <a:gd name="connsiteY5203" fmla="*/ 451504 h 1786074"/>
              <a:gd name="connsiteX5204" fmla="*/ 1325430 w 2077606"/>
              <a:gd name="connsiteY5204" fmla="*/ 447488 h 1786074"/>
              <a:gd name="connsiteX5205" fmla="*/ 1319445 w 2077606"/>
              <a:gd name="connsiteY5205" fmla="*/ 443473 h 1786074"/>
              <a:gd name="connsiteX5206" fmla="*/ 1317450 w 2077606"/>
              <a:gd name="connsiteY5206" fmla="*/ 435442 h 1786074"/>
              <a:gd name="connsiteX5207" fmla="*/ 1321440 w 2077606"/>
              <a:gd name="connsiteY5207" fmla="*/ 429419 h 1786074"/>
              <a:gd name="connsiteX5208" fmla="*/ 1313459 w 2077606"/>
              <a:gd name="connsiteY5208" fmla="*/ 425403 h 1786074"/>
              <a:gd name="connsiteX5209" fmla="*/ 1313459 w 2077606"/>
              <a:gd name="connsiteY5209" fmla="*/ 419380 h 1786074"/>
              <a:gd name="connsiteX5210" fmla="*/ 1313459 w 2077606"/>
              <a:gd name="connsiteY5210" fmla="*/ 413357 h 1786074"/>
              <a:gd name="connsiteX5211" fmla="*/ 1317450 w 2077606"/>
              <a:gd name="connsiteY5211" fmla="*/ 407334 h 1786074"/>
              <a:gd name="connsiteX5212" fmla="*/ 1321440 w 2077606"/>
              <a:gd name="connsiteY5212" fmla="*/ 403318 h 1786074"/>
              <a:gd name="connsiteX5213" fmla="*/ 1323435 w 2077606"/>
              <a:gd name="connsiteY5213" fmla="*/ 399303 h 1786074"/>
              <a:gd name="connsiteX5214" fmla="*/ 1321440 w 2077606"/>
              <a:gd name="connsiteY5214" fmla="*/ 391272 h 1786074"/>
              <a:gd name="connsiteX5215" fmla="*/ 1317450 w 2077606"/>
              <a:gd name="connsiteY5215" fmla="*/ 383241 h 1786074"/>
              <a:gd name="connsiteX5216" fmla="*/ 1315454 w 2077606"/>
              <a:gd name="connsiteY5216" fmla="*/ 375210 h 1786074"/>
              <a:gd name="connsiteX5217" fmla="*/ 1315454 w 2077606"/>
              <a:gd name="connsiteY5217" fmla="*/ 371195 h 1786074"/>
              <a:gd name="connsiteX5218" fmla="*/ 1307473 w 2077606"/>
              <a:gd name="connsiteY5218" fmla="*/ 369187 h 1786074"/>
              <a:gd name="connsiteX5219" fmla="*/ 1303483 w 2077606"/>
              <a:gd name="connsiteY5219" fmla="*/ 373203 h 1786074"/>
              <a:gd name="connsiteX5220" fmla="*/ 1297497 w 2077606"/>
              <a:gd name="connsiteY5220" fmla="*/ 373203 h 1786074"/>
              <a:gd name="connsiteX5221" fmla="*/ 1291512 w 2077606"/>
              <a:gd name="connsiteY5221" fmla="*/ 371195 h 1786074"/>
              <a:gd name="connsiteX5222" fmla="*/ 1285526 w 2077606"/>
              <a:gd name="connsiteY5222" fmla="*/ 371195 h 1786074"/>
              <a:gd name="connsiteX5223" fmla="*/ 1281536 w 2077606"/>
              <a:gd name="connsiteY5223" fmla="*/ 371195 h 1786074"/>
              <a:gd name="connsiteX5224" fmla="*/ 1275550 w 2077606"/>
              <a:gd name="connsiteY5224" fmla="*/ 371195 h 1786074"/>
              <a:gd name="connsiteX5225" fmla="*/ 1269564 w 2077606"/>
              <a:gd name="connsiteY5225" fmla="*/ 371195 h 1786074"/>
              <a:gd name="connsiteX5226" fmla="*/ 1267569 w 2077606"/>
              <a:gd name="connsiteY5226" fmla="*/ 377218 h 1786074"/>
              <a:gd name="connsiteX5227" fmla="*/ 1263579 w 2077606"/>
              <a:gd name="connsiteY5227" fmla="*/ 379226 h 1786074"/>
              <a:gd name="connsiteX5228" fmla="*/ 1261583 w 2077606"/>
              <a:gd name="connsiteY5228" fmla="*/ 375210 h 1786074"/>
              <a:gd name="connsiteX5229" fmla="*/ 1261583 w 2077606"/>
              <a:gd name="connsiteY5229" fmla="*/ 367179 h 1786074"/>
              <a:gd name="connsiteX5230" fmla="*/ 1257593 w 2077606"/>
              <a:gd name="connsiteY5230" fmla="*/ 365172 h 1786074"/>
              <a:gd name="connsiteX5231" fmla="*/ 1249612 w 2077606"/>
              <a:gd name="connsiteY5231" fmla="*/ 361156 h 1786074"/>
              <a:gd name="connsiteX5232" fmla="*/ 1249612 w 2077606"/>
              <a:gd name="connsiteY5232" fmla="*/ 357141 h 1786074"/>
              <a:gd name="connsiteX5233" fmla="*/ 1251607 w 2077606"/>
              <a:gd name="connsiteY5233" fmla="*/ 355133 h 1786074"/>
              <a:gd name="connsiteX5234" fmla="*/ 1243626 w 2077606"/>
              <a:gd name="connsiteY5234" fmla="*/ 353125 h 1786074"/>
              <a:gd name="connsiteX5235" fmla="*/ 1233650 w 2077606"/>
              <a:gd name="connsiteY5235" fmla="*/ 353125 h 1786074"/>
              <a:gd name="connsiteX5236" fmla="*/ 1233650 w 2077606"/>
              <a:gd name="connsiteY5236" fmla="*/ 347102 h 1786074"/>
              <a:gd name="connsiteX5237" fmla="*/ 1239636 w 2077606"/>
              <a:gd name="connsiteY5237" fmla="*/ 351118 h 1786074"/>
              <a:gd name="connsiteX5238" fmla="*/ 1245622 w 2077606"/>
              <a:gd name="connsiteY5238" fmla="*/ 347102 h 1786074"/>
              <a:gd name="connsiteX5239" fmla="*/ 1237641 w 2077606"/>
              <a:gd name="connsiteY5239" fmla="*/ 345094 h 1786074"/>
              <a:gd name="connsiteX5240" fmla="*/ 1231655 w 2077606"/>
              <a:gd name="connsiteY5240" fmla="*/ 339071 h 1786074"/>
              <a:gd name="connsiteX5241" fmla="*/ 1233650 w 2077606"/>
              <a:gd name="connsiteY5241" fmla="*/ 335056 h 1786074"/>
              <a:gd name="connsiteX5242" fmla="*/ 1241631 w 2077606"/>
              <a:gd name="connsiteY5242" fmla="*/ 337064 h 1786074"/>
              <a:gd name="connsiteX5243" fmla="*/ 1247617 w 2077606"/>
              <a:gd name="connsiteY5243" fmla="*/ 333048 h 1786074"/>
              <a:gd name="connsiteX5244" fmla="*/ 1253603 w 2077606"/>
              <a:gd name="connsiteY5244" fmla="*/ 331040 h 1786074"/>
              <a:gd name="connsiteX5245" fmla="*/ 1259588 w 2077606"/>
              <a:gd name="connsiteY5245" fmla="*/ 327025 h 1786074"/>
              <a:gd name="connsiteX5246" fmla="*/ 1085152 w 2077606"/>
              <a:gd name="connsiteY5246" fmla="*/ 323850 h 1786074"/>
              <a:gd name="connsiteX5247" fmla="*/ 1083111 w 2077606"/>
              <a:gd name="connsiteY5247" fmla="*/ 329565 h 1786074"/>
              <a:gd name="connsiteX5248" fmla="*/ 1074946 w 2077606"/>
              <a:gd name="connsiteY5248" fmla="*/ 329565 h 1786074"/>
              <a:gd name="connsiteX5249" fmla="*/ 1079029 w 2077606"/>
              <a:gd name="connsiteY5249" fmla="*/ 325755 h 1786074"/>
              <a:gd name="connsiteX5250" fmla="*/ 1085152 w 2077606"/>
              <a:gd name="connsiteY5250" fmla="*/ 323850 h 1786074"/>
              <a:gd name="connsiteX5251" fmla="*/ 1777632 w 2077606"/>
              <a:gd name="connsiteY5251" fmla="*/ 314326 h 1786074"/>
              <a:gd name="connsiteX5252" fmla="*/ 1783860 w 2077606"/>
              <a:gd name="connsiteY5252" fmla="*/ 316231 h 1786074"/>
              <a:gd name="connsiteX5253" fmla="*/ 1788012 w 2077606"/>
              <a:gd name="connsiteY5253" fmla="*/ 318136 h 1786074"/>
              <a:gd name="connsiteX5254" fmla="*/ 1792164 w 2077606"/>
              <a:gd name="connsiteY5254" fmla="*/ 318136 h 1786074"/>
              <a:gd name="connsiteX5255" fmla="*/ 1796316 w 2077606"/>
              <a:gd name="connsiteY5255" fmla="*/ 318136 h 1786074"/>
              <a:gd name="connsiteX5256" fmla="*/ 1796316 w 2077606"/>
              <a:gd name="connsiteY5256" fmla="*/ 321946 h 1786074"/>
              <a:gd name="connsiteX5257" fmla="*/ 1792164 w 2077606"/>
              <a:gd name="connsiteY5257" fmla="*/ 323851 h 1786074"/>
              <a:gd name="connsiteX5258" fmla="*/ 1783860 w 2077606"/>
              <a:gd name="connsiteY5258" fmla="*/ 323851 h 1786074"/>
              <a:gd name="connsiteX5259" fmla="*/ 1779708 w 2077606"/>
              <a:gd name="connsiteY5259" fmla="*/ 321946 h 1786074"/>
              <a:gd name="connsiteX5260" fmla="*/ 1775556 w 2077606"/>
              <a:gd name="connsiteY5260" fmla="*/ 320041 h 1786074"/>
              <a:gd name="connsiteX5261" fmla="*/ 1771404 w 2077606"/>
              <a:gd name="connsiteY5261" fmla="*/ 316231 h 1786074"/>
              <a:gd name="connsiteX5262" fmla="*/ 1777632 w 2077606"/>
              <a:gd name="connsiteY5262" fmla="*/ 314326 h 1786074"/>
              <a:gd name="connsiteX5263" fmla="*/ 1764102 w 2077606"/>
              <a:gd name="connsiteY5263" fmla="*/ 313268 h 1786074"/>
              <a:gd name="connsiteX5264" fmla="*/ 1767912 w 2077606"/>
              <a:gd name="connsiteY5264" fmla="*/ 313268 h 1786074"/>
              <a:gd name="connsiteX5265" fmla="*/ 1764102 w 2077606"/>
              <a:gd name="connsiteY5265" fmla="*/ 313268 h 1786074"/>
              <a:gd name="connsiteX5266" fmla="*/ 1801990 w 2077606"/>
              <a:gd name="connsiteY5266" fmla="*/ 309828 h 1786074"/>
              <a:gd name="connsiteX5267" fmla="*/ 1808023 w 2077606"/>
              <a:gd name="connsiteY5267" fmla="*/ 311680 h 1786074"/>
              <a:gd name="connsiteX5268" fmla="*/ 1816066 w 2077606"/>
              <a:gd name="connsiteY5268" fmla="*/ 311680 h 1786074"/>
              <a:gd name="connsiteX5269" fmla="*/ 1820088 w 2077606"/>
              <a:gd name="connsiteY5269" fmla="*/ 311680 h 1786074"/>
              <a:gd name="connsiteX5270" fmla="*/ 1824110 w 2077606"/>
              <a:gd name="connsiteY5270" fmla="*/ 311680 h 1786074"/>
              <a:gd name="connsiteX5271" fmla="*/ 1830142 w 2077606"/>
              <a:gd name="connsiteY5271" fmla="*/ 313532 h 1786074"/>
              <a:gd name="connsiteX5272" fmla="*/ 1830142 w 2077606"/>
              <a:gd name="connsiteY5272" fmla="*/ 317236 h 1786074"/>
              <a:gd name="connsiteX5273" fmla="*/ 1824110 w 2077606"/>
              <a:gd name="connsiteY5273" fmla="*/ 317236 h 1786074"/>
              <a:gd name="connsiteX5274" fmla="*/ 1820088 w 2077606"/>
              <a:gd name="connsiteY5274" fmla="*/ 315384 h 1786074"/>
              <a:gd name="connsiteX5275" fmla="*/ 1814055 w 2077606"/>
              <a:gd name="connsiteY5275" fmla="*/ 317236 h 1786074"/>
              <a:gd name="connsiteX5276" fmla="*/ 1810033 w 2077606"/>
              <a:gd name="connsiteY5276" fmla="*/ 317236 h 1786074"/>
              <a:gd name="connsiteX5277" fmla="*/ 1804001 w 2077606"/>
              <a:gd name="connsiteY5277" fmla="*/ 315384 h 1786074"/>
              <a:gd name="connsiteX5278" fmla="*/ 1801990 w 2077606"/>
              <a:gd name="connsiteY5278" fmla="*/ 309828 h 1786074"/>
              <a:gd name="connsiteX5279" fmla="*/ 1373049 w 2077606"/>
              <a:gd name="connsiteY5279" fmla="*/ 306387 h 1786074"/>
              <a:gd name="connsiteX5280" fmla="*/ 1381092 w 2077606"/>
              <a:gd name="connsiteY5280" fmla="*/ 308292 h 1786074"/>
              <a:gd name="connsiteX5281" fmla="*/ 1385114 w 2077606"/>
              <a:gd name="connsiteY5281" fmla="*/ 308292 h 1786074"/>
              <a:gd name="connsiteX5282" fmla="*/ 1393157 w 2077606"/>
              <a:gd name="connsiteY5282" fmla="*/ 312102 h 1786074"/>
              <a:gd name="connsiteX5283" fmla="*/ 1395168 w 2077606"/>
              <a:gd name="connsiteY5283" fmla="*/ 315912 h 1786074"/>
              <a:gd name="connsiteX5284" fmla="*/ 1393157 w 2077606"/>
              <a:gd name="connsiteY5284" fmla="*/ 319722 h 1786074"/>
              <a:gd name="connsiteX5285" fmla="*/ 1393157 w 2077606"/>
              <a:gd name="connsiteY5285" fmla="*/ 323532 h 1786074"/>
              <a:gd name="connsiteX5286" fmla="*/ 1389136 w 2077606"/>
              <a:gd name="connsiteY5286" fmla="*/ 325437 h 1786074"/>
              <a:gd name="connsiteX5287" fmla="*/ 1385114 w 2077606"/>
              <a:gd name="connsiteY5287" fmla="*/ 325437 h 1786074"/>
              <a:gd name="connsiteX5288" fmla="*/ 1381092 w 2077606"/>
              <a:gd name="connsiteY5288" fmla="*/ 323532 h 1786074"/>
              <a:gd name="connsiteX5289" fmla="*/ 1375059 w 2077606"/>
              <a:gd name="connsiteY5289" fmla="*/ 319722 h 1786074"/>
              <a:gd name="connsiteX5290" fmla="*/ 1371038 w 2077606"/>
              <a:gd name="connsiteY5290" fmla="*/ 321627 h 1786074"/>
              <a:gd name="connsiteX5291" fmla="*/ 1367016 w 2077606"/>
              <a:gd name="connsiteY5291" fmla="*/ 325437 h 1786074"/>
              <a:gd name="connsiteX5292" fmla="*/ 1367016 w 2077606"/>
              <a:gd name="connsiteY5292" fmla="*/ 321627 h 1786074"/>
              <a:gd name="connsiteX5293" fmla="*/ 1371038 w 2077606"/>
              <a:gd name="connsiteY5293" fmla="*/ 315912 h 1786074"/>
              <a:gd name="connsiteX5294" fmla="*/ 1371038 w 2077606"/>
              <a:gd name="connsiteY5294" fmla="*/ 312102 h 1786074"/>
              <a:gd name="connsiteX5295" fmla="*/ 1373049 w 2077606"/>
              <a:gd name="connsiteY5295" fmla="*/ 306387 h 1786074"/>
              <a:gd name="connsiteX5296" fmla="*/ 815972 w 2077606"/>
              <a:gd name="connsiteY5296" fmla="*/ 304727 h 1786074"/>
              <a:gd name="connsiteX5297" fmla="*/ 820737 w 2077606"/>
              <a:gd name="connsiteY5297" fmla="*/ 307253 h 1786074"/>
              <a:gd name="connsiteX5298" fmla="*/ 822743 w 2077606"/>
              <a:gd name="connsiteY5298" fmla="*/ 311294 h 1786074"/>
              <a:gd name="connsiteX5299" fmla="*/ 826755 w 2077606"/>
              <a:gd name="connsiteY5299" fmla="*/ 311294 h 1786074"/>
              <a:gd name="connsiteX5300" fmla="*/ 830768 w 2077606"/>
              <a:gd name="connsiteY5300" fmla="*/ 313314 h 1786074"/>
              <a:gd name="connsiteX5301" fmla="*/ 830768 w 2077606"/>
              <a:gd name="connsiteY5301" fmla="*/ 321396 h 1786074"/>
              <a:gd name="connsiteX5302" fmla="*/ 824749 w 2077606"/>
              <a:gd name="connsiteY5302" fmla="*/ 323416 h 1786074"/>
              <a:gd name="connsiteX5303" fmla="*/ 820737 w 2077606"/>
              <a:gd name="connsiteY5303" fmla="*/ 323416 h 1786074"/>
              <a:gd name="connsiteX5304" fmla="*/ 814718 w 2077606"/>
              <a:gd name="connsiteY5304" fmla="*/ 327457 h 1786074"/>
              <a:gd name="connsiteX5305" fmla="*/ 814718 w 2077606"/>
              <a:gd name="connsiteY5305" fmla="*/ 333519 h 1786074"/>
              <a:gd name="connsiteX5306" fmla="*/ 816724 w 2077606"/>
              <a:gd name="connsiteY5306" fmla="*/ 341601 h 1786074"/>
              <a:gd name="connsiteX5307" fmla="*/ 812712 w 2077606"/>
              <a:gd name="connsiteY5307" fmla="*/ 341601 h 1786074"/>
              <a:gd name="connsiteX5308" fmla="*/ 806693 w 2077606"/>
              <a:gd name="connsiteY5308" fmla="*/ 343621 h 1786074"/>
              <a:gd name="connsiteX5309" fmla="*/ 810706 w 2077606"/>
              <a:gd name="connsiteY5309" fmla="*/ 347662 h 1786074"/>
              <a:gd name="connsiteX5310" fmla="*/ 806693 w 2077606"/>
              <a:gd name="connsiteY5310" fmla="*/ 349682 h 1786074"/>
              <a:gd name="connsiteX5311" fmla="*/ 802681 w 2077606"/>
              <a:gd name="connsiteY5311" fmla="*/ 353723 h 1786074"/>
              <a:gd name="connsiteX5312" fmla="*/ 794656 w 2077606"/>
              <a:gd name="connsiteY5312" fmla="*/ 353723 h 1786074"/>
              <a:gd name="connsiteX5313" fmla="*/ 792650 w 2077606"/>
              <a:gd name="connsiteY5313" fmla="*/ 351703 h 1786074"/>
              <a:gd name="connsiteX5314" fmla="*/ 784625 w 2077606"/>
              <a:gd name="connsiteY5314" fmla="*/ 355744 h 1786074"/>
              <a:gd name="connsiteX5315" fmla="*/ 778607 w 2077606"/>
              <a:gd name="connsiteY5315" fmla="*/ 365846 h 1786074"/>
              <a:gd name="connsiteX5316" fmla="*/ 774594 w 2077606"/>
              <a:gd name="connsiteY5316" fmla="*/ 369887 h 1786074"/>
              <a:gd name="connsiteX5317" fmla="*/ 768576 w 2077606"/>
              <a:gd name="connsiteY5317" fmla="*/ 369887 h 1786074"/>
              <a:gd name="connsiteX5318" fmla="*/ 766570 w 2077606"/>
              <a:gd name="connsiteY5318" fmla="*/ 363826 h 1786074"/>
              <a:gd name="connsiteX5319" fmla="*/ 760551 w 2077606"/>
              <a:gd name="connsiteY5319" fmla="*/ 359785 h 1786074"/>
              <a:gd name="connsiteX5320" fmla="*/ 762557 w 2077606"/>
              <a:gd name="connsiteY5320" fmla="*/ 353723 h 1786074"/>
              <a:gd name="connsiteX5321" fmla="*/ 764564 w 2077606"/>
              <a:gd name="connsiteY5321" fmla="*/ 351703 h 1786074"/>
              <a:gd name="connsiteX5322" fmla="*/ 764564 w 2077606"/>
              <a:gd name="connsiteY5322" fmla="*/ 347662 h 1786074"/>
              <a:gd name="connsiteX5323" fmla="*/ 764564 w 2077606"/>
              <a:gd name="connsiteY5323" fmla="*/ 343621 h 1786074"/>
              <a:gd name="connsiteX5324" fmla="*/ 760551 w 2077606"/>
              <a:gd name="connsiteY5324" fmla="*/ 347662 h 1786074"/>
              <a:gd name="connsiteX5325" fmla="*/ 756539 w 2077606"/>
              <a:gd name="connsiteY5325" fmla="*/ 351703 h 1786074"/>
              <a:gd name="connsiteX5326" fmla="*/ 754533 w 2077606"/>
              <a:gd name="connsiteY5326" fmla="*/ 357764 h 1786074"/>
              <a:gd name="connsiteX5327" fmla="*/ 748514 w 2077606"/>
              <a:gd name="connsiteY5327" fmla="*/ 361805 h 1786074"/>
              <a:gd name="connsiteX5328" fmla="*/ 744502 w 2077606"/>
              <a:gd name="connsiteY5328" fmla="*/ 367866 h 1786074"/>
              <a:gd name="connsiteX5329" fmla="*/ 738483 w 2077606"/>
              <a:gd name="connsiteY5329" fmla="*/ 371907 h 1786074"/>
              <a:gd name="connsiteX5330" fmla="*/ 732465 w 2077606"/>
              <a:gd name="connsiteY5330" fmla="*/ 375948 h 1786074"/>
              <a:gd name="connsiteX5331" fmla="*/ 726446 w 2077606"/>
              <a:gd name="connsiteY5331" fmla="*/ 373928 h 1786074"/>
              <a:gd name="connsiteX5332" fmla="*/ 724440 w 2077606"/>
              <a:gd name="connsiteY5332" fmla="*/ 379989 h 1786074"/>
              <a:gd name="connsiteX5333" fmla="*/ 722434 w 2077606"/>
              <a:gd name="connsiteY5333" fmla="*/ 384030 h 1786074"/>
              <a:gd name="connsiteX5334" fmla="*/ 718421 w 2077606"/>
              <a:gd name="connsiteY5334" fmla="*/ 388071 h 1786074"/>
              <a:gd name="connsiteX5335" fmla="*/ 714409 w 2077606"/>
              <a:gd name="connsiteY5335" fmla="*/ 390091 h 1786074"/>
              <a:gd name="connsiteX5336" fmla="*/ 710396 w 2077606"/>
              <a:gd name="connsiteY5336" fmla="*/ 392112 h 1786074"/>
              <a:gd name="connsiteX5337" fmla="*/ 704378 w 2077606"/>
              <a:gd name="connsiteY5337" fmla="*/ 390091 h 1786074"/>
              <a:gd name="connsiteX5338" fmla="*/ 700366 w 2077606"/>
              <a:gd name="connsiteY5338" fmla="*/ 388071 h 1786074"/>
              <a:gd name="connsiteX5339" fmla="*/ 700366 w 2077606"/>
              <a:gd name="connsiteY5339" fmla="*/ 382010 h 1786074"/>
              <a:gd name="connsiteX5340" fmla="*/ 700366 w 2077606"/>
              <a:gd name="connsiteY5340" fmla="*/ 375948 h 1786074"/>
              <a:gd name="connsiteX5341" fmla="*/ 698359 w 2077606"/>
              <a:gd name="connsiteY5341" fmla="*/ 369887 h 1786074"/>
              <a:gd name="connsiteX5342" fmla="*/ 694347 w 2077606"/>
              <a:gd name="connsiteY5342" fmla="*/ 373928 h 1786074"/>
              <a:gd name="connsiteX5343" fmla="*/ 692341 w 2077606"/>
              <a:gd name="connsiteY5343" fmla="*/ 375948 h 1786074"/>
              <a:gd name="connsiteX5344" fmla="*/ 692341 w 2077606"/>
              <a:gd name="connsiteY5344" fmla="*/ 379989 h 1786074"/>
              <a:gd name="connsiteX5345" fmla="*/ 692341 w 2077606"/>
              <a:gd name="connsiteY5345" fmla="*/ 386051 h 1786074"/>
              <a:gd name="connsiteX5346" fmla="*/ 682310 w 2077606"/>
              <a:gd name="connsiteY5346" fmla="*/ 384030 h 1786074"/>
              <a:gd name="connsiteX5347" fmla="*/ 674285 w 2077606"/>
              <a:gd name="connsiteY5347" fmla="*/ 379989 h 1786074"/>
              <a:gd name="connsiteX5348" fmla="*/ 672279 w 2077606"/>
              <a:gd name="connsiteY5348" fmla="*/ 382010 h 1786074"/>
              <a:gd name="connsiteX5349" fmla="*/ 668267 w 2077606"/>
              <a:gd name="connsiteY5349" fmla="*/ 386051 h 1786074"/>
              <a:gd name="connsiteX5350" fmla="*/ 666260 w 2077606"/>
              <a:gd name="connsiteY5350" fmla="*/ 384030 h 1786074"/>
              <a:gd name="connsiteX5351" fmla="*/ 658236 w 2077606"/>
              <a:gd name="connsiteY5351" fmla="*/ 388071 h 1786074"/>
              <a:gd name="connsiteX5352" fmla="*/ 656229 w 2077606"/>
              <a:gd name="connsiteY5352" fmla="*/ 379989 h 1786074"/>
              <a:gd name="connsiteX5353" fmla="*/ 658236 w 2077606"/>
              <a:gd name="connsiteY5353" fmla="*/ 373928 h 1786074"/>
              <a:gd name="connsiteX5354" fmla="*/ 658236 w 2077606"/>
              <a:gd name="connsiteY5354" fmla="*/ 369887 h 1786074"/>
              <a:gd name="connsiteX5355" fmla="*/ 666260 w 2077606"/>
              <a:gd name="connsiteY5355" fmla="*/ 363826 h 1786074"/>
              <a:gd name="connsiteX5356" fmla="*/ 678297 w 2077606"/>
              <a:gd name="connsiteY5356" fmla="*/ 361805 h 1786074"/>
              <a:gd name="connsiteX5357" fmla="*/ 684316 w 2077606"/>
              <a:gd name="connsiteY5357" fmla="*/ 363826 h 1786074"/>
              <a:gd name="connsiteX5358" fmla="*/ 688328 w 2077606"/>
              <a:gd name="connsiteY5358" fmla="*/ 363826 h 1786074"/>
              <a:gd name="connsiteX5359" fmla="*/ 690335 w 2077606"/>
              <a:gd name="connsiteY5359" fmla="*/ 361805 h 1786074"/>
              <a:gd name="connsiteX5360" fmla="*/ 694347 w 2077606"/>
              <a:gd name="connsiteY5360" fmla="*/ 353723 h 1786074"/>
              <a:gd name="connsiteX5361" fmla="*/ 704378 w 2077606"/>
              <a:gd name="connsiteY5361" fmla="*/ 347662 h 1786074"/>
              <a:gd name="connsiteX5362" fmla="*/ 710396 w 2077606"/>
              <a:gd name="connsiteY5362" fmla="*/ 345641 h 1786074"/>
              <a:gd name="connsiteX5363" fmla="*/ 718421 w 2077606"/>
              <a:gd name="connsiteY5363" fmla="*/ 341601 h 1786074"/>
              <a:gd name="connsiteX5364" fmla="*/ 722434 w 2077606"/>
              <a:gd name="connsiteY5364" fmla="*/ 337560 h 1786074"/>
              <a:gd name="connsiteX5365" fmla="*/ 724440 w 2077606"/>
              <a:gd name="connsiteY5365" fmla="*/ 333519 h 1786074"/>
              <a:gd name="connsiteX5366" fmla="*/ 728452 w 2077606"/>
              <a:gd name="connsiteY5366" fmla="*/ 327457 h 1786074"/>
              <a:gd name="connsiteX5367" fmla="*/ 734471 w 2077606"/>
              <a:gd name="connsiteY5367" fmla="*/ 327457 h 1786074"/>
              <a:gd name="connsiteX5368" fmla="*/ 750520 w 2077606"/>
              <a:gd name="connsiteY5368" fmla="*/ 315335 h 1786074"/>
              <a:gd name="connsiteX5369" fmla="*/ 766570 w 2077606"/>
              <a:gd name="connsiteY5369" fmla="*/ 313314 h 1786074"/>
              <a:gd name="connsiteX5370" fmla="*/ 774594 w 2077606"/>
              <a:gd name="connsiteY5370" fmla="*/ 313314 h 1786074"/>
              <a:gd name="connsiteX5371" fmla="*/ 780613 w 2077606"/>
              <a:gd name="connsiteY5371" fmla="*/ 311294 h 1786074"/>
              <a:gd name="connsiteX5372" fmla="*/ 786632 w 2077606"/>
              <a:gd name="connsiteY5372" fmla="*/ 315335 h 1786074"/>
              <a:gd name="connsiteX5373" fmla="*/ 790644 w 2077606"/>
              <a:gd name="connsiteY5373" fmla="*/ 315335 h 1786074"/>
              <a:gd name="connsiteX5374" fmla="*/ 796663 w 2077606"/>
              <a:gd name="connsiteY5374" fmla="*/ 315335 h 1786074"/>
              <a:gd name="connsiteX5375" fmla="*/ 800675 w 2077606"/>
              <a:gd name="connsiteY5375" fmla="*/ 315335 h 1786074"/>
              <a:gd name="connsiteX5376" fmla="*/ 802681 w 2077606"/>
              <a:gd name="connsiteY5376" fmla="*/ 317355 h 1786074"/>
              <a:gd name="connsiteX5377" fmla="*/ 802681 w 2077606"/>
              <a:gd name="connsiteY5377" fmla="*/ 313314 h 1786074"/>
              <a:gd name="connsiteX5378" fmla="*/ 802681 w 2077606"/>
              <a:gd name="connsiteY5378" fmla="*/ 307253 h 1786074"/>
              <a:gd name="connsiteX5379" fmla="*/ 806693 w 2077606"/>
              <a:gd name="connsiteY5379" fmla="*/ 307253 h 1786074"/>
              <a:gd name="connsiteX5380" fmla="*/ 812712 w 2077606"/>
              <a:gd name="connsiteY5380" fmla="*/ 305232 h 1786074"/>
              <a:gd name="connsiteX5381" fmla="*/ 815972 w 2077606"/>
              <a:gd name="connsiteY5381" fmla="*/ 304727 h 1786074"/>
              <a:gd name="connsiteX5382" fmla="*/ 1279280 w 2077606"/>
              <a:gd name="connsiteY5382" fmla="*/ 297259 h 1786074"/>
              <a:gd name="connsiteX5383" fmla="*/ 1281301 w 2077606"/>
              <a:gd name="connsiteY5383" fmla="*/ 299244 h 1786074"/>
              <a:gd name="connsiteX5384" fmla="*/ 1289382 w 2077606"/>
              <a:gd name="connsiteY5384" fmla="*/ 299244 h 1786074"/>
              <a:gd name="connsiteX5385" fmla="*/ 1299485 w 2077606"/>
              <a:gd name="connsiteY5385" fmla="*/ 299244 h 1786074"/>
              <a:gd name="connsiteX5386" fmla="*/ 1307566 w 2077606"/>
              <a:gd name="connsiteY5386" fmla="*/ 299244 h 1786074"/>
              <a:gd name="connsiteX5387" fmla="*/ 1317669 w 2077606"/>
              <a:gd name="connsiteY5387" fmla="*/ 299244 h 1786074"/>
              <a:gd name="connsiteX5388" fmla="*/ 1321710 w 2077606"/>
              <a:gd name="connsiteY5388" fmla="*/ 303212 h 1786074"/>
              <a:gd name="connsiteX5389" fmla="*/ 1317669 w 2077606"/>
              <a:gd name="connsiteY5389" fmla="*/ 311150 h 1786074"/>
              <a:gd name="connsiteX5390" fmla="*/ 1315648 w 2077606"/>
              <a:gd name="connsiteY5390" fmla="*/ 317103 h 1786074"/>
              <a:gd name="connsiteX5391" fmla="*/ 1309587 w 2077606"/>
              <a:gd name="connsiteY5391" fmla="*/ 315118 h 1786074"/>
              <a:gd name="connsiteX5392" fmla="*/ 1303526 w 2077606"/>
              <a:gd name="connsiteY5392" fmla="*/ 317103 h 1786074"/>
              <a:gd name="connsiteX5393" fmla="*/ 1297464 w 2077606"/>
              <a:gd name="connsiteY5393" fmla="*/ 313134 h 1786074"/>
              <a:gd name="connsiteX5394" fmla="*/ 1291403 w 2077606"/>
              <a:gd name="connsiteY5394" fmla="*/ 313134 h 1786074"/>
              <a:gd name="connsiteX5395" fmla="*/ 1281301 w 2077606"/>
              <a:gd name="connsiteY5395" fmla="*/ 313134 h 1786074"/>
              <a:gd name="connsiteX5396" fmla="*/ 1277260 w 2077606"/>
              <a:gd name="connsiteY5396" fmla="*/ 313134 h 1786074"/>
              <a:gd name="connsiteX5397" fmla="*/ 1271198 w 2077606"/>
              <a:gd name="connsiteY5397" fmla="*/ 313134 h 1786074"/>
              <a:gd name="connsiteX5398" fmla="*/ 1263116 w 2077606"/>
              <a:gd name="connsiteY5398" fmla="*/ 315118 h 1786074"/>
              <a:gd name="connsiteX5399" fmla="*/ 1257055 w 2077606"/>
              <a:gd name="connsiteY5399" fmla="*/ 309165 h 1786074"/>
              <a:gd name="connsiteX5400" fmla="*/ 1259076 w 2077606"/>
              <a:gd name="connsiteY5400" fmla="*/ 305197 h 1786074"/>
              <a:gd name="connsiteX5401" fmla="*/ 1263116 w 2077606"/>
              <a:gd name="connsiteY5401" fmla="*/ 303212 h 1786074"/>
              <a:gd name="connsiteX5402" fmla="*/ 1263116 w 2077606"/>
              <a:gd name="connsiteY5402" fmla="*/ 301228 h 1786074"/>
              <a:gd name="connsiteX5403" fmla="*/ 1269178 w 2077606"/>
              <a:gd name="connsiteY5403" fmla="*/ 299244 h 1786074"/>
              <a:gd name="connsiteX5404" fmla="*/ 1275239 w 2077606"/>
              <a:gd name="connsiteY5404" fmla="*/ 299244 h 1786074"/>
              <a:gd name="connsiteX5405" fmla="*/ 1279280 w 2077606"/>
              <a:gd name="connsiteY5405" fmla="*/ 297259 h 1786074"/>
              <a:gd name="connsiteX5406" fmla="*/ 1048299 w 2077606"/>
              <a:gd name="connsiteY5406" fmla="*/ 293687 h 1786074"/>
              <a:gd name="connsiteX5407" fmla="*/ 1052268 w 2077606"/>
              <a:gd name="connsiteY5407" fmla="*/ 293687 h 1786074"/>
              <a:gd name="connsiteX5408" fmla="*/ 1064174 w 2077606"/>
              <a:gd name="connsiteY5408" fmla="*/ 301531 h 1786074"/>
              <a:gd name="connsiteX5409" fmla="*/ 1068143 w 2077606"/>
              <a:gd name="connsiteY5409" fmla="*/ 307414 h 1786074"/>
              <a:gd name="connsiteX5410" fmla="*/ 1072111 w 2077606"/>
              <a:gd name="connsiteY5410" fmla="*/ 313297 h 1786074"/>
              <a:gd name="connsiteX5411" fmla="*/ 1076080 w 2077606"/>
              <a:gd name="connsiteY5411" fmla="*/ 323102 h 1786074"/>
              <a:gd name="connsiteX5412" fmla="*/ 1064174 w 2077606"/>
              <a:gd name="connsiteY5412" fmla="*/ 323102 h 1786074"/>
              <a:gd name="connsiteX5413" fmla="*/ 1060205 w 2077606"/>
              <a:gd name="connsiteY5413" fmla="*/ 319180 h 1786074"/>
              <a:gd name="connsiteX5414" fmla="*/ 1056236 w 2077606"/>
              <a:gd name="connsiteY5414" fmla="*/ 313297 h 1786074"/>
              <a:gd name="connsiteX5415" fmla="*/ 1052268 w 2077606"/>
              <a:gd name="connsiteY5415" fmla="*/ 305453 h 1786074"/>
              <a:gd name="connsiteX5416" fmla="*/ 1046314 w 2077606"/>
              <a:gd name="connsiteY5416" fmla="*/ 299570 h 1786074"/>
              <a:gd name="connsiteX5417" fmla="*/ 1048299 w 2077606"/>
              <a:gd name="connsiteY5417" fmla="*/ 293687 h 1786074"/>
              <a:gd name="connsiteX5418" fmla="*/ 1141565 w 2077606"/>
              <a:gd name="connsiteY5418" fmla="*/ 286146 h 1786074"/>
              <a:gd name="connsiteX5419" fmla="*/ 1149502 w 2077606"/>
              <a:gd name="connsiteY5419" fmla="*/ 286146 h 1786074"/>
              <a:gd name="connsiteX5420" fmla="*/ 1155455 w 2077606"/>
              <a:gd name="connsiteY5420" fmla="*/ 294084 h 1786074"/>
              <a:gd name="connsiteX5421" fmla="*/ 1149502 w 2077606"/>
              <a:gd name="connsiteY5421" fmla="*/ 296068 h 1786074"/>
              <a:gd name="connsiteX5422" fmla="*/ 1145533 w 2077606"/>
              <a:gd name="connsiteY5422" fmla="*/ 294084 h 1786074"/>
              <a:gd name="connsiteX5423" fmla="*/ 1143549 w 2077606"/>
              <a:gd name="connsiteY5423" fmla="*/ 294084 h 1786074"/>
              <a:gd name="connsiteX5424" fmla="*/ 1137596 w 2077606"/>
              <a:gd name="connsiteY5424" fmla="*/ 296068 h 1786074"/>
              <a:gd name="connsiteX5425" fmla="*/ 1135611 w 2077606"/>
              <a:gd name="connsiteY5425" fmla="*/ 300037 h 1786074"/>
              <a:gd name="connsiteX5426" fmla="*/ 1133627 w 2077606"/>
              <a:gd name="connsiteY5426" fmla="*/ 298053 h 1786074"/>
              <a:gd name="connsiteX5427" fmla="*/ 1131643 w 2077606"/>
              <a:gd name="connsiteY5427" fmla="*/ 296068 h 1786074"/>
              <a:gd name="connsiteX5428" fmla="*/ 1123705 w 2077606"/>
              <a:gd name="connsiteY5428" fmla="*/ 294084 h 1786074"/>
              <a:gd name="connsiteX5429" fmla="*/ 1125690 w 2077606"/>
              <a:gd name="connsiteY5429" fmla="*/ 290115 h 1786074"/>
              <a:gd name="connsiteX5430" fmla="*/ 1129658 w 2077606"/>
              <a:gd name="connsiteY5430" fmla="*/ 290115 h 1786074"/>
              <a:gd name="connsiteX5431" fmla="*/ 1141565 w 2077606"/>
              <a:gd name="connsiteY5431" fmla="*/ 286146 h 1786074"/>
              <a:gd name="connsiteX5432" fmla="*/ 862561 w 2077606"/>
              <a:gd name="connsiteY5432" fmla="*/ 280987 h 1786074"/>
              <a:gd name="connsiteX5433" fmla="*/ 866530 w 2077606"/>
              <a:gd name="connsiteY5433" fmla="*/ 280987 h 1786074"/>
              <a:gd name="connsiteX5434" fmla="*/ 872483 w 2077606"/>
              <a:gd name="connsiteY5434" fmla="*/ 285220 h 1786074"/>
              <a:gd name="connsiteX5435" fmla="*/ 878436 w 2077606"/>
              <a:gd name="connsiteY5435" fmla="*/ 287337 h 1786074"/>
              <a:gd name="connsiteX5436" fmla="*/ 878436 w 2077606"/>
              <a:gd name="connsiteY5436" fmla="*/ 293687 h 1786074"/>
              <a:gd name="connsiteX5437" fmla="*/ 874468 w 2077606"/>
              <a:gd name="connsiteY5437" fmla="*/ 293687 h 1786074"/>
              <a:gd name="connsiteX5438" fmla="*/ 868514 w 2077606"/>
              <a:gd name="connsiteY5438" fmla="*/ 300037 h 1786074"/>
              <a:gd name="connsiteX5439" fmla="*/ 862561 w 2077606"/>
              <a:gd name="connsiteY5439" fmla="*/ 295804 h 1786074"/>
              <a:gd name="connsiteX5440" fmla="*/ 856608 w 2077606"/>
              <a:gd name="connsiteY5440" fmla="*/ 291570 h 1786074"/>
              <a:gd name="connsiteX5441" fmla="*/ 850655 w 2077606"/>
              <a:gd name="connsiteY5441" fmla="*/ 287337 h 1786074"/>
              <a:gd name="connsiteX5442" fmla="*/ 852639 w 2077606"/>
              <a:gd name="connsiteY5442" fmla="*/ 285220 h 1786074"/>
              <a:gd name="connsiteX5443" fmla="*/ 858593 w 2077606"/>
              <a:gd name="connsiteY5443" fmla="*/ 283104 h 1786074"/>
              <a:gd name="connsiteX5444" fmla="*/ 862561 w 2077606"/>
              <a:gd name="connsiteY5444" fmla="*/ 280987 h 1786074"/>
              <a:gd name="connsiteX5445" fmla="*/ 937414 w 2077606"/>
              <a:gd name="connsiteY5445" fmla="*/ 278227 h 1786074"/>
              <a:gd name="connsiteX5446" fmla="*/ 943395 w 2077606"/>
              <a:gd name="connsiteY5446" fmla="*/ 278227 h 1786074"/>
              <a:gd name="connsiteX5447" fmla="*/ 949375 w 2077606"/>
              <a:gd name="connsiteY5447" fmla="*/ 280228 h 1786074"/>
              <a:gd name="connsiteX5448" fmla="*/ 951369 w 2077606"/>
              <a:gd name="connsiteY5448" fmla="*/ 278227 h 1786074"/>
              <a:gd name="connsiteX5449" fmla="*/ 957350 w 2077606"/>
              <a:gd name="connsiteY5449" fmla="*/ 278227 h 1786074"/>
              <a:gd name="connsiteX5450" fmla="*/ 965324 w 2077606"/>
              <a:gd name="connsiteY5450" fmla="*/ 278227 h 1786074"/>
              <a:gd name="connsiteX5451" fmla="*/ 969311 w 2077606"/>
              <a:gd name="connsiteY5451" fmla="*/ 284231 h 1786074"/>
              <a:gd name="connsiteX5452" fmla="*/ 965324 w 2077606"/>
              <a:gd name="connsiteY5452" fmla="*/ 288235 h 1786074"/>
              <a:gd name="connsiteX5453" fmla="*/ 965324 w 2077606"/>
              <a:gd name="connsiteY5453" fmla="*/ 290236 h 1786074"/>
              <a:gd name="connsiteX5454" fmla="*/ 959343 w 2077606"/>
              <a:gd name="connsiteY5454" fmla="*/ 288235 h 1786074"/>
              <a:gd name="connsiteX5455" fmla="*/ 949375 w 2077606"/>
              <a:gd name="connsiteY5455" fmla="*/ 288235 h 1786074"/>
              <a:gd name="connsiteX5456" fmla="*/ 945388 w 2077606"/>
              <a:gd name="connsiteY5456" fmla="*/ 286233 h 1786074"/>
              <a:gd name="connsiteX5457" fmla="*/ 943395 w 2077606"/>
              <a:gd name="connsiteY5457" fmla="*/ 290236 h 1786074"/>
              <a:gd name="connsiteX5458" fmla="*/ 935420 w 2077606"/>
              <a:gd name="connsiteY5458" fmla="*/ 292238 h 1786074"/>
              <a:gd name="connsiteX5459" fmla="*/ 931433 w 2077606"/>
              <a:gd name="connsiteY5459" fmla="*/ 296241 h 1786074"/>
              <a:gd name="connsiteX5460" fmla="*/ 937414 w 2077606"/>
              <a:gd name="connsiteY5460" fmla="*/ 296241 h 1786074"/>
              <a:gd name="connsiteX5461" fmla="*/ 941401 w 2077606"/>
              <a:gd name="connsiteY5461" fmla="*/ 298243 h 1786074"/>
              <a:gd name="connsiteX5462" fmla="*/ 945388 w 2077606"/>
              <a:gd name="connsiteY5462" fmla="*/ 298243 h 1786074"/>
              <a:gd name="connsiteX5463" fmla="*/ 949375 w 2077606"/>
              <a:gd name="connsiteY5463" fmla="*/ 300244 h 1786074"/>
              <a:gd name="connsiteX5464" fmla="*/ 953363 w 2077606"/>
              <a:gd name="connsiteY5464" fmla="*/ 298243 h 1786074"/>
              <a:gd name="connsiteX5465" fmla="*/ 955356 w 2077606"/>
              <a:gd name="connsiteY5465" fmla="*/ 296241 h 1786074"/>
              <a:gd name="connsiteX5466" fmla="*/ 955356 w 2077606"/>
              <a:gd name="connsiteY5466" fmla="*/ 304247 h 1786074"/>
              <a:gd name="connsiteX5467" fmla="*/ 957350 w 2077606"/>
              <a:gd name="connsiteY5467" fmla="*/ 308251 h 1786074"/>
              <a:gd name="connsiteX5468" fmla="*/ 947382 w 2077606"/>
              <a:gd name="connsiteY5468" fmla="*/ 312254 h 1786074"/>
              <a:gd name="connsiteX5469" fmla="*/ 935420 w 2077606"/>
              <a:gd name="connsiteY5469" fmla="*/ 316257 h 1786074"/>
              <a:gd name="connsiteX5470" fmla="*/ 927446 w 2077606"/>
              <a:gd name="connsiteY5470" fmla="*/ 314256 h 1786074"/>
              <a:gd name="connsiteX5471" fmla="*/ 923459 w 2077606"/>
              <a:gd name="connsiteY5471" fmla="*/ 312254 h 1786074"/>
              <a:gd name="connsiteX5472" fmla="*/ 917478 w 2077606"/>
              <a:gd name="connsiteY5472" fmla="*/ 314256 h 1786074"/>
              <a:gd name="connsiteX5473" fmla="*/ 915484 w 2077606"/>
              <a:gd name="connsiteY5473" fmla="*/ 318259 h 1786074"/>
              <a:gd name="connsiteX5474" fmla="*/ 909503 w 2077606"/>
              <a:gd name="connsiteY5474" fmla="*/ 320260 h 1786074"/>
              <a:gd name="connsiteX5475" fmla="*/ 899535 w 2077606"/>
              <a:gd name="connsiteY5475" fmla="*/ 316257 h 1786074"/>
              <a:gd name="connsiteX5476" fmla="*/ 889567 w 2077606"/>
              <a:gd name="connsiteY5476" fmla="*/ 310252 h 1786074"/>
              <a:gd name="connsiteX5477" fmla="*/ 885580 w 2077606"/>
              <a:gd name="connsiteY5477" fmla="*/ 304247 h 1786074"/>
              <a:gd name="connsiteX5478" fmla="*/ 887574 w 2077606"/>
              <a:gd name="connsiteY5478" fmla="*/ 300244 h 1786074"/>
              <a:gd name="connsiteX5479" fmla="*/ 889567 w 2077606"/>
              <a:gd name="connsiteY5479" fmla="*/ 294239 h 1786074"/>
              <a:gd name="connsiteX5480" fmla="*/ 891561 w 2077606"/>
              <a:gd name="connsiteY5480" fmla="*/ 290236 h 1786074"/>
              <a:gd name="connsiteX5481" fmla="*/ 893554 w 2077606"/>
              <a:gd name="connsiteY5481" fmla="*/ 286233 h 1786074"/>
              <a:gd name="connsiteX5482" fmla="*/ 899535 w 2077606"/>
              <a:gd name="connsiteY5482" fmla="*/ 282230 h 1786074"/>
              <a:gd name="connsiteX5483" fmla="*/ 905516 w 2077606"/>
              <a:gd name="connsiteY5483" fmla="*/ 282230 h 1786074"/>
              <a:gd name="connsiteX5484" fmla="*/ 911497 w 2077606"/>
              <a:gd name="connsiteY5484" fmla="*/ 280228 h 1786074"/>
              <a:gd name="connsiteX5485" fmla="*/ 917478 w 2077606"/>
              <a:gd name="connsiteY5485" fmla="*/ 282230 h 1786074"/>
              <a:gd name="connsiteX5486" fmla="*/ 921465 w 2077606"/>
              <a:gd name="connsiteY5486" fmla="*/ 280228 h 1786074"/>
              <a:gd name="connsiteX5487" fmla="*/ 923459 w 2077606"/>
              <a:gd name="connsiteY5487" fmla="*/ 280228 h 1786074"/>
              <a:gd name="connsiteX5488" fmla="*/ 927446 w 2077606"/>
              <a:gd name="connsiteY5488" fmla="*/ 282230 h 1786074"/>
              <a:gd name="connsiteX5489" fmla="*/ 931433 w 2077606"/>
              <a:gd name="connsiteY5489" fmla="*/ 282230 h 1786074"/>
              <a:gd name="connsiteX5490" fmla="*/ 937414 w 2077606"/>
              <a:gd name="connsiteY5490" fmla="*/ 278227 h 1786074"/>
              <a:gd name="connsiteX5491" fmla="*/ 1301187 w 2077606"/>
              <a:gd name="connsiteY5491" fmla="*/ 269875 h 1786074"/>
              <a:gd name="connsiteX5492" fmla="*/ 1305633 w 2077606"/>
              <a:gd name="connsiteY5492" fmla="*/ 275828 h 1786074"/>
              <a:gd name="connsiteX5493" fmla="*/ 1298965 w 2077606"/>
              <a:gd name="connsiteY5493" fmla="*/ 275828 h 1786074"/>
              <a:gd name="connsiteX5494" fmla="*/ 1296742 w 2077606"/>
              <a:gd name="connsiteY5494" fmla="*/ 271859 h 1786074"/>
              <a:gd name="connsiteX5495" fmla="*/ 1301187 w 2077606"/>
              <a:gd name="connsiteY5495" fmla="*/ 269875 h 1786074"/>
              <a:gd name="connsiteX5496" fmla="*/ 1081724 w 2077606"/>
              <a:gd name="connsiteY5496" fmla="*/ 251313 h 1786074"/>
              <a:gd name="connsiteX5497" fmla="*/ 1085781 w 2077606"/>
              <a:gd name="connsiteY5497" fmla="*/ 253389 h 1786074"/>
              <a:gd name="connsiteX5498" fmla="*/ 1093895 w 2077606"/>
              <a:gd name="connsiteY5498" fmla="*/ 255465 h 1786074"/>
              <a:gd name="connsiteX5499" fmla="*/ 1099981 w 2077606"/>
              <a:gd name="connsiteY5499" fmla="*/ 257541 h 1786074"/>
              <a:gd name="connsiteX5500" fmla="*/ 1106066 w 2077606"/>
              <a:gd name="connsiteY5500" fmla="*/ 257541 h 1786074"/>
              <a:gd name="connsiteX5501" fmla="*/ 1112152 w 2077606"/>
              <a:gd name="connsiteY5501" fmla="*/ 265844 h 1786074"/>
              <a:gd name="connsiteX5502" fmla="*/ 1106066 w 2077606"/>
              <a:gd name="connsiteY5502" fmla="*/ 267920 h 1786074"/>
              <a:gd name="connsiteX5503" fmla="*/ 1099981 w 2077606"/>
              <a:gd name="connsiteY5503" fmla="*/ 272072 h 1786074"/>
              <a:gd name="connsiteX5504" fmla="*/ 1091867 w 2077606"/>
              <a:gd name="connsiteY5504" fmla="*/ 269996 h 1786074"/>
              <a:gd name="connsiteX5505" fmla="*/ 1083753 w 2077606"/>
              <a:gd name="connsiteY5505" fmla="*/ 265844 h 1786074"/>
              <a:gd name="connsiteX5506" fmla="*/ 1077667 w 2077606"/>
              <a:gd name="connsiteY5506" fmla="*/ 255465 h 1786074"/>
              <a:gd name="connsiteX5507" fmla="*/ 1081724 w 2077606"/>
              <a:gd name="connsiteY5507" fmla="*/ 251313 h 1786074"/>
              <a:gd name="connsiteX5508" fmla="*/ 961553 w 2077606"/>
              <a:gd name="connsiteY5508" fmla="*/ 239712 h 1786074"/>
              <a:gd name="connsiteX5509" fmla="*/ 969415 w 2077606"/>
              <a:gd name="connsiteY5509" fmla="*/ 243681 h 1786074"/>
              <a:gd name="connsiteX5510" fmla="*/ 977277 w 2077606"/>
              <a:gd name="connsiteY5510" fmla="*/ 251618 h 1786074"/>
              <a:gd name="connsiteX5511" fmla="*/ 977277 w 2077606"/>
              <a:gd name="connsiteY5511" fmla="*/ 257571 h 1786074"/>
              <a:gd name="connsiteX5512" fmla="*/ 977277 w 2077606"/>
              <a:gd name="connsiteY5512" fmla="*/ 259556 h 1786074"/>
              <a:gd name="connsiteX5513" fmla="*/ 977277 w 2077606"/>
              <a:gd name="connsiteY5513" fmla="*/ 267493 h 1786074"/>
              <a:gd name="connsiteX5514" fmla="*/ 971380 w 2077606"/>
              <a:gd name="connsiteY5514" fmla="*/ 269478 h 1786074"/>
              <a:gd name="connsiteX5515" fmla="*/ 967449 w 2077606"/>
              <a:gd name="connsiteY5515" fmla="*/ 267493 h 1786074"/>
              <a:gd name="connsiteX5516" fmla="*/ 957622 w 2077606"/>
              <a:gd name="connsiteY5516" fmla="*/ 267493 h 1786074"/>
              <a:gd name="connsiteX5517" fmla="*/ 949760 w 2077606"/>
              <a:gd name="connsiteY5517" fmla="*/ 261540 h 1786074"/>
              <a:gd name="connsiteX5518" fmla="*/ 945829 w 2077606"/>
              <a:gd name="connsiteY5518" fmla="*/ 263524 h 1786074"/>
              <a:gd name="connsiteX5519" fmla="*/ 943863 w 2077606"/>
              <a:gd name="connsiteY5519" fmla="*/ 265509 h 1786074"/>
              <a:gd name="connsiteX5520" fmla="*/ 941898 w 2077606"/>
              <a:gd name="connsiteY5520" fmla="*/ 267493 h 1786074"/>
              <a:gd name="connsiteX5521" fmla="*/ 936002 w 2077606"/>
              <a:gd name="connsiteY5521" fmla="*/ 269478 h 1786074"/>
              <a:gd name="connsiteX5522" fmla="*/ 926174 w 2077606"/>
              <a:gd name="connsiteY5522" fmla="*/ 265509 h 1786074"/>
              <a:gd name="connsiteX5523" fmla="*/ 920278 w 2077606"/>
              <a:gd name="connsiteY5523" fmla="*/ 259556 h 1786074"/>
              <a:gd name="connsiteX5524" fmla="*/ 914381 w 2077606"/>
              <a:gd name="connsiteY5524" fmla="*/ 261540 h 1786074"/>
              <a:gd name="connsiteX5525" fmla="*/ 912416 w 2077606"/>
              <a:gd name="connsiteY5525" fmla="*/ 265509 h 1786074"/>
              <a:gd name="connsiteX5526" fmla="*/ 908485 w 2077606"/>
              <a:gd name="connsiteY5526" fmla="*/ 267493 h 1786074"/>
              <a:gd name="connsiteX5527" fmla="*/ 902588 w 2077606"/>
              <a:gd name="connsiteY5527" fmla="*/ 267493 h 1786074"/>
              <a:gd name="connsiteX5528" fmla="*/ 900623 w 2077606"/>
              <a:gd name="connsiteY5528" fmla="*/ 269478 h 1786074"/>
              <a:gd name="connsiteX5529" fmla="*/ 898658 w 2077606"/>
              <a:gd name="connsiteY5529" fmla="*/ 269478 h 1786074"/>
              <a:gd name="connsiteX5530" fmla="*/ 898658 w 2077606"/>
              <a:gd name="connsiteY5530" fmla="*/ 263524 h 1786074"/>
              <a:gd name="connsiteX5531" fmla="*/ 900623 w 2077606"/>
              <a:gd name="connsiteY5531" fmla="*/ 259556 h 1786074"/>
              <a:gd name="connsiteX5532" fmla="*/ 902588 w 2077606"/>
              <a:gd name="connsiteY5532" fmla="*/ 255587 h 1786074"/>
              <a:gd name="connsiteX5533" fmla="*/ 908485 w 2077606"/>
              <a:gd name="connsiteY5533" fmla="*/ 257571 h 1786074"/>
              <a:gd name="connsiteX5534" fmla="*/ 914381 w 2077606"/>
              <a:gd name="connsiteY5534" fmla="*/ 255587 h 1786074"/>
              <a:gd name="connsiteX5535" fmla="*/ 922243 w 2077606"/>
              <a:gd name="connsiteY5535" fmla="*/ 253603 h 1786074"/>
              <a:gd name="connsiteX5536" fmla="*/ 932071 w 2077606"/>
              <a:gd name="connsiteY5536" fmla="*/ 253603 h 1786074"/>
              <a:gd name="connsiteX5537" fmla="*/ 939933 w 2077606"/>
              <a:gd name="connsiteY5537" fmla="*/ 251618 h 1786074"/>
              <a:gd name="connsiteX5538" fmla="*/ 945829 w 2077606"/>
              <a:gd name="connsiteY5538" fmla="*/ 247649 h 1786074"/>
              <a:gd name="connsiteX5539" fmla="*/ 949760 w 2077606"/>
              <a:gd name="connsiteY5539" fmla="*/ 243681 h 1786074"/>
              <a:gd name="connsiteX5540" fmla="*/ 961553 w 2077606"/>
              <a:gd name="connsiteY5540" fmla="*/ 239712 h 1786074"/>
              <a:gd name="connsiteX5541" fmla="*/ 1233639 w 2077606"/>
              <a:gd name="connsiteY5541" fmla="*/ 233362 h 1786074"/>
              <a:gd name="connsiteX5542" fmla="*/ 1243561 w 2077606"/>
              <a:gd name="connsiteY5542" fmla="*/ 233362 h 1786074"/>
              <a:gd name="connsiteX5543" fmla="*/ 1249514 w 2077606"/>
              <a:gd name="connsiteY5543" fmla="*/ 235370 h 1786074"/>
              <a:gd name="connsiteX5544" fmla="*/ 1253483 w 2077606"/>
              <a:gd name="connsiteY5544" fmla="*/ 239385 h 1786074"/>
              <a:gd name="connsiteX5545" fmla="*/ 1257452 w 2077606"/>
              <a:gd name="connsiteY5545" fmla="*/ 241393 h 1786074"/>
              <a:gd name="connsiteX5546" fmla="*/ 1263405 w 2077606"/>
              <a:gd name="connsiteY5546" fmla="*/ 245408 h 1786074"/>
              <a:gd name="connsiteX5547" fmla="*/ 1269358 w 2077606"/>
              <a:gd name="connsiteY5547" fmla="*/ 251431 h 1786074"/>
              <a:gd name="connsiteX5548" fmla="*/ 1275311 w 2077606"/>
              <a:gd name="connsiteY5548" fmla="*/ 255447 h 1786074"/>
              <a:gd name="connsiteX5549" fmla="*/ 1283249 w 2077606"/>
              <a:gd name="connsiteY5549" fmla="*/ 257454 h 1786074"/>
              <a:gd name="connsiteX5550" fmla="*/ 1293171 w 2077606"/>
              <a:gd name="connsiteY5550" fmla="*/ 259462 h 1786074"/>
              <a:gd name="connsiteX5551" fmla="*/ 1291186 w 2077606"/>
              <a:gd name="connsiteY5551" fmla="*/ 269501 h 1786074"/>
              <a:gd name="connsiteX5552" fmla="*/ 1289202 w 2077606"/>
              <a:gd name="connsiteY5552" fmla="*/ 273516 h 1786074"/>
              <a:gd name="connsiteX5553" fmla="*/ 1287218 w 2077606"/>
              <a:gd name="connsiteY5553" fmla="*/ 283555 h 1786074"/>
              <a:gd name="connsiteX5554" fmla="*/ 1283249 w 2077606"/>
              <a:gd name="connsiteY5554" fmla="*/ 287570 h 1786074"/>
              <a:gd name="connsiteX5555" fmla="*/ 1281264 w 2077606"/>
              <a:gd name="connsiteY5555" fmla="*/ 289578 h 1786074"/>
              <a:gd name="connsiteX5556" fmla="*/ 1277296 w 2077606"/>
              <a:gd name="connsiteY5556" fmla="*/ 289578 h 1786074"/>
              <a:gd name="connsiteX5557" fmla="*/ 1275311 w 2077606"/>
              <a:gd name="connsiteY5557" fmla="*/ 289578 h 1786074"/>
              <a:gd name="connsiteX5558" fmla="*/ 1271342 w 2077606"/>
              <a:gd name="connsiteY5558" fmla="*/ 291585 h 1786074"/>
              <a:gd name="connsiteX5559" fmla="*/ 1267374 w 2077606"/>
              <a:gd name="connsiteY5559" fmla="*/ 291585 h 1786074"/>
              <a:gd name="connsiteX5560" fmla="*/ 1263405 w 2077606"/>
              <a:gd name="connsiteY5560" fmla="*/ 293593 h 1786074"/>
              <a:gd name="connsiteX5561" fmla="*/ 1259436 w 2077606"/>
              <a:gd name="connsiteY5561" fmla="*/ 291585 h 1786074"/>
              <a:gd name="connsiteX5562" fmla="*/ 1255467 w 2077606"/>
              <a:gd name="connsiteY5562" fmla="*/ 291585 h 1786074"/>
              <a:gd name="connsiteX5563" fmla="*/ 1251499 w 2077606"/>
              <a:gd name="connsiteY5563" fmla="*/ 291585 h 1786074"/>
              <a:gd name="connsiteX5564" fmla="*/ 1251499 w 2077606"/>
              <a:gd name="connsiteY5564" fmla="*/ 299616 h 1786074"/>
              <a:gd name="connsiteX5565" fmla="*/ 1247530 w 2077606"/>
              <a:gd name="connsiteY5565" fmla="*/ 299616 h 1786074"/>
              <a:gd name="connsiteX5566" fmla="*/ 1245545 w 2077606"/>
              <a:gd name="connsiteY5566" fmla="*/ 297609 h 1786074"/>
              <a:gd name="connsiteX5567" fmla="*/ 1241577 w 2077606"/>
              <a:gd name="connsiteY5567" fmla="*/ 295601 h 1786074"/>
              <a:gd name="connsiteX5568" fmla="*/ 1239592 w 2077606"/>
              <a:gd name="connsiteY5568" fmla="*/ 289578 h 1786074"/>
              <a:gd name="connsiteX5569" fmla="*/ 1237608 w 2077606"/>
              <a:gd name="connsiteY5569" fmla="*/ 285562 h 1786074"/>
              <a:gd name="connsiteX5570" fmla="*/ 1233639 w 2077606"/>
              <a:gd name="connsiteY5570" fmla="*/ 281547 h 1786074"/>
              <a:gd name="connsiteX5571" fmla="*/ 1233639 w 2077606"/>
              <a:gd name="connsiteY5571" fmla="*/ 277531 h 1786074"/>
              <a:gd name="connsiteX5572" fmla="*/ 1241577 w 2077606"/>
              <a:gd name="connsiteY5572" fmla="*/ 277531 h 1786074"/>
              <a:gd name="connsiteX5573" fmla="*/ 1249514 w 2077606"/>
              <a:gd name="connsiteY5573" fmla="*/ 275524 h 1786074"/>
              <a:gd name="connsiteX5574" fmla="*/ 1239592 w 2077606"/>
              <a:gd name="connsiteY5574" fmla="*/ 273516 h 1786074"/>
              <a:gd name="connsiteX5575" fmla="*/ 1231655 w 2077606"/>
              <a:gd name="connsiteY5575" fmla="*/ 271508 h 1786074"/>
              <a:gd name="connsiteX5576" fmla="*/ 1227686 w 2077606"/>
              <a:gd name="connsiteY5576" fmla="*/ 265485 h 1786074"/>
              <a:gd name="connsiteX5577" fmla="*/ 1227686 w 2077606"/>
              <a:gd name="connsiteY5577" fmla="*/ 259462 h 1786074"/>
              <a:gd name="connsiteX5578" fmla="*/ 1225702 w 2077606"/>
              <a:gd name="connsiteY5578" fmla="*/ 251431 h 1786074"/>
              <a:gd name="connsiteX5579" fmla="*/ 1229670 w 2077606"/>
              <a:gd name="connsiteY5579" fmla="*/ 247416 h 1786074"/>
              <a:gd name="connsiteX5580" fmla="*/ 1229670 w 2077606"/>
              <a:gd name="connsiteY5580" fmla="*/ 241393 h 1786074"/>
              <a:gd name="connsiteX5581" fmla="*/ 1233639 w 2077606"/>
              <a:gd name="connsiteY5581" fmla="*/ 233362 h 1786074"/>
              <a:gd name="connsiteX5582" fmla="*/ 1111371 w 2077606"/>
              <a:gd name="connsiteY5582" fmla="*/ 209550 h 1786074"/>
              <a:gd name="connsiteX5583" fmla="*/ 1119382 w 2077606"/>
              <a:gd name="connsiteY5583" fmla="*/ 211570 h 1786074"/>
              <a:gd name="connsiteX5584" fmla="*/ 1125390 w 2077606"/>
              <a:gd name="connsiteY5584" fmla="*/ 213591 h 1786074"/>
              <a:gd name="connsiteX5585" fmla="*/ 1129395 w 2077606"/>
              <a:gd name="connsiteY5585" fmla="*/ 219652 h 1786074"/>
              <a:gd name="connsiteX5586" fmla="*/ 1135403 w 2077606"/>
              <a:gd name="connsiteY5586" fmla="*/ 225714 h 1786074"/>
              <a:gd name="connsiteX5587" fmla="*/ 1135403 w 2077606"/>
              <a:gd name="connsiteY5587" fmla="*/ 237836 h 1786074"/>
              <a:gd name="connsiteX5588" fmla="*/ 1139409 w 2077606"/>
              <a:gd name="connsiteY5588" fmla="*/ 233795 h 1786074"/>
              <a:gd name="connsiteX5589" fmla="*/ 1143414 w 2077606"/>
              <a:gd name="connsiteY5589" fmla="*/ 231775 h 1786074"/>
              <a:gd name="connsiteX5590" fmla="*/ 1149422 w 2077606"/>
              <a:gd name="connsiteY5590" fmla="*/ 229754 h 1786074"/>
              <a:gd name="connsiteX5591" fmla="*/ 1153428 w 2077606"/>
              <a:gd name="connsiteY5591" fmla="*/ 227734 h 1786074"/>
              <a:gd name="connsiteX5592" fmla="*/ 1161438 w 2077606"/>
              <a:gd name="connsiteY5592" fmla="*/ 233795 h 1786074"/>
              <a:gd name="connsiteX5593" fmla="*/ 1165444 w 2077606"/>
              <a:gd name="connsiteY5593" fmla="*/ 235816 h 1786074"/>
              <a:gd name="connsiteX5594" fmla="*/ 1165444 w 2077606"/>
              <a:gd name="connsiteY5594" fmla="*/ 243898 h 1786074"/>
              <a:gd name="connsiteX5595" fmla="*/ 1173454 w 2077606"/>
              <a:gd name="connsiteY5595" fmla="*/ 241877 h 1786074"/>
              <a:gd name="connsiteX5596" fmla="*/ 1179463 w 2077606"/>
              <a:gd name="connsiteY5596" fmla="*/ 241877 h 1786074"/>
              <a:gd name="connsiteX5597" fmla="*/ 1189476 w 2077606"/>
              <a:gd name="connsiteY5597" fmla="*/ 251979 h 1786074"/>
              <a:gd name="connsiteX5598" fmla="*/ 1187473 w 2077606"/>
              <a:gd name="connsiteY5598" fmla="*/ 262082 h 1786074"/>
              <a:gd name="connsiteX5599" fmla="*/ 1191479 w 2077606"/>
              <a:gd name="connsiteY5599" fmla="*/ 268143 h 1786074"/>
              <a:gd name="connsiteX5600" fmla="*/ 1195484 w 2077606"/>
              <a:gd name="connsiteY5600" fmla="*/ 270164 h 1786074"/>
              <a:gd name="connsiteX5601" fmla="*/ 1197487 w 2077606"/>
              <a:gd name="connsiteY5601" fmla="*/ 274204 h 1786074"/>
              <a:gd name="connsiteX5602" fmla="*/ 1201492 w 2077606"/>
              <a:gd name="connsiteY5602" fmla="*/ 278245 h 1786074"/>
              <a:gd name="connsiteX5603" fmla="*/ 1201492 w 2077606"/>
              <a:gd name="connsiteY5603" fmla="*/ 288348 h 1786074"/>
              <a:gd name="connsiteX5604" fmla="*/ 1195484 w 2077606"/>
              <a:gd name="connsiteY5604" fmla="*/ 290368 h 1786074"/>
              <a:gd name="connsiteX5605" fmla="*/ 1187473 w 2077606"/>
              <a:gd name="connsiteY5605" fmla="*/ 292389 h 1786074"/>
              <a:gd name="connsiteX5606" fmla="*/ 1181465 w 2077606"/>
              <a:gd name="connsiteY5606" fmla="*/ 296429 h 1786074"/>
              <a:gd name="connsiteX5607" fmla="*/ 1175457 w 2077606"/>
              <a:gd name="connsiteY5607" fmla="*/ 294409 h 1786074"/>
              <a:gd name="connsiteX5608" fmla="*/ 1171452 w 2077606"/>
              <a:gd name="connsiteY5608" fmla="*/ 292389 h 1786074"/>
              <a:gd name="connsiteX5609" fmla="*/ 1165444 w 2077606"/>
              <a:gd name="connsiteY5609" fmla="*/ 290368 h 1786074"/>
              <a:gd name="connsiteX5610" fmla="*/ 1163441 w 2077606"/>
              <a:gd name="connsiteY5610" fmla="*/ 278245 h 1786074"/>
              <a:gd name="connsiteX5611" fmla="*/ 1161438 w 2077606"/>
              <a:gd name="connsiteY5611" fmla="*/ 274204 h 1786074"/>
              <a:gd name="connsiteX5612" fmla="*/ 1155430 w 2077606"/>
              <a:gd name="connsiteY5612" fmla="*/ 272184 h 1786074"/>
              <a:gd name="connsiteX5613" fmla="*/ 1149422 w 2077606"/>
              <a:gd name="connsiteY5613" fmla="*/ 274204 h 1786074"/>
              <a:gd name="connsiteX5614" fmla="*/ 1141411 w 2077606"/>
              <a:gd name="connsiteY5614" fmla="*/ 274204 h 1786074"/>
              <a:gd name="connsiteX5615" fmla="*/ 1141411 w 2077606"/>
              <a:gd name="connsiteY5615" fmla="*/ 272184 h 1786074"/>
              <a:gd name="connsiteX5616" fmla="*/ 1141411 w 2077606"/>
              <a:gd name="connsiteY5616" fmla="*/ 270164 h 1786074"/>
              <a:gd name="connsiteX5617" fmla="*/ 1133401 w 2077606"/>
              <a:gd name="connsiteY5617" fmla="*/ 266123 h 1786074"/>
              <a:gd name="connsiteX5618" fmla="*/ 1131398 w 2077606"/>
              <a:gd name="connsiteY5618" fmla="*/ 268143 h 1786074"/>
              <a:gd name="connsiteX5619" fmla="*/ 1131398 w 2077606"/>
              <a:gd name="connsiteY5619" fmla="*/ 272184 h 1786074"/>
              <a:gd name="connsiteX5620" fmla="*/ 1125390 w 2077606"/>
              <a:gd name="connsiteY5620" fmla="*/ 270164 h 1786074"/>
              <a:gd name="connsiteX5621" fmla="*/ 1119382 w 2077606"/>
              <a:gd name="connsiteY5621" fmla="*/ 276225 h 1786074"/>
              <a:gd name="connsiteX5622" fmla="*/ 1115376 w 2077606"/>
              <a:gd name="connsiteY5622" fmla="*/ 272184 h 1786074"/>
              <a:gd name="connsiteX5623" fmla="*/ 1121384 w 2077606"/>
              <a:gd name="connsiteY5623" fmla="*/ 266123 h 1786074"/>
              <a:gd name="connsiteX5624" fmla="*/ 1119382 w 2077606"/>
              <a:gd name="connsiteY5624" fmla="*/ 266123 h 1786074"/>
              <a:gd name="connsiteX5625" fmla="*/ 1113374 w 2077606"/>
              <a:gd name="connsiteY5625" fmla="*/ 258041 h 1786074"/>
              <a:gd name="connsiteX5626" fmla="*/ 1105363 w 2077606"/>
              <a:gd name="connsiteY5626" fmla="*/ 256020 h 1786074"/>
              <a:gd name="connsiteX5627" fmla="*/ 1101358 w 2077606"/>
              <a:gd name="connsiteY5627" fmla="*/ 249959 h 1786074"/>
              <a:gd name="connsiteX5628" fmla="*/ 1107366 w 2077606"/>
              <a:gd name="connsiteY5628" fmla="*/ 249959 h 1786074"/>
              <a:gd name="connsiteX5629" fmla="*/ 1111371 w 2077606"/>
              <a:gd name="connsiteY5629" fmla="*/ 247939 h 1786074"/>
              <a:gd name="connsiteX5630" fmla="*/ 1113374 w 2077606"/>
              <a:gd name="connsiteY5630" fmla="*/ 245918 h 1786074"/>
              <a:gd name="connsiteX5631" fmla="*/ 1103360 w 2077606"/>
              <a:gd name="connsiteY5631" fmla="*/ 243898 h 1786074"/>
              <a:gd name="connsiteX5632" fmla="*/ 1101358 w 2077606"/>
              <a:gd name="connsiteY5632" fmla="*/ 239857 h 1786074"/>
              <a:gd name="connsiteX5633" fmla="*/ 1107366 w 2077606"/>
              <a:gd name="connsiteY5633" fmla="*/ 235816 h 1786074"/>
              <a:gd name="connsiteX5634" fmla="*/ 1099355 w 2077606"/>
              <a:gd name="connsiteY5634" fmla="*/ 231775 h 1786074"/>
              <a:gd name="connsiteX5635" fmla="*/ 1095349 w 2077606"/>
              <a:gd name="connsiteY5635" fmla="*/ 235816 h 1786074"/>
              <a:gd name="connsiteX5636" fmla="*/ 1089341 w 2077606"/>
              <a:gd name="connsiteY5636" fmla="*/ 239857 h 1786074"/>
              <a:gd name="connsiteX5637" fmla="*/ 1089341 w 2077606"/>
              <a:gd name="connsiteY5637" fmla="*/ 233795 h 1786074"/>
              <a:gd name="connsiteX5638" fmla="*/ 1087339 w 2077606"/>
              <a:gd name="connsiteY5638" fmla="*/ 229754 h 1786074"/>
              <a:gd name="connsiteX5639" fmla="*/ 1081331 w 2077606"/>
              <a:gd name="connsiteY5639" fmla="*/ 233795 h 1786074"/>
              <a:gd name="connsiteX5640" fmla="*/ 1071317 w 2077606"/>
              <a:gd name="connsiteY5640" fmla="*/ 231775 h 1786074"/>
              <a:gd name="connsiteX5641" fmla="*/ 1071317 w 2077606"/>
              <a:gd name="connsiteY5641" fmla="*/ 223693 h 1786074"/>
              <a:gd name="connsiteX5642" fmla="*/ 1071317 w 2077606"/>
              <a:gd name="connsiteY5642" fmla="*/ 221673 h 1786074"/>
              <a:gd name="connsiteX5643" fmla="*/ 1075323 w 2077606"/>
              <a:gd name="connsiteY5643" fmla="*/ 219652 h 1786074"/>
              <a:gd name="connsiteX5644" fmla="*/ 1077325 w 2077606"/>
              <a:gd name="connsiteY5644" fmla="*/ 215611 h 1786074"/>
              <a:gd name="connsiteX5645" fmla="*/ 1079328 w 2077606"/>
              <a:gd name="connsiteY5645" fmla="*/ 211570 h 1786074"/>
              <a:gd name="connsiteX5646" fmla="*/ 1083333 w 2077606"/>
              <a:gd name="connsiteY5646" fmla="*/ 213591 h 1786074"/>
              <a:gd name="connsiteX5647" fmla="*/ 1089341 w 2077606"/>
              <a:gd name="connsiteY5647" fmla="*/ 215611 h 1786074"/>
              <a:gd name="connsiteX5648" fmla="*/ 1099355 w 2077606"/>
              <a:gd name="connsiteY5648" fmla="*/ 213591 h 1786074"/>
              <a:gd name="connsiteX5649" fmla="*/ 1111371 w 2077606"/>
              <a:gd name="connsiteY5649" fmla="*/ 209550 h 1786074"/>
              <a:gd name="connsiteX5650" fmla="*/ 1229227 w 2077606"/>
              <a:gd name="connsiteY5650" fmla="*/ 171846 h 1786074"/>
              <a:gd name="connsiteX5651" fmla="*/ 1231282 w 2077606"/>
              <a:gd name="connsiteY5651" fmla="*/ 171846 h 1786074"/>
              <a:gd name="connsiteX5652" fmla="*/ 1235390 w 2077606"/>
              <a:gd name="connsiteY5652" fmla="*/ 175815 h 1786074"/>
              <a:gd name="connsiteX5653" fmla="*/ 1243608 w 2077606"/>
              <a:gd name="connsiteY5653" fmla="*/ 175815 h 1786074"/>
              <a:gd name="connsiteX5654" fmla="*/ 1247717 w 2077606"/>
              <a:gd name="connsiteY5654" fmla="*/ 175815 h 1786074"/>
              <a:gd name="connsiteX5655" fmla="*/ 1249771 w 2077606"/>
              <a:gd name="connsiteY5655" fmla="*/ 183753 h 1786074"/>
              <a:gd name="connsiteX5656" fmla="*/ 1249771 w 2077606"/>
              <a:gd name="connsiteY5656" fmla="*/ 187721 h 1786074"/>
              <a:gd name="connsiteX5657" fmla="*/ 1243608 w 2077606"/>
              <a:gd name="connsiteY5657" fmla="*/ 193674 h 1786074"/>
              <a:gd name="connsiteX5658" fmla="*/ 1239499 w 2077606"/>
              <a:gd name="connsiteY5658" fmla="*/ 197643 h 1786074"/>
              <a:gd name="connsiteX5659" fmla="*/ 1235390 w 2077606"/>
              <a:gd name="connsiteY5659" fmla="*/ 195659 h 1786074"/>
              <a:gd name="connsiteX5660" fmla="*/ 1231282 w 2077606"/>
              <a:gd name="connsiteY5660" fmla="*/ 189706 h 1786074"/>
              <a:gd name="connsiteX5661" fmla="*/ 1225118 w 2077606"/>
              <a:gd name="connsiteY5661" fmla="*/ 185737 h 1786074"/>
              <a:gd name="connsiteX5662" fmla="*/ 1218955 w 2077606"/>
              <a:gd name="connsiteY5662" fmla="*/ 179784 h 1786074"/>
              <a:gd name="connsiteX5663" fmla="*/ 1225118 w 2077606"/>
              <a:gd name="connsiteY5663" fmla="*/ 175815 h 1786074"/>
              <a:gd name="connsiteX5664" fmla="*/ 1229227 w 2077606"/>
              <a:gd name="connsiteY5664" fmla="*/ 171846 h 1786074"/>
              <a:gd name="connsiteX5665" fmla="*/ 1355398 w 2077606"/>
              <a:gd name="connsiteY5665" fmla="*/ 101600 h 1786074"/>
              <a:gd name="connsiteX5666" fmla="*/ 1359387 w 2077606"/>
              <a:gd name="connsiteY5666" fmla="*/ 103593 h 1786074"/>
              <a:gd name="connsiteX5667" fmla="*/ 1365371 w 2077606"/>
              <a:gd name="connsiteY5667" fmla="*/ 105586 h 1786074"/>
              <a:gd name="connsiteX5668" fmla="*/ 1369360 w 2077606"/>
              <a:gd name="connsiteY5668" fmla="*/ 107580 h 1786074"/>
              <a:gd name="connsiteX5669" fmla="*/ 1373349 w 2077606"/>
              <a:gd name="connsiteY5669" fmla="*/ 107580 h 1786074"/>
              <a:gd name="connsiteX5670" fmla="*/ 1377338 w 2077606"/>
              <a:gd name="connsiteY5670" fmla="*/ 105586 h 1786074"/>
              <a:gd name="connsiteX5671" fmla="*/ 1385317 w 2077606"/>
              <a:gd name="connsiteY5671" fmla="*/ 105586 h 1786074"/>
              <a:gd name="connsiteX5672" fmla="*/ 1391300 w 2077606"/>
              <a:gd name="connsiteY5672" fmla="*/ 107580 h 1786074"/>
              <a:gd name="connsiteX5673" fmla="*/ 1399279 w 2077606"/>
              <a:gd name="connsiteY5673" fmla="*/ 107580 h 1786074"/>
              <a:gd name="connsiteX5674" fmla="*/ 1407257 w 2077606"/>
              <a:gd name="connsiteY5674" fmla="*/ 111566 h 1786074"/>
              <a:gd name="connsiteX5675" fmla="*/ 1415235 w 2077606"/>
              <a:gd name="connsiteY5675" fmla="*/ 119539 h 1786074"/>
              <a:gd name="connsiteX5676" fmla="*/ 1411246 w 2077606"/>
              <a:gd name="connsiteY5676" fmla="*/ 121532 h 1786074"/>
              <a:gd name="connsiteX5677" fmla="*/ 1413240 w 2077606"/>
              <a:gd name="connsiteY5677" fmla="*/ 125518 h 1786074"/>
              <a:gd name="connsiteX5678" fmla="*/ 1415235 w 2077606"/>
              <a:gd name="connsiteY5678" fmla="*/ 131498 h 1786074"/>
              <a:gd name="connsiteX5679" fmla="*/ 1417230 w 2077606"/>
              <a:gd name="connsiteY5679" fmla="*/ 139471 h 1786074"/>
              <a:gd name="connsiteX5680" fmla="*/ 1423213 w 2077606"/>
              <a:gd name="connsiteY5680" fmla="*/ 145450 h 1786074"/>
              <a:gd name="connsiteX5681" fmla="*/ 1425208 w 2077606"/>
              <a:gd name="connsiteY5681" fmla="*/ 149436 h 1786074"/>
              <a:gd name="connsiteX5682" fmla="*/ 1437175 w 2077606"/>
              <a:gd name="connsiteY5682" fmla="*/ 151430 h 1786074"/>
              <a:gd name="connsiteX5683" fmla="*/ 1445153 w 2077606"/>
              <a:gd name="connsiteY5683" fmla="*/ 151430 h 1786074"/>
              <a:gd name="connsiteX5684" fmla="*/ 1453132 w 2077606"/>
              <a:gd name="connsiteY5684" fmla="*/ 155416 h 1786074"/>
              <a:gd name="connsiteX5685" fmla="*/ 1453132 w 2077606"/>
              <a:gd name="connsiteY5685" fmla="*/ 167375 h 1786074"/>
              <a:gd name="connsiteX5686" fmla="*/ 1459115 w 2077606"/>
              <a:gd name="connsiteY5686" fmla="*/ 171362 h 1786074"/>
              <a:gd name="connsiteX5687" fmla="*/ 1467093 w 2077606"/>
              <a:gd name="connsiteY5687" fmla="*/ 169368 h 1786074"/>
              <a:gd name="connsiteX5688" fmla="*/ 1469088 w 2077606"/>
              <a:gd name="connsiteY5688" fmla="*/ 165382 h 1786074"/>
              <a:gd name="connsiteX5689" fmla="*/ 1469088 w 2077606"/>
              <a:gd name="connsiteY5689" fmla="*/ 157409 h 1786074"/>
              <a:gd name="connsiteX5690" fmla="*/ 1475072 w 2077606"/>
              <a:gd name="connsiteY5690" fmla="*/ 157409 h 1786074"/>
              <a:gd name="connsiteX5691" fmla="*/ 1479061 w 2077606"/>
              <a:gd name="connsiteY5691" fmla="*/ 159402 h 1786074"/>
              <a:gd name="connsiteX5692" fmla="*/ 1487039 w 2077606"/>
              <a:gd name="connsiteY5692" fmla="*/ 165382 h 1786074"/>
              <a:gd name="connsiteX5693" fmla="*/ 1485044 w 2077606"/>
              <a:gd name="connsiteY5693" fmla="*/ 169368 h 1786074"/>
              <a:gd name="connsiteX5694" fmla="*/ 1477066 w 2077606"/>
              <a:gd name="connsiteY5694" fmla="*/ 171362 h 1786074"/>
              <a:gd name="connsiteX5695" fmla="*/ 1481055 w 2077606"/>
              <a:gd name="connsiteY5695" fmla="*/ 175348 h 1786074"/>
              <a:gd name="connsiteX5696" fmla="*/ 1489034 w 2077606"/>
              <a:gd name="connsiteY5696" fmla="*/ 179334 h 1786074"/>
              <a:gd name="connsiteX5697" fmla="*/ 1485044 w 2077606"/>
              <a:gd name="connsiteY5697" fmla="*/ 187307 h 1786074"/>
              <a:gd name="connsiteX5698" fmla="*/ 1477066 w 2077606"/>
              <a:gd name="connsiteY5698" fmla="*/ 193287 h 1786074"/>
              <a:gd name="connsiteX5699" fmla="*/ 1479061 w 2077606"/>
              <a:gd name="connsiteY5699" fmla="*/ 197273 h 1786074"/>
              <a:gd name="connsiteX5700" fmla="*/ 1483050 w 2077606"/>
              <a:gd name="connsiteY5700" fmla="*/ 193287 h 1786074"/>
              <a:gd name="connsiteX5701" fmla="*/ 1485044 w 2077606"/>
              <a:gd name="connsiteY5701" fmla="*/ 195280 h 1786074"/>
              <a:gd name="connsiteX5702" fmla="*/ 1489034 w 2077606"/>
              <a:gd name="connsiteY5702" fmla="*/ 195280 h 1786074"/>
              <a:gd name="connsiteX5703" fmla="*/ 1497012 w 2077606"/>
              <a:gd name="connsiteY5703" fmla="*/ 193287 h 1786074"/>
              <a:gd name="connsiteX5704" fmla="*/ 1502995 w 2077606"/>
              <a:gd name="connsiteY5704" fmla="*/ 195280 h 1786074"/>
              <a:gd name="connsiteX5705" fmla="*/ 1504990 w 2077606"/>
              <a:gd name="connsiteY5705" fmla="*/ 199266 h 1786074"/>
              <a:gd name="connsiteX5706" fmla="*/ 1506985 w 2077606"/>
              <a:gd name="connsiteY5706" fmla="*/ 203253 h 1786074"/>
              <a:gd name="connsiteX5707" fmla="*/ 1510974 w 2077606"/>
              <a:gd name="connsiteY5707" fmla="*/ 197273 h 1786074"/>
              <a:gd name="connsiteX5708" fmla="*/ 1512968 w 2077606"/>
              <a:gd name="connsiteY5708" fmla="*/ 197273 h 1786074"/>
              <a:gd name="connsiteX5709" fmla="*/ 1516957 w 2077606"/>
              <a:gd name="connsiteY5709" fmla="*/ 203253 h 1786074"/>
              <a:gd name="connsiteX5710" fmla="*/ 1520946 w 2077606"/>
              <a:gd name="connsiteY5710" fmla="*/ 209232 h 1786074"/>
              <a:gd name="connsiteX5711" fmla="*/ 1526930 w 2077606"/>
              <a:gd name="connsiteY5711" fmla="*/ 213219 h 1786074"/>
              <a:gd name="connsiteX5712" fmla="*/ 1520946 w 2077606"/>
              <a:gd name="connsiteY5712" fmla="*/ 217205 h 1786074"/>
              <a:gd name="connsiteX5713" fmla="*/ 1512968 w 2077606"/>
              <a:gd name="connsiteY5713" fmla="*/ 219198 h 1786074"/>
              <a:gd name="connsiteX5714" fmla="*/ 1495017 w 2077606"/>
              <a:gd name="connsiteY5714" fmla="*/ 225178 h 1786074"/>
              <a:gd name="connsiteX5715" fmla="*/ 1487039 w 2077606"/>
              <a:gd name="connsiteY5715" fmla="*/ 229164 h 1786074"/>
              <a:gd name="connsiteX5716" fmla="*/ 1479061 w 2077606"/>
              <a:gd name="connsiteY5716" fmla="*/ 235144 h 1786074"/>
              <a:gd name="connsiteX5717" fmla="*/ 1473077 w 2077606"/>
              <a:gd name="connsiteY5717" fmla="*/ 239130 h 1786074"/>
              <a:gd name="connsiteX5718" fmla="*/ 1465099 w 2077606"/>
              <a:gd name="connsiteY5718" fmla="*/ 245110 h 1786074"/>
              <a:gd name="connsiteX5719" fmla="*/ 1455126 w 2077606"/>
              <a:gd name="connsiteY5719" fmla="*/ 249096 h 1786074"/>
              <a:gd name="connsiteX5720" fmla="*/ 1455126 w 2077606"/>
              <a:gd name="connsiteY5720" fmla="*/ 235144 h 1786074"/>
              <a:gd name="connsiteX5721" fmla="*/ 1451137 w 2077606"/>
              <a:gd name="connsiteY5721" fmla="*/ 233150 h 1786074"/>
              <a:gd name="connsiteX5722" fmla="*/ 1449142 w 2077606"/>
              <a:gd name="connsiteY5722" fmla="*/ 243116 h 1786074"/>
              <a:gd name="connsiteX5723" fmla="*/ 1449142 w 2077606"/>
              <a:gd name="connsiteY5723" fmla="*/ 255075 h 1786074"/>
              <a:gd name="connsiteX5724" fmla="*/ 1449142 w 2077606"/>
              <a:gd name="connsiteY5724" fmla="*/ 263048 h 1786074"/>
              <a:gd name="connsiteX5725" fmla="*/ 1441164 w 2077606"/>
              <a:gd name="connsiteY5725" fmla="*/ 261055 h 1786074"/>
              <a:gd name="connsiteX5726" fmla="*/ 1435181 w 2077606"/>
              <a:gd name="connsiteY5726" fmla="*/ 259062 h 1786074"/>
              <a:gd name="connsiteX5727" fmla="*/ 1433186 w 2077606"/>
              <a:gd name="connsiteY5727" fmla="*/ 267035 h 1786074"/>
              <a:gd name="connsiteX5728" fmla="*/ 1431191 w 2077606"/>
              <a:gd name="connsiteY5728" fmla="*/ 273014 h 1786074"/>
              <a:gd name="connsiteX5729" fmla="*/ 1427202 w 2077606"/>
              <a:gd name="connsiteY5729" fmla="*/ 273014 h 1786074"/>
              <a:gd name="connsiteX5730" fmla="*/ 1423213 w 2077606"/>
              <a:gd name="connsiteY5730" fmla="*/ 265041 h 1786074"/>
              <a:gd name="connsiteX5731" fmla="*/ 1413240 w 2077606"/>
              <a:gd name="connsiteY5731" fmla="*/ 265041 h 1786074"/>
              <a:gd name="connsiteX5732" fmla="*/ 1403268 w 2077606"/>
              <a:gd name="connsiteY5732" fmla="*/ 257069 h 1786074"/>
              <a:gd name="connsiteX5733" fmla="*/ 1403268 w 2077606"/>
              <a:gd name="connsiteY5733" fmla="*/ 263048 h 1786074"/>
              <a:gd name="connsiteX5734" fmla="*/ 1415235 w 2077606"/>
              <a:gd name="connsiteY5734" fmla="*/ 269028 h 1786074"/>
              <a:gd name="connsiteX5735" fmla="*/ 1411246 w 2077606"/>
              <a:gd name="connsiteY5735" fmla="*/ 277001 h 1786074"/>
              <a:gd name="connsiteX5736" fmla="*/ 1403268 w 2077606"/>
              <a:gd name="connsiteY5736" fmla="*/ 273014 h 1786074"/>
              <a:gd name="connsiteX5737" fmla="*/ 1397284 w 2077606"/>
              <a:gd name="connsiteY5737" fmla="*/ 269028 h 1786074"/>
              <a:gd name="connsiteX5738" fmla="*/ 1397284 w 2077606"/>
              <a:gd name="connsiteY5738" fmla="*/ 273014 h 1786074"/>
              <a:gd name="connsiteX5739" fmla="*/ 1395289 w 2077606"/>
              <a:gd name="connsiteY5739" fmla="*/ 280987 h 1786074"/>
              <a:gd name="connsiteX5740" fmla="*/ 1383322 w 2077606"/>
              <a:gd name="connsiteY5740" fmla="*/ 278994 h 1786074"/>
              <a:gd name="connsiteX5741" fmla="*/ 1371355 w 2077606"/>
              <a:gd name="connsiteY5741" fmla="*/ 273014 h 1786074"/>
              <a:gd name="connsiteX5742" fmla="*/ 1363377 w 2077606"/>
              <a:gd name="connsiteY5742" fmla="*/ 273014 h 1786074"/>
              <a:gd name="connsiteX5743" fmla="*/ 1355398 w 2077606"/>
              <a:gd name="connsiteY5743" fmla="*/ 271021 h 1786074"/>
              <a:gd name="connsiteX5744" fmla="*/ 1349415 w 2077606"/>
              <a:gd name="connsiteY5744" fmla="*/ 267035 h 1786074"/>
              <a:gd name="connsiteX5745" fmla="*/ 1345426 w 2077606"/>
              <a:gd name="connsiteY5745" fmla="*/ 259062 h 1786074"/>
              <a:gd name="connsiteX5746" fmla="*/ 1349415 w 2077606"/>
              <a:gd name="connsiteY5746" fmla="*/ 261055 h 1786074"/>
              <a:gd name="connsiteX5747" fmla="*/ 1355398 w 2077606"/>
              <a:gd name="connsiteY5747" fmla="*/ 261055 h 1786074"/>
              <a:gd name="connsiteX5748" fmla="*/ 1363377 w 2077606"/>
              <a:gd name="connsiteY5748" fmla="*/ 259062 h 1786074"/>
              <a:gd name="connsiteX5749" fmla="*/ 1369360 w 2077606"/>
              <a:gd name="connsiteY5749" fmla="*/ 261055 h 1786074"/>
              <a:gd name="connsiteX5750" fmla="*/ 1371355 w 2077606"/>
              <a:gd name="connsiteY5750" fmla="*/ 259062 h 1786074"/>
              <a:gd name="connsiteX5751" fmla="*/ 1365371 w 2077606"/>
              <a:gd name="connsiteY5751" fmla="*/ 255075 h 1786074"/>
              <a:gd name="connsiteX5752" fmla="*/ 1359387 w 2077606"/>
              <a:gd name="connsiteY5752" fmla="*/ 253082 h 1786074"/>
              <a:gd name="connsiteX5753" fmla="*/ 1349415 w 2077606"/>
              <a:gd name="connsiteY5753" fmla="*/ 253082 h 1786074"/>
              <a:gd name="connsiteX5754" fmla="*/ 1341436 w 2077606"/>
              <a:gd name="connsiteY5754" fmla="*/ 255075 h 1786074"/>
              <a:gd name="connsiteX5755" fmla="*/ 1339442 w 2077606"/>
              <a:gd name="connsiteY5755" fmla="*/ 249096 h 1786074"/>
              <a:gd name="connsiteX5756" fmla="*/ 1339442 w 2077606"/>
              <a:gd name="connsiteY5756" fmla="*/ 245110 h 1786074"/>
              <a:gd name="connsiteX5757" fmla="*/ 1345426 w 2077606"/>
              <a:gd name="connsiteY5757" fmla="*/ 245110 h 1786074"/>
              <a:gd name="connsiteX5758" fmla="*/ 1351409 w 2077606"/>
              <a:gd name="connsiteY5758" fmla="*/ 245110 h 1786074"/>
              <a:gd name="connsiteX5759" fmla="*/ 1345426 w 2077606"/>
              <a:gd name="connsiteY5759" fmla="*/ 241123 h 1786074"/>
              <a:gd name="connsiteX5760" fmla="*/ 1335453 w 2077606"/>
              <a:gd name="connsiteY5760" fmla="*/ 237137 h 1786074"/>
              <a:gd name="connsiteX5761" fmla="*/ 1333458 w 2077606"/>
              <a:gd name="connsiteY5761" fmla="*/ 229164 h 1786074"/>
              <a:gd name="connsiteX5762" fmla="*/ 1343431 w 2077606"/>
              <a:gd name="connsiteY5762" fmla="*/ 227171 h 1786074"/>
              <a:gd name="connsiteX5763" fmla="*/ 1347420 w 2077606"/>
              <a:gd name="connsiteY5763" fmla="*/ 225178 h 1786074"/>
              <a:gd name="connsiteX5764" fmla="*/ 1357393 w 2077606"/>
              <a:gd name="connsiteY5764" fmla="*/ 219198 h 1786074"/>
              <a:gd name="connsiteX5765" fmla="*/ 1373349 w 2077606"/>
              <a:gd name="connsiteY5765" fmla="*/ 217205 h 1786074"/>
              <a:gd name="connsiteX5766" fmla="*/ 1385317 w 2077606"/>
              <a:gd name="connsiteY5766" fmla="*/ 221191 h 1786074"/>
              <a:gd name="connsiteX5767" fmla="*/ 1399279 w 2077606"/>
              <a:gd name="connsiteY5767" fmla="*/ 217205 h 1786074"/>
              <a:gd name="connsiteX5768" fmla="*/ 1409251 w 2077606"/>
              <a:gd name="connsiteY5768" fmla="*/ 215212 h 1786074"/>
              <a:gd name="connsiteX5769" fmla="*/ 1405262 w 2077606"/>
              <a:gd name="connsiteY5769" fmla="*/ 213219 h 1786074"/>
              <a:gd name="connsiteX5770" fmla="*/ 1395289 w 2077606"/>
              <a:gd name="connsiteY5770" fmla="*/ 213219 h 1786074"/>
              <a:gd name="connsiteX5771" fmla="*/ 1381328 w 2077606"/>
              <a:gd name="connsiteY5771" fmla="*/ 217205 h 1786074"/>
              <a:gd name="connsiteX5772" fmla="*/ 1373349 w 2077606"/>
              <a:gd name="connsiteY5772" fmla="*/ 213219 h 1786074"/>
              <a:gd name="connsiteX5773" fmla="*/ 1377338 w 2077606"/>
              <a:gd name="connsiteY5773" fmla="*/ 211225 h 1786074"/>
              <a:gd name="connsiteX5774" fmla="*/ 1379333 w 2077606"/>
              <a:gd name="connsiteY5774" fmla="*/ 207239 h 1786074"/>
              <a:gd name="connsiteX5775" fmla="*/ 1373349 w 2077606"/>
              <a:gd name="connsiteY5775" fmla="*/ 205246 h 1786074"/>
              <a:gd name="connsiteX5776" fmla="*/ 1369360 w 2077606"/>
              <a:gd name="connsiteY5776" fmla="*/ 205246 h 1786074"/>
              <a:gd name="connsiteX5777" fmla="*/ 1363377 w 2077606"/>
              <a:gd name="connsiteY5777" fmla="*/ 205246 h 1786074"/>
              <a:gd name="connsiteX5778" fmla="*/ 1359387 w 2077606"/>
              <a:gd name="connsiteY5778" fmla="*/ 205246 h 1786074"/>
              <a:gd name="connsiteX5779" fmla="*/ 1357393 w 2077606"/>
              <a:gd name="connsiteY5779" fmla="*/ 207239 h 1786074"/>
              <a:gd name="connsiteX5780" fmla="*/ 1353404 w 2077606"/>
              <a:gd name="connsiteY5780" fmla="*/ 209232 h 1786074"/>
              <a:gd name="connsiteX5781" fmla="*/ 1347420 w 2077606"/>
              <a:gd name="connsiteY5781" fmla="*/ 211225 h 1786074"/>
              <a:gd name="connsiteX5782" fmla="*/ 1343431 w 2077606"/>
              <a:gd name="connsiteY5782" fmla="*/ 213219 h 1786074"/>
              <a:gd name="connsiteX5783" fmla="*/ 1339442 w 2077606"/>
              <a:gd name="connsiteY5783" fmla="*/ 213219 h 1786074"/>
              <a:gd name="connsiteX5784" fmla="*/ 1341436 w 2077606"/>
              <a:gd name="connsiteY5784" fmla="*/ 209232 h 1786074"/>
              <a:gd name="connsiteX5785" fmla="*/ 1339442 w 2077606"/>
              <a:gd name="connsiteY5785" fmla="*/ 207239 h 1786074"/>
              <a:gd name="connsiteX5786" fmla="*/ 1335453 w 2077606"/>
              <a:gd name="connsiteY5786" fmla="*/ 207239 h 1786074"/>
              <a:gd name="connsiteX5787" fmla="*/ 1331464 w 2077606"/>
              <a:gd name="connsiteY5787" fmla="*/ 205246 h 1786074"/>
              <a:gd name="connsiteX5788" fmla="*/ 1329469 w 2077606"/>
              <a:gd name="connsiteY5788" fmla="*/ 209232 h 1786074"/>
              <a:gd name="connsiteX5789" fmla="*/ 1325480 w 2077606"/>
              <a:gd name="connsiteY5789" fmla="*/ 213219 h 1786074"/>
              <a:gd name="connsiteX5790" fmla="*/ 1317502 w 2077606"/>
              <a:gd name="connsiteY5790" fmla="*/ 215212 h 1786074"/>
              <a:gd name="connsiteX5791" fmla="*/ 1313513 w 2077606"/>
              <a:gd name="connsiteY5791" fmla="*/ 213219 h 1786074"/>
              <a:gd name="connsiteX5792" fmla="*/ 1313513 w 2077606"/>
              <a:gd name="connsiteY5792" fmla="*/ 207239 h 1786074"/>
              <a:gd name="connsiteX5793" fmla="*/ 1305534 w 2077606"/>
              <a:gd name="connsiteY5793" fmla="*/ 201259 h 1786074"/>
              <a:gd name="connsiteX5794" fmla="*/ 1313513 w 2077606"/>
              <a:gd name="connsiteY5794" fmla="*/ 197273 h 1786074"/>
              <a:gd name="connsiteX5795" fmla="*/ 1319496 w 2077606"/>
              <a:gd name="connsiteY5795" fmla="*/ 197273 h 1786074"/>
              <a:gd name="connsiteX5796" fmla="*/ 1323485 w 2077606"/>
              <a:gd name="connsiteY5796" fmla="*/ 199266 h 1786074"/>
              <a:gd name="connsiteX5797" fmla="*/ 1327475 w 2077606"/>
              <a:gd name="connsiteY5797" fmla="*/ 199266 h 1786074"/>
              <a:gd name="connsiteX5798" fmla="*/ 1331464 w 2077606"/>
              <a:gd name="connsiteY5798" fmla="*/ 197273 h 1786074"/>
              <a:gd name="connsiteX5799" fmla="*/ 1335453 w 2077606"/>
              <a:gd name="connsiteY5799" fmla="*/ 195280 h 1786074"/>
              <a:gd name="connsiteX5800" fmla="*/ 1329469 w 2077606"/>
              <a:gd name="connsiteY5800" fmla="*/ 193287 h 1786074"/>
              <a:gd name="connsiteX5801" fmla="*/ 1319496 w 2077606"/>
              <a:gd name="connsiteY5801" fmla="*/ 193287 h 1786074"/>
              <a:gd name="connsiteX5802" fmla="*/ 1309524 w 2077606"/>
              <a:gd name="connsiteY5802" fmla="*/ 193287 h 1786074"/>
              <a:gd name="connsiteX5803" fmla="*/ 1303540 w 2077606"/>
              <a:gd name="connsiteY5803" fmla="*/ 191293 h 1786074"/>
              <a:gd name="connsiteX5804" fmla="*/ 1295562 w 2077606"/>
              <a:gd name="connsiteY5804" fmla="*/ 189300 h 1786074"/>
              <a:gd name="connsiteX5805" fmla="*/ 1295562 w 2077606"/>
              <a:gd name="connsiteY5805" fmla="*/ 183321 h 1786074"/>
              <a:gd name="connsiteX5806" fmla="*/ 1297556 w 2077606"/>
              <a:gd name="connsiteY5806" fmla="*/ 177341 h 1786074"/>
              <a:gd name="connsiteX5807" fmla="*/ 1303540 w 2077606"/>
              <a:gd name="connsiteY5807" fmla="*/ 173355 h 1786074"/>
              <a:gd name="connsiteX5808" fmla="*/ 1313513 w 2077606"/>
              <a:gd name="connsiteY5808" fmla="*/ 179334 h 1786074"/>
              <a:gd name="connsiteX5809" fmla="*/ 1321491 w 2077606"/>
              <a:gd name="connsiteY5809" fmla="*/ 177341 h 1786074"/>
              <a:gd name="connsiteX5810" fmla="*/ 1331464 w 2077606"/>
              <a:gd name="connsiteY5810" fmla="*/ 177341 h 1786074"/>
              <a:gd name="connsiteX5811" fmla="*/ 1337447 w 2077606"/>
              <a:gd name="connsiteY5811" fmla="*/ 181327 h 1786074"/>
              <a:gd name="connsiteX5812" fmla="*/ 1339442 w 2077606"/>
              <a:gd name="connsiteY5812" fmla="*/ 179334 h 1786074"/>
              <a:gd name="connsiteX5813" fmla="*/ 1331464 w 2077606"/>
              <a:gd name="connsiteY5813" fmla="*/ 175348 h 1786074"/>
              <a:gd name="connsiteX5814" fmla="*/ 1323485 w 2077606"/>
              <a:gd name="connsiteY5814" fmla="*/ 173355 h 1786074"/>
              <a:gd name="connsiteX5815" fmla="*/ 1315507 w 2077606"/>
              <a:gd name="connsiteY5815" fmla="*/ 171362 h 1786074"/>
              <a:gd name="connsiteX5816" fmla="*/ 1307529 w 2077606"/>
              <a:gd name="connsiteY5816" fmla="*/ 169368 h 1786074"/>
              <a:gd name="connsiteX5817" fmla="*/ 1301545 w 2077606"/>
              <a:gd name="connsiteY5817" fmla="*/ 167375 h 1786074"/>
              <a:gd name="connsiteX5818" fmla="*/ 1299551 w 2077606"/>
              <a:gd name="connsiteY5818" fmla="*/ 163389 h 1786074"/>
              <a:gd name="connsiteX5819" fmla="*/ 1309524 w 2077606"/>
              <a:gd name="connsiteY5819" fmla="*/ 161396 h 1786074"/>
              <a:gd name="connsiteX5820" fmla="*/ 1315507 w 2077606"/>
              <a:gd name="connsiteY5820" fmla="*/ 161396 h 1786074"/>
              <a:gd name="connsiteX5821" fmla="*/ 1319496 w 2077606"/>
              <a:gd name="connsiteY5821" fmla="*/ 151430 h 1786074"/>
              <a:gd name="connsiteX5822" fmla="*/ 1327475 w 2077606"/>
              <a:gd name="connsiteY5822" fmla="*/ 149436 h 1786074"/>
              <a:gd name="connsiteX5823" fmla="*/ 1323485 w 2077606"/>
              <a:gd name="connsiteY5823" fmla="*/ 145450 h 1786074"/>
              <a:gd name="connsiteX5824" fmla="*/ 1309524 w 2077606"/>
              <a:gd name="connsiteY5824" fmla="*/ 147443 h 1786074"/>
              <a:gd name="connsiteX5825" fmla="*/ 1311518 w 2077606"/>
              <a:gd name="connsiteY5825" fmla="*/ 141464 h 1786074"/>
              <a:gd name="connsiteX5826" fmla="*/ 1319496 w 2077606"/>
              <a:gd name="connsiteY5826" fmla="*/ 141464 h 1786074"/>
              <a:gd name="connsiteX5827" fmla="*/ 1327475 w 2077606"/>
              <a:gd name="connsiteY5827" fmla="*/ 141464 h 1786074"/>
              <a:gd name="connsiteX5828" fmla="*/ 1331464 w 2077606"/>
              <a:gd name="connsiteY5828" fmla="*/ 143457 h 1786074"/>
              <a:gd name="connsiteX5829" fmla="*/ 1335453 w 2077606"/>
              <a:gd name="connsiteY5829" fmla="*/ 149436 h 1786074"/>
              <a:gd name="connsiteX5830" fmla="*/ 1349415 w 2077606"/>
              <a:gd name="connsiteY5830" fmla="*/ 149436 h 1786074"/>
              <a:gd name="connsiteX5831" fmla="*/ 1355398 w 2077606"/>
              <a:gd name="connsiteY5831" fmla="*/ 153423 h 1786074"/>
              <a:gd name="connsiteX5832" fmla="*/ 1361382 w 2077606"/>
              <a:gd name="connsiteY5832" fmla="*/ 153423 h 1786074"/>
              <a:gd name="connsiteX5833" fmla="*/ 1355398 w 2077606"/>
              <a:gd name="connsiteY5833" fmla="*/ 147443 h 1786074"/>
              <a:gd name="connsiteX5834" fmla="*/ 1345426 w 2077606"/>
              <a:gd name="connsiteY5834" fmla="*/ 145450 h 1786074"/>
              <a:gd name="connsiteX5835" fmla="*/ 1347420 w 2077606"/>
              <a:gd name="connsiteY5835" fmla="*/ 141464 h 1786074"/>
              <a:gd name="connsiteX5836" fmla="*/ 1345426 w 2077606"/>
              <a:gd name="connsiteY5836" fmla="*/ 141464 h 1786074"/>
              <a:gd name="connsiteX5837" fmla="*/ 1331464 w 2077606"/>
              <a:gd name="connsiteY5837" fmla="*/ 137477 h 1786074"/>
              <a:gd name="connsiteX5838" fmla="*/ 1333458 w 2077606"/>
              <a:gd name="connsiteY5838" fmla="*/ 131498 h 1786074"/>
              <a:gd name="connsiteX5839" fmla="*/ 1339442 w 2077606"/>
              <a:gd name="connsiteY5839" fmla="*/ 125518 h 1786074"/>
              <a:gd name="connsiteX5840" fmla="*/ 1351409 w 2077606"/>
              <a:gd name="connsiteY5840" fmla="*/ 129505 h 1786074"/>
              <a:gd name="connsiteX5841" fmla="*/ 1361382 w 2077606"/>
              <a:gd name="connsiteY5841" fmla="*/ 129505 h 1786074"/>
              <a:gd name="connsiteX5842" fmla="*/ 1361382 w 2077606"/>
              <a:gd name="connsiteY5842" fmla="*/ 125518 h 1786074"/>
              <a:gd name="connsiteX5843" fmla="*/ 1355398 w 2077606"/>
              <a:gd name="connsiteY5843" fmla="*/ 123525 h 1786074"/>
              <a:gd name="connsiteX5844" fmla="*/ 1361382 w 2077606"/>
              <a:gd name="connsiteY5844" fmla="*/ 121532 h 1786074"/>
              <a:gd name="connsiteX5845" fmla="*/ 1369360 w 2077606"/>
              <a:gd name="connsiteY5845" fmla="*/ 121532 h 1786074"/>
              <a:gd name="connsiteX5846" fmla="*/ 1375344 w 2077606"/>
              <a:gd name="connsiteY5846" fmla="*/ 123525 h 1786074"/>
              <a:gd name="connsiteX5847" fmla="*/ 1377338 w 2077606"/>
              <a:gd name="connsiteY5847" fmla="*/ 119539 h 1786074"/>
              <a:gd name="connsiteX5848" fmla="*/ 1383322 w 2077606"/>
              <a:gd name="connsiteY5848" fmla="*/ 119539 h 1786074"/>
              <a:gd name="connsiteX5849" fmla="*/ 1385317 w 2077606"/>
              <a:gd name="connsiteY5849" fmla="*/ 117545 h 1786074"/>
              <a:gd name="connsiteX5850" fmla="*/ 1381328 w 2077606"/>
              <a:gd name="connsiteY5850" fmla="*/ 115552 h 1786074"/>
              <a:gd name="connsiteX5851" fmla="*/ 1375344 w 2077606"/>
              <a:gd name="connsiteY5851" fmla="*/ 115552 h 1786074"/>
              <a:gd name="connsiteX5852" fmla="*/ 1369360 w 2077606"/>
              <a:gd name="connsiteY5852" fmla="*/ 115552 h 1786074"/>
              <a:gd name="connsiteX5853" fmla="*/ 1359387 w 2077606"/>
              <a:gd name="connsiteY5853" fmla="*/ 115552 h 1786074"/>
              <a:gd name="connsiteX5854" fmla="*/ 1349415 w 2077606"/>
              <a:gd name="connsiteY5854" fmla="*/ 111566 h 1786074"/>
              <a:gd name="connsiteX5855" fmla="*/ 1351409 w 2077606"/>
              <a:gd name="connsiteY5855" fmla="*/ 105586 h 1786074"/>
              <a:gd name="connsiteX5856" fmla="*/ 1355398 w 2077606"/>
              <a:gd name="connsiteY5856" fmla="*/ 101600 h 1786074"/>
              <a:gd name="connsiteX5857" fmla="*/ 1877826 w 2077606"/>
              <a:gd name="connsiteY5857" fmla="*/ 0 h 1786074"/>
              <a:gd name="connsiteX5858" fmla="*/ 1881817 w 2077606"/>
              <a:gd name="connsiteY5858" fmla="*/ 4002 h 1786074"/>
              <a:gd name="connsiteX5859" fmla="*/ 1887804 w 2077606"/>
              <a:gd name="connsiteY5859" fmla="*/ 8004 h 1786074"/>
              <a:gd name="connsiteX5860" fmla="*/ 1893790 w 2077606"/>
              <a:gd name="connsiteY5860" fmla="*/ 12005 h 1786074"/>
              <a:gd name="connsiteX5861" fmla="*/ 1903768 w 2077606"/>
              <a:gd name="connsiteY5861" fmla="*/ 12005 h 1786074"/>
              <a:gd name="connsiteX5862" fmla="*/ 1911751 w 2077606"/>
              <a:gd name="connsiteY5862" fmla="*/ 14006 h 1786074"/>
              <a:gd name="connsiteX5863" fmla="*/ 1921729 w 2077606"/>
              <a:gd name="connsiteY5863" fmla="*/ 12005 h 1786074"/>
              <a:gd name="connsiteX5864" fmla="*/ 1929711 w 2077606"/>
              <a:gd name="connsiteY5864" fmla="*/ 12005 h 1786074"/>
              <a:gd name="connsiteX5865" fmla="*/ 1935698 w 2077606"/>
              <a:gd name="connsiteY5865" fmla="*/ 14006 h 1786074"/>
              <a:gd name="connsiteX5866" fmla="*/ 1941685 w 2077606"/>
              <a:gd name="connsiteY5866" fmla="*/ 14006 h 1786074"/>
              <a:gd name="connsiteX5867" fmla="*/ 1949667 w 2077606"/>
              <a:gd name="connsiteY5867" fmla="*/ 16007 h 1786074"/>
              <a:gd name="connsiteX5868" fmla="*/ 1955654 w 2077606"/>
              <a:gd name="connsiteY5868" fmla="*/ 18008 h 1786074"/>
              <a:gd name="connsiteX5869" fmla="*/ 1943680 w 2077606"/>
              <a:gd name="connsiteY5869" fmla="*/ 22010 h 1786074"/>
              <a:gd name="connsiteX5870" fmla="*/ 1927716 w 2077606"/>
              <a:gd name="connsiteY5870" fmla="*/ 24011 h 1786074"/>
              <a:gd name="connsiteX5871" fmla="*/ 1911751 w 2077606"/>
              <a:gd name="connsiteY5871" fmla="*/ 28013 h 1786074"/>
              <a:gd name="connsiteX5872" fmla="*/ 1907760 w 2077606"/>
              <a:gd name="connsiteY5872" fmla="*/ 28013 h 1786074"/>
              <a:gd name="connsiteX5873" fmla="*/ 1901773 w 2077606"/>
              <a:gd name="connsiteY5873" fmla="*/ 30014 h 1786074"/>
              <a:gd name="connsiteX5874" fmla="*/ 1899777 w 2077606"/>
              <a:gd name="connsiteY5874" fmla="*/ 34015 h 1786074"/>
              <a:gd name="connsiteX5875" fmla="*/ 1903768 w 2077606"/>
              <a:gd name="connsiteY5875" fmla="*/ 32015 h 1786074"/>
              <a:gd name="connsiteX5876" fmla="*/ 1911751 w 2077606"/>
              <a:gd name="connsiteY5876" fmla="*/ 30014 h 1786074"/>
              <a:gd name="connsiteX5877" fmla="*/ 1921729 w 2077606"/>
              <a:gd name="connsiteY5877" fmla="*/ 32015 h 1786074"/>
              <a:gd name="connsiteX5878" fmla="*/ 1935698 w 2077606"/>
              <a:gd name="connsiteY5878" fmla="*/ 30014 h 1786074"/>
              <a:gd name="connsiteX5879" fmla="*/ 1951663 w 2077606"/>
              <a:gd name="connsiteY5879" fmla="*/ 26012 h 1786074"/>
              <a:gd name="connsiteX5880" fmla="*/ 1959645 w 2077606"/>
              <a:gd name="connsiteY5880" fmla="*/ 24011 h 1786074"/>
              <a:gd name="connsiteX5881" fmla="*/ 1969623 w 2077606"/>
              <a:gd name="connsiteY5881" fmla="*/ 22010 h 1786074"/>
              <a:gd name="connsiteX5882" fmla="*/ 1977605 w 2077606"/>
              <a:gd name="connsiteY5882" fmla="*/ 24011 h 1786074"/>
              <a:gd name="connsiteX5883" fmla="*/ 1979601 w 2077606"/>
              <a:gd name="connsiteY5883" fmla="*/ 18008 h 1786074"/>
              <a:gd name="connsiteX5884" fmla="*/ 1995565 w 2077606"/>
              <a:gd name="connsiteY5884" fmla="*/ 16007 h 1786074"/>
              <a:gd name="connsiteX5885" fmla="*/ 1995565 w 2077606"/>
              <a:gd name="connsiteY5885" fmla="*/ 22010 h 1786074"/>
              <a:gd name="connsiteX5886" fmla="*/ 2001552 w 2077606"/>
              <a:gd name="connsiteY5886" fmla="*/ 24011 h 1786074"/>
              <a:gd name="connsiteX5887" fmla="*/ 2009535 w 2077606"/>
              <a:gd name="connsiteY5887" fmla="*/ 20009 h 1786074"/>
              <a:gd name="connsiteX5888" fmla="*/ 2015521 w 2077606"/>
              <a:gd name="connsiteY5888" fmla="*/ 20009 h 1786074"/>
              <a:gd name="connsiteX5889" fmla="*/ 2017517 w 2077606"/>
              <a:gd name="connsiteY5889" fmla="*/ 26012 h 1786074"/>
              <a:gd name="connsiteX5890" fmla="*/ 2019513 w 2077606"/>
              <a:gd name="connsiteY5890" fmla="*/ 28013 h 1786074"/>
              <a:gd name="connsiteX5891" fmla="*/ 2023504 w 2077606"/>
              <a:gd name="connsiteY5891" fmla="*/ 28013 h 1786074"/>
              <a:gd name="connsiteX5892" fmla="*/ 2027495 w 2077606"/>
              <a:gd name="connsiteY5892" fmla="*/ 36016 h 1786074"/>
              <a:gd name="connsiteX5893" fmla="*/ 2025499 w 2077606"/>
              <a:gd name="connsiteY5893" fmla="*/ 40018 h 1786074"/>
              <a:gd name="connsiteX5894" fmla="*/ 2021508 w 2077606"/>
              <a:gd name="connsiteY5894" fmla="*/ 48022 h 1786074"/>
              <a:gd name="connsiteX5895" fmla="*/ 2029490 w 2077606"/>
              <a:gd name="connsiteY5895" fmla="*/ 44020 h 1786074"/>
              <a:gd name="connsiteX5896" fmla="*/ 2039468 w 2077606"/>
              <a:gd name="connsiteY5896" fmla="*/ 42019 h 1786074"/>
              <a:gd name="connsiteX5897" fmla="*/ 2049446 w 2077606"/>
              <a:gd name="connsiteY5897" fmla="*/ 40018 h 1786074"/>
              <a:gd name="connsiteX5898" fmla="*/ 2051442 w 2077606"/>
              <a:gd name="connsiteY5898" fmla="*/ 44020 h 1786074"/>
              <a:gd name="connsiteX5899" fmla="*/ 2061420 w 2077606"/>
              <a:gd name="connsiteY5899" fmla="*/ 42019 h 1786074"/>
              <a:gd name="connsiteX5900" fmla="*/ 2067407 w 2077606"/>
              <a:gd name="connsiteY5900" fmla="*/ 44020 h 1786074"/>
              <a:gd name="connsiteX5901" fmla="*/ 2077385 w 2077606"/>
              <a:gd name="connsiteY5901" fmla="*/ 44020 h 1786074"/>
              <a:gd name="connsiteX5902" fmla="*/ 2071398 w 2077606"/>
              <a:gd name="connsiteY5902" fmla="*/ 58026 h 1786074"/>
              <a:gd name="connsiteX5903" fmla="*/ 2039468 w 2077606"/>
              <a:gd name="connsiteY5903" fmla="*/ 70032 h 1786074"/>
              <a:gd name="connsiteX5904" fmla="*/ 2027495 w 2077606"/>
              <a:gd name="connsiteY5904" fmla="*/ 76035 h 1786074"/>
              <a:gd name="connsiteX5905" fmla="*/ 2017517 w 2077606"/>
              <a:gd name="connsiteY5905" fmla="*/ 80036 h 1786074"/>
              <a:gd name="connsiteX5906" fmla="*/ 2005543 w 2077606"/>
              <a:gd name="connsiteY5906" fmla="*/ 82037 h 1786074"/>
              <a:gd name="connsiteX5907" fmla="*/ 1995565 w 2077606"/>
              <a:gd name="connsiteY5907" fmla="*/ 86039 h 1786074"/>
              <a:gd name="connsiteX5908" fmla="*/ 1987583 w 2077606"/>
              <a:gd name="connsiteY5908" fmla="*/ 86039 h 1786074"/>
              <a:gd name="connsiteX5909" fmla="*/ 1977605 w 2077606"/>
              <a:gd name="connsiteY5909" fmla="*/ 84038 h 1786074"/>
              <a:gd name="connsiteX5910" fmla="*/ 1971618 w 2077606"/>
              <a:gd name="connsiteY5910" fmla="*/ 84038 h 1786074"/>
              <a:gd name="connsiteX5911" fmla="*/ 1959645 w 2077606"/>
              <a:gd name="connsiteY5911" fmla="*/ 84038 h 1786074"/>
              <a:gd name="connsiteX5912" fmla="*/ 1963636 w 2077606"/>
              <a:gd name="connsiteY5912" fmla="*/ 96044 h 1786074"/>
              <a:gd name="connsiteX5913" fmla="*/ 1973614 w 2077606"/>
              <a:gd name="connsiteY5913" fmla="*/ 96044 h 1786074"/>
              <a:gd name="connsiteX5914" fmla="*/ 1985588 w 2077606"/>
              <a:gd name="connsiteY5914" fmla="*/ 94043 h 1786074"/>
              <a:gd name="connsiteX5915" fmla="*/ 1983592 w 2077606"/>
              <a:gd name="connsiteY5915" fmla="*/ 102046 h 1786074"/>
              <a:gd name="connsiteX5916" fmla="*/ 1955654 w 2077606"/>
              <a:gd name="connsiteY5916" fmla="*/ 112051 h 1786074"/>
              <a:gd name="connsiteX5917" fmla="*/ 1943680 w 2077606"/>
              <a:gd name="connsiteY5917" fmla="*/ 124056 h 1786074"/>
              <a:gd name="connsiteX5918" fmla="*/ 1923724 w 2077606"/>
              <a:gd name="connsiteY5918" fmla="*/ 130059 h 1786074"/>
              <a:gd name="connsiteX5919" fmla="*/ 1917738 w 2077606"/>
              <a:gd name="connsiteY5919" fmla="*/ 134061 h 1786074"/>
              <a:gd name="connsiteX5920" fmla="*/ 1907760 w 2077606"/>
              <a:gd name="connsiteY5920" fmla="*/ 138063 h 1786074"/>
              <a:gd name="connsiteX5921" fmla="*/ 1897782 w 2077606"/>
              <a:gd name="connsiteY5921" fmla="*/ 144066 h 1786074"/>
              <a:gd name="connsiteX5922" fmla="*/ 1889799 w 2077606"/>
              <a:gd name="connsiteY5922" fmla="*/ 148067 h 1786074"/>
              <a:gd name="connsiteX5923" fmla="*/ 1885808 w 2077606"/>
              <a:gd name="connsiteY5923" fmla="*/ 154070 h 1786074"/>
              <a:gd name="connsiteX5924" fmla="*/ 1877826 w 2077606"/>
              <a:gd name="connsiteY5924" fmla="*/ 160073 h 1786074"/>
              <a:gd name="connsiteX5925" fmla="*/ 1869843 w 2077606"/>
              <a:gd name="connsiteY5925" fmla="*/ 166076 h 1786074"/>
              <a:gd name="connsiteX5926" fmla="*/ 1859866 w 2077606"/>
              <a:gd name="connsiteY5926" fmla="*/ 164075 h 1786074"/>
              <a:gd name="connsiteX5927" fmla="*/ 1853879 w 2077606"/>
              <a:gd name="connsiteY5927" fmla="*/ 164075 h 1786074"/>
              <a:gd name="connsiteX5928" fmla="*/ 1849888 w 2077606"/>
              <a:gd name="connsiteY5928" fmla="*/ 164075 h 1786074"/>
              <a:gd name="connsiteX5929" fmla="*/ 1841905 w 2077606"/>
              <a:gd name="connsiteY5929" fmla="*/ 162074 h 1786074"/>
              <a:gd name="connsiteX5930" fmla="*/ 1837914 w 2077606"/>
              <a:gd name="connsiteY5930" fmla="*/ 162074 h 1786074"/>
              <a:gd name="connsiteX5931" fmla="*/ 1841905 w 2077606"/>
              <a:gd name="connsiteY5931" fmla="*/ 168076 h 1786074"/>
              <a:gd name="connsiteX5932" fmla="*/ 1845896 w 2077606"/>
              <a:gd name="connsiteY5932" fmla="*/ 168076 h 1786074"/>
              <a:gd name="connsiteX5933" fmla="*/ 1849888 w 2077606"/>
              <a:gd name="connsiteY5933" fmla="*/ 168076 h 1786074"/>
              <a:gd name="connsiteX5934" fmla="*/ 1853879 w 2077606"/>
              <a:gd name="connsiteY5934" fmla="*/ 168076 h 1786074"/>
              <a:gd name="connsiteX5935" fmla="*/ 1853879 w 2077606"/>
              <a:gd name="connsiteY5935" fmla="*/ 174079 h 1786074"/>
              <a:gd name="connsiteX5936" fmla="*/ 1847892 w 2077606"/>
              <a:gd name="connsiteY5936" fmla="*/ 176080 h 1786074"/>
              <a:gd name="connsiteX5937" fmla="*/ 1837914 w 2077606"/>
              <a:gd name="connsiteY5937" fmla="*/ 176080 h 1786074"/>
              <a:gd name="connsiteX5938" fmla="*/ 1819954 w 2077606"/>
              <a:gd name="connsiteY5938" fmla="*/ 174079 h 1786074"/>
              <a:gd name="connsiteX5939" fmla="*/ 1803989 w 2077606"/>
              <a:gd name="connsiteY5939" fmla="*/ 176080 h 1786074"/>
              <a:gd name="connsiteX5940" fmla="*/ 1807980 w 2077606"/>
              <a:gd name="connsiteY5940" fmla="*/ 180082 h 1786074"/>
              <a:gd name="connsiteX5941" fmla="*/ 1817958 w 2077606"/>
              <a:gd name="connsiteY5941" fmla="*/ 180082 h 1786074"/>
              <a:gd name="connsiteX5942" fmla="*/ 1825941 w 2077606"/>
              <a:gd name="connsiteY5942" fmla="*/ 180082 h 1786074"/>
              <a:gd name="connsiteX5943" fmla="*/ 1831927 w 2077606"/>
              <a:gd name="connsiteY5943" fmla="*/ 180082 h 1786074"/>
              <a:gd name="connsiteX5944" fmla="*/ 1835918 w 2077606"/>
              <a:gd name="connsiteY5944" fmla="*/ 184084 h 1786074"/>
              <a:gd name="connsiteX5945" fmla="*/ 1825941 w 2077606"/>
              <a:gd name="connsiteY5945" fmla="*/ 188086 h 1786074"/>
              <a:gd name="connsiteX5946" fmla="*/ 1827936 w 2077606"/>
              <a:gd name="connsiteY5946" fmla="*/ 192087 h 1786074"/>
              <a:gd name="connsiteX5947" fmla="*/ 1823945 w 2077606"/>
              <a:gd name="connsiteY5947" fmla="*/ 196089 h 1786074"/>
              <a:gd name="connsiteX5948" fmla="*/ 1813967 w 2077606"/>
              <a:gd name="connsiteY5948" fmla="*/ 202092 h 1786074"/>
              <a:gd name="connsiteX5949" fmla="*/ 1803989 w 2077606"/>
              <a:gd name="connsiteY5949" fmla="*/ 202092 h 1786074"/>
              <a:gd name="connsiteX5950" fmla="*/ 1798002 w 2077606"/>
              <a:gd name="connsiteY5950" fmla="*/ 202092 h 1786074"/>
              <a:gd name="connsiteX5951" fmla="*/ 1790020 w 2077606"/>
              <a:gd name="connsiteY5951" fmla="*/ 204093 h 1786074"/>
              <a:gd name="connsiteX5952" fmla="*/ 1782038 w 2077606"/>
              <a:gd name="connsiteY5952" fmla="*/ 200091 h 1786074"/>
              <a:gd name="connsiteX5953" fmla="*/ 1778046 w 2077606"/>
              <a:gd name="connsiteY5953" fmla="*/ 196089 h 1786074"/>
              <a:gd name="connsiteX5954" fmla="*/ 1778046 w 2077606"/>
              <a:gd name="connsiteY5954" fmla="*/ 190087 h 1786074"/>
              <a:gd name="connsiteX5955" fmla="*/ 1770064 w 2077606"/>
              <a:gd name="connsiteY5955" fmla="*/ 188086 h 1786074"/>
              <a:gd name="connsiteX5956" fmla="*/ 1764077 w 2077606"/>
              <a:gd name="connsiteY5956" fmla="*/ 188086 h 1786074"/>
              <a:gd name="connsiteX5957" fmla="*/ 1758091 w 2077606"/>
              <a:gd name="connsiteY5957" fmla="*/ 188086 h 1786074"/>
              <a:gd name="connsiteX5958" fmla="*/ 1748113 w 2077606"/>
              <a:gd name="connsiteY5958" fmla="*/ 188086 h 1786074"/>
              <a:gd name="connsiteX5959" fmla="*/ 1740130 w 2077606"/>
              <a:gd name="connsiteY5959" fmla="*/ 190087 h 1786074"/>
              <a:gd name="connsiteX5960" fmla="*/ 1740130 w 2077606"/>
              <a:gd name="connsiteY5960" fmla="*/ 194088 h 1786074"/>
              <a:gd name="connsiteX5961" fmla="*/ 1744121 w 2077606"/>
              <a:gd name="connsiteY5961" fmla="*/ 194088 h 1786074"/>
              <a:gd name="connsiteX5962" fmla="*/ 1748113 w 2077606"/>
              <a:gd name="connsiteY5962" fmla="*/ 194088 h 1786074"/>
              <a:gd name="connsiteX5963" fmla="*/ 1756095 w 2077606"/>
              <a:gd name="connsiteY5963" fmla="*/ 192087 h 1786074"/>
              <a:gd name="connsiteX5964" fmla="*/ 1758091 w 2077606"/>
              <a:gd name="connsiteY5964" fmla="*/ 192087 h 1786074"/>
              <a:gd name="connsiteX5965" fmla="*/ 1762082 w 2077606"/>
              <a:gd name="connsiteY5965" fmla="*/ 194088 h 1786074"/>
              <a:gd name="connsiteX5966" fmla="*/ 1770064 w 2077606"/>
              <a:gd name="connsiteY5966" fmla="*/ 196089 h 1786074"/>
              <a:gd name="connsiteX5967" fmla="*/ 1776051 w 2077606"/>
              <a:gd name="connsiteY5967" fmla="*/ 204093 h 1786074"/>
              <a:gd name="connsiteX5968" fmla="*/ 1772060 w 2077606"/>
              <a:gd name="connsiteY5968" fmla="*/ 206094 h 1786074"/>
              <a:gd name="connsiteX5969" fmla="*/ 1764077 w 2077606"/>
              <a:gd name="connsiteY5969" fmla="*/ 206094 h 1786074"/>
              <a:gd name="connsiteX5970" fmla="*/ 1756095 w 2077606"/>
              <a:gd name="connsiteY5970" fmla="*/ 210096 h 1786074"/>
              <a:gd name="connsiteX5971" fmla="*/ 1746117 w 2077606"/>
              <a:gd name="connsiteY5971" fmla="*/ 210096 h 1786074"/>
              <a:gd name="connsiteX5972" fmla="*/ 1740130 w 2077606"/>
              <a:gd name="connsiteY5972" fmla="*/ 210096 h 1786074"/>
              <a:gd name="connsiteX5973" fmla="*/ 1734143 w 2077606"/>
              <a:gd name="connsiteY5973" fmla="*/ 214097 h 1786074"/>
              <a:gd name="connsiteX5974" fmla="*/ 1724166 w 2077606"/>
              <a:gd name="connsiteY5974" fmla="*/ 212097 h 1786074"/>
              <a:gd name="connsiteX5975" fmla="*/ 1720174 w 2077606"/>
              <a:gd name="connsiteY5975" fmla="*/ 212097 h 1786074"/>
              <a:gd name="connsiteX5976" fmla="*/ 1716183 w 2077606"/>
              <a:gd name="connsiteY5976" fmla="*/ 212097 h 1786074"/>
              <a:gd name="connsiteX5977" fmla="*/ 1708201 w 2077606"/>
              <a:gd name="connsiteY5977" fmla="*/ 212097 h 1786074"/>
              <a:gd name="connsiteX5978" fmla="*/ 1700219 w 2077606"/>
              <a:gd name="connsiteY5978" fmla="*/ 214097 h 1786074"/>
              <a:gd name="connsiteX5979" fmla="*/ 1696227 w 2077606"/>
              <a:gd name="connsiteY5979" fmla="*/ 210096 h 1786074"/>
              <a:gd name="connsiteX5980" fmla="*/ 1692236 w 2077606"/>
              <a:gd name="connsiteY5980" fmla="*/ 210096 h 1786074"/>
              <a:gd name="connsiteX5981" fmla="*/ 1684254 w 2077606"/>
              <a:gd name="connsiteY5981" fmla="*/ 210096 h 1786074"/>
              <a:gd name="connsiteX5982" fmla="*/ 1686249 w 2077606"/>
              <a:gd name="connsiteY5982" fmla="*/ 216098 h 1786074"/>
              <a:gd name="connsiteX5983" fmla="*/ 1700219 w 2077606"/>
              <a:gd name="connsiteY5983" fmla="*/ 218099 h 1786074"/>
              <a:gd name="connsiteX5984" fmla="*/ 1728157 w 2077606"/>
              <a:gd name="connsiteY5984" fmla="*/ 218099 h 1786074"/>
              <a:gd name="connsiteX5985" fmla="*/ 1734143 w 2077606"/>
              <a:gd name="connsiteY5985" fmla="*/ 218099 h 1786074"/>
              <a:gd name="connsiteX5986" fmla="*/ 1744121 w 2077606"/>
              <a:gd name="connsiteY5986" fmla="*/ 218099 h 1786074"/>
              <a:gd name="connsiteX5987" fmla="*/ 1750108 w 2077606"/>
              <a:gd name="connsiteY5987" fmla="*/ 230105 h 1786074"/>
              <a:gd name="connsiteX5988" fmla="*/ 1746117 w 2077606"/>
              <a:gd name="connsiteY5988" fmla="*/ 234107 h 1786074"/>
              <a:gd name="connsiteX5989" fmla="*/ 1736139 w 2077606"/>
              <a:gd name="connsiteY5989" fmla="*/ 232106 h 1786074"/>
              <a:gd name="connsiteX5990" fmla="*/ 1728157 w 2077606"/>
              <a:gd name="connsiteY5990" fmla="*/ 230105 h 1786074"/>
              <a:gd name="connsiteX5991" fmla="*/ 1722170 w 2077606"/>
              <a:gd name="connsiteY5991" fmla="*/ 222101 h 1786074"/>
              <a:gd name="connsiteX5992" fmla="*/ 1714188 w 2077606"/>
              <a:gd name="connsiteY5992" fmla="*/ 222101 h 1786074"/>
              <a:gd name="connsiteX5993" fmla="*/ 1706205 w 2077606"/>
              <a:gd name="connsiteY5993" fmla="*/ 222101 h 1786074"/>
              <a:gd name="connsiteX5994" fmla="*/ 1700219 w 2077606"/>
              <a:gd name="connsiteY5994" fmla="*/ 222101 h 1786074"/>
              <a:gd name="connsiteX5995" fmla="*/ 1694232 w 2077606"/>
              <a:gd name="connsiteY5995" fmla="*/ 222101 h 1786074"/>
              <a:gd name="connsiteX5996" fmla="*/ 1686249 w 2077606"/>
              <a:gd name="connsiteY5996" fmla="*/ 220100 h 1786074"/>
              <a:gd name="connsiteX5997" fmla="*/ 1676271 w 2077606"/>
              <a:gd name="connsiteY5997" fmla="*/ 220100 h 1786074"/>
              <a:gd name="connsiteX5998" fmla="*/ 1674276 w 2077606"/>
              <a:gd name="connsiteY5998" fmla="*/ 224102 h 1786074"/>
              <a:gd name="connsiteX5999" fmla="*/ 1680263 w 2077606"/>
              <a:gd name="connsiteY5999" fmla="*/ 226103 h 1786074"/>
              <a:gd name="connsiteX6000" fmla="*/ 1684254 w 2077606"/>
              <a:gd name="connsiteY6000" fmla="*/ 226103 h 1786074"/>
              <a:gd name="connsiteX6001" fmla="*/ 1690241 w 2077606"/>
              <a:gd name="connsiteY6001" fmla="*/ 226103 h 1786074"/>
              <a:gd name="connsiteX6002" fmla="*/ 1698223 w 2077606"/>
              <a:gd name="connsiteY6002" fmla="*/ 226103 h 1786074"/>
              <a:gd name="connsiteX6003" fmla="*/ 1700219 w 2077606"/>
              <a:gd name="connsiteY6003" fmla="*/ 226103 h 1786074"/>
              <a:gd name="connsiteX6004" fmla="*/ 1706205 w 2077606"/>
              <a:gd name="connsiteY6004" fmla="*/ 226103 h 1786074"/>
              <a:gd name="connsiteX6005" fmla="*/ 1710196 w 2077606"/>
              <a:gd name="connsiteY6005" fmla="*/ 224102 h 1786074"/>
              <a:gd name="connsiteX6006" fmla="*/ 1718179 w 2077606"/>
              <a:gd name="connsiteY6006" fmla="*/ 226103 h 1786074"/>
              <a:gd name="connsiteX6007" fmla="*/ 1716183 w 2077606"/>
              <a:gd name="connsiteY6007" fmla="*/ 228104 h 1786074"/>
              <a:gd name="connsiteX6008" fmla="*/ 1710196 w 2077606"/>
              <a:gd name="connsiteY6008" fmla="*/ 228104 h 1786074"/>
              <a:gd name="connsiteX6009" fmla="*/ 1706205 w 2077606"/>
              <a:gd name="connsiteY6009" fmla="*/ 228104 h 1786074"/>
              <a:gd name="connsiteX6010" fmla="*/ 1700219 w 2077606"/>
              <a:gd name="connsiteY6010" fmla="*/ 230105 h 1786074"/>
              <a:gd name="connsiteX6011" fmla="*/ 1694232 w 2077606"/>
              <a:gd name="connsiteY6011" fmla="*/ 230105 h 1786074"/>
              <a:gd name="connsiteX6012" fmla="*/ 1690241 w 2077606"/>
              <a:gd name="connsiteY6012" fmla="*/ 230105 h 1786074"/>
              <a:gd name="connsiteX6013" fmla="*/ 1680263 w 2077606"/>
              <a:gd name="connsiteY6013" fmla="*/ 232106 h 1786074"/>
              <a:gd name="connsiteX6014" fmla="*/ 1684254 w 2077606"/>
              <a:gd name="connsiteY6014" fmla="*/ 234107 h 1786074"/>
              <a:gd name="connsiteX6015" fmla="*/ 1690241 w 2077606"/>
              <a:gd name="connsiteY6015" fmla="*/ 234107 h 1786074"/>
              <a:gd name="connsiteX6016" fmla="*/ 1694232 w 2077606"/>
              <a:gd name="connsiteY6016" fmla="*/ 232106 h 1786074"/>
              <a:gd name="connsiteX6017" fmla="*/ 1698223 w 2077606"/>
              <a:gd name="connsiteY6017" fmla="*/ 232106 h 1786074"/>
              <a:gd name="connsiteX6018" fmla="*/ 1702214 w 2077606"/>
              <a:gd name="connsiteY6018" fmla="*/ 234107 h 1786074"/>
              <a:gd name="connsiteX6019" fmla="*/ 1710196 w 2077606"/>
              <a:gd name="connsiteY6019" fmla="*/ 234107 h 1786074"/>
              <a:gd name="connsiteX6020" fmla="*/ 1716183 w 2077606"/>
              <a:gd name="connsiteY6020" fmla="*/ 234107 h 1786074"/>
              <a:gd name="connsiteX6021" fmla="*/ 1716183 w 2077606"/>
              <a:gd name="connsiteY6021" fmla="*/ 238108 h 1786074"/>
              <a:gd name="connsiteX6022" fmla="*/ 1720174 w 2077606"/>
              <a:gd name="connsiteY6022" fmla="*/ 240109 h 1786074"/>
              <a:gd name="connsiteX6023" fmla="*/ 1724166 w 2077606"/>
              <a:gd name="connsiteY6023" fmla="*/ 238108 h 1786074"/>
              <a:gd name="connsiteX6024" fmla="*/ 1730152 w 2077606"/>
              <a:gd name="connsiteY6024" fmla="*/ 240109 h 1786074"/>
              <a:gd name="connsiteX6025" fmla="*/ 1734143 w 2077606"/>
              <a:gd name="connsiteY6025" fmla="*/ 240109 h 1786074"/>
              <a:gd name="connsiteX6026" fmla="*/ 1736139 w 2077606"/>
              <a:gd name="connsiteY6026" fmla="*/ 244111 h 1786074"/>
              <a:gd name="connsiteX6027" fmla="*/ 1738135 w 2077606"/>
              <a:gd name="connsiteY6027" fmla="*/ 248113 h 1786074"/>
              <a:gd name="connsiteX6028" fmla="*/ 1734143 w 2077606"/>
              <a:gd name="connsiteY6028" fmla="*/ 260118 h 1786074"/>
              <a:gd name="connsiteX6029" fmla="*/ 1726161 w 2077606"/>
              <a:gd name="connsiteY6029" fmla="*/ 262119 h 1786074"/>
              <a:gd name="connsiteX6030" fmla="*/ 1718179 w 2077606"/>
              <a:gd name="connsiteY6030" fmla="*/ 260118 h 1786074"/>
              <a:gd name="connsiteX6031" fmla="*/ 1712192 w 2077606"/>
              <a:gd name="connsiteY6031" fmla="*/ 258118 h 1786074"/>
              <a:gd name="connsiteX6032" fmla="*/ 1698223 w 2077606"/>
              <a:gd name="connsiteY6032" fmla="*/ 260118 h 1786074"/>
              <a:gd name="connsiteX6033" fmla="*/ 1702214 w 2077606"/>
              <a:gd name="connsiteY6033" fmla="*/ 264120 h 1786074"/>
              <a:gd name="connsiteX6034" fmla="*/ 1712192 w 2077606"/>
              <a:gd name="connsiteY6034" fmla="*/ 264120 h 1786074"/>
              <a:gd name="connsiteX6035" fmla="*/ 1722170 w 2077606"/>
              <a:gd name="connsiteY6035" fmla="*/ 266121 h 1786074"/>
              <a:gd name="connsiteX6036" fmla="*/ 1726161 w 2077606"/>
              <a:gd name="connsiteY6036" fmla="*/ 270123 h 1786074"/>
              <a:gd name="connsiteX6037" fmla="*/ 1716183 w 2077606"/>
              <a:gd name="connsiteY6037" fmla="*/ 274125 h 1786074"/>
              <a:gd name="connsiteX6038" fmla="*/ 1700219 w 2077606"/>
              <a:gd name="connsiteY6038" fmla="*/ 272124 h 1786074"/>
              <a:gd name="connsiteX6039" fmla="*/ 1690241 w 2077606"/>
              <a:gd name="connsiteY6039" fmla="*/ 270123 h 1786074"/>
              <a:gd name="connsiteX6040" fmla="*/ 1686249 w 2077606"/>
              <a:gd name="connsiteY6040" fmla="*/ 274125 h 1786074"/>
              <a:gd name="connsiteX6041" fmla="*/ 1692236 w 2077606"/>
              <a:gd name="connsiteY6041" fmla="*/ 276126 h 1786074"/>
              <a:gd name="connsiteX6042" fmla="*/ 1698223 w 2077606"/>
              <a:gd name="connsiteY6042" fmla="*/ 278127 h 1786074"/>
              <a:gd name="connsiteX6043" fmla="*/ 1706205 w 2077606"/>
              <a:gd name="connsiteY6043" fmla="*/ 276126 h 1786074"/>
              <a:gd name="connsiteX6044" fmla="*/ 1710196 w 2077606"/>
              <a:gd name="connsiteY6044" fmla="*/ 276126 h 1786074"/>
              <a:gd name="connsiteX6045" fmla="*/ 1710196 w 2077606"/>
              <a:gd name="connsiteY6045" fmla="*/ 286130 h 1786074"/>
              <a:gd name="connsiteX6046" fmla="*/ 1702214 w 2077606"/>
              <a:gd name="connsiteY6046" fmla="*/ 286130 h 1786074"/>
              <a:gd name="connsiteX6047" fmla="*/ 1696227 w 2077606"/>
              <a:gd name="connsiteY6047" fmla="*/ 286130 h 1786074"/>
              <a:gd name="connsiteX6048" fmla="*/ 1688245 w 2077606"/>
              <a:gd name="connsiteY6048" fmla="*/ 290132 h 1786074"/>
              <a:gd name="connsiteX6049" fmla="*/ 1680263 w 2077606"/>
              <a:gd name="connsiteY6049" fmla="*/ 290132 h 1786074"/>
              <a:gd name="connsiteX6050" fmla="*/ 1670285 w 2077606"/>
              <a:gd name="connsiteY6050" fmla="*/ 288131 h 1786074"/>
              <a:gd name="connsiteX6051" fmla="*/ 1660307 w 2077606"/>
              <a:gd name="connsiteY6051" fmla="*/ 286130 h 1786074"/>
              <a:gd name="connsiteX6052" fmla="*/ 1658311 w 2077606"/>
              <a:gd name="connsiteY6052" fmla="*/ 292133 h 1786074"/>
              <a:gd name="connsiteX6053" fmla="*/ 1658311 w 2077606"/>
              <a:gd name="connsiteY6053" fmla="*/ 302138 h 1786074"/>
              <a:gd name="connsiteX6054" fmla="*/ 1662302 w 2077606"/>
              <a:gd name="connsiteY6054" fmla="*/ 310141 h 1786074"/>
              <a:gd name="connsiteX6055" fmla="*/ 1650329 w 2077606"/>
              <a:gd name="connsiteY6055" fmla="*/ 316144 h 1786074"/>
              <a:gd name="connsiteX6056" fmla="*/ 1642346 w 2077606"/>
              <a:gd name="connsiteY6056" fmla="*/ 322147 h 1786074"/>
              <a:gd name="connsiteX6057" fmla="*/ 1636360 w 2077606"/>
              <a:gd name="connsiteY6057" fmla="*/ 324148 h 1786074"/>
              <a:gd name="connsiteX6058" fmla="*/ 1630373 w 2077606"/>
              <a:gd name="connsiteY6058" fmla="*/ 322147 h 1786074"/>
              <a:gd name="connsiteX6059" fmla="*/ 1622391 w 2077606"/>
              <a:gd name="connsiteY6059" fmla="*/ 320146 h 1786074"/>
              <a:gd name="connsiteX6060" fmla="*/ 1616404 w 2077606"/>
              <a:gd name="connsiteY6060" fmla="*/ 320146 h 1786074"/>
              <a:gd name="connsiteX6061" fmla="*/ 1606426 w 2077606"/>
              <a:gd name="connsiteY6061" fmla="*/ 320146 h 1786074"/>
              <a:gd name="connsiteX6062" fmla="*/ 1592457 w 2077606"/>
              <a:gd name="connsiteY6062" fmla="*/ 320146 h 1786074"/>
              <a:gd name="connsiteX6063" fmla="*/ 1586470 w 2077606"/>
              <a:gd name="connsiteY6063" fmla="*/ 316144 h 1786074"/>
              <a:gd name="connsiteX6064" fmla="*/ 1580483 w 2077606"/>
              <a:gd name="connsiteY6064" fmla="*/ 312142 h 1786074"/>
              <a:gd name="connsiteX6065" fmla="*/ 1578488 w 2077606"/>
              <a:gd name="connsiteY6065" fmla="*/ 310141 h 1786074"/>
              <a:gd name="connsiteX6066" fmla="*/ 1572501 w 2077606"/>
              <a:gd name="connsiteY6066" fmla="*/ 306139 h 1786074"/>
              <a:gd name="connsiteX6067" fmla="*/ 1572501 w 2077606"/>
              <a:gd name="connsiteY6067" fmla="*/ 318145 h 1786074"/>
              <a:gd name="connsiteX6068" fmla="*/ 1594452 w 2077606"/>
              <a:gd name="connsiteY6068" fmla="*/ 324148 h 1786074"/>
              <a:gd name="connsiteX6069" fmla="*/ 1604430 w 2077606"/>
              <a:gd name="connsiteY6069" fmla="*/ 326148 h 1786074"/>
              <a:gd name="connsiteX6070" fmla="*/ 1602435 w 2077606"/>
              <a:gd name="connsiteY6070" fmla="*/ 334152 h 1786074"/>
              <a:gd name="connsiteX6071" fmla="*/ 1608421 w 2077606"/>
              <a:gd name="connsiteY6071" fmla="*/ 332151 h 1786074"/>
              <a:gd name="connsiteX6072" fmla="*/ 1610417 w 2077606"/>
              <a:gd name="connsiteY6072" fmla="*/ 326148 h 1786074"/>
              <a:gd name="connsiteX6073" fmla="*/ 1618399 w 2077606"/>
              <a:gd name="connsiteY6073" fmla="*/ 324148 h 1786074"/>
              <a:gd name="connsiteX6074" fmla="*/ 1624386 w 2077606"/>
              <a:gd name="connsiteY6074" fmla="*/ 328149 h 1786074"/>
              <a:gd name="connsiteX6075" fmla="*/ 1628377 w 2077606"/>
              <a:gd name="connsiteY6075" fmla="*/ 330150 h 1786074"/>
              <a:gd name="connsiteX6076" fmla="*/ 1624386 w 2077606"/>
              <a:gd name="connsiteY6076" fmla="*/ 340155 h 1786074"/>
              <a:gd name="connsiteX6077" fmla="*/ 1626382 w 2077606"/>
              <a:gd name="connsiteY6077" fmla="*/ 342156 h 1786074"/>
              <a:gd name="connsiteX6078" fmla="*/ 1628377 w 2077606"/>
              <a:gd name="connsiteY6078" fmla="*/ 350159 h 1786074"/>
              <a:gd name="connsiteX6079" fmla="*/ 1630373 w 2077606"/>
              <a:gd name="connsiteY6079" fmla="*/ 348159 h 1786074"/>
              <a:gd name="connsiteX6080" fmla="*/ 1636360 w 2077606"/>
              <a:gd name="connsiteY6080" fmla="*/ 346158 h 1786074"/>
              <a:gd name="connsiteX6081" fmla="*/ 1640351 w 2077606"/>
              <a:gd name="connsiteY6081" fmla="*/ 342156 h 1786074"/>
              <a:gd name="connsiteX6082" fmla="*/ 1646338 w 2077606"/>
              <a:gd name="connsiteY6082" fmla="*/ 338154 h 1786074"/>
              <a:gd name="connsiteX6083" fmla="*/ 1654320 w 2077606"/>
              <a:gd name="connsiteY6083" fmla="*/ 344157 h 1786074"/>
              <a:gd name="connsiteX6084" fmla="*/ 1652324 w 2077606"/>
              <a:gd name="connsiteY6084" fmla="*/ 354161 h 1786074"/>
              <a:gd name="connsiteX6085" fmla="*/ 1642346 w 2077606"/>
              <a:gd name="connsiteY6085" fmla="*/ 362165 h 1786074"/>
              <a:gd name="connsiteX6086" fmla="*/ 1634364 w 2077606"/>
              <a:gd name="connsiteY6086" fmla="*/ 372169 h 1786074"/>
              <a:gd name="connsiteX6087" fmla="*/ 1628377 w 2077606"/>
              <a:gd name="connsiteY6087" fmla="*/ 370169 h 1786074"/>
              <a:gd name="connsiteX6088" fmla="*/ 1626382 w 2077606"/>
              <a:gd name="connsiteY6088" fmla="*/ 362165 h 1786074"/>
              <a:gd name="connsiteX6089" fmla="*/ 1622391 w 2077606"/>
              <a:gd name="connsiteY6089" fmla="*/ 370169 h 1786074"/>
              <a:gd name="connsiteX6090" fmla="*/ 1614408 w 2077606"/>
              <a:gd name="connsiteY6090" fmla="*/ 370169 h 1786074"/>
              <a:gd name="connsiteX6091" fmla="*/ 1612413 w 2077606"/>
              <a:gd name="connsiteY6091" fmla="*/ 376171 h 1786074"/>
              <a:gd name="connsiteX6092" fmla="*/ 1608421 w 2077606"/>
              <a:gd name="connsiteY6092" fmla="*/ 378172 h 1786074"/>
              <a:gd name="connsiteX6093" fmla="*/ 1604430 w 2077606"/>
              <a:gd name="connsiteY6093" fmla="*/ 378172 h 1786074"/>
              <a:gd name="connsiteX6094" fmla="*/ 1598444 w 2077606"/>
              <a:gd name="connsiteY6094" fmla="*/ 376171 h 1786074"/>
              <a:gd name="connsiteX6095" fmla="*/ 1588466 w 2077606"/>
              <a:gd name="connsiteY6095" fmla="*/ 376171 h 1786074"/>
              <a:gd name="connsiteX6096" fmla="*/ 1578488 w 2077606"/>
              <a:gd name="connsiteY6096" fmla="*/ 380173 h 1786074"/>
              <a:gd name="connsiteX6097" fmla="*/ 1580483 w 2077606"/>
              <a:gd name="connsiteY6097" fmla="*/ 368168 h 1786074"/>
              <a:gd name="connsiteX6098" fmla="*/ 1574496 w 2077606"/>
              <a:gd name="connsiteY6098" fmla="*/ 366167 h 1786074"/>
              <a:gd name="connsiteX6099" fmla="*/ 1568510 w 2077606"/>
              <a:gd name="connsiteY6099" fmla="*/ 368168 h 1786074"/>
              <a:gd name="connsiteX6100" fmla="*/ 1560527 w 2077606"/>
              <a:gd name="connsiteY6100" fmla="*/ 366167 h 1786074"/>
              <a:gd name="connsiteX6101" fmla="*/ 1562523 w 2077606"/>
              <a:gd name="connsiteY6101" fmla="*/ 362165 h 1786074"/>
              <a:gd name="connsiteX6102" fmla="*/ 1562523 w 2077606"/>
              <a:gd name="connsiteY6102" fmla="*/ 360164 h 1786074"/>
              <a:gd name="connsiteX6103" fmla="*/ 1556536 w 2077606"/>
              <a:gd name="connsiteY6103" fmla="*/ 354161 h 1786074"/>
              <a:gd name="connsiteX6104" fmla="*/ 1554541 w 2077606"/>
              <a:gd name="connsiteY6104" fmla="*/ 350159 h 1786074"/>
              <a:gd name="connsiteX6105" fmla="*/ 1552545 w 2077606"/>
              <a:gd name="connsiteY6105" fmla="*/ 354161 h 1786074"/>
              <a:gd name="connsiteX6106" fmla="*/ 1552545 w 2077606"/>
              <a:gd name="connsiteY6106" fmla="*/ 358163 h 1786074"/>
              <a:gd name="connsiteX6107" fmla="*/ 1554541 w 2077606"/>
              <a:gd name="connsiteY6107" fmla="*/ 362165 h 1786074"/>
              <a:gd name="connsiteX6108" fmla="*/ 1554541 w 2077606"/>
              <a:gd name="connsiteY6108" fmla="*/ 370169 h 1786074"/>
              <a:gd name="connsiteX6109" fmla="*/ 1548554 w 2077606"/>
              <a:gd name="connsiteY6109" fmla="*/ 368168 h 1786074"/>
              <a:gd name="connsiteX6110" fmla="*/ 1542567 w 2077606"/>
              <a:gd name="connsiteY6110" fmla="*/ 370169 h 1786074"/>
              <a:gd name="connsiteX6111" fmla="*/ 1536580 w 2077606"/>
              <a:gd name="connsiteY6111" fmla="*/ 372169 h 1786074"/>
              <a:gd name="connsiteX6112" fmla="*/ 1534585 w 2077606"/>
              <a:gd name="connsiteY6112" fmla="*/ 360164 h 1786074"/>
              <a:gd name="connsiteX6113" fmla="*/ 1536580 w 2077606"/>
              <a:gd name="connsiteY6113" fmla="*/ 356162 h 1786074"/>
              <a:gd name="connsiteX6114" fmla="*/ 1532589 w 2077606"/>
              <a:gd name="connsiteY6114" fmla="*/ 354161 h 1786074"/>
              <a:gd name="connsiteX6115" fmla="*/ 1530594 w 2077606"/>
              <a:gd name="connsiteY6115" fmla="*/ 362165 h 1786074"/>
              <a:gd name="connsiteX6116" fmla="*/ 1530594 w 2077606"/>
              <a:gd name="connsiteY6116" fmla="*/ 368168 h 1786074"/>
              <a:gd name="connsiteX6117" fmla="*/ 1526602 w 2077606"/>
              <a:gd name="connsiteY6117" fmla="*/ 370169 h 1786074"/>
              <a:gd name="connsiteX6118" fmla="*/ 1520616 w 2077606"/>
              <a:gd name="connsiteY6118" fmla="*/ 370169 h 1786074"/>
              <a:gd name="connsiteX6119" fmla="*/ 1514629 w 2077606"/>
              <a:gd name="connsiteY6119" fmla="*/ 368168 h 1786074"/>
              <a:gd name="connsiteX6120" fmla="*/ 1510638 w 2077606"/>
              <a:gd name="connsiteY6120" fmla="*/ 360164 h 1786074"/>
              <a:gd name="connsiteX6121" fmla="*/ 1508642 w 2077606"/>
              <a:gd name="connsiteY6121" fmla="*/ 356162 h 1786074"/>
              <a:gd name="connsiteX6122" fmla="*/ 1508642 w 2077606"/>
              <a:gd name="connsiteY6122" fmla="*/ 364166 h 1786074"/>
              <a:gd name="connsiteX6123" fmla="*/ 1504651 w 2077606"/>
              <a:gd name="connsiteY6123" fmla="*/ 366167 h 1786074"/>
              <a:gd name="connsiteX6124" fmla="*/ 1500660 w 2077606"/>
              <a:gd name="connsiteY6124" fmla="*/ 368168 h 1786074"/>
              <a:gd name="connsiteX6125" fmla="*/ 1496669 w 2077606"/>
              <a:gd name="connsiteY6125" fmla="*/ 370169 h 1786074"/>
              <a:gd name="connsiteX6126" fmla="*/ 1492677 w 2077606"/>
              <a:gd name="connsiteY6126" fmla="*/ 364166 h 1786074"/>
              <a:gd name="connsiteX6127" fmla="*/ 1486691 w 2077606"/>
              <a:gd name="connsiteY6127" fmla="*/ 364166 h 1786074"/>
              <a:gd name="connsiteX6128" fmla="*/ 1490682 w 2077606"/>
              <a:gd name="connsiteY6128" fmla="*/ 372169 h 1786074"/>
              <a:gd name="connsiteX6129" fmla="*/ 1494673 w 2077606"/>
              <a:gd name="connsiteY6129" fmla="*/ 376171 h 1786074"/>
              <a:gd name="connsiteX6130" fmla="*/ 1486691 w 2077606"/>
              <a:gd name="connsiteY6130" fmla="*/ 378172 h 1786074"/>
              <a:gd name="connsiteX6131" fmla="*/ 1478708 w 2077606"/>
              <a:gd name="connsiteY6131" fmla="*/ 376171 h 1786074"/>
              <a:gd name="connsiteX6132" fmla="*/ 1470726 w 2077606"/>
              <a:gd name="connsiteY6132" fmla="*/ 374170 h 1786074"/>
              <a:gd name="connsiteX6133" fmla="*/ 1464739 w 2077606"/>
              <a:gd name="connsiteY6133" fmla="*/ 372169 h 1786074"/>
              <a:gd name="connsiteX6134" fmla="*/ 1456757 w 2077606"/>
              <a:gd name="connsiteY6134" fmla="*/ 372169 h 1786074"/>
              <a:gd name="connsiteX6135" fmla="*/ 1456757 w 2077606"/>
              <a:gd name="connsiteY6135" fmla="*/ 368168 h 1786074"/>
              <a:gd name="connsiteX6136" fmla="*/ 1460748 w 2077606"/>
              <a:gd name="connsiteY6136" fmla="*/ 364166 h 1786074"/>
              <a:gd name="connsiteX6137" fmla="*/ 1458752 w 2077606"/>
              <a:gd name="connsiteY6137" fmla="*/ 358163 h 1786074"/>
              <a:gd name="connsiteX6138" fmla="*/ 1454761 w 2077606"/>
              <a:gd name="connsiteY6138" fmla="*/ 356162 h 1786074"/>
              <a:gd name="connsiteX6139" fmla="*/ 1456757 w 2077606"/>
              <a:gd name="connsiteY6139" fmla="*/ 360164 h 1786074"/>
              <a:gd name="connsiteX6140" fmla="*/ 1454761 w 2077606"/>
              <a:gd name="connsiteY6140" fmla="*/ 366167 h 1786074"/>
              <a:gd name="connsiteX6141" fmla="*/ 1450770 w 2077606"/>
              <a:gd name="connsiteY6141" fmla="*/ 370169 h 1786074"/>
              <a:gd name="connsiteX6142" fmla="*/ 1440792 w 2077606"/>
              <a:gd name="connsiteY6142" fmla="*/ 370169 h 1786074"/>
              <a:gd name="connsiteX6143" fmla="*/ 1436801 w 2077606"/>
              <a:gd name="connsiteY6143" fmla="*/ 366167 h 1786074"/>
              <a:gd name="connsiteX6144" fmla="*/ 1436801 w 2077606"/>
              <a:gd name="connsiteY6144" fmla="*/ 360164 h 1786074"/>
              <a:gd name="connsiteX6145" fmla="*/ 1436801 w 2077606"/>
              <a:gd name="connsiteY6145" fmla="*/ 356162 h 1786074"/>
              <a:gd name="connsiteX6146" fmla="*/ 1432810 w 2077606"/>
              <a:gd name="connsiteY6146" fmla="*/ 360164 h 1786074"/>
              <a:gd name="connsiteX6147" fmla="*/ 1430814 w 2077606"/>
              <a:gd name="connsiteY6147" fmla="*/ 362165 h 1786074"/>
              <a:gd name="connsiteX6148" fmla="*/ 1432810 w 2077606"/>
              <a:gd name="connsiteY6148" fmla="*/ 368168 h 1786074"/>
              <a:gd name="connsiteX6149" fmla="*/ 1428819 w 2077606"/>
              <a:gd name="connsiteY6149" fmla="*/ 372169 h 1786074"/>
              <a:gd name="connsiteX6150" fmla="*/ 1422832 w 2077606"/>
              <a:gd name="connsiteY6150" fmla="*/ 372169 h 1786074"/>
              <a:gd name="connsiteX6151" fmla="*/ 1416845 w 2077606"/>
              <a:gd name="connsiteY6151" fmla="*/ 370169 h 1786074"/>
              <a:gd name="connsiteX6152" fmla="*/ 1414849 w 2077606"/>
              <a:gd name="connsiteY6152" fmla="*/ 368168 h 1786074"/>
              <a:gd name="connsiteX6153" fmla="*/ 1410858 w 2077606"/>
              <a:gd name="connsiteY6153" fmla="*/ 370169 h 1786074"/>
              <a:gd name="connsiteX6154" fmla="*/ 1410858 w 2077606"/>
              <a:gd name="connsiteY6154" fmla="*/ 366167 h 1786074"/>
              <a:gd name="connsiteX6155" fmla="*/ 1406867 w 2077606"/>
              <a:gd name="connsiteY6155" fmla="*/ 368168 h 1786074"/>
              <a:gd name="connsiteX6156" fmla="*/ 1404872 w 2077606"/>
              <a:gd name="connsiteY6156" fmla="*/ 370169 h 1786074"/>
              <a:gd name="connsiteX6157" fmla="*/ 1394894 w 2077606"/>
              <a:gd name="connsiteY6157" fmla="*/ 368168 h 1786074"/>
              <a:gd name="connsiteX6158" fmla="*/ 1394894 w 2077606"/>
              <a:gd name="connsiteY6158" fmla="*/ 362165 h 1786074"/>
              <a:gd name="connsiteX6159" fmla="*/ 1392898 w 2077606"/>
              <a:gd name="connsiteY6159" fmla="*/ 360164 h 1786074"/>
              <a:gd name="connsiteX6160" fmla="*/ 1384916 w 2077606"/>
              <a:gd name="connsiteY6160" fmla="*/ 360164 h 1786074"/>
              <a:gd name="connsiteX6161" fmla="*/ 1378929 w 2077606"/>
              <a:gd name="connsiteY6161" fmla="*/ 364166 h 1786074"/>
              <a:gd name="connsiteX6162" fmla="*/ 1376933 w 2077606"/>
              <a:gd name="connsiteY6162" fmla="*/ 358163 h 1786074"/>
              <a:gd name="connsiteX6163" fmla="*/ 1372942 w 2077606"/>
              <a:gd name="connsiteY6163" fmla="*/ 350159 h 1786074"/>
              <a:gd name="connsiteX6164" fmla="*/ 1378929 w 2077606"/>
              <a:gd name="connsiteY6164" fmla="*/ 342156 h 1786074"/>
              <a:gd name="connsiteX6165" fmla="*/ 1384916 w 2077606"/>
              <a:gd name="connsiteY6165" fmla="*/ 342156 h 1786074"/>
              <a:gd name="connsiteX6166" fmla="*/ 1390902 w 2077606"/>
              <a:gd name="connsiteY6166" fmla="*/ 342156 h 1786074"/>
              <a:gd name="connsiteX6167" fmla="*/ 1398885 w 2077606"/>
              <a:gd name="connsiteY6167" fmla="*/ 340155 h 1786074"/>
              <a:gd name="connsiteX6168" fmla="*/ 1404872 w 2077606"/>
              <a:gd name="connsiteY6168" fmla="*/ 338154 h 1786074"/>
              <a:gd name="connsiteX6169" fmla="*/ 1410858 w 2077606"/>
              <a:gd name="connsiteY6169" fmla="*/ 334152 h 1786074"/>
              <a:gd name="connsiteX6170" fmla="*/ 1414849 w 2077606"/>
              <a:gd name="connsiteY6170" fmla="*/ 332151 h 1786074"/>
              <a:gd name="connsiteX6171" fmla="*/ 1428819 w 2077606"/>
              <a:gd name="connsiteY6171" fmla="*/ 330150 h 1786074"/>
              <a:gd name="connsiteX6172" fmla="*/ 1436801 w 2077606"/>
              <a:gd name="connsiteY6172" fmla="*/ 332151 h 1786074"/>
              <a:gd name="connsiteX6173" fmla="*/ 1448774 w 2077606"/>
              <a:gd name="connsiteY6173" fmla="*/ 332151 h 1786074"/>
              <a:gd name="connsiteX6174" fmla="*/ 1454761 w 2077606"/>
              <a:gd name="connsiteY6174" fmla="*/ 334152 h 1786074"/>
              <a:gd name="connsiteX6175" fmla="*/ 1454761 w 2077606"/>
              <a:gd name="connsiteY6175" fmla="*/ 326148 h 1786074"/>
              <a:gd name="connsiteX6176" fmla="*/ 1458752 w 2077606"/>
              <a:gd name="connsiteY6176" fmla="*/ 320146 h 1786074"/>
              <a:gd name="connsiteX6177" fmla="*/ 1450770 w 2077606"/>
              <a:gd name="connsiteY6177" fmla="*/ 320146 h 1786074"/>
              <a:gd name="connsiteX6178" fmla="*/ 1444783 w 2077606"/>
              <a:gd name="connsiteY6178" fmla="*/ 316144 h 1786074"/>
              <a:gd name="connsiteX6179" fmla="*/ 1438797 w 2077606"/>
              <a:gd name="connsiteY6179" fmla="*/ 310141 h 1786074"/>
              <a:gd name="connsiteX6180" fmla="*/ 1434805 w 2077606"/>
              <a:gd name="connsiteY6180" fmla="*/ 302138 h 1786074"/>
              <a:gd name="connsiteX6181" fmla="*/ 1450770 w 2077606"/>
              <a:gd name="connsiteY6181" fmla="*/ 294134 h 1786074"/>
              <a:gd name="connsiteX6182" fmla="*/ 1464739 w 2077606"/>
              <a:gd name="connsiteY6182" fmla="*/ 292133 h 1786074"/>
              <a:gd name="connsiteX6183" fmla="*/ 1476713 w 2077606"/>
              <a:gd name="connsiteY6183" fmla="*/ 300137 h 1786074"/>
              <a:gd name="connsiteX6184" fmla="*/ 1478708 w 2077606"/>
              <a:gd name="connsiteY6184" fmla="*/ 312142 h 1786074"/>
              <a:gd name="connsiteX6185" fmla="*/ 1484695 w 2077606"/>
              <a:gd name="connsiteY6185" fmla="*/ 318145 h 1786074"/>
              <a:gd name="connsiteX6186" fmla="*/ 1490682 w 2077606"/>
              <a:gd name="connsiteY6186" fmla="*/ 320146 h 1786074"/>
              <a:gd name="connsiteX6187" fmla="*/ 1498664 w 2077606"/>
              <a:gd name="connsiteY6187" fmla="*/ 320146 h 1786074"/>
              <a:gd name="connsiteX6188" fmla="*/ 1506647 w 2077606"/>
              <a:gd name="connsiteY6188" fmla="*/ 324148 h 1786074"/>
              <a:gd name="connsiteX6189" fmla="*/ 1510638 w 2077606"/>
              <a:gd name="connsiteY6189" fmla="*/ 320146 h 1786074"/>
              <a:gd name="connsiteX6190" fmla="*/ 1520616 w 2077606"/>
              <a:gd name="connsiteY6190" fmla="*/ 316144 h 1786074"/>
              <a:gd name="connsiteX6191" fmla="*/ 1526602 w 2077606"/>
              <a:gd name="connsiteY6191" fmla="*/ 314143 h 1786074"/>
              <a:gd name="connsiteX6192" fmla="*/ 1532589 w 2077606"/>
              <a:gd name="connsiteY6192" fmla="*/ 318145 h 1786074"/>
              <a:gd name="connsiteX6193" fmla="*/ 1534585 w 2077606"/>
              <a:gd name="connsiteY6193" fmla="*/ 314143 h 1786074"/>
              <a:gd name="connsiteX6194" fmla="*/ 1536580 w 2077606"/>
              <a:gd name="connsiteY6194" fmla="*/ 310141 h 1786074"/>
              <a:gd name="connsiteX6195" fmla="*/ 1540571 w 2077606"/>
              <a:gd name="connsiteY6195" fmla="*/ 310141 h 1786074"/>
              <a:gd name="connsiteX6196" fmla="*/ 1546558 w 2077606"/>
              <a:gd name="connsiteY6196" fmla="*/ 306139 h 1786074"/>
              <a:gd name="connsiteX6197" fmla="*/ 1550549 w 2077606"/>
              <a:gd name="connsiteY6197" fmla="*/ 304138 h 1786074"/>
              <a:gd name="connsiteX6198" fmla="*/ 1554541 w 2077606"/>
              <a:gd name="connsiteY6198" fmla="*/ 300137 h 1786074"/>
              <a:gd name="connsiteX6199" fmla="*/ 1562523 w 2077606"/>
              <a:gd name="connsiteY6199" fmla="*/ 290132 h 1786074"/>
              <a:gd name="connsiteX6200" fmla="*/ 1566514 w 2077606"/>
              <a:gd name="connsiteY6200" fmla="*/ 282128 h 1786074"/>
              <a:gd name="connsiteX6201" fmla="*/ 1558532 w 2077606"/>
              <a:gd name="connsiteY6201" fmla="*/ 288131 h 1786074"/>
              <a:gd name="connsiteX6202" fmla="*/ 1550549 w 2077606"/>
              <a:gd name="connsiteY6202" fmla="*/ 296135 h 1786074"/>
              <a:gd name="connsiteX6203" fmla="*/ 1546558 w 2077606"/>
              <a:gd name="connsiteY6203" fmla="*/ 304138 h 1786074"/>
              <a:gd name="connsiteX6204" fmla="*/ 1536580 w 2077606"/>
              <a:gd name="connsiteY6204" fmla="*/ 308140 h 1786074"/>
              <a:gd name="connsiteX6205" fmla="*/ 1532589 w 2077606"/>
              <a:gd name="connsiteY6205" fmla="*/ 308140 h 1786074"/>
              <a:gd name="connsiteX6206" fmla="*/ 1528598 w 2077606"/>
              <a:gd name="connsiteY6206" fmla="*/ 310141 h 1786074"/>
              <a:gd name="connsiteX6207" fmla="*/ 1522611 w 2077606"/>
              <a:gd name="connsiteY6207" fmla="*/ 310141 h 1786074"/>
              <a:gd name="connsiteX6208" fmla="*/ 1512633 w 2077606"/>
              <a:gd name="connsiteY6208" fmla="*/ 310141 h 1786074"/>
              <a:gd name="connsiteX6209" fmla="*/ 1506647 w 2077606"/>
              <a:gd name="connsiteY6209" fmla="*/ 310141 h 1786074"/>
              <a:gd name="connsiteX6210" fmla="*/ 1506647 w 2077606"/>
              <a:gd name="connsiteY6210" fmla="*/ 304138 h 1786074"/>
              <a:gd name="connsiteX6211" fmla="*/ 1506647 w 2077606"/>
              <a:gd name="connsiteY6211" fmla="*/ 302138 h 1786074"/>
              <a:gd name="connsiteX6212" fmla="*/ 1502655 w 2077606"/>
              <a:gd name="connsiteY6212" fmla="*/ 304138 h 1786074"/>
              <a:gd name="connsiteX6213" fmla="*/ 1502655 w 2077606"/>
              <a:gd name="connsiteY6213" fmla="*/ 306139 h 1786074"/>
              <a:gd name="connsiteX6214" fmla="*/ 1498664 w 2077606"/>
              <a:gd name="connsiteY6214" fmla="*/ 308140 h 1786074"/>
              <a:gd name="connsiteX6215" fmla="*/ 1500660 w 2077606"/>
              <a:gd name="connsiteY6215" fmla="*/ 312142 h 1786074"/>
              <a:gd name="connsiteX6216" fmla="*/ 1500660 w 2077606"/>
              <a:gd name="connsiteY6216" fmla="*/ 316144 h 1786074"/>
              <a:gd name="connsiteX6217" fmla="*/ 1496669 w 2077606"/>
              <a:gd name="connsiteY6217" fmla="*/ 314143 h 1786074"/>
              <a:gd name="connsiteX6218" fmla="*/ 1492677 w 2077606"/>
              <a:gd name="connsiteY6218" fmla="*/ 310141 h 1786074"/>
              <a:gd name="connsiteX6219" fmla="*/ 1494673 w 2077606"/>
              <a:gd name="connsiteY6219" fmla="*/ 308140 h 1786074"/>
              <a:gd name="connsiteX6220" fmla="*/ 1494673 w 2077606"/>
              <a:gd name="connsiteY6220" fmla="*/ 304138 h 1786074"/>
              <a:gd name="connsiteX6221" fmla="*/ 1494673 w 2077606"/>
              <a:gd name="connsiteY6221" fmla="*/ 300137 h 1786074"/>
              <a:gd name="connsiteX6222" fmla="*/ 1490682 w 2077606"/>
              <a:gd name="connsiteY6222" fmla="*/ 292133 h 1786074"/>
              <a:gd name="connsiteX6223" fmla="*/ 1504651 w 2077606"/>
              <a:gd name="connsiteY6223" fmla="*/ 282128 h 1786074"/>
              <a:gd name="connsiteX6224" fmla="*/ 1506647 w 2077606"/>
              <a:gd name="connsiteY6224" fmla="*/ 276126 h 1786074"/>
              <a:gd name="connsiteX6225" fmla="*/ 1516624 w 2077606"/>
              <a:gd name="connsiteY6225" fmla="*/ 276126 h 1786074"/>
              <a:gd name="connsiteX6226" fmla="*/ 1526602 w 2077606"/>
              <a:gd name="connsiteY6226" fmla="*/ 276126 h 1786074"/>
              <a:gd name="connsiteX6227" fmla="*/ 1518620 w 2077606"/>
              <a:gd name="connsiteY6227" fmla="*/ 272124 h 1786074"/>
              <a:gd name="connsiteX6228" fmla="*/ 1512633 w 2077606"/>
              <a:gd name="connsiteY6228" fmla="*/ 270123 h 1786074"/>
              <a:gd name="connsiteX6229" fmla="*/ 1514629 w 2077606"/>
              <a:gd name="connsiteY6229" fmla="*/ 266121 h 1786074"/>
              <a:gd name="connsiteX6230" fmla="*/ 1512633 w 2077606"/>
              <a:gd name="connsiteY6230" fmla="*/ 258118 h 1786074"/>
              <a:gd name="connsiteX6231" fmla="*/ 1508642 w 2077606"/>
              <a:gd name="connsiteY6231" fmla="*/ 266121 h 1786074"/>
              <a:gd name="connsiteX6232" fmla="*/ 1504651 w 2077606"/>
              <a:gd name="connsiteY6232" fmla="*/ 272124 h 1786074"/>
              <a:gd name="connsiteX6233" fmla="*/ 1494673 w 2077606"/>
              <a:gd name="connsiteY6233" fmla="*/ 276126 h 1786074"/>
              <a:gd name="connsiteX6234" fmla="*/ 1490682 w 2077606"/>
              <a:gd name="connsiteY6234" fmla="*/ 278127 h 1786074"/>
              <a:gd name="connsiteX6235" fmla="*/ 1484695 w 2077606"/>
              <a:gd name="connsiteY6235" fmla="*/ 278127 h 1786074"/>
              <a:gd name="connsiteX6236" fmla="*/ 1488686 w 2077606"/>
              <a:gd name="connsiteY6236" fmla="*/ 272124 h 1786074"/>
              <a:gd name="connsiteX6237" fmla="*/ 1494673 w 2077606"/>
              <a:gd name="connsiteY6237" fmla="*/ 268122 h 1786074"/>
              <a:gd name="connsiteX6238" fmla="*/ 1488686 w 2077606"/>
              <a:gd name="connsiteY6238" fmla="*/ 268122 h 1786074"/>
              <a:gd name="connsiteX6239" fmla="*/ 1478708 w 2077606"/>
              <a:gd name="connsiteY6239" fmla="*/ 272124 h 1786074"/>
              <a:gd name="connsiteX6240" fmla="*/ 1472722 w 2077606"/>
              <a:gd name="connsiteY6240" fmla="*/ 276126 h 1786074"/>
              <a:gd name="connsiteX6241" fmla="*/ 1466735 w 2077606"/>
              <a:gd name="connsiteY6241" fmla="*/ 280128 h 1786074"/>
              <a:gd name="connsiteX6242" fmla="*/ 1462744 w 2077606"/>
              <a:gd name="connsiteY6242" fmla="*/ 282128 h 1786074"/>
              <a:gd name="connsiteX6243" fmla="*/ 1460748 w 2077606"/>
              <a:gd name="connsiteY6243" fmla="*/ 276126 h 1786074"/>
              <a:gd name="connsiteX6244" fmla="*/ 1460748 w 2077606"/>
              <a:gd name="connsiteY6244" fmla="*/ 272124 h 1786074"/>
              <a:gd name="connsiteX6245" fmla="*/ 1458752 w 2077606"/>
              <a:gd name="connsiteY6245" fmla="*/ 266121 h 1786074"/>
              <a:gd name="connsiteX6246" fmla="*/ 1468730 w 2077606"/>
              <a:gd name="connsiteY6246" fmla="*/ 258118 h 1786074"/>
              <a:gd name="connsiteX6247" fmla="*/ 1472722 w 2077606"/>
              <a:gd name="connsiteY6247" fmla="*/ 254116 h 1786074"/>
              <a:gd name="connsiteX6248" fmla="*/ 1474717 w 2077606"/>
              <a:gd name="connsiteY6248" fmla="*/ 248113 h 1786074"/>
              <a:gd name="connsiteX6249" fmla="*/ 1484695 w 2077606"/>
              <a:gd name="connsiteY6249" fmla="*/ 248113 h 1786074"/>
              <a:gd name="connsiteX6250" fmla="*/ 1492677 w 2077606"/>
              <a:gd name="connsiteY6250" fmla="*/ 246112 h 1786074"/>
              <a:gd name="connsiteX6251" fmla="*/ 1502655 w 2077606"/>
              <a:gd name="connsiteY6251" fmla="*/ 246112 h 1786074"/>
              <a:gd name="connsiteX6252" fmla="*/ 1508642 w 2077606"/>
              <a:gd name="connsiteY6252" fmla="*/ 242110 h 1786074"/>
              <a:gd name="connsiteX6253" fmla="*/ 1518620 w 2077606"/>
              <a:gd name="connsiteY6253" fmla="*/ 240109 h 1786074"/>
              <a:gd name="connsiteX6254" fmla="*/ 1528598 w 2077606"/>
              <a:gd name="connsiteY6254" fmla="*/ 244111 h 1786074"/>
              <a:gd name="connsiteX6255" fmla="*/ 1534585 w 2077606"/>
              <a:gd name="connsiteY6255" fmla="*/ 246112 h 1786074"/>
              <a:gd name="connsiteX6256" fmla="*/ 1540571 w 2077606"/>
              <a:gd name="connsiteY6256" fmla="*/ 244111 h 1786074"/>
              <a:gd name="connsiteX6257" fmla="*/ 1550549 w 2077606"/>
              <a:gd name="connsiteY6257" fmla="*/ 248113 h 1786074"/>
              <a:gd name="connsiteX6258" fmla="*/ 1552545 w 2077606"/>
              <a:gd name="connsiteY6258" fmla="*/ 248113 h 1786074"/>
              <a:gd name="connsiteX6259" fmla="*/ 1556536 w 2077606"/>
              <a:gd name="connsiteY6259" fmla="*/ 252115 h 1786074"/>
              <a:gd name="connsiteX6260" fmla="*/ 1558532 w 2077606"/>
              <a:gd name="connsiteY6260" fmla="*/ 252115 h 1786074"/>
              <a:gd name="connsiteX6261" fmla="*/ 1566514 w 2077606"/>
              <a:gd name="connsiteY6261" fmla="*/ 254116 h 1786074"/>
              <a:gd name="connsiteX6262" fmla="*/ 1570505 w 2077606"/>
              <a:gd name="connsiteY6262" fmla="*/ 252115 h 1786074"/>
              <a:gd name="connsiteX6263" fmla="*/ 1566514 w 2077606"/>
              <a:gd name="connsiteY6263" fmla="*/ 248113 h 1786074"/>
              <a:gd name="connsiteX6264" fmla="*/ 1562523 w 2077606"/>
              <a:gd name="connsiteY6264" fmla="*/ 248113 h 1786074"/>
              <a:gd name="connsiteX6265" fmla="*/ 1562523 w 2077606"/>
              <a:gd name="connsiteY6265" fmla="*/ 244111 h 1786074"/>
              <a:gd name="connsiteX6266" fmla="*/ 1568510 w 2077606"/>
              <a:gd name="connsiteY6266" fmla="*/ 244111 h 1786074"/>
              <a:gd name="connsiteX6267" fmla="*/ 1572501 w 2077606"/>
              <a:gd name="connsiteY6267" fmla="*/ 244111 h 1786074"/>
              <a:gd name="connsiteX6268" fmla="*/ 1584474 w 2077606"/>
              <a:gd name="connsiteY6268" fmla="*/ 246112 h 1786074"/>
              <a:gd name="connsiteX6269" fmla="*/ 1592457 w 2077606"/>
              <a:gd name="connsiteY6269" fmla="*/ 236107 h 1786074"/>
              <a:gd name="connsiteX6270" fmla="*/ 1580483 w 2077606"/>
              <a:gd name="connsiteY6270" fmla="*/ 238108 h 1786074"/>
              <a:gd name="connsiteX6271" fmla="*/ 1570505 w 2077606"/>
              <a:gd name="connsiteY6271" fmla="*/ 240109 h 1786074"/>
              <a:gd name="connsiteX6272" fmla="*/ 1550549 w 2077606"/>
              <a:gd name="connsiteY6272" fmla="*/ 238108 h 1786074"/>
              <a:gd name="connsiteX6273" fmla="*/ 1534585 w 2077606"/>
              <a:gd name="connsiteY6273" fmla="*/ 238108 h 1786074"/>
              <a:gd name="connsiteX6274" fmla="*/ 1530594 w 2077606"/>
              <a:gd name="connsiteY6274" fmla="*/ 236107 h 1786074"/>
              <a:gd name="connsiteX6275" fmla="*/ 1520616 w 2077606"/>
              <a:gd name="connsiteY6275" fmla="*/ 232106 h 1786074"/>
              <a:gd name="connsiteX6276" fmla="*/ 1522611 w 2077606"/>
              <a:gd name="connsiteY6276" fmla="*/ 228104 h 1786074"/>
              <a:gd name="connsiteX6277" fmla="*/ 1530594 w 2077606"/>
              <a:gd name="connsiteY6277" fmla="*/ 224102 h 1786074"/>
              <a:gd name="connsiteX6278" fmla="*/ 1534585 w 2077606"/>
              <a:gd name="connsiteY6278" fmla="*/ 224102 h 1786074"/>
              <a:gd name="connsiteX6279" fmla="*/ 1542567 w 2077606"/>
              <a:gd name="connsiteY6279" fmla="*/ 228104 h 1786074"/>
              <a:gd name="connsiteX6280" fmla="*/ 1546558 w 2077606"/>
              <a:gd name="connsiteY6280" fmla="*/ 232106 h 1786074"/>
              <a:gd name="connsiteX6281" fmla="*/ 1550549 w 2077606"/>
              <a:gd name="connsiteY6281" fmla="*/ 232106 h 1786074"/>
              <a:gd name="connsiteX6282" fmla="*/ 1554541 w 2077606"/>
              <a:gd name="connsiteY6282" fmla="*/ 234107 h 1786074"/>
              <a:gd name="connsiteX6283" fmla="*/ 1558532 w 2077606"/>
              <a:gd name="connsiteY6283" fmla="*/ 232106 h 1786074"/>
              <a:gd name="connsiteX6284" fmla="*/ 1562523 w 2077606"/>
              <a:gd name="connsiteY6284" fmla="*/ 232106 h 1786074"/>
              <a:gd name="connsiteX6285" fmla="*/ 1556536 w 2077606"/>
              <a:gd name="connsiteY6285" fmla="*/ 228104 h 1786074"/>
              <a:gd name="connsiteX6286" fmla="*/ 1552545 w 2077606"/>
              <a:gd name="connsiteY6286" fmla="*/ 226103 h 1786074"/>
              <a:gd name="connsiteX6287" fmla="*/ 1546558 w 2077606"/>
              <a:gd name="connsiteY6287" fmla="*/ 222101 h 1786074"/>
              <a:gd name="connsiteX6288" fmla="*/ 1542567 w 2077606"/>
              <a:gd name="connsiteY6288" fmla="*/ 220100 h 1786074"/>
              <a:gd name="connsiteX6289" fmla="*/ 1538576 w 2077606"/>
              <a:gd name="connsiteY6289" fmla="*/ 214097 h 1786074"/>
              <a:gd name="connsiteX6290" fmla="*/ 1534585 w 2077606"/>
              <a:gd name="connsiteY6290" fmla="*/ 210096 h 1786074"/>
              <a:gd name="connsiteX6291" fmla="*/ 1528598 w 2077606"/>
              <a:gd name="connsiteY6291" fmla="*/ 204093 h 1786074"/>
              <a:gd name="connsiteX6292" fmla="*/ 1514629 w 2077606"/>
              <a:gd name="connsiteY6292" fmla="*/ 196089 h 1786074"/>
              <a:gd name="connsiteX6293" fmla="*/ 1502655 w 2077606"/>
              <a:gd name="connsiteY6293" fmla="*/ 188086 h 1786074"/>
              <a:gd name="connsiteX6294" fmla="*/ 1512633 w 2077606"/>
              <a:gd name="connsiteY6294" fmla="*/ 182083 h 1786074"/>
              <a:gd name="connsiteX6295" fmla="*/ 1520616 w 2077606"/>
              <a:gd name="connsiteY6295" fmla="*/ 184084 h 1786074"/>
              <a:gd name="connsiteX6296" fmla="*/ 1522611 w 2077606"/>
              <a:gd name="connsiteY6296" fmla="*/ 184084 h 1786074"/>
              <a:gd name="connsiteX6297" fmla="*/ 1514629 w 2077606"/>
              <a:gd name="connsiteY6297" fmla="*/ 180082 h 1786074"/>
              <a:gd name="connsiteX6298" fmla="*/ 1506647 w 2077606"/>
              <a:gd name="connsiteY6298" fmla="*/ 176080 h 1786074"/>
              <a:gd name="connsiteX6299" fmla="*/ 1508642 w 2077606"/>
              <a:gd name="connsiteY6299" fmla="*/ 166076 h 1786074"/>
              <a:gd name="connsiteX6300" fmla="*/ 1516624 w 2077606"/>
              <a:gd name="connsiteY6300" fmla="*/ 162074 h 1786074"/>
              <a:gd name="connsiteX6301" fmla="*/ 1522611 w 2077606"/>
              <a:gd name="connsiteY6301" fmla="*/ 164075 h 1786074"/>
              <a:gd name="connsiteX6302" fmla="*/ 1530594 w 2077606"/>
              <a:gd name="connsiteY6302" fmla="*/ 168076 h 1786074"/>
              <a:gd name="connsiteX6303" fmla="*/ 1536580 w 2077606"/>
              <a:gd name="connsiteY6303" fmla="*/ 166076 h 1786074"/>
              <a:gd name="connsiteX6304" fmla="*/ 1544563 w 2077606"/>
              <a:gd name="connsiteY6304" fmla="*/ 166076 h 1786074"/>
              <a:gd name="connsiteX6305" fmla="*/ 1552545 w 2077606"/>
              <a:gd name="connsiteY6305" fmla="*/ 166076 h 1786074"/>
              <a:gd name="connsiteX6306" fmla="*/ 1562523 w 2077606"/>
              <a:gd name="connsiteY6306" fmla="*/ 168076 h 1786074"/>
              <a:gd name="connsiteX6307" fmla="*/ 1580483 w 2077606"/>
              <a:gd name="connsiteY6307" fmla="*/ 182083 h 1786074"/>
              <a:gd name="connsiteX6308" fmla="*/ 1592457 w 2077606"/>
              <a:gd name="connsiteY6308" fmla="*/ 198090 h 1786074"/>
              <a:gd name="connsiteX6309" fmla="*/ 1600439 w 2077606"/>
              <a:gd name="connsiteY6309" fmla="*/ 202092 h 1786074"/>
              <a:gd name="connsiteX6310" fmla="*/ 1604430 w 2077606"/>
              <a:gd name="connsiteY6310" fmla="*/ 202092 h 1786074"/>
              <a:gd name="connsiteX6311" fmla="*/ 1608421 w 2077606"/>
              <a:gd name="connsiteY6311" fmla="*/ 202092 h 1786074"/>
              <a:gd name="connsiteX6312" fmla="*/ 1612413 w 2077606"/>
              <a:gd name="connsiteY6312" fmla="*/ 206094 h 1786074"/>
              <a:gd name="connsiteX6313" fmla="*/ 1616404 w 2077606"/>
              <a:gd name="connsiteY6313" fmla="*/ 210096 h 1786074"/>
              <a:gd name="connsiteX6314" fmla="*/ 1618399 w 2077606"/>
              <a:gd name="connsiteY6314" fmla="*/ 206094 h 1786074"/>
              <a:gd name="connsiteX6315" fmla="*/ 1622391 w 2077606"/>
              <a:gd name="connsiteY6315" fmla="*/ 200091 h 1786074"/>
              <a:gd name="connsiteX6316" fmla="*/ 1614408 w 2077606"/>
              <a:gd name="connsiteY6316" fmla="*/ 198090 h 1786074"/>
              <a:gd name="connsiteX6317" fmla="*/ 1604430 w 2077606"/>
              <a:gd name="connsiteY6317" fmla="*/ 198090 h 1786074"/>
              <a:gd name="connsiteX6318" fmla="*/ 1600439 w 2077606"/>
              <a:gd name="connsiteY6318" fmla="*/ 188086 h 1786074"/>
              <a:gd name="connsiteX6319" fmla="*/ 1600439 w 2077606"/>
              <a:gd name="connsiteY6319" fmla="*/ 182083 h 1786074"/>
              <a:gd name="connsiteX6320" fmla="*/ 1596448 w 2077606"/>
              <a:gd name="connsiteY6320" fmla="*/ 180082 h 1786074"/>
              <a:gd name="connsiteX6321" fmla="*/ 1594452 w 2077606"/>
              <a:gd name="connsiteY6321" fmla="*/ 176080 h 1786074"/>
              <a:gd name="connsiteX6322" fmla="*/ 1592457 w 2077606"/>
              <a:gd name="connsiteY6322" fmla="*/ 178081 h 1786074"/>
              <a:gd name="connsiteX6323" fmla="*/ 1578488 w 2077606"/>
              <a:gd name="connsiteY6323" fmla="*/ 170077 h 1786074"/>
              <a:gd name="connsiteX6324" fmla="*/ 1584474 w 2077606"/>
              <a:gd name="connsiteY6324" fmla="*/ 166076 h 1786074"/>
              <a:gd name="connsiteX6325" fmla="*/ 1594452 w 2077606"/>
              <a:gd name="connsiteY6325" fmla="*/ 168076 h 1786074"/>
              <a:gd name="connsiteX6326" fmla="*/ 1602435 w 2077606"/>
              <a:gd name="connsiteY6326" fmla="*/ 166076 h 1786074"/>
              <a:gd name="connsiteX6327" fmla="*/ 1610417 w 2077606"/>
              <a:gd name="connsiteY6327" fmla="*/ 164075 h 1786074"/>
              <a:gd name="connsiteX6328" fmla="*/ 1614408 w 2077606"/>
              <a:gd name="connsiteY6328" fmla="*/ 162074 h 1786074"/>
              <a:gd name="connsiteX6329" fmla="*/ 1622391 w 2077606"/>
              <a:gd name="connsiteY6329" fmla="*/ 160073 h 1786074"/>
              <a:gd name="connsiteX6330" fmla="*/ 1628377 w 2077606"/>
              <a:gd name="connsiteY6330" fmla="*/ 160073 h 1786074"/>
              <a:gd name="connsiteX6331" fmla="*/ 1632369 w 2077606"/>
              <a:gd name="connsiteY6331" fmla="*/ 158072 h 1786074"/>
              <a:gd name="connsiteX6332" fmla="*/ 1634364 w 2077606"/>
              <a:gd name="connsiteY6332" fmla="*/ 156071 h 1786074"/>
              <a:gd name="connsiteX6333" fmla="*/ 1636360 w 2077606"/>
              <a:gd name="connsiteY6333" fmla="*/ 158072 h 1786074"/>
              <a:gd name="connsiteX6334" fmla="*/ 1646338 w 2077606"/>
              <a:gd name="connsiteY6334" fmla="*/ 156071 h 1786074"/>
              <a:gd name="connsiteX6335" fmla="*/ 1650329 w 2077606"/>
              <a:gd name="connsiteY6335" fmla="*/ 154070 h 1786074"/>
              <a:gd name="connsiteX6336" fmla="*/ 1658311 w 2077606"/>
              <a:gd name="connsiteY6336" fmla="*/ 154070 h 1786074"/>
              <a:gd name="connsiteX6337" fmla="*/ 1658311 w 2077606"/>
              <a:gd name="connsiteY6337" fmla="*/ 152069 h 1786074"/>
              <a:gd name="connsiteX6338" fmla="*/ 1654320 w 2077606"/>
              <a:gd name="connsiteY6338" fmla="*/ 152069 h 1786074"/>
              <a:gd name="connsiteX6339" fmla="*/ 1648333 w 2077606"/>
              <a:gd name="connsiteY6339" fmla="*/ 154070 h 1786074"/>
              <a:gd name="connsiteX6340" fmla="*/ 1640351 w 2077606"/>
              <a:gd name="connsiteY6340" fmla="*/ 154070 h 1786074"/>
              <a:gd name="connsiteX6341" fmla="*/ 1638355 w 2077606"/>
              <a:gd name="connsiteY6341" fmla="*/ 150068 h 1786074"/>
              <a:gd name="connsiteX6342" fmla="*/ 1646338 w 2077606"/>
              <a:gd name="connsiteY6342" fmla="*/ 144066 h 1786074"/>
              <a:gd name="connsiteX6343" fmla="*/ 1656316 w 2077606"/>
              <a:gd name="connsiteY6343" fmla="*/ 144066 h 1786074"/>
              <a:gd name="connsiteX6344" fmla="*/ 1664298 w 2077606"/>
              <a:gd name="connsiteY6344" fmla="*/ 144066 h 1786074"/>
              <a:gd name="connsiteX6345" fmla="*/ 1672280 w 2077606"/>
              <a:gd name="connsiteY6345" fmla="*/ 144066 h 1786074"/>
              <a:gd name="connsiteX6346" fmla="*/ 1680263 w 2077606"/>
              <a:gd name="connsiteY6346" fmla="*/ 140064 h 1786074"/>
              <a:gd name="connsiteX6347" fmla="*/ 1684254 w 2077606"/>
              <a:gd name="connsiteY6347" fmla="*/ 138063 h 1786074"/>
              <a:gd name="connsiteX6348" fmla="*/ 1694232 w 2077606"/>
              <a:gd name="connsiteY6348" fmla="*/ 138063 h 1786074"/>
              <a:gd name="connsiteX6349" fmla="*/ 1706205 w 2077606"/>
              <a:gd name="connsiteY6349" fmla="*/ 140064 h 1786074"/>
              <a:gd name="connsiteX6350" fmla="*/ 1716183 w 2077606"/>
              <a:gd name="connsiteY6350" fmla="*/ 140064 h 1786074"/>
              <a:gd name="connsiteX6351" fmla="*/ 1724166 w 2077606"/>
              <a:gd name="connsiteY6351" fmla="*/ 136062 h 1786074"/>
              <a:gd name="connsiteX6352" fmla="*/ 1732148 w 2077606"/>
              <a:gd name="connsiteY6352" fmla="*/ 134061 h 1786074"/>
              <a:gd name="connsiteX6353" fmla="*/ 1742126 w 2077606"/>
              <a:gd name="connsiteY6353" fmla="*/ 132060 h 1786074"/>
              <a:gd name="connsiteX6354" fmla="*/ 1758091 w 2077606"/>
              <a:gd name="connsiteY6354" fmla="*/ 128058 h 1786074"/>
              <a:gd name="connsiteX6355" fmla="*/ 1748113 w 2077606"/>
              <a:gd name="connsiteY6355" fmla="*/ 130059 h 1786074"/>
              <a:gd name="connsiteX6356" fmla="*/ 1736139 w 2077606"/>
              <a:gd name="connsiteY6356" fmla="*/ 130059 h 1786074"/>
              <a:gd name="connsiteX6357" fmla="*/ 1720174 w 2077606"/>
              <a:gd name="connsiteY6357" fmla="*/ 132060 h 1786074"/>
              <a:gd name="connsiteX6358" fmla="*/ 1710196 w 2077606"/>
              <a:gd name="connsiteY6358" fmla="*/ 134061 h 1786074"/>
              <a:gd name="connsiteX6359" fmla="*/ 1700219 w 2077606"/>
              <a:gd name="connsiteY6359" fmla="*/ 134061 h 1786074"/>
              <a:gd name="connsiteX6360" fmla="*/ 1684254 w 2077606"/>
              <a:gd name="connsiteY6360" fmla="*/ 134061 h 1786074"/>
              <a:gd name="connsiteX6361" fmla="*/ 1672280 w 2077606"/>
              <a:gd name="connsiteY6361" fmla="*/ 136062 h 1786074"/>
              <a:gd name="connsiteX6362" fmla="*/ 1662302 w 2077606"/>
              <a:gd name="connsiteY6362" fmla="*/ 136062 h 1786074"/>
              <a:gd name="connsiteX6363" fmla="*/ 1664298 w 2077606"/>
              <a:gd name="connsiteY6363" fmla="*/ 126057 h 1786074"/>
              <a:gd name="connsiteX6364" fmla="*/ 1670285 w 2077606"/>
              <a:gd name="connsiteY6364" fmla="*/ 124056 h 1786074"/>
              <a:gd name="connsiteX6365" fmla="*/ 1672280 w 2077606"/>
              <a:gd name="connsiteY6365" fmla="*/ 118054 h 1786074"/>
              <a:gd name="connsiteX6366" fmla="*/ 1684254 w 2077606"/>
              <a:gd name="connsiteY6366" fmla="*/ 110050 h 1786074"/>
              <a:gd name="connsiteX6367" fmla="*/ 1692236 w 2077606"/>
              <a:gd name="connsiteY6367" fmla="*/ 108049 h 1786074"/>
              <a:gd name="connsiteX6368" fmla="*/ 1698223 w 2077606"/>
              <a:gd name="connsiteY6368" fmla="*/ 108049 h 1786074"/>
              <a:gd name="connsiteX6369" fmla="*/ 1706205 w 2077606"/>
              <a:gd name="connsiteY6369" fmla="*/ 104047 h 1786074"/>
              <a:gd name="connsiteX6370" fmla="*/ 1704210 w 2077606"/>
              <a:gd name="connsiteY6370" fmla="*/ 102046 h 1786074"/>
              <a:gd name="connsiteX6371" fmla="*/ 1696227 w 2077606"/>
              <a:gd name="connsiteY6371" fmla="*/ 104047 h 1786074"/>
              <a:gd name="connsiteX6372" fmla="*/ 1684254 w 2077606"/>
              <a:gd name="connsiteY6372" fmla="*/ 108049 h 1786074"/>
              <a:gd name="connsiteX6373" fmla="*/ 1672280 w 2077606"/>
              <a:gd name="connsiteY6373" fmla="*/ 116053 h 1786074"/>
              <a:gd name="connsiteX6374" fmla="*/ 1660307 w 2077606"/>
              <a:gd name="connsiteY6374" fmla="*/ 116053 h 1786074"/>
              <a:gd name="connsiteX6375" fmla="*/ 1654320 w 2077606"/>
              <a:gd name="connsiteY6375" fmla="*/ 126057 h 1786074"/>
              <a:gd name="connsiteX6376" fmla="*/ 1654320 w 2077606"/>
              <a:gd name="connsiteY6376" fmla="*/ 130059 h 1786074"/>
              <a:gd name="connsiteX6377" fmla="*/ 1656316 w 2077606"/>
              <a:gd name="connsiteY6377" fmla="*/ 134061 h 1786074"/>
              <a:gd name="connsiteX6378" fmla="*/ 1654320 w 2077606"/>
              <a:gd name="connsiteY6378" fmla="*/ 138063 h 1786074"/>
              <a:gd name="connsiteX6379" fmla="*/ 1644342 w 2077606"/>
              <a:gd name="connsiteY6379" fmla="*/ 142065 h 1786074"/>
              <a:gd name="connsiteX6380" fmla="*/ 1636360 w 2077606"/>
              <a:gd name="connsiteY6380" fmla="*/ 146066 h 1786074"/>
              <a:gd name="connsiteX6381" fmla="*/ 1630373 w 2077606"/>
              <a:gd name="connsiteY6381" fmla="*/ 150068 h 1786074"/>
              <a:gd name="connsiteX6382" fmla="*/ 1622391 w 2077606"/>
              <a:gd name="connsiteY6382" fmla="*/ 154070 h 1786074"/>
              <a:gd name="connsiteX6383" fmla="*/ 1612413 w 2077606"/>
              <a:gd name="connsiteY6383" fmla="*/ 158072 h 1786074"/>
              <a:gd name="connsiteX6384" fmla="*/ 1604430 w 2077606"/>
              <a:gd name="connsiteY6384" fmla="*/ 160073 h 1786074"/>
              <a:gd name="connsiteX6385" fmla="*/ 1592457 w 2077606"/>
              <a:gd name="connsiteY6385" fmla="*/ 158072 h 1786074"/>
              <a:gd name="connsiteX6386" fmla="*/ 1588466 w 2077606"/>
              <a:gd name="connsiteY6386" fmla="*/ 160073 h 1786074"/>
              <a:gd name="connsiteX6387" fmla="*/ 1578488 w 2077606"/>
              <a:gd name="connsiteY6387" fmla="*/ 160073 h 1786074"/>
              <a:gd name="connsiteX6388" fmla="*/ 1574496 w 2077606"/>
              <a:gd name="connsiteY6388" fmla="*/ 158072 h 1786074"/>
              <a:gd name="connsiteX6389" fmla="*/ 1574496 w 2077606"/>
              <a:gd name="connsiteY6389" fmla="*/ 154070 h 1786074"/>
              <a:gd name="connsiteX6390" fmla="*/ 1584474 w 2077606"/>
              <a:gd name="connsiteY6390" fmla="*/ 152069 h 1786074"/>
              <a:gd name="connsiteX6391" fmla="*/ 1588466 w 2077606"/>
              <a:gd name="connsiteY6391" fmla="*/ 150068 h 1786074"/>
              <a:gd name="connsiteX6392" fmla="*/ 1596448 w 2077606"/>
              <a:gd name="connsiteY6392" fmla="*/ 148067 h 1786074"/>
              <a:gd name="connsiteX6393" fmla="*/ 1598444 w 2077606"/>
              <a:gd name="connsiteY6393" fmla="*/ 144066 h 1786074"/>
              <a:gd name="connsiteX6394" fmla="*/ 1592457 w 2077606"/>
              <a:gd name="connsiteY6394" fmla="*/ 146066 h 1786074"/>
              <a:gd name="connsiteX6395" fmla="*/ 1584474 w 2077606"/>
              <a:gd name="connsiteY6395" fmla="*/ 148067 h 1786074"/>
              <a:gd name="connsiteX6396" fmla="*/ 1582479 w 2077606"/>
              <a:gd name="connsiteY6396" fmla="*/ 148067 h 1786074"/>
              <a:gd name="connsiteX6397" fmla="*/ 1574496 w 2077606"/>
              <a:gd name="connsiteY6397" fmla="*/ 148067 h 1786074"/>
              <a:gd name="connsiteX6398" fmla="*/ 1570505 w 2077606"/>
              <a:gd name="connsiteY6398" fmla="*/ 148067 h 1786074"/>
              <a:gd name="connsiteX6399" fmla="*/ 1568510 w 2077606"/>
              <a:gd name="connsiteY6399" fmla="*/ 148067 h 1786074"/>
              <a:gd name="connsiteX6400" fmla="*/ 1564519 w 2077606"/>
              <a:gd name="connsiteY6400" fmla="*/ 154070 h 1786074"/>
              <a:gd name="connsiteX6401" fmla="*/ 1558532 w 2077606"/>
              <a:gd name="connsiteY6401" fmla="*/ 158072 h 1786074"/>
              <a:gd name="connsiteX6402" fmla="*/ 1554541 w 2077606"/>
              <a:gd name="connsiteY6402" fmla="*/ 158072 h 1786074"/>
              <a:gd name="connsiteX6403" fmla="*/ 1548554 w 2077606"/>
              <a:gd name="connsiteY6403" fmla="*/ 156071 h 1786074"/>
              <a:gd name="connsiteX6404" fmla="*/ 1540571 w 2077606"/>
              <a:gd name="connsiteY6404" fmla="*/ 156071 h 1786074"/>
              <a:gd name="connsiteX6405" fmla="*/ 1532589 w 2077606"/>
              <a:gd name="connsiteY6405" fmla="*/ 158072 h 1786074"/>
              <a:gd name="connsiteX6406" fmla="*/ 1522611 w 2077606"/>
              <a:gd name="connsiteY6406" fmla="*/ 156071 h 1786074"/>
              <a:gd name="connsiteX6407" fmla="*/ 1518620 w 2077606"/>
              <a:gd name="connsiteY6407" fmla="*/ 148067 h 1786074"/>
              <a:gd name="connsiteX6408" fmla="*/ 1522611 w 2077606"/>
              <a:gd name="connsiteY6408" fmla="*/ 142065 h 1786074"/>
              <a:gd name="connsiteX6409" fmla="*/ 1526602 w 2077606"/>
              <a:gd name="connsiteY6409" fmla="*/ 138063 h 1786074"/>
              <a:gd name="connsiteX6410" fmla="*/ 1528598 w 2077606"/>
              <a:gd name="connsiteY6410" fmla="*/ 134061 h 1786074"/>
              <a:gd name="connsiteX6411" fmla="*/ 1530594 w 2077606"/>
              <a:gd name="connsiteY6411" fmla="*/ 132060 h 1786074"/>
              <a:gd name="connsiteX6412" fmla="*/ 1540571 w 2077606"/>
              <a:gd name="connsiteY6412" fmla="*/ 130059 h 1786074"/>
              <a:gd name="connsiteX6413" fmla="*/ 1546558 w 2077606"/>
              <a:gd name="connsiteY6413" fmla="*/ 128058 h 1786074"/>
              <a:gd name="connsiteX6414" fmla="*/ 1550549 w 2077606"/>
              <a:gd name="connsiteY6414" fmla="*/ 126057 h 1786074"/>
              <a:gd name="connsiteX6415" fmla="*/ 1558532 w 2077606"/>
              <a:gd name="connsiteY6415" fmla="*/ 126057 h 1786074"/>
              <a:gd name="connsiteX6416" fmla="*/ 1564519 w 2077606"/>
              <a:gd name="connsiteY6416" fmla="*/ 128058 h 1786074"/>
              <a:gd name="connsiteX6417" fmla="*/ 1574496 w 2077606"/>
              <a:gd name="connsiteY6417" fmla="*/ 128058 h 1786074"/>
              <a:gd name="connsiteX6418" fmla="*/ 1592457 w 2077606"/>
              <a:gd name="connsiteY6418" fmla="*/ 124056 h 1786074"/>
              <a:gd name="connsiteX6419" fmla="*/ 1604430 w 2077606"/>
              <a:gd name="connsiteY6419" fmla="*/ 122056 h 1786074"/>
              <a:gd name="connsiteX6420" fmla="*/ 1598444 w 2077606"/>
              <a:gd name="connsiteY6420" fmla="*/ 122056 h 1786074"/>
              <a:gd name="connsiteX6421" fmla="*/ 1576492 w 2077606"/>
              <a:gd name="connsiteY6421" fmla="*/ 120055 h 1786074"/>
              <a:gd name="connsiteX6422" fmla="*/ 1566514 w 2077606"/>
              <a:gd name="connsiteY6422" fmla="*/ 120055 h 1786074"/>
              <a:gd name="connsiteX6423" fmla="*/ 1560527 w 2077606"/>
              <a:gd name="connsiteY6423" fmla="*/ 122056 h 1786074"/>
              <a:gd name="connsiteX6424" fmla="*/ 1546558 w 2077606"/>
              <a:gd name="connsiteY6424" fmla="*/ 124056 h 1786074"/>
              <a:gd name="connsiteX6425" fmla="*/ 1528598 w 2077606"/>
              <a:gd name="connsiteY6425" fmla="*/ 130059 h 1786074"/>
              <a:gd name="connsiteX6426" fmla="*/ 1512633 w 2077606"/>
              <a:gd name="connsiteY6426" fmla="*/ 146066 h 1786074"/>
              <a:gd name="connsiteX6427" fmla="*/ 1498664 w 2077606"/>
              <a:gd name="connsiteY6427" fmla="*/ 152069 h 1786074"/>
              <a:gd name="connsiteX6428" fmla="*/ 1484695 w 2077606"/>
              <a:gd name="connsiteY6428" fmla="*/ 150068 h 1786074"/>
              <a:gd name="connsiteX6429" fmla="*/ 1466735 w 2077606"/>
              <a:gd name="connsiteY6429" fmla="*/ 142065 h 1786074"/>
              <a:gd name="connsiteX6430" fmla="*/ 1456757 w 2077606"/>
              <a:gd name="connsiteY6430" fmla="*/ 130059 h 1786074"/>
              <a:gd name="connsiteX6431" fmla="*/ 1480704 w 2077606"/>
              <a:gd name="connsiteY6431" fmla="*/ 130059 h 1786074"/>
              <a:gd name="connsiteX6432" fmla="*/ 1498664 w 2077606"/>
              <a:gd name="connsiteY6432" fmla="*/ 130059 h 1786074"/>
              <a:gd name="connsiteX6433" fmla="*/ 1518620 w 2077606"/>
              <a:gd name="connsiteY6433" fmla="*/ 130059 h 1786074"/>
              <a:gd name="connsiteX6434" fmla="*/ 1526602 w 2077606"/>
              <a:gd name="connsiteY6434" fmla="*/ 122056 h 1786074"/>
              <a:gd name="connsiteX6435" fmla="*/ 1536580 w 2077606"/>
              <a:gd name="connsiteY6435" fmla="*/ 118054 h 1786074"/>
              <a:gd name="connsiteX6436" fmla="*/ 1542567 w 2077606"/>
              <a:gd name="connsiteY6436" fmla="*/ 114052 h 1786074"/>
              <a:gd name="connsiteX6437" fmla="*/ 1548554 w 2077606"/>
              <a:gd name="connsiteY6437" fmla="*/ 112051 h 1786074"/>
              <a:gd name="connsiteX6438" fmla="*/ 1550549 w 2077606"/>
              <a:gd name="connsiteY6438" fmla="*/ 108049 h 1786074"/>
              <a:gd name="connsiteX6439" fmla="*/ 1540571 w 2077606"/>
              <a:gd name="connsiteY6439" fmla="*/ 112051 h 1786074"/>
              <a:gd name="connsiteX6440" fmla="*/ 1522611 w 2077606"/>
              <a:gd name="connsiteY6440" fmla="*/ 120055 h 1786074"/>
              <a:gd name="connsiteX6441" fmla="*/ 1496669 w 2077606"/>
              <a:gd name="connsiteY6441" fmla="*/ 124056 h 1786074"/>
              <a:gd name="connsiteX6442" fmla="*/ 1474717 w 2077606"/>
              <a:gd name="connsiteY6442" fmla="*/ 102046 h 1786074"/>
              <a:gd name="connsiteX6443" fmla="*/ 1502655 w 2077606"/>
              <a:gd name="connsiteY6443" fmla="*/ 100046 h 1786074"/>
              <a:gd name="connsiteX6444" fmla="*/ 1488686 w 2077606"/>
              <a:gd name="connsiteY6444" fmla="*/ 90041 h 1786074"/>
              <a:gd name="connsiteX6445" fmla="*/ 1480704 w 2077606"/>
              <a:gd name="connsiteY6445" fmla="*/ 70032 h 1786074"/>
              <a:gd name="connsiteX6446" fmla="*/ 1508642 w 2077606"/>
              <a:gd name="connsiteY6446" fmla="*/ 72033 h 1786074"/>
              <a:gd name="connsiteX6447" fmla="*/ 1512633 w 2077606"/>
              <a:gd name="connsiteY6447" fmla="*/ 70032 h 1786074"/>
              <a:gd name="connsiteX6448" fmla="*/ 1518620 w 2077606"/>
              <a:gd name="connsiteY6448" fmla="*/ 68031 h 1786074"/>
              <a:gd name="connsiteX6449" fmla="*/ 1534585 w 2077606"/>
              <a:gd name="connsiteY6449" fmla="*/ 74034 h 1786074"/>
              <a:gd name="connsiteX6450" fmla="*/ 1540571 w 2077606"/>
              <a:gd name="connsiteY6450" fmla="*/ 74034 h 1786074"/>
              <a:gd name="connsiteX6451" fmla="*/ 1546558 w 2077606"/>
              <a:gd name="connsiteY6451" fmla="*/ 72033 h 1786074"/>
              <a:gd name="connsiteX6452" fmla="*/ 1552545 w 2077606"/>
              <a:gd name="connsiteY6452" fmla="*/ 68031 h 1786074"/>
              <a:gd name="connsiteX6453" fmla="*/ 1546558 w 2077606"/>
              <a:gd name="connsiteY6453" fmla="*/ 66030 h 1786074"/>
              <a:gd name="connsiteX6454" fmla="*/ 1536580 w 2077606"/>
              <a:gd name="connsiteY6454" fmla="*/ 66030 h 1786074"/>
              <a:gd name="connsiteX6455" fmla="*/ 1532589 w 2077606"/>
              <a:gd name="connsiteY6455" fmla="*/ 66030 h 1786074"/>
              <a:gd name="connsiteX6456" fmla="*/ 1528598 w 2077606"/>
              <a:gd name="connsiteY6456" fmla="*/ 64029 h 1786074"/>
              <a:gd name="connsiteX6457" fmla="*/ 1524607 w 2077606"/>
              <a:gd name="connsiteY6457" fmla="*/ 62028 h 1786074"/>
              <a:gd name="connsiteX6458" fmla="*/ 1518620 w 2077606"/>
              <a:gd name="connsiteY6458" fmla="*/ 60027 h 1786074"/>
              <a:gd name="connsiteX6459" fmla="*/ 1524607 w 2077606"/>
              <a:gd name="connsiteY6459" fmla="*/ 58026 h 1786074"/>
              <a:gd name="connsiteX6460" fmla="*/ 1534585 w 2077606"/>
              <a:gd name="connsiteY6460" fmla="*/ 58026 h 1786074"/>
              <a:gd name="connsiteX6461" fmla="*/ 1536580 w 2077606"/>
              <a:gd name="connsiteY6461" fmla="*/ 52024 h 1786074"/>
              <a:gd name="connsiteX6462" fmla="*/ 1532589 w 2077606"/>
              <a:gd name="connsiteY6462" fmla="*/ 48022 h 1786074"/>
              <a:gd name="connsiteX6463" fmla="*/ 1540571 w 2077606"/>
              <a:gd name="connsiteY6463" fmla="*/ 46021 h 1786074"/>
              <a:gd name="connsiteX6464" fmla="*/ 1548554 w 2077606"/>
              <a:gd name="connsiteY6464" fmla="*/ 44020 h 1786074"/>
              <a:gd name="connsiteX6465" fmla="*/ 1554541 w 2077606"/>
              <a:gd name="connsiteY6465" fmla="*/ 48022 h 1786074"/>
              <a:gd name="connsiteX6466" fmla="*/ 1560527 w 2077606"/>
              <a:gd name="connsiteY6466" fmla="*/ 50023 h 1786074"/>
              <a:gd name="connsiteX6467" fmla="*/ 1566514 w 2077606"/>
              <a:gd name="connsiteY6467" fmla="*/ 50023 h 1786074"/>
              <a:gd name="connsiteX6468" fmla="*/ 1570505 w 2077606"/>
              <a:gd name="connsiteY6468" fmla="*/ 50023 h 1786074"/>
              <a:gd name="connsiteX6469" fmla="*/ 1578488 w 2077606"/>
              <a:gd name="connsiteY6469" fmla="*/ 54025 h 1786074"/>
              <a:gd name="connsiteX6470" fmla="*/ 1584474 w 2077606"/>
              <a:gd name="connsiteY6470" fmla="*/ 58026 h 1786074"/>
              <a:gd name="connsiteX6471" fmla="*/ 1584474 w 2077606"/>
              <a:gd name="connsiteY6471" fmla="*/ 66030 h 1786074"/>
              <a:gd name="connsiteX6472" fmla="*/ 1592457 w 2077606"/>
              <a:gd name="connsiteY6472" fmla="*/ 66030 h 1786074"/>
              <a:gd name="connsiteX6473" fmla="*/ 1598444 w 2077606"/>
              <a:gd name="connsiteY6473" fmla="*/ 68031 h 1786074"/>
              <a:gd name="connsiteX6474" fmla="*/ 1606426 w 2077606"/>
              <a:gd name="connsiteY6474" fmla="*/ 66030 h 1786074"/>
              <a:gd name="connsiteX6475" fmla="*/ 1598444 w 2077606"/>
              <a:gd name="connsiteY6475" fmla="*/ 64029 h 1786074"/>
              <a:gd name="connsiteX6476" fmla="*/ 1596448 w 2077606"/>
              <a:gd name="connsiteY6476" fmla="*/ 58026 h 1786074"/>
              <a:gd name="connsiteX6477" fmla="*/ 1606426 w 2077606"/>
              <a:gd name="connsiteY6477" fmla="*/ 60027 h 1786074"/>
              <a:gd name="connsiteX6478" fmla="*/ 1612413 w 2077606"/>
              <a:gd name="connsiteY6478" fmla="*/ 64029 h 1786074"/>
              <a:gd name="connsiteX6479" fmla="*/ 1620395 w 2077606"/>
              <a:gd name="connsiteY6479" fmla="*/ 66030 h 1786074"/>
              <a:gd name="connsiteX6480" fmla="*/ 1634364 w 2077606"/>
              <a:gd name="connsiteY6480" fmla="*/ 72033 h 1786074"/>
              <a:gd name="connsiteX6481" fmla="*/ 1642346 w 2077606"/>
              <a:gd name="connsiteY6481" fmla="*/ 72033 h 1786074"/>
              <a:gd name="connsiteX6482" fmla="*/ 1648333 w 2077606"/>
              <a:gd name="connsiteY6482" fmla="*/ 72033 h 1786074"/>
              <a:gd name="connsiteX6483" fmla="*/ 1650329 w 2077606"/>
              <a:gd name="connsiteY6483" fmla="*/ 70032 h 1786074"/>
              <a:gd name="connsiteX6484" fmla="*/ 1640351 w 2077606"/>
              <a:gd name="connsiteY6484" fmla="*/ 66030 h 1786074"/>
              <a:gd name="connsiteX6485" fmla="*/ 1628377 w 2077606"/>
              <a:gd name="connsiteY6485" fmla="*/ 62028 h 1786074"/>
              <a:gd name="connsiteX6486" fmla="*/ 1618399 w 2077606"/>
              <a:gd name="connsiteY6486" fmla="*/ 60027 h 1786074"/>
              <a:gd name="connsiteX6487" fmla="*/ 1610417 w 2077606"/>
              <a:gd name="connsiteY6487" fmla="*/ 58026 h 1786074"/>
              <a:gd name="connsiteX6488" fmla="*/ 1602435 w 2077606"/>
              <a:gd name="connsiteY6488" fmla="*/ 54025 h 1786074"/>
              <a:gd name="connsiteX6489" fmla="*/ 1604430 w 2077606"/>
              <a:gd name="connsiteY6489" fmla="*/ 48022 h 1786074"/>
              <a:gd name="connsiteX6490" fmla="*/ 1614408 w 2077606"/>
              <a:gd name="connsiteY6490" fmla="*/ 46021 h 1786074"/>
              <a:gd name="connsiteX6491" fmla="*/ 1614408 w 2077606"/>
              <a:gd name="connsiteY6491" fmla="*/ 44020 h 1786074"/>
              <a:gd name="connsiteX6492" fmla="*/ 1610417 w 2077606"/>
              <a:gd name="connsiteY6492" fmla="*/ 40018 h 1786074"/>
              <a:gd name="connsiteX6493" fmla="*/ 1616404 w 2077606"/>
              <a:gd name="connsiteY6493" fmla="*/ 36016 h 1786074"/>
              <a:gd name="connsiteX6494" fmla="*/ 1626382 w 2077606"/>
              <a:gd name="connsiteY6494" fmla="*/ 40018 h 1786074"/>
              <a:gd name="connsiteX6495" fmla="*/ 1630373 w 2077606"/>
              <a:gd name="connsiteY6495" fmla="*/ 40018 h 1786074"/>
              <a:gd name="connsiteX6496" fmla="*/ 1636360 w 2077606"/>
              <a:gd name="connsiteY6496" fmla="*/ 42019 h 1786074"/>
              <a:gd name="connsiteX6497" fmla="*/ 1640351 w 2077606"/>
              <a:gd name="connsiteY6497" fmla="*/ 42019 h 1786074"/>
              <a:gd name="connsiteX6498" fmla="*/ 1640351 w 2077606"/>
              <a:gd name="connsiteY6498" fmla="*/ 38017 h 1786074"/>
              <a:gd name="connsiteX6499" fmla="*/ 1634364 w 2077606"/>
              <a:gd name="connsiteY6499" fmla="*/ 34015 h 1786074"/>
              <a:gd name="connsiteX6500" fmla="*/ 1632369 w 2077606"/>
              <a:gd name="connsiteY6500" fmla="*/ 28013 h 1786074"/>
              <a:gd name="connsiteX6501" fmla="*/ 1642346 w 2077606"/>
              <a:gd name="connsiteY6501" fmla="*/ 24011 h 1786074"/>
              <a:gd name="connsiteX6502" fmla="*/ 1654320 w 2077606"/>
              <a:gd name="connsiteY6502" fmla="*/ 38017 h 1786074"/>
              <a:gd name="connsiteX6503" fmla="*/ 1658311 w 2077606"/>
              <a:gd name="connsiteY6503" fmla="*/ 38017 h 1786074"/>
              <a:gd name="connsiteX6504" fmla="*/ 1664298 w 2077606"/>
              <a:gd name="connsiteY6504" fmla="*/ 40018 h 1786074"/>
              <a:gd name="connsiteX6505" fmla="*/ 1666294 w 2077606"/>
              <a:gd name="connsiteY6505" fmla="*/ 36016 h 1786074"/>
              <a:gd name="connsiteX6506" fmla="*/ 1660307 w 2077606"/>
              <a:gd name="connsiteY6506" fmla="*/ 34015 h 1786074"/>
              <a:gd name="connsiteX6507" fmla="*/ 1656316 w 2077606"/>
              <a:gd name="connsiteY6507" fmla="*/ 30014 h 1786074"/>
              <a:gd name="connsiteX6508" fmla="*/ 1654320 w 2077606"/>
              <a:gd name="connsiteY6508" fmla="*/ 24011 h 1786074"/>
              <a:gd name="connsiteX6509" fmla="*/ 1652324 w 2077606"/>
              <a:gd name="connsiteY6509" fmla="*/ 20009 h 1786074"/>
              <a:gd name="connsiteX6510" fmla="*/ 1660307 w 2077606"/>
              <a:gd name="connsiteY6510" fmla="*/ 16007 h 1786074"/>
              <a:gd name="connsiteX6511" fmla="*/ 1666294 w 2077606"/>
              <a:gd name="connsiteY6511" fmla="*/ 14006 h 1786074"/>
              <a:gd name="connsiteX6512" fmla="*/ 1672280 w 2077606"/>
              <a:gd name="connsiteY6512" fmla="*/ 20009 h 1786074"/>
              <a:gd name="connsiteX6513" fmla="*/ 1676271 w 2077606"/>
              <a:gd name="connsiteY6513" fmla="*/ 20009 h 1786074"/>
              <a:gd name="connsiteX6514" fmla="*/ 1684254 w 2077606"/>
              <a:gd name="connsiteY6514" fmla="*/ 26012 h 1786074"/>
              <a:gd name="connsiteX6515" fmla="*/ 1692236 w 2077606"/>
              <a:gd name="connsiteY6515" fmla="*/ 24011 h 1786074"/>
              <a:gd name="connsiteX6516" fmla="*/ 1698223 w 2077606"/>
              <a:gd name="connsiteY6516" fmla="*/ 20009 h 1786074"/>
              <a:gd name="connsiteX6517" fmla="*/ 1706205 w 2077606"/>
              <a:gd name="connsiteY6517" fmla="*/ 22010 h 1786074"/>
              <a:gd name="connsiteX6518" fmla="*/ 1712192 w 2077606"/>
              <a:gd name="connsiteY6518" fmla="*/ 24011 h 1786074"/>
              <a:gd name="connsiteX6519" fmla="*/ 1718179 w 2077606"/>
              <a:gd name="connsiteY6519" fmla="*/ 26012 h 1786074"/>
              <a:gd name="connsiteX6520" fmla="*/ 1728157 w 2077606"/>
              <a:gd name="connsiteY6520" fmla="*/ 32015 h 1786074"/>
              <a:gd name="connsiteX6521" fmla="*/ 1736139 w 2077606"/>
              <a:gd name="connsiteY6521" fmla="*/ 38017 h 1786074"/>
              <a:gd name="connsiteX6522" fmla="*/ 1746117 w 2077606"/>
              <a:gd name="connsiteY6522" fmla="*/ 40018 h 1786074"/>
              <a:gd name="connsiteX6523" fmla="*/ 1752104 w 2077606"/>
              <a:gd name="connsiteY6523" fmla="*/ 40018 h 1786074"/>
              <a:gd name="connsiteX6524" fmla="*/ 1746117 w 2077606"/>
              <a:gd name="connsiteY6524" fmla="*/ 34015 h 1786074"/>
              <a:gd name="connsiteX6525" fmla="*/ 1734143 w 2077606"/>
              <a:gd name="connsiteY6525" fmla="*/ 28013 h 1786074"/>
              <a:gd name="connsiteX6526" fmla="*/ 1732148 w 2077606"/>
              <a:gd name="connsiteY6526" fmla="*/ 24011 h 1786074"/>
              <a:gd name="connsiteX6527" fmla="*/ 1730152 w 2077606"/>
              <a:gd name="connsiteY6527" fmla="*/ 24011 h 1786074"/>
              <a:gd name="connsiteX6528" fmla="*/ 1722170 w 2077606"/>
              <a:gd name="connsiteY6528" fmla="*/ 20009 h 1786074"/>
              <a:gd name="connsiteX6529" fmla="*/ 1712192 w 2077606"/>
              <a:gd name="connsiteY6529" fmla="*/ 18008 h 1786074"/>
              <a:gd name="connsiteX6530" fmla="*/ 1716183 w 2077606"/>
              <a:gd name="connsiteY6530" fmla="*/ 12005 h 1786074"/>
              <a:gd name="connsiteX6531" fmla="*/ 1728157 w 2077606"/>
              <a:gd name="connsiteY6531" fmla="*/ 12005 h 1786074"/>
              <a:gd name="connsiteX6532" fmla="*/ 1738135 w 2077606"/>
              <a:gd name="connsiteY6532" fmla="*/ 8004 h 1786074"/>
              <a:gd name="connsiteX6533" fmla="*/ 1746117 w 2077606"/>
              <a:gd name="connsiteY6533" fmla="*/ 8004 h 1786074"/>
              <a:gd name="connsiteX6534" fmla="*/ 1756095 w 2077606"/>
              <a:gd name="connsiteY6534" fmla="*/ 12005 h 1786074"/>
              <a:gd name="connsiteX6535" fmla="*/ 1762082 w 2077606"/>
              <a:gd name="connsiteY6535" fmla="*/ 10004 h 1786074"/>
              <a:gd name="connsiteX6536" fmla="*/ 1770064 w 2077606"/>
              <a:gd name="connsiteY6536" fmla="*/ 10004 h 1786074"/>
              <a:gd name="connsiteX6537" fmla="*/ 1780042 w 2077606"/>
              <a:gd name="connsiteY6537" fmla="*/ 20009 h 1786074"/>
              <a:gd name="connsiteX6538" fmla="*/ 1788024 w 2077606"/>
              <a:gd name="connsiteY6538" fmla="*/ 28013 h 1786074"/>
              <a:gd name="connsiteX6539" fmla="*/ 1788024 w 2077606"/>
              <a:gd name="connsiteY6539" fmla="*/ 30014 h 1786074"/>
              <a:gd name="connsiteX6540" fmla="*/ 1792016 w 2077606"/>
              <a:gd name="connsiteY6540" fmla="*/ 32015 h 1786074"/>
              <a:gd name="connsiteX6541" fmla="*/ 1794011 w 2077606"/>
              <a:gd name="connsiteY6541" fmla="*/ 32015 h 1786074"/>
              <a:gd name="connsiteX6542" fmla="*/ 1796007 w 2077606"/>
              <a:gd name="connsiteY6542" fmla="*/ 32015 h 1786074"/>
              <a:gd name="connsiteX6543" fmla="*/ 1803989 w 2077606"/>
              <a:gd name="connsiteY6543" fmla="*/ 32015 h 1786074"/>
              <a:gd name="connsiteX6544" fmla="*/ 1801993 w 2077606"/>
              <a:gd name="connsiteY6544" fmla="*/ 30014 h 1786074"/>
              <a:gd name="connsiteX6545" fmla="*/ 1794011 w 2077606"/>
              <a:gd name="connsiteY6545" fmla="*/ 22010 h 1786074"/>
              <a:gd name="connsiteX6546" fmla="*/ 1794011 w 2077606"/>
              <a:gd name="connsiteY6546" fmla="*/ 16007 h 1786074"/>
              <a:gd name="connsiteX6547" fmla="*/ 1801993 w 2077606"/>
              <a:gd name="connsiteY6547" fmla="*/ 14006 h 1786074"/>
              <a:gd name="connsiteX6548" fmla="*/ 1807980 w 2077606"/>
              <a:gd name="connsiteY6548" fmla="*/ 10004 h 1786074"/>
              <a:gd name="connsiteX6549" fmla="*/ 1821949 w 2077606"/>
              <a:gd name="connsiteY6549" fmla="*/ 10004 h 1786074"/>
              <a:gd name="connsiteX6550" fmla="*/ 1831927 w 2077606"/>
              <a:gd name="connsiteY6550" fmla="*/ 10004 h 1786074"/>
              <a:gd name="connsiteX6551" fmla="*/ 1837914 w 2077606"/>
              <a:gd name="connsiteY6551" fmla="*/ 16007 h 1786074"/>
              <a:gd name="connsiteX6552" fmla="*/ 1849888 w 2077606"/>
              <a:gd name="connsiteY6552" fmla="*/ 16007 h 1786074"/>
              <a:gd name="connsiteX6553" fmla="*/ 1857870 w 2077606"/>
              <a:gd name="connsiteY6553" fmla="*/ 12005 h 1786074"/>
              <a:gd name="connsiteX6554" fmla="*/ 1853879 w 2077606"/>
              <a:gd name="connsiteY6554" fmla="*/ 10004 h 1786074"/>
              <a:gd name="connsiteX6555" fmla="*/ 1851883 w 2077606"/>
              <a:gd name="connsiteY6555" fmla="*/ 4002 h 1786074"/>
              <a:gd name="connsiteX6556" fmla="*/ 1859866 w 2077606"/>
              <a:gd name="connsiteY6556" fmla="*/ 4002 h 1786074"/>
              <a:gd name="connsiteX6557" fmla="*/ 1865852 w 2077606"/>
              <a:gd name="connsiteY6557" fmla="*/ 4002 h 1786074"/>
              <a:gd name="connsiteX6558" fmla="*/ 1869843 w 2077606"/>
              <a:gd name="connsiteY6558" fmla="*/ 2001 h 1786074"/>
              <a:gd name="connsiteX6559" fmla="*/ 1877826 w 2077606"/>
              <a:gd name="connsiteY6559" fmla="*/ 0 h 178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Lst>
            <a:rect l="l" t="t" r="r" b="b"/>
            <a:pathLst>
              <a:path w="2077606" h="1786074">
                <a:moveTo>
                  <a:pt x="1525229" y="1679208"/>
                </a:moveTo>
                <a:lnTo>
                  <a:pt x="1521595" y="1681594"/>
                </a:lnTo>
                <a:cubicBezTo>
                  <a:pt x="1518353" y="1683339"/>
                  <a:pt x="1515361" y="1684834"/>
                  <a:pt x="1514363" y="1685831"/>
                </a:cubicBezTo>
                <a:cubicBezTo>
                  <a:pt x="1515361" y="1684834"/>
                  <a:pt x="1519351" y="1682342"/>
                  <a:pt x="1523341" y="1680099"/>
                </a:cubicBezTo>
                <a:close/>
                <a:moveTo>
                  <a:pt x="1530323" y="1675861"/>
                </a:moveTo>
                <a:lnTo>
                  <a:pt x="1530704" y="1676623"/>
                </a:lnTo>
                <a:lnTo>
                  <a:pt x="1525229" y="1679208"/>
                </a:lnTo>
                <a:close/>
                <a:moveTo>
                  <a:pt x="1525336" y="1671873"/>
                </a:moveTo>
                <a:lnTo>
                  <a:pt x="1526333" y="1671873"/>
                </a:lnTo>
                <a:cubicBezTo>
                  <a:pt x="1524338" y="1673867"/>
                  <a:pt x="1524338" y="1675861"/>
                  <a:pt x="1522343" y="1675861"/>
                </a:cubicBezTo>
                <a:close/>
                <a:moveTo>
                  <a:pt x="1872028" y="1637030"/>
                </a:moveTo>
                <a:cubicBezTo>
                  <a:pt x="1873982" y="1635125"/>
                  <a:pt x="1873982" y="1640840"/>
                  <a:pt x="1873982" y="1640840"/>
                </a:cubicBezTo>
                <a:cubicBezTo>
                  <a:pt x="1873982" y="1640840"/>
                  <a:pt x="1872028" y="1646555"/>
                  <a:pt x="1875936" y="1642745"/>
                </a:cubicBezTo>
                <a:cubicBezTo>
                  <a:pt x="1879844" y="1638935"/>
                  <a:pt x="1879844" y="1642745"/>
                  <a:pt x="1879844" y="1642745"/>
                </a:cubicBezTo>
                <a:cubicBezTo>
                  <a:pt x="1879844" y="1642745"/>
                  <a:pt x="1879844" y="1646555"/>
                  <a:pt x="1881797" y="1646555"/>
                </a:cubicBezTo>
                <a:cubicBezTo>
                  <a:pt x="1883751" y="1646555"/>
                  <a:pt x="1885705" y="1646555"/>
                  <a:pt x="1885705" y="1648460"/>
                </a:cubicBezTo>
                <a:cubicBezTo>
                  <a:pt x="1883751" y="1650365"/>
                  <a:pt x="1881797" y="1650365"/>
                  <a:pt x="1881797" y="1650365"/>
                </a:cubicBezTo>
                <a:cubicBezTo>
                  <a:pt x="1881797" y="1650365"/>
                  <a:pt x="1875936" y="1654175"/>
                  <a:pt x="1875936" y="1656080"/>
                </a:cubicBezTo>
                <a:cubicBezTo>
                  <a:pt x="1873982" y="1657985"/>
                  <a:pt x="1866167" y="1663700"/>
                  <a:pt x="1864213" y="1661795"/>
                </a:cubicBezTo>
                <a:cubicBezTo>
                  <a:pt x="1860305" y="1661795"/>
                  <a:pt x="1862259" y="1659890"/>
                  <a:pt x="1864213" y="1656080"/>
                </a:cubicBezTo>
                <a:cubicBezTo>
                  <a:pt x="1868121" y="1652270"/>
                  <a:pt x="1868121" y="1652270"/>
                  <a:pt x="1868121" y="1652270"/>
                </a:cubicBezTo>
                <a:cubicBezTo>
                  <a:pt x="1868121" y="1652270"/>
                  <a:pt x="1870074" y="1646555"/>
                  <a:pt x="1870074" y="1644650"/>
                </a:cubicBezTo>
                <a:cubicBezTo>
                  <a:pt x="1870074" y="1642745"/>
                  <a:pt x="1868121" y="1637030"/>
                  <a:pt x="1872028" y="1637030"/>
                </a:cubicBezTo>
                <a:close/>
                <a:moveTo>
                  <a:pt x="1976722" y="1627188"/>
                </a:moveTo>
                <a:cubicBezTo>
                  <a:pt x="1976722" y="1627188"/>
                  <a:pt x="1980955" y="1628776"/>
                  <a:pt x="1980955" y="1628776"/>
                </a:cubicBezTo>
                <a:cubicBezTo>
                  <a:pt x="1980955" y="1630363"/>
                  <a:pt x="1976722" y="1630363"/>
                  <a:pt x="1974605" y="1628776"/>
                </a:cubicBezTo>
                <a:cubicBezTo>
                  <a:pt x="1974605" y="1627188"/>
                  <a:pt x="1976722" y="1627188"/>
                  <a:pt x="1976722" y="1627188"/>
                </a:cubicBezTo>
                <a:close/>
                <a:moveTo>
                  <a:pt x="1968784" y="1624013"/>
                </a:moveTo>
                <a:cubicBezTo>
                  <a:pt x="1968784" y="1624013"/>
                  <a:pt x="1970900" y="1624013"/>
                  <a:pt x="1973017" y="1626394"/>
                </a:cubicBezTo>
                <a:cubicBezTo>
                  <a:pt x="1973017" y="1628775"/>
                  <a:pt x="1966667" y="1628775"/>
                  <a:pt x="1966667" y="1626394"/>
                </a:cubicBezTo>
                <a:cubicBezTo>
                  <a:pt x="1966667" y="1624013"/>
                  <a:pt x="1968784" y="1624013"/>
                  <a:pt x="1968784" y="1624013"/>
                </a:cubicBezTo>
                <a:close/>
                <a:moveTo>
                  <a:pt x="1962699" y="1616075"/>
                </a:moveTo>
                <a:lnTo>
                  <a:pt x="1964684" y="1618059"/>
                </a:lnTo>
                <a:cubicBezTo>
                  <a:pt x="1964684" y="1618059"/>
                  <a:pt x="1966668" y="1620044"/>
                  <a:pt x="1966668" y="1620044"/>
                </a:cubicBezTo>
                <a:cubicBezTo>
                  <a:pt x="1966668" y="1622028"/>
                  <a:pt x="1966668" y="1624012"/>
                  <a:pt x="1966668" y="1624012"/>
                </a:cubicBezTo>
                <a:cubicBezTo>
                  <a:pt x="1964684" y="1624012"/>
                  <a:pt x="1962699" y="1622028"/>
                  <a:pt x="1960715" y="1620044"/>
                </a:cubicBezTo>
                <a:cubicBezTo>
                  <a:pt x="1958730" y="1618059"/>
                  <a:pt x="1962699" y="1616075"/>
                  <a:pt x="1962699" y="1616075"/>
                </a:cubicBezTo>
                <a:close/>
                <a:moveTo>
                  <a:pt x="1775400" y="1611746"/>
                </a:moveTo>
                <a:cubicBezTo>
                  <a:pt x="1777397" y="1611746"/>
                  <a:pt x="1781391" y="1613766"/>
                  <a:pt x="1781391" y="1615786"/>
                </a:cubicBezTo>
                <a:cubicBezTo>
                  <a:pt x="1781391" y="1617807"/>
                  <a:pt x="1779394" y="1619827"/>
                  <a:pt x="1779394" y="1619827"/>
                </a:cubicBezTo>
                <a:cubicBezTo>
                  <a:pt x="1779394" y="1619827"/>
                  <a:pt x="1777397" y="1619827"/>
                  <a:pt x="1777397" y="1621848"/>
                </a:cubicBezTo>
                <a:cubicBezTo>
                  <a:pt x="1781391" y="1623868"/>
                  <a:pt x="1781391" y="1623868"/>
                  <a:pt x="1781391" y="1625889"/>
                </a:cubicBezTo>
                <a:cubicBezTo>
                  <a:pt x="1781391" y="1627909"/>
                  <a:pt x="1781391" y="1629930"/>
                  <a:pt x="1783388" y="1629930"/>
                </a:cubicBezTo>
                <a:cubicBezTo>
                  <a:pt x="1785385" y="1629930"/>
                  <a:pt x="1787383" y="1627909"/>
                  <a:pt x="1789380" y="1629930"/>
                </a:cubicBezTo>
                <a:cubicBezTo>
                  <a:pt x="1793374" y="1633971"/>
                  <a:pt x="1791377" y="1633971"/>
                  <a:pt x="1799366" y="1633971"/>
                </a:cubicBezTo>
                <a:cubicBezTo>
                  <a:pt x="1805357" y="1635991"/>
                  <a:pt x="1813346" y="1633971"/>
                  <a:pt x="1813346" y="1633971"/>
                </a:cubicBezTo>
                <a:cubicBezTo>
                  <a:pt x="1813346" y="1633971"/>
                  <a:pt x="1817341" y="1631950"/>
                  <a:pt x="1825329" y="1631950"/>
                </a:cubicBezTo>
                <a:cubicBezTo>
                  <a:pt x="1833318" y="1633971"/>
                  <a:pt x="1827327" y="1638011"/>
                  <a:pt x="1827327" y="1638011"/>
                </a:cubicBezTo>
                <a:cubicBezTo>
                  <a:pt x="1827327" y="1638011"/>
                  <a:pt x="1825329" y="1638011"/>
                  <a:pt x="1823332" y="1638011"/>
                </a:cubicBezTo>
                <a:cubicBezTo>
                  <a:pt x="1821335" y="1638011"/>
                  <a:pt x="1815343" y="1638011"/>
                  <a:pt x="1815343" y="1642052"/>
                </a:cubicBezTo>
                <a:cubicBezTo>
                  <a:pt x="1815343" y="1648114"/>
                  <a:pt x="1817341" y="1650134"/>
                  <a:pt x="1817341" y="1650134"/>
                </a:cubicBezTo>
                <a:cubicBezTo>
                  <a:pt x="1817341" y="1650134"/>
                  <a:pt x="1819338" y="1654175"/>
                  <a:pt x="1815343" y="1652155"/>
                </a:cubicBezTo>
                <a:cubicBezTo>
                  <a:pt x="1813346" y="1652155"/>
                  <a:pt x="1811349" y="1654175"/>
                  <a:pt x="1807355" y="1652155"/>
                </a:cubicBezTo>
                <a:cubicBezTo>
                  <a:pt x="1805357" y="1650134"/>
                  <a:pt x="1807355" y="1646093"/>
                  <a:pt x="1805357" y="1644073"/>
                </a:cubicBezTo>
                <a:cubicBezTo>
                  <a:pt x="1803360" y="1644073"/>
                  <a:pt x="1799366" y="1644073"/>
                  <a:pt x="1795371" y="1642052"/>
                </a:cubicBezTo>
                <a:cubicBezTo>
                  <a:pt x="1791377" y="1642052"/>
                  <a:pt x="1785385" y="1638011"/>
                  <a:pt x="1785385" y="1638011"/>
                </a:cubicBezTo>
                <a:cubicBezTo>
                  <a:pt x="1785385" y="1638011"/>
                  <a:pt x="1783388" y="1633971"/>
                  <a:pt x="1783388" y="1633971"/>
                </a:cubicBezTo>
                <a:cubicBezTo>
                  <a:pt x="1781391" y="1635991"/>
                  <a:pt x="1775400" y="1633971"/>
                  <a:pt x="1775400" y="1631950"/>
                </a:cubicBezTo>
                <a:cubicBezTo>
                  <a:pt x="1775400" y="1629930"/>
                  <a:pt x="1777397" y="1627909"/>
                  <a:pt x="1775400" y="1625889"/>
                </a:cubicBezTo>
                <a:cubicBezTo>
                  <a:pt x="1773402" y="1625889"/>
                  <a:pt x="1771405" y="1623868"/>
                  <a:pt x="1773402" y="1621848"/>
                </a:cubicBezTo>
                <a:cubicBezTo>
                  <a:pt x="1773402" y="1617807"/>
                  <a:pt x="1773402" y="1615786"/>
                  <a:pt x="1773402" y="1613766"/>
                </a:cubicBezTo>
                <a:cubicBezTo>
                  <a:pt x="1773402" y="1613766"/>
                  <a:pt x="1771405" y="1609725"/>
                  <a:pt x="1775400" y="1611746"/>
                </a:cubicBezTo>
                <a:close/>
                <a:moveTo>
                  <a:pt x="1837286" y="1600201"/>
                </a:moveTo>
                <a:cubicBezTo>
                  <a:pt x="1837286" y="1598613"/>
                  <a:pt x="1839271" y="1598613"/>
                  <a:pt x="1841255" y="1600201"/>
                </a:cubicBezTo>
                <a:cubicBezTo>
                  <a:pt x="1841255" y="1601788"/>
                  <a:pt x="1839271" y="1601788"/>
                  <a:pt x="1837286" y="1601788"/>
                </a:cubicBezTo>
                <a:cubicBezTo>
                  <a:pt x="1833317" y="1600201"/>
                  <a:pt x="1837286" y="1600201"/>
                  <a:pt x="1837286" y="1600201"/>
                </a:cubicBezTo>
                <a:close/>
                <a:moveTo>
                  <a:pt x="1839668" y="1590675"/>
                </a:moveTo>
                <a:cubicBezTo>
                  <a:pt x="1839668" y="1590675"/>
                  <a:pt x="1842049" y="1590675"/>
                  <a:pt x="1844430" y="1592263"/>
                </a:cubicBezTo>
                <a:cubicBezTo>
                  <a:pt x="1844430" y="1593850"/>
                  <a:pt x="1839668" y="1593850"/>
                  <a:pt x="1837286" y="1592263"/>
                </a:cubicBezTo>
                <a:cubicBezTo>
                  <a:pt x="1834905" y="1592263"/>
                  <a:pt x="1839668" y="1590675"/>
                  <a:pt x="1839668" y="1590675"/>
                </a:cubicBezTo>
                <a:close/>
                <a:moveTo>
                  <a:pt x="1848399" y="1582738"/>
                </a:moveTo>
                <a:cubicBezTo>
                  <a:pt x="1848399" y="1582738"/>
                  <a:pt x="1852368" y="1584855"/>
                  <a:pt x="1852368" y="1586971"/>
                </a:cubicBezTo>
                <a:cubicBezTo>
                  <a:pt x="1852368" y="1589088"/>
                  <a:pt x="1850384" y="1589088"/>
                  <a:pt x="1846415" y="1586971"/>
                </a:cubicBezTo>
                <a:cubicBezTo>
                  <a:pt x="1844430" y="1582738"/>
                  <a:pt x="1848399" y="1582738"/>
                  <a:pt x="1848399" y="1582738"/>
                </a:cubicBezTo>
                <a:close/>
                <a:moveTo>
                  <a:pt x="2063072" y="1568874"/>
                </a:moveTo>
                <a:cubicBezTo>
                  <a:pt x="2065092" y="1570885"/>
                  <a:pt x="2065092" y="1572896"/>
                  <a:pt x="2063072" y="1572896"/>
                </a:cubicBezTo>
                <a:cubicBezTo>
                  <a:pt x="2061051" y="1572896"/>
                  <a:pt x="2061051" y="1574906"/>
                  <a:pt x="2061051" y="1574906"/>
                </a:cubicBezTo>
                <a:cubicBezTo>
                  <a:pt x="2061051" y="1574906"/>
                  <a:pt x="2061051" y="1578928"/>
                  <a:pt x="2059031" y="1578928"/>
                </a:cubicBezTo>
                <a:cubicBezTo>
                  <a:pt x="2059031" y="1578928"/>
                  <a:pt x="2057010" y="1578928"/>
                  <a:pt x="2057010" y="1580939"/>
                </a:cubicBezTo>
                <a:cubicBezTo>
                  <a:pt x="2057010" y="1582950"/>
                  <a:pt x="2054990" y="1586971"/>
                  <a:pt x="2054990" y="1586971"/>
                </a:cubicBezTo>
                <a:cubicBezTo>
                  <a:pt x="2054990" y="1586971"/>
                  <a:pt x="2052969" y="1588982"/>
                  <a:pt x="2052969" y="1593004"/>
                </a:cubicBezTo>
                <a:cubicBezTo>
                  <a:pt x="2052969" y="1597026"/>
                  <a:pt x="2052969" y="1599036"/>
                  <a:pt x="2054990" y="1599036"/>
                </a:cubicBezTo>
                <a:cubicBezTo>
                  <a:pt x="2054990" y="1597026"/>
                  <a:pt x="2057010" y="1593004"/>
                  <a:pt x="2057010" y="1593004"/>
                </a:cubicBezTo>
                <a:cubicBezTo>
                  <a:pt x="2057010" y="1593004"/>
                  <a:pt x="2059031" y="1584961"/>
                  <a:pt x="2061051" y="1584961"/>
                </a:cubicBezTo>
                <a:cubicBezTo>
                  <a:pt x="2065092" y="1584961"/>
                  <a:pt x="2065092" y="1586971"/>
                  <a:pt x="2065092" y="1586971"/>
                </a:cubicBezTo>
                <a:cubicBezTo>
                  <a:pt x="2065092" y="1586971"/>
                  <a:pt x="2065092" y="1593004"/>
                  <a:pt x="2065092" y="1597026"/>
                </a:cubicBezTo>
                <a:cubicBezTo>
                  <a:pt x="2063072" y="1603058"/>
                  <a:pt x="2063072" y="1603058"/>
                  <a:pt x="2063072" y="1605069"/>
                </a:cubicBezTo>
                <a:cubicBezTo>
                  <a:pt x="2065092" y="1607080"/>
                  <a:pt x="2063072" y="1607080"/>
                  <a:pt x="2063072" y="1609091"/>
                </a:cubicBezTo>
                <a:cubicBezTo>
                  <a:pt x="2061051" y="1609091"/>
                  <a:pt x="2059031" y="1609091"/>
                  <a:pt x="2059031" y="1613112"/>
                </a:cubicBezTo>
                <a:cubicBezTo>
                  <a:pt x="2059031" y="1617134"/>
                  <a:pt x="2057010" y="1617134"/>
                  <a:pt x="2057010" y="1619145"/>
                </a:cubicBezTo>
                <a:cubicBezTo>
                  <a:pt x="2054990" y="1621156"/>
                  <a:pt x="2054990" y="1627188"/>
                  <a:pt x="2052969" y="1627188"/>
                </a:cubicBezTo>
                <a:cubicBezTo>
                  <a:pt x="2048928" y="1627188"/>
                  <a:pt x="2046908" y="1627188"/>
                  <a:pt x="2046908" y="1627188"/>
                </a:cubicBezTo>
                <a:cubicBezTo>
                  <a:pt x="2044888" y="1627188"/>
                  <a:pt x="2040847" y="1627188"/>
                  <a:pt x="2040847" y="1625177"/>
                </a:cubicBezTo>
                <a:cubicBezTo>
                  <a:pt x="2040847" y="1623166"/>
                  <a:pt x="2042867" y="1617134"/>
                  <a:pt x="2040847" y="1615123"/>
                </a:cubicBezTo>
                <a:cubicBezTo>
                  <a:pt x="2040847" y="1615123"/>
                  <a:pt x="2038826" y="1615123"/>
                  <a:pt x="2038826" y="1611101"/>
                </a:cubicBezTo>
                <a:cubicBezTo>
                  <a:pt x="2038826" y="1609091"/>
                  <a:pt x="2036806" y="1607080"/>
                  <a:pt x="2036806" y="1611101"/>
                </a:cubicBezTo>
                <a:cubicBezTo>
                  <a:pt x="2036806" y="1615123"/>
                  <a:pt x="2036806" y="1617134"/>
                  <a:pt x="2034785" y="1617134"/>
                </a:cubicBezTo>
                <a:cubicBezTo>
                  <a:pt x="2032765" y="1617134"/>
                  <a:pt x="2030744" y="1617134"/>
                  <a:pt x="2030744" y="1619145"/>
                </a:cubicBezTo>
                <a:cubicBezTo>
                  <a:pt x="2030744" y="1623166"/>
                  <a:pt x="2026703" y="1627188"/>
                  <a:pt x="2024683" y="1623166"/>
                </a:cubicBezTo>
                <a:cubicBezTo>
                  <a:pt x="2020642" y="1621156"/>
                  <a:pt x="2024683" y="1613112"/>
                  <a:pt x="2026703" y="1613112"/>
                </a:cubicBezTo>
                <a:cubicBezTo>
                  <a:pt x="2026703" y="1613112"/>
                  <a:pt x="2028724" y="1611101"/>
                  <a:pt x="2028724" y="1609091"/>
                </a:cubicBezTo>
                <a:cubicBezTo>
                  <a:pt x="2028724" y="1607080"/>
                  <a:pt x="2030744" y="1605069"/>
                  <a:pt x="2032765" y="1603058"/>
                </a:cubicBezTo>
                <a:cubicBezTo>
                  <a:pt x="2032765" y="1603058"/>
                  <a:pt x="2034785" y="1601047"/>
                  <a:pt x="2034785" y="1599036"/>
                </a:cubicBezTo>
                <a:cubicBezTo>
                  <a:pt x="2032765" y="1595015"/>
                  <a:pt x="2030744" y="1593004"/>
                  <a:pt x="2034785" y="1588982"/>
                </a:cubicBezTo>
                <a:cubicBezTo>
                  <a:pt x="2038826" y="1586971"/>
                  <a:pt x="2038826" y="1590993"/>
                  <a:pt x="2038826" y="1593004"/>
                </a:cubicBezTo>
                <a:cubicBezTo>
                  <a:pt x="2038826" y="1595015"/>
                  <a:pt x="2042867" y="1597026"/>
                  <a:pt x="2042867" y="1593004"/>
                </a:cubicBezTo>
                <a:cubicBezTo>
                  <a:pt x="2042867" y="1593004"/>
                  <a:pt x="2042867" y="1586971"/>
                  <a:pt x="2044888" y="1584961"/>
                </a:cubicBezTo>
                <a:cubicBezTo>
                  <a:pt x="2048928" y="1582950"/>
                  <a:pt x="2048928" y="1576917"/>
                  <a:pt x="2048928" y="1576917"/>
                </a:cubicBezTo>
                <a:cubicBezTo>
                  <a:pt x="2048928" y="1576917"/>
                  <a:pt x="2048928" y="1570885"/>
                  <a:pt x="2052969" y="1570885"/>
                </a:cubicBezTo>
                <a:cubicBezTo>
                  <a:pt x="2054990" y="1570885"/>
                  <a:pt x="2059031" y="1566863"/>
                  <a:pt x="2063072" y="1568874"/>
                </a:cubicBezTo>
                <a:close/>
                <a:moveTo>
                  <a:pt x="1913486" y="1546543"/>
                </a:moveTo>
                <a:cubicBezTo>
                  <a:pt x="1914280" y="1547019"/>
                  <a:pt x="1914809" y="1548448"/>
                  <a:pt x="1915867" y="1550353"/>
                </a:cubicBezTo>
                <a:cubicBezTo>
                  <a:pt x="1915867" y="1552258"/>
                  <a:pt x="1909517" y="1554163"/>
                  <a:pt x="1907400" y="1554163"/>
                </a:cubicBezTo>
                <a:cubicBezTo>
                  <a:pt x="1903167" y="1552258"/>
                  <a:pt x="1909517" y="1548448"/>
                  <a:pt x="1909517" y="1548448"/>
                </a:cubicBezTo>
                <a:cubicBezTo>
                  <a:pt x="1911634" y="1546543"/>
                  <a:pt x="1912692" y="1546067"/>
                  <a:pt x="1913486" y="1546543"/>
                </a:cubicBezTo>
                <a:close/>
                <a:moveTo>
                  <a:pt x="319637" y="1540405"/>
                </a:moveTo>
                <a:cubicBezTo>
                  <a:pt x="319637" y="1538288"/>
                  <a:pt x="322018" y="1540405"/>
                  <a:pt x="322018" y="1540405"/>
                </a:cubicBezTo>
                <a:cubicBezTo>
                  <a:pt x="322018" y="1542521"/>
                  <a:pt x="319637" y="1544638"/>
                  <a:pt x="319637" y="1542521"/>
                </a:cubicBezTo>
                <a:cubicBezTo>
                  <a:pt x="317255" y="1540405"/>
                  <a:pt x="319637" y="1540405"/>
                  <a:pt x="319637" y="1540405"/>
                </a:cubicBezTo>
                <a:close/>
                <a:moveTo>
                  <a:pt x="1747778" y="1528306"/>
                </a:moveTo>
                <a:cubicBezTo>
                  <a:pt x="1747778" y="1528306"/>
                  <a:pt x="1753763" y="1528306"/>
                  <a:pt x="1755758" y="1528306"/>
                </a:cubicBezTo>
                <a:cubicBezTo>
                  <a:pt x="1755758" y="1528306"/>
                  <a:pt x="1763738" y="1528306"/>
                  <a:pt x="1763738" y="1528306"/>
                </a:cubicBezTo>
                <a:cubicBezTo>
                  <a:pt x="1765733" y="1530300"/>
                  <a:pt x="1773713" y="1534288"/>
                  <a:pt x="1773713" y="1534288"/>
                </a:cubicBezTo>
                <a:cubicBezTo>
                  <a:pt x="1773713" y="1534288"/>
                  <a:pt x="1781693" y="1538276"/>
                  <a:pt x="1783688" y="1540270"/>
                </a:cubicBezTo>
                <a:cubicBezTo>
                  <a:pt x="1783688" y="1542264"/>
                  <a:pt x="1781693" y="1542264"/>
                  <a:pt x="1781693" y="1544258"/>
                </a:cubicBezTo>
                <a:cubicBezTo>
                  <a:pt x="1779698" y="1546252"/>
                  <a:pt x="1779698" y="1550240"/>
                  <a:pt x="1781693" y="1552234"/>
                </a:cubicBezTo>
                <a:cubicBezTo>
                  <a:pt x="1781693" y="1554228"/>
                  <a:pt x="1785683" y="1558216"/>
                  <a:pt x="1781693" y="1560210"/>
                </a:cubicBezTo>
                <a:cubicBezTo>
                  <a:pt x="1779698" y="1562204"/>
                  <a:pt x="1779698" y="1564198"/>
                  <a:pt x="1777703" y="1566192"/>
                </a:cubicBezTo>
                <a:cubicBezTo>
                  <a:pt x="1773713" y="1566192"/>
                  <a:pt x="1769723" y="1566192"/>
                  <a:pt x="1767728" y="1568186"/>
                </a:cubicBezTo>
                <a:cubicBezTo>
                  <a:pt x="1765733" y="1570180"/>
                  <a:pt x="1761743" y="1570180"/>
                  <a:pt x="1761743" y="1570180"/>
                </a:cubicBezTo>
                <a:cubicBezTo>
                  <a:pt x="1759748" y="1572174"/>
                  <a:pt x="1759748" y="1574168"/>
                  <a:pt x="1755758" y="1576162"/>
                </a:cubicBezTo>
                <a:cubicBezTo>
                  <a:pt x="1755758" y="1576162"/>
                  <a:pt x="1751768" y="1572174"/>
                  <a:pt x="1749773" y="1572174"/>
                </a:cubicBezTo>
                <a:cubicBezTo>
                  <a:pt x="1747778" y="1572174"/>
                  <a:pt x="1743788" y="1572174"/>
                  <a:pt x="1743788" y="1572174"/>
                </a:cubicBezTo>
                <a:cubicBezTo>
                  <a:pt x="1741793" y="1572174"/>
                  <a:pt x="1741793" y="1570180"/>
                  <a:pt x="1739798" y="1572174"/>
                </a:cubicBezTo>
                <a:cubicBezTo>
                  <a:pt x="1737803" y="1572174"/>
                  <a:pt x="1735808" y="1574168"/>
                  <a:pt x="1735808" y="1574168"/>
                </a:cubicBezTo>
                <a:cubicBezTo>
                  <a:pt x="1733813" y="1574168"/>
                  <a:pt x="1731818" y="1574168"/>
                  <a:pt x="1729823" y="1574168"/>
                </a:cubicBezTo>
                <a:cubicBezTo>
                  <a:pt x="1727828" y="1574168"/>
                  <a:pt x="1725833" y="1572174"/>
                  <a:pt x="1723838" y="1574168"/>
                </a:cubicBezTo>
                <a:cubicBezTo>
                  <a:pt x="1723838" y="1576162"/>
                  <a:pt x="1725833" y="1580150"/>
                  <a:pt x="1727828" y="1580150"/>
                </a:cubicBezTo>
                <a:cubicBezTo>
                  <a:pt x="1727828" y="1580150"/>
                  <a:pt x="1733813" y="1578156"/>
                  <a:pt x="1733813" y="1578156"/>
                </a:cubicBezTo>
                <a:cubicBezTo>
                  <a:pt x="1733813" y="1578156"/>
                  <a:pt x="1737803" y="1582144"/>
                  <a:pt x="1739798" y="1584138"/>
                </a:cubicBezTo>
                <a:cubicBezTo>
                  <a:pt x="1739798" y="1586132"/>
                  <a:pt x="1741793" y="1586132"/>
                  <a:pt x="1743788" y="1588126"/>
                </a:cubicBezTo>
                <a:cubicBezTo>
                  <a:pt x="1743788" y="1590120"/>
                  <a:pt x="1745783" y="1592114"/>
                  <a:pt x="1747778" y="1590120"/>
                </a:cubicBezTo>
                <a:cubicBezTo>
                  <a:pt x="1747778" y="1586132"/>
                  <a:pt x="1749773" y="1586132"/>
                  <a:pt x="1751768" y="1586132"/>
                </a:cubicBezTo>
                <a:cubicBezTo>
                  <a:pt x="1753763" y="1586132"/>
                  <a:pt x="1759748" y="1584138"/>
                  <a:pt x="1761743" y="1586132"/>
                </a:cubicBezTo>
                <a:cubicBezTo>
                  <a:pt x="1763738" y="1586132"/>
                  <a:pt x="1767728" y="1588126"/>
                  <a:pt x="1765733" y="1592114"/>
                </a:cubicBezTo>
                <a:cubicBezTo>
                  <a:pt x="1765733" y="1594108"/>
                  <a:pt x="1761743" y="1596102"/>
                  <a:pt x="1761743" y="1596102"/>
                </a:cubicBezTo>
                <a:cubicBezTo>
                  <a:pt x="1759748" y="1598096"/>
                  <a:pt x="1759748" y="1600090"/>
                  <a:pt x="1759748" y="1602084"/>
                </a:cubicBezTo>
                <a:cubicBezTo>
                  <a:pt x="1757753" y="1604078"/>
                  <a:pt x="1751768" y="1604078"/>
                  <a:pt x="1751768" y="1604078"/>
                </a:cubicBezTo>
                <a:cubicBezTo>
                  <a:pt x="1751768" y="1604078"/>
                  <a:pt x="1743788" y="1610060"/>
                  <a:pt x="1747778" y="1612054"/>
                </a:cubicBezTo>
                <a:cubicBezTo>
                  <a:pt x="1749773" y="1612054"/>
                  <a:pt x="1751768" y="1612054"/>
                  <a:pt x="1753763" y="1612054"/>
                </a:cubicBezTo>
                <a:cubicBezTo>
                  <a:pt x="1755758" y="1612054"/>
                  <a:pt x="1761743" y="1610060"/>
                  <a:pt x="1761743" y="1612054"/>
                </a:cubicBezTo>
                <a:cubicBezTo>
                  <a:pt x="1763738" y="1614048"/>
                  <a:pt x="1761743" y="1620030"/>
                  <a:pt x="1761743" y="1620030"/>
                </a:cubicBezTo>
                <a:cubicBezTo>
                  <a:pt x="1761743" y="1620030"/>
                  <a:pt x="1757753" y="1622024"/>
                  <a:pt x="1757753" y="1624018"/>
                </a:cubicBezTo>
                <a:cubicBezTo>
                  <a:pt x="1757753" y="1626012"/>
                  <a:pt x="1755758" y="1628006"/>
                  <a:pt x="1757753" y="1628006"/>
                </a:cubicBezTo>
                <a:cubicBezTo>
                  <a:pt x="1759748" y="1628006"/>
                  <a:pt x="1761743" y="1628006"/>
                  <a:pt x="1761743" y="1630000"/>
                </a:cubicBezTo>
                <a:cubicBezTo>
                  <a:pt x="1761743" y="1631994"/>
                  <a:pt x="1761743" y="1633988"/>
                  <a:pt x="1761743" y="1635982"/>
                </a:cubicBezTo>
                <a:cubicBezTo>
                  <a:pt x="1763738" y="1637976"/>
                  <a:pt x="1763738" y="1639970"/>
                  <a:pt x="1763738" y="1639970"/>
                </a:cubicBezTo>
                <a:cubicBezTo>
                  <a:pt x="1765733" y="1641964"/>
                  <a:pt x="1769723" y="1643958"/>
                  <a:pt x="1771718" y="1643958"/>
                </a:cubicBezTo>
                <a:cubicBezTo>
                  <a:pt x="1773713" y="1645952"/>
                  <a:pt x="1777703" y="1643958"/>
                  <a:pt x="1779698" y="1645952"/>
                </a:cubicBezTo>
                <a:cubicBezTo>
                  <a:pt x="1781693" y="1645952"/>
                  <a:pt x="1783688" y="1647946"/>
                  <a:pt x="1781693" y="1649940"/>
                </a:cubicBezTo>
                <a:cubicBezTo>
                  <a:pt x="1779698" y="1649940"/>
                  <a:pt x="1775708" y="1649940"/>
                  <a:pt x="1775708" y="1651933"/>
                </a:cubicBezTo>
                <a:cubicBezTo>
                  <a:pt x="1775708" y="1653927"/>
                  <a:pt x="1779698" y="1653927"/>
                  <a:pt x="1779698" y="1653927"/>
                </a:cubicBezTo>
                <a:cubicBezTo>
                  <a:pt x="1779698" y="1655921"/>
                  <a:pt x="1779698" y="1657915"/>
                  <a:pt x="1781693" y="1657915"/>
                </a:cubicBezTo>
                <a:cubicBezTo>
                  <a:pt x="1783688" y="1657915"/>
                  <a:pt x="1785683" y="1657915"/>
                  <a:pt x="1787678" y="1655921"/>
                </a:cubicBezTo>
                <a:cubicBezTo>
                  <a:pt x="1789673" y="1655921"/>
                  <a:pt x="1793663" y="1659909"/>
                  <a:pt x="1795658" y="1659909"/>
                </a:cubicBezTo>
                <a:cubicBezTo>
                  <a:pt x="1795658" y="1659909"/>
                  <a:pt x="1799648" y="1657915"/>
                  <a:pt x="1801643" y="1657915"/>
                </a:cubicBezTo>
                <a:cubicBezTo>
                  <a:pt x="1803638" y="1657915"/>
                  <a:pt x="1807628" y="1657915"/>
                  <a:pt x="1807628" y="1659909"/>
                </a:cubicBezTo>
                <a:cubicBezTo>
                  <a:pt x="1807628" y="1661903"/>
                  <a:pt x="1807628" y="1663897"/>
                  <a:pt x="1807628" y="1665891"/>
                </a:cubicBezTo>
                <a:cubicBezTo>
                  <a:pt x="1809623" y="1665891"/>
                  <a:pt x="1811618" y="1667885"/>
                  <a:pt x="1811618" y="1665891"/>
                </a:cubicBezTo>
                <a:cubicBezTo>
                  <a:pt x="1813613" y="1663897"/>
                  <a:pt x="1815608" y="1663897"/>
                  <a:pt x="1815608" y="1661903"/>
                </a:cubicBezTo>
                <a:cubicBezTo>
                  <a:pt x="1817603" y="1661903"/>
                  <a:pt x="1819598" y="1663897"/>
                  <a:pt x="1821593" y="1663897"/>
                </a:cubicBezTo>
                <a:cubicBezTo>
                  <a:pt x="1821593" y="1663897"/>
                  <a:pt x="1823588" y="1663897"/>
                  <a:pt x="1823588" y="1661903"/>
                </a:cubicBezTo>
                <a:cubicBezTo>
                  <a:pt x="1823588" y="1659909"/>
                  <a:pt x="1825583" y="1657915"/>
                  <a:pt x="1827578" y="1657915"/>
                </a:cubicBezTo>
                <a:cubicBezTo>
                  <a:pt x="1827578" y="1657915"/>
                  <a:pt x="1829573" y="1659909"/>
                  <a:pt x="1829573" y="1661903"/>
                </a:cubicBezTo>
                <a:cubicBezTo>
                  <a:pt x="1831568" y="1663897"/>
                  <a:pt x="1831568" y="1661903"/>
                  <a:pt x="1833563" y="1661903"/>
                </a:cubicBezTo>
                <a:cubicBezTo>
                  <a:pt x="1833563" y="1661903"/>
                  <a:pt x="1835558" y="1661903"/>
                  <a:pt x="1835558" y="1661903"/>
                </a:cubicBezTo>
                <a:cubicBezTo>
                  <a:pt x="1835558" y="1661903"/>
                  <a:pt x="1835558" y="1661903"/>
                  <a:pt x="1837553" y="1661903"/>
                </a:cubicBezTo>
                <a:cubicBezTo>
                  <a:pt x="1839548" y="1659909"/>
                  <a:pt x="1841543" y="1661903"/>
                  <a:pt x="1841543" y="1657915"/>
                </a:cubicBezTo>
                <a:cubicBezTo>
                  <a:pt x="1841543" y="1655921"/>
                  <a:pt x="1843538" y="1641964"/>
                  <a:pt x="1845533" y="1637976"/>
                </a:cubicBezTo>
                <a:cubicBezTo>
                  <a:pt x="1845533" y="1635982"/>
                  <a:pt x="1849523" y="1633988"/>
                  <a:pt x="1851518" y="1631994"/>
                </a:cubicBezTo>
                <a:cubicBezTo>
                  <a:pt x="1853513" y="1630000"/>
                  <a:pt x="1855508" y="1626012"/>
                  <a:pt x="1855508" y="1624018"/>
                </a:cubicBezTo>
                <a:cubicBezTo>
                  <a:pt x="1857503" y="1620030"/>
                  <a:pt x="1859498" y="1620030"/>
                  <a:pt x="1861493" y="1620030"/>
                </a:cubicBezTo>
                <a:cubicBezTo>
                  <a:pt x="1861493" y="1618036"/>
                  <a:pt x="1863488" y="1618036"/>
                  <a:pt x="1863488" y="1616042"/>
                </a:cubicBezTo>
                <a:cubicBezTo>
                  <a:pt x="1865483" y="1614048"/>
                  <a:pt x="1865483" y="1612054"/>
                  <a:pt x="1865483" y="1612054"/>
                </a:cubicBezTo>
                <a:cubicBezTo>
                  <a:pt x="1867478" y="1612054"/>
                  <a:pt x="1867478" y="1610060"/>
                  <a:pt x="1869473" y="1612054"/>
                </a:cubicBezTo>
                <a:cubicBezTo>
                  <a:pt x="1869473" y="1612054"/>
                  <a:pt x="1869473" y="1616042"/>
                  <a:pt x="1871468" y="1618036"/>
                </a:cubicBezTo>
                <a:cubicBezTo>
                  <a:pt x="1871468" y="1620030"/>
                  <a:pt x="1873463" y="1616042"/>
                  <a:pt x="1873463" y="1618036"/>
                </a:cubicBezTo>
                <a:cubicBezTo>
                  <a:pt x="1873463" y="1618036"/>
                  <a:pt x="1869473" y="1628006"/>
                  <a:pt x="1869473" y="1628006"/>
                </a:cubicBezTo>
                <a:cubicBezTo>
                  <a:pt x="1869473" y="1628006"/>
                  <a:pt x="1863488" y="1633988"/>
                  <a:pt x="1863488" y="1635982"/>
                </a:cubicBezTo>
                <a:cubicBezTo>
                  <a:pt x="1861493" y="1637976"/>
                  <a:pt x="1863488" y="1641964"/>
                  <a:pt x="1861493" y="1641964"/>
                </a:cubicBezTo>
                <a:cubicBezTo>
                  <a:pt x="1859498" y="1641964"/>
                  <a:pt x="1857503" y="1641964"/>
                  <a:pt x="1857503" y="1643958"/>
                </a:cubicBezTo>
                <a:cubicBezTo>
                  <a:pt x="1857503" y="1645952"/>
                  <a:pt x="1857503" y="1649940"/>
                  <a:pt x="1857503" y="1651933"/>
                </a:cubicBezTo>
                <a:cubicBezTo>
                  <a:pt x="1855508" y="1651933"/>
                  <a:pt x="1855508" y="1649940"/>
                  <a:pt x="1855508" y="1651933"/>
                </a:cubicBezTo>
                <a:cubicBezTo>
                  <a:pt x="1855508" y="1653927"/>
                  <a:pt x="1853513" y="1657915"/>
                  <a:pt x="1853513" y="1657915"/>
                </a:cubicBezTo>
                <a:cubicBezTo>
                  <a:pt x="1853513" y="1659909"/>
                  <a:pt x="1853513" y="1661903"/>
                  <a:pt x="1851518" y="1663897"/>
                </a:cubicBezTo>
                <a:cubicBezTo>
                  <a:pt x="1851518" y="1663897"/>
                  <a:pt x="1847528" y="1663897"/>
                  <a:pt x="1847528" y="1663897"/>
                </a:cubicBezTo>
                <a:cubicBezTo>
                  <a:pt x="1847528" y="1663897"/>
                  <a:pt x="1845533" y="1661903"/>
                  <a:pt x="1845533" y="1663897"/>
                </a:cubicBezTo>
                <a:cubicBezTo>
                  <a:pt x="1845533" y="1663897"/>
                  <a:pt x="1845533" y="1665891"/>
                  <a:pt x="1845533" y="1667885"/>
                </a:cubicBezTo>
                <a:cubicBezTo>
                  <a:pt x="1845533" y="1667885"/>
                  <a:pt x="1843538" y="1667885"/>
                  <a:pt x="1843538" y="1669879"/>
                </a:cubicBezTo>
                <a:cubicBezTo>
                  <a:pt x="1841543" y="1671873"/>
                  <a:pt x="1841543" y="1673867"/>
                  <a:pt x="1843538" y="1673867"/>
                </a:cubicBezTo>
                <a:cubicBezTo>
                  <a:pt x="1845533" y="1673867"/>
                  <a:pt x="1847528" y="1673867"/>
                  <a:pt x="1849523" y="1673867"/>
                </a:cubicBezTo>
                <a:cubicBezTo>
                  <a:pt x="1851518" y="1673867"/>
                  <a:pt x="1853513" y="1675861"/>
                  <a:pt x="1851518" y="1677855"/>
                </a:cubicBezTo>
                <a:cubicBezTo>
                  <a:pt x="1849523" y="1677855"/>
                  <a:pt x="1845533" y="1677855"/>
                  <a:pt x="1845533" y="1677855"/>
                </a:cubicBezTo>
                <a:cubicBezTo>
                  <a:pt x="1843538" y="1677855"/>
                  <a:pt x="1839548" y="1679849"/>
                  <a:pt x="1839548" y="1679849"/>
                </a:cubicBezTo>
                <a:cubicBezTo>
                  <a:pt x="1839548" y="1679849"/>
                  <a:pt x="1835558" y="1681843"/>
                  <a:pt x="1833563" y="1683837"/>
                </a:cubicBezTo>
                <a:cubicBezTo>
                  <a:pt x="1831568" y="1685831"/>
                  <a:pt x="1829573" y="1687825"/>
                  <a:pt x="1825583" y="1689819"/>
                </a:cubicBezTo>
                <a:cubicBezTo>
                  <a:pt x="1823588" y="1689819"/>
                  <a:pt x="1819598" y="1689819"/>
                  <a:pt x="1817603" y="1691813"/>
                </a:cubicBezTo>
                <a:cubicBezTo>
                  <a:pt x="1815608" y="1691813"/>
                  <a:pt x="1813613" y="1693807"/>
                  <a:pt x="1811618" y="1695801"/>
                </a:cubicBezTo>
                <a:cubicBezTo>
                  <a:pt x="1811618" y="1695801"/>
                  <a:pt x="1809623" y="1697795"/>
                  <a:pt x="1807628" y="1695801"/>
                </a:cubicBezTo>
                <a:cubicBezTo>
                  <a:pt x="1805633" y="1695801"/>
                  <a:pt x="1801643" y="1695801"/>
                  <a:pt x="1799648" y="1697795"/>
                </a:cubicBezTo>
                <a:cubicBezTo>
                  <a:pt x="1799648" y="1697795"/>
                  <a:pt x="1799648" y="1699789"/>
                  <a:pt x="1797653" y="1699789"/>
                </a:cubicBezTo>
                <a:cubicBezTo>
                  <a:pt x="1795658" y="1701783"/>
                  <a:pt x="1791668" y="1699789"/>
                  <a:pt x="1791668" y="1699789"/>
                </a:cubicBezTo>
                <a:cubicBezTo>
                  <a:pt x="1791668" y="1699789"/>
                  <a:pt x="1791668" y="1703777"/>
                  <a:pt x="1789673" y="1703777"/>
                </a:cubicBezTo>
                <a:cubicBezTo>
                  <a:pt x="1787678" y="1703777"/>
                  <a:pt x="1783688" y="1703777"/>
                  <a:pt x="1781693" y="1703777"/>
                </a:cubicBezTo>
                <a:cubicBezTo>
                  <a:pt x="1781693" y="1705771"/>
                  <a:pt x="1777703" y="1709759"/>
                  <a:pt x="1777703" y="1709759"/>
                </a:cubicBezTo>
                <a:cubicBezTo>
                  <a:pt x="1777703" y="1709759"/>
                  <a:pt x="1777703" y="1709759"/>
                  <a:pt x="1773713" y="1709759"/>
                </a:cubicBezTo>
                <a:cubicBezTo>
                  <a:pt x="1773713" y="1709759"/>
                  <a:pt x="1773713" y="1709759"/>
                  <a:pt x="1771718" y="1705771"/>
                </a:cubicBezTo>
                <a:cubicBezTo>
                  <a:pt x="1771718" y="1705771"/>
                  <a:pt x="1769723" y="1705771"/>
                  <a:pt x="1769723" y="1703777"/>
                </a:cubicBezTo>
                <a:cubicBezTo>
                  <a:pt x="1769723" y="1703777"/>
                  <a:pt x="1769723" y="1697795"/>
                  <a:pt x="1769723" y="1697795"/>
                </a:cubicBezTo>
                <a:cubicBezTo>
                  <a:pt x="1769723" y="1697795"/>
                  <a:pt x="1763738" y="1697795"/>
                  <a:pt x="1761743" y="1699789"/>
                </a:cubicBezTo>
                <a:cubicBezTo>
                  <a:pt x="1761743" y="1701783"/>
                  <a:pt x="1759748" y="1709759"/>
                  <a:pt x="1759748" y="1709759"/>
                </a:cubicBezTo>
                <a:cubicBezTo>
                  <a:pt x="1759748" y="1711753"/>
                  <a:pt x="1759748" y="1713747"/>
                  <a:pt x="1759748" y="1713747"/>
                </a:cubicBezTo>
                <a:cubicBezTo>
                  <a:pt x="1759748" y="1713747"/>
                  <a:pt x="1751768" y="1713747"/>
                  <a:pt x="1751768" y="1715741"/>
                </a:cubicBezTo>
                <a:cubicBezTo>
                  <a:pt x="1751768" y="1715741"/>
                  <a:pt x="1749773" y="1721723"/>
                  <a:pt x="1749773" y="1723717"/>
                </a:cubicBezTo>
                <a:cubicBezTo>
                  <a:pt x="1749773" y="1723717"/>
                  <a:pt x="1747778" y="1725711"/>
                  <a:pt x="1747778" y="1725711"/>
                </a:cubicBezTo>
                <a:cubicBezTo>
                  <a:pt x="1745783" y="1725711"/>
                  <a:pt x="1743788" y="1725711"/>
                  <a:pt x="1743788" y="1727705"/>
                </a:cubicBezTo>
                <a:cubicBezTo>
                  <a:pt x="1743788" y="1729699"/>
                  <a:pt x="1743788" y="1731693"/>
                  <a:pt x="1741793" y="1731693"/>
                </a:cubicBezTo>
                <a:cubicBezTo>
                  <a:pt x="1741793" y="1729699"/>
                  <a:pt x="1739798" y="1729699"/>
                  <a:pt x="1737803" y="1729699"/>
                </a:cubicBezTo>
                <a:cubicBezTo>
                  <a:pt x="1735808" y="1729699"/>
                  <a:pt x="1735808" y="1733687"/>
                  <a:pt x="1735808" y="1735681"/>
                </a:cubicBezTo>
                <a:cubicBezTo>
                  <a:pt x="1735808" y="1737675"/>
                  <a:pt x="1735808" y="1741663"/>
                  <a:pt x="1731818" y="1743657"/>
                </a:cubicBezTo>
                <a:cubicBezTo>
                  <a:pt x="1729823" y="1745651"/>
                  <a:pt x="1725833" y="1743657"/>
                  <a:pt x="1725833" y="1741663"/>
                </a:cubicBezTo>
                <a:cubicBezTo>
                  <a:pt x="1723838" y="1741663"/>
                  <a:pt x="1721843" y="1733687"/>
                  <a:pt x="1721843" y="1733687"/>
                </a:cubicBezTo>
                <a:cubicBezTo>
                  <a:pt x="1721843" y="1731693"/>
                  <a:pt x="1719848" y="1729699"/>
                  <a:pt x="1719848" y="1731693"/>
                </a:cubicBezTo>
                <a:cubicBezTo>
                  <a:pt x="1717853" y="1731693"/>
                  <a:pt x="1713863" y="1735681"/>
                  <a:pt x="1711868" y="1733687"/>
                </a:cubicBezTo>
                <a:cubicBezTo>
                  <a:pt x="1711868" y="1731693"/>
                  <a:pt x="1713863" y="1721723"/>
                  <a:pt x="1713863" y="1717735"/>
                </a:cubicBezTo>
                <a:cubicBezTo>
                  <a:pt x="1713863" y="1715741"/>
                  <a:pt x="1715858" y="1709759"/>
                  <a:pt x="1715858" y="1707765"/>
                </a:cubicBezTo>
                <a:cubicBezTo>
                  <a:pt x="1713863" y="1707765"/>
                  <a:pt x="1713863" y="1707765"/>
                  <a:pt x="1713863" y="1705771"/>
                </a:cubicBezTo>
                <a:cubicBezTo>
                  <a:pt x="1713863" y="1703777"/>
                  <a:pt x="1727828" y="1695801"/>
                  <a:pt x="1731818" y="1693807"/>
                </a:cubicBezTo>
                <a:cubicBezTo>
                  <a:pt x="1731818" y="1691813"/>
                  <a:pt x="1747778" y="1683837"/>
                  <a:pt x="1749773" y="1683837"/>
                </a:cubicBezTo>
                <a:cubicBezTo>
                  <a:pt x="1751768" y="1683837"/>
                  <a:pt x="1763738" y="1681843"/>
                  <a:pt x="1765733" y="1683837"/>
                </a:cubicBezTo>
                <a:cubicBezTo>
                  <a:pt x="1765733" y="1683837"/>
                  <a:pt x="1765733" y="1687825"/>
                  <a:pt x="1767728" y="1689819"/>
                </a:cubicBezTo>
                <a:cubicBezTo>
                  <a:pt x="1769723" y="1691813"/>
                  <a:pt x="1769723" y="1687825"/>
                  <a:pt x="1769723" y="1685831"/>
                </a:cubicBezTo>
                <a:cubicBezTo>
                  <a:pt x="1769723" y="1683837"/>
                  <a:pt x="1769723" y="1681843"/>
                  <a:pt x="1769723" y="1679849"/>
                </a:cubicBezTo>
                <a:cubicBezTo>
                  <a:pt x="1771718" y="1679849"/>
                  <a:pt x="1777703" y="1677855"/>
                  <a:pt x="1779698" y="1679849"/>
                </a:cubicBezTo>
                <a:cubicBezTo>
                  <a:pt x="1781693" y="1679849"/>
                  <a:pt x="1787678" y="1679849"/>
                  <a:pt x="1787678" y="1677855"/>
                </a:cubicBezTo>
                <a:cubicBezTo>
                  <a:pt x="1789673" y="1677855"/>
                  <a:pt x="1783688" y="1675861"/>
                  <a:pt x="1783688" y="1675861"/>
                </a:cubicBezTo>
                <a:cubicBezTo>
                  <a:pt x="1783688" y="1675861"/>
                  <a:pt x="1765733" y="1675861"/>
                  <a:pt x="1761743" y="1675861"/>
                </a:cubicBezTo>
                <a:cubicBezTo>
                  <a:pt x="1759748" y="1675861"/>
                  <a:pt x="1757753" y="1675861"/>
                  <a:pt x="1759748" y="1673867"/>
                </a:cubicBezTo>
                <a:cubicBezTo>
                  <a:pt x="1759748" y="1671873"/>
                  <a:pt x="1761743" y="1667885"/>
                  <a:pt x="1763738" y="1667885"/>
                </a:cubicBezTo>
                <a:cubicBezTo>
                  <a:pt x="1765733" y="1667885"/>
                  <a:pt x="1765733" y="1663897"/>
                  <a:pt x="1765733" y="1661903"/>
                </a:cubicBezTo>
                <a:cubicBezTo>
                  <a:pt x="1765733" y="1661903"/>
                  <a:pt x="1763738" y="1659909"/>
                  <a:pt x="1763738" y="1659909"/>
                </a:cubicBezTo>
                <a:cubicBezTo>
                  <a:pt x="1763738" y="1657915"/>
                  <a:pt x="1761743" y="1649940"/>
                  <a:pt x="1761743" y="1649940"/>
                </a:cubicBezTo>
                <a:cubicBezTo>
                  <a:pt x="1761743" y="1649940"/>
                  <a:pt x="1757753" y="1649940"/>
                  <a:pt x="1757753" y="1651933"/>
                </a:cubicBezTo>
                <a:cubicBezTo>
                  <a:pt x="1757753" y="1653927"/>
                  <a:pt x="1757753" y="1657915"/>
                  <a:pt x="1757753" y="1659909"/>
                </a:cubicBezTo>
                <a:cubicBezTo>
                  <a:pt x="1759748" y="1661903"/>
                  <a:pt x="1759748" y="1661903"/>
                  <a:pt x="1757753" y="1663897"/>
                </a:cubicBezTo>
                <a:cubicBezTo>
                  <a:pt x="1755758" y="1665891"/>
                  <a:pt x="1753763" y="1665891"/>
                  <a:pt x="1751768" y="1667885"/>
                </a:cubicBezTo>
                <a:cubicBezTo>
                  <a:pt x="1749773" y="1667885"/>
                  <a:pt x="1743788" y="1669879"/>
                  <a:pt x="1743788" y="1671873"/>
                </a:cubicBezTo>
                <a:cubicBezTo>
                  <a:pt x="1741793" y="1671873"/>
                  <a:pt x="1741793" y="1675861"/>
                  <a:pt x="1739798" y="1677855"/>
                </a:cubicBezTo>
                <a:cubicBezTo>
                  <a:pt x="1737803" y="1679849"/>
                  <a:pt x="1737803" y="1677855"/>
                  <a:pt x="1735808" y="1679849"/>
                </a:cubicBezTo>
                <a:cubicBezTo>
                  <a:pt x="1733813" y="1679849"/>
                  <a:pt x="1731818" y="1681843"/>
                  <a:pt x="1731818" y="1681843"/>
                </a:cubicBezTo>
                <a:cubicBezTo>
                  <a:pt x="1731818" y="1681843"/>
                  <a:pt x="1731818" y="1681843"/>
                  <a:pt x="1729823" y="1681843"/>
                </a:cubicBezTo>
                <a:cubicBezTo>
                  <a:pt x="1727828" y="1681843"/>
                  <a:pt x="1725833" y="1679849"/>
                  <a:pt x="1725833" y="1677855"/>
                </a:cubicBezTo>
                <a:cubicBezTo>
                  <a:pt x="1725833" y="1675861"/>
                  <a:pt x="1725833" y="1667885"/>
                  <a:pt x="1725833" y="1663897"/>
                </a:cubicBezTo>
                <a:cubicBezTo>
                  <a:pt x="1725833" y="1661903"/>
                  <a:pt x="1725833" y="1657915"/>
                  <a:pt x="1727828" y="1657915"/>
                </a:cubicBezTo>
                <a:cubicBezTo>
                  <a:pt x="1729823" y="1655921"/>
                  <a:pt x="1731818" y="1653927"/>
                  <a:pt x="1731818" y="1649940"/>
                </a:cubicBezTo>
                <a:cubicBezTo>
                  <a:pt x="1731818" y="1647946"/>
                  <a:pt x="1731818" y="1645952"/>
                  <a:pt x="1729823" y="1645952"/>
                </a:cubicBezTo>
                <a:cubicBezTo>
                  <a:pt x="1727828" y="1645952"/>
                  <a:pt x="1725833" y="1643958"/>
                  <a:pt x="1723838" y="1645952"/>
                </a:cubicBezTo>
                <a:cubicBezTo>
                  <a:pt x="1721843" y="1649940"/>
                  <a:pt x="1723838" y="1655921"/>
                  <a:pt x="1721843" y="1657915"/>
                </a:cubicBezTo>
                <a:cubicBezTo>
                  <a:pt x="1721843" y="1657915"/>
                  <a:pt x="1721843" y="1659909"/>
                  <a:pt x="1721843" y="1659909"/>
                </a:cubicBezTo>
                <a:cubicBezTo>
                  <a:pt x="1721843" y="1659909"/>
                  <a:pt x="1719848" y="1657915"/>
                  <a:pt x="1719848" y="1661903"/>
                </a:cubicBezTo>
                <a:cubicBezTo>
                  <a:pt x="1717853" y="1665891"/>
                  <a:pt x="1721843" y="1669879"/>
                  <a:pt x="1719848" y="1671873"/>
                </a:cubicBezTo>
                <a:cubicBezTo>
                  <a:pt x="1719848" y="1673867"/>
                  <a:pt x="1717853" y="1675861"/>
                  <a:pt x="1717853" y="1677855"/>
                </a:cubicBezTo>
                <a:cubicBezTo>
                  <a:pt x="1719848" y="1679849"/>
                  <a:pt x="1721843" y="1683837"/>
                  <a:pt x="1719848" y="1685831"/>
                </a:cubicBezTo>
                <a:cubicBezTo>
                  <a:pt x="1719848" y="1685831"/>
                  <a:pt x="1715858" y="1685831"/>
                  <a:pt x="1713863" y="1685831"/>
                </a:cubicBezTo>
                <a:cubicBezTo>
                  <a:pt x="1711868" y="1685831"/>
                  <a:pt x="1705883" y="1685831"/>
                  <a:pt x="1701893" y="1685831"/>
                </a:cubicBezTo>
                <a:cubicBezTo>
                  <a:pt x="1699898" y="1685831"/>
                  <a:pt x="1695908" y="1685831"/>
                  <a:pt x="1693913" y="1685831"/>
                </a:cubicBezTo>
                <a:cubicBezTo>
                  <a:pt x="1691918" y="1687825"/>
                  <a:pt x="1689923" y="1687825"/>
                  <a:pt x="1689923" y="1689819"/>
                </a:cubicBezTo>
                <a:cubicBezTo>
                  <a:pt x="1689923" y="1689819"/>
                  <a:pt x="1689923" y="1691813"/>
                  <a:pt x="1689923" y="1691813"/>
                </a:cubicBezTo>
                <a:cubicBezTo>
                  <a:pt x="1689923" y="1691813"/>
                  <a:pt x="1685933" y="1695801"/>
                  <a:pt x="1677953" y="1691813"/>
                </a:cubicBezTo>
                <a:cubicBezTo>
                  <a:pt x="1669973" y="1687825"/>
                  <a:pt x="1669973" y="1675861"/>
                  <a:pt x="1669973" y="1669879"/>
                </a:cubicBezTo>
                <a:cubicBezTo>
                  <a:pt x="1669973" y="1661903"/>
                  <a:pt x="1673963" y="1647946"/>
                  <a:pt x="1675958" y="1635982"/>
                </a:cubicBezTo>
                <a:cubicBezTo>
                  <a:pt x="1675958" y="1624018"/>
                  <a:pt x="1679948" y="1620030"/>
                  <a:pt x="1679948" y="1610060"/>
                </a:cubicBezTo>
                <a:cubicBezTo>
                  <a:pt x="1679948" y="1600090"/>
                  <a:pt x="1671968" y="1596102"/>
                  <a:pt x="1659998" y="1598096"/>
                </a:cubicBezTo>
                <a:cubicBezTo>
                  <a:pt x="1648028" y="1600090"/>
                  <a:pt x="1644038" y="1608066"/>
                  <a:pt x="1638053" y="1612054"/>
                </a:cubicBezTo>
                <a:cubicBezTo>
                  <a:pt x="1634063" y="1618036"/>
                  <a:pt x="1632068" y="1618036"/>
                  <a:pt x="1626083" y="1626012"/>
                </a:cubicBezTo>
                <a:cubicBezTo>
                  <a:pt x="1620098" y="1631994"/>
                  <a:pt x="1618103" y="1635982"/>
                  <a:pt x="1616108" y="1641964"/>
                </a:cubicBezTo>
                <a:cubicBezTo>
                  <a:pt x="1614113" y="1649940"/>
                  <a:pt x="1608128" y="1663897"/>
                  <a:pt x="1606133" y="1667885"/>
                </a:cubicBezTo>
                <a:cubicBezTo>
                  <a:pt x="1604138" y="1671873"/>
                  <a:pt x="1600148" y="1671873"/>
                  <a:pt x="1598153" y="1671873"/>
                </a:cubicBezTo>
                <a:cubicBezTo>
                  <a:pt x="1596158" y="1671873"/>
                  <a:pt x="1592168" y="1673867"/>
                  <a:pt x="1588178" y="1675861"/>
                </a:cubicBezTo>
                <a:cubicBezTo>
                  <a:pt x="1582193" y="1679849"/>
                  <a:pt x="1574213" y="1685831"/>
                  <a:pt x="1574213" y="1685831"/>
                </a:cubicBezTo>
                <a:cubicBezTo>
                  <a:pt x="1574213" y="1685831"/>
                  <a:pt x="1574213" y="1685831"/>
                  <a:pt x="1566233" y="1687825"/>
                </a:cubicBezTo>
                <a:cubicBezTo>
                  <a:pt x="1558253" y="1687825"/>
                  <a:pt x="1546283" y="1689819"/>
                  <a:pt x="1542293" y="1687825"/>
                </a:cubicBezTo>
                <a:cubicBezTo>
                  <a:pt x="1536308" y="1687825"/>
                  <a:pt x="1534313" y="1687825"/>
                  <a:pt x="1534313" y="1683837"/>
                </a:cubicBezTo>
                <a:cubicBezTo>
                  <a:pt x="1534313" y="1683837"/>
                  <a:pt x="1533316" y="1681843"/>
                  <a:pt x="1532318" y="1679849"/>
                </a:cubicBezTo>
                <a:lnTo>
                  <a:pt x="1530704" y="1676623"/>
                </a:lnTo>
                <a:lnTo>
                  <a:pt x="1532318" y="1675861"/>
                </a:lnTo>
                <a:cubicBezTo>
                  <a:pt x="1534313" y="1675861"/>
                  <a:pt x="1536308" y="1671873"/>
                  <a:pt x="1536308" y="1669879"/>
                </a:cubicBezTo>
                <a:cubicBezTo>
                  <a:pt x="1538303" y="1667885"/>
                  <a:pt x="1536308" y="1663897"/>
                  <a:pt x="1540298" y="1661903"/>
                </a:cubicBezTo>
                <a:cubicBezTo>
                  <a:pt x="1542293" y="1659909"/>
                  <a:pt x="1554263" y="1651933"/>
                  <a:pt x="1556258" y="1649940"/>
                </a:cubicBezTo>
                <a:cubicBezTo>
                  <a:pt x="1558253" y="1647946"/>
                  <a:pt x="1564238" y="1645952"/>
                  <a:pt x="1564238" y="1645952"/>
                </a:cubicBezTo>
                <a:cubicBezTo>
                  <a:pt x="1566233" y="1645952"/>
                  <a:pt x="1568228" y="1641964"/>
                  <a:pt x="1570223" y="1637976"/>
                </a:cubicBezTo>
                <a:cubicBezTo>
                  <a:pt x="1572218" y="1635982"/>
                  <a:pt x="1578203" y="1633988"/>
                  <a:pt x="1582193" y="1630000"/>
                </a:cubicBezTo>
                <a:cubicBezTo>
                  <a:pt x="1584188" y="1630000"/>
                  <a:pt x="1594163" y="1628006"/>
                  <a:pt x="1594163" y="1628006"/>
                </a:cubicBezTo>
                <a:cubicBezTo>
                  <a:pt x="1596158" y="1626012"/>
                  <a:pt x="1606133" y="1624018"/>
                  <a:pt x="1608128" y="1624018"/>
                </a:cubicBezTo>
                <a:cubicBezTo>
                  <a:pt x="1612118" y="1624018"/>
                  <a:pt x="1612118" y="1620030"/>
                  <a:pt x="1614113" y="1618036"/>
                </a:cubicBezTo>
                <a:cubicBezTo>
                  <a:pt x="1616108" y="1616042"/>
                  <a:pt x="1624088" y="1604078"/>
                  <a:pt x="1626083" y="1602084"/>
                </a:cubicBezTo>
                <a:cubicBezTo>
                  <a:pt x="1626083" y="1600090"/>
                  <a:pt x="1638053" y="1588126"/>
                  <a:pt x="1638053" y="1588126"/>
                </a:cubicBezTo>
                <a:cubicBezTo>
                  <a:pt x="1638053" y="1588126"/>
                  <a:pt x="1648028" y="1580150"/>
                  <a:pt x="1650023" y="1578156"/>
                </a:cubicBezTo>
                <a:cubicBezTo>
                  <a:pt x="1652018" y="1576162"/>
                  <a:pt x="1663988" y="1568186"/>
                  <a:pt x="1665983" y="1566192"/>
                </a:cubicBezTo>
                <a:cubicBezTo>
                  <a:pt x="1667978" y="1564198"/>
                  <a:pt x="1677953" y="1556222"/>
                  <a:pt x="1679948" y="1556222"/>
                </a:cubicBezTo>
                <a:cubicBezTo>
                  <a:pt x="1681943" y="1554228"/>
                  <a:pt x="1693913" y="1548246"/>
                  <a:pt x="1695908" y="1546252"/>
                </a:cubicBezTo>
                <a:cubicBezTo>
                  <a:pt x="1697903" y="1544258"/>
                  <a:pt x="1709873" y="1542264"/>
                  <a:pt x="1713863" y="1540270"/>
                </a:cubicBezTo>
                <a:cubicBezTo>
                  <a:pt x="1717853" y="1540270"/>
                  <a:pt x="1727828" y="1536282"/>
                  <a:pt x="1729823" y="1534288"/>
                </a:cubicBezTo>
                <a:cubicBezTo>
                  <a:pt x="1731818" y="1532294"/>
                  <a:pt x="1733813" y="1530300"/>
                  <a:pt x="1733813" y="1530300"/>
                </a:cubicBezTo>
                <a:cubicBezTo>
                  <a:pt x="1735808" y="1530300"/>
                  <a:pt x="1737803" y="1532294"/>
                  <a:pt x="1739798" y="1530300"/>
                </a:cubicBezTo>
                <a:cubicBezTo>
                  <a:pt x="1743788" y="1530300"/>
                  <a:pt x="1747778" y="1528306"/>
                  <a:pt x="1747778" y="1528306"/>
                </a:cubicBezTo>
                <a:close/>
                <a:moveTo>
                  <a:pt x="1791399" y="1505030"/>
                </a:moveTo>
                <a:cubicBezTo>
                  <a:pt x="1792385" y="1505268"/>
                  <a:pt x="1793372" y="1506221"/>
                  <a:pt x="1794359" y="1507173"/>
                </a:cubicBezTo>
                <a:cubicBezTo>
                  <a:pt x="1794359" y="1507173"/>
                  <a:pt x="1798306" y="1507173"/>
                  <a:pt x="1798306" y="1507173"/>
                </a:cubicBezTo>
                <a:cubicBezTo>
                  <a:pt x="1798306" y="1507173"/>
                  <a:pt x="1800280" y="1507173"/>
                  <a:pt x="1812122" y="1509078"/>
                </a:cubicBezTo>
                <a:cubicBezTo>
                  <a:pt x="1821990" y="1509078"/>
                  <a:pt x="1820016" y="1510983"/>
                  <a:pt x="1821990" y="1512888"/>
                </a:cubicBezTo>
                <a:cubicBezTo>
                  <a:pt x="1823964" y="1514793"/>
                  <a:pt x="1831858" y="1516698"/>
                  <a:pt x="1833832" y="1514793"/>
                </a:cubicBezTo>
                <a:cubicBezTo>
                  <a:pt x="1833832" y="1512888"/>
                  <a:pt x="1837779" y="1514793"/>
                  <a:pt x="1839753" y="1516698"/>
                </a:cubicBezTo>
                <a:cubicBezTo>
                  <a:pt x="1841727" y="1518603"/>
                  <a:pt x="1845674" y="1522413"/>
                  <a:pt x="1845674" y="1522413"/>
                </a:cubicBezTo>
                <a:cubicBezTo>
                  <a:pt x="1845674" y="1522413"/>
                  <a:pt x="1847648" y="1524318"/>
                  <a:pt x="1851595" y="1524318"/>
                </a:cubicBezTo>
                <a:cubicBezTo>
                  <a:pt x="1855542" y="1524318"/>
                  <a:pt x="1855542" y="1528128"/>
                  <a:pt x="1853568" y="1530033"/>
                </a:cubicBezTo>
                <a:cubicBezTo>
                  <a:pt x="1853568" y="1531938"/>
                  <a:pt x="1847648" y="1531938"/>
                  <a:pt x="1847648" y="1531938"/>
                </a:cubicBezTo>
                <a:cubicBezTo>
                  <a:pt x="1847648" y="1531938"/>
                  <a:pt x="1845674" y="1530033"/>
                  <a:pt x="1841727" y="1531938"/>
                </a:cubicBezTo>
                <a:cubicBezTo>
                  <a:pt x="1839753" y="1531938"/>
                  <a:pt x="1827911" y="1531938"/>
                  <a:pt x="1827911" y="1531938"/>
                </a:cubicBezTo>
                <a:cubicBezTo>
                  <a:pt x="1827911" y="1531938"/>
                  <a:pt x="1820016" y="1530033"/>
                  <a:pt x="1818043" y="1530033"/>
                </a:cubicBezTo>
                <a:cubicBezTo>
                  <a:pt x="1814096" y="1528128"/>
                  <a:pt x="1812122" y="1526223"/>
                  <a:pt x="1808175" y="1524318"/>
                </a:cubicBezTo>
                <a:cubicBezTo>
                  <a:pt x="1806201" y="1522413"/>
                  <a:pt x="1800280" y="1518603"/>
                  <a:pt x="1798306" y="1514793"/>
                </a:cubicBezTo>
                <a:cubicBezTo>
                  <a:pt x="1794359" y="1510983"/>
                  <a:pt x="1790412" y="1510983"/>
                  <a:pt x="1790412" y="1510983"/>
                </a:cubicBezTo>
                <a:cubicBezTo>
                  <a:pt x="1790412" y="1510983"/>
                  <a:pt x="1786464" y="1510983"/>
                  <a:pt x="1784491" y="1509078"/>
                </a:cubicBezTo>
                <a:cubicBezTo>
                  <a:pt x="1782517" y="1507173"/>
                  <a:pt x="1788438" y="1507173"/>
                  <a:pt x="1788438" y="1507173"/>
                </a:cubicBezTo>
                <a:cubicBezTo>
                  <a:pt x="1789425" y="1505268"/>
                  <a:pt x="1790412" y="1504792"/>
                  <a:pt x="1791399" y="1505030"/>
                </a:cubicBezTo>
                <a:close/>
                <a:moveTo>
                  <a:pt x="278202" y="1476693"/>
                </a:moveTo>
                <a:cubicBezTo>
                  <a:pt x="282012" y="1474788"/>
                  <a:pt x="283917" y="1480503"/>
                  <a:pt x="282012" y="1482408"/>
                </a:cubicBezTo>
                <a:cubicBezTo>
                  <a:pt x="280107" y="1484313"/>
                  <a:pt x="278202" y="1482408"/>
                  <a:pt x="276297" y="1480503"/>
                </a:cubicBezTo>
                <a:cubicBezTo>
                  <a:pt x="274392" y="1478598"/>
                  <a:pt x="278202" y="1476693"/>
                  <a:pt x="278202" y="1476693"/>
                </a:cubicBezTo>
                <a:close/>
                <a:moveTo>
                  <a:pt x="272275" y="1474788"/>
                </a:moveTo>
                <a:cubicBezTo>
                  <a:pt x="274392" y="1478757"/>
                  <a:pt x="272275" y="1482725"/>
                  <a:pt x="270159" y="1482725"/>
                </a:cubicBezTo>
                <a:cubicBezTo>
                  <a:pt x="268042" y="1482725"/>
                  <a:pt x="268042" y="1480741"/>
                  <a:pt x="268042" y="1476772"/>
                </a:cubicBezTo>
                <a:cubicBezTo>
                  <a:pt x="268042" y="1474788"/>
                  <a:pt x="272275" y="1474788"/>
                  <a:pt x="272275" y="1474788"/>
                </a:cubicBezTo>
                <a:close/>
                <a:moveTo>
                  <a:pt x="2005296" y="1470555"/>
                </a:moveTo>
                <a:cubicBezTo>
                  <a:pt x="2009001" y="1468438"/>
                  <a:pt x="2012705" y="1472671"/>
                  <a:pt x="2010853" y="1472671"/>
                </a:cubicBezTo>
                <a:cubicBezTo>
                  <a:pt x="2009001" y="1472671"/>
                  <a:pt x="2007149" y="1474788"/>
                  <a:pt x="2005296" y="1472671"/>
                </a:cubicBezTo>
                <a:cubicBezTo>
                  <a:pt x="2001592" y="1470555"/>
                  <a:pt x="2005296" y="1470555"/>
                  <a:pt x="2005296" y="1470555"/>
                </a:cubicBezTo>
                <a:close/>
                <a:moveTo>
                  <a:pt x="245537" y="1457823"/>
                </a:moveTo>
                <a:cubicBezTo>
                  <a:pt x="248028" y="1457823"/>
                  <a:pt x="250518" y="1458321"/>
                  <a:pt x="251514" y="1459317"/>
                </a:cubicBezTo>
                <a:cubicBezTo>
                  <a:pt x="253506" y="1459317"/>
                  <a:pt x="259483" y="1461308"/>
                  <a:pt x="259483" y="1463300"/>
                </a:cubicBezTo>
                <a:cubicBezTo>
                  <a:pt x="259483" y="1465291"/>
                  <a:pt x="257490" y="1465291"/>
                  <a:pt x="257490" y="1465291"/>
                </a:cubicBezTo>
                <a:cubicBezTo>
                  <a:pt x="257490" y="1465291"/>
                  <a:pt x="253506" y="1465291"/>
                  <a:pt x="251514" y="1465291"/>
                </a:cubicBezTo>
                <a:cubicBezTo>
                  <a:pt x="251514" y="1467283"/>
                  <a:pt x="251514" y="1469275"/>
                  <a:pt x="251514" y="1471266"/>
                </a:cubicBezTo>
                <a:cubicBezTo>
                  <a:pt x="253506" y="1471266"/>
                  <a:pt x="257490" y="1471266"/>
                  <a:pt x="257490" y="1471266"/>
                </a:cubicBezTo>
                <a:cubicBezTo>
                  <a:pt x="259483" y="1473258"/>
                  <a:pt x="265459" y="1473258"/>
                  <a:pt x="265459" y="1473258"/>
                </a:cubicBezTo>
                <a:cubicBezTo>
                  <a:pt x="265459" y="1477241"/>
                  <a:pt x="265459" y="1477241"/>
                  <a:pt x="263467" y="1477241"/>
                </a:cubicBezTo>
                <a:cubicBezTo>
                  <a:pt x="261475" y="1477241"/>
                  <a:pt x="255498" y="1475249"/>
                  <a:pt x="255498" y="1475249"/>
                </a:cubicBezTo>
                <a:cubicBezTo>
                  <a:pt x="253506" y="1475249"/>
                  <a:pt x="249522" y="1477241"/>
                  <a:pt x="247530" y="1477241"/>
                </a:cubicBezTo>
                <a:cubicBezTo>
                  <a:pt x="247530" y="1477241"/>
                  <a:pt x="245537" y="1475249"/>
                  <a:pt x="245537" y="1477241"/>
                </a:cubicBezTo>
                <a:cubicBezTo>
                  <a:pt x="245537" y="1479233"/>
                  <a:pt x="243545" y="1481224"/>
                  <a:pt x="247530" y="1481224"/>
                </a:cubicBezTo>
                <a:cubicBezTo>
                  <a:pt x="247530" y="1481224"/>
                  <a:pt x="251514" y="1481224"/>
                  <a:pt x="253506" y="1481224"/>
                </a:cubicBezTo>
                <a:cubicBezTo>
                  <a:pt x="253506" y="1481224"/>
                  <a:pt x="253506" y="1481224"/>
                  <a:pt x="255498" y="1481224"/>
                </a:cubicBezTo>
                <a:cubicBezTo>
                  <a:pt x="257490" y="1481224"/>
                  <a:pt x="259483" y="1483216"/>
                  <a:pt x="261475" y="1483216"/>
                </a:cubicBezTo>
                <a:cubicBezTo>
                  <a:pt x="263467" y="1483216"/>
                  <a:pt x="271435" y="1487199"/>
                  <a:pt x="273428" y="1487199"/>
                </a:cubicBezTo>
                <a:cubicBezTo>
                  <a:pt x="277412" y="1489190"/>
                  <a:pt x="281396" y="1489190"/>
                  <a:pt x="281396" y="1491182"/>
                </a:cubicBezTo>
                <a:cubicBezTo>
                  <a:pt x="281396" y="1493174"/>
                  <a:pt x="281396" y="1493174"/>
                  <a:pt x="283388" y="1495165"/>
                </a:cubicBezTo>
                <a:cubicBezTo>
                  <a:pt x="285381" y="1497157"/>
                  <a:pt x="287373" y="1497157"/>
                  <a:pt x="287373" y="1497157"/>
                </a:cubicBezTo>
                <a:cubicBezTo>
                  <a:pt x="289365" y="1497157"/>
                  <a:pt x="289365" y="1497157"/>
                  <a:pt x="289365" y="1499148"/>
                </a:cubicBezTo>
                <a:cubicBezTo>
                  <a:pt x="289365" y="1499148"/>
                  <a:pt x="287373" y="1499148"/>
                  <a:pt x="285381" y="1501140"/>
                </a:cubicBezTo>
                <a:cubicBezTo>
                  <a:pt x="285381" y="1501140"/>
                  <a:pt x="283388" y="1501140"/>
                  <a:pt x="283388" y="1503132"/>
                </a:cubicBezTo>
                <a:cubicBezTo>
                  <a:pt x="283388" y="1503132"/>
                  <a:pt x="285381" y="1507115"/>
                  <a:pt x="285381" y="1511098"/>
                </a:cubicBezTo>
                <a:cubicBezTo>
                  <a:pt x="287373" y="1513089"/>
                  <a:pt x="291357" y="1515081"/>
                  <a:pt x="291357" y="1517073"/>
                </a:cubicBezTo>
                <a:cubicBezTo>
                  <a:pt x="293349" y="1517073"/>
                  <a:pt x="301318" y="1523047"/>
                  <a:pt x="303310" y="1523047"/>
                </a:cubicBezTo>
                <a:cubicBezTo>
                  <a:pt x="305302" y="1525039"/>
                  <a:pt x="307294" y="1525039"/>
                  <a:pt x="307294" y="1525039"/>
                </a:cubicBezTo>
                <a:cubicBezTo>
                  <a:pt x="307294" y="1527030"/>
                  <a:pt x="307294" y="1531014"/>
                  <a:pt x="307294" y="1533005"/>
                </a:cubicBezTo>
                <a:cubicBezTo>
                  <a:pt x="307294" y="1534997"/>
                  <a:pt x="307294" y="1534997"/>
                  <a:pt x="309286" y="1536988"/>
                </a:cubicBezTo>
                <a:cubicBezTo>
                  <a:pt x="311279" y="1536988"/>
                  <a:pt x="311279" y="1536988"/>
                  <a:pt x="311279" y="1540972"/>
                </a:cubicBezTo>
                <a:cubicBezTo>
                  <a:pt x="311279" y="1542963"/>
                  <a:pt x="311279" y="1544955"/>
                  <a:pt x="311279" y="1544955"/>
                </a:cubicBezTo>
                <a:cubicBezTo>
                  <a:pt x="313271" y="1544955"/>
                  <a:pt x="317255" y="1544955"/>
                  <a:pt x="317255" y="1546946"/>
                </a:cubicBezTo>
                <a:cubicBezTo>
                  <a:pt x="315263" y="1548938"/>
                  <a:pt x="313271" y="1548938"/>
                  <a:pt x="313271" y="1548938"/>
                </a:cubicBezTo>
                <a:cubicBezTo>
                  <a:pt x="313271" y="1548938"/>
                  <a:pt x="315263" y="1552921"/>
                  <a:pt x="315263" y="1554913"/>
                </a:cubicBezTo>
                <a:cubicBezTo>
                  <a:pt x="315263" y="1558896"/>
                  <a:pt x="313271" y="1560887"/>
                  <a:pt x="313271" y="1562879"/>
                </a:cubicBezTo>
                <a:cubicBezTo>
                  <a:pt x="313271" y="1562879"/>
                  <a:pt x="309286" y="1564871"/>
                  <a:pt x="307294" y="1566862"/>
                </a:cubicBezTo>
                <a:cubicBezTo>
                  <a:pt x="305302" y="1566862"/>
                  <a:pt x="301318" y="1566862"/>
                  <a:pt x="301318" y="1566862"/>
                </a:cubicBezTo>
                <a:cubicBezTo>
                  <a:pt x="299326" y="1566862"/>
                  <a:pt x="299326" y="1566862"/>
                  <a:pt x="299326" y="1566862"/>
                </a:cubicBezTo>
                <a:cubicBezTo>
                  <a:pt x="295341" y="1566862"/>
                  <a:pt x="289365" y="1562879"/>
                  <a:pt x="289365" y="1562879"/>
                </a:cubicBezTo>
                <a:cubicBezTo>
                  <a:pt x="289365" y="1562879"/>
                  <a:pt x="291357" y="1558896"/>
                  <a:pt x="291357" y="1558896"/>
                </a:cubicBezTo>
                <a:cubicBezTo>
                  <a:pt x="289365" y="1558896"/>
                  <a:pt x="281396" y="1556904"/>
                  <a:pt x="281396" y="1556904"/>
                </a:cubicBezTo>
                <a:cubicBezTo>
                  <a:pt x="281396" y="1556904"/>
                  <a:pt x="277412" y="1554913"/>
                  <a:pt x="277412" y="1552921"/>
                </a:cubicBezTo>
                <a:cubicBezTo>
                  <a:pt x="275420" y="1550929"/>
                  <a:pt x="277412" y="1544955"/>
                  <a:pt x="277412" y="1544955"/>
                </a:cubicBezTo>
                <a:cubicBezTo>
                  <a:pt x="279404" y="1542963"/>
                  <a:pt x="283388" y="1540972"/>
                  <a:pt x="285381" y="1538980"/>
                </a:cubicBezTo>
                <a:cubicBezTo>
                  <a:pt x="285381" y="1538980"/>
                  <a:pt x="287373" y="1536988"/>
                  <a:pt x="285381" y="1534997"/>
                </a:cubicBezTo>
                <a:cubicBezTo>
                  <a:pt x="285381" y="1534997"/>
                  <a:pt x="283388" y="1533005"/>
                  <a:pt x="281396" y="1534997"/>
                </a:cubicBezTo>
                <a:cubicBezTo>
                  <a:pt x="281396" y="1536988"/>
                  <a:pt x="279404" y="1540972"/>
                  <a:pt x="277412" y="1540972"/>
                </a:cubicBezTo>
                <a:cubicBezTo>
                  <a:pt x="277412" y="1540972"/>
                  <a:pt x="273428" y="1540972"/>
                  <a:pt x="273428" y="1540972"/>
                </a:cubicBezTo>
                <a:cubicBezTo>
                  <a:pt x="271435" y="1540972"/>
                  <a:pt x="269443" y="1542963"/>
                  <a:pt x="265459" y="1542963"/>
                </a:cubicBezTo>
                <a:cubicBezTo>
                  <a:pt x="263467" y="1542963"/>
                  <a:pt x="261475" y="1540972"/>
                  <a:pt x="261475" y="1538980"/>
                </a:cubicBezTo>
                <a:cubicBezTo>
                  <a:pt x="259483" y="1536988"/>
                  <a:pt x="259483" y="1533005"/>
                  <a:pt x="259483" y="1533005"/>
                </a:cubicBezTo>
                <a:cubicBezTo>
                  <a:pt x="259483" y="1531014"/>
                  <a:pt x="257490" y="1531014"/>
                  <a:pt x="257490" y="1531014"/>
                </a:cubicBezTo>
                <a:cubicBezTo>
                  <a:pt x="255498" y="1531014"/>
                  <a:pt x="253506" y="1533005"/>
                  <a:pt x="253506" y="1533005"/>
                </a:cubicBezTo>
                <a:cubicBezTo>
                  <a:pt x="253506" y="1533005"/>
                  <a:pt x="253506" y="1529022"/>
                  <a:pt x="253506" y="1529022"/>
                </a:cubicBezTo>
                <a:cubicBezTo>
                  <a:pt x="255498" y="1527030"/>
                  <a:pt x="253506" y="1525039"/>
                  <a:pt x="253506" y="1525039"/>
                </a:cubicBezTo>
                <a:cubicBezTo>
                  <a:pt x="253506" y="1525039"/>
                  <a:pt x="251514" y="1527030"/>
                  <a:pt x="251514" y="1525039"/>
                </a:cubicBezTo>
                <a:cubicBezTo>
                  <a:pt x="249522" y="1523047"/>
                  <a:pt x="249522" y="1521056"/>
                  <a:pt x="251514" y="1521056"/>
                </a:cubicBezTo>
                <a:cubicBezTo>
                  <a:pt x="251514" y="1519064"/>
                  <a:pt x="251514" y="1519064"/>
                  <a:pt x="251514" y="1517073"/>
                </a:cubicBezTo>
                <a:cubicBezTo>
                  <a:pt x="251514" y="1517073"/>
                  <a:pt x="253506" y="1515081"/>
                  <a:pt x="251514" y="1515081"/>
                </a:cubicBezTo>
                <a:cubicBezTo>
                  <a:pt x="249522" y="1515081"/>
                  <a:pt x="247530" y="1515081"/>
                  <a:pt x="247530" y="1515081"/>
                </a:cubicBezTo>
                <a:cubicBezTo>
                  <a:pt x="247530" y="1513089"/>
                  <a:pt x="247530" y="1511098"/>
                  <a:pt x="247530" y="1511098"/>
                </a:cubicBezTo>
                <a:cubicBezTo>
                  <a:pt x="243545" y="1507115"/>
                  <a:pt x="243545" y="1507115"/>
                  <a:pt x="243545" y="1507115"/>
                </a:cubicBezTo>
                <a:cubicBezTo>
                  <a:pt x="243545" y="1507115"/>
                  <a:pt x="241553" y="1507115"/>
                  <a:pt x="239561" y="1507115"/>
                </a:cubicBezTo>
                <a:cubicBezTo>
                  <a:pt x="237569" y="1507115"/>
                  <a:pt x="237569" y="1509106"/>
                  <a:pt x="237569" y="1509106"/>
                </a:cubicBezTo>
                <a:cubicBezTo>
                  <a:pt x="235577" y="1507115"/>
                  <a:pt x="235577" y="1507115"/>
                  <a:pt x="235577" y="1505123"/>
                </a:cubicBezTo>
                <a:cubicBezTo>
                  <a:pt x="235577" y="1503132"/>
                  <a:pt x="237569" y="1503132"/>
                  <a:pt x="237569" y="1501140"/>
                </a:cubicBezTo>
                <a:cubicBezTo>
                  <a:pt x="237569" y="1499148"/>
                  <a:pt x="237569" y="1497157"/>
                  <a:pt x="235577" y="1497157"/>
                </a:cubicBezTo>
                <a:cubicBezTo>
                  <a:pt x="233584" y="1495165"/>
                  <a:pt x="231592" y="1495165"/>
                  <a:pt x="231592" y="1495165"/>
                </a:cubicBezTo>
                <a:cubicBezTo>
                  <a:pt x="229600" y="1495165"/>
                  <a:pt x="223624" y="1495165"/>
                  <a:pt x="223624" y="1493174"/>
                </a:cubicBezTo>
                <a:cubicBezTo>
                  <a:pt x="223624" y="1491182"/>
                  <a:pt x="223624" y="1483216"/>
                  <a:pt x="223624" y="1483216"/>
                </a:cubicBezTo>
                <a:cubicBezTo>
                  <a:pt x="221632" y="1481224"/>
                  <a:pt x="221632" y="1481224"/>
                  <a:pt x="219639" y="1481224"/>
                </a:cubicBezTo>
                <a:cubicBezTo>
                  <a:pt x="219639" y="1479233"/>
                  <a:pt x="217647" y="1477241"/>
                  <a:pt x="215655" y="1473258"/>
                </a:cubicBezTo>
                <a:cubicBezTo>
                  <a:pt x="215655" y="1471266"/>
                  <a:pt x="215655" y="1467283"/>
                  <a:pt x="215655" y="1467283"/>
                </a:cubicBezTo>
                <a:cubicBezTo>
                  <a:pt x="217647" y="1465291"/>
                  <a:pt x="221632" y="1465291"/>
                  <a:pt x="223624" y="1465291"/>
                </a:cubicBezTo>
                <a:cubicBezTo>
                  <a:pt x="225616" y="1465291"/>
                  <a:pt x="231592" y="1467283"/>
                  <a:pt x="231592" y="1467283"/>
                </a:cubicBezTo>
                <a:cubicBezTo>
                  <a:pt x="233584" y="1467283"/>
                  <a:pt x="235577" y="1465291"/>
                  <a:pt x="237569" y="1467283"/>
                </a:cubicBezTo>
                <a:cubicBezTo>
                  <a:pt x="237569" y="1469275"/>
                  <a:pt x="237569" y="1471266"/>
                  <a:pt x="237569" y="1473258"/>
                </a:cubicBezTo>
                <a:cubicBezTo>
                  <a:pt x="239561" y="1473258"/>
                  <a:pt x="243545" y="1473258"/>
                  <a:pt x="243545" y="1473258"/>
                </a:cubicBezTo>
                <a:cubicBezTo>
                  <a:pt x="245537" y="1471266"/>
                  <a:pt x="247530" y="1469275"/>
                  <a:pt x="247530" y="1467283"/>
                </a:cubicBezTo>
                <a:cubicBezTo>
                  <a:pt x="247530" y="1467283"/>
                  <a:pt x="245537" y="1465291"/>
                  <a:pt x="243545" y="1463300"/>
                </a:cubicBezTo>
                <a:cubicBezTo>
                  <a:pt x="239561" y="1461308"/>
                  <a:pt x="239561" y="1459317"/>
                  <a:pt x="239561" y="1459317"/>
                </a:cubicBezTo>
                <a:cubicBezTo>
                  <a:pt x="240557" y="1458321"/>
                  <a:pt x="243047" y="1457823"/>
                  <a:pt x="245537" y="1457823"/>
                </a:cubicBezTo>
                <a:close/>
                <a:moveTo>
                  <a:pt x="2000508" y="1436688"/>
                </a:moveTo>
                <a:cubicBezTo>
                  <a:pt x="2000508" y="1438694"/>
                  <a:pt x="1998514" y="1440700"/>
                  <a:pt x="2000508" y="1440700"/>
                </a:cubicBezTo>
                <a:cubicBezTo>
                  <a:pt x="2004496" y="1440700"/>
                  <a:pt x="2006490" y="1440700"/>
                  <a:pt x="2006490" y="1438694"/>
                </a:cubicBezTo>
                <a:cubicBezTo>
                  <a:pt x="2006490" y="1438694"/>
                  <a:pt x="2008485" y="1436688"/>
                  <a:pt x="2008485" y="1436688"/>
                </a:cubicBezTo>
                <a:cubicBezTo>
                  <a:pt x="2012473" y="1436688"/>
                  <a:pt x="2012473" y="1438694"/>
                  <a:pt x="2010479" y="1440700"/>
                </a:cubicBezTo>
                <a:cubicBezTo>
                  <a:pt x="2010479" y="1442707"/>
                  <a:pt x="2008485" y="1444713"/>
                  <a:pt x="2008485" y="1444713"/>
                </a:cubicBezTo>
                <a:cubicBezTo>
                  <a:pt x="2008485" y="1444713"/>
                  <a:pt x="2008485" y="1448725"/>
                  <a:pt x="2006490" y="1448725"/>
                </a:cubicBezTo>
                <a:cubicBezTo>
                  <a:pt x="2004496" y="1448725"/>
                  <a:pt x="2002502" y="1448725"/>
                  <a:pt x="2002502" y="1448725"/>
                </a:cubicBezTo>
                <a:cubicBezTo>
                  <a:pt x="2002502" y="1448725"/>
                  <a:pt x="1998514" y="1446719"/>
                  <a:pt x="1996520" y="1450731"/>
                </a:cubicBezTo>
                <a:cubicBezTo>
                  <a:pt x="1996520" y="1452738"/>
                  <a:pt x="1998514" y="1452738"/>
                  <a:pt x="1998514" y="1452738"/>
                </a:cubicBezTo>
                <a:cubicBezTo>
                  <a:pt x="2000508" y="1452738"/>
                  <a:pt x="2000508" y="1454744"/>
                  <a:pt x="2000508" y="1456750"/>
                </a:cubicBezTo>
                <a:cubicBezTo>
                  <a:pt x="2000508" y="1456750"/>
                  <a:pt x="2002502" y="1458756"/>
                  <a:pt x="2000508" y="1460762"/>
                </a:cubicBezTo>
                <a:cubicBezTo>
                  <a:pt x="1998514" y="1460762"/>
                  <a:pt x="1998514" y="1462768"/>
                  <a:pt x="1998514" y="1464775"/>
                </a:cubicBezTo>
                <a:cubicBezTo>
                  <a:pt x="1998514" y="1464775"/>
                  <a:pt x="1998514" y="1466781"/>
                  <a:pt x="1998514" y="1468787"/>
                </a:cubicBezTo>
                <a:cubicBezTo>
                  <a:pt x="1996520" y="1468787"/>
                  <a:pt x="1994526" y="1472799"/>
                  <a:pt x="1992532" y="1470793"/>
                </a:cubicBezTo>
                <a:cubicBezTo>
                  <a:pt x="1992532" y="1468787"/>
                  <a:pt x="1990538" y="1466781"/>
                  <a:pt x="1990538" y="1468787"/>
                </a:cubicBezTo>
                <a:cubicBezTo>
                  <a:pt x="1988544" y="1470793"/>
                  <a:pt x="1990538" y="1470793"/>
                  <a:pt x="1990538" y="1472799"/>
                </a:cubicBezTo>
                <a:cubicBezTo>
                  <a:pt x="1988544" y="1476812"/>
                  <a:pt x="1986550" y="1478818"/>
                  <a:pt x="1986550" y="1478818"/>
                </a:cubicBezTo>
                <a:cubicBezTo>
                  <a:pt x="1986550" y="1478818"/>
                  <a:pt x="1982562" y="1484836"/>
                  <a:pt x="1978574" y="1488849"/>
                </a:cubicBezTo>
                <a:cubicBezTo>
                  <a:pt x="1976580" y="1490855"/>
                  <a:pt x="1972591" y="1498880"/>
                  <a:pt x="1972591" y="1500886"/>
                </a:cubicBezTo>
                <a:cubicBezTo>
                  <a:pt x="1972591" y="1502892"/>
                  <a:pt x="1974586" y="1504898"/>
                  <a:pt x="1976580" y="1504898"/>
                </a:cubicBezTo>
                <a:cubicBezTo>
                  <a:pt x="1978574" y="1502892"/>
                  <a:pt x="1982562" y="1502892"/>
                  <a:pt x="1982562" y="1498880"/>
                </a:cubicBezTo>
                <a:cubicBezTo>
                  <a:pt x="1984556" y="1496873"/>
                  <a:pt x="1984556" y="1492861"/>
                  <a:pt x="1988544" y="1492861"/>
                </a:cubicBezTo>
                <a:cubicBezTo>
                  <a:pt x="1990538" y="1490855"/>
                  <a:pt x="1990538" y="1494867"/>
                  <a:pt x="1990538" y="1496873"/>
                </a:cubicBezTo>
                <a:cubicBezTo>
                  <a:pt x="1988544" y="1498880"/>
                  <a:pt x="1988544" y="1500886"/>
                  <a:pt x="1990538" y="1498880"/>
                </a:cubicBezTo>
                <a:cubicBezTo>
                  <a:pt x="1992532" y="1498880"/>
                  <a:pt x="1994526" y="1498880"/>
                  <a:pt x="1996520" y="1500886"/>
                </a:cubicBezTo>
                <a:cubicBezTo>
                  <a:pt x="1996520" y="1502892"/>
                  <a:pt x="1998514" y="1502892"/>
                  <a:pt x="2000508" y="1500886"/>
                </a:cubicBezTo>
                <a:cubicBezTo>
                  <a:pt x="2000508" y="1498880"/>
                  <a:pt x="2002502" y="1500886"/>
                  <a:pt x="2002502" y="1504898"/>
                </a:cubicBezTo>
                <a:cubicBezTo>
                  <a:pt x="2002502" y="1508910"/>
                  <a:pt x="2000508" y="1508910"/>
                  <a:pt x="1996520" y="1508910"/>
                </a:cubicBezTo>
                <a:cubicBezTo>
                  <a:pt x="1994526" y="1506904"/>
                  <a:pt x="1992532" y="1506904"/>
                  <a:pt x="1990538" y="1506904"/>
                </a:cubicBezTo>
                <a:cubicBezTo>
                  <a:pt x="1988544" y="1508910"/>
                  <a:pt x="1986550" y="1508910"/>
                  <a:pt x="1986550" y="1508910"/>
                </a:cubicBezTo>
                <a:cubicBezTo>
                  <a:pt x="1986550" y="1508910"/>
                  <a:pt x="1984556" y="1510917"/>
                  <a:pt x="1986550" y="1510917"/>
                </a:cubicBezTo>
                <a:cubicBezTo>
                  <a:pt x="1988544" y="1510917"/>
                  <a:pt x="1996520" y="1510917"/>
                  <a:pt x="2000508" y="1514929"/>
                </a:cubicBezTo>
                <a:cubicBezTo>
                  <a:pt x="2002502" y="1516935"/>
                  <a:pt x="2002502" y="1520948"/>
                  <a:pt x="2002502" y="1520948"/>
                </a:cubicBezTo>
                <a:cubicBezTo>
                  <a:pt x="2002502" y="1520948"/>
                  <a:pt x="2008485" y="1522954"/>
                  <a:pt x="2008485" y="1518941"/>
                </a:cubicBezTo>
                <a:cubicBezTo>
                  <a:pt x="2008485" y="1514929"/>
                  <a:pt x="2008485" y="1512923"/>
                  <a:pt x="2010479" y="1512923"/>
                </a:cubicBezTo>
                <a:cubicBezTo>
                  <a:pt x="2012473" y="1512923"/>
                  <a:pt x="2012473" y="1516935"/>
                  <a:pt x="2010479" y="1518941"/>
                </a:cubicBezTo>
                <a:cubicBezTo>
                  <a:pt x="2010479" y="1520948"/>
                  <a:pt x="2010479" y="1524960"/>
                  <a:pt x="2008485" y="1526966"/>
                </a:cubicBezTo>
                <a:cubicBezTo>
                  <a:pt x="2006490" y="1528972"/>
                  <a:pt x="2004496" y="1528972"/>
                  <a:pt x="2006490" y="1530978"/>
                </a:cubicBezTo>
                <a:cubicBezTo>
                  <a:pt x="2008485" y="1532985"/>
                  <a:pt x="2010479" y="1530978"/>
                  <a:pt x="2010479" y="1528972"/>
                </a:cubicBezTo>
                <a:cubicBezTo>
                  <a:pt x="2010479" y="1524960"/>
                  <a:pt x="2012473" y="1522954"/>
                  <a:pt x="2012473" y="1524960"/>
                </a:cubicBezTo>
                <a:cubicBezTo>
                  <a:pt x="2014467" y="1524960"/>
                  <a:pt x="2014467" y="1522954"/>
                  <a:pt x="2016461" y="1520948"/>
                </a:cubicBezTo>
                <a:cubicBezTo>
                  <a:pt x="2016461" y="1520948"/>
                  <a:pt x="2018455" y="1520948"/>
                  <a:pt x="2018455" y="1520948"/>
                </a:cubicBezTo>
                <a:cubicBezTo>
                  <a:pt x="2020449" y="1522954"/>
                  <a:pt x="2022443" y="1522954"/>
                  <a:pt x="2022443" y="1520948"/>
                </a:cubicBezTo>
                <a:cubicBezTo>
                  <a:pt x="2024437" y="1520948"/>
                  <a:pt x="2024437" y="1514929"/>
                  <a:pt x="2026431" y="1514929"/>
                </a:cubicBezTo>
                <a:cubicBezTo>
                  <a:pt x="2028425" y="1514929"/>
                  <a:pt x="2030419" y="1516935"/>
                  <a:pt x="2030419" y="1518941"/>
                </a:cubicBezTo>
                <a:cubicBezTo>
                  <a:pt x="2030419" y="1520948"/>
                  <a:pt x="2028425" y="1522954"/>
                  <a:pt x="2030419" y="1520948"/>
                </a:cubicBezTo>
                <a:cubicBezTo>
                  <a:pt x="2032413" y="1520948"/>
                  <a:pt x="2032413" y="1518941"/>
                  <a:pt x="2036401" y="1518941"/>
                </a:cubicBezTo>
                <a:cubicBezTo>
                  <a:pt x="2038395" y="1518941"/>
                  <a:pt x="2044378" y="1518941"/>
                  <a:pt x="2046372" y="1520948"/>
                </a:cubicBezTo>
                <a:cubicBezTo>
                  <a:pt x="2046372" y="1522954"/>
                  <a:pt x="2048366" y="1522954"/>
                  <a:pt x="2050360" y="1522954"/>
                </a:cubicBezTo>
                <a:cubicBezTo>
                  <a:pt x="2052354" y="1524960"/>
                  <a:pt x="2056342" y="1526966"/>
                  <a:pt x="2054348" y="1528972"/>
                </a:cubicBezTo>
                <a:cubicBezTo>
                  <a:pt x="2054348" y="1532985"/>
                  <a:pt x="2052354" y="1530978"/>
                  <a:pt x="2052354" y="1530978"/>
                </a:cubicBezTo>
                <a:cubicBezTo>
                  <a:pt x="2052354" y="1530978"/>
                  <a:pt x="2048366" y="1532985"/>
                  <a:pt x="2048366" y="1532985"/>
                </a:cubicBezTo>
                <a:cubicBezTo>
                  <a:pt x="2048366" y="1534991"/>
                  <a:pt x="2048366" y="1534991"/>
                  <a:pt x="2046372" y="1534991"/>
                </a:cubicBezTo>
                <a:cubicBezTo>
                  <a:pt x="2044378" y="1534991"/>
                  <a:pt x="2042384" y="1541009"/>
                  <a:pt x="2038395" y="1543015"/>
                </a:cubicBezTo>
                <a:cubicBezTo>
                  <a:pt x="2036401" y="1545022"/>
                  <a:pt x="2036401" y="1547028"/>
                  <a:pt x="2038395" y="1549034"/>
                </a:cubicBezTo>
                <a:cubicBezTo>
                  <a:pt x="2040390" y="1549034"/>
                  <a:pt x="2040390" y="1555053"/>
                  <a:pt x="2038395" y="1555053"/>
                </a:cubicBezTo>
                <a:cubicBezTo>
                  <a:pt x="2034407" y="1557059"/>
                  <a:pt x="2030419" y="1559065"/>
                  <a:pt x="2032413" y="1561071"/>
                </a:cubicBezTo>
                <a:cubicBezTo>
                  <a:pt x="2034407" y="1563077"/>
                  <a:pt x="2038395" y="1561071"/>
                  <a:pt x="2040390" y="1561071"/>
                </a:cubicBezTo>
                <a:cubicBezTo>
                  <a:pt x="2040390" y="1561071"/>
                  <a:pt x="2044378" y="1555053"/>
                  <a:pt x="2046372" y="1557059"/>
                </a:cubicBezTo>
                <a:cubicBezTo>
                  <a:pt x="2046372" y="1559065"/>
                  <a:pt x="2050360" y="1557059"/>
                  <a:pt x="2050360" y="1555053"/>
                </a:cubicBezTo>
                <a:cubicBezTo>
                  <a:pt x="2052354" y="1555053"/>
                  <a:pt x="2052354" y="1551040"/>
                  <a:pt x="2056342" y="1553046"/>
                </a:cubicBezTo>
                <a:cubicBezTo>
                  <a:pt x="2058336" y="1553046"/>
                  <a:pt x="2060330" y="1555053"/>
                  <a:pt x="2058336" y="1555053"/>
                </a:cubicBezTo>
                <a:cubicBezTo>
                  <a:pt x="2056342" y="1557059"/>
                  <a:pt x="2058336" y="1559065"/>
                  <a:pt x="2056342" y="1561071"/>
                </a:cubicBezTo>
                <a:cubicBezTo>
                  <a:pt x="2054348" y="1563077"/>
                  <a:pt x="2054348" y="1565083"/>
                  <a:pt x="2052354" y="1563077"/>
                </a:cubicBezTo>
                <a:cubicBezTo>
                  <a:pt x="2050360" y="1563077"/>
                  <a:pt x="2050360" y="1565083"/>
                  <a:pt x="2048366" y="1567090"/>
                </a:cubicBezTo>
                <a:cubicBezTo>
                  <a:pt x="2044378" y="1569096"/>
                  <a:pt x="2042384" y="1569096"/>
                  <a:pt x="2042384" y="1569096"/>
                </a:cubicBezTo>
                <a:cubicBezTo>
                  <a:pt x="2042384" y="1569096"/>
                  <a:pt x="2038395" y="1571102"/>
                  <a:pt x="2040390" y="1571102"/>
                </a:cubicBezTo>
                <a:cubicBezTo>
                  <a:pt x="2042384" y="1573108"/>
                  <a:pt x="2044378" y="1575114"/>
                  <a:pt x="2042384" y="1577120"/>
                </a:cubicBezTo>
                <a:cubicBezTo>
                  <a:pt x="2042384" y="1581133"/>
                  <a:pt x="2038395" y="1581133"/>
                  <a:pt x="2038395" y="1581133"/>
                </a:cubicBezTo>
                <a:cubicBezTo>
                  <a:pt x="2038395" y="1581133"/>
                  <a:pt x="2038395" y="1585145"/>
                  <a:pt x="2034407" y="1585145"/>
                </a:cubicBezTo>
                <a:cubicBezTo>
                  <a:pt x="2030419" y="1585145"/>
                  <a:pt x="2030419" y="1583139"/>
                  <a:pt x="2030419" y="1583139"/>
                </a:cubicBezTo>
                <a:cubicBezTo>
                  <a:pt x="2030419" y="1583139"/>
                  <a:pt x="2030419" y="1579127"/>
                  <a:pt x="2028425" y="1581133"/>
                </a:cubicBezTo>
                <a:cubicBezTo>
                  <a:pt x="2026431" y="1583139"/>
                  <a:pt x="2024437" y="1583139"/>
                  <a:pt x="2024437" y="1585145"/>
                </a:cubicBezTo>
                <a:cubicBezTo>
                  <a:pt x="2024437" y="1587151"/>
                  <a:pt x="2026431" y="1589157"/>
                  <a:pt x="2022443" y="1589157"/>
                </a:cubicBezTo>
                <a:cubicBezTo>
                  <a:pt x="2018455" y="1589157"/>
                  <a:pt x="2020449" y="1591164"/>
                  <a:pt x="2018455" y="1595176"/>
                </a:cubicBezTo>
                <a:cubicBezTo>
                  <a:pt x="2018455" y="1597182"/>
                  <a:pt x="2014467" y="1597182"/>
                  <a:pt x="2014467" y="1597182"/>
                </a:cubicBezTo>
                <a:cubicBezTo>
                  <a:pt x="2014467" y="1597182"/>
                  <a:pt x="2010479" y="1597182"/>
                  <a:pt x="2010479" y="1599188"/>
                </a:cubicBezTo>
                <a:cubicBezTo>
                  <a:pt x="2010479" y="1601195"/>
                  <a:pt x="2006490" y="1601195"/>
                  <a:pt x="2006490" y="1601195"/>
                </a:cubicBezTo>
                <a:cubicBezTo>
                  <a:pt x="2006490" y="1601195"/>
                  <a:pt x="2004496" y="1601195"/>
                  <a:pt x="2006490" y="1603201"/>
                </a:cubicBezTo>
                <a:cubicBezTo>
                  <a:pt x="2008485" y="1605207"/>
                  <a:pt x="2006490" y="1611225"/>
                  <a:pt x="2004496" y="1613232"/>
                </a:cubicBezTo>
                <a:cubicBezTo>
                  <a:pt x="2000508" y="1617244"/>
                  <a:pt x="1998514" y="1615238"/>
                  <a:pt x="1998514" y="1615238"/>
                </a:cubicBezTo>
                <a:cubicBezTo>
                  <a:pt x="1994526" y="1617244"/>
                  <a:pt x="1994526" y="1617244"/>
                  <a:pt x="1994526" y="1617244"/>
                </a:cubicBezTo>
                <a:cubicBezTo>
                  <a:pt x="1994526" y="1617244"/>
                  <a:pt x="1988544" y="1619250"/>
                  <a:pt x="1984556" y="1619250"/>
                </a:cubicBezTo>
                <a:cubicBezTo>
                  <a:pt x="1982562" y="1619250"/>
                  <a:pt x="1978574" y="1619250"/>
                  <a:pt x="1978574" y="1615238"/>
                </a:cubicBezTo>
                <a:cubicBezTo>
                  <a:pt x="1978574" y="1611225"/>
                  <a:pt x="1982562" y="1609219"/>
                  <a:pt x="1984556" y="1609219"/>
                </a:cubicBezTo>
                <a:cubicBezTo>
                  <a:pt x="1986550" y="1609219"/>
                  <a:pt x="1992532" y="1607213"/>
                  <a:pt x="1996520" y="1605207"/>
                </a:cubicBezTo>
                <a:cubicBezTo>
                  <a:pt x="1998514" y="1605207"/>
                  <a:pt x="1998514" y="1605207"/>
                  <a:pt x="2000508" y="1603201"/>
                </a:cubicBezTo>
                <a:cubicBezTo>
                  <a:pt x="2000508" y="1601195"/>
                  <a:pt x="2000508" y="1597182"/>
                  <a:pt x="2002502" y="1595176"/>
                </a:cubicBezTo>
                <a:cubicBezTo>
                  <a:pt x="2006490" y="1595176"/>
                  <a:pt x="2012473" y="1593170"/>
                  <a:pt x="2012473" y="1591164"/>
                </a:cubicBezTo>
                <a:cubicBezTo>
                  <a:pt x="2012473" y="1589157"/>
                  <a:pt x="2014467" y="1587151"/>
                  <a:pt x="2010479" y="1587151"/>
                </a:cubicBezTo>
                <a:cubicBezTo>
                  <a:pt x="2008485" y="1589157"/>
                  <a:pt x="2006490" y="1591164"/>
                  <a:pt x="2004496" y="1589157"/>
                </a:cubicBezTo>
                <a:cubicBezTo>
                  <a:pt x="2002502" y="1587151"/>
                  <a:pt x="2002502" y="1585145"/>
                  <a:pt x="2000508" y="1587151"/>
                </a:cubicBezTo>
                <a:cubicBezTo>
                  <a:pt x="1998514" y="1589157"/>
                  <a:pt x="2000508" y="1589157"/>
                  <a:pt x="2000508" y="1593170"/>
                </a:cubicBezTo>
                <a:cubicBezTo>
                  <a:pt x="1998514" y="1597182"/>
                  <a:pt x="1996520" y="1599188"/>
                  <a:pt x="1994526" y="1597182"/>
                </a:cubicBezTo>
                <a:cubicBezTo>
                  <a:pt x="1992532" y="1595176"/>
                  <a:pt x="1992532" y="1593170"/>
                  <a:pt x="1990538" y="1593170"/>
                </a:cubicBezTo>
                <a:cubicBezTo>
                  <a:pt x="1988544" y="1593170"/>
                  <a:pt x="1988544" y="1593170"/>
                  <a:pt x="1988544" y="1593170"/>
                </a:cubicBezTo>
                <a:cubicBezTo>
                  <a:pt x="1988544" y="1593170"/>
                  <a:pt x="1982562" y="1595176"/>
                  <a:pt x="1982562" y="1593170"/>
                </a:cubicBezTo>
                <a:cubicBezTo>
                  <a:pt x="1984556" y="1589157"/>
                  <a:pt x="1986550" y="1587151"/>
                  <a:pt x="1986550" y="1587151"/>
                </a:cubicBezTo>
                <a:cubicBezTo>
                  <a:pt x="1986550" y="1587151"/>
                  <a:pt x="1986550" y="1585145"/>
                  <a:pt x="1986550" y="1585145"/>
                </a:cubicBezTo>
                <a:cubicBezTo>
                  <a:pt x="1984556" y="1587151"/>
                  <a:pt x="1984556" y="1583139"/>
                  <a:pt x="1984556" y="1583139"/>
                </a:cubicBezTo>
                <a:cubicBezTo>
                  <a:pt x="1984556" y="1583139"/>
                  <a:pt x="1984556" y="1581133"/>
                  <a:pt x="1982562" y="1583139"/>
                </a:cubicBezTo>
                <a:cubicBezTo>
                  <a:pt x="1980568" y="1583139"/>
                  <a:pt x="1980568" y="1585145"/>
                  <a:pt x="1980568" y="1583139"/>
                </a:cubicBezTo>
                <a:cubicBezTo>
                  <a:pt x="1978574" y="1581133"/>
                  <a:pt x="1976580" y="1583139"/>
                  <a:pt x="1976580" y="1583139"/>
                </a:cubicBezTo>
                <a:cubicBezTo>
                  <a:pt x="1976580" y="1583139"/>
                  <a:pt x="1976580" y="1587151"/>
                  <a:pt x="1974586" y="1587151"/>
                </a:cubicBezTo>
                <a:cubicBezTo>
                  <a:pt x="1970597" y="1587151"/>
                  <a:pt x="1970597" y="1587151"/>
                  <a:pt x="1970597" y="1587151"/>
                </a:cubicBezTo>
                <a:cubicBezTo>
                  <a:pt x="1968603" y="1587151"/>
                  <a:pt x="1966609" y="1589157"/>
                  <a:pt x="1966609" y="1587151"/>
                </a:cubicBezTo>
                <a:cubicBezTo>
                  <a:pt x="1964615" y="1587151"/>
                  <a:pt x="1962621" y="1587151"/>
                  <a:pt x="1962621" y="1587151"/>
                </a:cubicBezTo>
                <a:cubicBezTo>
                  <a:pt x="1960627" y="1589157"/>
                  <a:pt x="1958633" y="1591164"/>
                  <a:pt x="1958633" y="1591164"/>
                </a:cubicBezTo>
                <a:cubicBezTo>
                  <a:pt x="1956639" y="1591164"/>
                  <a:pt x="1954645" y="1591164"/>
                  <a:pt x="1954645" y="1589157"/>
                </a:cubicBezTo>
                <a:cubicBezTo>
                  <a:pt x="1954645" y="1587151"/>
                  <a:pt x="1956639" y="1583139"/>
                  <a:pt x="1954645" y="1583139"/>
                </a:cubicBezTo>
                <a:cubicBezTo>
                  <a:pt x="1950657" y="1583139"/>
                  <a:pt x="1950657" y="1585145"/>
                  <a:pt x="1950657" y="1587151"/>
                </a:cubicBezTo>
                <a:cubicBezTo>
                  <a:pt x="1950657" y="1589157"/>
                  <a:pt x="1950657" y="1593170"/>
                  <a:pt x="1946669" y="1591164"/>
                </a:cubicBezTo>
                <a:cubicBezTo>
                  <a:pt x="1942681" y="1591164"/>
                  <a:pt x="1942681" y="1589157"/>
                  <a:pt x="1942681" y="1589157"/>
                </a:cubicBezTo>
                <a:cubicBezTo>
                  <a:pt x="1942681" y="1589157"/>
                  <a:pt x="1942681" y="1587151"/>
                  <a:pt x="1938692" y="1589157"/>
                </a:cubicBezTo>
                <a:cubicBezTo>
                  <a:pt x="1936698" y="1589157"/>
                  <a:pt x="1934704" y="1587151"/>
                  <a:pt x="1934704" y="1587151"/>
                </a:cubicBezTo>
                <a:cubicBezTo>
                  <a:pt x="1934704" y="1587151"/>
                  <a:pt x="1930716" y="1589157"/>
                  <a:pt x="1928722" y="1589157"/>
                </a:cubicBezTo>
                <a:cubicBezTo>
                  <a:pt x="1924734" y="1587151"/>
                  <a:pt x="1924734" y="1585145"/>
                  <a:pt x="1924734" y="1585145"/>
                </a:cubicBezTo>
                <a:cubicBezTo>
                  <a:pt x="1924734" y="1585145"/>
                  <a:pt x="1924734" y="1583139"/>
                  <a:pt x="1920746" y="1585145"/>
                </a:cubicBezTo>
                <a:cubicBezTo>
                  <a:pt x="1916758" y="1589157"/>
                  <a:pt x="1912770" y="1593170"/>
                  <a:pt x="1908781" y="1593170"/>
                </a:cubicBezTo>
                <a:cubicBezTo>
                  <a:pt x="1904793" y="1593170"/>
                  <a:pt x="1904793" y="1589157"/>
                  <a:pt x="1904793" y="1589157"/>
                </a:cubicBezTo>
                <a:cubicBezTo>
                  <a:pt x="1904793" y="1589157"/>
                  <a:pt x="1904793" y="1587151"/>
                  <a:pt x="1900805" y="1589157"/>
                </a:cubicBezTo>
                <a:cubicBezTo>
                  <a:pt x="1898811" y="1589157"/>
                  <a:pt x="1896817" y="1577120"/>
                  <a:pt x="1900805" y="1575114"/>
                </a:cubicBezTo>
                <a:cubicBezTo>
                  <a:pt x="1904793" y="1575114"/>
                  <a:pt x="1904793" y="1571102"/>
                  <a:pt x="1904793" y="1571102"/>
                </a:cubicBezTo>
                <a:cubicBezTo>
                  <a:pt x="1904793" y="1569096"/>
                  <a:pt x="1908781" y="1569096"/>
                  <a:pt x="1908781" y="1569096"/>
                </a:cubicBezTo>
                <a:cubicBezTo>
                  <a:pt x="1908781" y="1569096"/>
                  <a:pt x="1912770" y="1567090"/>
                  <a:pt x="1914764" y="1565083"/>
                </a:cubicBezTo>
                <a:cubicBezTo>
                  <a:pt x="1916758" y="1561071"/>
                  <a:pt x="1918752" y="1559065"/>
                  <a:pt x="1920746" y="1559065"/>
                </a:cubicBezTo>
                <a:cubicBezTo>
                  <a:pt x="1922740" y="1557059"/>
                  <a:pt x="1928722" y="1555053"/>
                  <a:pt x="1930716" y="1553046"/>
                </a:cubicBezTo>
                <a:cubicBezTo>
                  <a:pt x="1930716" y="1551040"/>
                  <a:pt x="1930716" y="1549034"/>
                  <a:pt x="1928722" y="1549034"/>
                </a:cubicBezTo>
                <a:cubicBezTo>
                  <a:pt x="1924734" y="1551040"/>
                  <a:pt x="1926728" y="1555053"/>
                  <a:pt x="1920746" y="1553046"/>
                </a:cubicBezTo>
                <a:cubicBezTo>
                  <a:pt x="1914764" y="1551040"/>
                  <a:pt x="1922740" y="1549034"/>
                  <a:pt x="1920746" y="1545022"/>
                </a:cubicBezTo>
                <a:cubicBezTo>
                  <a:pt x="1918752" y="1541009"/>
                  <a:pt x="1920746" y="1541009"/>
                  <a:pt x="1920746" y="1541009"/>
                </a:cubicBezTo>
                <a:cubicBezTo>
                  <a:pt x="1922740" y="1541009"/>
                  <a:pt x="1922740" y="1536997"/>
                  <a:pt x="1922740" y="1536997"/>
                </a:cubicBezTo>
                <a:cubicBezTo>
                  <a:pt x="1922740" y="1536997"/>
                  <a:pt x="1922740" y="1532985"/>
                  <a:pt x="1926728" y="1532985"/>
                </a:cubicBezTo>
                <a:cubicBezTo>
                  <a:pt x="1928722" y="1532985"/>
                  <a:pt x="1930716" y="1534991"/>
                  <a:pt x="1932710" y="1536997"/>
                </a:cubicBezTo>
                <a:cubicBezTo>
                  <a:pt x="1934704" y="1539003"/>
                  <a:pt x="1940686" y="1541009"/>
                  <a:pt x="1942681" y="1539003"/>
                </a:cubicBezTo>
                <a:cubicBezTo>
                  <a:pt x="1946669" y="1536997"/>
                  <a:pt x="1946669" y="1534991"/>
                  <a:pt x="1944675" y="1536997"/>
                </a:cubicBezTo>
                <a:cubicBezTo>
                  <a:pt x="1942681" y="1536997"/>
                  <a:pt x="1940686" y="1539003"/>
                  <a:pt x="1936698" y="1536997"/>
                </a:cubicBezTo>
                <a:cubicBezTo>
                  <a:pt x="1934704" y="1534991"/>
                  <a:pt x="1934704" y="1530978"/>
                  <a:pt x="1936698" y="1530978"/>
                </a:cubicBezTo>
                <a:cubicBezTo>
                  <a:pt x="1938692" y="1528972"/>
                  <a:pt x="1940686" y="1528972"/>
                  <a:pt x="1938692" y="1526966"/>
                </a:cubicBezTo>
                <a:cubicBezTo>
                  <a:pt x="1938692" y="1524960"/>
                  <a:pt x="1934704" y="1522954"/>
                  <a:pt x="1934704" y="1518941"/>
                </a:cubicBezTo>
                <a:cubicBezTo>
                  <a:pt x="1934704" y="1514929"/>
                  <a:pt x="1936698" y="1514929"/>
                  <a:pt x="1936698" y="1514929"/>
                </a:cubicBezTo>
                <a:cubicBezTo>
                  <a:pt x="1938692" y="1514929"/>
                  <a:pt x="1940686" y="1520948"/>
                  <a:pt x="1942681" y="1520948"/>
                </a:cubicBezTo>
                <a:cubicBezTo>
                  <a:pt x="1944675" y="1518941"/>
                  <a:pt x="1942681" y="1514929"/>
                  <a:pt x="1944675" y="1512923"/>
                </a:cubicBezTo>
                <a:cubicBezTo>
                  <a:pt x="1946669" y="1510917"/>
                  <a:pt x="1944675" y="1506904"/>
                  <a:pt x="1946669" y="1504898"/>
                </a:cubicBezTo>
                <a:cubicBezTo>
                  <a:pt x="1948663" y="1504898"/>
                  <a:pt x="1952651" y="1500886"/>
                  <a:pt x="1952651" y="1500886"/>
                </a:cubicBezTo>
                <a:cubicBezTo>
                  <a:pt x="1952651" y="1498880"/>
                  <a:pt x="1954645" y="1498880"/>
                  <a:pt x="1954645" y="1498880"/>
                </a:cubicBezTo>
                <a:cubicBezTo>
                  <a:pt x="1954645" y="1492861"/>
                  <a:pt x="1954645" y="1492861"/>
                  <a:pt x="1954645" y="1492861"/>
                </a:cubicBezTo>
                <a:cubicBezTo>
                  <a:pt x="1954645" y="1492861"/>
                  <a:pt x="1956639" y="1492861"/>
                  <a:pt x="1958633" y="1492861"/>
                </a:cubicBezTo>
                <a:cubicBezTo>
                  <a:pt x="1958633" y="1494867"/>
                  <a:pt x="1962621" y="1492861"/>
                  <a:pt x="1960627" y="1490855"/>
                </a:cubicBezTo>
                <a:cubicBezTo>
                  <a:pt x="1958633" y="1488849"/>
                  <a:pt x="1958633" y="1488849"/>
                  <a:pt x="1958633" y="1484836"/>
                </a:cubicBezTo>
                <a:cubicBezTo>
                  <a:pt x="1960627" y="1482830"/>
                  <a:pt x="1962621" y="1482830"/>
                  <a:pt x="1962621" y="1478818"/>
                </a:cubicBezTo>
                <a:cubicBezTo>
                  <a:pt x="1962621" y="1476812"/>
                  <a:pt x="1960627" y="1470793"/>
                  <a:pt x="1964615" y="1470793"/>
                </a:cubicBezTo>
                <a:cubicBezTo>
                  <a:pt x="1966609" y="1470793"/>
                  <a:pt x="1966609" y="1470793"/>
                  <a:pt x="1968603" y="1464775"/>
                </a:cubicBezTo>
                <a:cubicBezTo>
                  <a:pt x="1968603" y="1456750"/>
                  <a:pt x="1968603" y="1456750"/>
                  <a:pt x="1970597" y="1456750"/>
                </a:cubicBezTo>
                <a:cubicBezTo>
                  <a:pt x="1974586" y="1456750"/>
                  <a:pt x="1974586" y="1452738"/>
                  <a:pt x="1974586" y="1452738"/>
                </a:cubicBezTo>
                <a:cubicBezTo>
                  <a:pt x="1974586" y="1452738"/>
                  <a:pt x="1976580" y="1448725"/>
                  <a:pt x="1976580" y="1448725"/>
                </a:cubicBezTo>
                <a:cubicBezTo>
                  <a:pt x="1978574" y="1450731"/>
                  <a:pt x="1980568" y="1450731"/>
                  <a:pt x="1980568" y="1450731"/>
                </a:cubicBezTo>
                <a:cubicBezTo>
                  <a:pt x="1980568" y="1450731"/>
                  <a:pt x="1984556" y="1448725"/>
                  <a:pt x="1984556" y="1446719"/>
                </a:cubicBezTo>
                <a:cubicBezTo>
                  <a:pt x="1984556" y="1444713"/>
                  <a:pt x="1984556" y="1442707"/>
                  <a:pt x="1986550" y="1442707"/>
                </a:cubicBezTo>
                <a:cubicBezTo>
                  <a:pt x="1990538" y="1442707"/>
                  <a:pt x="1992532" y="1442707"/>
                  <a:pt x="1992532" y="1442707"/>
                </a:cubicBezTo>
                <a:cubicBezTo>
                  <a:pt x="1992532" y="1440700"/>
                  <a:pt x="1996520" y="1438694"/>
                  <a:pt x="1996520" y="1438694"/>
                </a:cubicBezTo>
                <a:cubicBezTo>
                  <a:pt x="1998514" y="1438694"/>
                  <a:pt x="2000508" y="1436688"/>
                  <a:pt x="2000508" y="1436688"/>
                </a:cubicBezTo>
                <a:close/>
                <a:moveTo>
                  <a:pt x="229625" y="1430536"/>
                </a:moveTo>
                <a:cubicBezTo>
                  <a:pt x="230737" y="1430281"/>
                  <a:pt x="231848" y="1430791"/>
                  <a:pt x="231848" y="1430791"/>
                </a:cubicBezTo>
                <a:cubicBezTo>
                  <a:pt x="236293" y="1430791"/>
                  <a:pt x="234070" y="1438955"/>
                  <a:pt x="234070" y="1438955"/>
                </a:cubicBezTo>
                <a:cubicBezTo>
                  <a:pt x="234070" y="1438955"/>
                  <a:pt x="231848" y="1443037"/>
                  <a:pt x="227403" y="1443037"/>
                </a:cubicBezTo>
                <a:cubicBezTo>
                  <a:pt x="225180" y="1440996"/>
                  <a:pt x="225180" y="1440996"/>
                  <a:pt x="227403" y="1434873"/>
                </a:cubicBezTo>
                <a:cubicBezTo>
                  <a:pt x="227403" y="1431812"/>
                  <a:pt x="228514" y="1430791"/>
                  <a:pt x="229625" y="1430536"/>
                </a:cubicBezTo>
                <a:close/>
                <a:moveTo>
                  <a:pt x="2014927" y="1422400"/>
                </a:moveTo>
                <a:cubicBezTo>
                  <a:pt x="2014927" y="1422400"/>
                  <a:pt x="2018737" y="1422400"/>
                  <a:pt x="2020642" y="1424517"/>
                </a:cubicBezTo>
                <a:cubicBezTo>
                  <a:pt x="2020642" y="1426633"/>
                  <a:pt x="2014927" y="1428750"/>
                  <a:pt x="2013022" y="1426633"/>
                </a:cubicBezTo>
                <a:cubicBezTo>
                  <a:pt x="2011117" y="1422400"/>
                  <a:pt x="2014927" y="1422400"/>
                  <a:pt x="2014927" y="1422400"/>
                </a:cubicBezTo>
                <a:close/>
                <a:moveTo>
                  <a:pt x="1422835" y="1422400"/>
                </a:moveTo>
                <a:lnTo>
                  <a:pt x="1426464" y="1422400"/>
                </a:lnTo>
                <a:cubicBezTo>
                  <a:pt x="1426464" y="1422400"/>
                  <a:pt x="1430092" y="1422400"/>
                  <a:pt x="1430092" y="1422400"/>
                </a:cubicBezTo>
                <a:cubicBezTo>
                  <a:pt x="1430092" y="1424384"/>
                  <a:pt x="1426464" y="1426369"/>
                  <a:pt x="1426464" y="1428353"/>
                </a:cubicBezTo>
                <a:cubicBezTo>
                  <a:pt x="1426464" y="1430337"/>
                  <a:pt x="1424649" y="1430337"/>
                  <a:pt x="1422835" y="1428353"/>
                </a:cubicBezTo>
                <a:cubicBezTo>
                  <a:pt x="1422835" y="1428353"/>
                  <a:pt x="1421021" y="1428353"/>
                  <a:pt x="1419206" y="1428353"/>
                </a:cubicBezTo>
                <a:cubicBezTo>
                  <a:pt x="1417392" y="1428353"/>
                  <a:pt x="1419206" y="1426369"/>
                  <a:pt x="1419206" y="1424384"/>
                </a:cubicBezTo>
                <a:cubicBezTo>
                  <a:pt x="1419206" y="1422400"/>
                  <a:pt x="1422835" y="1422400"/>
                  <a:pt x="1422835" y="1422400"/>
                </a:cubicBezTo>
                <a:close/>
                <a:moveTo>
                  <a:pt x="230260" y="1414463"/>
                </a:moveTo>
                <a:cubicBezTo>
                  <a:pt x="232165" y="1414463"/>
                  <a:pt x="232165" y="1416504"/>
                  <a:pt x="235975" y="1418545"/>
                </a:cubicBezTo>
                <a:cubicBezTo>
                  <a:pt x="237880" y="1418545"/>
                  <a:pt x="237880" y="1422627"/>
                  <a:pt x="235975" y="1426709"/>
                </a:cubicBezTo>
                <a:cubicBezTo>
                  <a:pt x="235975" y="1428750"/>
                  <a:pt x="230260" y="1426709"/>
                  <a:pt x="232165" y="1424668"/>
                </a:cubicBezTo>
                <a:cubicBezTo>
                  <a:pt x="232165" y="1420586"/>
                  <a:pt x="234070" y="1418545"/>
                  <a:pt x="232165" y="1418545"/>
                </a:cubicBezTo>
                <a:cubicBezTo>
                  <a:pt x="230260" y="1418545"/>
                  <a:pt x="230260" y="1416504"/>
                  <a:pt x="230260" y="1416504"/>
                </a:cubicBezTo>
                <a:cubicBezTo>
                  <a:pt x="230260" y="1416504"/>
                  <a:pt x="228355" y="1414463"/>
                  <a:pt x="230260" y="1414463"/>
                </a:cubicBezTo>
                <a:close/>
                <a:moveTo>
                  <a:pt x="224386" y="1406674"/>
                </a:moveTo>
                <a:cubicBezTo>
                  <a:pt x="225378" y="1406426"/>
                  <a:pt x="226371" y="1406922"/>
                  <a:pt x="226371" y="1406922"/>
                </a:cubicBezTo>
                <a:cubicBezTo>
                  <a:pt x="228355" y="1410891"/>
                  <a:pt x="220417" y="1412875"/>
                  <a:pt x="222402" y="1410891"/>
                </a:cubicBezTo>
                <a:cubicBezTo>
                  <a:pt x="222402" y="1407915"/>
                  <a:pt x="223394" y="1406922"/>
                  <a:pt x="224386" y="1406674"/>
                </a:cubicBezTo>
                <a:close/>
                <a:moveTo>
                  <a:pt x="237880" y="1404938"/>
                </a:moveTo>
                <a:cubicBezTo>
                  <a:pt x="240261" y="1404938"/>
                  <a:pt x="242642" y="1415521"/>
                  <a:pt x="240261" y="1415521"/>
                </a:cubicBezTo>
                <a:cubicBezTo>
                  <a:pt x="237880" y="1417638"/>
                  <a:pt x="235498" y="1413405"/>
                  <a:pt x="235498" y="1409171"/>
                </a:cubicBezTo>
                <a:cubicBezTo>
                  <a:pt x="233117" y="1404938"/>
                  <a:pt x="237880" y="1404938"/>
                  <a:pt x="237880" y="1404938"/>
                </a:cubicBezTo>
                <a:close/>
                <a:moveTo>
                  <a:pt x="227402" y="1397000"/>
                </a:moveTo>
                <a:cubicBezTo>
                  <a:pt x="233117" y="1401233"/>
                  <a:pt x="227402" y="1403350"/>
                  <a:pt x="225497" y="1401233"/>
                </a:cubicBezTo>
                <a:cubicBezTo>
                  <a:pt x="223592" y="1399117"/>
                  <a:pt x="227402" y="1397000"/>
                  <a:pt x="227402" y="1397000"/>
                </a:cubicBezTo>
                <a:close/>
                <a:moveTo>
                  <a:pt x="216978" y="1392635"/>
                </a:moveTo>
                <a:cubicBezTo>
                  <a:pt x="217772" y="1393655"/>
                  <a:pt x="217772" y="1395186"/>
                  <a:pt x="217772" y="1395186"/>
                </a:cubicBezTo>
                <a:cubicBezTo>
                  <a:pt x="217772" y="1395186"/>
                  <a:pt x="222005" y="1401309"/>
                  <a:pt x="219888" y="1401309"/>
                </a:cubicBezTo>
                <a:cubicBezTo>
                  <a:pt x="217772" y="1403350"/>
                  <a:pt x="215655" y="1403350"/>
                  <a:pt x="213538" y="1399268"/>
                </a:cubicBezTo>
                <a:cubicBezTo>
                  <a:pt x="209305" y="1395186"/>
                  <a:pt x="211422" y="1393145"/>
                  <a:pt x="211422" y="1393145"/>
                </a:cubicBezTo>
                <a:cubicBezTo>
                  <a:pt x="214597" y="1391104"/>
                  <a:pt x="216184" y="1391614"/>
                  <a:pt x="216978" y="1392635"/>
                </a:cubicBezTo>
                <a:close/>
                <a:moveTo>
                  <a:pt x="1382561" y="1381125"/>
                </a:moveTo>
                <a:cubicBezTo>
                  <a:pt x="1386670" y="1381125"/>
                  <a:pt x="1388724" y="1381125"/>
                  <a:pt x="1390779" y="1383189"/>
                </a:cubicBezTo>
                <a:cubicBezTo>
                  <a:pt x="1390779" y="1383189"/>
                  <a:pt x="1394887" y="1383189"/>
                  <a:pt x="1394887" y="1383189"/>
                </a:cubicBezTo>
                <a:cubicBezTo>
                  <a:pt x="1394887" y="1383189"/>
                  <a:pt x="1403105" y="1381125"/>
                  <a:pt x="1401051" y="1383189"/>
                </a:cubicBezTo>
                <a:cubicBezTo>
                  <a:pt x="1398996" y="1385253"/>
                  <a:pt x="1396942" y="1387316"/>
                  <a:pt x="1396942" y="1389380"/>
                </a:cubicBezTo>
                <a:cubicBezTo>
                  <a:pt x="1396942" y="1393507"/>
                  <a:pt x="1401051" y="1395571"/>
                  <a:pt x="1398996" y="1397635"/>
                </a:cubicBezTo>
                <a:cubicBezTo>
                  <a:pt x="1398996" y="1399698"/>
                  <a:pt x="1396942" y="1401762"/>
                  <a:pt x="1396942" y="1399698"/>
                </a:cubicBezTo>
                <a:cubicBezTo>
                  <a:pt x="1394887" y="1399698"/>
                  <a:pt x="1392833" y="1397635"/>
                  <a:pt x="1392833" y="1399698"/>
                </a:cubicBezTo>
                <a:cubicBezTo>
                  <a:pt x="1392833" y="1399698"/>
                  <a:pt x="1386670" y="1401762"/>
                  <a:pt x="1386670" y="1399698"/>
                </a:cubicBezTo>
                <a:cubicBezTo>
                  <a:pt x="1388724" y="1397635"/>
                  <a:pt x="1386670" y="1395571"/>
                  <a:pt x="1384615" y="1395571"/>
                </a:cubicBezTo>
                <a:cubicBezTo>
                  <a:pt x="1380507" y="1395571"/>
                  <a:pt x="1378452" y="1397635"/>
                  <a:pt x="1376398" y="1397635"/>
                </a:cubicBezTo>
                <a:cubicBezTo>
                  <a:pt x="1374343" y="1395571"/>
                  <a:pt x="1374343" y="1391444"/>
                  <a:pt x="1372289" y="1391444"/>
                </a:cubicBezTo>
                <a:cubicBezTo>
                  <a:pt x="1372289" y="1391444"/>
                  <a:pt x="1368180" y="1391444"/>
                  <a:pt x="1370235" y="1389380"/>
                </a:cubicBezTo>
                <a:cubicBezTo>
                  <a:pt x="1372289" y="1385253"/>
                  <a:pt x="1374343" y="1385253"/>
                  <a:pt x="1374343" y="1385253"/>
                </a:cubicBezTo>
                <a:cubicBezTo>
                  <a:pt x="1374343" y="1383189"/>
                  <a:pt x="1376398" y="1383189"/>
                  <a:pt x="1376398" y="1383189"/>
                </a:cubicBezTo>
                <a:cubicBezTo>
                  <a:pt x="1376398" y="1383189"/>
                  <a:pt x="1378452" y="1381125"/>
                  <a:pt x="1382561" y="1381125"/>
                </a:cubicBezTo>
                <a:close/>
                <a:moveTo>
                  <a:pt x="2015086" y="1379538"/>
                </a:moveTo>
                <a:cubicBezTo>
                  <a:pt x="2015086" y="1379538"/>
                  <a:pt x="2019055" y="1379538"/>
                  <a:pt x="2019055" y="1381125"/>
                </a:cubicBezTo>
                <a:cubicBezTo>
                  <a:pt x="2019055" y="1384300"/>
                  <a:pt x="2013102" y="1384300"/>
                  <a:pt x="2013102" y="1382713"/>
                </a:cubicBezTo>
                <a:cubicBezTo>
                  <a:pt x="2011117" y="1379538"/>
                  <a:pt x="2015086" y="1379538"/>
                  <a:pt x="2015086" y="1379538"/>
                </a:cubicBezTo>
                <a:close/>
                <a:moveTo>
                  <a:pt x="224496" y="1372552"/>
                </a:moveTo>
                <a:cubicBezTo>
                  <a:pt x="225224" y="1373584"/>
                  <a:pt x="225709" y="1375648"/>
                  <a:pt x="225709" y="1376680"/>
                </a:cubicBezTo>
                <a:cubicBezTo>
                  <a:pt x="227649" y="1380807"/>
                  <a:pt x="229590" y="1380807"/>
                  <a:pt x="229590" y="1382871"/>
                </a:cubicBezTo>
                <a:cubicBezTo>
                  <a:pt x="231530" y="1384935"/>
                  <a:pt x="229590" y="1386998"/>
                  <a:pt x="227649" y="1384935"/>
                </a:cubicBezTo>
                <a:cubicBezTo>
                  <a:pt x="225709" y="1382871"/>
                  <a:pt x="221828" y="1384935"/>
                  <a:pt x="219888" y="1386998"/>
                </a:cubicBezTo>
                <a:cubicBezTo>
                  <a:pt x="219888" y="1386998"/>
                  <a:pt x="217948" y="1389062"/>
                  <a:pt x="216007" y="1384935"/>
                </a:cubicBezTo>
                <a:cubicBezTo>
                  <a:pt x="214067" y="1382871"/>
                  <a:pt x="217948" y="1380807"/>
                  <a:pt x="217948" y="1380807"/>
                </a:cubicBezTo>
                <a:cubicBezTo>
                  <a:pt x="219888" y="1380807"/>
                  <a:pt x="219888" y="1380807"/>
                  <a:pt x="221828" y="1374616"/>
                </a:cubicBezTo>
                <a:cubicBezTo>
                  <a:pt x="222799" y="1371521"/>
                  <a:pt x="223769" y="1371521"/>
                  <a:pt x="224496" y="1372552"/>
                </a:cubicBezTo>
                <a:close/>
                <a:moveTo>
                  <a:pt x="213750" y="1371600"/>
                </a:moveTo>
                <a:cubicBezTo>
                  <a:pt x="218195" y="1371600"/>
                  <a:pt x="220418" y="1371600"/>
                  <a:pt x="218195" y="1375410"/>
                </a:cubicBezTo>
                <a:cubicBezTo>
                  <a:pt x="218195" y="1379220"/>
                  <a:pt x="213750" y="1381125"/>
                  <a:pt x="213750" y="1379220"/>
                </a:cubicBezTo>
                <a:cubicBezTo>
                  <a:pt x="209305" y="1377315"/>
                  <a:pt x="215973" y="1377315"/>
                  <a:pt x="211528" y="1373505"/>
                </a:cubicBezTo>
                <a:cubicBezTo>
                  <a:pt x="211528" y="1373505"/>
                  <a:pt x="209305" y="1371600"/>
                  <a:pt x="213750" y="1371600"/>
                </a:cubicBezTo>
                <a:close/>
                <a:moveTo>
                  <a:pt x="194337" y="1361381"/>
                </a:moveTo>
                <a:cubicBezTo>
                  <a:pt x="195358" y="1361877"/>
                  <a:pt x="196378" y="1362869"/>
                  <a:pt x="196378" y="1362869"/>
                </a:cubicBezTo>
                <a:lnTo>
                  <a:pt x="198420" y="1364853"/>
                </a:lnTo>
                <a:cubicBezTo>
                  <a:pt x="198420" y="1364853"/>
                  <a:pt x="200461" y="1364853"/>
                  <a:pt x="202502" y="1368822"/>
                </a:cubicBezTo>
                <a:cubicBezTo>
                  <a:pt x="204543" y="1370806"/>
                  <a:pt x="204543" y="1372791"/>
                  <a:pt x="200461" y="1372791"/>
                </a:cubicBezTo>
                <a:cubicBezTo>
                  <a:pt x="198420" y="1374775"/>
                  <a:pt x="196378" y="1368822"/>
                  <a:pt x="196378" y="1368822"/>
                </a:cubicBezTo>
                <a:cubicBezTo>
                  <a:pt x="196378" y="1368822"/>
                  <a:pt x="190255" y="1366838"/>
                  <a:pt x="192296" y="1362869"/>
                </a:cubicBezTo>
                <a:cubicBezTo>
                  <a:pt x="192296" y="1360884"/>
                  <a:pt x="193317" y="1360884"/>
                  <a:pt x="194337" y="1361381"/>
                </a:cubicBezTo>
                <a:close/>
                <a:moveTo>
                  <a:pt x="202161" y="1350963"/>
                </a:moveTo>
                <a:cubicBezTo>
                  <a:pt x="206130" y="1352984"/>
                  <a:pt x="214067" y="1371168"/>
                  <a:pt x="210098" y="1373188"/>
                </a:cubicBezTo>
                <a:cubicBezTo>
                  <a:pt x="206130" y="1373188"/>
                  <a:pt x="206130" y="1369147"/>
                  <a:pt x="206130" y="1369147"/>
                </a:cubicBezTo>
                <a:cubicBezTo>
                  <a:pt x="204145" y="1367127"/>
                  <a:pt x="204145" y="1367127"/>
                  <a:pt x="204145" y="1367127"/>
                </a:cubicBezTo>
                <a:cubicBezTo>
                  <a:pt x="204145" y="1361065"/>
                  <a:pt x="204145" y="1361065"/>
                  <a:pt x="204145" y="1361065"/>
                </a:cubicBezTo>
                <a:cubicBezTo>
                  <a:pt x="204145" y="1359045"/>
                  <a:pt x="204145" y="1359045"/>
                  <a:pt x="204145" y="1359045"/>
                </a:cubicBezTo>
                <a:cubicBezTo>
                  <a:pt x="204145" y="1359045"/>
                  <a:pt x="200176" y="1357024"/>
                  <a:pt x="200176" y="1355004"/>
                </a:cubicBezTo>
                <a:cubicBezTo>
                  <a:pt x="200176" y="1355004"/>
                  <a:pt x="198192" y="1350963"/>
                  <a:pt x="202161" y="1350963"/>
                </a:cubicBezTo>
                <a:close/>
                <a:moveTo>
                  <a:pt x="191842" y="1343025"/>
                </a:moveTo>
                <a:cubicBezTo>
                  <a:pt x="198192" y="1347258"/>
                  <a:pt x="196075" y="1347258"/>
                  <a:pt x="191842" y="1347258"/>
                </a:cubicBezTo>
                <a:cubicBezTo>
                  <a:pt x="185492" y="1349375"/>
                  <a:pt x="185492" y="1349375"/>
                  <a:pt x="185492" y="1345142"/>
                </a:cubicBezTo>
                <a:cubicBezTo>
                  <a:pt x="185492" y="1343025"/>
                  <a:pt x="191842" y="1343025"/>
                  <a:pt x="191842" y="1343025"/>
                </a:cubicBezTo>
                <a:close/>
                <a:moveTo>
                  <a:pt x="136497" y="1337090"/>
                </a:moveTo>
                <a:cubicBezTo>
                  <a:pt x="140393" y="1337090"/>
                  <a:pt x="142342" y="1337090"/>
                  <a:pt x="144290" y="1341093"/>
                </a:cubicBezTo>
                <a:cubicBezTo>
                  <a:pt x="144290" y="1345096"/>
                  <a:pt x="146238" y="1341093"/>
                  <a:pt x="146238" y="1341093"/>
                </a:cubicBezTo>
                <a:cubicBezTo>
                  <a:pt x="146238" y="1341093"/>
                  <a:pt x="152083" y="1337090"/>
                  <a:pt x="152083" y="1341093"/>
                </a:cubicBezTo>
                <a:cubicBezTo>
                  <a:pt x="152083" y="1345096"/>
                  <a:pt x="154032" y="1343095"/>
                  <a:pt x="154032" y="1341093"/>
                </a:cubicBezTo>
                <a:cubicBezTo>
                  <a:pt x="154032" y="1337090"/>
                  <a:pt x="157928" y="1339091"/>
                  <a:pt x="157928" y="1339091"/>
                </a:cubicBezTo>
                <a:cubicBezTo>
                  <a:pt x="157928" y="1339091"/>
                  <a:pt x="159876" y="1339091"/>
                  <a:pt x="163773" y="1341093"/>
                </a:cubicBezTo>
                <a:cubicBezTo>
                  <a:pt x="169618" y="1341093"/>
                  <a:pt x="165721" y="1347098"/>
                  <a:pt x="163773" y="1349100"/>
                </a:cubicBezTo>
                <a:cubicBezTo>
                  <a:pt x="159876" y="1351101"/>
                  <a:pt x="157928" y="1357106"/>
                  <a:pt x="155980" y="1359108"/>
                </a:cubicBezTo>
                <a:cubicBezTo>
                  <a:pt x="155980" y="1361109"/>
                  <a:pt x="154032" y="1369116"/>
                  <a:pt x="152083" y="1373119"/>
                </a:cubicBezTo>
                <a:cubicBezTo>
                  <a:pt x="150135" y="1377122"/>
                  <a:pt x="150135" y="1377122"/>
                  <a:pt x="152083" y="1377122"/>
                </a:cubicBezTo>
                <a:cubicBezTo>
                  <a:pt x="152083" y="1377122"/>
                  <a:pt x="154032" y="1377122"/>
                  <a:pt x="154032" y="1379124"/>
                </a:cubicBezTo>
                <a:cubicBezTo>
                  <a:pt x="154032" y="1381126"/>
                  <a:pt x="152083" y="1381126"/>
                  <a:pt x="148187" y="1385129"/>
                </a:cubicBezTo>
                <a:cubicBezTo>
                  <a:pt x="148187" y="1387131"/>
                  <a:pt x="152083" y="1387131"/>
                  <a:pt x="152083" y="1385129"/>
                </a:cubicBezTo>
                <a:cubicBezTo>
                  <a:pt x="152083" y="1385129"/>
                  <a:pt x="157928" y="1385129"/>
                  <a:pt x="157928" y="1387131"/>
                </a:cubicBezTo>
                <a:cubicBezTo>
                  <a:pt x="157928" y="1389132"/>
                  <a:pt x="152083" y="1389132"/>
                  <a:pt x="152083" y="1391134"/>
                </a:cubicBezTo>
                <a:cubicBezTo>
                  <a:pt x="154032" y="1393135"/>
                  <a:pt x="155980" y="1391134"/>
                  <a:pt x="157928" y="1393135"/>
                </a:cubicBezTo>
                <a:cubicBezTo>
                  <a:pt x="159876" y="1393135"/>
                  <a:pt x="157928" y="1395137"/>
                  <a:pt x="155980" y="1395137"/>
                </a:cubicBezTo>
                <a:cubicBezTo>
                  <a:pt x="154032" y="1395137"/>
                  <a:pt x="155980" y="1397139"/>
                  <a:pt x="155980" y="1397139"/>
                </a:cubicBezTo>
                <a:cubicBezTo>
                  <a:pt x="155980" y="1397139"/>
                  <a:pt x="159876" y="1397139"/>
                  <a:pt x="155980" y="1401142"/>
                </a:cubicBezTo>
                <a:cubicBezTo>
                  <a:pt x="154032" y="1405145"/>
                  <a:pt x="157928" y="1403144"/>
                  <a:pt x="157928" y="1405145"/>
                </a:cubicBezTo>
                <a:cubicBezTo>
                  <a:pt x="159876" y="1405145"/>
                  <a:pt x="161825" y="1411150"/>
                  <a:pt x="161825" y="1411150"/>
                </a:cubicBezTo>
                <a:cubicBezTo>
                  <a:pt x="161825" y="1411150"/>
                  <a:pt x="163773" y="1415153"/>
                  <a:pt x="163773" y="1417155"/>
                </a:cubicBezTo>
                <a:cubicBezTo>
                  <a:pt x="165721" y="1419157"/>
                  <a:pt x="161825" y="1423160"/>
                  <a:pt x="161825" y="1423160"/>
                </a:cubicBezTo>
                <a:cubicBezTo>
                  <a:pt x="161825" y="1423160"/>
                  <a:pt x="159876" y="1427163"/>
                  <a:pt x="159876" y="1427163"/>
                </a:cubicBezTo>
                <a:cubicBezTo>
                  <a:pt x="157928" y="1427163"/>
                  <a:pt x="159876" y="1423160"/>
                  <a:pt x="159876" y="1421158"/>
                </a:cubicBezTo>
                <a:cubicBezTo>
                  <a:pt x="159876" y="1419157"/>
                  <a:pt x="159876" y="1419157"/>
                  <a:pt x="159876" y="1419157"/>
                </a:cubicBezTo>
                <a:cubicBezTo>
                  <a:pt x="157928" y="1419157"/>
                  <a:pt x="157928" y="1415153"/>
                  <a:pt x="157928" y="1415153"/>
                </a:cubicBezTo>
                <a:cubicBezTo>
                  <a:pt x="157928" y="1415153"/>
                  <a:pt x="155980" y="1417155"/>
                  <a:pt x="152083" y="1417155"/>
                </a:cubicBezTo>
                <a:cubicBezTo>
                  <a:pt x="148187" y="1419157"/>
                  <a:pt x="150135" y="1415153"/>
                  <a:pt x="150135" y="1411150"/>
                </a:cubicBezTo>
                <a:cubicBezTo>
                  <a:pt x="150135" y="1409148"/>
                  <a:pt x="150135" y="1407147"/>
                  <a:pt x="146238" y="1403144"/>
                </a:cubicBezTo>
                <a:cubicBezTo>
                  <a:pt x="142342" y="1401142"/>
                  <a:pt x="144290" y="1395137"/>
                  <a:pt x="146238" y="1393135"/>
                </a:cubicBezTo>
                <a:cubicBezTo>
                  <a:pt x="146238" y="1391134"/>
                  <a:pt x="140393" y="1391134"/>
                  <a:pt x="140393" y="1389132"/>
                </a:cubicBezTo>
                <a:cubicBezTo>
                  <a:pt x="138445" y="1389132"/>
                  <a:pt x="142342" y="1387131"/>
                  <a:pt x="142342" y="1385129"/>
                </a:cubicBezTo>
                <a:cubicBezTo>
                  <a:pt x="142342" y="1385129"/>
                  <a:pt x="142342" y="1383127"/>
                  <a:pt x="138445" y="1383127"/>
                </a:cubicBezTo>
                <a:cubicBezTo>
                  <a:pt x="136497" y="1383127"/>
                  <a:pt x="138445" y="1379124"/>
                  <a:pt x="138445" y="1377122"/>
                </a:cubicBezTo>
                <a:cubicBezTo>
                  <a:pt x="138445" y="1375121"/>
                  <a:pt x="138445" y="1375121"/>
                  <a:pt x="136497" y="1371117"/>
                </a:cubicBezTo>
                <a:cubicBezTo>
                  <a:pt x="132600" y="1367114"/>
                  <a:pt x="138445" y="1369116"/>
                  <a:pt x="138445" y="1369116"/>
                </a:cubicBezTo>
                <a:cubicBezTo>
                  <a:pt x="138445" y="1369116"/>
                  <a:pt x="138445" y="1369116"/>
                  <a:pt x="140393" y="1367114"/>
                </a:cubicBezTo>
                <a:cubicBezTo>
                  <a:pt x="142342" y="1367114"/>
                  <a:pt x="140393" y="1367114"/>
                  <a:pt x="136497" y="1367114"/>
                </a:cubicBezTo>
                <a:cubicBezTo>
                  <a:pt x="134548" y="1367114"/>
                  <a:pt x="132600" y="1363111"/>
                  <a:pt x="132600" y="1363111"/>
                </a:cubicBezTo>
                <a:cubicBezTo>
                  <a:pt x="132600" y="1363111"/>
                  <a:pt x="132600" y="1363111"/>
                  <a:pt x="130652" y="1357106"/>
                </a:cubicBezTo>
                <a:cubicBezTo>
                  <a:pt x="130652" y="1357106"/>
                  <a:pt x="132600" y="1355104"/>
                  <a:pt x="128703" y="1351101"/>
                </a:cubicBezTo>
                <a:cubicBezTo>
                  <a:pt x="126755" y="1349100"/>
                  <a:pt x="128703" y="1347098"/>
                  <a:pt x="130652" y="1347098"/>
                </a:cubicBezTo>
                <a:cubicBezTo>
                  <a:pt x="132600" y="1345096"/>
                  <a:pt x="134548" y="1341093"/>
                  <a:pt x="134548" y="1341093"/>
                </a:cubicBezTo>
                <a:cubicBezTo>
                  <a:pt x="134548" y="1341093"/>
                  <a:pt x="134548" y="1335088"/>
                  <a:pt x="136497" y="1337090"/>
                </a:cubicBezTo>
                <a:close/>
                <a:moveTo>
                  <a:pt x="1400988" y="1333500"/>
                </a:moveTo>
                <a:cubicBezTo>
                  <a:pt x="1403105" y="1333500"/>
                  <a:pt x="1403105" y="1333500"/>
                  <a:pt x="1403105" y="1335617"/>
                </a:cubicBezTo>
                <a:cubicBezTo>
                  <a:pt x="1403105" y="1339850"/>
                  <a:pt x="1398872" y="1339850"/>
                  <a:pt x="1398872" y="1337733"/>
                </a:cubicBezTo>
                <a:cubicBezTo>
                  <a:pt x="1396755" y="1337733"/>
                  <a:pt x="1400988" y="1333500"/>
                  <a:pt x="1400988" y="1333500"/>
                </a:cubicBezTo>
                <a:close/>
                <a:moveTo>
                  <a:pt x="1944972" y="1304925"/>
                </a:moveTo>
                <a:cubicBezTo>
                  <a:pt x="1944972" y="1304925"/>
                  <a:pt x="1947088" y="1304925"/>
                  <a:pt x="1949205" y="1307306"/>
                </a:cubicBezTo>
                <a:cubicBezTo>
                  <a:pt x="1949205" y="1309687"/>
                  <a:pt x="1944972" y="1309687"/>
                  <a:pt x="1944972" y="1307306"/>
                </a:cubicBezTo>
                <a:cubicBezTo>
                  <a:pt x="1942855" y="1304925"/>
                  <a:pt x="1944972" y="1304925"/>
                  <a:pt x="1944972" y="1304925"/>
                </a:cubicBezTo>
                <a:close/>
                <a:moveTo>
                  <a:pt x="1947618" y="1296988"/>
                </a:moveTo>
                <a:cubicBezTo>
                  <a:pt x="1947618" y="1296988"/>
                  <a:pt x="1950793" y="1299105"/>
                  <a:pt x="1950793" y="1299105"/>
                </a:cubicBezTo>
                <a:cubicBezTo>
                  <a:pt x="1950793" y="1301221"/>
                  <a:pt x="1950793" y="1303338"/>
                  <a:pt x="1947618" y="1301221"/>
                </a:cubicBezTo>
                <a:cubicBezTo>
                  <a:pt x="1946030" y="1299105"/>
                  <a:pt x="1947618" y="1296988"/>
                  <a:pt x="1947618" y="1296988"/>
                </a:cubicBezTo>
                <a:close/>
                <a:moveTo>
                  <a:pt x="1436840" y="1268770"/>
                </a:moveTo>
                <a:cubicBezTo>
                  <a:pt x="1437832" y="1268492"/>
                  <a:pt x="1438824" y="1269048"/>
                  <a:pt x="1438824" y="1269048"/>
                </a:cubicBezTo>
                <a:cubicBezTo>
                  <a:pt x="1440809" y="1266825"/>
                  <a:pt x="1442793" y="1275715"/>
                  <a:pt x="1440809" y="1275715"/>
                </a:cubicBezTo>
                <a:cubicBezTo>
                  <a:pt x="1438824" y="1277937"/>
                  <a:pt x="1434855" y="1277937"/>
                  <a:pt x="1434855" y="1273492"/>
                </a:cubicBezTo>
                <a:cubicBezTo>
                  <a:pt x="1434855" y="1270159"/>
                  <a:pt x="1435847" y="1269048"/>
                  <a:pt x="1436840" y="1268770"/>
                </a:cubicBezTo>
                <a:close/>
                <a:moveTo>
                  <a:pt x="1897611" y="1263650"/>
                </a:moveTo>
                <a:cubicBezTo>
                  <a:pt x="1901580" y="1263650"/>
                  <a:pt x="1901580" y="1266825"/>
                  <a:pt x="1901580" y="1266825"/>
                </a:cubicBezTo>
                <a:cubicBezTo>
                  <a:pt x="1901580" y="1266825"/>
                  <a:pt x="1897611" y="1266825"/>
                  <a:pt x="1895627" y="1265238"/>
                </a:cubicBezTo>
                <a:cubicBezTo>
                  <a:pt x="1893642" y="1265238"/>
                  <a:pt x="1897611" y="1263650"/>
                  <a:pt x="1897611" y="1263650"/>
                </a:cubicBezTo>
                <a:close/>
                <a:moveTo>
                  <a:pt x="1876180" y="1255713"/>
                </a:moveTo>
                <a:cubicBezTo>
                  <a:pt x="1878165" y="1254125"/>
                  <a:pt x="1880149" y="1255713"/>
                  <a:pt x="1880149" y="1255713"/>
                </a:cubicBezTo>
                <a:cubicBezTo>
                  <a:pt x="1884118" y="1257300"/>
                  <a:pt x="1880149" y="1257300"/>
                  <a:pt x="1880149" y="1257300"/>
                </a:cubicBezTo>
                <a:cubicBezTo>
                  <a:pt x="1880149" y="1257300"/>
                  <a:pt x="1876180" y="1257300"/>
                  <a:pt x="1876180" y="1255713"/>
                </a:cubicBezTo>
                <a:close/>
                <a:moveTo>
                  <a:pt x="1457080" y="1249703"/>
                </a:moveTo>
                <a:cubicBezTo>
                  <a:pt x="1461049" y="1247775"/>
                  <a:pt x="1461049" y="1249703"/>
                  <a:pt x="1461049" y="1251630"/>
                </a:cubicBezTo>
                <a:cubicBezTo>
                  <a:pt x="1461049" y="1253558"/>
                  <a:pt x="1459065" y="1255486"/>
                  <a:pt x="1463034" y="1255486"/>
                </a:cubicBezTo>
                <a:cubicBezTo>
                  <a:pt x="1465018" y="1255486"/>
                  <a:pt x="1463034" y="1257413"/>
                  <a:pt x="1463034" y="1261269"/>
                </a:cubicBezTo>
                <a:cubicBezTo>
                  <a:pt x="1461049" y="1263196"/>
                  <a:pt x="1459065" y="1263196"/>
                  <a:pt x="1457080" y="1263196"/>
                </a:cubicBezTo>
                <a:cubicBezTo>
                  <a:pt x="1455096" y="1263196"/>
                  <a:pt x="1459065" y="1263196"/>
                  <a:pt x="1459065" y="1265124"/>
                </a:cubicBezTo>
                <a:cubicBezTo>
                  <a:pt x="1459065" y="1267052"/>
                  <a:pt x="1455096" y="1267052"/>
                  <a:pt x="1453112" y="1267052"/>
                </a:cubicBezTo>
                <a:cubicBezTo>
                  <a:pt x="1451127" y="1267052"/>
                  <a:pt x="1453112" y="1268979"/>
                  <a:pt x="1453112" y="1270907"/>
                </a:cubicBezTo>
                <a:cubicBezTo>
                  <a:pt x="1453112" y="1272834"/>
                  <a:pt x="1449143" y="1274762"/>
                  <a:pt x="1449143" y="1270907"/>
                </a:cubicBezTo>
                <a:cubicBezTo>
                  <a:pt x="1447158" y="1267052"/>
                  <a:pt x="1447158" y="1270907"/>
                  <a:pt x="1445174" y="1268979"/>
                </a:cubicBezTo>
                <a:cubicBezTo>
                  <a:pt x="1441205" y="1267052"/>
                  <a:pt x="1443190" y="1265124"/>
                  <a:pt x="1443190" y="1265124"/>
                </a:cubicBezTo>
                <a:cubicBezTo>
                  <a:pt x="1443190" y="1259341"/>
                  <a:pt x="1449143" y="1259341"/>
                  <a:pt x="1449143" y="1257413"/>
                </a:cubicBezTo>
                <a:cubicBezTo>
                  <a:pt x="1451127" y="1255486"/>
                  <a:pt x="1451127" y="1255486"/>
                  <a:pt x="1451127" y="1253558"/>
                </a:cubicBezTo>
                <a:cubicBezTo>
                  <a:pt x="1451127" y="1249703"/>
                  <a:pt x="1455096" y="1249703"/>
                  <a:pt x="1457080" y="1249703"/>
                </a:cubicBezTo>
                <a:close/>
                <a:moveTo>
                  <a:pt x="1891262" y="1249363"/>
                </a:moveTo>
                <a:cubicBezTo>
                  <a:pt x="1891262" y="1249363"/>
                  <a:pt x="1893643" y="1249363"/>
                  <a:pt x="1893643" y="1253596"/>
                </a:cubicBezTo>
                <a:cubicBezTo>
                  <a:pt x="1893643" y="1255713"/>
                  <a:pt x="1891262" y="1255713"/>
                  <a:pt x="1888880" y="1253596"/>
                </a:cubicBezTo>
                <a:cubicBezTo>
                  <a:pt x="1888880" y="1251480"/>
                  <a:pt x="1891262" y="1249363"/>
                  <a:pt x="1891262" y="1249363"/>
                </a:cubicBezTo>
                <a:close/>
                <a:moveTo>
                  <a:pt x="1883588" y="1249363"/>
                </a:moveTo>
                <a:cubicBezTo>
                  <a:pt x="1883588" y="1249363"/>
                  <a:pt x="1885705" y="1249363"/>
                  <a:pt x="1885705" y="1251744"/>
                </a:cubicBezTo>
                <a:cubicBezTo>
                  <a:pt x="1885705" y="1254125"/>
                  <a:pt x="1883588" y="1254125"/>
                  <a:pt x="1881472" y="1254125"/>
                </a:cubicBezTo>
                <a:cubicBezTo>
                  <a:pt x="1879355" y="1251744"/>
                  <a:pt x="1883588" y="1249363"/>
                  <a:pt x="1883588" y="1249363"/>
                </a:cubicBezTo>
                <a:close/>
                <a:moveTo>
                  <a:pt x="1887822" y="1243013"/>
                </a:moveTo>
                <a:cubicBezTo>
                  <a:pt x="1887822" y="1243013"/>
                  <a:pt x="1889938" y="1243013"/>
                  <a:pt x="1889938" y="1245130"/>
                </a:cubicBezTo>
                <a:cubicBezTo>
                  <a:pt x="1892055" y="1245130"/>
                  <a:pt x="1887822" y="1249363"/>
                  <a:pt x="1887822" y="1247246"/>
                </a:cubicBezTo>
                <a:cubicBezTo>
                  <a:pt x="1885705" y="1245130"/>
                  <a:pt x="1887822" y="1243013"/>
                  <a:pt x="1887822" y="1243013"/>
                </a:cubicBezTo>
                <a:close/>
                <a:moveTo>
                  <a:pt x="1893642" y="1241425"/>
                </a:moveTo>
                <a:cubicBezTo>
                  <a:pt x="1893642" y="1239838"/>
                  <a:pt x="1895759" y="1241425"/>
                  <a:pt x="1895759" y="1241425"/>
                </a:cubicBezTo>
                <a:cubicBezTo>
                  <a:pt x="1895759" y="1241425"/>
                  <a:pt x="1899992" y="1241425"/>
                  <a:pt x="1897875" y="1243013"/>
                </a:cubicBezTo>
                <a:cubicBezTo>
                  <a:pt x="1897875" y="1244600"/>
                  <a:pt x="1893642" y="1244600"/>
                  <a:pt x="1893642" y="1241425"/>
                </a:cubicBezTo>
                <a:close/>
                <a:moveTo>
                  <a:pt x="1450730" y="1238885"/>
                </a:moveTo>
                <a:cubicBezTo>
                  <a:pt x="1452318" y="1236662"/>
                  <a:pt x="1452318" y="1238885"/>
                  <a:pt x="1452318" y="1241107"/>
                </a:cubicBezTo>
                <a:cubicBezTo>
                  <a:pt x="1453905" y="1245552"/>
                  <a:pt x="1452318" y="1247774"/>
                  <a:pt x="1452318" y="1245552"/>
                </a:cubicBezTo>
                <a:cubicBezTo>
                  <a:pt x="1450730" y="1243329"/>
                  <a:pt x="1450730" y="1238885"/>
                  <a:pt x="1450730" y="1238885"/>
                </a:cubicBezTo>
                <a:close/>
                <a:moveTo>
                  <a:pt x="1881472" y="1238780"/>
                </a:moveTo>
                <a:cubicBezTo>
                  <a:pt x="1885705" y="1236663"/>
                  <a:pt x="1885705" y="1243013"/>
                  <a:pt x="1883588" y="1243013"/>
                </a:cubicBezTo>
                <a:cubicBezTo>
                  <a:pt x="1879355" y="1240896"/>
                  <a:pt x="1881472" y="1238780"/>
                  <a:pt x="1881472" y="1238780"/>
                </a:cubicBezTo>
                <a:close/>
                <a:moveTo>
                  <a:pt x="1890997" y="1233488"/>
                </a:moveTo>
                <a:cubicBezTo>
                  <a:pt x="1890997" y="1233488"/>
                  <a:pt x="1895230" y="1233488"/>
                  <a:pt x="1895230" y="1235076"/>
                </a:cubicBezTo>
                <a:cubicBezTo>
                  <a:pt x="1895230" y="1236663"/>
                  <a:pt x="1893113" y="1236663"/>
                  <a:pt x="1890997" y="1236663"/>
                </a:cubicBezTo>
                <a:cubicBezTo>
                  <a:pt x="1888880" y="1235076"/>
                  <a:pt x="1890997" y="1233488"/>
                  <a:pt x="1890997" y="1233488"/>
                </a:cubicBezTo>
                <a:close/>
                <a:moveTo>
                  <a:pt x="1448613" y="1233487"/>
                </a:moveTo>
                <a:cubicBezTo>
                  <a:pt x="1450730" y="1235075"/>
                  <a:pt x="1448613" y="1235075"/>
                  <a:pt x="1448613" y="1235075"/>
                </a:cubicBezTo>
                <a:cubicBezTo>
                  <a:pt x="1448613" y="1235075"/>
                  <a:pt x="1444380" y="1236662"/>
                  <a:pt x="1446497" y="1235075"/>
                </a:cubicBezTo>
                <a:cubicBezTo>
                  <a:pt x="1448613" y="1231900"/>
                  <a:pt x="1448613" y="1233487"/>
                  <a:pt x="1448613" y="1233487"/>
                </a:cubicBezTo>
                <a:close/>
                <a:moveTo>
                  <a:pt x="1486713" y="1217612"/>
                </a:moveTo>
                <a:cubicBezTo>
                  <a:pt x="1486713" y="1217612"/>
                  <a:pt x="1488830" y="1217612"/>
                  <a:pt x="1488830" y="1219729"/>
                </a:cubicBezTo>
                <a:cubicBezTo>
                  <a:pt x="1488830" y="1221845"/>
                  <a:pt x="1484597" y="1223962"/>
                  <a:pt x="1484597" y="1219729"/>
                </a:cubicBezTo>
                <a:cubicBezTo>
                  <a:pt x="1482480" y="1217612"/>
                  <a:pt x="1486713" y="1217612"/>
                  <a:pt x="1486713" y="1217612"/>
                </a:cubicBezTo>
                <a:close/>
                <a:moveTo>
                  <a:pt x="1883059" y="1212057"/>
                </a:moveTo>
                <a:cubicBezTo>
                  <a:pt x="1887292" y="1208088"/>
                  <a:pt x="1887292" y="1216025"/>
                  <a:pt x="1885175" y="1216025"/>
                </a:cubicBezTo>
                <a:cubicBezTo>
                  <a:pt x="1880942" y="1216025"/>
                  <a:pt x="1883059" y="1212057"/>
                  <a:pt x="1883059" y="1212057"/>
                </a:cubicBezTo>
                <a:close/>
                <a:moveTo>
                  <a:pt x="1889409" y="1211792"/>
                </a:moveTo>
                <a:cubicBezTo>
                  <a:pt x="1891525" y="1211792"/>
                  <a:pt x="1891525" y="1209675"/>
                  <a:pt x="1893642" y="1211792"/>
                </a:cubicBezTo>
                <a:cubicBezTo>
                  <a:pt x="1893642" y="1213908"/>
                  <a:pt x="1893642" y="1216025"/>
                  <a:pt x="1891525" y="1216025"/>
                </a:cubicBezTo>
                <a:cubicBezTo>
                  <a:pt x="1889409" y="1213908"/>
                  <a:pt x="1889409" y="1213908"/>
                  <a:pt x="1889409" y="1213908"/>
                </a:cubicBezTo>
                <a:cubicBezTo>
                  <a:pt x="1889409" y="1213908"/>
                  <a:pt x="1887292" y="1211792"/>
                  <a:pt x="1889409" y="1211792"/>
                </a:cubicBezTo>
                <a:close/>
                <a:moveTo>
                  <a:pt x="1448348" y="1210567"/>
                </a:moveTo>
                <a:cubicBezTo>
                  <a:pt x="1449142" y="1211064"/>
                  <a:pt x="1450200" y="1212056"/>
                  <a:pt x="1450200" y="1212056"/>
                </a:cubicBezTo>
                <a:cubicBezTo>
                  <a:pt x="1450200" y="1212056"/>
                  <a:pt x="1452317" y="1212056"/>
                  <a:pt x="1452317" y="1214040"/>
                </a:cubicBezTo>
                <a:cubicBezTo>
                  <a:pt x="1450200" y="1216024"/>
                  <a:pt x="1448084" y="1214040"/>
                  <a:pt x="1448084" y="1212056"/>
                </a:cubicBezTo>
                <a:cubicBezTo>
                  <a:pt x="1447025" y="1210071"/>
                  <a:pt x="1447555" y="1210071"/>
                  <a:pt x="1448348" y="1210567"/>
                </a:cubicBezTo>
                <a:close/>
                <a:moveTo>
                  <a:pt x="1450730" y="1205706"/>
                </a:moveTo>
                <a:cubicBezTo>
                  <a:pt x="1452318" y="1203325"/>
                  <a:pt x="1452318" y="1208087"/>
                  <a:pt x="1452318" y="1208087"/>
                </a:cubicBezTo>
                <a:cubicBezTo>
                  <a:pt x="1450730" y="1208087"/>
                  <a:pt x="1450730" y="1205706"/>
                  <a:pt x="1450730" y="1205706"/>
                </a:cubicBezTo>
                <a:close/>
                <a:moveTo>
                  <a:pt x="1890997" y="1203325"/>
                </a:moveTo>
                <a:cubicBezTo>
                  <a:pt x="1890997" y="1203325"/>
                  <a:pt x="1895230" y="1203325"/>
                  <a:pt x="1895230" y="1203325"/>
                </a:cubicBezTo>
                <a:cubicBezTo>
                  <a:pt x="1895230" y="1205706"/>
                  <a:pt x="1893113" y="1208087"/>
                  <a:pt x="1890997" y="1205706"/>
                </a:cubicBezTo>
                <a:cubicBezTo>
                  <a:pt x="1888880" y="1203325"/>
                  <a:pt x="1890997" y="1203325"/>
                  <a:pt x="1890997" y="1203325"/>
                </a:cubicBezTo>
                <a:close/>
                <a:moveTo>
                  <a:pt x="1883059" y="1203325"/>
                </a:moveTo>
                <a:cubicBezTo>
                  <a:pt x="1883059" y="1203325"/>
                  <a:pt x="1887292" y="1203325"/>
                  <a:pt x="1887292" y="1205706"/>
                </a:cubicBezTo>
                <a:cubicBezTo>
                  <a:pt x="1887292" y="1208087"/>
                  <a:pt x="1885175" y="1208087"/>
                  <a:pt x="1883059" y="1205706"/>
                </a:cubicBezTo>
                <a:cubicBezTo>
                  <a:pt x="1880942" y="1203325"/>
                  <a:pt x="1883059" y="1203325"/>
                  <a:pt x="1883059" y="1203325"/>
                </a:cubicBezTo>
                <a:close/>
                <a:moveTo>
                  <a:pt x="1885705" y="1195917"/>
                </a:moveTo>
                <a:cubicBezTo>
                  <a:pt x="1885705" y="1195917"/>
                  <a:pt x="1887292" y="1193800"/>
                  <a:pt x="1887292" y="1195917"/>
                </a:cubicBezTo>
                <a:cubicBezTo>
                  <a:pt x="1887292" y="1198033"/>
                  <a:pt x="1885705" y="1200150"/>
                  <a:pt x="1884117" y="1198033"/>
                </a:cubicBezTo>
                <a:cubicBezTo>
                  <a:pt x="1884117" y="1195917"/>
                  <a:pt x="1885705" y="1195917"/>
                  <a:pt x="1885705" y="1195917"/>
                </a:cubicBezTo>
                <a:close/>
                <a:moveTo>
                  <a:pt x="1883059" y="1187450"/>
                </a:moveTo>
                <a:cubicBezTo>
                  <a:pt x="1883059" y="1187450"/>
                  <a:pt x="1887292" y="1187450"/>
                  <a:pt x="1887292" y="1189567"/>
                </a:cubicBezTo>
                <a:cubicBezTo>
                  <a:pt x="1887292" y="1189567"/>
                  <a:pt x="1885175" y="1193800"/>
                  <a:pt x="1883059" y="1189567"/>
                </a:cubicBezTo>
                <a:cubicBezTo>
                  <a:pt x="1880942" y="1189567"/>
                  <a:pt x="1883059" y="1187450"/>
                  <a:pt x="1883059" y="1187450"/>
                </a:cubicBezTo>
                <a:close/>
                <a:moveTo>
                  <a:pt x="1434325" y="1171575"/>
                </a:moveTo>
                <a:cubicBezTo>
                  <a:pt x="1434325" y="1171575"/>
                  <a:pt x="1434325" y="1171575"/>
                  <a:pt x="1436442" y="1173956"/>
                </a:cubicBezTo>
                <a:cubicBezTo>
                  <a:pt x="1436442" y="1173956"/>
                  <a:pt x="1434325" y="1176337"/>
                  <a:pt x="1432209" y="1173956"/>
                </a:cubicBezTo>
                <a:cubicBezTo>
                  <a:pt x="1430092" y="1173956"/>
                  <a:pt x="1434325" y="1171575"/>
                  <a:pt x="1434325" y="1171575"/>
                </a:cubicBezTo>
                <a:close/>
                <a:moveTo>
                  <a:pt x="1433267" y="1166812"/>
                </a:moveTo>
                <a:cubicBezTo>
                  <a:pt x="1433267" y="1166812"/>
                  <a:pt x="1434855" y="1166812"/>
                  <a:pt x="1434855" y="1169193"/>
                </a:cubicBezTo>
                <a:cubicBezTo>
                  <a:pt x="1434855" y="1171574"/>
                  <a:pt x="1433267" y="1169193"/>
                  <a:pt x="1433267" y="1169193"/>
                </a:cubicBezTo>
                <a:cubicBezTo>
                  <a:pt x="1433267" y="1169193"/>
                  <a:pt x="1433267" y="1169193"/>
                  <a:pt x="1433267" y="1166812"/>
                </a:cubicBezTo>
                <a:close/>
                <a:moveTo>
                  <a:pt x="1454434" y="1122362"/>
                </a:moveTo>
                <a:cubicBezTo>
                  <a:pt x="1454434" y="1122362"/>
                  <a:pt x="1458667" y="1122362"/>
                  <a:pt x="1458667" y="1123950"/>
                </a:cubicBezTo>
                <a:cubicBezTo>
                  <a:pt x="1458667" y="1123950"/>
                  <a:pt x="1456550" y="1125537"/>
                  <a:pt x="1454434" y="1123950"/>
                </a:cubicBezTo>
                <a:cubicBezTo>
                  <a:pt x="1452317" y="1122362"/>
                  <a:pt x="1454434" y="1122362"/>
                  <a:pt x="1454434" y="1122362"/>
                </a:cubicBezTo>
                <a:close/>
                <a:moveTo>
                  <a:pt x="1459065" y="1114425"/>
                </a:moveTo>
                <a:cubicBezTo>
                  <a:pt x="1461049" y="1114425"/>
                  <a:pt x="1465018" y="1114425"/>
                  <a:pt x="1463034" y="1116013"/>
                </a:cubicBezTo>
                <a:cubicBezTo>
                  <a:pt x="1463034" y="1116013"/>
                  <a:pt x="1463034" y="1117600"/>
                  <a:pt x="1459065" y="1117600"/>
                </a:cubicBezTo>
                <a:cubicBezTo>
                  <a:pt x="1457080" y="1116013"/>
                  <a:pt x="1459065" y="1114425"/>
                  <a:pt x="1459065" y="1114425"/>
                </a:cubicBezTo>
                <a:close/>
                <a:moveTo>
                  <a:pt x="1749577" y="1083204"/>
                </a:moveTo>
                <a:cubicBezTo>
                  <a:pt x="1751561" y="1081087"/>
                  <a:pt x="1751561" y="1081087"/>
                  <a:pt x="1755530" y="1083204"/>
                </a:cubicBezTo>
                <a:cubicBezTo>
                  <a:pt x="1755530" y="1085320"/>
                  <a:pt x="1755530" y="1087437"/>
                  <a:pt x="1753546" y="1089554"/>
                </a:cubicBezTo>
                <a:cubicBezTo>
                  <a:pt x="1751561" y="1091670"/>
                  <a:pt x="1749577" y="1093787"/>
                  <a:pt x="1743624" y="1098020"/>
                </a:cubicBezTo>
                <a:cubicBezTo>
                  <a:pt x="1739655" y="1100137"/>
                  <a:pt x="1739655" y="1098020"/>
                  <a:pt x="1739655" y="1093787"/>
                </a:cubicBezTo>
                <a:cubicBezTo>
                  <a:pt x="1739655" y="1089554"/>
                  <a:pt x="1745608" y="1085320"/>
                  <a:pt x="1745608" y="1085320"/>
                </a:cubicBezTo>
                <a:cubicBezTo>
                  <a:pt x="1745608" y="1085320"/>
                  <a:pt x="1747593" y="1085320"/>
                  <a:pt x="1749577" y="1083204"/>
                </a:cubicBezTo>
                <a:close/>
                <a:moveTo>
                  <a:pt x="1830936" y="1076325"/>
                </a:moveTo>
                <a:cubicBezTo>
                  <a:pt x="1830936" y="1076325"/>
                  <a:pt x="1834905" y="1078230"/>
                  <a:pt x="1834905" y="1082040"/>
                </a:cubicBezTo>
                <a:cubicBezTo>
                  <a:pt x="1834905" y="1085850"/>
                  <a:pt x="1830936" y="1082040"/>
                  <a:pt x="1828952" y="1078230"/>
                </a:cubicBezTo>
                <a:cubicBezTo>
                  <a:pt x="1826967" y="1076325"/>
                  <a:pt x="1830936" y="1076325"/>
                  <a:pt x="1830936" y="1076325"/>
                </a:cubicBezTo>
                <a:close/>
                <a:moveTo>
                  <a:pt x="1826086" y="1038225"/>
                </a:moveTo>
                <a:cubicBezTo>
                  <a:pt x="1826086" y="1038225"/>
                  <a:pt x="1829966" y="1040210"/>
                  <a:pt x="1833847" y="1040210"/>
                </a:cubicBezTo>
                <a:cubicBezTo>
                  <a:pt x="1839668" y="1042194"/>
                  <a:pt x="1837728" y="1044178"/>
                  <a:pt x="1837728" y="1044178"/>
                </a:cubicBezTo>
                <a:cubicBezTo>
                  <a:pt x="1835787" y="1044178"/>
                  <a:pt x="1833847" y="1048147"/>
                  <a:pt x="1833847" y="1050131"/>
                </a:cubicBezTo>
                <a:cubicBezTo>
                  <a:pt x="1833847" y="1052116"/>
                  <a:pt x="1831907" y="1054100"/>
                  <a:pt x="1829966" y="1054100"/>
                </a:cubicBezTo>
                <a:cubicBezTo>
                  <a:pt x="1828026" y="1054100"/>
                  <a:pt x="1828026" y="1052116"/>
                  <a:pt x="1828026" y="1048147"/>
                </a:cubicBezTo>
                <a:cubicBezTo>
                  <a:pt x="1828026" y="1046163"/>
                  <a:pt x="1822205" y="1046163"/>
                  <a:pt x="1822205" y="1042194"/>
                </a:cubicBezTo>
                <a:cubicBezTo>
                  <a:pt x="1822205" y="1038225"/>
                  <a:pt x="1826086" y="1038225"/>
                  <a:pt x="1826086" y="1038225"/>
                </a:cubicBezTo>
                <a:close/>
                <a:moveTo>
                  <a:pt x="1817443" y="1033992"/>
                </a:moveTo>
                <a:cubicBezTo>
                  <a:pt x="1819030" y="1031875"/>
                  <a:pt x="1819030" y="1033992"/>
                  <a:pt x="1819030" y="1036108"/>
                </a:cubicBezTo>
                <a:cubicBezTo>
                  <a:pt x="1819030" y="1038225"/>
                  <a:pt x="1817443" y="1038225"/>
                  <a:pt x="1815855" y="1036108"/>
                </a:cubicBezTo>
                <a:cubicBezTo>
                  <a:pt x="1815855" y="1033992"/>
                  <a:pt x="1817443" y="1033992"/>
                  <a:pt x="1817443" y="1033992"/>
                </a:cubicBezTo>
                <a:close/>
                <a:moveTo>
                  <a:pt x="1811887" y="1030288"/>
                </a:moveTo>
                <a:cubicBezTo>
                  <a:pt x="1811887" y="1030288"/>
                  <a:pt x="1814268" y="1030288"/>
                  <a:pt x="1814268" y="1032272"/>
                </a:cubicBezTo>
                <a:cubicBezTo>
                  <a:pt x="1814268" y="1034257"/>
                  <a:pt x="1811887" y="1038225"/>
                  <a:pt x="1809505" y="1034257"/>
                </a:cubicBezTo>
                <a:cubicBezTo>
                  <a:pt x="1809505" y="1032272"/>
                  <a:pt x="1811887" y="1030288"/>
                  <a:pt x="1811887" y="1030288"/>
                </a:cubicBezTo>
                <a:close/>
                <a:moveTo>
                  <a:pt x="1827497" y="1030287"/>
                </a:moveTo>
                <a:cubicBezTo>
                  <a:pt x="1827497" y="1030287"/>
                  <a:pt x="1829613" y="1028700"/>
                  <a:pt x="1831730" y="1030287"/>
                </a:cubicBezTo>
                <a:cubicBezTo>
                  <a:pt x="1831730" y="1031875"/>
                  <a:pt x="1831730" y="1033462"/>
                  <a:pt x="1829613" y="1033462"/>
                </a:cubicBezTo>
                <a:cubicBezTo>
                  <a:pt x="1825380" y="1033462"/>
                  <a:pt x="1827497" y="1030287"/>
                  <a:pt x="1827497" y="1030287"/>
                </a:cubicBezTo>
                <a:close/>
                <a:moveTo>
                  <a:pt x="1487016" y="1006475"/>
                </a:moveTo>
                <a:cubicBezTo>
                  <a:pt x="1491098" y="1006475"/>
                  <a:pt x="1495180" y="1012428"/>
                  <a:pt x="1495180" y="1012428"/>
                </a:cubicBezTo>
                <a:cubicBezTo>
                  <a:pt x="1495180" y="1012428"/>
                  <a:pt x="1493139" y="1016397"/>
                  <a:pt x="1493139" y="1020366"/>
                </a:cubicBezTo>
                <a:cubicBezTo>
                  <a:pt x="1493139" y="1024335"/>
                  <a:pt x="1489057" y="1026319"/>
                  <a:pt x="1487016" y="1028303"/>
                </a:cubicBezTo>
                <a:cubicBezTo>
                  <a:pt x="1487016" y="1030288"/>
                  <a:pt x="1487016" y="1032272"/>
                  <a:pt x="1484975" y="1034256"/>
                </a:cubicBezTo>
                <a:cubicBezTo>
                  <a:pt x="1484975" y="1036241"/>
                  <a:pt x="1482934" y="1036241"/>
                  <a:pt x="1482934" y="1036241"/>
                </a:cubicBezTo>
                <a:cubicBezTo>
                  <a:pt x="1482934" y="1036241"/>
                  <a:pt x="1480893" y="1038225"/>
                  <a:pt x="1476810" y="1036241"/>
                </a:cubicBezTo>
                <a:cubicBezTo>
                  <a:pt x="1474769" y="1034256"/>
                  <a:pt x="1474769" y="1034256"/>
                  <a:pt x="1474769" y="1034256"/>
                </a:cubicBezTo>
                <a:cubicBezTo>
                  <a:pt x="1474769" y="1034256"/>
                  <a:pt x="1472728" y="1034256"/>
                  <a:pt x="1470687" y="1032272"/>
                </a:cubicBezTo>
                <a:cubicBezTo>
                  <a:pt x="1468646" y="1030288"/>
                  <a:pt x="1470687" y="1028303"/>
                  <a:pt x="1470687" y="1026319"/>
                </a:cubicBezTo>
                <a:cubicBezTo>
                  <a:pt x="1470687" y="1024335"/>
                  <a:pt x="1468646" y="1024335"/>
                  <a:pt x="1468646" y="1024335"/>
                </a:cubicBezTo>
                <a:cubicBezTo>
                  <a:pt x="1468646" y="1024335"/>
                  <a:pt x="1466605" y="1024335"/>
                  <a:pt x="1466605" y="1020366"/>
                </a:cubicBezTo>
                <a:cubicBezTo>
                  <a:pt x="1466605" y="1018381"/>
                  <a:pt x="1472728" y="1018381"/>
                  <a:pt x="1472728" y="1018381"/>
                </a:cubicBezTo>
                <a:cubicBezTo>
                  <a:pt x="1472728" y="1018381"/>
                  <a:pt x="1472728" y="1018381"/>
                  <a:pt x="1474769" y="1016397"/>
                </a:cubicBezTo>
                <a:cubicBezTo>
                  <a:pt x="1474769" y="1016397"/>
                  <a:pt x="1476810" y="1014413"/>
                  <a:pt x="1476810" y="1012428"/>
                </a:cubicBezTo>
                <a:cubicBezTo>
                  <a:pt x="1478852" y="1008460"/>
                  <a:pt x="1480893" y="1006475"/>
                  <a:pt x="1487016" y="1006475"/>
                </a:cubicBezTo>
                <a:close/>
                <a:moveTo>
                  <a:pt x="1420810" y="984117"/>
                </a:moveTo>
                <a:cubicBezTo>
                  <a:pt x="1422023" y="984117"/>
                  <a:pt x="1423478" y="984602"/>
                  <a:pt x="1424448" y="984602"/>
                </a:cubicBezTo>
                <a:cubicBezTo>
                  <a:pt x="1424448" y="986543"/>
                  <a:pt x="1426388" y="988483"/>
                  <a:pt x="1426388" y="986543"/>
                </a:cubicBezTo>
                <a:cubicBezTo>
                  <a:pt x="1428329" y="984602"/>
                  <a:pt x="1430269" y="982662"/>
                  <a:pt x="1434150" y="984602"/>
                </a:cubicBezTo>
                <a:cubicBezTo>
                  <a:pt x="1436090" y="986543"/>
                  <a:pt x="1436090" y="984602"/>
                  <a:pt x="1438030" y="986543"/>
                </a:cubicBezTo>
                <a:cubicBezTo>
                  <a:pt x="1438030" y="986543"/>
                  <a:pt x="1438030" y="988483"/>
                  <a:pt x="1436090" y="990423"/>
                </a:cubicBezTo>
                <a:cubicBezTo>
                  <a:pt x="1436090" y="992364"/>
                  <a:pt x="1434150" y="994304"/>
                  <a:pt x="1434150" y="994304"/>
                </a:cubicBezTo>
                <a:cubicBezTo>
                  <a:pt x="1434150" y="994304"/>
                  <a:pt x="1432209" y="996244"/>
                  <a:pt x="1430269" y="996244"/>
                </a:cubicBezTo>
                <a:cubicBezTo>
                  <a:pt x="1430269" y="998184"/>
                  <a:pt x="1430269" y="1000125"/>
                  <a:pt x="1428329" y="1000125"/>
                </a:cubicBezTo>
                <a:cubicBezTo>
                  <a:pt x="1426388" y="1000125"/>
                  <a:pt x="1424448" y="1002065"/>
                  <a:pt x="1424448" y="1002065"/>
                </a:cubicBezTo>
                <a:cubicBezTo>
                  <a:pt x="1424448" y="1002065"/>
                  <a:pt x="1422508" y="1002065"/>
                  <a:pt x="1420567" y="1002065"/>
                </a:cubicBezTo>
                <a:cubicBezTo>
                  <a:pt x="1418627" y="1002065"/>
                  <a:pt x="1420567" y="1004005"/>
                  <a:pt x="1418627" y="1004005"/>
                </a:cubicBezTo>
                <a:cubicBezTo>
                  <a:pt x="1418627" y="1005945"/>
                  <a:pt x="1416687" y="1007886"/>
                  <a:pt x="1414747" y="1007886"/>
                </a:cubicBezTo>
                <a:cubicBezTo>
                  <a:pt x="1414747" y="1009826"/>
                  <a:pt x="1414747" y="1011766"/>
                  <a:pt x="1412806" y="1011766"/>
                </a:cubicBezTo>
                <a:cubicBezTo>
                  <a:pt x="1412806" y="1013707"/>
                  <a:pt x="1410866" y="1013707"/>
                  <a:pt x="1410866" y="1013707"/>
                </a:cubicBezTo>
                <a:cubicBezTo>
                  <a:pt x="1408926" y="1015647"/>
                  <a:pt x="1406985" y="1017587"/>
                  <a:pt x="1405045" y="1017587"/>
                </a:cubicBezTo>
                <a:cubicBezTo>
                  <a:pt x="1403105" y="1017587"/>
                  <a:pt x="1405045" y="1013707"/>
                  <a:pt x="1401164" y="1013707"/>
                </a:cubicBezTo>
                <a:cubicBezTo>
                  <a:pt x="1397284" y="1013707"/>
                  <a:pt x="1395344" y="1013707"/>
                  <a:pt x="1393403" y="1015647"/>
                </a:cubicBezTo>
                <a:cubicBezTo>
                  <a:pt x="1393403" y="1017587"/>
                  <a:pt x="1393403" y="1017587"/>
                  <a:pt x="1389523" y="1017587"/>
                </a:cubicBezTo>
                <a:cubicBezTo>
                  <a:pt x="1387582" y="1017587"/>
                  <a:pt x="1387582" y="1017587"/>
                  <a:pt x="1389523" y="1013707"/>
                </a:cubicBezTo>
                <a:cubicBezTo>
                  <a:pt x="1389523" y="1011766"/>
                  <a:pt x="1389523" y="1007886"/>
                  <a:pt x="1389523" y="1007886"/>
                </a:cubicBezTo>
                <a:cubicBezTo>
                  <a:pt x="1389523" y="1005945"/>
                  <a:pt x="1389523" y="1005945"/>
                  <a:pt x="1389523" y="1005945"/>
                </a:cubicBezTo>
                <a:cubicBezTo>
                  <a:pt x="1389523" y="1005945"/>
                  <a:pt x="1385642" y="1005945"/>
                  <a:pt x="1387582" y="1004005"/>
                </a:cubicBezTo>
                <a:cubicBezTo>
                  <a:pt x="1389523" y="1004005"/>
                  <a:pt x="1391463" y="1004005"/>
                  <a:pt x="1391463" y="1002065"/>
                </a:cubicBezTo>
                <a:cubicBezTo>
                  <a:pt x="1393403" y="1000125"/>
                  <a:pt x="1395344" y="1000125"/>
                  <a:pt x="1395344" y="1000125"/>
                </a:cubicBezTo>
                <a:cubicBezTo>
                  <a:pt x="1395344" y="996244"/>
                  <a:pt x="1395344" y="996244"/>
                  <a:pt x="1395344" y="994304"/>
                </a:cubicBezTo>
                <a:cubicBezTo>
                  <a:pt x="1397284" y="992364"/>
                  <a:pt x="1397284" y="992364"/>
                  <a:pt x="1399224" y="992364"/>
                </a:cubicBezTo>
                <a:cubicBezTo>
                  <a:pt x="1401164" y="992364"/>
                  <a:pt x="1401164" y="992364"/>
                  <a:pt x="1401164" y="988483"/>
                </a:cubicBezTo>
                <a:cubicBezTo>
                  <a:pt x="1401164" y="984602"/>
                  <a:pt x="1408926" y="984602"/>
                  <a:pt x="1408926" y="986543"/>
                </a:cubicBezTo>
                <a:cubicBezTo>
                  <a:pt x="1408926" y="990423"/>
                  <a:pt x="1410866" y="990423"/>
                  <a:pt x="1412806" y="990423"/>
                </a:cubicBezTo>
                <a:cubicBezTo>
                  <a:pt x="1414747" y="988483"/>
                  <a:pt x="1416687" y="988483"/>
                  <a:pt x="1418627" y="986543"/>
                </a:cubicBezTo>
                <a:cubicBezTo>
                  <a:pt x="1418627" y="984602"/>
                  <a:pt x="1419597" y="984117"/>
                  <a:pt x="1420810" y="984117"/>
                </a:cubicBezTo>
                <a:close/>
                <a:moveTo>
                  <a:pt x="1851309" y="971550"/>
                </a:moveTo>
                <a:cubicBezTo>
                  <a:pt x="1851309" y="971550"/>
                  <a:pt x="1855542" y="971550"/>
                  <a:pt x="1855542" y="973931"/>
                </a:cubicBezTo>
                <a:cubicBezTo>
                  <a:pt x="1855542" y="976312"/>
                  <a:pt x="1851309" y="976312"/>
                  <a:pt x="1849192" y="976312"/>
                </a:cubicBezTo>
                <a:cubicBezTo>
                  <a:pt x="1849192" y="973931"/>
                  <a:pt x="1851309" y="971550"/>
                  <a:pt x="1851309" y="971550"/>
                </a:cubicBezTo>
                <a:close/>
                <a:moveTo>
                  <a:pt x="1528396" y="960834"/>
                </a:moveTo>
                <a:cubicBezTo>
                  <a:pt x="1530349" y="958850"/>
                  <a:pt x="1532303" y="960834"/>
                  <a:pt x="1534257" y="962819"/>
                </a:cubicBezTo>
                <a:cubicBezTo>
                  <a:pt x="1536211" y="966787"/>
                  <a:pt x="1536211" y="962819"/>
                  <a:pt x="1540119" y="962819"/>
                </a:cubicBezTo>
                <a:cubicBezTo>
                  <a:pt x="1544026" y="964803"/>
                  <a:pt x="1540119" y="968772"/>
                  <a:pt x="1542072" y="970756"/>
                </a:cubicBezTo>
                <a:cubicBezTo>
                  <a:pt x="1545980" y="970756"/>
                  <a:pt x="1545980" y="972740"/>
                  <a:pt x="1545980" y="972740"/>
                </a:cubicBezTo>
                <a:cubicBezTo>
                  <a:pt x="1544026" y="972740"/>
                  <a:pt x="1540119" y="974725"/>
                  <a:pt x="1538165" y="974725"/>
                </a:cubicBezTo>
                <a:cubicBezTo>
                  <a:pt x="1536211" y="976709"/>
                  <a:pt x="1534257" y="976709"/>
                  <a:pt x="1534257" y="980678"/>
                </a:cubicBezTo>
                <a:cubicBezTo>
                  <a:pt x="1534257" y="980678"/>
                  <a:pt x="1532303" y="982662"/>
                  <a:pt x="1530349" y="980678"/>
                </a:cubicBezTo>
                <a:cubicBezTo>
                  <a:pt x="1528396" y="980678"/>
                  <a:pt x="1530349" y="976709"/>
                  <a:pt x="1530349" y="976709"/>
                </a:cubicBezTo>
                <a:cubicBezTo>
                  <a:pt x="1530349" y="976709"/>
                  <a:pt x="1530349" y="972740"/>
                  <a:pt x="1528396" y="972740"/>
                </a:cubicBezTo>
                <a:cubicBezTo>
                  <a:pt x="1526442" y="972740"/>
                  <a:pt x="1524488" y="972740"/>
                  <a:pt x="1522534" y="966787"/>
                </a:cubicBezTo>
                <a:cubicBezTo>
                  <a:pt x="1520580" y="960834"/>
                  <a:pt x="1524488" y="962819"/>
                  <a:pt x="1524488" y="962819"/>
                </a:cubicBezTo>
                <a:cubicBezTo>
                  <a:pt x="1524488" y="962819"/>
                  <a:pt x="1528396" y="964803"/>
                  <a:pt x="1528396" y="960834"/>
                </a:cubicBezTo>
                <a:close/>
                <a:moveTo>
                  <a:pt x="1553036" y="954087"/>
                </a:moveTo>
                <a:cubicBezTo>
                  <a:pt x="1553036" y="954087"/>
                  <a:pt x="1554976" y="954087"/>
                  <a:pt x="1556916" y="954087"/>
                </a:cubicBezTo>
                <a:cubicBezTo>
                  <a:pt x="1558857" y="954087"/>
                  <a:pt x="1560797" y="958056"/>
                  <a:pt x="1562737" y="956072"/>
                </a:cubicBezTo>
                <a:cubicBezTo>
                  <a:pt x="1562737" y="956072"/>
                  <a:pt x="1566618" y="958056"/>
                  <a:pt x="1564678" y="962025"/>
                </a:cubicBezTo>
                <a:cubicBezTo>
                  <a:pt x="1564678" y="965993"/>
                  <a:pt x="1564678" y="967978"/>
                  <a:pt x="1562737" y="967978"/>
                </a:cubicBezTo>
                <a:cubicBezTo>
                  <a:pt x="1562737" y="969962"/>
                  <a:pt x="1558857" y="965993"/>
                  <a:pt x="1558857" y="964009"/>
                </a:cubicBezTo>
                <a:cubicBezTo>
                  <a:pt x="1556916" y="962025"/>
                  <a:pt x="1554976" y="964009"/>
                  <a:pt x="1551095" y="960040"/>
                </a:cubicBezTo>
                <a:cubicBezTo>
                  <a:pt x="1549155" y="956072"/>
                  <a:pt x="1553036" y="954087"/>
                  <a:pt x="1553036" y="954087"/>
                </a:cubicBezTo>
                <a:close/>
                <a:moveTo>
                  <a:pt x="1864009" y="949325"/>
                </a:moveTo>
                <a:cubicBezTo>
                  <a:pt x="1864009" y="949325"/>
                  <a:pt x="1868242" y="951442"/>
                  <a:pt x="1866125" y="953558"/>
                </a:cubicBezTo>
                <a:cubicBezTo>
                  <a:pt x="1866125" y="955675"/>
                  <a:pt x="1866125" y="955675"/>
                  <a:pt x="1864009" y="955675"/>
                </a:cubicBezTo>
                <a:cubicBezTo>
                  <a:pt x="1861892" y="955675"/>
                  <a:pt x="1861892" y="955675"/>
                  <a:pt x="1861892" y="953558"/>
                </a:cubicBezTo>
                <a:cubicBezTo>
                  <a:pt x="1861892" y="949325"/>
                  <a:pt x="1864009" y="949325"/>
                  <a:pt x="1864009" y="949325"/>
                </a:cubicBezTo>
                <a:close/>
                <a:moveTo>
                  <a:pt x="1857527" y="949325"/>
                </a:moveTo>
                <a:cubicBezTo>
                  <a:pt x="1859511" y="949325"/>
                  <a:pt x="1859511" y="953453"/>
                  <a:pt x="1859511" y="957580"/>
                </a:cubicBezTo>
                <a:cubicBezTo>
                  <a:pt x="1859511" y="959644"/>
                  <a:pt x="1859511" y="961707"/>
                  <a:pt x="1861496" y="961707"/>
                </a:cubicBezTo>
                <a:cubicBezTo>
                  <a:pt x="1861496" y="963771"/>
                  <a:pt x="1863480" y="965835"/>
                  <a:pt x="1861496" y="967898"/>
                </a:cubicBezTo>
                <a:cubicBezTo>
                  <a:pt x="1861496" y="969962"/>
                  <a:pt x="1859511" y="967898"/>
                  <a:pt x="1857527" y="965835"/>
                </a:cubicBezTo>
                <a:cubicBezTo>
                  <a:pt x="1857527" y="963771"/>
                  <a:pt x="1855542" y="961707"/>
                  <a:pt x="1855542" y="961707"/>
                </a:cubicBezTo>
                <a:cubicBezTo>
                  <a:pt x="1855542" y="961707"/>
                  <a:pt x="1855542" y="959644"/>
                  <a:pt x="1855542" y="957580"/>
                </a:cubicBezTo>
                <a:cubicBezTo>
                  <a:pt x="1855542" y="955516"/>
                  <a:pt x="1855542" y="955516"/>
                  <a:pt x="1855542" y="953453"/>
                </a:cubicBezTo>
                <a:cubicBezTo>
                  <a:pt x="1855542" y="949325"/>
                  <a:pt x="1857527" y="949325"/>
                  <a:pt x="1857527" y="949325"/>
                </a:cubicBezTo>
                <a:close/>
                <a:moveTo>
                  <a:pt x="1853905" y="942181"/>
                </a:moveTo>
                <a:cubicBezTo>
                  <a:pt x="1854649" y="942658"/>
                  <a:pt x="1855146" y="943610"/>
                  <a:pt x="1855146" y="943610"/>
                </a:cubicBezTo>
                <a:cubicBezTo>
                  <a:pt x="1855146" y="943610"/>
                  <a:pt x="1857130" y="943610"/>
                  <a:pt x="1857130" y="945515"/>
                </a:cubicBezTo>
                <a:cubicBezTo>
                  <a:pt x="1857130" y="949325"/>
                  <a:pt x="1855146" y="949325"/>
                  <a:pt x="1851177" y="947420"/>
                </a:cubicBezTo>
                <a:cubicBezTo>
                  <a:pt x="1849192" y="945515"/>
                  <a:pt x="1851177" y="943610"/>
                  <a:pt x="1851177" y="943610"/>
                </a:cubicBezTo>
                <a:cubicBezTo>
                  <a:pt x="1852169" y="941705"/>
                  <a:pt x="1853161" y="941705"/>
                  <a:pt x="1853905" y="942181"/>
                </a:cubicBezTo>
                <a:close/>
                <a:moveTo>
                  <a:pt x="1863480" y="939800"/>
                </a:moveTo>
                <a:cubicBezTo>
                  <a:pt x="1865067" y="939800"/>
                  <a:pt x="1865067" y="939800"/>
                  <a:pt x="1865067" y="941784"/>
                </a:cubicBezTo>
                <a:cubicBezTo>
                  <a:pt x="1865067" y="945753"/>
                  <a:pt x="1863480" y="947737"/>
                  <a:pt x="1863480" y="943769"/>
                </a:cubicBezTo>
                <a:cubicBezTo>
                  <a:pt x="1861892" y="939800"/>
                  <a:pt x="1863480" y="939800"/>
                  <a:pt x="1863480" y="939800"/>
                </a:cubicBezTo>
                <a:close/>
                <a:moveTo>
                  <a:pt x="1861892" y="935831"/>
                </a:moveTo>
                <a:cubicBezTo>
                  <a:pt x="1861892" y="933450"/>
                  <a:pt x="1865067" y="933450"/>
                  <a:pt x="1865067" y="935831"/>
                </a:cubicBezTo>
                <a:cubicBezTo>
                  <a:pt x="1865067" y="938212"/>
                  <a:pt x="1865067" y="938212"/>
                  <a:pt x="1863480" y="938212"/>
                </a:cubicBezTo>
                <a:cubicBezTo>
                  <a:pt x="1861892" y="938212"/>
                  <a:pt x="1861892" y="935831"/>
                  <a:pt x="1861892" y="935831"/>
                </a:cubicBezTo>
                <a:close/>
                <a:moveTo>
                  <a:pt x="1851574" y="927629"/>
                </a:moveTo>
                <a:cubicBezTo>
                  <a:pt x="1853955" y="925512"/>
                  <a:pt x="1853955" y="927629"/>
                  <a:pt x="1853955" y="929745"/>
                </a:cubicBezTo>
                <a:cubicBezTo>
                  <a:pt x="1853955" y="931862"/>
                  <a:pt x="1849192" y="931862"/>
                  <a:pt x="1849192" y="929745"/>
                </a:cubicBezTo>
                <a:cubicBezTo>
                  <a:pt x="1849192" y="927629"/>
                  <a:pt x="1851574" y="927629"/>
                  <a:pt x="1851574" y="927629"/>
                </a:cubicBezTo>
                <a:close/>
                <a:moveTo>
                  <a:pt x="1861744" y="925195"/>
                </a:moveTo>
                <a:cubicBezTo>
                  <a:pt x="1862984" y="926147"/>
                  <a:pt x="1863480" y="928052"/>
                  <a:pt x="1863480" y="929957"/>
                </a:cubicBezTo>
                <a:cubicBezTo>
                  <a:pt x="1863480" y="931862"/>
                  <a:pt x="1861496" y="931862"/>
                  <a:pt x="1859511" y="929957"/>
                </a:cubicBezTo>
                <a:cubicBezTo>
                  <a:pt x="1855542" y="928052"/>
                  <a:pt x="1855542" y="926147"/>
                  <a:pt x="1855542" y="926147"/>
                </a:cubicBezTo>
                <a:cubicBezTo>
                  <a:pt x="1858519" y="924242"/>
                  <a:pt x="1860503" y="924242"/>
                  <a:pt x="1861744" y="925195"/>
                </a:cubicBezTo>
                <a:close/>
                <a:moveTo>
                  <a:pt x="1848134" y="922734"/>
                </a:moveTo>
                <a:cubicBezTo>
                  <a:pt x="1852367" y="920750"/>
                  <a:pt x="1852367" y="924719"/>
                  <a:pt x="1852367" y="924719"/>
                </a:cubicBezTo>
                <a:cubicBezTo>
                  <a:pt x="1850250" y="926703"/>
                  <a:pt x="1848134" y="928687"/>
                  <a:pt x="1846017" y="926703"/>
                </a:cubicBezTo>
                <a:cubicBezTo>
                  <a:pt x="1846017" y="922734"/>
                  <a:pt x="1848134" y="922734"/>
                  <a:pt x="1848134" y="922734"/>
                </a:cubicBezTo>
                <a:close/>
                <a:moveTo>
                  <a:pt x="1853425" y="915987"/>
                </a:moveTo>
                <a:cubicBezTo>
                  <a:pt x="1855542" y="915987"/>
                  <a:pt x="1855542" y="915987"/>
                  <a:pt x="1855542" y="918368"/>
                </a:cubicBezTo>
                <a:cubicBezTo>
                  <a:pt x="1853425" y="920749"/>
                  <a:pt x="1853425" y="920749"/>
                  <a:pt x="1853425" y="920749"/>
                </a:cubicBezTo>
                <a:cubicBezTo>
                  <a:pt x="1853425" y="920749"/>
                  <a:pt x="1849192" y="920749"/>
                  <a:pt x="1849192" y="918368"/>
                </a:cubicBezTo>
                <a:cubicBezTo>
                  <a:pt x="1849192" y="918368"/>
                  <a:pt x="1851309" y="915987"/>
                  <a:pt x="1853425" y="915987"/>
                </a:cubicBezTo>
                <a:close/>
                <a:moveTo>
                  <a:pt x="1807918" y="882650"/>
                </a:moveTo>
                <a:cubicBezTo>
                  <a:pt x="1807918" y="882650"/>
                  <a:pt x="1811093" y="882650"/>
                  <a:pt x="1811093" y="884767"/>
                </a:cubicBezTo>
                <a:cubicBezTo>
                  <a:pt x="1811093" y="886883"/>
                  <a:pt x="1807918" y="889000"/>
                  <a:pt x="1806330" y="886883"/>
                </a:cubicBezTo>
                <a:cubicBezTo>
                  <a:pt x="1806330" y="882650"/>
                  <a:pt x="1807918" y="882650"/>
                  <a:pt x="1807918" y="882650"/>
                </a:cubicBezTo>
                <a:close/>
                <a:moveTo>
                  <a:pt x="1805272" y="874712"/>
                </a:moveTo>
                <a:cubicBezTo>
                  <a:pt x="1805272" y="874712"/>
                  <a:pt x="1809505" y="874712"/>
                  <a:pt x="1809505" y="876300"/>
                </a:cubicBezTo>
                <a:cubicBezTo>
                  <a:pt x="1809505" y="877887"/>
                  <a:pt x="1803155" y="877887"/>
                  <a:pt x="1803155" y="876300"/>
                </a:cubicBezTo>
                <a:cubicBezTo>
                  <a:pt x="1803155" y="874712"/>
                  <a:pt x="1805272" y="874712"/>
                  <a:pt x="1805272" y="874712"/>
                </a:cubicBezTo>
                <a:close/>
                <a:moveTo>
                  <a:pt x="1917455" y="862012"/>
                </a:moveTo>
                <a:cubicBezTo>
                  <a:pt x="1919836" y="863996"/>
                  <a:pt x="1922217" y="865981"/>
                  <a:pt x="1917455" y="867965"/>
                </a:cubicBezTo>
                <a:cubicBezTo>
                  <a:pt x="1915073" y="869949"/>
                  <a:pt x="1915073" y="865981"/>
                  <a:pt x="1915073" y="863996"/>
                </a:cubicBezTo>
                <a:cubicBezTo>
                  <a:pt x="1912692" y="862012"/>
                  <a:pt x="1917455" y="862012"/>
                  <a:pt x="1917455" y="862012"/>
                </a:cubicBezTo>
                <a:close/>
                <a:moveTo>
                  <a:pt x="1430886" y="860425"/>
                </a:moveTo>
                <a:cubicBezTo>
                  <a:pt x="1434855" y="864658"/>
                  <a:pt x="1428902" y="866775"/>
                  <a:pt x="1428902" y="864658"/>
                </a:cubicBezTo>
                <a:cubicBezTo>
                  <a:pt x="1426917" y="860425"/>
                  <a:pt x="1430886" y="860425"/>
                  <a:pt x="1430886" y="860425"/>
                </a:cubicBezTo>
                <a:close/>
                <a:moveTo>
                  <a:pt x="1429034" y="853976"/>
                </a:moveTo>
                <a:cubicBezTo>
                  <a:pt x="1430092" y="853976"/>
                  <a:pt x="1431150" y="854472"/>
                  <a:pt x="1431150" y="854472"/>
                </a:cubicBezTo>
                <a:cubicBezTo>
                  <a:pt x="1431150" y="854472"/>
                  <a:pt x="1433267" y="854472"/>
                  <a:pt x="1431150" y="856457"/>
                </a:cubicBezTo>
                <a:cubicBezTo>
                  <a:pt x="1431150" y="860425"/>
                  <a:pt x="1429034" y="858441"/>
                  <a:pt x="1426917" y="856457"/>
                </a:cubicBezTo>
                <a:cubicBezTo>
                  <a:pt x="1426917" y="854472"/>
                  <a:pt x="1427975" y="853976"/>
                  <a:pt x="1429034" y="853976"/>
                </a:cubicBezTo>
                <a:close/>
                <a:moveTo>
                  <a:pt x="1378896" y="852488"/>
                </a:moveTo>
                <a:cubicBezTo>
                  <a:pt x="1384849" y="852488"/>
                  <a:pt x="1380880" y="856469"/>
                  <a:pt x="1380880" y="856469"/>
                </a:cubicBezTo>
                <a:cubicBezTo>
                  <a:pt x="1380880" y="856469"/>
                  <a:pt x="1380880" y="858460"/>
                  <a:pt x="1382865" y="860451"/>
                </a:cubicBezTo>
                <a:cubicBezTo>
                  <a:pt x="1384849" y="860451"/>
                  <a:pt x="1384849" y="860451"/>
                  <a:pt x="1384849" y="858460"/>
                </a:cubicBezTo>
                <a:cubicBezTo>
                  <a:pt x="1384849" y="856469"/>
                  <a:pt x="1388818" y="858460"/>
                  <a:pt x="1388818" y="858460"/>
                </a:cubicBezTo>
                <a:cubicBezTo>
                  <a:pt x="1388818" y="858460"/>
                  <a:pt x="1386833" y="860451"/>
                  <a:pt x="1388818" y="862441"/>
                </a:cubicBezTo>
                <a:cubicBezTo>
                  <a:pt x="1388818" y="864432"/>
                  <a:pt x="1388818" y="868413"/>
                  <a:pt x="1386833" y="868413"/>
                </a:cubicBezTo>
                <a:cubicBezTo>
                  <a:pt x="1384849" y="868413"/>
                  <a:pt x="1380880" y="866423"/>
                  <a:pt x="1380880" y="866423"/>
                </a:cubicBezTo>
                <a:cubicBezTo>
                  <a:pt x="1380880" y="866423"/>
                  <a:pt x="1380880" y="862441"/>
                  <a:pt x="1376912" y="864432"/>
                </a:cubicBezTo>
                <a:cubicBezTo>
                  <a:pt x="1372943" y="866423"/>
                  <a:pt x="1376912" y="866423"/>
                  <a:pt x="1374927" y="868413"/>
                </a:cubicBezTo>
                <a:cubicBezTo>
                  <a:pt x="1370958" y="870404"/>
                  <a:pt x="1370958" y="872395"/>
                  <a:pt x="1372943" y="874385"/>
                </a:cubicBezTo>
                <a:cubicBezTo>
                  <a:pt x="1374927" y="874385"/>
                  <a:pt x="1378896" y="872395"/>
                  <a:pt x="1378896" y="872395"/>
                </a:cubicBezTo>
                <a:cubicBezTo>
                  <a:pt x="1378896" y="872395"/>
                  <a:pt x="1382865" y="868413"/>
                  <a:pt x="1384849" y="872395"/>
                </a:cubicBezTo>
                <a:cubicBezTo>
                  <a:pt x="1384849" y="874385"/>
                  <a:pt x="1386833" y="878367"/>
                  <a:pt x="1386833" y="880357"/>
                </a:cubicBezTo>
                <a:cubicBezTo>
                  <a:pt x="1386833" y="884339"/>
                  <a:pt x="1384849" y="888320"/>
                  <a:pt x="1388818" y="886329"/>
                </a:cubicBezTo>
                <a:cubicBezTo>
                  <a:pt x="1392787" y="886329"/>
                  <a:pt x="1392787" y="886329"/>
                  <a:pt x="1392787" y="882348"/>
                </a:cubicBezTo>
                <a:cubicBezTo>
                  <a:pt x="1392787" y="880357"/>
                  <a:pt x="1390802" y="878367"/>
                  <a:pt x="1392787" y="878367"/>
                </a:cubicBezTo>
                <a:cubicBezTo>
                  <a:pt x="1396755" y="878367"/>
                  <a:pt x="1396755" y="874385"/>
                  <a:pt x="1396755" y="874385"/>
                </a:cubicBezTo>
                <a:cubicBezTo>
                  <a:pt x="1396755" y="874385"/>
                  <a:pt x="1400724" y="874385"/>
                  <a:pt x="1400724" y="876376"/>
                </a:cubicBezTo>
                <a:cubicBezTo>
                  <a:pt x="1400724" y="878367"/>
                  <a:pt x="1402709" y="878367"/>
                  <a:pt x="1402709" y="878367"/>
                </a:cubicBezTo>
                <a:cubicBezTo>
                  <a:pt x="1404693" y="878367"/>
                  <a:pt x="1406677" y="882348"/>
                  <a:pt x="1406677" y="884339"/>
                </a:cubicBezTo>
                <a:cubicBezTo>
                  <a:pt x="1406677" y="886329"/>
                  <a:pt x="1406677" y="888320"/>
                  <a:pt x="1406677" y="886329"/>
                </a:cubicBezTo>
                <a:cubicBezTo>
                  <a:pt x="1410646" y="886329"/>
                  <a:pt x="1414615" y="884339"/>
                  <a:pt x="1414615" y="888320"/>
                </a:cubicBezTo>
                <a:cubicBezTo>
                  <a:pt x="1418584" y="890311"/>
                  <a:pt x="1418584" y="892301"/>
                  <a:pt x="1420568" y="890311"/>
                </a:cubicBezTo>
                <a:cubicBezTo>
                  <a:pt x="1422552" y="890311"/>
                  <a:pt x="1424537" y="890311"/>
                  <a:pt x="1424537" y="894292"/>
                </a:cubicBezTo>
                <a:cubicBezTo>
                  <a:pt x="1424537" y="896283"/>
                  <a:pt x="1424537" y="898273"/>
                  <a:pt x="1428505" y="896283"/>
                </a:cubicBezTo>
                <a:cubicBezTo>
                  <a:pt x="1430490" y="896283"/>
                  <a:pt x="1432474" y="898273"/>
                  <a:pt x="1432474" y="898273"/>
                </a:cubicBezTo>
                <a:cubicBezTo>
                  <a:pt x="1432474" y="898273"/>
                  <a:pt x="1440412" y="898273"/>
                  <a:pt x="1438427" y="900264"/>
                </a:cubicBezTo>
                <a:cubicBezTo>
                  <a:pt x="1434459" y="902255"/>
                  <a:pt x="1438427" y="904245"/>
                  <a:pt x="1438427" y="904245"/>
                </a:cubicBezTo>
                <a:cubicBezTo>
                  <a:pt x="1440412" y="904245"/>
                  <a:pt x="1440412" y="904245"/>
                  <a:pt x="1440412" y="904245"/>
                </a:cubicBezTo>
                <a:cubicBezTo>
                  <a:pt x="1440412" y="904245"/>
                  <a:pt x="1444381" y="902255"/>
                  <a:pt x="1446365" y="906236"/>
                </a:cubicBezTo>
                <a:cubicBezTo>
                  <a:pt x="1448349" y="908227"/>
                  <a:pt x="1448349" y="912208"/>
                  <a:pt x="1450334" y="912208"/>
                </a:cubicBezTo>
                <a:cubicBezTo>
                  <a:pt x="1452318" y="912208"/>
                  <a:pt x="1454302" y="914199"/>
                  <a:pt x="1452318" y="916189"/>
                </a:cubicBezTo>
                <a:cubicBezTo>
                  <a:pt x="1452318" y="920171"/>
                  <a:pt x="1450334" y="920171"/>
                  <a:pt x="1450334" y="920171"/>
                </a:cubicBezTo>
                <a:cubicBezTo>
                  <a:pt x="1450334" y="920171"/>
                  <a:pt x="1446365" y="920171"/>
                  <a:pt x="1448349" y="922161"/>
                </a:cubicBezTo>
                <a:cubicBezTo>
                  <a:pt x="1450334" y="924152"/>
                  <a:pt x="1452318" y="926143"/>
                  <a:pt x="1454302" y="926143"/>
                </a:cubicBezTo>
                <a:cubicBezTo>
                  <a:pt x="1456287" y="926143"/>
                  <a:pt x="1456287" y="930124"/>
                  <a:pt x="1452318" y="930124"/>
                </a:cubicBezTo>
                <a:cubicBezTo>
                  <a:pt x="1450334" y="932115"/>
                  <a:pt x="1446365" y="932115"/>
                  <a:pt x="1448349" y="936096"/>
                </a:cubicBezTo>
                <a:cubicBezTo>
                  <a:pt x="1448349" y="938087"/>
                  <a:pt x="1452318" y="940077"/>
                  <a:pt x="1454302" y="938087"/>
                </a:cubicBezTo>
                <a:cubicBezTo>
                  <a:pt x="1456287" y="936096"/>
                  <a:pt x="1456287" y="932115"/>
                  <a:pt x="1460256" y="934105"/>
                </a:cubicBezTo>
                <a:cubicBezTo>
                  <a:pt x="1462240" y="936096"/>
                  <a:pt x="1464224" y="936096"/>
                  <a:pt x="1466209" y="936096"/>
                </a:cubicBezTo>
                <a:cubicBezTo>
                  <a:pt x="1466209" y="938087"/>
                  <a:pt x="1470177" y="940077"/>
                  <a:pt x="1470177" y="938087"/>
                </a:cubicBezTo>
                <a:cubicBezTo>
                  <a:pt x="1472162" y="936096"/>
                  <a:pt x="1472162" y="934105"/>
                  <a:pt x="1472162" y="934105"/>
                </a:cubicBezTo>
                <a:cubicBezTo>
                  <a:pt x="1472162" y="934105"/>
                  <a:pt x="1472162" y="930124"/>
                  <a:pt x="1474146" y="934105"/>
                </a:cubicBezTo>
                <a:cubicBezTo>
                  <a:pt x="1478115" y="936096"/>
                  <a:pt x="1478115" y="936096"/>
                  <a:pt x="1478115" y="938087"/>
                </a:cubicBezTo>
                <a:cubicBezTo>
                  <a:pt x="1478115" y="940077"/>
                  <a:pt x="1474146" y="942068"/>
                  <a:pt x="1476131" y="944059"/>
                </a:cubicBezTo>
                <a:cubicBezTo>
                  <a:pt x="1478115" y="946049"/>
                  <a:pt x="1482084" y="944059"/>
                  <a:pt x="1482084" y="948040"/>
                </a:cubicBezTo>
                <a:cubicBezTo>
                  <a:pt x="1484068" y="950031"/>
                  <a:pt x="1482084" y="950031"/>
                  <a:pt x="1480099" y="950031"/>
                </a:cubicBezTo>
                <a:cubicBezTo>
                  <a:pt x="1478115" y="950031"/>
                  <a:pt x="1474146" y="950031"/>
                  <a:pt x="1474146" y="952021"/>
                </a:cubicBezTo>
                <a:cubicBezTo>
                  <a:pt x="1472162" y="954012"/>
                  <a:pt x="1474146" y="954012"/>
                  <a:pt x="1464224" y="957993"/>
                </a:cubicBezTo>
                <a:cubicBezTo>
                  <a:pt x="1456287" y="957993"/>
                  <a:pt x="1458271" y="956003"/>
                  <a:pt x="1458271" y="956003"/>
                </a:cubicBezTo>
                <a:cubicBezTo>
                  <a:pt x="1458271" y="956003"/>
                  <a:pt x="1454302" y="957993"/>
                  <a:pt x="1452318" y="956003"/>
                </a:cubicBezTo>
                <a:cubicBezTo>
                  <a:pt x="1452318" y="952021"/>
                  <a:pt x="1452318" y="952021"/>
                  <a:pt x="1450334" y="954012"/>
                </a:cubicBezTo>
                <a:cubicBezTo>
                  <a:pt x="1446365" y="954012"/>
                  <a:pt x="1446365" y="954012"/>
                  <a:pt x="1446365" y="952021"/>
                </a:cubicBezTo>
                <a:cubicBezTo>
                  <a:pt x="1444381" y="950031"/>
                  <a:pt x="1442396" y="950031"/>
                  <a:pt x="1442396" y="950031"/>
                </a:cubicBezTo>
                <a:cubicBezTo>
                  <a:pt x="1442396" y="950031"/>
                  <a:pt x="1438427" y="950031"/>
                  <a:pt x="1436443" y="950031"/>
                </a:cubicBezTo>
                <a:cubicBezTo>
                  <a:pt x="1434459" y="950031"/>
                  <a:pt x="1434459" y="954012"/>
                  <a:pt x="1434459" y="950031"/>
                </a:cubicBezTo>
                <a:cubicBezTo>
                  <a:pt x="1432474" y="946049"/>
                  <a:pt x="1430490" y="948040"/>
                  <a:pt x="1428505" y="948040"/>
                </a:cubicBezTo>
                <a:cubicBezTo>
                  <a:pt x="1426521" y="948040"/>
                  <a:pt x="1426521" y="946049"/>
                  <a:pt x="1428505" y="944059"/>
                </a:cubicBezTo>
                <a:cubicBezTo>
                  <a:pt x="1430490" y="942068"/>
                  <a:pt x="1432474" y="942068"/>
                  <a:pt x="1430490" y="940077"/>
                </a:cubicBezTo>
                <a:cubicBezTo>
                  <a:pt x="1430490" y="938087"/>
                  <a:pt x="1428505" y="938087"/>
                  <a:pt x="1428505" y="938087"/>
                </a:cubicBezTo>
                <a:cubicBezTo>
                  <a:pt x="1428505" y="938087"/>
                  <a:pt x="1426521" y="940077"/>
                  <a:pt x="1426521" y="940077"/>
                </a:cubicBezTo>
                <a:cubicBezTo>
                  <a:pt x="1422552" y="936096"/>
                  <a:pt x="1422552" y="940077"/>
                  <a:pt x="1422552" y="940077"/>
                </a:cubicBezTo>
                <a:cubicBezTo>
                  <a:pt x="1422552" y="940077"/>
                  <a:pt x="1416599" y="942068"/>
                  <a:pt x="1416599" y="938087"/>
                </a:cubicBezTo>
                <a:cubicBezTo>
                  <a:pt x="1416599" y="934105"/>
                  <a:pt x="1418584" y="932115"/>
                  <a:pt x="1418584" y="932115"/>
                </a:cubicBezTo>
                <a:cubicBezTo>
                  <a:pt x="1420568" y="932115"/>
                  <a:pt x="1420568" y="928133"/>
                  <a:pt x="1418584" y="928133"/>
                </a:cubicBezTo>
                <a:cubicBezTo>
                  <a:pt x="1416599" y="928133"/>
                  <a:pt x="1414615" y="928133"/>
                  <a:pt x="1414615" y="930124"/>
                </a:cubicBezTo>
                <a:cubicBezTo>
                  <a:pt x="1414615" y="932115"/>
                  <a:pt x="1410646" y="932115"/>
                  <a:pt x="1410646" y="932115"/>
                </a:cubicBezTo>
                <a:cubicBezTo>
                  <a:pt x="1410646" y="932115"/>
                  <a:pt x="1406677" y="932115"/>
                  <a:pt x="1406677" y="934105"/>
                </a:cubicBezTo>
                <a:cubicBezTo>
                  <a:pt x="1406677" y="938087"/>
                  <a:pt x="1406677" y="942068"/>
                  <a:pt x="1404693" y="946049"/>
                </a:cubicBezTo>
                <a:cubicBezTo>
                  <a:pt x="1402709" y="948040"/>
                  <a:pt x="1400724" y="948040"/>
                  <a:pt x="1400724" y="948040"/>
                </a:cubicBezTo>
                <a:cubicBezTo>
                  <a:pt x="1400724" y="948040"/>
                  <a:pt x="1396755" y="946049"/>
                  <a:pt x="1394771" y="950031"/>
                </a:cubicBezTo>
                <a:cubicBezTo>
                  <a:pt x="1392787" y="954012"/>
                  <a:pt x="1388818" y="954012"/>
                  <a:pt x="1388818" y="952021"/>
                </a:cubicBezTo>
                <a:cubicBezTo>
                  <a:pt x="1388818" y="952021"/>
                  <a:pt x="1384849" y="948040"/>
                  <a:pt x="1384849" y="952021"/>
                </a:cubicBezTo>
                <a:cubicBezTo>
                  <a:pt x="1384849" y="956003"/>
                  <a:pt x="1382865" y="957993"/>
                  <a:pt x="1380880" y="957993"/>
                </a:cubicBezTo>
                <a:cubicBezTo>
                  <a:pt x="1380880" y="957993"/>
                  <a:pt x="1380880" y="961975"/>
                  <a:pt x="1380880" y="961975"/>
                </a:cubicBezTo>
                <a:cubicBezTo>
                  <a:pt x="1380880" y="961975"/>
                  <a:pt x="1376912" y="965956"/>
                  <a:pt x="1374927" y="965956"/>
                </a:cubicBezTo>
                <a:cubicBezTo>
                  <a:pt x="1372943" y="965956"/>
                  <a:pt x="1372943" y="967947"/>
                  <a:pt x="1372943" y="967947"/>
                </a:cubicBezTo>
                <a:cubicBezTo>
                  <a:pt x="1372943" y="967947"/>
                  <a:pt x="1370958" y="971928"/>
                  <a:pt x="1368974" y="971928"/>
                </a:cubicBezTo>
                <a:cubicBezTo>
                  <a:pt x="1366990" y="969937"/>
                  <a:pt x="1366990" y="973919"/>
                  <a:pt x="1366990" y="973919"/>
                </a:cubicBezTo>
                <a:cubicBezTo>
                  <a:pt x="1366990" y="973919"/>
                  <a:pt x="1365005" y="975909"/>
                  <a:pt x="1363021" y="973919"/>
                </a:cubicBezTo>
                <a:cubicBezTo>
                  <a:pt x="1361037" y="973919"/>
                  <a:pt x="1357068" y="977900"/>
                  <a:pt x="1355083" y="975909"/>
                </a:cubicBezTo>
                <a:cubicBezTo>
                  <a:pt x="1353099" y="975909"/>
                  <a:pt x="1353099" y="977900"/>
                  <a:pt x="1355083" y="971928"/>
                </a:cubicBezTo>
                <a:cubicBezTo>
                  <a:pt x="1355083" y="965956"/>
                  <a:pt x="1355083" y="965956"/>
                  <a:pt x="1355083" y="963965"/>
                </a:cubicBezTo>
                <a:cubicBezTo>
                  <a:pt x="1355083" y="961975"/>
                  <a:pt x="1355083" y="957993"/>
                  <a:pt x="1357068" y="956003"/>
                </a:cubicBezTo>
                <a:cubicBezTo>
                  <a:pt x="1359052" y="952021"/>
                  <a:pt x="1359052" y="944059"/>
                  <a:pt x="1353099" y="946049"/>
                </a:cubicBezTo>
                <a:cubicBezTo>
                  <a:pt x="1347146" y="946049"/>
                  <a:pt x="1349130" y="952021"/>
                  <a:pt x="1345161" y="952021"/>
                </a:cubicBezTo>
                <a:cubicBezTo>
                  <a:pt x="1339208" y="952021"/>
                  <a:pt x="1335240" y="952021"/>
                  <a:pt x="1335240" y="952021"/>
                </a:cubicBezTo>
                <a:cubicBezTo>
                  <a:pt x="1335240" y="952021"/>
                  <a:pt x="1329286" y="950031"/>
                  <a:pt x="1331271" y="954012"/>
                </a:cubicBezTo>
                <a:cubicBezTo>
                  <a:pt x="1331271" y="957993"/>
                  <a:pt x="1329286" y="957993"/>
                  <a:pt x="1327302" y="957993"/>
                </a:cubicBezTo>
                <a:cubicBezTo>
                  <a:pt x="1325318" y="957993"/>
                  <a:pt x="1319365" y="959984"/>
                  <a:pt x="1319365" y="957993"/>
                </a:cubicBezTo>
                <a:cubicBezTo>
                  <a:pt x="1317380" y="954012"/>
                  <a:pt x="1317380" y="950031"/>
                  <a:pt x="1321349" y="946049"/>
                </a:cubicBezTo>
                <a:cubicBezTo>
                  <a:pt x="1323333" y="944059"/>
                  <a:pt x="1325318" y="946049"/>
                  <a:pt x="1325318" y="946049"/>
                </a:cubicBezTo>
                <a:lnTo>
                  <a:pt x="1329286" y="944059"/>
                </a:lnTo>
                <a:cubicBezTo>
                  <a:pt x="1331271" y="940077"/>
                  <a:pt x="1331271" y="940077"/>
                  <a:pt x="1331271" y="940077"/>
                </a:cubicBezTo>
                <a:cubicBezTo>
                  <a:pt x="1331271" y="934105"/>
                  <a:pt x="1331271" y="934105"/>
                  <a:pt x="1331271" y="934105"/>
                </a:cubicBezTo>
                <a:cubicBezTo>
                  <a:pt x="1333255" y="936096"/>
                  <a:pt x="1333255" y="936096"/>
                  <a:pt x="1333255" y="936096"/>
                </a:cubicBezTo>
                <a:cubicBezTo>
                  <a:pt x="1335240" y="934105"/>
                  <a:pt x="1335240" y="934105"/>
                  <a:pt x="1335240" y="934105"/>
                </a:cubicBezTo>
                <a:cubicBezTo>
                  <a:pt x="1337224" y="934105"/>
                  <a:pt x="1337224" y="934105"/>
                  <a:pt x="1337224" y="934105"/>
                </a:cubicBezTo>
                <a:cubicBezTo>
                  <a:pt x="1339208" y="934105"/>
                  <a:pt x="1339208" y="934105"/>
                  <a:pt x="1339208" y="934105"/>
                </a:cubicBezTo>
                <a:cubicBezTo>
                  <a:pt x="1339208" y="934105"/>
                  <a:pt x="1343177" y="936096"/>
                  <a:pt x="1343177" y="936096"/>
                </a:cubicBezTo>
                <a:cubicBezTo>
                  <a:pt x="1343177" y="936096"/>
                  <a:pt x="1347146" y="934105"/>
                  <a:pt x="1347146" y="934105"/>
                </a:cubicBezTo>
                <a:cubicBezTo>
                  <a:pt x="1347146" y="934105"/>
                  <a:pt x="1347146" y="932115"/>
                  <a:pt x="1347146" y="932115"/>
                </a:cubicBezTo>
                <a:cubicBezTo>
                  <a:pt x="1347146" y="930124"/>
                  <a:pt x="1347146" y="928133"/>
                  <a:pt x="1347146" y="928133"/>
                </a:cubicBezTo>
                <a:cubicBezTo>
                  <a:pt x="1345161" y="924152"/>
                  <a:pt x="1345161" y="924152"/>
                  <a:pt x="1345161" y="924152"/>
                </a:cubicBezTo>
                <a:cubicBezTo>
                  <a:pt x="1347146" y="916189"/>
                  <a:pt x="1347146" y="916189"/>
                  <a:pt x="1347146" y="916189"/>
                </a:cubicBezTo>
                <a:cubicBezTo>
                  <a:pt x="1349130" y="910217"/>
                  <a:pt x="1349130" y="910217"/>
                  <a:pt x="1349130" y="910217"/>
                </a:cubicBezTo>
                <a:cubicBezTo>
                  <a:pt x="1349130" y="910217"/>
                  <a:pt x="1349130" y="910217"/>
                  <a:pt x="1351115" y="910217"/>
                </a:cubicBezTo>
                <a:cubicBezTo>
                  <a:pt x="1351115" y="908227"/>
                  <a:pt x="1353099" y="908227"/>
                  <a:pt x="1353099" y="906236"/>
                </a:cubicBezTo>
                <a:cubicBezTo>
                  <a:pt x="1353099" y="906236"/>
                  <a:pt x="1353099" y="902255"/>
                  <a:pt x="1353099" y="902255"/>
                </a:cubicBezTo>
                <a:cubicBezTo>
                  <a:pt x="1355083" y="894292"/>
                  <a:pt x="1355083" y="894292"/>
                  <a:pt x="1355083" y="894292"/>
                </a:cubicBezTo>
                <a:cubicBezTo>
                  <a:pt x="1359052" y="886329"/>
                  <a:pt x="1359052" y="886329"/>
                  <a:pt x="1359052" y="886329"/>
                </a:cubicBezTo>
                <a:cubicBezTo>
                  <a:pt x="1359052" y="886329"/>
                  <a:pt x="1359052" y="882348"/>
                  <a:pt x="1361037" y="882348"/>
                </a:cubicBezTo>
                <a:cubicBezTo>
                  <a:pt x="1361037" y="880357"/>
                  <a:pt x="1361037" y="876376"/>
                  <a:pt x="1361037" y="876376"/>
                </a:cubicBezTo>
                <a:cubicBezTo>
                  <a:pt x="1361037" y="876376"/>
                  <a:pt x="1361037" y="866423"/>
                  <a:pt x="1365005" y="864432"/>
                </a:cubicBezTo>
                <a:cubicBezTo>
                  <a:pt x="1368974" y="860451"/>
                  <a:pt x="1368974" y="862441"/>
                  <a:pt x="1368974" y="862441"/>
                </a:cubicBezTo>
                <a:cubicBezTo>
                  <a:pt x="1368974" y="862441"/>
                  <a:pt x="1374927" y="862441"/>
                  <a:pt x="1374927" y="858460"/>
                </a:cubicBezTo>
                <a:cubicBezTo>
                  <a:pt x="1374927" y="856469"/>
                  <a:pt x="1374927" y="852488"/>
                  <a:pt x="1378896" y="852488"/>
                </a:cubicBezTo>
                <a:close/>
                <a:moveTo>
                  <a:pt x="1392627" y="846138"/>
                </a:moveTo>
                <a:cubicBezTo>
                  <a:pt x="1394532" y="846138"/>
                  <a:pt x="1396437" y="850107"/>
                  <a:pt x="1394532" y="852091"/>
                </a:cubicBezTo>
                <a:cubicBezTo>
                  <a:pt x="1394532" y="854075"/>
                  <a:pt x="1396437" y="858044"/>
                  <a:pt x="1396437" y="858044"/>
                </a:cubicBezTo>
                <a:cubicBezTo>
                  <a:pt x="1396437" y="858044"/>
                  <a:pt x="1398342" y="860028"/>
                  <a:pt x="1398342" y="862013"/>
                </a:cubicBezTo>
                <a:cubicBezTo>
                  <a:pt x="1398342" y="863997"/>
                  <a:pt x="1396437" y="863997"/>
                  <a:pt x="1398342" y="865981"/>
                </a:cubicBezTo>
                <a:cubicBezTo>
                  <a:pt x="1398342" y="869950"/>
                  <a:pt x="1398342" y="867966"/>
                  <a:pt x="1396437" y="867966"/>
                </a:cubicBezTo>
                <a:cubicBezTo>
                  <a:pt x="1394532" y="867966"/>
                  <a:pt x="1394532" y="863997"/>
                  <a:pt x="1394532" y="863997"/>
                </a:cubicBezTo>
                <a:cubicBezTo>
                  <a:pt x="1394532" y="863997"/>
                  <a:pt x="1394532" y="863997"/>
                  <a:pt x="1392627" y="860028"/>
                </a:cubicBezTo>
                <a:cubicBezTo>
                  <a:pt x="1388817" y="858044"/>
                  <a:pt x="1390722" y="858044"/>
                  <a:pt x="1390722" y="856060"/>
                </a:cubicBezTo>
                <a:cubicBezTo>
                  <a:pt x="1390722" y="856060"/>
                  <a:pt x="1390722" y="856060"/>
                  <a:pt x="1390722" y="850107"/>
                </a:cubicBezTo>
                <a:cubicBezTo>
                  <a:pt x="1388817" y="846138"/>
                  <a:pt x="1392627" y="846138"/>
                  <a:pt x="1392627" y="846138"/>
                </a:cubicBezTo>
                <a:close/>
                <a:moveTo>
                  <a:pt x="1408344" y="842963"/>
                </a:moveTo>
                <a:cubicBezTo>
                  <a:pt x="1410408" y="842963"/>
                  <a:pt x="1414535" y="846871"/>
                  <a:pt x="1418663" y="846871"/>
                </a:cubicBezTo>
                <a:cubicBezTo>
                  <a:pt x="1420727" y="846871"/>
                  <a:pt x="1418663" y="852732"/>
                  <a:pt x="1420727" y="852732"/>
                </a:cubicBezTo>
                <a:cubicBezTo>
                  <a:pt x="1422791" y="852732"/>
                  <a:pt x="1422791" y="854686"/>
                  <a:pt x="1420727" y="856640"/>
                </a:cubicBezTo>
                <a:cubicBezTo>
                  <a:pt x="1418663" y="858594"/>
                  <a:pt x="1422791" y="860548"/>
                  <a:pt x="1424854" y="860548"/>
                </a:cubicBezTo>
                <a:cubicBezTo>
                  <a:pt x="1426918" y="860548"/>
                  <a:pt x="1426918" y="864455"/>
                  <a:pt x="1426918" y="864455"/>
                </a:cubicBezTo>
                <a:cubicBezTo>
                  <a:pt x="1426918" y="864455"/>
                  <a:pt x="1422791" y="866409"/>
                  <a:pt x="1422791" y="868363"/>
                </a:cubicBezTo>
                <a:cubicBezTo>
                  <a:pt x="1420727" y="868363"/>
                  <a:pt x="1418663" y="866409"/>
                  <a:pt x="1420727" y="864455"/>
                </a:cubicBezTo>
                <a:cubicBezTo>
                  <a:pt x="1420727" y="862502"/>
                  <a:pt x="1418663" y="860548"/>
                  <a:pt x="1414535" y="864455"/>
                </a:cubicBezTo>
                <a:cubicBezTo>
                  <a:pt x="1410408" y="864455"/>
                  <a:pt x="1410408" y="860548"/>
                  <a:pt x="1410408" y="856640"/>
                </a:cubicBezTo>
                <a:cubicBezTo>
                  <a:pt x="1410408" y="850779"/>
                  <a:pt x="1406280" y="852732"/>
                  <a:pt x="1406280" y="848825"/>
                </a:cubicBezTo>
                <a:cubicBezTo>
                  <a:pt x="1406280" y="844917"/>
                  <a:pt x="1408344" y="842963"/>
                  <a:pt x="1408344" y="842963"/>
                </a:cubicBezTo>
                <a:close/>
                <a:moveTo>
                  <a:pt x="1895759" y="784225"/>
                </a:moveTo>
                <a:cubicBezTo>
                  <a:pt x="1895759" y="784225"/>
                  <a:pt x="1899464" y="784225"/>
                  <a:pt x="1901316" y="786606"/>
                </a:cubicBezTo>
                <a:cubicBezTo>
                  <a:pt x="1903168" y="788987"/>
                  <a:pt x="1897612" y="788987"/>
                  <a:pt x="1893907" y="788987"/>
                </a:cubicBezTo>
                <a:cubicBezTo>
                  <a:pt x="1892055" y="784225"/>
                  <a:pt x="1895759" y="784225"/>
                  <a:pt x="1895759" y="784225"/>
                </a:cubicBezTo>
                <a:close/>
                <a:moveTo>
                  <a:pt x="1686210" y="766506"/>
                </a:moveTo>
                <a:lnTo>
                  <a:pt x="1686443" y="766740"/>
                </a:lnTo>
                <a:lnTo>
                  <a:pt x="1686472" y="766768"/>
                </a:lnTo>
                <a:close/>
                <a:moveTo>
                  <a:pt x="1686158" y="766455"/>
                </a:moveTo>
                <a:lnTo>
                  <a:pt x="1686187" y="766484"/>
                </a:lnTo>
                <a:lnTo>
                  <a:pt x="1686210" y="766506"/>
                </a:lnTo>
                <a:close/>
                <a:moveTo>
                  <a:pt x="1686096" y="766392"/>
                </a:moveTo>
                <a:lnTo>
                  <a:pt x="1686108" y="766405"/>
                </a:lnTo>
                <a:lnTo>
                  <a:pt x="1686158" y="766455"/>
                </a:lnTo>
                <a:close/>
                <a:moveTo>
                  <a:pt x="863884" y="764117"/>
                </a:moveTo>
                <a:cubicBezTo>
                  <a:pt x="868117" y="762000"/>
                  <a:pt x="868117" y="768350"/>
                  <a:pt x="866000" y="766233"/>
                </a:cubicBezTo>
                <a:cubicBezTo>
                  <a:pt x="861767" y="766233"/>
                  <a:pt x="863884" y="764117"/>
                  <a:pt x="863884" y="764117"/>
                </a:cubicBezTo>
                <a:close/>
                <a:moveTo>
                  <a:pt x="876584" y="762529"/>
                </a:moveTo>
                <a:cubicBezTo>
                  <a:pt x="876584" y="762529"/>
                  <a:pt x="880817" y="760412"/>
                  <a:pt x="880817" y="762529"/>
                </a:cubicBezTo>
                <a:cubicBezTo>
                  <a:pt x="880817" y="766762"/>
                  <a:pt x="876584" y="766762"/>
                  <a:pt x="876584" y="764645"/>
                </a:cubicBezTo>
                <a:cubicBezTo>
                  <a:pt x="874467" y="762529"/>
                  <a:pt x="876584" y="762529"/>
                  <a:pt x="876584" y="762529"/>
                </a:cubicBezTo>
                <a:close/>
                <a:moveTo>
                  <a:pt x="852242" y="762529"/>
                </a:moveTo>
                <a:cubicBezTo>
                  <a:pt x="854359" y="760412"/>
                  <a:pt x="858592" y="760412"/>
                  <a:pt x="858592" y="762529"/>
                </a:cubicBezTo>
                <a:cubicBezTo>
                  <a:pt x="858592" y="764645"/>
                  <a:pt x="858592" y="766762"/>
                  <a:pt x="856475" y="766762"/>
                </a:cubicBezTo>
                <a:cubicBezTo>
                  <a:pt x="852242" y="764645"/>
                  <a:pt x="852242" y="762529"/>
                  <a:pt x="852242" y="762529"/>
                </a:cubicBezTo>
                <a:close/>
                <a:moveTo>
                  <a:pt x="735085" y="762529"/>
                </a:moveTo>
                <a:cubicBezTo>
                  <a:pt x="735085" y="762529"/>
                  <a:pt x="740800" y="760412"/>
                  <a:pt x="742705" y="762529"/>
                </a:cubicBezTo>
                <a:cubicBezTo>
                  <a:pt x="742705" y="764645"/>
                  <a:pt x="740800" y="766762"/>
                  <a:pt x="736990" y="764645"/>
                </a:cubicBezTo>
                <a:cubicBezTo>
                  <a:pt x="733180" y="764645"/>
                  <a:pt x="735085" y="762529"/>
                  <a:pt x="735085" y="762529"/>
                </a:cubicBezTo>
                <a:close/>
                <a:moveTo>
                  <a:pt x="752627" y="762000"/>
                </a:moveTo>
                <a:cubicBezTo>
                  <a:pt x="752627" y="762000"/>
                  <a:pt x="754611" y="762000"/>
                  <a:pt x="756596" y="762000"/>
                </a:cubicBezTo>
                <a:cubicBezTo>
                  <a:pt x="758580" y="764381"/>
                  <a:pt x="752627" y="766762"/>
                  <a:pt x="750642" y="764381"/>
                </a:cubicBezTo>
                <a:cubicBezTo>
                  <a:pt x="750642" y="764381"/>
                  <a:pt x="752627" y="762000"/>
                  <a:pt x="752627" y="762000"/>
                </a:cubicBezTo>
                <a:close/>
                <a:moveTo>
                  <a:pt x="760697" y="760412"/>
                </a:moveTo>
                <a:cubicBezTo>
                  <a:pt x="762813" y="760412"/>
                  <a:pt x="764930" y="762529"/>
                  <a:pt x="764930" y="764645"/>
                </a:cubicBezTo>
                <a:cubicBezTo>
                  <a:pt x="764930" y="764645"/>
                  <a:pt x="760697" y="766762"/>
                  <a:pt x="760697" y="764645"/>
                </a:cubicBezTo>
                <a:cubicBezTo>
                  <a:pt x="758580" y="762529"/>
                  <a:pt x="760697" y="760412"/>
                  <a:pt x="760697" y="760412"/>
                </a:cubicBezTo>
                <a:close/>
                <a:moveTo>
                  <a:pt x="1869830" y="758824"/>
                </a:moveTo>
                <a:cubicBezTo>
                  <a:pt x="1869830" y="758824"/>
                  <a:pt x="1871947" y="758824"/>
                  <a:pt x="1871947" y="758824"/>
                </a:cubicBezTo>
                <a:cubicBezTo>
                  <a:pt x="1876180" y="757237"/>
                  <a:pt x="1876180" y="758824"/>
                  <a:pt x="1874063" y="760412"/>
                </a:cubicBezTo>
                <a:cubicBezTo>
                  <a:pt x="1871947" y="761999"/>
                  <a:pt x="1869830" y="760412"/>
                  <a:pt x="1869830" y="758824"/>
                </a:cubicBezTo>
                <a:close/>
                <a:moveTo>
                  <a:pt x="825784" y="758824"/>
                </a:moveTo>
                <a:cubicBezTo>
                  <a:pt x="825784" y="758824"/>
                  <a:pt x="830017" y="757237"/>
                  <a:pt x="830017" y="758824"/>
                </a:cubicBezTo>
                <a:cubicBezTo>
                  <a:pt x="830017" y="760412"/>
                  <a:pt x="825784" y="761999"/>
                  <a:pt x="825784" y="760412"/>
                </a:cubicBezTo>
                <a:cubicBezTo>
                  <a:pt x="823667" y="758824"/>
                  <a:pt x="825784" y="758824"/>
                  <a:pt x="825784" y="758824"/>
                </a:cubicBezTo>
                <a:close/>
                <a:moveTo>
                  <a:pt x="1086201" y="758725"/>
                </a:moveTo>
                <a:cubicBezTo>
                  <a:pt x="1086796" y="758725"/>
                  <a:pt x="1087193" y="759221"/>
                  <a:pt x="1087193" y="761206"/>
                </a:cubicBezTo>
                <a:cubicBezTo>
                  <a:pt x="1087193" y="765174"/>
                  <a:pt x="1085605" y="763190"/>
                  <a:pt x="1084018" y="763190"/>
                </a:cubicBezTo>
                <a:cubicBezTo>
                  <a:pt x="1082430" y="763190"/>
                  <a:pt x="1084018" y="759221"/>
                  <a:pt x="1084018" y="759221"/>
                </a:cubicBezTo>
                <a:cubicBezTo>
                  <a:pt x="1084812" y="759221"/>
                  <a:pt x="1085605" y="758725"/>
                  <a:pt x="1086201" y="758725"/>
                </a:cubicBezTo>
                <a:close/>
                <a:moveTo>
                  <a:pt x="830017" y="754856"/>
                </a:moveTo>
                <a:cubicBezTo>
                  <a:pt x="830017" y="754856"/>
                  <a:pt x="832399" y="752475"/>
                  <a:pt x="834780" y="754856"/>
                </a:cubicBezTo>
                <a:cubicBezTo>
                  <a:pt x="834780" y="754856"/>
                  <a:pt x="834780" y="757237"/>
                  <a:pt x="832399" y="757237"/>
                </a:cubicBezTo>
                <a:cubicBezTo>
                  <a:pt x="830017" y="757237"/>
                  <a:pt x="830017" y="754856"/>
                  <a:pt x="830017" y="754856"/>
                </a:cubicBezTo>
                <a:close/>
                <a:moveTo>
                  <a:pt x="893517" y="752475"/>
                </a:moveTo>
                <a:cubicBezTo>
                  <a:pt x="893517" y="750887"/>
                  <a:pt x="898280" y="750887"/>
                  <a:pt x="898280" y="752475"/>
                </a:cubicBezTo>
                <a:cubicBezTo>
                  <a:pt x="898280" y="752475"/>
                  <a:pt x="895899" y="754062"/>
                  <a:pt x="893517" y="754062"/>
                </a:cubicBezTo>
                <a:cubicBezTo>
                  <a:pt x="893517" y="754062"/>
                  <a:pt x="893517" y="752475"/>
                  <a:pt x="893517" y="752475"/>
                </a:cubicBezTo>
                <a:close/>
                <a:moveTo>
                  <a:pt x="1660280" y="749300"/>
                </a:moveTo>
                <a:cubicBezTo>
                  <a:pt x="1662220" y="751228"/>
                  <a:pt x="1660280" y="755083"/>
                  <a:pt x="1658339" y="755083"/>
                </a:cubicBezTo>
                <a:cubicBezTo>
                  <a:pt x="1656399" y="757011"/>
                  <a:pt x="1660280" y="757011"/>
                  <a:pt x="1664160" y="757011"/>
                </a:cubicBezTo>
                <a:cubicBezTo>
                  <a:pt x="1666100" y="755083"/>
                  <a:pt x="1666100" y="757011"/>
                  <a:pt x="1668041" y="758938"/>
                </a:cubicBezTo>
                <a:cubicBezTo>
                  <a:pt x="1669981" y="760866"/>
                  <a:pt x="1671921" y="758938"/>
                  <a:pt x="1673862" y="758938"/>
                </a:cubicBezTo>
                <a:cubicBezTo>
                  <a:pt x="1675802" y="758938"/>
                  <a:pt x="1675802" y="764721"/>
                  <a:pt x="1675802" y="764721"/>
                </a:cubicBezTo>
                <a:cubicBezTo>
                  <a:pt x="1675802" y="766649"/>
                  <a:pt x="1677742" y="770504"/>
                  <a:pt x="1677742" y="772432"/>
                </a:cubicBezTo>
                <a:cubicBezTo>
                  <a:pt x="1677742" y="774359"/>
                  <a:pt x="1675802" y="774359"/>
                  <a:pt x="1673862" y="772432"/>
                </a:cubicBezTo>
                <a:cubicBezTo>
                  <a:pt x="1671921" y="772432"/>
                  <a:pt x="1669981" y="770504"/>
                  <a:pt x="1668041" y="772432"/>
                </a:cubicBezTo>
                <a:cubicBezTo>
                  <a:pt x="1666100" y="776287"/>
                  <a:pt x="1666100" y="774359"/>
                  <a:pt x="1664160" y="772432"/>
                </a:cubicBezTo>
                <a:cubicBezTo>
                  <a:pt x="1664160" y="770504"/>
                  <a:pt x="1660280" y="772432"/>
                  <a:pt x="1658339" y="772432"/>
                </a:cubicBezTo>
                <a:cubicBezTo>
                  <a:pt x="1658339" y="774359"/>
                  <a:pt x="1656399" y="774359"/>
                  <a:pt x="1654459" y="772432"/>
                </a:cubicBezTo>
                <a:cubicBezTo>
                  <a:pt x="1652519" y="772432"/>
                  <a:pt x="1650578" y="776287"/>
                  <a:pt x="1650578" y="776287"/>
                </a:cubicBezTo>
                <a:cubicBezTo>
                  <a:pt x="1650578" y="776287"/>
                  <a:pt x="1650578" y="776287"/>
                  <a:pt x="1648638" y="774359"/>
                </a:cubicBezTo>
                <a:cubicBezTo>
                  <a:pt x="1648638" y="774359"/>
                  <a:pt x="1646698" y="774359"/>
                  <a:pt x="1646698" y="772432"/>
                </a:cubicBezTo>
                <a:cubicBezTo>
                  <a:pt x="1646698" y="768576"/>
                  <a:pt x="1646698" y="768576"/>
                  <a:pt x="1644757" y="764721"/>
                </a:cubicBezTo>
                <a:cubicBezTo>
                  <a:pt x="1644757" y="760866"/>
                  <a:pt x="1642817" y="762794"/>
                  <a:pt x="1642817" y="758938"/>
                </a:cubicBezTo>
                <a:cubicBezTo>
                  <a:pt x="1644757" y="755083"/>
                  <a:pt x="1650578" y="755083"/>
                  <a:pt x="1650578" y="755083"/>
                </a:cubicBezTo>
                <a:cubicBezTo>
                  <a:pt x="1650578" y="755083"/>
                  <a:pt x="1652519" y="753155"/>
                  <a:pt x="1654459" y="753155"/>
                </a:cubicBezTo>
                <a:cubicBezTo>
                  <a:pt x="1656399" y="753155"/>
                  <a:pt x="1656399" y="753155"/>
                  <a:pt x="1656399" y="751228"/>
                </a:cubicBezTo>
                <a:cubicBezTo>
                  <a:pt x="1656399" y="749300"/>
                  <a:pt x="1660280" y="749300"/>
                  <a:pt x="1660280" y="749300"/>
                </a:cubicBezTo>
                <a:close/>
                <a:moveTo>
                  <a:pt x="1566618" y="746125"/>
                </a:moveTo>
                <a:cubicBezTo>
                  <a:pt x="1566618" y="746125"/>
                  <a:pt x="1569793" y="746125"/>
                  <a:pt x="1569793" y="748242"/>
                </a:cubicBezTo>
                <a:cubicBezTo>
                  <a:pt x="1569793" y="750358"/>
                  <a:pt x="1566618" y="752475"/>
                  <a:pt x="1565030" y="748242"/>
                </a:cubicBezTo>
                <a:cubicBezTo>
                  <a:pt x="1565030" y="746125"/>
                  <a:pt x="1566618" y="746125"/>
                  <a:pt x="1566618" y="746125"/>
                </a:cubicBezTo>
                <a:close/>
                <a:moveTo>
                  <a:pt x="1368357" y="746125"/>
                </a:moveTo>
                <a:cubicBezTo>
                  <a:pt x="1372237" y="746125"/>
                  <a:pt x="1372237" y="750234"/>
                  <a:pt x="1372237" y="750234"/>
                </a:cubicBezTo>
                <a:cubicBezTo>
                  <a:pt x="1372237" y="750234"/>
                  <a:pt x="1376118" y="754343"/>
                  <a:pt x="1374178" y="756397"/>
                </a:cubicBezTo>
                <a:cubicBezTo>
                  <a:pt x="1374178" y="760506"/>
                  <a:pt x="1374178" y="762560"/>
                  <a:pt x="1374178" y="764615"/>
                </a:cubicBezTo>
                <a:cubicBezTo>
                  <a:pt x="1376118" y="766669"/>
                  <a:pt x="1374178" y="770778"/>
                  <a:pt x="1374178" y="776941"/>
                </a:cubicBezTo>
                <a:cubicBezTo>
                  <a:pt x="1374178" y="781050"/>
                  <a:pt x="1368357" y="776941"/>
                  <a:pt x="1368357" y="776941"/>
                </a:cubicBezTo>
                <a:cubicBezTo>
                  <a:pt x="1368357" y="776941"/>
                  <a:pt x="1366416" y="772832"/>
                  <a:pt x="1364476" y="770778"/>
                </a:cubicBezTo>
                <a:cubicBezTo>
                  <a:pt x="1362536" y="768724"/>
                  <a:pt x="1362536" y="766669"/>
                  <a:pt x="1362536" y="764615"/>
                </a:cubicBezTo>
                <a:cubicBezTo>
                  <a:pt x="1362536" y="760506"/>
                  <a:pt x="1360595" y="760506"/>
                  <a:pt x="1360595" y="756397"/>
                </a:cubicBezTo>
                <a:cubicBezTo>
                  <a:pt x="1358655" y="752288"/>
                  <a:pt x="1364476" y="752288"/>
                  <a:pt x="1364476" y="752288"/>
                </a:cubicBezTo>
                <a:cubicBezTo>
                  <a:pt x="1368357" y="754343"/>
                  <a:pt x="1366416" y="750234"/>
                  <a:pt x="1366416" y="750234"/>
                </a:cubicBezTo>
                <a:cubicBezTo>
                  <a:pt x="1366416" y="750234"/>
                  <a:pt x="1364476" y="746125"/>
                  <a:pt x="1368357" y="746125"/>
                </a:cubicBezTo>
                <a:close/>
                <a:moveTo>
                  <a:pt x="910187" y="746125"/>
                </a:moveTo>
                <a:cubicBezTo>
                  <a:pt x="910187" y="746125"/>
                  <a:pt x="912568" y="746125"/>
                  <a:pt x="912568" y="748506"/>
                </a:cubicBezTo>
                <a:cubicBezTo>
                  <a:pt x="912568" y="750887"/>
                  <a:pt x="907805" y="750887"/>
                  <a:pt x="907805" y="748506"/>
                </a:cubicBezTo>
                <a:cubicBezTo>
                  <a:pt x="907805" y="746125"/>
                  <a:pt x="910187" y="746125"/>
                  <a:pt x="910187" y="746125"/>
                </a:cubicBezTo>
                <a:close/>
                <a:moveTo>
                  <a:pt x="914155" y="744934"/>
                </a:moveTo>
                <a:cubicBezTo>
                  <a:pt x="914155" y="744934"/>
                  <a:pt x="915742" y="742950"/>
                  <a:pt x="915742" y="744934"/>
                </a:cubicBezTo>
                <a:cubicBezTo>
                  <a:pt x="917330" y="746919"/>
                  <a:pt x="914155" y="750887"/>
                  <a:pt x="914155" y="746919"/>
                </a:cubicBezTo>
                <a:cubicBezTo>
                  <a:pt x="912567" y="744934"/>
                  <a:pt x="914155" y="744934"/>
                  <a:pt x="914155" y="744934"/>
                </a:cubicBezTo>
                <a:close/>
                <a:moveTo>
                  <a:pt x="1626489" y="744921"/>
                </a:moveTo>
                <a:cubicBezTo>
                  <a:pt x="1630571" y="746891"/>
                  <a:pt x="1626489" y="748862"/>
                  <a:pt x="1634653" y="748862"/>
                </a:cubicBezTo>
                <a:cubicBezTo>
                  <a:pt x="1642817" y="748862"/>
                  <a:pt x="1640776" y="756745"/>
                  <a:pt x="1638735" y="760686"/>
                </a:cubicBezTo>
                <a:cubicBezTo>
                  <a:pt x="1636694" y="764628"/>
                  <a:pt x="1636694" y="768569"/>
                  <a:pt x="1636694" y="770540"/>
                </a:cubicBezTo>
                <a:cubicBezTo>
                  <a:pt x="1636694" y="772510"/>
                  <a:pt x="1638735" y="780393"/>
                  <a:pt x="1634653" y="784335"/>
                </a:cubicBezTo>
                <a:cubicBezTo>
                  <a:pt x="1630571" y="788276"/>
                  <a:pt x="1624447" y="792217"/>
                  <a:pt x="1624447" y="792217"/>
                </a:cubicBezTo>
                <a:cubicBezTo>
                  <a:pt x="1624447" y="792217"/>
                  <a:pt x="1620365" y="796159"/>
                  <a:pt x="1618324" y="796159"/>
                </a:cubicBezTo>
                <a:cubicBezTo>
                  <a:pt x="1616283" y="796159"/>
                  <a:pt x="1616283" y="796159"/>
                  <a:pt x="1614242" y="796159"/>
                </a:cubicBezTo>
                <a:cubicBezTo>
                  <a:pt x="1614242" y="796159"/>
                  <a:pt x="1610160" y="796159"/>
                  <a:pt x="1610160" y="796159"/>
                </a:cubicBezTo>
                <a:cubicBezTo>
                  <a:pt x="1610160" y="800100"/>
                  <a:pt x="1610160" y="800100"/>
                  <a:pt x="1610160" y="800100"/>
                </a:cubicBezTo>
                <a:cubicBezTo>
                  <a:pt x="1606078" y="796159"/>
                  <a:pt x="1606078" y="796159"/>
                  <a:pt x="1606078" y="796159"/>
                </a:cubicBezTo>
                <a:cubicBezTo>
                  <a:pt x="1599955" y="796159"/>
                  <a:pt x="1599955" y="796159"/>
                  <a:pt x="1599955" y="796159"/>
                </a:cubicBezTo>
                <a:cubicBezTo>
                  <a:pt x="1599955" y="796159"/>
                  <a:pt x="1597914" y="796159"/>
                  <a:pt x="1595872" y="796159"/>
                </a:cubicBezTo>
                <a:cubicBezTo>
                  <a:pt x="1595872" y="794188"/>
                  <a:pt x="1591790" y="798129"/>
                  <a:pt x="1589749" y="796159"/>
                </a:cubicBezTo>
                <a:cubicBezTo>
                  <a:pt x="1589749" y="792217"/>
                  <a:pt x="1589749" y="792217"/>
                  <a:pt x="1589749" y="792217"/>
                </a:cubicBezTo>
                <a:cubicBezTo>
                  <a:pt x="1589749" y="792217"/>
                  <a:pt x="1585667" y="788276"/>
                  <a:pt x="1585667" y="780393"/>
                </a:cubicBezTo>
                <a:cubicBezTo>
                  <a:pt x="1585667" y="772510"/>
                  <a:pt x="1587708" y="766598"/>
                  <a:pt x="1587708" y="766598"/>
                </a:cubicBezTo>
                <a:cubicBezTo>
                  <a:pt x="1587708" y="766598"/>
                  <a:pt x="1587708" y="764628"/>
                  <a:pt x="1589749" y="762657"/>
                </a:cubicBezTo>
                <a:cubicBezTo>
                  <a:pt x="1593831" y="760686"/>
                  <a:pt x="1597914" y="756745"/>
                  <a:pt x="1597914" y="756745"/>
                </a:cubicBezTo>
                <a:lnTo>
                  <a:pt x="1601996" y="754774"/>
                </a:lnTo>
                <a:cubicBezTo>
                  <a:pt x="1601996" y="754774"/>
                  <a:pt x="1606078" y="746891"/>
                  <a:pt x="1608119" y="748862"/>
                </a:cubicBezTo>
                <a:cubicBezTo>
                  <a:pt x="1612201" y="750833"/>
                  <a:pt x="1618324" y="750833"/>
                  <a:pt x="1620365" y="746891"/>
                </a:cubicBezTo>
                <a:cubicBezTo>
                  <a:pt x="1622406" y="744921"/>
                  <a:pt x="1622406" y="742950"/>
                  <a:pt x="1626489" y="744921"/>
                </a:cubicBezTo>
                <a:close/>
                <a:moveTo>
                  <a:pt x="1557966" y="744686"/>
                </a:moveTo>
                <a:cubicBezTo>
                  <a:pt x="1558680" y="744934"/>
                  <a:pt x="1558680" y="745927"/>
                  <a:pt x="1558680" y="746919"/>
                </a:cubicBezTo>
                <a:cubicBezTo>
                  <a:pt x="1558680" y="748903"/>
                  <a:pt x="1554870" y="750888"/>
                  <a:pt x="1554870" y="754856"/>
                </a:cubicBezTo>
                <a:cubicBezTo>
                  <a:pt x="1554870" y="756841"/>
                  <a:pt x="1554870" y="758825"/>
                  <a:pt x="1552965" y="758825"/>
                </a:cubicBezTo>
                <a:cubicBezTo>
                  <a:pt x="1551060" y="758825"/>
                  <a:pt x="1551060" y="758825"/>
                  <a:pt x="1549155" y="752872"/>
                </a:cubicBezTo>
                <a:cubicBezTo>
                  <a:pt x="1549155" y="746919"/>
                  <a:pt x="1552965" y="746919"/>
                  <a:pt x="1552965" y="746919"/>
                </a:cubicBezTo>
                <a:cubicBezTo>
                  <a:pt x="1555823" y="744934"/>
                  <a:pt x="1557251" y="744438"/>
                  <a:pt x="1557966" y="744686"/>
                </a:cubicBezTo>
                <a:close/>
                <a:moveTo>
                  <a:pt x="814540" y="738717"/>
                </a:moveTo>
                <a:cubicBezTo>
                  <a:pt x="818509" y="736600"/>
                  <a:pt x="820493" y="736600"/>
                  <a:pt x="820493" y="738717"/>
                </a:cubicBezTo>
                <a:cubicBezTo>
                  <a:pt x="820493" y="740833"/>
                  <a:pt x="816524" y="742950"/>
                  <a:pt x="814540" y="742950"/>
                </a:cubicBezTo>
                <a:cubicBezTo>
                  <a:pt x="812555" y="740833"/>
                  <a:pt x="814540" y="738717"/>
                  <a:pt x="814540" y="738717"/>
                </a:cubicBezTo>
                <a:close/>
                <a:moveTo>
                  <a:pt x="827636" y="736600"/>
                </a:moveTo>
                <a:cubicBezTo>
                  <a:pt x="827636" y="736600"/>
                  <a:pt x="831605" y="738717"/>
                  <a:pt x="829621" y="740833"/>
                </a:cubicBezTo>
                <a:cubicBezTo>
                  <a:pt x="829621" y="742950"/>
                  <a:pt x="823667" y="742950"/>
                  <a:pt x="823667" y="738717"/>
                </a:cubicBezTo>
                <a:cubicBezTo>
                  <a:pt x="823667" y="736600"/>
                  <a:pt x="827636" y="736600"/>
                  <a:pt x="827636" y="736600"/>
                </a:cubicBezTo>
                <a:close/>
                <a:moveTo>
                  <a:pt x="1807389" y="730150"/>
                </a:moveTo>
                <a:cubicBezTo>
                  <a:pt x="1808447" y="730150"/>
                  <a:pt x="1809505" y="730646"/>
                  <a:pt x="1809505" y="732631"/>
                </a:cubicBezTo>
                <a:cubicBezTo>
                  <a:pt x="1809505" y="736599"/>
                  <a:pt x="1805272" y="736599"/>
                  <a:pt x="1805272" y="734615"/>
                </a:cubicBezTo>
                <a:cubicBezTo>
                  <a:pt x="1803155" y="730646"/>
                  <a:pt x="1805272" y="730646"/>
                  <a:pt x="1805272" y="730646"/>
                </a:cubicBezTo>
                <a:cubicBezTo>
                  <a:pt x="1805272" y="730646"/>
                  <a:pt x="1806330" y="730150"/>
                  <a:pt x="1807389" y="730150"/>
                </a:cubicBezTo>
                <a:close/>
                <a:moveTo>
                  <a:pt x="1558362" y="729059"/>
                </a:moveTo>
                <a:cubicBezTo>
                  <a:pt x="1558362" y="727075"/>
                  <a:pt x="1565030" y="731044"/>
                  <a:pt x="1565030" y="733028"/>
                </a:cubicBezTo>
                <a:cubicBezTo>
                  <a:pt x="1565030" y="733028"/>
                  <a:pt x="1562808" y="736997"/>
                  <a:pt x="1562808" y="738981"/>
                </a:cubicBezTo>
                <a:cubicBezTo>
                  <a:pt x="1560585" y="742950"/>
                  <a:pt x="1558362" y="742950"/>
                  <a:pt x="1556140" y="740966"/>
                </a:cubicBezTo>
                <a:cubicBezTo>
                  <a:pt x="1553917" y="736997"/>
                  <a:pt x="1556140" y="736997"/>
                  <a:pt x="1558362" y="735013"/>
                </a:cubicBezTo>
                <a:cubicBezTo>
                  <a:pt x="1560585" y="733028"/>
                  <a:pt x="1558362" y="731044"/>
                  <a:pt x="1558362" y="731044"/>
                </a:cubicBezTo>
                <a:cubicBezTo>
                  <a:pt x="1558362" y="731044"/>
                  <a:pt x="1556140" y="731044"/>
                  <a:pt x="1558362" y="729059"/>
                </a:cubicBezTo>
                <a:close/>
                <a:moveTo>
                  <a:pt x="747997" y="728662"/>
                </a:moveTo>
                <a:cubicBezTo>
                  <a:pt x="750113" y="728662"/>
                  <a:pt x="750113" y="730779"/>
                  <a:pt x="750113" y="730779"/>
                </a:cubicBezTo>
                <a:cubicBezTo>
                  <a:pt x="750113" y="730779"/>
                  <a:pt x="752230" y="735012"/>
                  <a:pt x="747997" y="732895"/>
                </a:cubicBezTo>
                <a:cubicBezTo>
                  <a:pt x="745880" y="730779"/>
                  <a:pt x="747997" y="728662"/>
                  <a:pt x="747997" y="728662"/>
                </a:cubicBezTo>
                <a:close/>
                <a:moveTo>
                  <a:pt x="1023693" y="727075"/>
                </a:moveTo>
                <a:cubicBezTo>
                  <a:pt x="1025677" y="727075"/>
                  <a:pt x="1027661" y="728980"/>
                  <a:pt x="1029646" y="728980"/>
                </a:cubicBezTo>
                <a:cubicBezTo>
                  <a:pt x="1029646" y="728980"/>
                  <a:pt x="1031630" y="728980"/>
                  <a:pt x="1029646" y="730885"/>
                </a:cubicBezTo>
                <a:cubicBezTo>
                  <a:pt x="1029646" y="734695"/>
                  <a:pt x="1027661" y="734695"/>
                  <a:pt x="1025677" y="734695"/>
                </a:cubicBezTo>
                <a:cubicBezTo>
                  <a:pt x="1025677" y="734695"/>
                  <a:pt x="1023693" y="734695"/>
                  <a:pt x="1023693" y="734695"/>
                </a:cubicBezTo>
                <a:cubicBezTo>
                  <a:pt x="1023693" y="734695"/>
                  <a:pt x="1021708" y="736600"/>
                  <a:pt x="1019724" y="736600"/>
                </a:cubicBezTo>
                <a:cubicBezTo>
                  <a:pt x="1017739" y="736600"/>
                  <a:pt x="1015755" y="734695"/>
                  <a:pt x="1015755" y="734695"/>
                </a:cubicBezTo>
                <a:cubicBezTo>
                  <a:pt x="1015755" y="734695"/>
                  <a:pt x="1015755" y="730885"/>
                  <a:pt x="1017739" y="730885"/>
                </a:cubicBezTo>
                <a:cubicBezTo>
                  <a:pt x="1017739" y="730885"/>
                  <a:pt x="1021708" y="730885"/>
                  <a:pt x="1021708" y="730885"/>
                </a:cubicBezTo>
                <a:cubicBezTo>
                  <a:pt x="1021708" y="730885"/>
                  <a:pt x="1021708" y="727075"/>
                  <a:pt x="1023693" y="727075"/>
                </a:cubicBezTo>
                <a:close/>
                <a:moveTo>
                  <a:pt x="740059" y="727075"/>
                </a:moveTo>
                <a:cubicBezTo>
                  <a:pt x="744292" y="727075"/>
                  <a:pt x="744292" y="729192"/>
                  <a:pt x="744292" y="729192"/>
                </a:cubicBezTo>
                <a:cubicBezTo>
                  <a:pt x="744292" y="729192"/>
                  <a:pt x="744292" y="733425"/>
                  <a:pt x="742175" y="731308"/>
                </a:cubicBezTo>
                <a:cubicBezTo>
                  <a:pt x="737942" y="729192"/>
                  <a:pt x="740059" y="727075"/>
                  <a:pt x="740059" y="727075"/>
                </a:cubicBezTo>
                <a:close/>
                <a:moveTo>
                  <a:pt x="1815855" y="720725"/>
                </a:moveTo>
                <a:cubicBezTo>
                  <a:pt x="1819030" y="720725"/>
                  <a:pt x="1819030" y="720725"/>
                  <a:pt x="1819030" y="724958"/>
                </a:cubicBezTo>
                <a:cubicBezTo>
                  <a:pt x="1819030" y="727075"/>
                  <a:pt x="1815855" y="727075"/>
                  <a:pt x="1814267" y="724958"/>
                </a:cubicBezTo>
                <a:cubicBezTo>
                  <a:pt x="1814267" y="722842"/>
                  <a:pt x="1815855" y="720725"/>
                  <a:pt x="1815855" y="720725"/>
                </a:cubicBezTo>
                <a:close/>
                <a:moveTo>
                  <a:pt x="736884" y="717946"/>
                </a:moveTo>
                <a:cubicBezTo>
                  <a:pt x="739000" y="715962"/>
                  <a:pt x="741117" y="717946"/>
                  <a:pt x="741117" y="719931"/>
                </a:cubicBezTo>
                <a:cubicBezTo>
                  <a:pt x="741117" y="723899"/>
                  <a:pt x="739000" y="723899"/>
                  <a:pt x="736884" y="721915"/>
                </a:cubicBezTo>
                <a:cubicBezTo>
                  <a:pt x="734767" y="719931"/>
                  <a:pt x="736884" y="717946"/>
                  <a:pt x="736884" y="717946"/>
                </a:cubicBezTo>
                <a:close/>
                <a:moveTo>
                  <a:pt x="1071318" y="712787"/>
                </a:moveTo>
                <a:cubicBezTo>
                  <a:pt x="1071318" y="716828"/>
                  <a:pt x="1071318" y="720869"/>
                  <a:pt x="1069378" y="720869"/>
                </a:cubicBezTo>
                <a:cubicBezTo>
                  <a:pt x="1067437" y="720869"/>
                  <a:pt x="1067437" y="722889"/>
                  <a:pt x="1067437" y="724910"/>
                </a:cubicBezTo>
                <a:cubicBezTo>
                  <a:pt x="1067437" y="726930"/>
                  <a:pt x="1063557" y="730971"/>
                  <a:pt x="1063557" y="730971"/>
                </a:cubicBezTo>
                <a:cubicBezTo>
                  <a:pt x="1063557" y="730971"/>
                  <a:pt x="1059676" y="735012"/>
                  <a:pt x="1059676" y="732992"/>
                </a:cubicBezTo>
                <a:cubicBezTo>
                  <a:pt x="1059676" y="730971"/>
                  <a:pt x="1055795" y="730971"/>
                  <a:pt x="1055795" y="730971"/>
                </a:cubicBezTo>
                <a:cubicBezTo>
                  <a:pt x="1055795" y="730971"/>
                  <a:pt x="1053855" y="726930"/>
                  <a:pt x="1055795" y="726930"/>
                </a:cubicBezTo>
                <a:cubicBezTo>
                  <a:pt x="1057736" y="726930"/>
                  <a:pt x="1059676" y="724910"/>
                  <a:pt x="1059676" y="720869"/>
                </a:cubicBezTo>
                <a:cubicBezTo>
                  <a:pt x="1059676" y="716828"/>
                  <a:pt x="1059676" y="716828"/>
                  <a:pt x="1059676" y="716828"/>
                </a:cubicBezTo>
                <a:cubicBezTo>
                  <a:pt x="1059676" y="716828"/>
                  <a:pt x="1063557" y="716828"/>
                  <a:pt x="1065497" y="714808"/>
                </a:cubicBezTo>
                <a:cubicBezTo>
                  <a:pt x="1067437" y="712787"/>
                  <a:pt x="1071318" y="712787"/>
                  <a:pt x="1071318" y="712787"/>
                </a:cubicBezTo>
                <a:close/>
                <a:moveTo>
                  <a:pt x="1574788" y="698400"/>
                </a:moveTo>
                <a:cubicBezTo>
                  <a:pt x="1576259" y="698400"/>
                  <a:pt x="1577730" y="698896"/>
                  <a:pt x="1577730" y="700881"/>
                </a:cubicBezTo>
                <a:cubicBezTo>
                  <a:pt x="1575769" y="704850"/>
                  <a:pt x="1575769" y="704850"/>
                  <a:pt x="1573808" y="706834"/>
                </a:cubicBezTo>
                <a:cubicBezTo>
                  <a:pt x="1573808" y="708818"/>
                  <a:pt x="1569886" y="708818"/>
                  <a:pt x="1569886" y="708818"/>
                </a:cubicBezTo>
                <a:cubicBezTo>
                  <a:pt x="1569886" y="708818"/>
                  <a:pt x="1567925" y="706834"/>
                  <a:pt x="1567925" y="708818"/>
                </a:cubicBezTo>
                <a:cubicBezTo>
                  <a:pt x="1565964" y="710803"/>
                  <a:pt x="1567925" y="712787"/>
                  <a:pt x="1565964" y="714771"/>
                </a:cubicBezTo>
                <a:cubicBezTo>
                  <a:pt x="1564003" y="714771"/>
                  <a:pt x="1562042" y="714771"/>
                  <a:pt x="1562042" y="716756"/>
                </a:cubicBezTo>
                <a:cubicBezTo>
                  <a:pt x="1562042" y="720725"/>
                  <a:pt x="1562042" y="720725"/>
                  <a:pt x="1560081" y="720725"/>
                </a:cubicBezTo>
                <a:cubicBezTo>
                  <a:pt x="1558120" y="720725"/>
                  <a:pt x="1558120" y="720725"/>
                  <a:pt x="1556158" y="722709"/>
                </a:cubicBezTo>
                <a:cubicBezTo>
                  <a:pt x="1554197" y="724693"/>
                  <a:pt x="1552236" y="724693"/>
                  <a:pt x="1552236" y="724693"/>
                </a:cubicBezTo>
                <a:cubicBezTo>
                  <a:pt x="1552236" y="724693"/>
                  <a:pt x="1550275" y="724693"/>
                  <a:pt x="1548314" y="726678"/>
                </a:cubicBezTo>
                <a:cubicBezTo>
                  <a:pt x="1548314" y="726678"/>
                  <a:pt x="1544392" y="728662"/>
                  <a:pt x="1544392" y="724693"/>
                </a:cubicBezTo>
                <a:cubicBezTo>
                  <a:pt x="1544392" y="720725"/>
                  <a:pt x="1544392" y="720725"/>
                  <a:pt x="1546353" y="718740"/>
                </a:cubicBezTo>
                <a:cubicBezTo>
                  <a:pt x="1550275" y="716756"/>
                  <a:pt x="1550275" y="714771"/>
                  <a:pt x="1550275" y="712787"/>
                </a:cubicBezTo>
                <a:cubicBezTo>
                  <a:pt x="1550275" y="712787"/>
                  <a:pt x="1550275" y="712787"/>
                  <a:pt x="1554197" y="712787"/>
                </a:cubicBezTo>
                <a:cubicBezTo>
                  <a:pt x="1558120" y="710803"/>
                  <a:pt x="1562042" y="708818"/>
                  <a:pt x="1562042" y="708818"/>
                </a:cubicBezTo>
                <a:cubicBezTo>
                  <a:pt x="1562042" y="706834"/>
                  <a:pt x="1562042" y="704850"/>
                  <a:pt x="1562042" y="704850"/>
                </a:cubicBezTo>
                <a:cubicBezTo>
                  <a:pt x="1562042" y="704850"/>
                  <a:pt x="1564003" y="700881"/>
                  <a:pt x="1565964" y="700881"/>
                </a:cubicBezTo>
                <a:cubicBezTo>
                  <a:pt x="1569886" y="700881"/>
                  <a:pt x="1571847" y="698896"/>
                  <a:pt x="1571847" y="698896"/>
                </a:cubicBezTo>
                <a:cubicBezTo>
                  <a:pt x="1571847" y="698896"/>
                  <a:pt x="1573318" y="698400"/>
                  <a:pt x="1574788" y="698400"/>
                </a:cubicBezTo>
                <a:close/>
                <a:moveTo>
                  <a:pt x="1288855" y="689009"/>
                </a:moveTo>
                <a:cubicBezTo>
                  <a:pt x="1290095" y="688777"/>
                  <a:pt x="1291583" y="689240"/>
                  <a:pt x="1291583" y="689240"/>
                </a:cubicBezTo>
                <a:cubicBezTo>
                  <a:pt x="1291583" y="689240"/>
                  <a:pt x="1297536" y="689240"/>
                  <a:pt x="1297536" y="689240"/>
                </a:cubicBezTo>
                <a:cubicBezTo>
                  <a:pt x="1299521" y="689240"/>
                  <a:pt x="1301505" y="689240"/>
                  <a:pt x="1301505" y="691092"/>
                </a:cubicBezTo>
                <a:cubicBezTo>
                  <a:pt x="1301505" y="692944"/>
                  <a:pt x="1299521" y="692944"/>
                  <a:pt x="1299521" y="692944"/>
                </a:cubicBezTo>
                <a:cubicBezTo>
                  <a:pt x="1299521" y="692944"/>
                  <a:pt x="1293568" y="692944"/>
                  <a:pt x="1291583" y="694796"/>
                </a:cubicBezTo>
                <a:cubicBezTo>
                  <a:pt x="1291583" y="698500"/>
                  <a:pt x="1287615" y="698500"/>
                  <a:pt x="1287615" y="692944"/>
                </a:cubicBezTo>
                <a:cubicBezTo>
                  <a:pt x="1286622" y="690166"/>
                  <a:pt x="1287614" y="689240"/>
                  <a:pt x="1288855" y="689009"/>
                </a:cubicBezTo>
                <a:close/>
                <a:moveTo>
                  <a:pt x="1177857" y="684212"/>
                </a:moveTo>
                <a:cubicBezTo>
                  <a:pt x="1179797" y="684212"/>
                  <a:pt x="1181737" y="686329"/>
                  <a:pt x="1183678" y="688445"/>
                </a:cubicBezTo>
                <a:cubicBezTo>
                  <a:pt x="1185618" y="690562"/>
                  <a:pt x="1181737" y="696912"/>
                  <a:pt x="1181737" y="699029"/>
                </a:cubicBezTo>
                <a:cubicBezTo>
                  <a:pt x="1181737" y="701145"/>
                  <a:pt x="1181737" y="703262"/>
                  <a:pt x="1179797" y="701145"/>
                </a:cubicBezTo>
                <a:cubicBezTo>
                  <a:pt x="1177857" y="701145"/>
                  <a:pt x="1177857" y="696912"/>
                  <a:pt x="1177857" y="694795"/>
                </a:cubicBezTo>
                <a:cubicBezTo>
                  <a:pt x="1177857" y="690562"/>
                  <a:pt x="1173976" y="694795"/>
                  <a:pt x="1173976" y="694795"/>
                </a:cubicBezTo>
                <a:cubicBezTo>
                  <a:pt x="1173976" y="696912"/>
                  <a:pt x="1173976" y="696912"/>
                  <a:pt x="1175916" y="699029"/>
                </a:cubicBezTo>
                <a:cubicBezTo>
                  <a:pt x="1175916" y="703262"/>
                  <a:pt x="1172036" y="701145"/>
                  <a:pt x="1170095" y="701145"/>
                </a:cubicBezTo>
                <a:cubicBezTo>
                  <a:pt x="1168155" y="701145"/>
                  <a:pt x="1168155" y="694795"/>
                  <a:pt x="1170095" y="690562"/>
                </a:cubicBezTo>
                <a:cubicBezTo>
                  <a:pt x="1170095" y="686329"/>
                  <a:pt x="1173976" y="686329"/>
                  <a:pt x="1177857" y="684212"/>
                </a:cubicBezTo>
                <a:close/>
                <a:moveTo>
                  <a:pt x="1129674" y="673486"/>
                </a:moveTo>
                <a:cubicBezTo>
                  <a:pt x="1133611" y="671512"/>
                  <a:pt x="1139517" y="677433"/>
                  <a:pt x="1139517" y="677433"/>
                </a:cubicBezTo>
                <a:cubicBezTo>
                  <a:pt x="1139517" y="677433"/>
                  <a:pt x="1141485" y="679407"/>
                  <a:pt x="1141485" y="681380"/>
                </a:cubicBezTo>
                <a:cubicBezTo>
                  <a:pt x="1139517" y="683354"/>
                  <a:pt x="1141485" y="685328"/>
                  <a:pt x="1143454" y="685328"/>
                </a:cubicBezTo>
                <a:cubicBezTo>
                  <a:pt x="1145422" y="687301"/>
                  <a:pt x="1149359" y="687301"/>
                  <a:pt x="1149359" y="689275"/>
                </a:cubicBezTo>
                <a:cubicBezTo>
                  <a:pt x="1151328" y="693222"/>
                  <a:pt x="1153296" y="693222"/>
                  <a:pt x="1155265" y="693222"/>
                </a:cubicBezTo>
                <a:cubicBezTo>
                  <a:pt x="1157233" y="693222"/>
                  <a:pt x="1155265" y="689275"/>
                  <a:pt x="1155265" y="689275"/>
                </a:cubicBezTo>
                <a:cubicBezTo>
                  <a:pt x="1155265" y="689275"/>
                  <a:pt x="1151328" y="685328"/>
                  <a:pt x="1155265" y="685328"/>
                </a:cubicBezTo>
                <a:cubicBezTo>
                  <a:pt x="1157233" y="685328"/>
                  <a:pt x="1165107" y="687301"/>
                  <a:pt x="1165107" y="691249"/>
                </a:cubicBezTo>
                <a:cubicBezTo>
                  <a:pt x="1165107" y="693222"/>
                  <a:pt x="1163139" y="693222"/>
                  <a:pt x="1161170" y="693222"/>
                </a:cubicBezTo>
                <a:cubicBezTo>
                  <a:pt x="1161170" y="693222"/>
                  <a:pt x="1157233" y="691249"/>
                  <a:pt x="1157233" y="693222"/>
                </a:cubicBezTo>
                <a:cubicBezTo>
                  <a:pt x="1157233" y="695196"/>
                  <a:pt x="1157233" y="699143"/>
                  <a:pt x="1161170" y="697169"/>
                </a:cubicBezTo>
                <a:cubicBezTo>
                  <a:pt x="1163139" y="697169"/>
                  <a:pt x="1163139" y="697169"/>
                  <a:pt x="1163139" y="699143"/>
                </a:cubicBezTo>
                <a:cubicBezTo>
                  <a:pt x="1163139" y="701117"/>
                  <a:pt x="1161170" y="701117"/>
                  <a:pt x="1161170" y="701117"/>
                </a:cubicBezTo>
                <a:cubicBezTo>
                  <a:pt x="1161170" y="701117"/>
                  <a:pt x="1161170" y="703090"/>
                  <a:pt x="1161170" y="705064"/>
                </a:cubicBezTo>
                <a:cubicBezTo>
                  <a:pt x="1163139" y="707038"/>
                  <a:pt x="1163139" y="710985"/>
                  <a:pt x="1163139" y="710985"/>
                </a:cubicBezTo>
                <a:cubicBezTo>
                  <a:pt x="1163139" y="710985"/>
                  <a:pt x="1165107" y="716906"/>
                  <a:pt x="1165107" y="718880"/>
                </a:cubicBezTo>
                <a:cubicBezTo>
                  <a:pt x="1167076" y="720853"/>
                  <a:pt x="1165107" y="724801"/>
                  <a:pt x="1169044" y="724801"/>
                </a:cubicBezTo>
                <a:cubicBezTo>
                  <a:pt x="1172981" y="722827"/>
                  <a:pt x="1174950" y="722827"/>
                  <a:pt x="1174950" y="720853"/>
                </a:cubicBezTo>
                <a:cubicBezTo>
                  <a:pt x="1174950" y="718880"/>
                  <a:pt x="1178887" y="718880"/>
                  <a:pt x="1178887" y="720853"/>
                </a:cubicBezTo>
                <a:cubicBezTo>
                  <a:pt x="1180855" y="720853"/>
                  <a:pt x="1178887" y="722827"/>
                  <a:pt x="1176918" y="724801"/>
                </a:cubicBezTo>
                <a:cubicBezTo>
                  <a:pt x="1174950" y="724801"/>
                  <a:pt x="1172981" y="726774"/>
                  <a:pt x="1172981" y="728748"/>
                </a:cubicBezTo>
                <a:cubicBezTo>
                  <a:pt x="1172981" y="730722"/>
                  <a:pt x="1172981" y="730722"/>
                  <a:pt x="1171013" y="730722"/>
                </a:cubicBezTo>
                <a:cubicBezTo>
                  <a:pt x="1169044" y="730722"/>
                  <a:pt x="1163139" y="726774"/>
                  <a:pt x="1163139" y="730722"/>
                </a:cubicBezTo>
                <a:cubicBezTo>
                  <a:pt x="1161170" y="734669"/>
                  <a:pt x="1153296" y="742563"/>
                  <a:pt x="1153296" y="742563"/>
                </a:cubicBezTo>
                <a:cubicBezTo>
                  <a:pt x="1153296" y="742563"/>
                  <a:pt x="1149359" y="744537"/>
                  <a:pt x="1147391" y="744537"/>
                </a:cubicBezTo>
                <a:cubicBezTo>
                  <a:pt x="1143454" y="744537"/>
                  <a:pt x="1137548" y="742563"/>
                  <a:pt x="1137548" y="742563"/>
                </a:cubicBezTo>
                <a:cubicBezTo>
                  <a:pt x="1137548" y="742563"/>
                  <a:pt x="1135580" y="738616"/>
                  <a:pt x="1133611" y="738616"/>
                </a:cubicBezTo>
                <a:cubicBezTo>
                  <a:pt x="1131643" y="738616"/>
                  <a:pt x="1123769" y="738616"/>
                  <a:pt x="1123769" y="736642"/>
                </a:cubicBezTo>
                <a:cubicBezTo>
                  <a:pt x="1121800" y="734669"/>
                  <a:pt x="1119832" y="730722"/>
                  <a:pt x="1119832" y="730722"/>
                </a:cubicBezTo>
                <a:cubicBezTo>
                  <a:pt x="1115895" y="730722"/>
                  <a:pt x="1111958" y="730722"/>
                  <a:pt x="1109989" y="730722"/>
                </a:cubicBezTo>
                <a:cubicBezTo>
                  <a:pt x="1109989" y="728748"/>
                  <a:pt x="1111958" y="724801"/>
                  <a:pt x="1109989" y="724801"/>
                </a:cubicBezTo>
                <a:cubicBezTo>
                  <a:pt x="1108021" y="722827"/>
                  <a:pt x="1106052" y="724801"/>
                  <a:pt x="1106052" y="724801"/>
                </a:cubicBezTo>
                <a:cubicBezTo>
                  <a:pt x="1106052" y="724801"/>
                  <a:pt x="1102115" y="726774"/>
                  <a:pt x="1102115" y="724801"/>
                </a:cubicBezTo>
                <a:cubicBezTo>
                  <a:pt x="1102115" y="720853"/>
                  <a:pt x="1102115" y="720853"/>
                  <a:pt x="1098178" y="720853"/>
                </a:cubicBezTo>
                <a:cubicBezTo>
                  <a:pt x="1096210" y="720853"/>
                  <a:pt x="1092273" y="720853"/>
                  <a:pt x="1092273" y="720853"/>
                </a:cubicBezTo>
                <a:cubicBezTo>
                  <a:pt x="1092273" y="720853"/>
                  <a:pt x="1086367" y="724801"/>
                  <a:pt x="1084399" y="722827"/>
                </a:cubicBezTo>
                <a:cubicBezTo>
                  <a:pt x="1082430" y="718880"/>
                  <a:pt x="1082430" y="714932"/>
                  <a:pt x="1084399" y="712959"/>
                </a:cubicBezTo>
                <a:cubicBezTo>
                  <a:pt x="1086367" y="710985"/>
                  <a:pt x="1086367" y="712959"/>
                  <a:pt x="1086367" y="710985"/>
                </a:cubicBezTo>
                <a:cubicBezTo>
                  <a:pt x="1086367" y="707038"/>
                  <a:pt x="1094241" y="709011"/>
                  <a:pt x="1094241" y="710985"/>
                </a:cubicBezTo>
                <a:cubicBezTo>
                  <a:pt x="1094241" y="712959"/>
                  <a:pt x="1096210" y="712959"/>
                  <a:pt x="1098178" y="710985"/>
                </a:cubicBezTo>
                <a:cubicBezTo>
                  <a:pt x="1098178" y="709011"/>
                  <a:pt x="1100147" y="709011"/>
                  <a:pt x="1102115" y="709011"/>
                </a:cubicBezTo>
                <a:cubicBezTo>
                  <a:pt x="1102115" y="709011"/>
                  <a:pt x="1106052" y="709011"/>
                  <a:pt x="1106052" y="707038"/>
                </a:cubicBezTo>
                <a:cubicBezTo>
                  <a:pt x="1106052" y="705064"/>
                  <a:pt x="1108021" y="703090"/>
                  <a:pt x="1109989" y="703090"/>
                </a:cubicBezTo>
                <a:cubicBezTo>
                  <a:pt x="1111958" y="705064"/>
                  <a:pt x="1115895" y="705064"/>
                  <a:pt x="1115895" y="701117"/>
                </a:cubicBezTo>
                <a:cubicBezTo>
                  <a:pt x="1115895" y="697169"/>
                  <a:pt x="1113926" y="693222"/>
                  <a:pt x="1117863" y="693222"/>
                </a:cubicBezTo>
                <a:cubicBezTo>
                  <a:pt x="1119832" y="691249"/>
                  <a:pt x="1121800" y="689275"/>
                  <a:pt x="1121800" y="685328"/>
                </a:cubicBezTo>
                <a:cubicBezTo>
                  <a:pt x="1121800" y="685328"/>
                  <a:pt x="1123769" y="675459"/>
                  <a:pt x="1129674" y="673486"/>
                </a:cubicBezTo>
                <a:close/>
                <a:moveTo>
                  <a:pt x="1377993" y="662951"/>
                </a:moveTo>
                <a:cubicBezTo>
                  <a:pt x="1379509" y="663462"/>
                  <a:pt x="1381024" y="664482"/>
                  <a:pt x="1381024" y="664482"/>
                </a:cubicBezTo>
                <a:cubicBezTo>
                  <a:pt x="1381024" y="664482"/>
                  <a:pt x="1385065" y="662441"/>
                  <a:pt x="1385065" y="664482"/>
                </a:cubicBezTo>
                <a:cubicBezTo>
                  <a:pt x="1389106" y="666523"/>
                  <a:pt x="1389106" y="664482"/>
                  <a:pt x="1389106" y="664482"/>
                </a:cubicBezTo>
                <a:cubicBezTo>
                  <a:pt x="1391126" y="664482"/>
                  <a:pt x="1393147" y="664482"/>
                  <a:pt x="1393147" y="664482"/>
                </a:cubicBezTo>
                <a:cubicBezTo>
                  <a:pt x="1393147" y="664482"/>
                  <a:pt x="1395167" y="664482"/>
                  <a:pt x="1395167" y="666523"/>
                </a:cubicBezTo>
                <a:cubicBezTo>
                  <a:pt x="1395167" y="670605"/>
                  <a:pt x="1393147" y="670605"/>
                  <a:pt x="1391126" y="670605"/>
                </a:cubicBezTo>
                <a:cubicBezTo>
                  <a:pt x="1389106" y="670605"/>
                  <a:pt x="1389106" y="672646"/>
                  <a:pt x="1387085" y="672646"/>
                </a:cubicBezTo>
                <a:cubicBezTo>
                  <a:pt x="1385065" y="672646"/>
                  <a:pt x="1385065" y="672646"/>
                  <a:pt x="1385065" y="672646"/>
                </a:cubicBezTo>
                <a:cubicBezTo>
                  <a:pt x="1385065" y="670605"/>
                  <a:pt x="1381024" y="670605"/>
                  <a:pt x="1381024" y="672646"/>
                </a:cubicBezTo>
                <a:cubicBezTo>
                  <a:pt x="1379003" y="674687"/>
                  <a:pt x="1376983" y="672646"/>
                  <a:pt x="1376983" y="670605"/>
                </a:cubicBezTo>
                <a:cubicBezTo>
                  <a:pt x="1376983" y="668564"/>
                  <a:pt x="1372942" y="668564"/>
                  <a:pt x="1374963" y="664482"/>
                </a:cubicBezTo>
                <a:cubicBezTo>
                  <a:pt x="1374963" y="662441"/>
                  <a:pt x="1376478" y="662441"/>
                  <a:pt x="1377993" y="662951"/>
                </a:cubicBezTo>
                <a:close/>
                <a:moveTo>
                  <a:pt x="1082430" y="636852"/>
                </a:moveTo>
                <a:cubicBezTo>
                  <a:pt x="1082430" y="636852"/>
                  <a:pt x="1084415" y="636852"/>
                  <a:pt x="1086399" y="636852"/>
                </a:cubicBezTo>
                <a:cubicBezTo>
                  <a:pt x="1086399" y="636852"/>
                  <a:pt x="1086399" y="636852"/>
                  <a:pt x="1088384" y="636852"/>
                </a:cubicBezTo>
                <a:cubicBezTo>
                  <a:pt x="1090368" y="635000"/>
                  <a:pt x="1090368" y="640556"/>
                  <a:pt x="1090368" y="640556"/>
                </a:cubicBezTo>
                <a:cubicBezTo>
                  <a:pt x="1088384" y="640556"/>
                  <a:pt x="1088384" y="642408"/>
                  <a:pt x="1088384" y="644260"/>
                </a:cubicBezTo>
                <a:cubicBezTo>
                  <a:pt x="1086399" y="646112"/>
                  <a:pt x="1084415" y="646112"/>
                  <a:pt x="1082430" y="646112"/>
                </a:cubicBezTo>
                <a:cubicBezTo>
                  <a:pt x="1082430" y="644260"/>
                  <a:pt x="1082430" y="644260"/>
                  <a:pt x="1082430" y="640556"/>
                </a:cubicBezTo>
                <a:cubicBezTo>
                  <a:pt x="1082430" y="638704"/>
                  <a:pt x="1082430" y="636852"/>
                  <a:pt x="1082430" y="636852"/>
                </a:cubicBezTo>
                <a:close/>
                <a:moveTo>
                  <a:pt x="1587652" y="553938"/>
                </a:moveTo>
                <a:cubicBezTo>
                  <a:pt x="1588248" y="553938"/>
                  <a:pt x="1588843" y="554434"/>
                  <a:pt x="1588843" y="556419"/>
                </a:cubicBezTo>
                <a:cubicBezTo>
                  <a:pt x="1588843" y="558403"/>
                  <a:pt x="1588843" y="560387"/>
                  <a:pt x="1586462" y="558403"/>
                </a:cubicBezTo>
                <a:cubicBezTo>
                  <a:pt x="1584080" y="556419"/>
                  <a:pt x="1586462" y="554434"/>
                  <a:pt x="1586462" y="554434"/>
                </a:cubicBezTo>
                <a:cubicBezTo>
                  <a:pt x="1586462" y="554434"/>
                  <a:pt x="1587057" y="553938"/>
                  <a:pt x="1587652" y="553938"/>
                </a:cubicBezTo>
                <a:close/>
                <a:moveTo>
                  <a:pt x="1566617" y="552450"/>
                </a:moveTo>
                <a:cubicBezTo>
                  <a:pt x="1566617" y="552450"/>
                  <a:pt x="1570586" y="552450"/>
                  <a:pt x="1570586" y="552450"/>
                </a:cubicBezTo>
                <a:cubicBezTo>
                  <a:pt x="1574555" y="555625"/>
                  <a:pt x="1566617" y="555625"/>
                  <a:pt x="1566617" y="552450"/>
                </a:cubicBezTo>
                <a:close/>
                <a:moveTo>
                  <a:pt x="1560797" y="550862"/>
                </a:moveTo>
                <a:cubicBezTo>
                  <a:pt x="1560797" y="550862"/>
                  <a:pt x="1565030" y="550862"/>
                  <a:pt x="1565030" y="553243"/>
                </a:cubicBezTo>
                <a:cubicBezTo>
                  <a:pt x="1565030" y="555624"/>
                  <a:pt x="1562913" y="555624"/>
                  <a:pt x="1560797" y="555624"/>
                </a:cubicBezTo>
                <a:cubicBezTo>
                  <a:pt x="1558680" y="553243"/>
                  <a:pt x="1560797" y="550862"/>
                  <a:pt x="1560797" y="550862"/>
                </a:cubicBezTo>
                <a:close/>
                <a:moveTo>
                  <a:pt x="1213134" y="544512"/>
                </a:moveTo>
                <a:cubicBezTo>
                  <a:pt x="1213134" y="544512"/>
                  <a:pt x="1215250" y="544512"/>
                  <a:pt x="1215250" y="546893"/>
                </a:cubicBezTo>
                <a:cubicBezTo>
                  <a:pt x="1217367" y="549274"/>
                  <a:pt x="1213134" y="549274"/>
                  <a:pt x="1213134" y="546893"/>
                </a:cubicBezTo>
                <a:cubicBezTo>
                  <a:pt x="1211017" y="544512"/>
                  <a:pt x="1213134" y="544512"/>
                  <a:pt x="1213134" y="544512"/>
                </a:cubicBezTo>
                <a:close/>
                <a:moveTo>
                  <a:pt x="1195936" y="513239"/>
                </a:moveTo>
                <a:cubicBezTo>
                  <a:pt x="1197921" y="511175"/>
                  <a:pt x="1199905" y="513239"/>
                  <a:pt x="1199905" y="515302"/>
                </a:cubicBezTo>
                <a:cubicBezTo>
                  <a:pt x="1199905" y="517366"/>
                  <a:pt x="1199905" y="523557"/>
                  <a:pt x="1197921" y="527685"/>
                </a:cubicBezTo>
                <a:cubicBezTo>
                  <a:pt x="1195936" y="531812"/>
                  <a:pt x="1191968" y="531812"/>
                  <a:pt x="1191968" y="531812"/>
                </a:cubicBezTo>
                <a:cubicBezTo>
                  <a:pt x="1191968" y="531812"/>
                  <a:pt x="1189983" y="529748"/>
                  <a:pt x="1187999" y="531812"/>
                </a:cubicBezTo>
                <a:cubicBezTo>
                  <a:pt x="1186015" y="531812"/>
                  <a:pt x="1184030" y="529748"/>
                  <a:pt x="1184030" y="523557"/>
                </a:cubicBezTo>
                <a:cubicBezTo>
                  <a:pt x="1184030" y="515302"/>
                  <a:pt x="1189983" y="515302"/>
                  <a:pt x="1189983" y="515302"/>
                </a:cubicBezTo>
                <a:cubicBezTo>
                  <a:pt x="1189983" y="515302"/>
                  <a:pt x="1193952" y="513239"/>
                  <a:pt x="1195936" y="513239"/>
                </a:cubicBezTo>
                <a:close/>
                <a:moveTo>
                  <a:pt x="948021" y="498475"/>
                </a:moveTo>
                <a:lnTo>
                  <a:pt x="953578" y="498475"/>
                </a:lnTo>
                <a:cubicBezTo>
                  <a:pt x="953578" y="498475"/>
                  <a:pt x="955430" y="498475"/>
                  <a:pt x="955430" y="500592"/>
                </a:cubicBezTo>
                <a:cubicBezTo>
                  <a:pt x="955430" y="504825"/>
                  <a:pt x="955430" y="504825"/>
                  <a:pt x="951726" y="504825"/>
                </a:cubicBezTo>
                <a:cubicBezTo>
                  <a:pt x="946169" y="504825"/>
                  <a:pt x="944317" y="502708"/>
                  <a:pt x="944317" y="500592"/>
                </a:cubicBezTo>
                <a:cubicBezTo>
                  <a:pt x="944317" y="498475"/>
                  <a:pt x="948021" y="498475"/>
                  <a:pt x="948021" y="498475"/>
                </a:cubicBezTo>
                <a:close/>
                <a:moveTo>
                  <a:pt x="1444165" y="488609"/>
                </a:moveTo>
                <a:cubicBezTo>
                  <a:pt x="1445909" y="488360"/>
                  <a:pt x="1447902" y="488360"/>
                  <a:pt x="1448899" y="489356"/>
                </a:cubicBezTo>
                <a:cubicBezTo>
                  <a:pt x="1452885" y="491349"/>
                  <a:pt x="1458865" y="491349"/>
                  <a:pt x="1458865" y="491349"/>
                </a:cubicBezTo>
                <a:cubicBezTo>
                  <a:pt x="1466838" y="491349"/>
                  <a:pt x="1466838" y="491349"/>
                  <a:pt x="1466838" y="491349"/>
                </a:cubicBezTo>
                <a:cubicBezTo>
                  <a:pt x="1466838" y="491349"/>
                  <a:pt x="1468831" y="493342"/>
                  <a:pt x="1466838" y="495335"/>
                </a:cubicBezTo>
                <a:cubicBezTo>
                  <a:pt x="1464845" y="499321"/>
                  <a:pt x="1460858" y="499321"/>
                  <a:pt x="1460858" y="499321"/>
                </a:cubicBezTo>
                <a:cubicBezTo>
                  <a:pt x="1456872" y="501315"/>
                  <a:pt x="1456872" y="501315"/>
                  <a:pt x="1456872" y="501315"/>
                </a:cubicBezTo>
                <a:cubicBezTo>
                  <a:pt x="1456872" y="501315"/>
                  <a:pt x="1448899" y="501315"/>
                  <a:pt x="1444912" y="507294"/>
                </a:cubicBezTo>
                <a:cubicBezTo>
                  <a:pt x="1440926" y="513273"/>
                  <a:pt x="1436939" y="517259"/>
                  <a:pt x="1436939" y="517259"/>
                </a:cubicBezTo>
                <a:cubicBezTo>
                  <a:pt x="1432953" y="527224"/>
                  <a:pt x="1432953" y="527224"/>
                  <a:pt x="1432953" y="527224"/>
                </a:cubicBezTo>
                <a:cubicBezTo>
                  <a:pt x="1432953" y="527224"/>
                  <a:pt x="1430960" y="531211"/>
                  <a:pt x="1428966" y="529217"/>
                </a:cubicBezTo>
                <a:cubicBezTo>
                  <a:pt x="1426973" y="529217"/>
                  <a:pt x="1424980" y="529217"/>
                  <a:pt x="1424980" y="531211"/>
                </a:cubicBezTo>
                <a:cubicBezTo>
                  <a:pt x="1422986" y="535197"/>
                  <a:pt x="1419000" y="541176"/>
                  <a:pt x="1419000" y="541176"/>
                </a:cubicBezTo>
                <a:cubicBezTo>
                  <a:pt x="1419000" y="541176"/>
                  <a:pt x="1419000" y="545162"/>
                  <a:pt x="1419000" y="549148"/>
                </a:cubicBezTo>
                <a:cubicBezTo>
                  <a:pt x="1420993" y="553134"/>
                  <a:pt x="1422986" y="555127"/>
                  <a:pt x="1422986" y="561106"/>
                </a:cubicBezTo>
                <a:cubicBezTo>
                  <a:pt x="1420993" y="567086"/>
                  <a:pt x="1422986" y="571072"/>
                  <a:pt x="1419000" y="575058"/>
                </a:cubicBezTo>
                <a:cubicBezTo>
                  <a:pt x="1417007" y="577051"/>
                  <a:pt x="1420993" y="579044"/>
                  <a:pt x="1420993" y="581037"/>
                </a:cubicBezTo>
                <a:cubicBezTo>
                  <a:pt x="1420993" y="585023"/>
                  <a:pt x="1420993" y="585023"/>
                  <a:pt x="1422986" y="587016"/>
                </a:cubicBezTo>
                <a:cubicBezTo>
                  <a:pt x="1426973" y="589009"/>
                  <a:pt x="1428966" y="589009"/>
                  <a:pt x="1428966" y="589009"/>
                </a:cubicBezTo>
                <a:cubicBezTo>
                  <a:pt x="1428966" y="589009"/>
                  <a:pt x="1430960" y="591002"/>
                  <a:pt x="1432953" y="592996"/>
                </a:cubicBezTo>
                <a:cubicBezTo>
                  <a:pt x="1432953" y="594989"/>
                  <a:pt x="1434946" y="598975"/>
                  <a:pt x="1438933" y="598975"/>
                </a:cubicBezTo>
                <a:cubicBezTo>
                  <a:pt x="1444912" y="600968"/>
                  <a:pt x="1450892" y="602961"/>
                  <a:pt x="1450892" y="598975"/>
                </a:cubicBezTo>
                <a:cubicBezTo>
                  <a:pt x="1450892" y="592996"/>
                  <a:pt x="1446906" y="592996"/>
                  <a:pt x="1446906" y="592996"/>
                </a:cubicBezTo>
                <a:cubicBezTo>
                  <a:pt x="1444912" y="591002"/>
                  <a:pt x="1444912" y="591002"/>
                  <a:pt x="1444912" y="591002"/>
                </a:cubicBezTo>
                <a:cubicBezTo>
                  <a:pt x="1440926" y="589009"/>
                  <a:pt x="1440926" y="589009"/>
                  <a:pt x="1440926" y="589009"/>
                </a:cubicBezTo>
                <a:cubicBezTo>
                  <a:pt x="1438933" y="587016"/>
                  <a:pt x="1438933" y="587016"/>
                  <a:pt x="1438933" y="587016"/>
                </a:cubicBezTo>
                <a:cubicBezTo>
                  <a:pt x="1434946" y="585023"/>
                  <a:pt x="1434946" y="585023"/>
                  <a:pt x="1434946" y="585023"/>
                </a:cubicBezTo>
                <a:cubicBezTo>
                  <a:pt x="1434946" y="581037"/>
                  <a:pt x="1434946" y="581037"/>
                  <a:pt x="1434946" y="581037"/>
                </a:cubicBezTo>
                <a:cubicBezTo>
                  <a:pt x="1434946" y="581037"/>
                  <a:pt x="1426973" y="581037"/>
                  <a:pt x="1426973" y="577051"/>
                </a:cubicBezTo>
                <a:cubicBezTo>
                  <a:pt x="1426973" y="573065"/>
                  <a:pt x="1426973" y="573065"/>
                  <a:pt x="1428966" y="573065"/>
                </a:cubicBezTo>
                <a:cubicBezTo>
                  <a:pt x="1432953" y="573065"/>
                  <a:pt x="1434946" y="571072"/>
                  <a:pt x="1434946" y="569079"/>
                </a:cubicBezTo>
                <a:cubicBezTo>
                  <a:pt x="1434946" y="569079"/>
                  <a:pt x="1436939" y="567086"/>
                  <a:pt x="1436939" y="567086"/>
                </a:cubicBezTo>
                <a:cubicBezTo>
                  <a:pt x="1436939" y="567086"/>
                  <a:pt x="1434946" y="565093"/>
                  <a:pt x="1432953" y="563100"/>
                </a:cubicBezTo>
                <a:cubicBezTo>
                  <a:pt x="1428966" y="563100"/>
                  <a:pt x="1426973" y="559113"/>
                  <a:pt x="1430960" y="561106"/>
                </a:cubicBezTo>
                <a:cubicBezTo>
                  <a:pt x="1434946" y="561106"/>
                  <a:pt x="1440926" y="561106"/>
                  <a:pt x="1440926" y="561106"/>
                </a:cubicBezTo>
                <a:cubicBezTo>
                  <a:pt x="1440926" y="561106"/>
                  <a:pt x="1440926" y="563100"/>
                  <a:pt x="1442919" y="561106"/>
                </a:cubicBezTo>
                <a:cubicBezTo>
                  <a:pt x="1444912" y="559113"/>
                  <a:pt x="1448899" y="557120"/>
                  <a:pt x="1448899" y="561106"/>
                </a:cubicBezTo>
                <a:cubicBezTo>
                  <a:pt x="1450892" y="563100"/>
                  <a:pt x="1450892" y="565093"/>
                  <a:pt x="1450892" y="565093"/>
                </a:cubicBezTo>
                <a:cubicBezTo>
                  <a:pt x="1450892" y="565093"/>
                  <a:pt x="1452885" y="569079"/>
                  <a:pt x="1452885" y="569079"/>
                </a:cubicBezTo>
                <a:cubicBezTo>
                  <a:pt x="1452885" y="571072"/>
                  <a:pt x="1456872" y="571072"/>
                  <a:pt x="1456872" y="571072"/>
                </a:cubicBezTo>
                <a:cubicBezTo>
                  <a:pt x="1456872" y="571072"/>
                  <a:pt x="1458865" y="573065"/>
                  <a:pt x="1460858" y="575058"/>
                </a:cubicBezTo>
                <a:cubicBezTo>
                  <a:pt x="1462852" y="579044"/>
                  <a:pt x="1464845" y="575058"/>
                  <a:pt x="1464845" y="573065"/>
                </a:cubicBezTo>
                <a:cubicBezTo>
                  <a:pt x="1464845" y="573065"/>
                  <a:pt x="1462852" y="569079"/>
                  <a:pt x="1460858" y="569079"/>
                </a:cubicBezTo>
                <a:cubicBezTo>
                  <a:pt x="1458865" y="569079"/>
                  <a:pt x="1454879" y="567086"/>
                  <a:pt x="1456872" y="565093"/>
                </a:cubicBezTo>
                <a:cubicBezTo>
                  <a:pt x="1456872" y="563100"/>
                  <a:pt x="1458865" y="561106"/>
                  <a:pt x="1458865" y="561106"/>
                </a:cubicBezTo>
                <a:cubicBezTo>
                  <a:pt x="1458865" y="561106"/>
                  <a:pt x="1460858" y="559113"/>
                  <a:pt x="1458865" y="559113"/>
                </a:cubicBezTo>
                <a:cubicBezTo>
                  <a:pt x="1456872" y="557120"/>
                  <a:pt x="1454879" y="555127"/>
                  <a:pt x="1456872" y="555127"/>
                </a:cubicBezTo>
                <a:cubicBezTo>
                  <a:pt x="1460858" y="553134"/>
                  <a:pt x="1462852" y="555127"/>
                  <a:pt x="1462852" y="555127"/>
                </a:cubicBezTo>
                <a:cubicBezTo>
                  <a:pt x="1462852" y="555127"/>
                  <a:pt x="1464845" y="555127"/>
                  <a:pt x="1464845" y="553134"/>
                </a:cubicBezTo>
                <a:cubicBezTo>
                  <a:pt x="1464845" y="551141"/>
                  <a:pt x="1460858" y="551141"/>
                  <a:pt x="1458865" y="551141"/>
                </a:cubicBezTo>
                <a:cubicBezTo>
                  <a:pt x="1456872" y="553134"/>
                  <a:pt x="1454879" y="553134"/>
                  <a:pt x="1454879" y="553134"/>
                </a:cubicBezTo>
                <a:cubicBezTo>
                  <a:pt x="1454879" y="553134"/>
                  <a:pt x="1448899" y="557120"/>
                  <a:pt x="1446906" y="557120"/>
                </a:cubicBezTo>
                <a:cubicBezTo>
                  <a:pt x="1444912" y="555127"/>
                  <a:pt x="1442919" y="551141"/>
                  <a:pt x="1442919" y="549148"/>
                </a:cubicBezTo>
                <a:cubicBezTo>
                  <a:pt x="1442919" y="549148"/>
                  <a:pt x="1444912" y="549148"/>
                  <a:pt x="1442919" y="545162"/>
                </a:cubicBezTo>
                <a:cubicBezTo>
                  <a:pt x="1440926" y="543169"/>
                  <a:pt x="1442919" y="539183"/>
                  <a:pt x="1442919" y="535197"/>
                </a:cubicBezTo>
                <a:cubicBezTo>
                  <a:pt x="1444912" y="531211"/>
                  <a:pt x="1444912" y="529217"/>
                  <a:pt x="1448899" y="529217"/>
                </a:cubicBezTo>
                <a:cubicBezTo>
                  <a:pt x="1454879" y="529217"/>
                  <a:pt x="1456872" y="531211"/>
                  <a:pt x="1456872" y="531211"/>
                </a:cubicBezTo>
                <a:cubicBezTo>
                  <a:pt x="1460858" y="533204"/>
                  <a:pt x="1460858" y="533204"/>
                  <a:pt x="1460858" y="533204"/>
                </a:cubicBezTo>
                <a:cubicBezTo>
                  <a:pt x="1464845" y="533204"/>
                  <a:pt x="1464845" y="533204"/>
                  <a:pt x="1464845" y="533204"/>
                </a:cubicBezTo>
                <a:cubicBezTo>
                  <a:pt x="1464845" y="533204"/>
                  <a:pt x="1466838" y="535197"/>
                  <a:pt x="1468831" y="537190"/>
                </a:cubicBezTo>
                <a:cubicBezTo>
                  <a:pt x="1470825" y="539183"/>
                  <a:pt x="1474811" y="537190"/>
                  <a:pt x="1474811" y="537190"/>
                </a:cubicBezTo>
                <a:cubicBezTo>
                  <a:pt x="1470825" y="535197"/>
                  <a:pt x="1470825" y="535197"/>
                  <a:pt x="1470825" y="535197"/>
                </a:cubicBezTo>
                <a:cubicBezTo>
                  <a:pt x="1470825" y="535197"/>
                  <a:pt x="1464845" y="531211"/>
                  <a:pt x="1462852" y="529217"/>
                </a:cubicBezTo>
                <a:cubicBezTo>
                  <a:pt x="1460858" y="527224"/>
                  <a:pt x="1458865" y="523238"/>
                  <a:pt x="1464845" y="523238"/>
                </a:cubicBezTo>
                <a:cubicBezTo>
                  <a:pt x="1468831" y="523238"/>
                  <a:pt x="1468831" y="521245"/>
                  <a:pt x="1470825" y="523238"/>
                </a:cubicBezTo>
                <a:cubicBezTo>
                  <a:pt x="1474811" y="525231"/>
                  <a:pt x="1474811" y="525231"/>
                  <a:pt x="1476804" y="523238"/>
                </a:cubicBezTo>
                <a:cubicBezTo>
                  <a:pt x="1476804" y="523238"/>
                  <a:pt x="1472818" y="521245"/>
                  <a:pt x="1472818" y="519252"/>
                </a:cubicBezTo>
                <a:cubicBezTo>
                  <a:pt x="1472818" y="519252"/>
                  <a:pt x="1468831" y="523238"/>
                  <a:pt x="1462852" y="519252"/>
                </a:cubicBezTo>
                <a:cubicBezTo>
                  <a:pt x="1456872" y="515266"/>
                  <a:pt x="1460858" y="513273"/>
                  <a:pt x="1462852" y="509287"/>
                </a:cubicBezTo>
                <a:cubicBezTo>
                  <a:pt x="1464845" y="507294"/>
                  <a:pt x="1464845" y="511280"/>
                  <a:pt x="1464845" y="513273"/>
                </a:cubicBezTo>
                <a:cubicBezTo>
                  <a:pt x="1464845" y="515266"/>
                  <a:pt x="1470825" y="515266"/>
                  <a:pt x="1470825" y="513273"/>
                </a:cubicBezTo>
                <a:cubicBezTo>
                  <a:pt x="1472818" y="511280"/>
                  <a:pt x="1468831" y="507294"/>
                  <a:pt x="1472818" y="505301"/>
                </a:cubicBezTo>
                <a:cubicBezTo>
                  <a:pt x="1478798" y="501315"/>
                  <a:pt x="1486771" y="505301"/>
                  <a:pt x="1486771" y="507294"/>
                </a:cubicBezTo>
                <a:cubicBezTo>
                  <a:pt x="1488764" y="509287"/>
                  <a:pt x="1490757" y="509287"/>
                  <a:pt x="1490757" y="505301"/>
                </a:cubicBezTo>
                <a:cubicBezTo>
                  <a:pt x="1490757" y="501315"/>
                  <a:pt x="1490757" y="499321"/>
                  <a:pt x="1494744" y="499321"/>
                </a:cubicBezTo>
                <a:cubicBezTo>
                  <a:pt x="1500723" y="499321"/>
                  <a:pt x="1508696" y="497328"/>
                  <a:pt x="1508696" y="497328"/>
                </a:cubicBezTo>
                <a:cubicBezTo>
                  <a:pt x="1512683" y="497328"/>
                  <a:pt x="1512683" y="497328"/>
                  <a:pt x="1512683" y="497328"/>
                </a:cubicBezTo>
                <a:cubicBezTo>
                  <a:pt x="1512683" y="497328"/>
                  <a:pt x="1518663" y="493342"/>
                  <a:pt x="1522649" y="493342"/>
                </a:cubicBezTo>
                <a:cubicBezTo>
                  <a:pt x="1524642" y="493342"/>
                  <a:pt x="1528629" y="493342"/>
                  <a:pt x="1528629" y="493342"/>
                </a:cubicBezTo>
                <a:cubicBezTo>
                  <a:pt x="1530622" y="491349"/>
                  <a:pt x="1532615" y="493342"/>
                  <a:pt x="1534609" y="493342"/>
                </a:cubicBezTo>
                <a:cubicBezTo>
                  <a:pt x="1536602" y="495335"/>
                  <a:pt x="1542582" y="493342"/>
                  <a:pt x="1544575" y="493342"/>
                </a:cubicBezTo>
                <a:cubicBezTo>
                  <a:pt x="1546568" y="491349"/>
                  <a:pt x="1548561" y="493342"/>
                  <a:pt x="1548561" y="495335"/>
                </a:cubicBezTo>
                <a:cubicBezTo>
                  <a:pt x="1548561" y="497328"/>
                  <a:pt x="1550555" y="501315"/>
                  <a:pt x="1550555" y="503308"/>
                </a:cubicBezTo>
                <a:cubicBezTo>
                  <a:pt x="1548561" y="507294"/>
                  <a:pt x="1546568" y="505301"/>
                  <a:pt x="1546568" y="511280"/>
                </a:cubicBezTo>
                <a:cubicBezTo>
                  <a:pt x="1546568" y="515266"/>
                  <a:pt x="1544575" y="515266"/>
                  <a:pt x="1548561" y="517259"/>
                </a:cubicBezTo>
                <a:cubicBezTo>
                  <a:pt x="1552548" y="517259"/>
                  <a:pt x="1558528" y="521245"/>
                  <a:pt x="1556534" y="525231"/>
                </a:cubicBezTo>
                <a:cubicBezTo>
                  <a:pt x="1556534" y="527224"/>
                  <a:pt x="1554541" y="525231"/>
                  <a:pt x="1554541" y="531211"/>
                </a:cubicBezTo>
                <a:cubicBezTo>
                  <a:pt x="1554541" y="535197"/>
                  <a:pt x="1556534" y="537190"/>
                  <a:pt x="1558528" y="537190"/>
                </a:cubicBezTo>
                <a:cubicBezTo>
                  <a:pt x="1562514" y="537190"/>
                  <a:pt x="1560521" y="543169"/>
                  <a:pt x="1556534" y="545162"/>
                </a:cubicBezTo>
                <a:cubicBezTo>
                  <a:pt x="1554541" y="547155"/>
                  <a:pt x="1552548" y="547155"/>
                  <a:pt x="1552548" y="551141"/>
                </a:cubicBezTo>
                <a:cubicBezTo>
                  <a:pt x="1552548" y="555127"/>
                  <a:pt x="1552548" y="557120"/>
                  <a:pt x="1548561" y="557120"/>
                </a:cubicBezTo>
                <a:cubicBezTo>
                  <a:pt x="1544575" y="561106"/>
                  <a:pt x="1542582" y="561106"/>
                  <a:pt x="1544575" y="565093"/>
                </a:cubicBezTo>
                <a:cubicBezTo>
                  <a:pt x="1546568" y="569079"/>
                  <a:pt x="1546568" y="571072"/>
                  <a:pt x="1542582" y="571072"/>
                </a:cubicBezTo>
                <a:cubicBezTo>
                  <a:pt x="1538595" y="571072"/>
                  <a:pt x="1536602" y="569079"/>
                  <a:pt x="1536602" y="573065"/>
                </a:cubicBezTo>
                <a:cubicBezTo>
                  <a:pt x="1538595" y="575058"/>
                  <a:pt x="1542582" y="573065"/>
                  <a:pt x="1538595" y="577051"/>
                </a:cubicBezTo>
                <a:cubicBezTo>
                  <a:pt x="1534609" y="579044"/>
                  <a:pt x="1536602" y="579044"/>
                  <a:pt x="1538595" y="581037"/>
                </a:cubicBezTo>
                <a:cubicBezTo>
                  <a:pt x="1540588" y="581037"/>
                  <a:pt x="1544575" y="577051"/>
                  <a:pt x="1546568" y="575058"/>
                </a:cubicBezTo>
                <a:cubicBezTo>
                  <a:pt x="1546568" y="573065"/>
                  <a:pt x="1552548" y="573065"/>
                  <a:pt x="1552548" y="573065"/>
                </a:cubicBezTo>
                <a:cubicBezTo>
                  <a:pt x="1552548" y="573065"/>
                  <a:pt x="1556534" y="573065"/>
                  <a:pt x="1554541" y="571072"/>
                </a:cubicBezTo>
                <a:cubicBezTo>
                  <a:pt x="1550555" y="569079"/>
                  <a:pt x="1552548" y="565093"/>
                  <a:pt x="1554541" y="565093"/>
                </a:cubicBezTo>
                <a:cubicBezTo>
                  <a:pt x="1556534" y="565093"/>
                  <a:pt x="1558528" y="561106"/>
                  <a:pt x="1558528" y="561106"/>
                </a:cubicBezTo>
                <a:cubicBezTo>
                  <a:pt x="1558528" y="561106"/>
                  <a:pt x="1558528" y="563100"/>
                  <a:pt x="1560521" y="565093"/>
                </a:cubicBezTo>
                <a:cubicBezTo>
                  <a:pt x="1560521" y="565093"/>
                  <a:pt x="1562514" y="565093"/>
                  <a:pt x="1562514" y="565093"/>
                </a:cubicBezTo>
                <a:cubicBezTo>
                  <a:pt x="1562514" y="565093"/>
                  <a:pt x="1564507" y="565093"/>
                  <a:pt x="1562514" y="563100"/>
                </a:cubicBezTo>
                <a:cubicBezTo>
                  <a:pt x="1562514" y="561106"/>
                  <a:pt x="1562514" y="555127"/>
                  <a:pt x="1566501" y="557120"/>
                </a:cubicBezTo>
                <a:cubicBezTo>
                  <a:pt x="1568494" y="557120"/>
                  <a:pt x="1570487" y="557120"/>
                  <a:pt x="1568494" y="559113"/>
                </a:cubicBezTo>
                <a:cubicBezTo>
                  <a:pt x="1566501" y="563100"/>
                  <a:pt x="1566501" y="565093"/>
                  <a:pt x="1568494" y="565093"/>
                </a:cubicBezTo>
                <a:cubicBezTo>
                  <a:pt x="1570487" y="565093"/>
                  <a:pt x="1574474" y="565093"/>
                  <a:pt x="1574474" y="563100"/>
                </a:cubicBezTo>
                <a:cubicBezTo>
                  <a:pt x="1572480" y="559113"/>
                  <a:pt x="1574474" y="557120"/>
                  <a:pt x="1578460" y="557120"/>
                </a:cubicBezTo>
                <a:cubicBezTo>
                  <a:pt x="1580453" y="557120"/>
                  <a:pt x="1584440" y="565093"/>
                  <a:pt x="1582447" y="567086"/>
                </a:cubicBezTo>
                <a:cubicBezTo>
                  <a:pt x="1582447" y="569079"/>
                  <a:pt x="1578460" y="573065"/>
                  <a:pt x="1578460" y="575058"/>
                </a:cubicBezTo>
                <a:cubicBezTo>
                  <a:pt x="1578460" y="577051"/>
                  <a:pt x="1578460" y="579044"/>
                  <a:pt x="1582447" y="579044"/>
                </a:cubicBezTo>
                <a:cubicBezTo>
                  <a:pt x="1584440" y="577051"/>
                  <a:pt x="1588426" y="577051"/>
                  <a:pt x="1588426" y="577051"/>
                </a:cubicBezTo>
                <a:cubicBezTo>
                  <a:pt x="1588426" y="577051"/>
                  <a:pt x="1592413" y="577051"/>
                  <a:pt x="1586433" y="573065"/>
                </a:cubicBezTo>
                <a:cubicBezTo>
                  <a:pt x="1582447" y="571072"/>
                  <a:pt x="1586433" y="567086"/>
                  <a:pt x="1586433" y="569079"/>
                </a:cubicBezTo>
                <a:cubicBezTo>
                  <a:pt x="1588426" y="569079"/>
                  <a:pt x="1590420" y="569079"/>
                  <a:pt x="1590420" y="569079"/>
                </a:cubicBezTo>
                <a:cubicBezTo>
                  <a:pt x="1590420" y="569079"/>
                  <a:pt x="1594406" y="571072"/>
                  <a:pt x="1594406" y="573065"/>
                </a:cubicBezTo>
                <a:cubicBezTo>
                  <a:pt x="1594406" y="575058"/>
                  <a:pt x="1594406" y="575058"/>
                  <a:pt x="1596399" y="577051"/>
                </a:cubicBezTo>
                <a:cubicBezTo>
                  <a:pt x="1596399" y="579044"/>
                  <a:pt x="1600386" y="579044"/>
                  <a:pt x="1602379" y="581037"/>
                </a:cubicBezTo>
                <a:cubicBezTo>
                  <a:pt x="1604372" y="583030"/>
                  <a:pt x="1606366" y="587016"/>
                  <a:pt x="1608359" y="587016"/>
                </a:cubicBezTo>
                <a:cubicBezTo>
                  <a:pt x="1610352" y="585023"/>
                  <a:pt x="1612345" y="583030"/>
                  <a:pt x="1608359" y="581037"/>
                </a:cubicBezTo>
                <a:cubicBezTo>
                  <a:pt x="1606366" y="579044"/>
                  <a:pt x="1606366" y="581037"/>
                  <a:pt x="1604372" y="579044"/>
                </a:cubicBezTo>
                <a:cubicBezTo>
                  <a:pt x="1600386" y="577051"/>
                  <a:pt x="1600386" y="579044"/>
                  <a:pt x="1598393" y="575058"/>
                </a:cubicBezTo>
                <a:cubicBezTo>
                  <a:pt x="1598393" y="571072"/>
                  <a:pt x="1596399" y="571072"/>
                  <a:pt x="1596399" y="571072"/>
                </a:cubicBezTo>
                <a:cubicBezTo>
                  <a:pt x="1596399" y="571072"/>
                  <a:pt x="1592413" y="567086"/>
                  <a:pt x="1592413" y="563100"/>
                </a:cubicBezTo>
                <a:cubicBezTo>
                  <a:pt x="1592413" y="561106"/>
                  <a:pt x="1596399" y="561106"/>
                  <a:pt x="1598393" y="563100"/>
                </a:cubicBezTo>
                <a:cubicBezTo>
                  <a:pt x="1598393" y="565093"/>
                  <a:pt x="1600386" y="567086"/>
                  <a:pt x="1602379" y="565093"/>
                </a:cubicBezTo>
                <a:cubicBezTo>
                  <a:pt x="1606366" y="563100"/>
                  <a:pt x="1606366" y="565093"/>
                  <a:pt x="1606366" y="565093"/>
                </a:cubicBezTo>
                <a:cubicBezTo>
                  <a:pt x="1606366" y="565093"/>
                  <a:pt x="1610352" y="565093"/>
                  <a:pt x="1612345" y="567086"/>
                </a:cubicBezTo>
                <a:cubicBezTo>
                  <a:pt x="1612345" y="569079"/>
                  <a:pt x="1614339" y="571072"/>
                  <a:pt x="1618325" y="571072"/>
                </a:cubicBezTo>
                <a:cubicBezTo>
                  <a:pt x="1620318" y="569079"/>
                  <a:pt x="1620318" y="565093"/>
                  <a:pt x="1618325" y="565093"/>
                </a:cubicBezTo>
                <a:cubicBezTo>
                  <a:pt x="1614339" y="563100"/>
                  <a:pt x="1610352" y="565093"/>
                  <a:pt x="1610352" y="563100"/>
                </a:cubicBezTo>
                <a:cubicBezTo>
                  <a:pt x="1608359" y="561106"/>
                  <a:pt x="1600386" y="559113"/>
                  <a:pt x="1600386" y="557120"/>
                </a:cubicBezTo>
                <a:cubicBezTo>
                  <a:pt x="1598393" y="555127"/>
                  <a:pt x="1600386" y="553134"/>
                  <a:pt x="1604372" y="553134"/>
                </a:cubicBezTo>
                <a:cubicBezTo>
                  <a:pt x="1606366" y="553134"/>
                  <a:pt x="1608359" y="549148"/>
                  <a:pt x="1610352" y="547155"/>
                </a:cubicBezTo>
                <a:cubicBezTo>
                  <a:pt x="1612345" y="545162"/>
                  <a:pt x="1618325" y="541176"/>
                  <a:pt x="1618325" y="541176"/>
                </a:cubicBezTo>
                <a:cubicBezTo>
                  <a:pt x="1620318" y="539183"/>
                  <a:pt x="1626298" y="539183"/>
                  <a:pt x="1628292" y="541176"/>
                </a:cubicBezTo>
                <a:cubicBezTo>
                  <a:pt x="1628292" y="543169"/>
                  <a:pt x="1632278" y="543169"/>
                  <a:pt x="1634271" y="541176"/>
                </a:cubicBezTo>
                <a:cubicBezTo>
                  <a:pt x="1636265" y="539183"/>
                  <a:pt x="1640251" y="543169"/>
                  <a:pt x="1640251" y="543169"/>
                </a:cubicBezTo>
                <a:cubicBezTo>
                  <a:pt x="1640251" y="545162"/>
                  <a:pt x="1642244" y="547155"/>
                  <a:pt x="1646231" y="547155"/>
                </a:cubicBezTo>
                <a:cubicBezTo>
                  <a:pt x="1648224" y="545162"/>
                  <a:pt x="1650217" y="547155"/>
                  <a:pt x="1650217" y="549148"/>
                </a:cubicBezTo>
                <a:cubicBezTo>
                  <a:pt x="1652211" y="551141"/>
                  <a:pt x="1656197" y="553134"/>
                  <a:pt x="1656197" y="551141"/>
                </a:cubicBezTo>
                <a:cubicBezTo>
                  <a:pt x="1658190" y="551141"/>
                  <a:pt x="1658190" y="547155"/>
                  <a:pt x="1664170" y="549148"/>
                </a:cubicBezTo>
                <a:cubicBezTo>
                  <a:pt x="1668157" y="551141"/>
                  <a:pt x="1672143" y="555127"/>
                  <a:pt x="1672143" y="557120"/>
                </a:cubicBezTo>
                <a:cubicBezTo>
                  <a:pt x="1672143" y="559113"/>
                  <a:pt x="1670150" y="563100"/>
                  <a:pt x="1674136" y="561106"/>
                </a:cubicBezTo>
                <a:cubicBezTo>
                  <a:pt x="1678123" y="561106"/>
                  <a:pt x="1676130" y="569079"/>
                  <a:pt x="1676130" y="569079"/>
                </a:cubicBezTo>
                <a:cubicBezTo>
                  <a:pt x="1676130" y="569079"/>
                  <a:pt x="1678123" y="573065"/>
                  <a:pt x="1682109" y="571072"/>
                </a:cubicBezTo>
                <a:cubicBezTo>
                  <a:pt x="1686096" y="569079"/>
                  <a:pt x="1692076" y="569079"/>
                  <a:pt x="1690082" y="573065"/>
                </a:cubicBezTo>
                <a:cubicBezTo>
                  <a:pt x="1690082" y="579044"/>
                  <a:pt x="1688089" y="579044"/>
                  <a:pt x="1684103" y="581037"/>
                </a:cubicBezTo>
                <a:cubicBezTo>
                  <a:pt x="1682109" y="581037"/>
                  <a:pt x="1684103" y="589009"/>
                  <a:pt x="1686096" y="587016"/>
                </a:cubicBezTo>
                <a:cubicBezTo>
                  <a:pt x="1688089" y="587016"/>
                  <a:pt x="1690082" y="587016"/>
                  <a:pt x="1690082" y="591002"/>
                </a:cubicBezTo>
                <a:cubicBezTo>
                  <a:pt x="1688089" y="592996"/>
                  <a:pt x="1690082" y="592996"/>
                  <a:pt x="1692076" y="592996"/>
                </a:cubicBezTo>
                <a:cubicBezTo>
                  <a:pt x="1694069" y="591002"/>
                  <a:pt x="1696062" y="594989"/>
                  <a:pt x="1696062" y="594989"/>
                </a:cubicBezTo>
                <a:cubicBezTo>
                  <a:pt x="1696062" y="594989"/>
                  <a:pt x="1698055" y="596982"/>
                  <a:pt x="1700049" y="594989"/>
                </a:cubicBezTo>
                <a:cubicBezTo>
                  <a:pt x="1702042" y="594989"/>
                  <a:pt x="1700049" y="598975"/>
                  <a:pt x="1700049" y="598975"/>
                </a:cubicBezTo>
                <a:cubicBezTo>
                  <a:pt x="1700049" y="598975"/>
                  <a:pt x="1700049" y="602961"/>
                  <a:pt x="1704035" y="600968"/>
                </a:cubicBezTo>
                <a:cubicBezTo>
                  <a:pt x="1706028" y="598975"/>
                  <a:pt x="1710015" y="600968"/>
                  <a:pt x="1710015" y="604954"/>
                </a:cubicBezTo>
                <a:cubicBezTo>
                  <a:pt x="1708022" y="608940"/>
                  <a:pt x="1706028" y="610933"/>
                  <a:pt x="1708022" y="614919"/>
                </a:cubicBezTo>
                <a:cubicBezTo>
                  <a:pt x="1708022" y="616912"/>
                  <a:pt x="1712008" y="614919"/>
                  <a:pt x="1712008" y="612926"/>
                </a:cubicBezTo>
                <a:cubicBezTo>
                  <a:pt x="1712008" y="610933"/>
                  <a:pt x="1712008" y="606947"/>
                  <a:pt x="1714001" y="606947"/>
                </a:cubicBezTo>
                <a:cubicBezTo>
                  <a:pt x="1717988" y="604954"/>
                  <a:pt x="1719981" y="602961"/>
                  <a:pt x="1717988" y="600968"/>
                </a:cubicBezTo>
                <a:cubicBezTo>
                  <a:pt x="1714001" y="598975"/>
                  <a:pt x="1710015" y="594989"/>
                  <a:pt x="1710015" y="591002"/>
                </a:cubicBezTo>
                <a:cubicBezTo>
                  <a:pt x="1710015" y="587016"/>
                  <a:pt x="1712008" y="587016"/>
                  <a:pt x="1714001" y="587016"/>
                </a:cubicBezTo>
                <a:cubicBezTo>
                  <a:pt x="1715995" y="589009"/>
                  <a:pt x="1714001" y="589009"/>
                  <a:pt x="1717988" y="589009"/>
                </a:cubicBezTo>
                <a:cubicBezTo>
                  <a:pt x="1721974" y="589009"/>
                  <a:pt x="1723968" y="591002"/>
                  <a:pt x="1723968" y="591002"/>
                </a:cubicBezTo>
                <a:cubicBezTo>
                  <a:pt x="1723968" y="591002"/>
                  <a:pt x="1727954" y="591002"/>
                  <a:pt x="1727954" y="589009"/>
                </a:cubicBezTo>
                <a:cubicBezTo>
                  <a:pt x="1727954" y="585023"/>
                  <a:pt x="1733934" y="587016"/>
                  <a:pt x="1733934" y="587016"/>
                </a:cubicBezTo>
                <a:cubicBezTo>
                  <a:pt x="1735927" y="589009"/>
                  <a:pt x="1733934" y="589009"/>
                  <a:pt x="1737920" y="591002"/>
                </a:cubicBezTo>
                <a:cubicBezTo>
                  <a:pt x="1741907" y="591002"/>
                  <a:pt x="1745893" y="591002"/>
                  <a:pt x="1745893" y="592996"/>
                </a:cubicBezTo>
                <a:cubicBezTo>
                  <a:pt x="1745893" y="594989"/>
                  <a:pt x="1751873" y="594989"/>
                  <a:pt x="1751873" y="594989"/>
                </a:cubicBezTo>
                <a:cubicBezTo>
                  <a:pt x="1751873" y="594989"/>
                  <a:pt x="1751873" y="594989"/>
                  <a:pt x="1751873" y="598975"/>
                </a:cubicBezTo>
                <a:cubicBezTo>
                  <a:pt x="1753866" y="600968"/>
                  <a:pt x="1757853" y="602961"/>
                  <a:pt x="1757853" y="602961"/>
                </a:cubicBezTo>
                <a:cubicBezTo>
                  <a:pt x="1757853" y="602961"/>
                  <a:pt x="1761839" y="602961"/>
                  <a:pt x="1759846" y="606947"/>
                </a:cubicBezTo>
                <a:cubicBezTo>
                  <a:pt x="1759846" y="610933"/>
                  <a:pt x="1755860" y="610933"/>
                  <a:pt x="1755860" y="610933"/>
                </a:cubicBezTo>
                <a:cubicBezTo>
                  <a:pt x="1755860" y="610933"/>
                  <a:pt x="1751873" y="614919"/>
                  <a:pt x="1749880" y="616912"/>
                </a:cubicBezTo>
                <a:cubicBezTo>
                  <a:pt x="1749880" y="618905"/>
                  <a:pt x="1747887" y="624885"/>
                  <a:pt x="1745893" y="624885"/>
                </a:cubicBezTo>
                <a:cubicBezTo>
                  <a:pt x="1741907" y="624885"/>
                  <a:pt x="1733934" y="624885"/>
                  <a:pt x="1733934" y="628871"/>
                </a:cubicBezTo>
                <a:cubicBezTo>
                  <a:pt x="1731941" y="632857"/>
                  <a:pt x="1733934" y="632857"/>
                  <a:pt x="1737920" y="632857"/>
                </a:cubicBezTo>
                <a:cubicBezTo>
                  <a:pt x="1741907" y="630864"/>
                  <a:pt x="1745893" y="628871"/>
                  <a:pt x="1747887" y="630864"/>
                </a:cubicBezTo>
                <a:cubicBezTo>
                  <a:pt x="1751873" y="632857"/>
                  <a:pt x="1743900" y="634850"/>
                  <a:pt x="1743900" y="634850"/>
                </a:cubicBezTo>
                <a:cubicBezTo>
                  <a:pt x="1743900" y="634850"/>
                  <a:pt x="1741907" y="636843"/>
                  <a:pt x="1745893" y="638836"/>
                </a:cubicBezTo>
                <a:cubicBezTo>
                  <a:pt x="1747887" y="638836"/>
                  <a:pt x="1749880" y="636843"/>
                  <a:pt x="1751873" y="638836"/>
                </a:cubicBezTo>
                <a:cubicBezTo>
                  <a:pt x="1753866" y="638836"/>
                  <a:pt x="1753866" y="636843"/>
                  <a:pt x="1753866" y="634850"/>
                </a:cubicBezTo>
                <a:cubicBezTo>
                  <a:pt x="1751873" y="632857"/>
                  <a:pt x="1749880" y="624885"/>
                  <a:pt x="1753866" y="624885"/>
                </a:cubicBezTo>
                <a:cubicBezTo>
                  <a:pt x="1757853" y="622892"/>
                  <a:pt x="1759846" y="624885"/>
                  <a:pt x="1761839" y="620898"/>
                </a:cubicBezTo>
                <a:cubicBezTo>
                  <a:pt x="1761839" y="618905"/>
                  <a:pt x="1765826" y="618905"/>
                  <a:pt x="1767819" y="620898"/>
                </a:cubicBezTo>
                <a:cubicBezTo>
                  <a:pt x="1769812" y="622892"/>
                  <a:pt x="1769812" y="626878"/>
                  <a:pt x="1765826" y="630864"/>
                </a:cubicBezTo>
                <a:cubicBezTo>
                  <a:pt x="1761839" y="632857"/>
                  <a:pt x="1759846" y="636843"/>
                  <a:pt x="1759846" y="640829"/>
                </a:cubicBezTo>
                <a:cubicBezTo>
                  <a:pt x="1759846" y="642822"/>
                  <a:pt x="1763833" y="642822"/>
                  <a:pt x="1765826" y="638836"/>
                </a:cubicBezTo>
                <a:cubicBezTo>
                  <a:pt x="1767819" y="636843"/>
                  <a:pt x="1767819" y="632857"/>
                  <a:pt x="1771806" y="632857"/>
                </a:cubicBezTo>
                <a:cubicBezTo>
                  <a:pt x="1775792" y="632857"/>
                  <a:pt x="1779779" y="630864"/>
                  <a:pt x="1777785" y="634850"/>
                </a:cubicBezTo>
                <a:cubicBezTo>
                  <a:pt x="1777785" y="636843"/>
                  <a:pt x="1775792" y="636843"/>
                  <a:pt x="1775792" y="636843"/>
                </a:cubicBezTo>
                <a:cubicBezTo>
                  <a:pt x="1775792" y="636843"/>
                  <a:pt x="1769812" y="638836"/>
                  <a:pt x="1769812" y="642822"/>
                </a:cubicBezTo>
                <a:cubicBezTo>
                  <a:pt x="1771806" y="644815"/>
                  <a:pt x="1773799" y="646808"/>
                  <a:pt x="1775792" y="642822"/>
                </a:cubicBezTo>
                <a:cubicBezTo>
                  <a:pt x="1777785" y="640829"/>
                  <a:pt x="1779779" y="638836"/>
                  <a:pt x="1781772" y="640829"/>
                </a:cubicBezTo>
                <a:cubicBezTo>
                  <a:pt x="1783765" y="640829"/>
                  <a:pt x="1785758" y="640829"/>
                  <a:pt x="1785758" y="636843"/>
                </a:cubicBezTo>
                <a:cubicBezTo>
                  <a:pt x="1787752" y="634850"/>
                  <a:pt x="1795725" y="636843"/>
                  <a:pt x="1797718" y="638836"/>
                </a:cubicBezTo>
                <a:cubicBezTo>
                  <a:pt x="1797718" y="640829"/>
                  <a:pt x="1805691" y="644815"/>
                  <a:pt x="1807684" y="644815"/>
                </a:cubicBezTo>
                <a:cubicBezTo>
                  <a:pt x="1809677" y="644815"/>
                  <a:pt x="1813664" y="646808"/>
                  <a:pt x="1813664" y="650794"/>
                </a:cubicBezTo>
                <a:cubicBezTo>
                  <a:pt x="1813664" y="654781"/>
                  <a:pt x="1811671" y="654781"/>
                  <a:pt x="1807684" y="654781"/>
                </a:cubicBezTo>
                <a:cubicBezTo>
                  <a:pt x="1803698" y="654781"/>
                  <a:pt x="1799711" y="652788"/>
                  <a:pt x="1795725" y="654781"/>
                </a:cubicBezTo>
                <a:cubicBezTo>
                  <a:pt x="1793731" y="656774"/>
                  <a:pt x="1787752" y="658767"/>
                  <a:pt x="1787752" y="658767"/>
                </a:cubicBezTo>
                <a:cubicBezTo>
                  <a:pt x="1785758" y="658767"/>
                  <a:pt x="1779779" y="660760"/>
                  <a:pt x="1779779" y="662753"/>
                </a:cubicBezTo>
                <a:cubicBezTo>
                  <a:pt x="1781772" y="666739"/>
                  <a:pt x="1787752" y="664746"/>
                  <a:pt x="1787752" y="662753"/>
                </a:cubicBezTo>
                <a:cubicBezTo>
                  <a:pt x="1789745" y="660760"/>
                  <a:pt x="1799711" y="660760"/>
                  <a:pt x="1799711" y="664746"/>
                </a:cubicBezTo>
                <a:cubicBezTo>
                  <a:pt x="1799711" y="666739"/>
                  <a:pt x="1793731" y="668732"/>
                  <a:pt x="1793731" y="668732"/>
                </a:cubicBezTo>
                <a:cubicBezTo>
                  <a:pt x="1793731" y="668732"/>
                  <a:pt x="1789745" y="674711"/>
                  <a:pt x="1789745" y="676704"/>
                </a:cubicBezTo>
                <a:cubicBezTo>
                  <a:pt x="1789745" y="678697"/>
                  <a:pt x="1793731" y="674711"/>
                  <a:pt x="1793731" y="674711"/>
                </a:cubicBezTo>
                <a:cubicBezTo>
                  <a:pt x="1793731" y="674711"/>
                  <a:pt x="1797718" y="674711"/>
                  <a:pt x="1797718" y="676704"/>
                </a:cubicBezTo>
                <a:cubicBezTo>
                  <a:pt x="1797718" y="676704"/>
                  <a:pt x="1799711" y="676704"/>
                  <a:pt x="1799711" y="672718"/>
                </a:cubicBezTo>
                <a:cubicBezTo>
                  <a:pt x="1801704" y="670725"/>
                  <a:pt x="1803698" y="668732"/>
                  <a:pt x="1805691" y="670725"/>
                </a:cubicBezTo>
                <a:cubicBezTo>
                  <a:pt x="1807684" y="670725"/>
                  <a:pt x="1809677" y="666739"/>
                  <a:pt x="1811671" y="666739"/>
                </a:cubicBezTo>
                <a:cubicBezTo>
                  <a:pt x="1813664" y="666739"/>
                  <a:pt x="1811671" y="658767"/>
                  <a:pt x="1813664" y="658767"/>
                </a:cubicBezTo>
                <a:cubicBezTo>
                  <a:pt x="1817650" y="656774"/>
                  <a:pt x="1821637" y="660760"/>
                  <a:pt x="1823630" y="662753"/>
                </a:cubicBezTo>
                <a:cubicBezTo>
                  <a:pt x="1823630" y="664746"/>
                  <a:pt x="1825623" y="666739"/>
                  <a:pt x="1827617" y="666739"/>
                </a:cubicBezTo>
                <a:cubicBezTo>
                  <a:pt x="1829610" y="666739"/>
                  <a:pt x="1833597" y="670725"/>
                  <a:pt x="1835590" y="674711"/>
                </a:cubicBezTo>
                <a:cubicBezTo>
                  <a:pt x="1837583" y="678697"/>
                  <a:pt x="1841570" y="684677"/>
                  <a:pt x="1837583" y="684677"/>
                </a:cubicBezTo>
                <a:cubicBezTo>
                  <a:pt x="1835590" y="684677"/>
                  <a:pt x="1833597" y="684677"/>
                  <a:pt x="1831603" y="682684"/>
                </a:cubicBezTo>
                <a:cubicBezTo>
                  <a:pt x="1831603" y="678697"/>
                  <a:pt x="1829610" y="678697"/>
                  <a:pt x="1825623" y="678697"/>
                </a:cubicBezTo>
                <a:cubicBezTo>
                  <a:pt x="1819644" y="678697"/>
                  <a:pt x="1817650" y="676704"/>
                  <a:pt x="1813664" y="680690"/>
                </a:cubicBezTo>
                <a:cubicBezTo>
                  <a:pt x="1809677" y="684677"/>
                  <a:pt x="1805691" y="686670"/>
                  <a:pt x="1807684" y="688663"/>
                </a:cubicBezTo>
                <a:cubicBezTo>
                  <a:pt x="1809677" y="690656"/>
                  <a:pt x="1813664" y="690656"/>
                  <a:pt x="1813664" y="692649"/>
                </a:cubicBezTo>
                <a:cubicBezTo>
                  <a:pt x="1813664" y="694642"/>
                  <a:pt x="1811671" y="698628"/>
                  <a:pt x="1817650" y="696635"/>
                </a:cubicBezTo>
                <a:cubicBezTo>
                  <a:pt x="1823630" y="692649"/>
                  <a:pt x="1827617" y="692649"/>
                  <a:pt x="1827617" y="694642"/>
                </a:cubicBezTo>
                <a:cubicBezTo>
                  <a:pt x="1827617" y="696635"/>
                  <a:pt x="1827617" y="696635"/>
                  <a:pt x="1831603" y="696635"/>
                </a:cubicBezTo>
                <a:cubicBezTo>
                  <a:pt x="1833597" y="694642"/>
                  <a:pt x="1835590" y="696635"/>
                  <a:pt x="1835590" y="696635"/>
                </a:cubicBezTo>
                <a:cubicBezTo>
                  <a:pt x="1835590" y="696635"/>
                  <a:pt x="1837583" y="698628"/>
                  <a:pt x="1839576" y="696635"/>
                </a:cubicBezTo>
                <a:cubicBezTo>
                  <a:pt x="1841570" y="696635"/>
                  <a:pt x="1843563" y="698628"/>
                  <a:pt x="1843563" y="698628"/>
                </a:cubicBezTo>
                <a:cubicBezTo>
                  <a:pt x="1843563" y="698628"/>
                  <a:pt x="1847549" y="696635"/>
                  <a:pt x="1845556" y="702614"/>
                </a:cubicBezTo>
                <a:cubicBezTo>
                  <a:pt x="1845556" y="708593"/>
                  <a:pt x="1843563" y="704607"/>
                  <a:pt x="1843563" y="706600"/>
                </a:cubicBezTo>
                <a:cubicBezTo>
                  <a:pt x="1841570" y="710586"/>
                  <a:pt x="1839576" y="710586"/>
                  <a:pt x="1837583" y="708593"/>
                </a:cubicBezTo>
                <a:cubicBezTo>
                  <a:pt x="1835590" y="706600"/>
                  <a:pt x="1833597" y="704607"/>
                  <a:pt x="1833597" y="706600"/>
                </a:cubicBezTo>
                <a:cubicBezTo>
                  <a:pt x="1831603" y="708593"/>
                  <a:pt x="1827617" y="710586"/>
                  <a:pt x="1823630" y="708593"/>
                </a:cubicBezTo>
                <a:cubicBezTo>
                  <a:pt x="1821637" y="706600"/>
                  <a:pt x="1815657" y="702614"/>
                  <a:pt x="1813664" y="704607"/>
                </a:cubicBezTo>
                <a:cubicBezTo>
                  <a:pt x="1809677" y="704607"/>
                  <a:pt x="1803698" y="706600"/>
                  <a:pt x="1803698" y="708593"/>
                </a:cubicBezTo>
                <a:cubicBezTo>
                  <a:pt x="1803698" y="708593"/>
                  <a:pt x="1807684" y="710586"/>
                  <a:pt x="1807684" y="710586"/>
                </a:cubicBezTo>
                <a:cubicBezTo>
                  <a:pt x="1807684" y="710586"/>
                  <a:pt x="1819644" y="712579"/>
                  <a:pt x="1817650" y="712579"/>
                </a:cubicBezTo>
                <a:cubicBezTo>
                  <a:pt x="1817650" y="714573"/>
                  <a:pt x="1811671" y="714573"/>
                  <a:pt x="1811671" y="714573"/>
                </a:cubicBezTo>
                <a:cubicBezTo>
                  <a:pt x="1811671" y="714573"/>
                  <a:pt x="1803698" y="716566"/>
                  <a:pt x="1803698" y="716566"/>
                </a:cubicBezTo>
                <a:cubicBezTo>
                  <a:pt x="1803698" y="718559"/>
                  <a:pt x="1805691" y="720552"/>
                  <a:pt x="1807684" y="720552"/>
                </a:cubicBezTo>
                <a:cubicBezTo>
                  <a:pt x="1809677" y="720552"/>
                  <a:pt x="1813664" y="720552"/>
                  <a:pt x="1809677" y="724538"/>
                </a:cubicBezTo>
                <a:cubicBezTo>
                  <a:pt x="1805691" y="730517"/>
                  <a:pt x="1801704" y="726531"/>
                  <a:pt x="1801704" y="726531"/>
                </a:cubicBezTo>
                <a:cubicBezTo>
                  <a:pt x="1801704" y="726531"/>
                  <a:pt x="1799711" y="722545"/>
                  <a:pt x="1797718" y="724538"/>
                </a:cubicBezTo>
                <a:cubicBezTo>
                  <a:pt x="1795725" y="724538"/>
                  <a:pt x="1795725" y="726531"/>
                  <a:pt x="1793731" y="724538"/>
                </a:cubicBezTo>
                <a:cubicBezTo>
                  <a:pt x="1789745" y="724538"/>
                  <a:pt x="1787752" y="726531"/>
                  <a:pt x="1789745" y="728524"/>
                </a:cubicBezTo>
                <a:cubicBezTo>
                  <a:pt x="1789745" y="730517"/>
                  <a:pt x="1789745" y="732510"/>
                  <a:pt x="1793731" y="730517"/>
                </a:cubicBezTo>
                <a:cubicBezTo>
                  <a:pt x="1797718" y="728524"/>
                  <a:pt x="1799711" y="728524"/>
                  <a:pt x="1799711" y="730517"/>
                </a:cubicBezTo>
                <a:cubicBezTo>
                  <a:pt x="1799711" y="734503"/>
                  <a:pt x="1797718" y="734503"/>
                  <a:pt x="1797718" y="734503"/>
                </a:cubicBezTo>
                <a:cubicBezTo>
                  <a:pt x="1797718" y="734503"/>
                  <a:pt x="1791738" y="734503"/>
                  <a:pt x="1793731" y="736496"/>
                </a:cubicBezTo>
                <a:cubicBezTo>
                  <a:pt x="1797718" y="738489"/>
                  <a:pt x="1801704" y="736496"/>
                  <a:pt x="1803698" y="736496"/>
                </a:cubicBezTo>
                <a:cubicBezTo>
                  <a:pt x="1803698" y="738489"/>
                  <a:pt x="1805691" y="740482"/>
                  <a:pt x="1805691" y="740482"/>
                </a:cubicBezTo>
                <a:cubicBezTo>
                  <a:pt x="1805691" y="740482"/>
                  <a:pt x="1807684" y="742475"/>
                  <a:pt x="1809677" y="740482"/>
                </a:cubicBezTo>
                <a:cubicBezTo>
                  <a:pt x="1811671" y="738489"/>
                  <a:pt x="1809677" y="734503"/>
                  <a:pt x="1813664" y="736496"/>
                </a:cubicBezTo>
                <a:cubicBezTo>
                  <a:pt x="1815657" y="738489"/>
                  <a:pt x="1817650" y="740482"/>
                  <a:pt x="1821637" y="738489"/>
                </a:cubicBezTo>
                <a:cubicBezTo>
                  <a:pt x="1823630" y="738489"/>
                  <a:pt x="1825623" y="740482"/>
                  <a:pt x="1825623" y="740482"/>
                </a:cubicBezTo>
                <a:cubicBezTo>
                  <a:pt x="1825623" y="740482"/>
                  <a:pt x="1827617" y="740482"/>
                  <a:pt x="1829610" y="742475"/>
                </a:cubicBezTo>
                <a:cubicBezTo>
                  <a:pt x="1831603" y="742475"/>
                  <a:pt x="1833597" y="746462"/>
                  <a:pt x="1829610" y="746462"/>
                </a:cubicBezTo>
                <a:cubicBezTo>
                  <a:pt x="1825623" y="746462"/>
                  <a:pt x="1823630" y="746462"/>
                  <a:pt x="1823630" y="746462"/>
                </a:cubicBezTo>
                <a:cubicBezTo>
                  <a:pt x="1823630" y="746462"/>
                  <a:pt x="1821637" y="746462"/>
                  <a:pt x="1819644" y="746462"/>
                </a:cubicBezTo>
                <a:cubicBezTo>
                  <a:pt x="1817650" y="744469"/>
                  <a:pt x="1815657" y="744469"/>
                  <a:pt x="1815657" y="746462"/>
                </a:cubicBezTo>
                <a:cubicBezTo>
                  <a:pt x="1815657" y="746462"/>
                  <a:pt x="1819644" y="750448"/>
                  <a:pt x="1817650" y="750448"/>
                </a:cubicBezTo>
                <a:cubicBezTo>
                  <a:pt x="1815657" y="750448"/>
                  <a:pt x="1815657" y="752441"/>
                  <a:pt x="1815657" y="754434"/>
                </a:cubicBezTo>
                <a:cubicBezTo>
                  <a:pt x="1817650" y="756427"/>
                  <a:pt x="1819644" y="758420"/>
                  <a:pt x="1821637" y="754434"/>
                </a:cubicBezTo>
                <a:cubicBezTo>
                  <a:pt x="1823630" y="750448"/>
                  <a:pt x="1823630" y="750448"/>
                  <a:pt x="1825623" y="750448"/>
                </a:cubicBezTo>
                <a:cubicBezTo>
                  <a:pt x="1829610" y="750448"/>
                  <a:pt x="1827617" y="750448"/>
                  <a:pt x="1827617" y="752441"/>
                </a:cubicBezTo>
                <a:cubicBezTo>
                  <a:pt x="1827617" y="754434"/>
                  <a:pt x="1823630" y="758420"/>
                  <a:pt x="1825623" y="758420"/>
                </a:cubicBezTo>
                <a:cubicBezTo>
                  <a:pt x="1829610" y="760413"/>
                  <a:pt x="1827617" y="758420"/>
                  <a:pt x="1831603" y="760413"/>
                </a:cubicBezTo>
                <a:cubicBezTo>
                  <a:pt x="1835590" y="760413"/>
                  <a:pt x="1839576" y="762406"/>
                  <a:pt x="1837583" y="758420"/>
                </a:cubicBezTo>
                <a:cubicBezTo>
                  <a:pt x="1837583" y="754434"/>
                  <a:pt x="1839576" y="750448"/>
                  <a:pt x="1841570" y="748455"/>
                </a:cubicBezTo>
                <a:cubicBezTo>
                  <a:pt x="1843563" y="748455"/>
                  <a:pt x="1847549" y="748455"/>
                  <a:pt x="1845556" y="750448"/>
                </a:cubicBezTo>
                <a:cubicBezTo>
                  <a:pt x="1845556" y="754434"/>
                  <a:pt x="1845556" y="758420"/>
                  <a:pt x="1845556" y="758420"/>
                </a:cubicBezTo>
                <a:cubicBezTo>
                  <a:pt x="1845556" y="758420"/>
                  <a:pt x="1841570" y="758420"/>
                  <a:pt x="1839576" y="762406"/>
                </a:cubicBezTo>
                <a:cubicBezTo>
                  <a:pt x="1837583" y="764399"/>
                  <a:pt x="1837583" y="770378"/>
                  <a:pt x="1841570" y="768385"/>
                </a:cubicBezTo>
                <a:cubicBezTo>
                  <a:pt x="1841570" y="764399"/>
                  <a:pt x="1845556" y="762406"/>
                  <a:pt x="1845556" y="762406"/>
                </a:cubicBezTo>
                <a:cubicBezTo>
                  <a:pt x="1845556" y="762406"/>
                  <a:pt x="1847549" y="756427"/>
                  <a:pt x="1849543" y="758420"/>
                </a:cubicBezTo>
                <a:cubicBezTo>
                  <a:pt x="1849543" y="758420"/>
                  <a:pt x="1851536" y="760413"/>
                  <a:pt x="1851536" y="760413"/>
                </a:cubicBezTo>
                <a:cubicBezTo>
                  <a:pt x="1851536" y="760413"/>
                  <a:pt x="1851536" y="764399"/>
                  <a:pt x="1853529" y="762406"/>
                </a:cubicBezTo>
                <a:cubicBezTo>
                  <a:pt x="1857516" y="762406"/>
                  <a:pt x="1855522" y="758420"/>
                  <a:pt x="1857516" y="758420"/>
                </a:cubicBezTo>
                <a:cubicBezTo>
                  <a:pt x="1859509" y="758420"/>
                  <a:pt x="1861502" y="760413"/>
                  <a:pt x="1861502" y="760413"/>
                </a:cubicBezTo>
                <a:cubicBezTo>
                  <a:pt x="1861502" y="760413"/>
                  <a:pt x="1865489" y="762406"/>
                  <a:pt x="1867482" y="760413"/>
                </a:cubicBezTo>
                <a:cubicBezTo>
                  <a:pt x="1867482" y="760413"/>
                  <a:pt x="1871468" y="762406"/>
                  <a:pt x="1869475" y="764399"/>
                </a:cubicBezTo>
                <a:cubicBezTo>
                  <a:pt x="1869475" y="766392"/>
                  <a:pt x="1865489" y="768385"/>
                  <a:pt x="1865489" y="768385"/>
                </a:cubicBezTo>
                <a:cubicBezTo>
                  <a:pt x="1865489" y="768385"/>
                  <a:pt x="1863495" y="772371"/>
                  <a:pt x="1865489" y="774365"/>
                </a:cubicBezTo>
                <a:cubicBezTo>
                  <a:pt x="1869475" y="776358"/>
                  <a:pt x="1865489" y="770378"/>
                  <a:pt x="1871468" y="772371"/>
                </a:cubicBezTo>
                <a:cubicBezTo>
                  <a:pt x="1875455" y="772371"/>
                  <a:pt x="1877448" y="770378"/>
                  <a:pt x="1877448" y="768385"/>
                </a:cubicBezTo>
                <a:cubicBezTo>
                  <a:pt x="1877448" y="766392"/>
                  <a:pt x="1881435" y="766392"/>
                  <a:pt x="1881435" y="770378"/>
                </a:cubicBezTo>
                <a:cubicBezTo>
                  <a:pt x="1879441" y="772371"/>
                  <a:pt x="1877448" y="774365"/>
                  <a:pt x="1879441" y="774365"/>
                </a:cubicBezTo>
                <a:cubicBezTo>
                  <a:pt x="1883428" y="776358"/>
                  <a:pt x="1883428" y="772371"/>
                  <a:pt x="1885421" y="774365"/>
                </a:cubicBezTo>
                <a:cubicBezTo>
                  <a:pt x="1887414" y="776358"/>
                  <a:pt x="1887414" y="778351"/>
                  <a:pt x="1887414" y="778351"/>
                </a:cubicBezTo>
                <a:cubicBezTo>
                  <a:pt x="1887414" y="778351"/>
                  <a:pt x="1889408" y="782337"/>
                  <a:pt x="1887414" y="784330"/>
                </a:cubicBezTo>
                <a:cubicBezTo>
                  <a:pt x="1883428" y="784330"/>
                  <a:pt x="1881435" y="784330"/>
                  <a:pt x="1881435" y="784330"/>
                </a:cubicBezTo>
                <a:cubicBezTo>
                  <a:pt x="1881435" y="784330"/>
                  <a:pt x="1875455" y="784330"/>
                  <a:pt x="1875455" y="786323"/>
                </a:cubicBezTo>
                <a:cubicBezTo>
                  <a:pt x="1875455" y="788316"/>
                  <a:pt x="1877448" y="790309"/>
                  <a:pt x="1879441" y="788316"/>
                </a:cubicBezTo>
                <a:cubicBezTo>
                  <a:pt x="1883428" y="788316"/>
                  <a:pt x="1887414" y="786323"/>
                  <a:pt x="1887414" y="788316"/>
                </a:cubicBezTo>
                <a:cubicBezTo>
                  <a:pt x="1887414" y="790309"/>
                  <a:pt x="1885421" y="790309"/>
                  <a:pt x="1885421" y="790309"/>
                </a:cubicBezTo>
                <a:cubicBezTo>
                  <a:pt x="1885421" y="790309"/>
                  <a:pt x="1879441" y="792302"/>
                  <a:pt x="1881435" y="794295"/>
                </a:cubicBezTo>
                <a:cubicBezTo>
                  <a:pt x="1883428" y="796288"/>
                  <a:pt x="1889408" y="794295"/>
                  <a:pt x="1891401" y="792302"/>
                </a:cubicBezTo>
                <a:cubicBezTo>
                  <a:pt x="1891401" y="790309"/>
                  <a:pt x="1899374" y="792302"/>
                  <a:pt x="1899374" y="794295"/>
                </a:cubicBezTo>
                <a:cubicBezTo>
                  <a:pt x="1899374" y="796288"/>
                  <a:pt x="1893394" y="796288"/>
                  <a:pt x="1893394" y="796288"/>
                </a:cubicBezTo>
                <a:cubicBezTo>
                  <a:pt x="1893394" y="796288"/>
                  <a:pt x="1895387" y="798281"/>
                  <a:pt x="1895387" y="798281"/>
                </a:cubicBezTo>
                <a:cubicBezTo>
                  <a:pt x="1897381" y="798281"/>
                  <a:pt x="1899374" y="800274"/>
                  <a:pt x="1899374" y="800274"/>
                </a:cubicBezTo>
                <a:cubicBezTo>
                  <a:pt x="1899374" y="800274"/>
                  <a:pt x="1903360" y="800274"/>
                  <a:pt x="1905354" y="796288"/>
                </a:cubicBezTo>
                <a:cubicBezTo>
                  <a:pt x="1905354" y="794295"/>
                  <a:pt x="1905354" y="792302"/>
                  <a:pt x="1907347" y="792302"/>
                </a:cubicBezTo>
                <a:cubicBezTo>
                  <a:pt x="1909340" y="792302"/>
                  <a:pt x="1911333" y="790309"/>
                  <a:pt x="1911333" y="790309"/>
                </a:cubicBezTo>
                <a:cubicBezTo>
                  <a:pt x="1911333" y="790309"/>
                  <a:pt x="1917313" y="790309"/>
                  <a:pt x="1915320" y="792302"/>
                </a:cubicBezTo>
                <a:cubicBezTo>
                  <a:pt x="1915320" y="792302"/>
                  <a:pt x="1913327" y="796288"/>
                  <a:pt x="1915320" y="796288"/>
                </a:cubicBezTo>
                <a:cubicBezTo>
                  <a:pt x="1917313" y="796288"/>
                  <a:pt x="1921300" y="792302"/>
                  <a:pt x="1921300" y="792302"/>
                </a:cubicBezTo>
                <a:cubicBezTo>
                  <a:pt x="1921300" y="792302"/>
                  <a:pt x="1923293" y="792302"/>
                  <a:pt x="1925286" y="792302"/>
                </a:cubicBezTo>
                <a:cubicBezTo>
                  <a:pt x="1925286" y="796288"/>
                  <a:pt x="1921300" y="798281"/>
                  <a:pt x="1921300" y="798281"/>
                </a:cubicBezTo>
                <a:cubicBezTo>
                  <a:pt x="1921300" y="798281"/>
                  <a:pt x="1915320" y="802267"/>
                  <a:pt x="1913327" y="800274"/>
                </a:cubicBezTo>
                <a:cubicBezTo>
                  <a:pt x="1913327" y="798281"/>
                  <a:pt x="1913327" y="796288"/>
                  <a:pt x="1909340" y="796288"/>
                </a:cubicBezTo>
                <a:cubicBezTo>
                  <a:pt x="1907347" y="798281"/>
                  <a:pt x="1909340" y="800274"/>
                  <a:pt x="1903360" y="804261"/>
                </a:cubicBezTo>
                <a:cubicBezTo>
                  <a:pt x="1899374" y="806254"/>
                  <a:pt x="1895387" y="804261"/>
                  <a:pt x="1895387" y="808247"/>
                </a:cubicBezTo>
                <a:cubicBezTo>
                  <a:pt x="1897381" y="810240"/>
                  <a:pt x="1897381" y="810240"/>
                  <a:pt x="1899374" y="812233"/>
                </a:cubicBezTo>
                <a:cubicBezTo>
                  <a:pt x="1899374" y="814226"/>
                  <a:pt x="1901367" y="818212"/>
                  <a:pt x="1901367" y="812233"/>
                </a:cubicBezTo>
                <a:cubicBezTo>
                  <a:pt x="1901367" y="808247"/>
                  <a:pt x="1903360" y="804261"/>
                  <a:pt x="1907347" y="804261"/>
                </a:cubicBezTo>
                <a:cubicBezTo>
                  <a:pt x="1909340" y="804261"/>
                  <a:pt x="1909340" y="806254"/>
                  <a:pt x="1909340" y="810240"/>
                </a:cubicBezTo>
                <a:cubicBezTo>
                  <a:pt x="1909340" y="814226"/>
                  <a:pt x="1907347" y="818212"/>
                  <a:pt x="1907347" y="820205"/>
                </a:cubicBezTo>
                <a:cubicBezTo>
                  <a:pt x="1909340" y="820205"/>
                  <a:pt x="1911333" y="822198"/>
                  <a:pt x="1911333" y="816219"/>
                </a:cubicBezTo>
                <a:cubicBezTo>
                  <a:pt x="1911333" y="812233"/>
                  <a:pt x="1915320" y="806254"/>
                  <a:pt x="1917313" y="808247"/>
                </a:cubicBezTo>
                <a:cubicBezTo>
                  <a:pt x="1919306" y="808247"/>
                  <a:pt x="1919306" y="812233"/>
                  <a:pt x="1919306" y="812233"/>
                </a:cubicBezTo>
                <a:cubicBezTo>
                  <a:pt x="1919306" y="812233"/>
                  <a:pt x="1921300" y="814226"/>
                  <a:pt x="1921300" y="810240"/>
                </a:cubicBezTo>
                <a:cubicBezTo>
                  <a:pt x="1921300" y="806254"/>
                  <a:pt x="1925286" y="802267"/>
                  <a:pt x="1929273" y="804261"/>
                </a:cubicBezTo>
                <a:cubicBezTo>
                  <a:pt x="1933259" y="804261"/>
                  <a:pt x="1933259" y="804261"/>
                  <a:pt x="1935252" y="806254"/>
                </a:cubicBezTo>
                <a:cubicBezTo>
                  <a:pt x="1935252" y="810240"/>
                  <a:pt x="1939239" y="810240"/>
                  <a:pt x="1939239" y="810240"/>
                </a:cubicBezTo>
                <a:cubicBezTo>
                  <a:pt x="1939239" y="810240"/>
                  <a:pt x="1945219" y="810240"/>
                  <a:pt x="1947212" y="816219"/>
                </a:cubicBezTo>
                <a:cubicBezTo>
                  <a:pt x="1949205" y="822198"/>
                  <a:pt x="1947212" y="822198"/>
                  <a:pt x="1945219" y="822198"/>
                </a:cubicBezTo>
                <a:cubicBezTo>
                  <a:pt x="1941232" y="822198"/>
                  <a:pt x="1937246" y="824191"/>
                  <a:pt x="1937246" y="820205"/>
                </a:cubicBezTo>
                <a:cubicBezTo>
                  <a:pt x="1937246" y="818212"/>
                  <a:pt x="1933259" y="816219"/>
                  <a:pt x="1933259" y="818212"/>
                </a:cubicBezTo>
                <a:cubicBezTo>
                  <a:pt x="1933259" y="822198"/>
                  <a:pt x="1937246" y="822198"/>
                  <a:pt x="1937246" y="824191"/>
                </a:cubicBezTo>
                <a:cubicBezTo>
                  <a:pt x="1937246" y="826184"/>
                  <a:pt x="1935252" y="826184"/>
                  <a:pt x="1937246" y="828177"/>
                </a:cubicBezTo>
                <a:cubicBezTo>
                  <a:pt x="1937246" y="830170"/>
                  <a:pt x="1937246" y="834157"/>
                  <a:pt x="1933259" y="834157"/>
                </a:cubicBezTo>
                <a:cubicBezTo>
                  <a:pt x="1929273" y="834157"/>
                  <a:pt x="1929273" y="834157"/>
                  <a:pt x="1929273" y="834157"/>
                </a:cubicBezTo>
                <a:cubicBezTo>
                  <a:pt x="1925286" y="834157"/>
                  <a:pt x="1925286" y="834157"/>
                  <a:pt x="1925286" y="834157"/>
                </a:cubicBezTo>
                <a:cubicBezTo>
                  <a:pt x="1925286" y="832163"/>
                  <a:pt x="1925286" y="832163"/>
                  <a:pt x="1925286" y="832163"/>
                </a:cubicBezTo>
                <a:cubicBezTo>
                  <a:pt x="1921300" y="830170"/>
                  <a:pt x="1921300" y="830170"/>
                  <a:pt x="1921300" y="830170"/>
                </a:cubicBezTo>
                <a:cubicBezTo>
                  <a:pt x="1921300" y="830170"/>
                  <a:pt x="1921300" y="824191"/>
                  <a:pt x="1919306" y="826184"/>
                </a:cubicBezTo>
                <a:cubicBezTo>
                  <a:pt x="1917313" y="830170"/>
                  <a:pt x="1915320" y="830170"/>
                  <a:pt x="1915320" y="830170"/>
                </a:cubicBezTo>
                <a:cubicBezTo>
                  <a:pt x="1917313" y="834157"/>
                  <a:pt x="1917313" y="834157"/>
                  <a:pt x="1913327" y="836150"/>
                </a:cubicBezTo>
                <a:cubicBezTo>
                  <a:pt x="1911333" y="836150"/>
                  <a:pt x="1909340" y="836150"/>
                  <a:pt x="1913327" y="838143"/>
                </a:cubicBezTo>
                <a:cubicBezTo>
                  <a:pt x="1917313" y="840136"/>
                  <a:pt x="1923293" y="840136"/>
                  <a:pt x="1925286" y="842129"/>
                </a:cubicBezTo>
                <a:cubicBezTo>
                  <a:pt x="1925286" y="844122"/>
                  <a:pt x="1927279" y="848108"/>
                  <a:pt x="1921300" y="848108"/>
                </a:cubicBezTo>
                <a:cubicBezTo>
                  <a:pt x="1913327" y="848108"/>
                  <a:pt x="1913327" y="844122"/>
                  <a:pt x="1913327" y="844122"/>
                </a:cubicBezTo>
                <a:cubicBezTo>
                  <a:pt x="1913327" y="844122"/>
                  <a:pt x="1909340" y="838143"/>
                  <a:pt x="1907347" y="840136"/>
                </a:cubicBezTo>
                <a:cubicBezTo>
                  <a:pt x="1905354" y="842129"/>
                  <a:pt x="1903360" y="844122"/>
                  <a:pt x="1905354" y="844122"/>
                </a:cubicBezTo>
                <a:cubicBezTo>
                  <a:pt x="1907347" y="848108"/>
                  <a:pt x="1907347" y="846115"/>
                  <a:pt x="1909340" y="848108"/>
                </a:cubicBezTo>
                <a:cubicBezTo>
                  <a:pt x="1909340" y="850101"/>
                  <a:pt x="1913327" y="850101"/>
                  <a:pt x="1913327" y="850101"/>
                </a:cubicBezTo>
                <a:cubicBezTo>
                  <a:pt x="1913327" y="850101"/>
                  <a:pt x="1917313" y="850101"/>
                  <a:pt x="1917313" y="852094"/>
                </a:cubicBezTo>
                <a:cubicBezTo>
                  <a:pt x="1919306" y="856080"/>
                  <a:pt x="1921300" y="856080"/>
                  <a:pt x="1917313" y="858073"/>
                </a:cubicBezTo>
                <a:cubicBezTo>
                  <a:pt x="1913327" y="858073"/>
                  <a:pt x="1913327" y="858073"/>
                  <a:pt x="1913327" y="858073"/>
                </a:cubicBezTo>
                <a:cubicBezTo>
                  <a:pt x="1913327" y="858073"/>
                  <a:pt x="1909340" y="856080"/>
                  <a:pt x="1909340" y="860066"/>
                </a:cubicBezTo>
                <a:cubicBezTo>
                  <a:pt x="1909340" y="864053"/>
                  <a:pt x="1909340" y="866046"/>
                  <a:pt x="1907347" y="864053"/>
                </a:cubicBezTo>
                <a:cubicBezTo>
                  <a:pt x="1903360" y="864053"/>
                  <a:pt x="1903360" y="862059"/>
                  <a:pt x="1903360" y="862059"/>
                </a:cubicBezTo>
                <a:cubicBezTo>
                  <a:pt x="1903360" y="862059"/>
                  <a:pt x="1901367" y="858073"/>
                  <a:pt x="1899374" y="862059"/>
                </a:cubicBezTo>
                <a:cubicBezTo>
                  <a:pt x="1899374" y="866046"/>
                  <a:pt x="1899374" y="868039"/>
                  <a:pt x="1895387" y="868039"/>
                </a:cubicBezTo>
                <a:cubicBezTo>
                  <a:pt x="1893394" y="866046"/>
                  <a:pt x="1891401" y="866046"/>
                  <a:pt x="1891401" y="864053"/>
                </a:cubicBezTo>
                <a:cubicBezTo>
                  <a:pt x="1891401" y="860066"/>
                  <a:pt x="1887414" y="858073"/>
                  <a:pt x="1887414" y="862059"/>
                </a:cubicBezTo>
                <a:cubicBezTo>
                  <a:pt x="1889408" y="866046"/>
                  <a:pt x="1887414" y="870032"/>
                  <a:pt x="1887414" y="870032"/>
                </a:cubicBezTo>
                <a:cubicBezTo>
                  <a:pt x="1887414" y="870032"/>
                  <a:pt x="1887414" y="872025"/>
                  <a:pt x="1885421" y="872025"/>
                </a:cubicBezTo>
                <a:cubicBezTo>
                  <a:pt x="1885421" y="872025"/>
                  <a:pt x="1883428" y="874018"/>
                  <a:pt x="1885421" y="876011"/>
                </a:cubicBezTo>
                <a:cubicBezTo>
                  <a:pt x="1887414" y="878004"/>
                  <a:pt x="1887414" y="879997"/>
                  <a:pt x="1889408" y="878004"/>
                </a:cubicBezTo>
                <a:cubicBezTo>
                  <a:pt x="1891401" y="878004"/>
                  <a:pt x="1891401" y="881990"/>
                  <a:pt x="1891401" y="881990"/>
                </a:cubicBezTo>
                <a:cubicBezTo>
                  <a:pt x="1889408" y="881990"/>
                  <a:pt x="1885421" y="881990"/>
                  <a:pt x="1885421" y="885976"/>
                </a:cubicBezTo>
                <a:cubicBezTo>
                  <a:pt x="1887414" y="887969"/>
                  <a:pt x="1889408" y="887969"/>
                  <a:pt x="1889408" y="887969"/>
                </a:cubicBezTo>
                <a:cubicBezTo>
                  <a:pt x="1891401" y="887969"/>
                  <a:pt x="1891401" y="891955"/>
                  <a:pt x="1891401" y="891955"/>
                </a:cubicBezTo>
                <a:cubicBezTo>
                  <a:pt x="1889408" y="891955"/>
                  <a:pt x="1887414" y="891955"/>
                  <a:pt x="1887414" y="891955"/>
                </a:cubicBezTo>
                <a:cubicBezTo>
                  <a:pt x="1887414" y="891955"/>
                  <a:pt x="1881435" y="895942"/>
                  <a:pt x="1879441" y="891955"/>
                </a:cubicBezTo>
                <a:cubicBezTo>
                  <a:pt x="1877448" y="887969"/>
                  <a:pt x="1879441" y="883983"/>
                  <a:pt x="1879441" y="883983"/>
                </a:cubicBezTo>
                <a:cubicBezTo>
                  <a:pt x="1875455" y="883983"/>
                  <a:pt x="1875455" y="883983"/>
                  <a:pt x="1875455" y="883983"/>
                </a:cubicBezTo>
                <a:cubicBezTo>
                  <a:pt x="1875455" y="883983"/>
                  <a:pt x="1873462" y="885976"/>
                  <a:pt x="1871468" y="883983"/>
                </a:cubicBezTo>
                <a:cubicBezTo>
                  <a:pt x="1871468" y="881990"/>
                  <a:pt x="1867482" y="881990"/>
                  <a:pt x="1865489" y="883983"/>
                </a:cubicBezTo>
                <a:cubicBezTo>
                  <a:pt x="1865489" y="883983"/>
                  <a:pt x="1865489" y="887969"/>
                  <a:pt x="1861502" y="885976"/>
                </a:cubicBezTo>
                <a:cubicBezTo>
                  <a:pt x="1857516" y="881990"/>
                  <a:pt x="1855522" y="879997"/>
                  <a:pt x="1857516" y="878004"/>
                </a:cubicBezTo>
                <a:cubicBezTo>
                  <a:pt x="1857516" y="876011"/>
                  <a:pt x="1859509" y="874018"/>
                  <a:pt x="1855522" y="874018"/>
                </a:cubicBezTo>
                <a:cubicBezTo>
                  <a:pt x="1853529" y="874018"/>
                  <a:pt x="1847549" y="872025"/>
                  <a:pt x="1851536" y="868039"/>
                </a:cubicBezTo>
                <a:cubicBezTo>
                  <a:pt x="1855522" y="866046"/>
                  <a:pt x="1861502" y="864053"/>
                  <a:pt x="1861502" y="864053"/>
                </a:cubicBezTo>
                <a:cubicBezTo>
                  <a:pt x="1857516" y="862059"/>
                  <a:pt x="1857516" y="864053"/>
                  <a:pt x="1857516" y="864053"/>
                </a:cubicBezTo>
                <a:cubicBezTo>
                  <a:pt x="1857516" y="864053"/>
                  <a:pt x="1855522" y="868039"/>
                  <a:pt x="1853529" y="864053"/>
                </a:cubicBezTo>
                <a:cubicBezTo>
                  <a:pt x="1853529" y="862059"/>
                  <a:pt x="1855522" y="860066"/>
                  <a:pt x="1855522" y="860066"/>
                </a:cubicBezTo>
                <a:cubicBezTo>
                  <a:pt x="1855522" y="860066"/>
                  <a:pt x="1841570" y="856080"/>
                  <a:pt x="1847549" y="852094"/>
                </a:cubicBezTo>
                <a:cubicBezTo>
                  <a:pt x="1853529" y="848108"/>
                  <a:pt x="1853529" y="846115"/>
                  <a:pt x="1855522" y="846115"/>
                </a:cubicBezTo>
                <a:cubicBezTo>
                  <a:pt x="1857516" y="848108"/>
                  <a:pt x="1859509" y="844122"/>
                  <a:pt x="1857516" y="844122"/>
                </a:cubicBezTo>
                <a:cubicBezTo>
                  <a:pt x="1857516" y="842129"/>
                  <a:pt x="1851536" y="844122"/>
                  <a:pt x="1849543" y="846115"/>
                </a:cubicBezTo>
                <a:cubicBezTo>
                  <a:pt x="1847549" y="848108"/>
                  <a:pt x="1837583" y="856080"/>
                  <a:pt x="1835590" y="852094"/>
                </a:cubicBezTo>
                <a:cubicBezTo>
                  <a:pt x="1831603" y="850101"/>
                  <a:pt x="1833597" y="846115"/>
                  <a:pt x="1837583" y="846115"/>
                </a:cubicBezTo>
                <a:cubicBezTo>
                  <a:pt x="1839576" y="844122"/>
                  <a:pt x="1843563" y="840136"/>
                  <a:pt x="1843563" y="840136"/>
                </a:cubicBezTo>
                <a:cubicBezTo>
                  <a:pt x="1849543" y="838143"/>
                  <a:pt x="1849543" y="838143"/>
                  <a:pt x="1849543" y="838143"/>
                </a:cubicBezTo>
                <a:cubicBezTo>
                  <a:pt x="1849543" y="838143"/>
                  <a:pt x="1851536" y="834157"/>
                  <a:pt x="1847549" y="834157"/>
                </a:cubicBezTo>
                <a:cubicBezTo>
                  <a:pt x="1841570" y="834157"/>
                  <a:pt x="1839576" y="838143"/>
                  <a:pt x="1839576" y="838143"/>
                </a:cubicBezTo>
                <a:cubicBezTo>
                  <a:pt x="1839576" y="838143"/>
                  <a:pt x="1833597" y="842129"/>
                  <a:pt x="1831603" y="842129"/>
                </a:cubicBezTo>
                <a:cubicBezTo>
                  <a:pt x="1829610" y="840136"/>
                  <a:pt x="1829610" y="838143"/>
                  <a:pt x="1829610" y="838143"/>
                </a:cubicBezTo>
                <a:cubicBezTo>
                  <a:pt x="1829610" y="838143"/>
                  <a:pt x="1827617" y="832163"/>
                  <a:pt x="1827617" y="838143"/>
                </a:cubicBezTo>
                <a:cubicBezTo>
                  <a:pt x="1825623" y="842129"/>
                  <a:pt x="1819644" y="840136"/>
                  <a:pt x="1819644" y="840136"/>
                </a:cubicBezTo>
                <a:cubicBezTo>
                  <a:pt x="1819644" y="840136"/>
                  <a:pt x="1817650" y="834157"/>
                  <a:pt x="1813664" y="834157"/>
                </a:cubicBezTo>
                <a:cubicBezTo>
                  <a:pt x="1811671" y="834157"/>
                  <a:pt x="1807684" y="832163"/>
                  <a:pt x="1807684" y="832163"/>
                </a:cubicBezTo>
                <a:cubicBezTo>
                  <a:pt x="1807684" y="832163"/>
                  <a:pt x="1807684" y="826184"/>
                  <a:pt x="1803698" y="826184"/>
                </a:cubicBezTo>
                <a:cubicBezTo>
                  <a:pt x="1799711" y="826184"/>
                  <a:pt x="1799711" y="828177"/>
                  <a:pt x="1803698" y="828177"/>
                </a:cubicBezTo>
                <a:cubicBezTo>
                  <a:pt x="1807684" y="830170"/>
                  <a:pt x="1805691" y="832163"/>
                  <a:pt x="1805691" y="834157"/>
                </a:cubicBezTo>
                <a:cubicBezTo>
                  <a:pt x="1805691" y="836150"/>
                  <a:pt x="1803698" y="840136"/>
                  <a:pt x="1801704" y="838143"/>
                </a:cubicBezTo>
                <a:cubicBezTo>
                  <a:pt x="1799711" y="838143"/>
                  <a:pt x="1797718" y="838143"/>
                  <a:pt x="1799711" y="834157"/>
                </a:cubicBezTo>
                <a:cubicBezTo>
                  <a:pt x="1799711" y="830170"/>
                  <a:pt x="1793731" y="830170"/>
                  <a:pt x="1793731" y="834157"/>
                </a:cubicBezTo>
                <a:cubicBezTo>
                  <a:pt x="1793731" y="836150"/>
                  <a:pt x="1797718" y="838143"/>
                  <a:pt x="1797718" y="838143"/>
                </a:cubicBezTo>
                <a:cubicBezTo>
                  <a:pt x="1797718" y="838143"/>
                  <a:pt x="1797718" y="840136"/>
                  <a:pt x="1797718" y="842129"/>
                </a:cubicBezTo>
                <a:cubicBezTo>
                  <a:pt x="1797718" y="844122"/>
                  <a:pt x="1797718" y="844122"/>
                  <a:pt x="1801704" y="846115"/>
                </a:cubicBezTo>
                <a:cubicBezTo>
                  <a:pt x="1803698" y="846115"/>
                  <a:pt x="1807684" y="848108"/>
                  <a:pt x="1807684" y="850101"/>
                </a:cubicBezTo>
                <a:cubicBezTo>
                  <a:pt x="1807684" y="852094"/>
                  <a:pt x="1805691" y="852094"/>
                  <a:pt x="1801704" y="854087"/>
                </a:cubicBezTo>
                <a:lnTo>
                  <a:pt x="1799711" y="854087"/>
                </a:lnTo>
                <a:lnTo>
                  <a:pt x="1799213" y="854087"/>
                </a:lnTo>
                <a:lnTo>
                  <a:pt x="1791738" y="854087"/>
                </a:lnTo>
                <a:cubicBezTo>
                  <a:pt x="1787752" y="854087"/>
                  <a:pt x="1785758" y="852094"/>
                  <a:pt x="1785758" y="850101"/>
                </a:cubicBezTo>
                <a:cubicBezTo>
                  <a:pt x="1785758" y="848108"/>
                  <a:pt x="1785758" y="842129"/>
                  <a:pt x="1781772" y="840136"/>
                </a:cubicBezTo>
                <a:cubicBezTo>
                  <a:pt x="1777785" y="838143"/>
                  <a:pt x="1773799" y="836150"/>
                  <a:pt x="1771806" y="838143"/>
                </a:cubicBezTo>
                <a:cubicBezTo>
                  <a:pt x="1771806" y="840136"/>
                  <a:pt x="1767819" y="840136"/>
                  <a:pt x="1771806" y="842129"/>
                </a:cubicBezTo>
                <a:cubicBezTo>
                  <a:pt x="1775792" y="844122"/>
                  <a:pt x="1779779" y="842129"/>
                  <a:pt x="1781772" y="846115"/>
                </a:cubicBezTo>
                <a:cubicBezTo>
                  <a:pt x="1781772" y="852094"/>
                  <a:pt x="1785758" y="852094"/>
                  <a:pt x="1785758" y="852094"/>
                </a:cubicBezTo>
                <a:cubicBezTo>
                  <a:pt x="1785758" y="852094"/>
                  <a:pt x="1785758" y="852094"/>
                  <a:pt x="1787752" y="856080"/>
                </a:cubicBezTo>
                <a:cubicBezTo>
                  <a:pt x="1787752" y="862059"/>
                  <a:pt x="1785758" y="866046"/>
                  <a:pt x="1785758" y="866046"/>
                </a:cubicBezTo>
                <a:cubicBezTo>
                  <a:pt x="1785758" y="866046"/>
                  <a:pt x="1785758" y="870032"/>
                  <a:pt x="1789745" y="868039"/>
                </a:cubicBezTo>
                <a:cubicBezTo>
                  <a:pt x="1793731" y="864053"/>
                  <a:pt x="1799711" y="866046"/>
                  <a:pt x="1799711" y="868039"/>
                </a:cubicBezTo>
                <a:cubicBezTo>
                  <a:pt x="1799711" y="870032"/>
                  <a:pt x="1803698" y="874018"/>
                  <a:pt x="1803698" y="874018"/>
                </a:cubicBezTo>
                <a:cubicBezTo>
                  <a:pt x="1803698" y="874018"/>
                  <a:pt x="1803698" y="878004"/>
                  <a:pt x="1801704" y="878004"/>
                </a:cubicBezTo>
                <a:cubicBezTo>
                  <a:pt x="1799711" y="879997"/>
                  <a:pt x="1799711" y="879997"/>
                  <a:pt x="1801704" y="881990"/>
                </a:cubicBezTo>
                <a:cubicBezTo>
                  <a:pt x="1805691" y="883983"/>
                  <a:pt x="1803698" y="885976"/>
                  <a:pt x="1805691" y="887969"/>
                </a:cubicBezTo>
                <a:cubicBezTo>
                  <a:pt x="1805691" y="889962"/>
                  <a:pt x="1807684" y="891955"/>
                  <a:pt x="1807684" y="891955"/>
                </a:cubicBezTo>
                <a:cubicBezTo>
                  <a:pt x="1807684" y="891955"/>
                  <a:pt x="1807684" y="893949"/>
                  <a:pt x="1807684" y="897935"/>
                </a:cubicBezTo>
                <a:cubicBezTo>
                  <a:pt x="1805691" y="899928"/>
                  <a:pt x="1803698" y="901921"/>
                  <a:pt x="1805691" y="901921"/>
                </a:cubicBezTo>
                <a:cubicBezTo>
                  <a:pt x="1809677" y="903914"/>
                  <a:pt x="1809677" y="901921"/>
                  <a:pt x="1809677" y="899928"/>
                </a:cubicBezTo>
                <a:cubicBezTo>
                  <a:pt x="1809677" y="897935"/>
                  <a:pt x="1807684" y="895942"/>
                  <a:pt x="1811671" y="895942"/>
                </a:cubicBezTo>
                <a:cubicBezTo>
                  <a:pt x="1813664" y="895942"/>
                  <a:pt x="1817650" y="897935"/>
                  <a:pt x="1815657" y="901921"/>
                </a:cubicBezTo>
                <a:cubicBezTo>
                  <a:pt x="1813664" y="903914"/>
                  <a:pt x="1811671" y="901921"/>
                  <a:pt x="1813664" y="905907"/>
                </a:cubicBezTo>
                <a:cubicBezTo>
                  <a:pt x="1813664" y="907900"/>
                  <a:pt x="1817650" y="907900"/>
                  <a:pt x="1817650" y="905907"/>
                </a:cubicBezTo>
                <a:cubicBezTo>
                  <a:pt x="1817650" y="901921"/>
                  <a:pt x="1821637" y="901921"/>
                  <a:pt x="1821637" y="901921"/>
                </a:cubicBezTo>
                <a:cubicBezTo>
                  <a:pt x="1821637" y="901921"/>
                  <a:pt x="1823630" y="903914"/>
                  <a:pt x="1823630" y="903914"/>
                </a:cubicBezTo>
                <a:cubicBezTo>
                  <a:pt x="1823630" y="905907"/>
                  <a:pt x="1827617" y="905907"/>
                  <a:pt x="1827617" y="903914"/>
                </a:cubicBezTo>
                <a:cubicBezTo>
                  <a:pt x="1827617" y="901921"/>
                  <a:pt x="1829610" y="899928"/>
                  <a:pt x="1831603" y="901921"/>
                </a:cubicBezTo>
                <a:cubicBezTo>
                  <a:pt x="1833597" y="903914"/>
                  <a:pt x="1833597" y="903914"/>
                  <a:pt x="1833597" y="907900"/>
                </a:cubicBezTo>
                <a:cubicBezTo>
                  <a:pt x="1833597" y="909893"/>
                  <a:pt x="1833597" y="911886"/>
                  <a:pt x="1833597" y="909893"/>
                </a:cubicBezTo>
                <a:cubicBezTo>
                  <a:pt x="1835590" y="909893"/>
                  <a:pt x="1837583" y="907900"/>
                  <a:pt x="1837583" y="907900"/>
                </a:cubicBezTo>
                <a:cubicBezTo>
                  <a:pt x="1839576" y="907900"/>
                  <a:pt x="1841570" y="903914"/>
                  <a:pt x="1841570" y="903914"/>
                </a:cubicBezTo>
                <a:cubicBezTo>
                  <a:pt x="1845556" y="905907"/>
                  <a:pt x="1845556" y="905907"/>
                  <a:pt x="1845556" y="905907"/>
                </a:cubicBezTo>
                <a:cubicBezTo>
                  <a:pt x="1845556" y="905907"/>
                  <a:pt x="1847549" y="907900"/>
                  <a:pt x="1847549" y="907900"/>
                </a:cubicBezTo>
                <a:cubicBezTo>
                  <a:pt x="1845556" y="909893"/>
                  <a:pt x="1847549" y="907900"/>
                  <a:pt x="1845556" y="909893"/>
                </a:cubicBezTo>
                <a:cubicBezTo>
                  <a:pt x="1843563" y="911886"/>
                  <a:pt x="1843563" y="911886"/>
                  <a:pt x="1843563" y="911886"/>
                </a:cubicBezTo>
                <a:cubicBezTo>
                  <a:pt x="1841570" y="911886"/>
                  <a:pt x="1841570" y="911886"/>
                  <a:pt x="1841570" y="911886"/>
                </a:cubicBezTo>
                <a:cubicBezTo>
                  <a:pt x="1837583" y="913879"/>
                  <a:pt x="1837583" y="913879"/>
                  <a:pt x="1837583" y="913879"/>
                </a:cubicBezTo>
                <a:cubicBezTo>
                  <a:pt x="1835590" y="913879"/>
                  <a:pt x="1835590" y="913879"/>
                  <a:pt x="1835590" y="913879"/>
                </a:cubicBezTo>
                <a:cubicBezTo>
                  <a:pt x="1833597" y="915872"/>
                  <a:pt x="1833597" y="915872"/>
                  <a:pt x="1833597" y="915872"/>
                </a:cubicBezTo>
                <a:cubicBezTo>
                  <a:pt x="1833597" y="915872"/>
                  <a:pt x="1833597" y="915872"/>
                  <a:pt x="1835590" y="915872"/>
                </a:cubicBezTo>
                <a:cubicBezTo>
                  <a:pt x="1835590" y="915872"/>
                  <a:pt x="1835590" y="917865"/>
                  <a:pt x="1837583" y="917865"/>
                </a:cubicBezTo>
                <a:cubicBezTo>
                  <a:pt x="1837583" y="917865"/>
                  <a:pt x="1839576" y="917865"/>
                  <a:pt x="1839576" y="917865"/>
                </a:cubicBezTo>
                <a:cubicBezTo>
                  <a:pt x="1841570" y="915872"/>
                  <a:pt x="1841570" y="915872"/>
                  <a:pt x="1841570" y="915872"/>
                </a:cubicBezTo>
                <a:cubicBezTo>
                  <a:pt x="1841570" y="915872"/>
                  <a:pt x="1841570" y="913879"/>
                  <a:pt x="1843563" y="913879"/>
                </a:cubicBezTo>
                <a:cubicBezTo>
                  <a:pt x="1845556" y="915872"/>
                  <a:pt x="1843563" y="913879"/>
                  <a:pt x="1845556" y="915872"/>
                </a:cubicBezTo>
                <a:cubicBezTo>
                  <a:pt x="1845556" y="917865"/>
                  <a:pt x="1847549" y="917865"/>
                  <a:pt x="1845556" y="919858"/>
                </a:cubicBezTo>
                <a:cubicBezTo>
                  <a:pt x="1845556" y="919858"/>
                  <a:pt x="1845556" y="919858"/>
                  <a:pt x="1845556" y="921851"/>
                </a:cubicBezTo>
                <a:cubicBezTo>
                  <a:pt x="1843563" y="921851"/>
                  <a:pt x="1841570" y="921851"/>
                  <a:pt x="1841570" y="923845"/>
                </a:cubicBezTo>
                <a:cubicBezTo>
                  <a:pt x="1841570" y="923845"/>
                  <a:pt x="1839576" y="925838"/>
                  <a:pt x="1839576" y="925838"/>
                </a:cubicBezTo>
                <a:cubicBezTo>
                  <a:pt x="1839576" y="925838"/>
                  <a:pt x="1837583" y="927831"/>
                  <a:pt x="1837583" y="927831"/>
                </a:cubicBezTo>
                <a:cubicBezTo>
                  <a:pt x="1839576" y="927831"/>
                  <a:pt x="1837583" y="929824"/>
                  <a:pt x="1839576" y="927831"/>
                </a:cubicBezTo>
                <a:cubicBezTo>
                  <a:pt x="1841570" y="925838"/>
                  <a:pt x="1841570" y="925838"/>
                  <a:pt x="1841570" y="927831"/>
                </a:cubicBezTo>
                <a:cubicBezTo>
                  <a:pt x="1843563" y="927831"/>
                  <a:pt x="1843563" y="931817"/>
                  <a:pt x="1843563" y="931817"/>
                </a:cubicBezTo>
                <a:cubicBezTo>
                  <a:pt x="1843563" y="933810"/>
                  <a:pt x="1843563" y="933810"/>
                  <a:pt x="1843563" y="933810"/>
                </a:cubicBezTo>
                <a:cubicBezTo>
                  <a:pt x="1851536" y="933810"/>
                  <a:pt x="1851536" y="933810"/>
                  <a:pt x="1851536" y="933810"/>
                </a:cubicBezTo>
                <a:cubicBezTo>
                  <a:pt x="1851536" y="933810"/>
                  <a:pt x="1853529" y="935803"/>
                  <a:pt x="1853529" y="937796"/>
                </a:cubicBezTo>
                <a:cubicBezTo>
                  <a:pt x="1853529" y="939789"/>
                  <a:pt x="1851536" y="941782"/>
                  <a:pt x="1851536" y="941782"/>
                </a:cubicBezTo>
                <a:cubicBezTo>
                  <a:pt x="1849543" y="941782"/>
                  <a:pt x="1849543" y="941782"/>
                  <a:pt x="1849543" y="941782"/>
                </a:cubicBezTo>
                <a:cubicBezTo>
                  <a:pt x="1849543" y="941782"/>
                  <a:pt x="1845556" y="941782"/>
                  <a:pt x="1847549" y="943775"/>
                </a:cubicBezTo>
                <a:cubicBezTo>
                  <a:pt x="1847549" y="945768"/>
                  <a:pt x="1847549" y="945768"/>
                  <a:pt x="1849543" y="947761"/>
                </a:cubicBezTo>
                <a:cubicBezTo>
                  <a:pt x="1849543" y="949754"/>
                  <a:pt x="1851536" y="949754"/>
                  <a:pt x="1851536" y="951747"/>
                </a:cubicBezTo>
                <a:cubicBezTo>
                  <a:pt x="1853529" y="953741"/>
                  <a:pt x="1853529" y="953741"/>
                  <a:pt x="1853529" y="955734"/>
                </a:cubicBezTo>
                <a:cubicBezTo>
                  <a:pt x="1853529" y="957727"/>
                  <a:pt x="1853529" y="959720"/>
                  <a:pt x="1853529" y="961713"/>
                </a:cubicBezTo>
                <a:cubicBezTo>
                  <a:pt x="1853529" y="961713"/>
                  <a:pt x="1853529" y="965699"/>
                  <a:pt x="1853529" y="965699"/>
                </a:cubicBezTo>
                <a:cubicBezTo>
                  <a:pt x="1849543" y="969685"/>
                  <a:pt x="1849543" y="969685"/>
                  <a:pt x="1849543" y="969685"/>
                </a:cubicBezTo>
                <a:cubicBezTo>
                  <a:pt x="1847549" y="967692"/>
                  <a:pt x="1847549" y="967692"/>
                  <a:pt x="1847549" y="967692"/>
                </a:cubicBezTo>
                <a:cubicBezTo>
                  <a:pt x="1845556" y="963706"/>
                  <a:pt x="1845556" y="963706"/>
                  <a:pt x="1845556" y="963706"/>
                </a:cubicBezTo>
                <a:cubicBezTo>
                  <a:pt x="1845556" y="957727"/>
                  <a:pt x="1845556" y="957727"/>
                  <a:pt x="1845556" y="957727"/>
                </a:cubicBezTo>
                <a:cubicBezTo>
                  <a:pt x="1845556" y="957727"/>
                  <a:pt x="1845556" y="955734"/>
                  <a:pt x="1845556" y="953741"/>
                </a:cubicBezTo>
                <a:cubicBezTo>
                  <a:pt x="1845556" y="953741"/>
                  <a:pt x="1843563" y="949754"/>
                  <a:pt x="1843563" y="949754"/>
                </a:cubicBezTo>
                <a:cubicBezTo>
                  <a:pt x="1839576" y="951747"/>
                  <a:pt x="1839576" y="951747"/>
                  <a:pt x="1839576" y="951747"/>
                </a:cubicBezTo>
                <a:cubicBezTo>
                  <a:pt x="1839576" y="951747"/>
                  <a:pt x="1841570" y="951747"/>
                  <a:pt x="1841570" y="953741"/>
                </a:cubicBezTo>
                <a:cubicBezTo>
                  <a:pt x="1843563" y="957727"/>
                  <a:pt x="1841570" y="959720"/>
                  <a:pt x="1841570" y="959720"/>
                </a:cubicBezTo>
                <a:cubicBezTo>
                  <a:pt x="1841570" y="959720"/>
                  <a:pt x="1839576" y="961713"/>
                  <a:pt x="1839576" y="961713"/>
                </a:cubicBezTo>
                <a:cubicBezTo>
                  <a:pt x="1841570" y="961713"/>
                  <a:pt x="1843563" y="963706"/>
                  <a:pt x="1843563" y="963706"/>
                </a:cubicBezTo>
                <a:cubicBezTo>
                  <a:pt x="1843563" y="963706"/>
                  <a:pt x="1843563" y="965699"/>
                  <a:pt x="1843563" y="967692"/>
                </a:cubicBezTo>
                <a:cubicBezTo>
                  <a:pt x="1843563" y="969685"/>
                  <a:pt x="1841570" y="971678"/>
                  <a:pt x="1841570" y="971678"/>
                </a:cubicBezTo>
                <a:cubicBezTo>
                  <a:pt x="1841570" y="971678"/>
                  <a:pt x="1839576" y="973671"/>
                  <a:pt x="1841570" y="973671"/>
                </a:cubicBezTo>
                <a:cubicBezTo>
                  <a:pt x="1843563" y="973671"/>
                  <a:pt x="1843563" y="973671"/>
                  <a:pt x="1845556" y="973671"/>
                </a:cubicBezTo>
                <a:cubicBezTo>
                  <a:pt x="1845556" y="975664"/>
                  <a:pt x="1845556" y="977657"/>
                  <a:pt x="1845556" y="977657"/>
                </a:cubicBezTo>
                <a:cubicBezTo>
                  <a:pt x="1843563" y="979650"/>
                  <a:pt x="1841570" y="979650"/>
                  <a:pt x="1843563" y="979650"/>
                </a:cubicBezTo>
                <a:cubicBezTo>
                  <a:pt x="1845556" y="981643"/>
                  <a:pt x="1847549" y="981643"/>
                  <a:pt x="1847549" y="981643"/>
                </a:cubicBezTo>
                <a:cubicBezTo>
                  <a:pt x="1847549" y="981643"/>
                  <a:pt x="1847549" y="985630"/>
                  <a:pt x="1845556" y="985630"/>
                </a:cubicBezTo>
                <a:cubicBezTo>
                  <a:pt x="1843563" y="987623"/>
                  <a:pt x="1841570" y="987623"/>
                  <a:pt x="1841570" y="987623"/>
                </a:cubicBezTo>
                <a:cubicBezTo>
                  <a:pt x="1839576" y="987623"/>
                  <a:pt x="1839576" y="987623"/>
                  <a:pt x="1839576" y="989616"/>
                </a:cubicBezTo>
                <a:cubicBezTo>
                  <a:pt x="1837583" y="989616"/>
                  <a:pt x="1837583" y="989616"/>
                  <a:pt x="1837583" y="989616"/>
                </a:cubicBezTo>
                <a:cubicBezTo>
                  <a:pt x="1837583" y="989616"/>
                  <a:pt x="1835590" y="989616"/>
                  <a:pt x="1835590" y="987623"/>
                </a:cubicBezTo>
                <a:cubicBezTo>
                  <a:pt x="1835590" y="987623"/>
                  <a:pt x="1835590" y="985630"/>
                  <a:pt x="1835590" y="985630"/>
                </a:cubicBezTo>
                <a:cubicBezTo>
                  <a:pt x="1835590" y="985630"/>
                  <a:pt x="1831603" y="983636"/>
                  <a:pt x="1833597" y="983636"/>
                </a:cubicBezTo>
                <a:cubicBezTo>
                  <a:pt x="1833597" y="985630"/>
                  <a:pt x="1833597" y="987623"/>
                  <a:pt x="1833597" y="987623"/>
                </a:cubicBezTo>
                <a:cubicBezTo>
                  <a:pt x="1835590" y="989616"/>
                  <a:pt x="1835590" y="989616"/>
                  <a:pt x="1835590" y="991609"/>
                </a:cubicBezTo>
                <a:cubicBezTo>
                  <a:pt x="1835590" y="993602"/>
                  <a:pt x="1835590" y="997588"/>
                  <a:pt x="1831603" y="995595"/>
                </a:cubicBezTo>
                <a:cubicBezTo>
                  <a:pt x="1827617" y="993602"/>
                  <a:pt x="1827617" y="991609"/>
                  <a:pt x="1827617" y="991609"/>
                </a:cubicBezTo>
                <a:cubicBezTo>
                  <a:pt x="1823630" y="991609"/>
                  <a:pt x="1823630" y="991609"/>
                  <a:pt x="1823630" y="991609"/>
                </a:cubicBezTo>
                <a:cubicBezTo>
                  <a:pt x="1821637" y="991609"/>
                  <a:pt x="1821637" y="991609"/>
                  <a:pt x="1821637" y="991609"/>
                </a:cubicBezTo>
                <a:cubicBezTo>
                  <a:pt x="1821637" y="991609"/>
                  <a:pt x="1821637" y="989616"/>
                  <a:pt x="1821637" y="989616"/>
                </a:cubicBezTo>
                <a:cubicBezTo>
                  <a:pt x="1821637" y="987623"/>
                  <a:pt x="1819644" y="985630"/>
                  <a:pt x="1819644" y="985630"/>
                </a:cubicBezTo>
                <a:cubicBezTo>
                  <a:pt x="1819644" y="985630"/>
                  <a:pt x="1815657" y="985630"/>
                  <a:pt x="1815657" y="983636"/>
                </a:cubicBezTo>
                <a:cubicBezTo>
                  <a:pt x="1815657" y="981643"/>
                  <a:pt x="1815657" y="979650"/>
                  <a:pt x="1813664" y="981643"/>
                </a:cubicBezTo>
                <a:cubicBezTo>
                  <a:pt x="1811671" y="981643"/>
                  <a:pt x="1809677" y="983636"/>
                  <a:pt x="1807684" y="981643"/>
                </a:cubicBezTo>
                <a:cubicBezTo>
                  <a:pt x="1807684" y="979650"/>
                  <a:pt x="1805691" y="977657"/>
                  <a:pt x="1803698" y="977657"/>
                </a:cubicBezTo>
                <a:cubicBezTo>
                  <a:pt x="1803698" y="977657"/>
                  <a:pt x="1799711" y="975664"/>
                  <a:pt x="1799711" y="973671"/>
                </a:cubicBezTo>
                <a:cubicBezTo>
                  <a:pt x="1799711" y="971678"/>
                  <a:pt x="1797718" y="967692"/>
                  <a:pt x="1797718" y="967692"/>
                </a:cubicBezTo>
                <a:cubicBezTo>
                  <a:pt x="1795725" y="965699"/>
                  <a:pt x="1795725" y="965699"/>
                  <a:pt x="1795725" y="965699"/>
                </a:cubicBezTo>
                <a:cubicBezTo>
                  <a:pt x="1793731" y="967692"/>
                  <a:pt x="1793731" y="967692"/>
                  <a:pt x="1793731" y="967692"/>
                </a:cubicBezTo>
                <a:cubicBezTo>
                  <a:pt x="1793731" y="967692"/>
                  <a:pt x="1795725" y="969685"/>
                  <a:pt x="1795725" y="969685"/>
                </a:cubicBezTo>
                <a:cubicBezTo>
                  <a:pt x="1797718" y="971678"/>
                  <a:pt x="1797718" y="971678"/>
                  <a:pt x="1797718" y="973671"/>
                </a:cubicBezTo>
                <a:cubicBezTo>
                  <a:pt x="1799711" y="975664"/>
                  <a:pt x="1799711" y="975664"/>
                  <a:pt x="1799711" y="977657"/>
                </a:cubicBezTo>
                <a:cubicBezTo>
                  <a:pt x="1799711" y="979650"/>
                  <a:pt x="1797718" y="981643"/>
                  <a:pt x="1793731" y="979650"/>
                </a:cubicBezTo>
                <a:cubicBezTo>
                  <a:pt x="1791738" y="979650"/>
                  <a:pt x="1791738" y="977657"/>
                  <a:pt x="1791738" y="977657"/>
                </a:cubicBezTo>
                <a:cubicBezTo>
                  <a:pt x="1791738" y="977657"/>
                  <a:pt x="1793731" y="969685"/>
                  <a:pt x="1789745" y="969685"/>
                </a:cubicBezTo>
                <a:cubicBezTo>
                  <a:pt x="1787752" y="967692"/>
                  <a:pt x="1783765" y="967692"/>
                  <a:pt x="1781772" y="959720"/>
                </a:cubicBezTo>
                <a:cubicBezTo>
                  <a:pt x="1779779" y="951747"/>
                  <a:pt x="1779779" y="951747"/>
                  <a:pt x="1777785" y="951747"/>
                </a:cubicBezTo>
                <a:cubicBezTo>
                  <a:pt x="1775792" y="951747"/>
                  <a:pt x="1775792" y="953741"/>
                  <a:pt x="1777785" y="957727"/>
                </a:cubicBezTo>
                <a:cubicBezTo>
                  <a:pt x="1777785" y="959720"/>
                  <a:pt x="1779779" y="963706"/>
                  <a:pt x="1775792" y="961713"/>
                </a:cubicBezTo>
                <a:cubicBezTo>
                  <a:pt x="1771806" y="959720"/>
                  <a:pt x="1771806" y="957727"/>
                  <a:pt x="1769812" y="957727"/>
                </a:cubicBezTo>
                <a:cubicBezTo>
                  <a:pt x="1769812" y="957727"/>
                  <a:pt x="1765826" y="957727"/>
                  <a:pt x="1763833" y="955734"/>
                </a:cubicBezTo>
                <a:cubicBezTo>
                  <a:pt x="1761839" y="953741"/>
                  <a:pt x="1761839" y="949754"/>
                  <a:pt x="1757853" y="949754"/>
                </a:cubicBezTo>
                <a:cubicBezTo>
                  <a:pt x="1753866" y="947761"/>
                  <a:pt x="1747887" y="945768"/>
                  <a:pt x="1749880" y="951747"/>
                </a:cubicBezTo>
                <a:cubicBezTo>
                  <a:pt x="1751873" y="957727"/>
                  <a:pt x="1761839" y="967692"/>
                  <a:pt x="1761839" y="967692"/>
                </a:cubicBezTo>
                <a:cubicBezTo>
                  <a:pt x="1761839" y="967692"/>
                  <a:pt x="1765826" y="971678"/>
                  <a:pt x="1767819" y="973671"/>
                </a:cubicBezTo>
                <a:cubicBezTo>
                  <a:pt x="1769812" y="975664"/>
                  <a:pt x="1769812" y="975664"/>
                  <a:pt x="1769812" y="977657"/>
                </a:cubicBezTo>
                <a:cubicBezTo>
                  <a:pt x="1771806" y="979650"/>
                  <a:pt x="1771806" y="981643"/>
                  <a:pt x="1773799" y="983636"/>
                </a:cubicBezTo>
                <a:cubicBezTo>
                  <a:pt x="1773799" y="983636"/>
                  <a:pt x="1773799" y="985630"/>
                  <a:pt x="1775792" y="985630"/>
                </a:cubicBezTo>
                <a:cubicBezTo>
                  <a:pt x="1777785" y="983636"/>
                  <a:pt x="1777785" y="983636"/>
                  <a:pt x="1779779" y="983636"/>
                </a:cubicBezTo>
                <a:cubicBezTo>
                  <a:pt x="1783765" y="985630"/>
                  <a:pt x="1783765" y="985630"/>
                  <a:pt x="1785758" y="985630"/>
                </a:cubicBezTo>
                <a:cubicBezTo>
                  <a:pt x="1785758" y="987623"/>
                  <a:pt x="1787752" y="987623"/>
                  <a:pt x="1787752" y="989616"/>
                </a:cubicBezTo>
                <a:cubicBezTo>
                  <a:pt x="1787752" y="991609"/>
                  <a:pt x="1785758" y="991609"/>
                  <a:pt x="1787752" y="993602"/>
                </a:cubicBezTo>
                <a:cubicBezTo>
                  <a:pt x="1789745" y="995595"/>
                  <a:pt x="1789745" y="993602"/>
                  <a:pt x="1791738" y="993602"/>
                </a:cubicBezTo>
                <a:cubicBezTo>
                  <a:pt x="1793731" y="993602"/>
                  <a:pt x="1793731" y="993602"/>
                  <a:pt x="1795725" y="993602"/>
                </a:cubicBezTo>
                <a:cubicBezTo>
                  <a:pt x="1797718" y="995595"/>
                  <a:pt x="1795725" y="993602"/>
                  <a:pt x="1797718" y="995595"/>
                </a:cubicBezTo>
                <a:cubicBezTo>
                  <a:pt x="1797718" y="999581"/>
                  <a:pt x="1795725" y="999581"/>
                  <a:pt x="1797718" y="999581"/>
                </a:cubicBezTo>
                <a:cubicBezTo>
                  <a:pt x="1799711" y="1001574"/>
                  <a:pt x="1799711" y="1001574"/>
                  <a:pt x="1799711" y="1003567"/>
                </a:cubicBezTo>
                <a:cubicBezTo>
                  <a:pt x="1799711" y="1005560"/>
                  <a:pt x="1799711" y="1003567"/>
                  <a:pt x="1799711" y="1005560"/>
                </a:cubicBezTo>
                <a:cubicBezTo>
                  <a:pt x="1799711" y="1007553"/>
                  <a:pt x="1801704" y="1007553"/>
                  <a:pt x="1803698" y="1007553"/>
                </a:cubicBezTo>
                <a:cubicBezTo>
                  <a:pt x="1803698" y="1007553"/>
                  <a:pt x="1805691" y="1007553"/>
                  <a:pt x="1805691" y="1007553"/>
                </a:cubicBezTo>
                <a:cubicBezTo>
                  <a:pt x="1807684" y="1007553"/>
                  <a:pt x="1809677" y="1007553"/>
                  <a:pt x="1809677" y="1007553"/>
                </a:cubicBezTo>
                <a:cubicBezTo>
                  <a:pt x="1811671" y="1009546"/>
                  <a:pt x="1811671" y="1007553"/>
                  <a:pt x="1811671" y="1011539"/>
                </a:cubicBezTo>
                <a:cubicBezTo>
                  <a:pt x="1813664" y="1011539"/>
                  <a:pt x="1813664" y="1013532"/>
                  <a:pt x="1811671" y="1015526"/>
                </a:cubicBezTo>
                <a:cubicBezTo>
                  <a:pt x="1811671" y="1015526"/>
                  <a:pt x="1807684" y="1015526"/>
                  <a:pt x="1807684" y="1015526"/>
                </a:cubicBezTo>
                <a:cubicBezTo>
                  <a:pt x="1807684" y="1015526"/>
                  <a:pt x="1805691" y="1013532"/>
                  <a:pt x="1805691" y="1015526"/>
                </a:cubicBezTo>
                <a:cubicBezTo>
                  <a:pt x="1805691" y="1017519"/>
                  <a:pt x="1803698" y="1017519"/>
                  <a:pt x="1805691" y="1021505"/>
                </a:cubicBezTo>
                <a:cubicBezTo>
                  <a:pt x="1805691" y="1021505"/>
                  <a:pt x="1807684" y="1023498"/>
                  <a:pt x="1807684" y="1023498"/>
                </a:cubicBezTo>
                <a:cubicBezTo>
                  <a:pt x="1807684" y="1025491"/>
                  <a:pt x="1809677" y="1025491"/>
                  <a:pt x="1809677" y="1027484"/>
                </a:cubicBezTo>
                <a:cubicBezTo>
                  <a:pt x="1807684" y="1029477"/>
                  <a:pt x="1809677" y="1029477"/>
                  <a:pt x="1807684" y="1031470"/>
                </a:cubicBezTo>
                <a:cubicBezTo>
                  <a:pt x="1803698" y="1031470"/>
                  <a:pt x="1803698" y="1033463"/>
                  <a:pt x="1803698" y="1031470"/>
                </a:cubicBezTo>
                <a:cubicBezTo>
                  <a:pt x="1801704" y="1031470"/>
                  <a:pt x="1799711" y="1031470"/>
                  <a:pt x="1797718" y="1029477"/>
                </a:cubicBezTo>
                <a:cubicBezTo>
                  <a:pt x="1795725" y="1027484"/>
                  <a:pt x="1793731" y="1025491"/>
                  <a:pt x="1793731" y="1025491"/>
                </a:cubicBezTo>
                <a:cubicBezTo>
                  <a:pt x="1791738" y="1023498"/>
                  <a:pt x="1791738" y="1023498"/>
                  <a:pt x="1791738" y="1023498"/>
                </a:cubicBezTo>
                <a:cubicBezTo>
                  <a:pt x="1789745" y="1023498"/>
                  <a:pt x="1789745" y="1023498"/>
                  <a:pt x="1789745" y="1023498"/>
                </a:cubicBezTo>
                <a:cubicBezTo>
                  <a:pt x="1789745" y="1023498"/>
                  <a:pt x="1787752" y="1023498"/>
                  <a:pt x="1785758" y="1021505"/>
                </a:cubicBezTo>
                <a:cubicBezTo>
                  <a:pt x="1783765" y="1021505"/>
                  <a:pt x="1781772" y="1023498"/>
                  <a:pt x="1781772" y="1019512"/>
                </a:cubicBezTo>
                <a:cubicBezTo>
                  <a:pt x="1781772" y="1017519"/>
                  <a:pt x="1781772" y="1015526"/>
                  <a:pt x="1781772" y="1015526"/>
                </a:cubicBezTo>
                <a:cubicBezTo>
                  <a:pt x="1781772" y="1015526"/>
                  <a:pt x="1779779" y="1013532"/>
                  <a:pt x="1777785" y="1013532"/>
                </a:cubicBezTo>
                <a:cubicBezTo>
                  <a:pt x="1777785" y="1015526"/>
                  <a:pt x="1777785" y="1015526"/>
                  <a:pt x="1773799" y="1015526"/>
                </a:cubicBezTo>
                <a:cubicBezTo>
                  <a:pt x="1771806" y="1015526"/>
                  <a:pt x="1769812" y="1015526"/>
                  <a:pt x="1769812" y="1015526"/>
                </a:cubicBezTo>
                <a:cubicBezTo>
                  <a:pt x="1767819" y="1013532"/>
                  <a:pt x="1767819" y="1013532"/>
                  <a:pt x="1767819" y="1013532"/>
                </a:cubicBezTo>
                <a:cubicBezTo>
                  <a:pt x="1767819" y="1013532"/>
                  <a:pt x="1765826" y="1013532"/>
                  <a:pt x="1765826" y="1013532"/>
                </a:cubicBezTo>
                <a:cubicBezTo>
                  <a:pt x="1765826" y="1015526"/>
                  <a:pt x="1765826" y="1015526"/>
                  <a:pt x="1763833" y="1013532"/>
                </a:cubicBezTo>
                <a:cubicBezTo>
                  <a:pt x="1761839" y="1013532"/>
                  <a:pt x="1761839" y="1011539"/>
                  <a:pt x="1761839" y="1011539"/>
                </a:cubicBezTo>
                <a:cubicBezTo>
                  <a:pt x="1759846" y="1011539"/>
                  <a:pt x="1759846" y="1009546"/>
                  <a:pt x="1757853" y="1011539"/>
                </a:cubicBezTo>
                <a:cubicBezTo>
                  <a:pt x="1757853" y="1011539"/>
                  <a:pt x="1757853" y="1009546"/>
                  <a:pt x="1755860" y="1011539"/>
                </a:cubicBezTo>
                <a:cubicBezTo>
                  <a:pt x="1755860" y="1013532"/>
                  <a:pt x="1755860" y="1013532"/>
                  <a:pt x="1753866" y="1013532"/>
                </a:cubicBezTo>
                <a:cubicBezTo>
                  <a:pt x="1751873" y="1013532"/>
                  <a:pt x="1749880" y="1015526"/>
                  <a:pt x="1747887" y="1013532"/>
                </a:cubicBezTo>
                <a:cubicBezTo>
                  <a:pt x="1745893" y="1009546"/>
                  <a:pt x="1747887" y="1009546"/>
                  <a:pt x="1745893" y="1009546"/>
                </a:cubicBezTo>
                <a:cubicBezTo>
                  <a:pt x="1743900" y="1009546"/>
                  <a:pt x="1739914" y="1009546"/>
                  <a:pt x="1739914" y="1009546"/>
                </a:cubicBezTo>
                <a:cubicBezTo>
                  <a:pt x="1739914" y="1009546"/>
                  <a:pt x="1737920" y="1011539"/>
                  <a:pt x="1737920" y="1009546"/>
                </a:cubicBezTo>
                <a:cubicBezTo>
                  <a:pt x="1735927" y="1007553"/>
                  <a:pt x="1737920" y="1007553"/>
                  <a:pt x="1735927" y="1005560"/>
                </a:cubicBezTo>
                <a:cubicBezTo>
                  <a:pt x="1733934" y="1005560"/>
                  <a:pt x="1733934" y="1005560"/>
                  <a:pt x="1731941" y="1005560"/>
                </a:cubicBezTo>
                <a:cubicBezTo>
                  <a:pt x="1731941" y="1003567"/>
                  <a:pt x="1731941" y="1003567"/>
                  <a:pt x="1731941" y="1003567"/>
                </a:cubicBezTo>
                <a:cubicBezTo>
                  <a:pt x="1731941" y="1001574"/>
                  <a:pt x="1729947" y="999581"/>
                  <a:pt x="1729947" y="999581"/>
                </a:cubicBezTo>
                <a:cubicBezTo>
                  <a:pt x="1727954" y="995595"/>
                  <a:pt x="1727954" y="995595"/>
                  <a:pt x="1727954" y="995595"/>
                </a:cubicBezTo>
                <a:cubicBezTo>
                  <a:pt x="1727954" y="993602"/>
                  <a:pt x="1727954" y="993602"/>
                  <a:pt x="1727954" y="993602"/>
                </a:cubicBezTo>
                <a:cubicBezTo>
                  <a:pt x="1727954" y="993602"/>
                  <a:pt x="1727954" y="991609"/>
                  <a:pt x="1727954" y="991609"/>
                </a:cubicBezTo>
                <a:cubicBezTo>
                  <a:pt x="1725961" y="991609"/>
                  <a:pt x="1725961" y="993602"/>
                  <a:pt x="1725961" y="993602"/>
                </a:cubicBezTo>
                <a:cubicBezTo>
                  <a:pt x="1723968" y="993602"/>
                  <a:pt x="1723968" y="993602"/>
                  <a:pt x="1723968" y="993602"/>
                </a:cubicBezTo>
                <a:cubicBezTo>
                  <a:pt x="1723968" y="993602"/>
                  <a:pt x="1721974" y="993602"/>
                  <a:pt x="1721974" y="991609"/>
                </a:cubicBezTo>
                <a:cubicBezTo>
                  <a:pt x="1721974" y="989616"/>
                  <a:pt x="1721974" y="987623"/>
                  <a:pt x="1721974" y="987623"/>
                </a:cubicBezTo>
                <a:cubicBezTo>
                  <a:pt x="1721974" y="987623"/>
                  <a:pt x="1721974" y="987623"/>
                  <a:pt x="1719981" y="987623"/>
                </a:cubicBezTo>
                <a:cubicBezTo>
                  <a:pt x="1719981" y="989616"/>
                  <a:pt x="1715995" y="989616"/>
                  <a:pt x="1715995" y="989616"/>
                </a:cubicBezTo>
                <a:cubicBezTo>
                  <a:pt x="1715995" y="989616"/>
                  <a:pt x="1717988" y="991609"/>
                  <a:pt x="1714001" y="991609"/>
                </a:cubicBezTo>
                <a:cubicBezTo>
                  <a:pt x="1712008" y="991609"/>
                  <a:pt x="1714001" y="991609"/>
                  <a:pt x="1712008" y="991609"/>
                </a:cubicBezTo>
                <a:cubicBezTo>
                  <a:pt x="1712008" y="989616"/>
                  <a:pt x="1710015" y="989616"/>
                  <a:pt x="1710015" y="987623"/>
                </a:cubicBezTo>
                <a:cubicBezTo>
                  <a:pt x="1710015" y="987623"/>
                  <a:pt x="1708022" y="985630"/>
                  <a:pt x="1708022" y="985630"/>
                </a:cubicBezTo>
                <a:cubicBezTo>
                  <a:pt x="1706028" y="985630"/>
                  <a:pt x="1706028" y="985630"/>
                  <a:pt x="1706028" y="985630"/>
                </a:cubicBezTo>
                <a:cubicBezTo>
                  <a:pt x="1700049" y="985630"/>
                  <a:pt x="1700049" y="985630"/>
                  <a:pt x="1700049" y="985630"/>
                </a:cubicBezTo>
                <a:cubicBezTo>
                  <a:pt x="1700049" y="985630"/>
                  <a:pt x="1698055" y="983636"/>
                  <a:pt x="1698055" y="983636"/>
                </a:cubicBezTo>
                <a:cubicBezTo>
                  <a:pt x="1696062" y="985630"/>
                  <a:pt x="1694069" y="985630"/>
                  <a:pt x="1696062" y="985630"/>
                </a:cubicBezTo>
                <a:cubicBezTo>
                  <a:pt x="1698055" y="987623"/>
                  <a:pt x="1700049" y="989616"/>
                  <a:pt x="1700049" y="989616"/>
                </a:cubicBezTo>
                <a:cubicBezTo>
                  <a:pt x="1700049" y="989616"/>
                  <a:pt x="1700049" y="989616"/>
                  <a:pt x="1702042" y="989616"/>
                </a:cubicBezTo>
                <a:cubicBezTo>
                  <a:pt x="1704035" y="991609"/>
                  <a:pt x="1702042" y="989616"/>
                  <a:pt x="1706028" y="991609"/>
                </a:cubicBezTo>
                <a:cubicBezTo>
                  <a:pt x="1710015" y="991609"/>
                  <a:pt x="1712008" y="993602"/>
                  <a:pt x="1712008" y="993602"/>
                </a:cubicBezTo>
                <a:cubicBezTo>
                  <a:pt x="1712008" y="995595"/>
                  <a:pt x="1714001" y="997588"/>
                  <a:pt x="1714001" y="997588"/>
                </a:cubicBezTo>
                <a:cubicBezTo>
                  <a:pt x="1714001" y="997588"/>
                  <a:pt x="1714001" y="997588"/>
                  <a:pt x="1712008" y="999581"/>
                </a:cubicBezTo>
                <a:cubicBezTo>
                  <a:pt x="1710015" y="999581"/>
                  <a:pt x="1710015" y="999581"/>
                  <a:pt x="1708022" y="999581"/>
                </a:cubicBezTo>
                <a:cubicBezTo>
                  <a:pt x="1706028" y="999581"/>
                  <a:pt x="1704035" y="999581"/>
                  <a:pt x="1704035" y="999581"/>
                </a:cubicBezTo>
                <a:cubicBezTo>
                  <a:pt x="1702042" y="999581"/>
                  <a:pt x="1700049" y="997588"/>
                  <a:pt x="1700049" y="997588"/>
                </a:cubicBezTo>
                <a:cubicBezTo>
                  <a:pt x="1698055" y="991609"/>
                  <a:pt x="1698055" y="991609"/>
                  <a:pt x="1698055" y="991609"/>
                </a:cubicBezTo>
                <a:cubicBezTo>
                  <a:pt x="1696062" y="991609"/>
                  <a:pt x="1696062" y="991609"/>
                  <a:pt x="1696062" y="991609"/>
                </a:cubicBezTo>
                <a:cubicBezTo>
                  <a:pt x="1696062" y="991609"/>
                  <a:pt x="1694069" y="991609"/>
                  <a:pt x="1694069" y="991609"/>
                </a:cubicBezTo>
                <a:cubicBezTo>
                  <a:pt x="1692076" y="991609"/>
                  <a:pt x="1690082" y="989616"/>
                  <a:pt x="1690082" y="989616"/>
                </a:cubicBezTo>
                <a:cubicBezTo>
                  <a:pt x="1690082" y="987623"/>
                  <a:pt x="1690082" y="985630"/>
                  <a:pt x="1690082" y="985630"/>
                </a:cubicBezTo>
                <a:cubicBezTo>
                  <a:pt x="1690082" y="985630"/>
                  <a:pt x="1690082" y="983636"/>
                  <a:pt x="1690082" y="981643"/>
                </a:cubicBezTo>
                <a:cubicBezTo>
                  <a:pt x="1692076" y="981643"/>
                  <a:pt x="1692076" y="977657"/>
                  <a:pt x="1694069" y="979650"/>
                </a:cubicBezTo>
                <a:cubicBezTo>
                  <a:pt x="1694069" y="979650"/>
                  <a:pt x="1694069" y="979650"/>
                  <a:pt x="1696062" y="979650"/>
                </a:cubicBezTo>
                <a:cubicBezTo>
                  <a:pt x="1698055" y="979650"/>
                  <a:pt x="1698055" y="977657"/>
                  <a:pt x="1698055" y="977657"/>
                </a:cubicBezTo>
                <a:cubicBezTo>
                  <a:pt x="1698055" y="975664"/>
                  <a:pt x="1696062" y="973671"/>
                  <a:pt x="1696062" y="973671"/>
                </a:cubicBezTo>
                <a:cubicBezTo>
                  <a:pt x="1696062" y="973671"/>
                  <a:pt x="1698055" y="971678"/>
                  <a:pt x="1694069" y="973671"/>
                </a:cubicBezTo>
                <a:cubicBezTo>
                  <a:pt x="1692076" y="975664"/>
                  <a:pt x="1692076" y="975664"/>
                  <a:pt x="1690082" y="977657"/>
                </a:cubicBezTo>
                <a:cubicBezTo>
                  <a:pt x="1688089" y="979650"/>
                  <a:pt x="1688089" y="979650"/>
                  <a:pt x="1688089" y="979650"/>
                </a:cubicBezTo>
                <a:cubicBezTo>
                  <a:pt x="1688089" y="979650"/>
                  <a:pt x="1688089" y="979650"/>
                  <a:pt x="1686096" y="977657"/>
                </a:cubicBezTo>
                <a:cubicBezTo>
                  <a:pt x="1684103" y="977657"/>
                  <a:pt x="1684103" y="975664"/>
                  <a:pt x="1684103" y="975664"/>
                </a:cubicBezTo>
                <a:cubicBezTo>
                  <a:pt x="1684103" y="973671"/>
                  <a:pt x="1680116" y="969685"/>
                  <a:pt x="1680116" y="969685"/>
                </a:cubicBezTo>
                <a:cubicBezTo>
                  <a:pt x="1678123" y="967692"/>
                  <a:pt x="1678123" y="967692"/>
                  <a:pt x="1678123" y="967692"/>
                </a:cubicBezTo>
                <a:cubicBezTo>
                  <a:pt x="1680116" y="965699"/>
                  <a:pt x="1680116" y="965699"/>
                  <a:pt x="1680116" y="965699"/>
                </a:cubicBezTo>
                <a:cubicBezTo>
                  <a:pt x="1672143" y="965699"/>
                  <a:pt x="1672143" y="965699"/>
                  <a:pt x="1672143" y="965699"/>
                </a:cubicBezTo>
                <a:cubicBezTo>
                  <a:pt x="1672143" y="965699"/>
                  <a:pt x="1670150" y="961713"/>
                  <a:pt x="1674136" y="959720"/>
                </a:cubicBezTo>
                <a:cubicBezTo>
                  <a:pt x="1676130" y="957727"/>
                  <a:pt x="1680116" y="957727"/>
                  <a:pt x="1682109" y="957727"/>
                </a:cubicBezTo>
                <a:cubicBezTo>
                  <a:pt x="1684103" y="957727"/>
                  <a:pt x="1684103" y="959720"/>
                  <a:pt x="1684103" y="959720"/>
                </a:cubicBezTo>
                <a:cubicBezTo>
                  <a:pt x="1686096" y="959720"/>
                  <a:pt x="1688089" y="959720"/>
                  <a:pt x="1690082" y="957727"/>
                </a:cubicBezTo>
                <a:cubicBezTo>
                  <a:pt x="1690082" y="957727"/>
                  <a:pt x="1692076" y="957727"/>
                  <a:pt x="1692076" y="957727"/>
                </a:cubicBezTo>
                <a:cubicBezTo>
                  <a:pt x="1694069" y="953741"/>
                  <a:pt x="1694069" y="953741"/>
                  <a:pt x="1694069" y="953741"/>
                </a:cubicBezTo>
                <a:cubicBezTo>
                  <a:pt x="1694069" y="953741"/>
                  <a:pt x="1694069" y="951747"/>
                  <a:pt x="1692076" y="953741"/>
                </a:cubicBezTo>
                <a:cubicBezTo>
                  <a:pt x="1690082" y="953741"/>
                  <a:pt x="1688089" y="953741"/>
                  <a:pt x="1688089" y="953741"/>
                </a:cubicBezTo>
                <a:cubicBezTo>
                  <a:pt x="1688089" y="953741"/>
                  <a:pt x="1688089" y="953741"/>
                  <a:pt x="1688089" y="951747"/>
                </a:cubicBezTo>
                <a:cubicBezTo>
                  <a:pt x="1686096" y="951747"/>
                  <a:pt x="1688089" y="949754"/>
                  <a:pt x="1686096" y="949754"/>
                </a:cubicBezTo>
                <a:cubicBezTo>
                  <a:pt x="1684103" y="949754"/>
                  <a:pt x="1684103" y="949754"/>
                  <a:pt x="1684103" y="949754"/>
                </a:cubicBezTo>
                <a:cubicBezTo>
                  <a:pt x="1682109" y="949754"/>
                  <a:pt x="1680116" y="949754"/>
                  <a:pt x="1680116" y="949754"/>
                </a:cubicBezTo>
                <a:cubicBezTo>
                  <a:pt x="1678123" y="945768"/>
                  <a:pt x="1678123" y="943775"/>
                  <a:pt x="1676130" y="945768"/>
                </a:cubicBezTo>
                <a:cubicBezTo>
                  <a:pt x="1676130" y="949754"/>
                  <a:pt x="1676130" y="949754"/>
                  <a:pt x="1676130" y="949754"/>
                </a:cubicBezTo>
                <a:cubicBezTo>
                  <a:pt x="1674136" y="953741"/>
                  <a:pt x="1674136" y="953741"/>
                  <a:pt x="1672143" y="953741"/>
                </a:cubicBezTo>
                <a:cubicBezTo>
                  <a:pt x="1670150" y="955734"/>
                  <a:pt x="1668157" y="955734"/>
                  <a:pt x="1668157" y="955734"/>
                </a:cubicBezTo>
                <a:cubicBezTo>
                  <a:pt x="1668157" y="955734"/>
                  <a:pt x="1668157" y="955734"/>
                  <a:pt x="1668157" y="953741"/>
                </a:cubicBezTo>
                <a:cubicBezTo>
                  <a:pt x="1668157" y="949754"/>
                  <a:pt x="1666163" y="949754"/>
                  <a:pt x="1668157" y="949754"/>
                </a:cubicBezTo>
                <a:cubicBezTo>
                  <a:pt x="1668157" y="947761"/>
                  <a:pt x="1666163" y="949754"/>
                  <a:pt x="1668157" y="947761"/>
                </a:cubicBezTo>
                <a:cubicBezTo>
                  <a:pt x="1668157" y="945768"/>
                  <a:pt x="1672143" y="943775"/>
                  <a:pt x="1672143" y="941782"/>
                </a:cubicBezTo>
                <a:cubicBezTo>
                  <a:pt x="1670150" y="939789"/>
                  <a:pt x="1668157" y="939789"/>
                  <a:pt x="1668157" y="941782"/>
                </a:cubicBezTo>
                <a:cubicBezTo>
                  <a:pt x="1666163" y="945768"/>
                  <a:pt x="1664170" y="945768"/>
                  <a:pt x="1664170" y="941782"/>
                </a:cubicBezTo>
                <a:cubicBezTo>
                  <a:pt x="1664170" y="939789"/>
                  <a:pt x="1664170" y="937796"/>
                  <a:pt x="1664170" y="937796"/>
                </a:cubicBezTo>
                <a:cubicBezTo>
                  <a:pt x="1664170" y="935803"/>
                  <a:pt x="1664170" y="935803"/>
                  <a:pt x="1664170" y="935803"/>
                </a:cubicBezTo>
                <a:cubicBezTo>
                  <a:pt x="1662177" y="935803"/>
                  <a:pt x="1662177" y="935803"/>
                  <a:pt x="1662177" y="935803"/>
                </a:cubicBezTo>
                <a:cubicBezTo>
                  <a:pt x="1662177" y="933810"/>
                  <a:pt x="1662177" y="933810"/>
                  <a:pt x="1662177" y="933810"/>
                </a:cubicBezTo>
                <a:cubicBezTo>
                  <a:pt x="1660184" y="933810"/>
                  <a:pt x="1660184" y="933810"/>
                  <a:pt x="1660184" y="933810"/>
                </a:cubicBezTo>
                <a:cubicBezTo>
                  <a:pt x="1658190" y="929824"/>
                  <a:pt x="1658190" y="929824"/>
                  <a:pt x="1658190" y="929824"/>
                </a:cubicBezTo>
                <a:cubicBezTo>
                  <a:pt x="1658190" y="927831"/>
                  <a:pt x="1658190" y="927831"/>
                  <a:pt x="1658190" y="927831"/>
                </a:cubicBezTo>
                <a:cubicBezTo>
                  <a:pt x="1654204" y="927831"/>
                  <a:pt x="1654204" y="927831"/>
                  <a:pt x="1654204" y="927831"/>
                </a:cubicBezTo>
                <a:cubicBezTo>
                  <a:pt x="1654204" y="925838"/>
                  <a:pt x="1654204" y="925838"/>
                  <a:pt x="1654204" y="925838"/>
                </a:cubicBezTo>
                <a:cubicBezTo>
                  <a:pt x="1654204" y="925838"/>
                  <a:pt x="1654204" y="923845"/>
                  <a:pt x="1652211" y="923845"/>
                </a:cubicBezTo>
                <a:cubicBezTo>
                  <a:pt x="1652211" y="921851"/>
                  <a:pt x="1650217" y="919858"/>
                  <a:pt x="1650217" y="919858"/>
                </a:cubicBezTo>
                <a:cubicBezTo>
                  <a:pt x="1650217" y="919858"/>
                  <a:pt x="1648224" y="915872"/>
                  <a:pt x="1648224" y="917865"/>
                </a:cubicBezTo>
                <a:cubicBezTo>
                  <a:pt x="1648224" y="919858"/>
                  <a:pt x="1648224" y="919858"/>
                  <a:pt x="1648224" y="919858"/>
                </a:cubicBezTo>
                <a:cubicBezTo>
                  <a:pt x="1646231" y="919858"/>
                  <a:pt x="1646231" y="919858"/>
                  <a:pt x="1646231" y="919858"/>
                </a:cubicBezTo>
                <a:cubicBezTo>
                  <a:pt x="1646231" y="919858"/>
                  <a:pt x="1644238" y="921851"/>
                  <a:pt x="1644238" y="919858"/>
                </a:cubicBezTo>
                <a:cubicBezTo>
                  <a:pt x="1642244" y="919858"/>
                  <a:pt x="1642244" y="919858"/>
                  <a:pt x="1642244" y="917865"/>
                </a:cubicBezTo>
                <a:cubicBezTo>
                  <a:pt x="1642244" y="915872"/>
                  <a:pt x="1644238" y="913879"/>
                  <a:pt x="1644238" y="913879"/>
                </a:cubicBezTo>
                <a:cubicBezTo>
                  <a:pt x="1644238" y="909893"/>
                  <a:pt x="1644238" y="909893"/>
                  <a:pt x="1644238" y="909893"/>
                </a:cubicBezTo>
                <a:cubicBezTo>
                  <a:pt x="1638258" y="913879"/>
                  <a:pt x="1638258" y="913879"/>
                  <a:pt x="1638258" y="913879"/>
                </a:cubicBezTo>
                <a:cubicBezTo>
                  <a:pt x="1636265" y="917865"/>
                  <a:pt x="1636265" y="917865"/>
                  <a:pt x="1636265" y="917865"/>
                </a:cubicBezTo>
                <a:cubicBezTo>
                  <a:pt x="1636265" y="917865"/>
                  <a:pt x="1636265" y="917865"/>
                  <a:pt x="1634271" y="917865"/>
                </a:cubicBezTo>
                <a:cubicBezTo>
                  <a:pt x="1634271" y="917865"/>
                  <a:pt x="1632278" y="917865"/>
                  <a:pt x="1632278" y="915872"/>
                </a:cubicBezTo>
                <a:cubicBezTo>
                  <a:pt x="1632278" y="913879"/>
                  <a:pt x="1632278" y="911886"/>
                  <a:pt x="1632278" y="911886"/>
                </a:cubicBezTo>
                <a:cubicBezTo>
                  <a:pt x="1632278" y="911886"/>
                  <a:pt x="1630285" y="907900"/>
                  <a:pt x="1630285" y="907900"/>
                </a:cubicBezTo>
                <a:cubicBezTo>
                  <a:pt x="1632278" y="903914"/>
                  <a:pt x="1634271" y="903914"/>
                  <a:pt x="1634271" y="901921"/>
                </a:cubicBezTo>
                <a:cubicBezTo>
                  <a:pt x="1634271" y="899928"/>
                  <a:pt x="1634271" y="899928"/>
                  <a:pt x="1634271" y="899928"/>
                </a:cubicBezTo>
                <a:cubicBezTo>
                  <a:pt x="1632278" y="899928"/>
                  <a:pt x="1632278" y="899928"/>
                  <a:pt x="1630285" y="901921"/>
                </a:cubicBezTo>
                <a:cubicBezTo>
                  <a:pt x="1628292" y="903914"/>
                  <a:pt x="1626298" y="903914"/>
                  <a:pt x="1626298" y="903914"/>
                </a:cubicBezTo>
                <a:cubicBezTo>
                  <a:pt x="1626298" y="903914"/>
                  <a:pt x="1624305" y="903914"/>
                  <a:pt x="1624305" y="901921"/>
                </a:cubicBezTo>
                <a:cubicBezTo>
                  <a:pt x="1624305" y="899928"/>
                  <a:pt x="1624305" y="897935"/>
                  <a:pt x="1624305" y="895942"/>
                </a:cubicBezTo>
                <a:cubicBezTo>
                  <a:pt x="1624305" y="893949"/>
                  <a:pt x="1624305" y="891955"/>
                  <a:pt x="1624305" y="891955"/>
                </a:cubicBezTo>
                <a:cubicBezTo>
                  <a:pt x="1624305" y="891955"/>
                  <a:pt x="1626298" y="889962"/>
                  <a:pt x="1622312" y="891955"/>
                </a:cubicBezTo>
                <a:cubicBezTo>
                  <a:pt x="1620318" y="893949"/>
                  <a:pt x="1618325" y="893949"/>
                  <a:pt x="1618325" y="893949"/>
                </a:cubicBezTo>
                <a:cubicBezTo>
                  <a:pt x="1616332" y="895942"/>
                  <a:pt x="1612345" y="893949"/>
                  <a:pt x="1614339" y="895942"/>
                </a:cubicBezTo>
                <a:cubicBezTo>
                  <a:pt x="1616332" y="897935"/>
                  <a:pt x="1620318" y="899928"/>
                  <a:pt x="1620318" y="899928"/>
                </a:cubicBezTo>
                <a:cubicBezTo>
                  <a:pt x="1620318" y="901921"/>
                  <a:pt x="1620318" y="903914"/>
                  <a:pt x="1620318" y="903914"/>
                </a:cubicBezTo>
                <a:cubicBezTo>
                  <a:pt x="1620318" y="903914"/>
                  <a:pt x="1614339" y="901921"/>
                  <a:pt x="1618325" y="903914"/>
                </a:cubicBezTo>
                <a:cubicBezTo>
                  <a:pt x="1622312" y="905907"/>
                  <a:pt x="1622312" y="905907"/>
                  <a:pt x="1624305" y="905907"/>
                </a:cubicBezTo>
                <a:cubicBezTo>
                  <a:pt x="1624305" y="907900"/>
                  <a:pt x="1626298" y="907900"/>
                  <a:pt x="1626298" y="909893"/>
                </a:cubicBezTo>
                <a:cubicBezTo>
                  <a:pt x="1626298" y="911886"/>
                  <a:pt x="1624305" y="915872"/>
                  <a:pt x="1624305" y="915872"/>
                </a:cubicBezTo>
                <a:cubicBezTo>
                  <a:pt x="1624305" y="915872"/>
                  <a:pt x="1624305" y="915872"/>
                  <a:pt x="1622312" y="917865"/>
                </a:cubicBezTo>
                <a:cubicBezTo>
                  <a:pt x="1620318" y="917865"/>
                  <a:pt x="1622312" y="919858"/>
                  <a:pt x="1618325" y="917865"/>
                </a:cubicBezTo>
                <a:cubicBezTo>
                  <a:pt x="1612345" y="917865"/>
                  <a:pt x="1612345" y="917865"/>
                  <a:pt x="1612345" y="917865"/>
                </a:cubicBezTo>
                <a:cubicBezTo>
                  <a:pt x="1610352" y="915872"/>
                  <a:pt x="1608359" y="915872"/>
                  <a:pt x="1608359" y="915872"/>
                </a:cubicBezTo>
                <a:cubicBezTo>
                  <a:pt x="1606366" y="913879"/>
                  <a:pt x="1606366" y="913879"/>
                  <a:pt x="1606366" y="913879"/>
                </a:cubicBezTo>
                <a:cubicBezTo>
                  <a:pt x="1604372" y="911886"/>
                  <a:pt x="1604372" y="911886"/>
                  <a:pt x="1604372" y="911886"/>
                </a:cubicBezTo>
                <a:cubicBezTo>
                  <a:pt x="1602379" y="911886"/>
                  <a:pt x="1602379" y="911886"/>
                  <a:pt x="1602379" y="911886"/>
                </a:cubicBezTo>
                <a:cubicBezTo>
                  <a:pt x="1602379" y="911886"/>
                  <a:pt x="1598393" y="907900"/>
                  <a:pt x="1596399" y="911886"/>
                </a:cubicBezTo>
                <a:cubicBezTo>
                  <a:pt x="1596399" y="915872"/>
                  <a:pt x="1598393" y="917865"/>
                  <a:pt x="1598393" y="917865"/>
                </a:cubicBezTo>
                <a:cubicBezTo>
                  <a:pt x="1598393" y="921851"/>
                  <a:pt x="1598393" y="921851"/>
                  <a:pt x="1598393" y="921851"/>
                </a:cubicBezTo>
                <a:cubicBezTo>
                  <a:pt x="1596399" y="921851"/>
                  <a:pt x="1596399" y="921851"/>
                  <a:pt x="1596399" y="921851"/>
                </a:cubicBezTo>
                <a:cubicBezTo>
                  <a:pt x="1596399" y="921851"/>
                  <a:pt x="1596399" y="919858"/>
                  <a:pt x="1592413" y="919858"/>
                </a:cubicBezTo>
                <a:cubicBezTo>
                  <a:pt x="1590420" y="919858"/>
                  <a:pt x="1590420" y="919858"/>
                  <a:pt x="1588426" y="919858"/>
                </a:cubicBezTo>
                <a:cubicBezTo>
                  <a:pt x="1586433" y="921851"/>
                  <a:pt x="1588426" y="921851"/>
                  <a:pt x="1584440" y="923845"/>
                </a:cubicBezTo>
                <a:cubicBezTo>
                  <a:pt x="1582447" y="923845"/>
                  <a:pt x="1584440" y="923845"/>
                  <a:pt x="1582447" y="925838"/>
                </a:cubicBezTo>
                <a:cubicBezTo>
                  <a:pt x="1578460" y="925838"/>
                  <a:pt x="1578460" y="927831"/>
                  <a:pt x="1576467" y="925838"/>
                </a:cubicBezTo>
                <a:cubicBezTo>
                  <a:pt x="1574474" y="925838"/>
                  <a:pt x="1574474" y="925838"/>
                  <a:pt x="1572480" y="925838"/>
                </a:cubicBezTo>
                <a:cubicBezTo>
                  <a:pt x="1572480" y="925838"/>
                  <a:pt x="1574474" y="925838"/>
                  <a:pt x="1570487" y="927831"/>
                </a:cubicBezTo>
                <a:cubicBezTo>
                  <a:pt x="1566501" y="927831"/>
                  <a:pt x="1564507" y="927831"/>
                  <a:pt x="1564507" y="927831"/>
                </a:cubicBezTo>
                <a:cubicBezTo>
                  <a:pt x="1562514" y="925838"/>
                  <a:pt x="1562514" y="925838"/>
                  <a:pt x="1562514" y="925838"/>
                </a:cubicBezTo>
                <a:cubicBezTo>
                  <a:pt x="1562514" y="925838"/>
                  <a:pt x="1560521" y="923845"/>
                  <a:pt x="1558528" y="923845"/>
                </a:cubicBezTo>
                <a:cubicBezTo>
                  <a:pt x="1558528" y="921851"/>
                  <a:pt x="1556534" y="919858"/>
                  <a:pt x="1556534" y="919858"/>
                </a:cubicBezTo>
                <a:cubicBezTo>
                  <a:pt x="1556534" y="919858"/>
                  <a:pt x="1558528" y="917865"/>
                  <a:pt x="1554541" y="919858"/>
                </a:cubicBezTo>
                <a:cubicBezTo>
                  <a:pt x="1550555" y="919858"/>
                  <a:pt x="1550555" y="919858"/>
                  <a:pt x="1550555" y="919858"/>
                </a:cubicBezTo>
                <a:cubicBezTo>
                  <a:pt x="1548561" y="921851"/>
                  <a:pt x="1546568" y="923845"/>
                  <a:pt x="1546568" y="921851"/>
                </a:cubicBezTo>
                <a:cubicBezTo>
                  <a:pt x="1544575" y="919858"/>
                  <a:pt x="1538595" y="915872"/>
                  <a:pt x="1538595" y="907900"/>
                </a:cubicBezTo>
                <a:cubicBezTo>
                  <a:pt x="1538595" y="899928"/>
                  <a:pt x="1542582" y="889962"/>
                  <a:pt x="1546568" y="887969"/>
                </a:cubicBezTo>
                <a:cubicBezTo>
                  <a:pt x="1550555" y="885976"/>
                  <a:pt x="1556534" y="887969"/>
                  <a:pt x="1556534" y="887969"/>
                </a:cubicBezTo>
                <a:cubicBezTo>
                  <a:pt x="1556534" y="887969"/>
                  <a:pt x="1562514" y="887969"/>
                  <a:pt x="1560521" y="883983"/>
                </a:cubicBezTo>
                <a:cubicBezTo>
                  <a:pt x="1560521" y="879997"/>
                  <a:pt x="1562514" y="874018"/>
                  <a:pt x="1564507" y="874018"/>
                </a:cubicBezTo>
                <a:cubicBezTo>
                  <a:pt x="1568494" y="874018"/>
                  <a:pt x="1572480" y="878004"/>
                  <a:pt x="1574474" y="876011"/>
                </a:cubicBezTo>
                <a:cubicBezTo>
                  <a:pt x="1578460" y="874018"/>
                  <a:pt x="1586433" y="878004"/>
                  <a:pt x="1586433" y="878004"/>
                </a:cubicBezTo>
                <a:cubicBezTo>
                  <a:pt x="1586433" y="878004"/>
                  <a:pt x="1588426" y="881990"/>
                  <a:pt x="1590420" y="879997"/>
                </a:cubicBezTo>
                <a:cubicBezTo>
                  <a:pt x="1592413" y="878004"/>
                  <a:pt x="1596399" y="878004"/>
                  <a:pt x="1596399" y="878004"/>
                </a:cubicBezTo>
                <a:cubicBezTo>
                  <a:pt x="1598393" y="881990"/>
                  <a:pt x="1598393" y="879997"/>
                  <a:pt x="1598393" y="879997"/>
                </a:cubicBezTo>
                <a:cubicBezTo>
                  <a:pt x="1600386" y="878004"/>
                  <a:pt x="1600386" y="878004"/>
                  <a:pt x="1600386" y="878004"/>
                </a:cubicBezTo>
                <a:cubicBezTo>
                  <a:pt x="1602379" y="876011"/>
                  <a:pt x="1600386" y="876011"/>
                  <a:pt x="1602379" y="876011"/>
                </a:cubicBezTo>
                <a:cubicBezTo>
                  <a:pt x="1604372" y="876011"/>
                  <a:pt x="1604372" y="876011"/>
                  <a:pt x="1604372" y="878004"/>
                </a:cubicBezTo>
                <a:cubicBezTo>
                  <a:pt x="1608359" y="878004"/>
                  <a:pt x="1606366" y="878004"/>
                  <a:pt x="1608359" y="878004"/>
                </a:cubicBezTo>
                <a:cubicBezTo>
                  <a:pt x="1610352" y="879997"/>
                  <a:pt x="1610352" y="879997"/>
                  <a:pt x="1610352" y="879997"/>
                </a:cubicBezTo>
                <a:cubicBezTo>
                  <a:pt x="1612345" y="879997"/>
                  <a:pt x="1612345" y="879997"/>
                  <a:pt x="1612345" y="879997"/>
                </a:cubicBezTo>
                <a:cubicBezTo>
                  <a:pt x="1612345" y="879997"/>
                  <a:pt x="1612345" y="878004"/>
                  <a:pt x="1614339" y="878004"/>
                </a:cubicBezTo>
                <a:cubicBezTo>
                  <a:pt x="1616332" y="878004"/>
                  <a:pt x="1616332" y="876011"/>
                  <a:pt x="1618325" y="876011"/>
                </a:cubicBezTo>
                <a:cubicBezTo>
                  <a:pt x="1618325" y="876011"/>
                  <a:pt x="1618325" y="876011"/>
                  <a:pt x="1620318" y="876011"/>
                </a:cubicBezTo>
                <a:cubicBezTo>
                  <a:pt x="1622312" y="878004"/>
                  <a:pt x="1622312" y="878004"/>
                  <a:pt x="1622312" y="878004"/>
                </a:cubicBezTo>
                <a:cubicBezTo>
                  <a:pt x="1622312" y="876011"/>
                  <a:pt x="1622312" y="876011"/>
                  <a:pt x="1622312" y="876011"/>
                </a:cubicBezTo>
                <a:cubicBezTo>
                  <a:pt x="1622312" y="876011"/>
                  <a:pt x="1622312" y="874018"/>
                  <a:pt x="1626298" y="874018"/>
                </a:cubicBezTo>
                <a:cubicBezTo>
                  <a:pt x="1626298" y="874018"/>
                  <a:pt x="1626298" y="874018"/>
                  <a:pt x="1628292" y="876011"/>
                </a:cubicBezTo>
                <a:cubicBezTo>
                  <a:pt x="1630285" y="878004"/>
                  <a:pt x="1630285" y="878004"/>
                  <a:pt x="1630285" y="878004"/>
                </a:cubicBezTo>
                <a:cubicBezTo>
                  <a:pt x="1632278" y="876011"/>
                  <a:pt x="1632278" y="876011"/>
                  <a:pt x="1632278" y="876011"/>
                </a:cubicBezTo>
                <a:cubicBezTo>
                  <a:pt x="1634271" y="874018"/>
                  <a:pt x="1634271" y="874018"/>
                  <a:pt x="1634271" y="874018"/>
                </a:cubicBezTo>
                <a:cubicBezTo>
                  <a:pt x="1636265" y="872025"/>
                  <a:pt x="1636265" y="872025"/>
                  <a:pt x="1636265" y="872025"/>
                </a:cubicBezTo>
                <a:cubicBezTo>
                  <a:pt x="1636265" y="872025"/>
                  <a:pt x="1638258" y="872025"/>
                  <a:pt x="1638258" y="872025"/>
                </a:cubicBezTo>
                <a:cubicBezTo>
                  <a:pt x="1640251" y="872025"/>
                  <a:pt x="1642244" y="872025"/>
                  <a:pt x="1642244" y="872025"/>
                </a:cubicBezTo>
                <a:cubicBezTo>
                  <a:pt x="1644238" y="872025"/>
                  <a:pt x="1644238" y="872025"/>
                  <a:pt x="1644238" y="872025"/>
                </a:cubicBezTo>
                <a:cubicBezTo>
                  <a:pt x="1644238" y="872025"/>
                  <a:pt x="1644238" y="870032"/>
                  <a:pt x="1646231" y="870032"/>
                </a:cubicBezTo>
                <a:cubicBezTo>
                  <a:pt x="1646231" y="870032"/>
                  <a:pt x="1646231" y="868039"/>
                  <a:pt x="1648224" y="870032"/>
                </a:cubicBezTo>
                <a:cubicBezTo>
                  <a:pt x="1650217" y="870032"/>
                  <a:pt x="1650217" y="870032"/>
                  <a:pt x="1652211" y="870032"/>
                </a:cubicBezTo>
                <a:cubicBezTo>
                  <a:pt x="1654204" y="872025"/>
                  <a:pt x="1654204" y="872025"/>
                  <a:pt x="1654204" y="872025"/>
                </a:cubicBezTo>
                <a:cubicBezTo>
                  <a:pt x="1654204" y="872025"/>
                  <a:pt x="1656197" y="870032"/>
                  <a:pt x="1656197" y="870032"/>
                </a:cubicBezTo>
                <a:cubicBezTo>
                  <a:pt x="1654204" y="868039"/>
                  <a:pt x="1654204" y="868039"/>
                  <a:pt x="1654204" y="868039"/>
                </a:cubicBezTo>
                <a:cubicBezTo>
                  <a:pt x="1654204" y="868039"/>
                  <a:pt x="1652211" y="868039"/>
                  <a:pt x="1652211" y="866046"/>
                </a:cubicBezTo>
                <a:cubicBezTo>
                  <a:pt x="1652211" y="864053"/>
                  <a:pt x="1652211" y="862059"/>
                  <a:pt x="1652211" y="862059"/>
                </a:cubicBezTo>
                <a:cubicBezTo>
                  <a:pt x="1650217" y="860066"/>
                  <a:pt x="1650217" y="860066"/>
                  <a:pt x="1650217" y="860066"/>
                </a:cubicBezTo>
                <a:cubicBezTo>
                  <a:pt x="1648224" y="858073"/>
                  <a:pt x="1648224" y="858073"/>
                  <a:pt x="1648224" y="858073"/>
                </a:cubicBezTo>
                <a:cubicBezTo>
                  <a:pt x="1646231" y="856080"/>
                  <a:pt x="1646231" y="856080"/>
                  <a:pt x="1646231" y="856080"/>
                </a:cubicBezTo>
                <a:cubicBezTo>
                  <a:pt x="1644238" y="856080"/>
                  <a:pt x="1644238" y="856080"/>
                  <a:pt x="1644238" y="856080"/>
                </a:cubicBezTo>
                <a:cubicBezTo>
                  <a:pt x="1644238" y="850101"/>
                  <a:pt x="1644238" y="850101"/>
                  <a:pt x="1644238" y="850101"/>
                </a:cubicBezTo>
                <a:cubicBezTo>
                  <a:pt x="1644238" y="850101"/>
                  <a:pt x="1642244" y="850101"/>
                  <a:pt x="1642244" y="848108"/>
                </a:cubicBezTo>
                <a:cubicBezTo>
                  <a:pt x="1642244" y="848108"/>
                  <a:pt x="1642244" y="846115"/>
                  <a:pt x="1642244" y="846115"/>
                </a:cubicBezTo>
                <a:cubicBezTo>
                  <a:pt x="1642244" y="846115"/>
                  <a:pt x="1644238" y="838143"/>
                  <a:pt x="1648224" y="838143"/>
                </a:cubicBezTo>
                <a:cubicBezTo>
                  <a:pt x="1650217" y="836150"/>
                  <a:pt x="1652211" y="836150"/>
                  <a:pt x="1654204" y="834157"/>
                </a:cubicBezTo>
                <a:cubicBezTo>
                  <a:pt x="1656197" y="830170"/>
                  <a:pt x="1660184" y="830170"/>
                  <a:pt x="1660184" y="830170"/>
                </a:cubicBezTo>
                <a:cubicBezTo>
                  <a:pt x="1660184" y="830170"/>
                  <a:pt x="1660184" y="828177"/>
                  <a:pt x="1664170" y="824191"/>
                </a:cubicBezTo>
                <a:cubicBezTo>
                  <a:pt x="1664170" y="820205"/>
                  <a:pt x="1668157" y="822198"/>
                  <a:pt x="1672143" y="820205"/>
                </a:cubicBezTo>
                <a:cubicBezTo>
                  <a:pt x="1674136" y="818212"/>
                  <a:pt x="1678123" y="812233"/>
                  <a:pt x="1678123" y="810240"/>
                </a:cubicBezTo>
                <a:cubicBezTo>
                  <a:pt x="1678123" y="808247"/>
                  <a:pt x="1680116" y="800274"/>
                  <a:pt x="1682109" y="798281"/>
                </a:cubicBezTo>
                <a:cubicBezTo>
                  <a:pt x="1686096" y="798281"/>
                  <a:pt x="1690082" y="798281"/>
                  <a:pt x="1690082" y="794295"/>
                </a:cubicBezTo>
                <a:cubicBezTo>
                  <a:pt x="1692076" y="792302"/>
                  <a:pt x="1694069" y="790309"/>
                  <a:pt x="1694069" y="792302"/>
                </a:cubicBezTo>
                <a:cubicBezTo>
                  <a:pt x="1694069" y="792302"/>
                  <a:pt x="1696062" y="790309"/>
                  <a:pt x="1696062" y="788316"/>
                </a:cubicBezTo>
                <a:cubicBezTo>
                  <a:pt x="1696062" y="788316"/>
                  <a:pt x="1694069" y="786323"/>
                  <a:pt x="1694069" y="784330"/>
                </a:cubicBezTo>
                <a:cubicBezTo>
                  <a:pt x="1694069" y="784330"/>
                  <a:pt x="1694069" y="780344"/>
                  <a:pt x="1694069" y="780344"/>
                </a:cubicBezTo>
                <a:cubicBezTo>
                  <a:pt x="1694069" y="780344"/>
                  <a:pt x="1694069" y="778351"/>
                  <a:pt x="1692076" y="778351"/>
                </a:cubicBezTo>
                <a:cubicBezTo>
                  <a:pt x="1690082" y="776358"/>
                  <a:pt x="1688089" y="776358"/>
                  <a:pt x="1688089" y="774365"/>
                </a:cubicBezTo>
                <a:cubicBezTo>
                  <a:pt x="1688089" y="772371"/>
                  <a:pt x="1688089" y="768385"/>
                  <a:pt x="1688089" y="768385"/>
                </a:cubicBezTo>
                <a:lnTo>
                  <a:pt x="1686472" y="766768"/>
                </a:lnTo>
                <a:lnTo>
                  <a:pt x="1686594" y="766891"/>
                </a:lnTo>
                <a:lnTo>
                  <a:pt x="1686443" y="766740"/>
                </a:lnTo>
                <a:lnTo>
                  <a:pt x="1686187" y="766484"/>
                </a:lnTo>
                <a:lnTo>
                  <a:pt x="1686108" y="766405"/>
                </a:lnTo>
                <a:lnTo>
                  <a:pt x="1684103" y="764399"/>
                </a:lnTo>
                <a:cubicBezTo>
                  <a:pt x="1684103" y="762406"/>
                  <a:pt x="1684103" y="758420"/>
                  <a:pt x="1684103" y="758420"/>
                </a:cubicBezTo>
                <a:cubicBezTo>
                  <a:pt x="1684103" y="758420"/>
                  <a:pt x="1684103" y="758420"/>
                  <a:pt x="1686096" y="758420"/>
                </a:cubicBezTo>
                <a:cubicBezTo>
                  <a:pt x="1686096" y="758420"/>
                  <a:pt x="1688089" y="760413"/>
                  <a:pt x="1688089" y="760413"/>
                </a:cubicBezTo>
                <a:cubicBezTo>
                  <a:pt x="1688089" y="760413"/>
                  <a:pt x="1688089" y="762406"/>
                  <a:pt x="1690082" y="762406"/>
                </a:cubicBezTo>
                <a:cubicBezTo>
                  <a:pt x="1692076" y="762406"/>
                  <a:pt x="1692076" y="764399"/>
                  <a:pt x="1692076" y="762406"/>
                </a:cubicBezTo>
                <a:cubicBezTo>
                  <a:pt x="1692076" y="760413"/>
                  <a:pt x="1690082" y="756427"/>
                  <a:pt x="1692076" y="754434"/>
                </a:cubicBezTo>
                <a:cubicBezTo>
                  <a:pt x="1692076" y="752441"/>
                  <a:pt x="1694069" y="746462"/>
                  <a:pt x="1690082" y="748455"/>
                </a:cubicBezTo>
                <a:cubicBezTo>
                  <a:pt x="1688089" y="750448"/>
                  <a:pt x="1684103" y="754434"/>
                  <a:pt x="1682109" y="750448"/>
                </a:cubicBezTo>
                <a:cubicBezTo>
                  <a:pt x="1680116" y="746462"/>
                  <a:pt x="1678123" y="746462"/>
                  <a:pt x="1678123" y="746462"/>
                </a:cubicBezTo>
                <a:cubicBezTo>
                  <a:pt x="1676130" y="746462"/>
                  <a:pt x="1676130" y="746462"/>
                  <a:pt x="1676130" y="746462"/>
                </a:cubicBezTo>
                <a:cubicBezTo>
                  <a:pt x="1672143" y="746462"/>
                  <a:pt x="1672143" y="746462"/>
                  <a:pt x="1672143" y="746462"/>
                </a:cubicBezTo>
                <a:cubicBezTo>
                  <a:pt x="1670150" y="744469"/>
                  <a:pt x="1670150" y="744469"/>
                  <a:pt x="1670150" y="744469"/>
                </a:cubicBezTo>
                <a:cubicBezTo>
                  <a:pt x="1666163" y="742475"/>
                  <a:pt x="1666163" y="742475"/>
                  <a:pt x="1666163" y="742475"/>
                </a:cubicBezTo>
                <a:cubicBezTo>
                  <a:pt x="1664170" y="738489"/>
                  <a:pt x="1664170" y="738489"/>
                  <a:pt x="1664170" y="738489"/>
                </a:cubicBezTo>
                <a:cubicBezTo>
                  <a:pt x="1666163" y="734503"/>
                  <a:pt x="1666163" y="734503"/>
                  <a:pt x="1666163" y="734503"/>
                </a:cubicBezTo>
                <a:cubicBezTo>
                  <a:pt x="1666163" y="730517"/>
                  <a:pt x="1666163" y="730517"/>
                  <a:pt x="1666163" y="730517"/>
                </a:cubicBezTo>
                <a:cubicBezTo>
                  <a:pt x="1666163" y="730517"/>
                  <a:pt x="1666163" y="726531"/>
                  <a:pt x="1664170" y="728524"/>
                </a:cubicBezTo>
                <a:cubicBezTo>
                  <a:pt x="1662177" y="730517"/>
                  <a:pt x="1664170" y="732510"/>
                  <a:pt x="1664170" y="732510"/>
                </a:cubicBezTo>
                <a:cubicBezTo>
                  <a:pt x="1664170" y="734503"/>
                  <a:pt x="1664170" y="734503"/>
                  <a:pt x="1664170" y="734503"/>
                </a:cubicBezTo>
                <a:cubicBezTo>
                  <a:pt x="1664170" y="738489"/>
                  <a:pt x="1664170" y="738489"/>
                  <a:pt x="1664170" y="738489"/>
                </a:cubicBezTo>
                <a:cubicBezTo>
                  <a:pt x="1664170" y="742475"/>
                  <a:pt x="1664170" y="742475"/>
                  <a:pt x="1664170" y="742475"/>
                </a:cubicBezTo>
                <a:cubicBezTo>
                  <a:pt x="1664170" y="744469"/>
                  <a:pt x="1664170" y="746462"/>
                  <a:pt x="1660184" y="744469"/>
                </a:cubicBezTo>
                <a:cubicBezTo>
                  <a:pt x="1658190" y="742475"/>
                  <a:pt x="1658190" y="742475"/>
                  <a:pt x="1658190" y="742475"/>
                </a:cubicBezTo>
                <a:cubicBezTo>
                  <a:pt x="1658190" y="740482"/>
                  <a:pt x="1658190" y="740482"/>
                  <a:pt x="1658190" y="740482"/>
                </a:cubicBezTo>
                <a:cubicBezTo>
                  <a:pt x="1658190" y="736496"/>
                  <a:pt x="1658190" y="736496"/>
                  <a:pt x="1658190" y="736496"/>
                </a:cubicBezTo>
                <a:cubicBezTo>
                  <a:pt x="1658190" y="736496"/>
                  <a:pt x="1658190" y="734503"/>
                  <a:pt x="1656197" y="734503"/>
                </a:cubicBezTo>
                <a:cubicBezTo>
                  <a:pt x="1656197" y="736496"/>
                  <a:pt x="1652211" y="736496"/>
                  <a:pt x="1652211" y="736496"/>
                </a:cubicBezTo>
                <a:cubicBezTo>
                  <a:pt x="1650217" y="736496"/>
                  <a:pt x="1650217" y="736496"/>
                  <a:pt x="1650217" y="736496"/>
                </a:cubicBezTo>
                <a:cubicBezTo>
                  <a:pt x="1650217" y="736496"/>
                  <a:pt x="1648224" y="734503"/>
                  <a:pt x="1648224" y="734503"/>
                </a:cubicBezTo>
                <a:cubicBezTo>
                  <a:pt x="1648224" y="736496"/>
                  <a:pt x="1646231" y="738489"/>
                  <a:pt x="1646231" y="740482"/>
                </a:cubicBezTo>
                <a:cubicBezTo>
                  <a:pt x="1646231" y="742475"/>
                  <a:pt x="1646231" y="742475"/>
                  <a:pt x="1646231" y="744469"/>
                </a:cubicBezTo>
                <a:cubicBezTo>
                  <a:pt x="1646231" y="746462"/>
                  <a:pt x="1646231" y="746462"/>
                  <a:pt x="1644238" y="746462"/>
                </a:cubicBezTo>
                <a:cubicBezTo>
                  <a:pt x="1642244" y="746462"/>
                  <a:pt x="1640251" y="744469"/>
                  <a:pt x="1640251" y="744469"/>
                </a:cubicBezTo>
                <a:cubicBezTo>
                  <a:pt x="1638258" y="742475"/>
                  <a:pt x="1638258" y="742475"/>
                  <a:pt x="1638258" y="742475"/>
                </a:cubicBezTo>
                <a:cubicBezTo>
                  <a:pt x="1638258" y="738489"/>
                  <a:pt x="1638258" y="738489"/>
                  <a:pt x="1638258" y="738489"/>
                </a:cubicBezTo>
                <a:cubicBezTo>
                  <a:pt x="1638258" y="738489"/>
                  <a:pt x="1636265" y="736496"/>
                  <a:pt x="1638258" y="736496"/>
                </a:cubicBezTo>
                <a:cubicBezTo>
                  <a:pt x="1638258" y="734503"/>
                  <a:pt x="1638258" y="734503"/>
                  <a:pt x="1638258" y="732510"/>
                </a:cubicBezTo>
                <a:cubicBezTo>
                  <a:pt x="1638258" y="730517"/>
                  <a:pt x="1636265" y="730517"/>
                  <a:pt x="1640251" y="728524"/>
                </a:cubicBezTo>
                <a:cubicBezTo>
                  <a:pt x="1642244" y="726531"/>
                  <a:pt x="1646231" y="724538"/>
                  <a:pt x="1646231" y="722545"/>
                </a:cubicBezTo>
                <a:cubicBezTo>
                  <a:pt x="1646231" y="722545"/>
                  <a:pt x="1648224" y="718559"/>
                  <a:pt x="1648224" y="716566"/>
                </a:cubicBezTo>
                <a:cubicBezTo>
                  <a:pt x="1648224" y="712579"/>
                  <a:pt x="1650217" y="706600"/>
                  <a:pt x="1648224" y="710586"/>
                </a:cubicBezTo>
                <a:cubicBezTo>
                  <a:pt x="1646231" y="712579"/>
                  <a:pt x="1646231" y="716566"/>
                  <a:pt x="1642244" y="716566"/>
                </a:cubicBezTo>
                <a:cubicBezTo>
                  <a:pt x="1640251" y="716566"/>
                  <a:pt x="1638258" y="716566"/>
                  <a:pt x="1638258" y="720552"/>
                </a:cubicBezTo>
                <a:cubicBezTo>
                  <a:pt x="1638258" y="722545"/>
                  <a:pt x="1636265" y="724538"/>
                  <a:pt x="1634271" y="724538"/>
                </a:cubicBezTo>
                <a:cubicBezTo>
                  <a:pt x="1630285" y="724538"/>
                  <a:pt x="1630285" y="724538"/>
                  <a:pt x="1628292" y="726531"/>
                </a:cubicBezTo>
                <a:cubicBezTo>
                  <a:pt x="1628292" y="728524"/>
                  <a:pt x="1622312" y="728524"/>
                  <a:pt x="1622312" y="728524"/>
                </a:cubicBezTo>
                <a:cubicBezTo>
                  <a:pt x="1620318" y="730517"/>
                  <a:pt x="1620318" y="730517"/>
                  <a:pt x="1620318" y="730517"/>
                </a:cubicBezTo>
                <a:cubicBezTo>
                  <a:pt x="1620318" y="730517"/>
                  <a:pt x="1620318" y="730517"/>
                  <a:pt x="1618325" y="732510"/>
                </a:cubicBezTo>
                <a:cubicBezTo>
                  <a:pt x="1614339" y="734503"/>
                  <a:pt x="1616332" y="734503"/>
                  <a:pt x="1614339" y="736496"/>
                </a:cubicBezTo>
                <a:cubicBezTo>
                  <a:pt x="1612345" y="738489"/>
                  <a:pt x="1610352" y="738489"/>
                  <a:pt x="1610352" y="738489"/>
                </a:cubicBezTo>
                <a:cubicBezTo>
                  <a:pt x="1610352" y="738489"/>
                  <a:pt x="1606366" y="738489"/>
                  <a:pt x="1604372" y="736496"/>
                </a:cubicBezTo>
                <a:cubicBezTo>
                  <a:pt x="1602379" y="734503"/>
                  <a:pt x="1602379" y="730517"/>
                  <a:pt x="1604372" y="730517"/>
                </a:cubicBezTo>
                <a:cubicBezTo>
                  <a:pt x="1606366" y="730517"/>
                  <a:pt x="1608359" y="728524"/>
                  <a:pt x="1608359" y="726531"/>
                </a:cubicBezTo>
                <a:cubicBezTo>
                  <a:pt x="1606366" y="724538"/>
                  <a:pt x="1606366" y="716566"/>
                  <a:pt x="1610352" y="716566"/>
                </a:cubicBezTo>
                <a:cubicBezTo>
                  <a:pt x="1612345" y="718559"/>
                  <a:pt x="1612345" y="712579"/>
                  <a:pt x="1612345" y="712579"/>
                </a:cubicBezTo>
                <a:cubicBezTo>
                  <a:pt x="1612345" y="712579"/>
                  <a:pt x="1618325" y="710586"/>
                  <a:pt x="1620318" y="712579"/>
                </a:cubicBezTo>
                <a:cubicBezTo>
                  <a:pt x="1620318" y="712579"/>
                  <a:pt x="1620318" y="716566"/>
                  <a:pt x="1622312" y="716566"/>
                </a:cubicBezTo>
                <a:cubicBezTo>
                  <a:pt x="1624305" y="716566"/>
                  <a:pt x="1624305" y="714573"/>
                  <a:pt x="1624305" y="712579"/>
                </a:cubicBezTo>
                <a:cubicBezTo>
                  <a:pt x="1626298" y="710586"/>
                  <a:pt x="1628292" y="708593"/>
                  <a:pt x="1630285" y="708593"/>
                </a:cubicBezTo>
                <a:cubicBezTo>
                  <a:pt x="1632278" y="710586"/>
                  <a:pt x="1636265" y="710586"/>
                  <a:pt x="1634271" y="708593"/>
                </a:cubicBezTo>
                <a:cubicBezTo>
                  <a:pt x="1632278" y="704607"/>
                  <a:pt x="1628292" y="704607"/>
                  <a:pt x="1628292" y="700621"/>
                </a:cubicBezTo>
                <a:cubicBezTo>
                  <a:pt x="1626298" y="694642"/>
                  <a:pt x="1628292" y="694642"/>
                  <a:pt x="1626298" y="696635"/>
                </a:cubicBezTo>
                <a:cubicBezTo>
                  <a:pt x="1622312" y="696635"/>
                  <a:pt x="1618325" y="700621"/>
                  <a:pt x="1618325" y="696635"/>
                </a:cubicBezTo>
                <a:cubicBezTo>
                  <a:pt x="1616332" y="694642"/>
                  <a:pt x="1618325" y="688663"/>
                  <a:pt x="1620318" y="686670"/>
                </a:cubicBezTo>
                <a:cubicBezTo>
                  <a:pt x="1622312" y="686670"/>
                  <a:pt x="1626298" y="684677"/>
                  <a:pt x="1622312" y="682684"/>
                </a:cubicBezTo>
                <a:cubicBezTo>
                  <a:pt x="1618325" y="682684"/>
                  <a:pt x="1616332" y="684677"/>
                  <a:pt x="1616332" y="684677"/>
                </a:cubicBezTo>
                <a:cubicBezTo>
                  <a:pt x="1616332" y="684677"/>
                  <a:pt x="1616332" y="686670"/>
                  <a:pt x="1612345" y="686670"/>
                </a:cubicBezTo>
                <a:cubicBezTo>
                  <a:pt x="1610352" y="684677"/>
                  <a:pt x="1608359" y="686670"/>
                  <a:pt x="1608359" y="686670"/>
                </a:cubicBezTo>
                <a:cubicBezTo>
                  <a:pt x="1608359" y="686670"/>
                  <a:pt x="1602379" y="690656"/>
                  <a:pt x="1602379" y="684677"/>
                </a:cubicBezTo>
                <a:cubicBezTo>
                  <a:pt x="1602379" y="678697"/>
                  <a:pt x="1606366" y="678697"/>
                  <a:pt x="1606366" y="678697"/>
                </a:cubicBezTo>
                <a:cubicBezTo>
                  <a:pt x="1606366" y="678697"/>
                  <a:pt x="1616332" y="676704"/>
                  <a:pt x="1608359" y="674711"/>
                </a:cubicBezTo>
                <a:cubicBezTo>
                  <a:pt x="1602379" y="674711"/>
                  <a:pt x="1600386" y="672718"/>
                  <a:pt x="1598393" y="676704"/>
                </a:cubicBezTo>
                <a:cubicBezTo>
                  <a:pt x="1596399" y="680690"/>
                  <a:pt x="1594406" y="686670"/>
                  <a:pt x="1590420" y="686670"/>
                </a:cubicBezTo>
                <a:cubicBezTo>
                  <a:pt x="1586433" y="688663"/>
                  <a:pt x="1584440" y="688663"/>
                  <a:pt x="1584440" y="688663"/>
                </a:cubicBezTo>
                <a:cubicBezTo>
                  <a:pt x="1578460" y="692649"/>
                  <a:pt x="1578460" y="692649"/>
                  <a:pt x="1578460" y="692649"/>
                </a:cubicBezTo>
                <a:cubicBezTo>
                  <a:pt x="1570487" y="692649"/>
                  <a:pt x="1570487" y="692649"/>
                  <a:pt x="1570487" y="692649"/>
                </a:cubicBezTo>
                <a:cubicBezTo>
                  <a:pt x="1566501" y="692649"/>
                  <a:pt x="1566501" y="692649"/>
                  <a:pt x="1566501" y="692649"/>
                </a:cubicBezTo>
                <a:cubicBezTo>
                  <a:pt x="1566501" y="692649"/>
                  <a:pt x="1562514" y="692649"/>
                  <a:pt x="1564507" y="692649"/>
                </a:cubicBezTo>
                <a:cubicBezTo>
                  <a:pt x="1564507" y="690656"/>
                  <a:pt x="1564507" y="690656"/>
                  <a:pt x="1566501" y="688663"/>
                </a:cubicBezTo>
                <a:cubicBezTo>
                  <a:pt x="1566501" y="688663"/>
                  <a:pt x="1566501" y="686670"/>
                  <a:pt x="1568494" y="686670"/>
                </a:cubicBezTo>
                <a:cubicBezTo>
                  <a:pt x="1570487" y="686670"/>
                  <a:pt x="1572480" y="686670"/>
                  <a:pt x="1574474" y="686670"/>
                </a:cubicBezTo>
                <a:cubicBezTo>
                  <a:pt x="1576467" y="686670"/>
                  <a:pt x="1584440" y="684677"/>
                  <a:pt x="1586433" y="682684"/>
                </a:cubicBezTo>
                <a:cubicBezTo>
                  <a:pt x="1588426" y="682684"/>
                  <a:pt x="1588426" y="682684"/>
                  <a:pt x="1590420" y="680690"/>
                </a:cubicBezTo>
                <a:cubicBezTo>
                  <a:pt x="1590420" y="680690"/>
                  <a:pt x="1590420" y="680690"/>
                  <a:pt x="1590420" y="678697"/>
                </a:cubicBezTo>
                <a:cubicBezTo>
                  <a:pt x="1590420" y="676704"/>
                  <a:pt x="1590420" y="674711"/>
                  <a:pt x="1590420" y="674711"/>
                </a:cubicBezTo>
                <a:cubicBezTo>
                  <a:pt x="1590420" y="674711"/>
                  <a:pt x="1590420" y="670725"/>
                  <a:pt x="1592413" y="670725"/>
                </a:cubicBezTo>
                <a:cubicBezTo>
                  <a:pt x="1592413" y="668732"/>
                  <a:pt x="1592413" y="670725"/>
                  <a:pt x="1592413" y="666739"/>
                </a:cubicBezTo>
                <a:cubicBezTo>
                  <a:pt x="1592413" y="664746"/>
                  <a:pt x="1592413" y="664746"/>
                  <a:pt x="1592413" y="662753"/>
                </a:cubicBezTo>
                <a:cubicBezTo>
                  <a:pt x="1594406" y="660760"/>
                  <a:pt x="1594406" y="660760"/>
                  <a:pt x="1594406" y="660760"/>
                </a:cubicBezTo>
                <a:cubicBezTo>
                  <a:pt x="1594406" y="660760"/>
                  <a:pt x="1596399" y="656774"/>
                  <a:pt x="1592413" y="656774"/>
                </a:cubicBezTo>
                <a:cubicBezTo>
                  <a:pt x="1590420" y="658767"/>
                  <a:pt x="1590420" y="656774"/>
                  <a:pt x="1590420" y="658767"/>
                </a:cubicBezTo>
                <a:cubicBezTo>
                  <a:pt x="1588426" y="660760"/>
                  <a:pt x="1586433" y="660760"/>
                  <a:pt x="1586433" y="662753"/>
                </a:cubicBezTo>
                <a:cubicBezTo>
                  <a:pt x="1584440" y="662753"/>
                  <a:pt x="1584440" y="662753"/>
                  <a:pt x="1582447" y="660760"/>
                </a:cubicBezTo>
                <a:cubicBezTo>
                  <a:pt x="1580453" y="660760"/>
                  <a:pt x="1578460" y="662753"/>
                  <a:pt x="1578460" y="660760"/>
                </a:cubicBezTo>
                <a:cubicBezTo>
                  <a:pt x="1578460" y="658767"/>
                  <a:pt x="1578460" y="656774"/>
                  <a:pt x="1578460" y="656774"/>
                </a:cubicBezTo>
                <a:cubicBezTo>
                  <a:pt x="1578460" y="654781"/>
                  <a:pt x="1578460" y="654781"/>
                  <a:pt x="1578460" y="654781"/>
                </a:cubicBezTo>
                <a:cubicBezTo>
                  <a:pt x="1578460" y="654781"/>
                  <a:pt x="1572480" y="654781"/>
                  <a:pt x="1572480" y="652788"/>
                </a:cubicBezTo>
                <a:cubicBezTo>
                  <a:pt x="1572480" y="650794"/>
                  <a:pt x="1572480" y="650794"/>
                  <a:pt x="1572480" y="650794"/>
                </a:cubicBezTo>
                <a:cubicBezTo>
                  <a:pt x="1572480" y="650794"/>
                  <a:pt x="1566501" y="652788"/>
                  <a:pt x="1564507" y="648801"/>
                </a:cubicBezTo>
                <a:cubicBezTo>
                  <a:pt x="1562514" y="644815"/>
                  <a:pt x="1566501" y="644815"/>
                  <a:pt x="1566501" y="644815"/>
                </a:cubicBezTo>
                <a:cubicBezTo>
                  <a:pt x="1566501" y="644815"/>
                  <a:pt x="1568494" y="636843"/>
                  <a:pt x="1566501" y="640829"/>
                </a:cubicBezTo>
                <a:cubicBezTo>
                  <a:pt x="1562514" y="642822"/>
                  <a:pt x="1562514" y="642822"/>
                  <a:pt x="1562514" y="644815"/>
                </a:cubicBezTo>
                <a:cubicBezTo>
                  <a:pt x="1562514" y="646808"/>
                  <a:pt x="1562514" y="648801"/>
                  <a:pt x="1560521" y="646808"/>
                </a:cubicBezTo>
                <a:cubicBezTo>
                  <a:pt x="1558528" y="646808"/>
                  <a:pt x="1556534" y="644815"/>
                  <a:pt x="1556534" y="644815"/>
                </a:cubicBezTo>
                <a:cubicBezTo>
                  <a:pt x="1556534" y="644815"/>
                  <a:pt x="1554541" y="644815"/>
                  <a:pt x="1554541" y="648801"/>
                </a:cubicBezTo>
                <a:cubicBezTo>
                  <a:pt x="1554541" y="650794"/>
                  <a:pt x="1550555" y="648801"/>
                  <a:pt x="1554541" y="652788"/>
                </a:cubicBezTo>
                <a:cubicBezTo>
                  <a:pt x="1556534" y="654781"/>
                  <a:pt x="1554541" y="654781"/>
                  <a:pt x="1558528" y="654781"/>
                </a:cubicBezTo>
                <a:cubicBezTo>
                  <a:pt x="1560521" y="656774"/>
                  <a:pt x="1558528" y="654781"/>
                  <a:pt x="1562514" y="656774"/>
                </a:cubicBezTo>
                <a:cubicBezTo>
                  <a:pt x="1564507" y="658767"/>
                  <a:pt x="1562514" y="656774"/>
                  <a:pt x="1566501" y="656774"/>
                </a:cubicBezTo>
                <a:cubicBezTo>
                  <a:pt x="1568494" y="656774"/>
                  <a:pt x="1570487" y="660760"/>
                  <a:pt x="1570487" y="660760"/>
                </a:cubicBezTo>
                <a:cubicBezTo>
                  <a:pt x="1570487" y="660760"/>
                  <a:pt x="1570487" y="664746"/>
                  <a:pt x="1570487" y="666739"/>
                </a:cubicBezTo>
                <a:cubicBezTo>
                  <a:pt x="1572480" y="668732"/>
                  <a:pt x="1572480" y="668732"/>
                  <a:pt x="1572480" y="670725"/>
                </a:cubicBezTo>
                <a:cubicBezTo>
                  <a:pt x="1570487" y="672718"/>
                  <a:pt x="1574474" y="672718"/>
                  <a:pt x="1570487" y="674711"/>
                </a:cubicBezTo>
                <a:cubicBezTo>
                  <a:pt x="1568494" y="674711"/>
                  <a:pt x="1568494" y="674711"/>
                  <a:pt x="1566501" y="674711"/>
                </a:cubicBezTo>
                <a:cubicBezTo>
                  <a:pt x="1564507" y="674711"/>
                  <a:pt x="1564507" y="674711"/>
                  <a:pt x="1562514" y="674711"/>
                </a:cubicBezTo>
                <a:cubicBezTo>
                  <a:pt x="1558528" y="674711"/>
                  <a:pt x="1558528" y="674711"/>
                  <a:pt x="1556534" y="674711"/>
                </a:cubicBezTo>
                <a:cubicBezTo>
                  <a:pt x="1554541" y="674711"/>
                  <a:pt x="1554541" y="676704"/>
                  <a:pt x="1552548" y="676704"/>
                </a:cubicBezTo>
                <a:cubicBezTo>
                  <a:pt x="1550555" y="678697"/>
                  <a:pt x="1550555" y="678697"/>
                  <a:pt x="1548561" y="678697"/>
                </a:cubicBezTo>
                <a:cubicBezTo>
                  <a:pt x="1546568" y="678697"/>
                  <a:pt x="1544575" y="678697"/>
                  <a:pt x="1544575" y="676704"/>
                </a:cubicBezTo>
                <a:cubicBezTo>
                  <a:pt x="1544575" y="674711"/>
                  <a:pt x="1546568" y="672718"/>
                  <a:pt x="1546568" y="672718"/>
                </a:cubicBezTo>
                <a:cubicBezTo>
                  <a:pt x="1542582" y="672718"/>
                  <a:pt x="1542582" y="672718"/>
                  <a:pt x="1542582" y="672718"/>
                </a:cubicBezTo>
                <a:cubicBezTo>
                  <a:pt x="1538595" y="670725"/>
                  <a:pt x="1538595" y="670725"/>
                  <a:pt x="1538595" y="670725"/>
                </a:cubicBezTo>
                <a:cubicBezTo>
                  <a:pt x="1536602" y="668732"/>
                  <a:pt x="1536602" y="668732"/>
                  <a:pt x="1536602" y="668732"/>
                </a:cubicBezTo>
                <a:cubicBezTo>
                  <a:pt x="1536602" y="668732"/>
                  <a:pt x="1536602" y="672718"/>
                  <a:pt x="1532615" y="672718"/>
                </a:cubicBezTo>
                <a:cubicBezTo>
                  <a:pt x="1528629" y="670725"/>
                  <a:pt x="1524642" y="670725"/>
                  <a:pt x="1524642" y="670725"/>
                </a:cubicBezTo>
                <a:cubicBezTo>
                  <a:pt x="1524642" y="670725"/>
                  <a:pt x="1520656" y="668732"/>
                  <a:pt x="1520656" y="668732"/>
                </a:cubicBezTo>
                <a:cubicBezTo>
                  <a:pt x="1520656" y="668732"/>
                  <a:pt x="1518663" y="666739"/>
                  <a:pt x="1518663" y="666739"/>
                </a:cubicBezTo>
                <a:cubicBezTo>
                  <a:pt x="1514676" y="666739"/>
                  <a:pt x="1514676" y="666739"/>
                  <a:pt x="1514676" y="666739"/>
                </a:cubicBezTo>
                <a:cubicBezTo>
                  <a:pt x="1506703" y="664746"/>
                  <a:pt x="1506703" y="664746"/>
                  <a:pt x="1506703" y="664746"/>
                </a:cubicBezTo>
                <a:cubicBezTo>
                  <a:pt x="1506703" y="664746"/>
                  <a:pt x="1502717" y="662753"/>
                  <a:pt x="1504710" y="664746"/>
                </a:cubicBezTo>
                <a:cubicBezTo>
                  <a:pt x="1504710" y="666739"/>
                  <a:pt x="1506703" y="668732"/>
                  <a:pt x="1508696" y="668732"/>
                </a:cubicBezTo>
                <a:cubicBezTo>
                  <a:pt x="1508696" y="670725"/>
                  <a:pt x="1508696" y="668732"/>
                  <a:pt x="1512683" y="670725"/>
                </a:cubicBezTo>
                <a:cubicBezTo>
                  <a:pt x="1514676" y="670725"/>
                  <a:pt x="1516669" y="670725"/>
                  <a:pt x="1518663" y="672718"/>
                </a:cubicBezTo>
                <a:cubicBezTo>
                  <a:pt x="1518663" y="674711"/>
                  <a:pt x="1516669" y="672718"/>
                  <a:pt x="1518663" y="674711"/>
                </a:cubicBezTo>
                <a:cubicBezTo>
                  <a:pt x="1520656" y="674711"/>
                  <a:pt x="1518663" y="674711"/>
                  <a:pt x="1520656" y="674711"/>
                </a:cubicBezTo>
                <a:cubicBezTo>
                  <a:pt x="1520656" y="676704"/>
                  <a:pt x="1522649" y="676704"/>
                  <a:pt x="1520656" y="678697"/>
                </a:cubicBezTo>
                <a:cubicBezTo>
                  <a:pt x="1520656" y="680690"/>
                  <a:pt x="1522649" y="682684"/>
                  <a:pt x="1518663" y="680690"/>
                </a:cubicBezTo>
                <a:cubicBezTo>
                  <a:pt x="1516669" y="680690"/>
                  <a:pt x="1516669" y="680690"/>
                  <a:pt x="1514676" y="678697"/>
                </a:cubicBezTo>
                <a:cubicBezTo>
                  <a:pt x="1512683" y="678697"/>
                  <a:pt x="1510690" y="678697"/>
                  <a:pt x="1510690" y="678697"/>
                </a:cubicBezTo>
                <a:cubicBezTo>
                  <a:pt x="1510690" y="678697"/>
                  <a:pt x="1510690" y="674711"/>
                  <a:pt x="1504710" y="674711"/>
                </a:cubicBezTo>
                <a:cubicBezTo>
                  <a:pt x="1498730" y="674711"/>
                  <a:pt x="1496737" y="670725"/>
                  <a:pt x="1496737" y="670725"/>
                </a:cubicBezTo>
                <a:cubicBezTo>
                  <a:pt x="1496737" y="670725"/>
                  <a:pt x="1498730" y="668732"/>
                  <a:pt x="1494744" y="666739"/>
                </a:cubicBezTo>
                <a:cubicBezTo>
                  <a:pt x="1490757" y="664746"/>
                  <a:pt x="1490757" y="662753"/>
                  <a:pt x="1490757" y="662753"/>
                </a:cubicBezTo>
                <a:cubicBezTo>
                  <a:pt x="1490757" y="662753"/>
                  <a:pt x="1484777" y="660760"/>
                  <a:pt x="1484777" y="660760"/>
                </a:cubicBezTo>
                <a:cubicBezTo>
                  <a:pt x="1482784" y="660760"/>
                  <a:pt x="1480791" y="658767"/>
                  <a:pt x="1478798" y="656774"/>
                </a:cubicBezTo>
                <a:cubicBezTo>
                  <a:pt x="1478798" y="654781"/>
                  <a:pt x="1474811" y="654781"/>
                  <a:pt x="1474811" y="658767"/>
                </a:cubicBezTo>
                <a:cubicBezTo>
                  <a:pt x="1474811" y="660760"/>
                  <a:pt x="1478798" y="660760"/>
                  <a:pt x="1478798" y="660760"/>
                </a:cubicBezTo>
                <a:cubicBezTo>
                  <a:pt x="1478798" y="660760"/>
                  <a:pt x="1484777" y="660760"/>
                  <a:pt x="1486771" y="664746"/>
                </a:cubicBezTo>
                <a:cubicBezTo>
                  <a:pt x="1488764" y="666739"/>
                  <a:pt x="1492750" y="668732"/>
                  <a:pt x="1492750" y="668732"/>
                </a:cubicBezTo>
                <a:cubicBezTo>
                  <a:pt x="1492750" y="668732"/>
                  <a:pt x="1494744" y="670725"/>
                  <a:pt x="1494744" y="674711"/>
                </a:cubicBezTo>
                <a:cubicBezTo>
                  <a:pt x="1492750" y="676704"/>
                  <a:pt x="1490757" y="676704"/>
                  <a:pt x="1486771" y="676704"/>
                </a:cubicBezTo>
                <a:cubicBezTo>
                  <a:pt x="1484777" y="676704"/>
                  <a:pt x="1482784" y="674711"/>
                  <a:pt x="1482784" y="674711"/>
                </a:cubicBezTo>
                <a:cubicBezTo>
                  <a:pt x="1476804" y="674711"/>
                  <a:pt x="1476804" y="674711"/>
                  <a:pt x="1476804" y="674711"/>
                </a:cubicBezTo>
                <a:cubicBezTo>
                  <a:pt x="1472818" y="672718"/>
                  <a:pt x="1472818" y="672718"/>
                  <a:pt x="1472818" y="672718"/>
                </a:cubicBezTo>
                <a:cubicBezTo>
                  <a:pt x="1472818" y="672718"/>
                  <a:pt x="1474811" y="670725"/>
                  <a:pt x="1472818" y="670725"/>
                </a:cubicBezTo>
                <a:cubicBezTo>
                  <a:pt x="1470825" y="670725"/>
                  <a:pt x="1468831" y="670725"/>
                  <a:pt x="1468831" y="670725"/>
                </a:cubicBezTo>
                <a:cubicBezTo>
                  <a:pt x="1468831" y="670725"/>
                  <a:pt x="1466838" y="670725"/>
                  <a:pt x="1464845" y="672718"/>
                </a:cubicBezTo>
                <a:cubicBezTo>
                  <a:pt x="1464845" y="672718"/>
                  <a:pt x="1460858" y="674711"/>
                  <a:pt x="1460858" y="674711"/>
                </a:cubicBezTo>
                <a:cubicBezTo>
                  <a:pt x="1460858" y="674711"/>
                  <a:pt x="1460858" y="674711"/>
                  <a:pt x="1458865" y="674711"/>
                </a:cubicBezTo>
                <a:cubicBezTo>
                  <a:pt x="1454879" y="672718"/>
                  <a:pt x="1452885" y="672718"/>
                  <a:pt x="1452885" y="672718"/>
                </a:cubicBezTo>
                <a:cubicBezTo>
                  <a:pt x="1448899" y="670725"/>
                  <a:pt x="1448899" y="670725"/>
                  <a:pt x="1448899" y="670725"/>
                </a:cubicBezTo>
                <a:cubicBezTo>
                  <a:pt x="1444912" y="668732"/>
                  <a:pt x="1444912" y="668732"/>
                  <a:pt x="1444912" y="668732"/>
                </a:cubicBezTo>
                <a:cubicBezTo>
                  <a:pt x="1442919" y="668732"/>
                  <a:pt x="1442919" y="668732"/>
                  <a:pt x="1442919" y="668732"/>
                </a:cubicBezTo>
                <a:cubicBezTo>
                  <a:pt x="1438933" y="670725"/>
                  <a:pt x="1438933" y="670725"/>
                  <a:pt x="1438933" y="670725"/>
                </a:cubicBezTo>
                <a:cubicBezTo>
                  <a:pt x="1438933" y="670725"/>
                  <a:pt x="1436939" y="672718"/>
                  <a:pt x="1434946" y="670725"/>
                </a:cubicBezTo>
                <a:cubicBezTo>
                  <a:pt x="1434946" y="668732"/>
                  <a:pt x="1434946" y="666739"/>
                  <a:pt x="1434946" y="666739"/>
                </a:cubicBezTo>
                <a:cubicBezTo>
                  <a:pt x="1434946" y="666739"/>
                  <a:pt x="1434946" y="666739"/>
                  <a:pt x="1434946" y="664746"/>
                </a:cubicBezTo>
                <a:cubicBezTo>
                  <a:pt x="1436939" y="664746"/>
                  <a:pt x="1436939" y="664746"/>
                  <a:pt x="1438933" y="664746"/>
                </a:cubicBezTo>
                <a:cubicBezTo>
                  <a:pt x="1438933" y="662753"/>
                  <a:pt x="1440926" y="660760"/>
                  <a:pt x="1434946" y="662753"/>
                </a:cubicBezTo>
                <a:cubicBezTo>
                  <a:pt x="1430960" y="662753"/>
                  <a:pt x="1430960" y="662753"/>
                  <a:pt x="1430960" y="662753"/>
                </a:cubicBezTo>
                <a:cubicBezTo>
                  <a:pt x="1430960" y="662753"/>
                  <a:pt x="1432953" y="668732"/>
                  <a:pt x="1428966" y="668732"/>
                </a:cubicBezTo>
                <a:cubicBezTo>
                  <a:pt x="1422986" y="670725"/>
                  <a:pt x="1422986" y="670725"/>
                  <a:pt x="1420993" y="668732"/>
                </a:cubicBezTo>
                <a:cubicBezTo>
                  <a:pt x="1419000" y="666739"/>
                  <a:pt x="1419000" y="664746"/>
                  <a:pt x="1415013" y="664746"/>
                </a:cubicBezTo>
                <a:cubicBezTo>
                  <a:pt x="1413020" y="664746"/>
                  <a:pt x="1413020" y="662753"/>
                  <a:pt x="1413020" y="664746"/>
                </a:cubicBezTo>
                <a:cubicBezTo>
                  <a:pt x="1413020" y="666739"/>
                  <a:pt x="1417007" y="666739"/>
                  <a:pt x="1417007" y="666739"/>
                </a:cubicBezTo>
                <a:cubicBezTo>
                  <a:pt x="1417007" y="666739"/>
                  <a:pt x="1422986" y="668732"/>
                  <a:pt x="1419000" y="670725"/>
                </a:cubicBezTo>
                <a:cubicBezTo>
                  <a:pt x="1417007" y="672718"/>
                  <a:pt x="1411027" y="672718"/>
                  <a:pt x="1409034" y="670725"/>
                </a:cubicBezTo>
                <a:cubicBezTo>
                  <a:pt x="1407040" y="668732"/>
                  <a:pt x="1407040" y="668732"/>
                  <a:pt x="1407040" y="668732"/>
                </a:cubicBezTo>
                <a:cubicBezTo>
                  <a:pt x="1401061" y="666739"/>
                  <a:pt x="1401061" y="666739"/>
                  <a:pt x="1401061" y="666739"/>
                </a:cubicBezTo>
                <a:cubicBezTo>
                  <a:pt x="1401061" y="662753"/>
                  <a:pt x="1401061" y="662753"/>
                  <a:pt x="1401061" y="662753"/>
                </a:cubicBezTo>
                <a:cubicBezTo>
                  <a:pt x="1401061" y="662753"/>
                  <a:pt x="1397074" y="658767"/>
                  <a:pt x="1397074" y="654781"/>
                </a:cubicBezTo>
                <a:cubicBezTo>
                  <a:pt x="1397074" y="652788"/>
                  <a:pt x="1397074" y="650794"/>
                  <a:pt x="1397074" y="650794"/>
                </a:cubicBezTo>
                <a:cubicBezTo>
                  <a:pt x="1393088" y="650794"/>
                  <a:pt x="1393088" y="654781"/>
                  <a:pt x="1393088" y="654781"/>
                </a:cubicBezTo>
                <a:cubicBezTo>
                  <a:pt x="1393088" y="654781"/>
                  <a:pt x="1393088" y="660760"/>
                  <a:pt x="1389101" y="658767"/>
                </a:cubicBezTo>
                <a:cubicBezTo>
                  <a:pt x="1385115" y="658767"/>
                  <a:pt x="1385115" y="658767"/>
                  <a:pt x="1387108" y="654781"/>
                </a:cubicBezTo>
                <a:cubicBezTo>
                  <a:pt x="1389101" y="652788"/>
                  <a:pt x="1391094" y="648801"/>
                  <a:pt x="1385115" y="650794"/>
                </a:cubicBezTo>
                <a:cubicBezTo>
                  <a:pt x="1381128" y="650794"/>
                  <a:pt x="1383121" y="652788"/>
                  <a:pt x="1383121" y="656774"/>
                </a:cubicBezTo>
                <a:cubicBezTo>
                  <a:pt x="1381128" y="658767"/>
                  <a:pt x="1381128" y="662753"/>
                  <a:pt x="1377142" y="658767"/>
                </a:cubicBezTo>
                <a:cubicBezTo>
                  <a:pt x="1375148" y="656774"/>
                  <a:pt x="1375148" y="654781"/>
                  <a:pt x="1371162" y="652788"/>
                </a:cubicBezTo>
                <a:cubicBezTo>
                  <a:pt x="1367175" y="652788"/>
                  <a:pt x="1369169" y="654781"/>
                  <a:pt x="1367175" y="656774"/>
                </a:cubicBezTo>
                <a:cubicBezTo>
                  <a:pt x="1363189" y="658767"/>
                  <a:pt x="1361196" y="660760"/>
                  <a:pt x="1359202" y="658767"/>
                </a:cubicBezTo>
                <a:cubicBezTo>
                  <a:pt x="1357209" y="654781"/>
                  <a:pt x="1357209" y="652788"/>
                  <a:pt x="1359202" y="652788"/>
                </a:cubicBezTo>
                <a:cubicBezTo>
                  <a:pt x="1363189" y="654781"/>
                  <a:pt x="1365182" y="652788"/>
                  <a:pt x="1363189" y="650794"/>
                </a:cubicBezTo>
                <a:cubicBezTo>
                  <a:pt x="1359202" y="648801"/>
                  <a:pt x="1349236" y="646808"/>
                  <a:pt x="1347243" y="644815"/>
                </a:cubicBezTo>
                <a:cubicBezTo>
                  <a:pt x="1345250" y="644815"/>
                  <a:pt x="1335283" y="630864"/>
                  <a:pt x="1335283" y="630864"/>
                </a:cubicBezTo>
                <a:cubicBezTo>
                  <a:pt x="1335283" y="630864"/>
                  <a:pt x="1333290" y="626878"/>
                  <a:pt x="1337277" y="624885"/>
                </a:cubicBezTo>
                <a:cubicBezTo>
                  <a:pt x="1339270" y="624885"/>
                  <a:pt x="1335283" y="618905"/>
                  <a:pt x="1335283" y="618905"/>
                </a:cubicBezTo>
                <a:cubicBezTo>
                  <a:pt x="1335283" y="618905"/>
                  <a:pt x="1333290" y="614919"/>
                  <a:pt x="1335283" y="614919"/>
                </a:cubicBezTo>
                <a:cubicBezTo>
                  <a:pt x="1339270" y="616912"/>
                  <a:pt x="1339270" y="620898"/>
                  <a:pt x="1343256" y="620898"/>
                </a:cubicBezTo>
                <a:cubicBezTo>
                  <a:pt x="1347243" y="620898"/>
                  <a:pt x="1349236" y="614919"/>
                  <a:pt x="1355216" y="616912"/>
                </a:cubicBezTo>
                <a:cubicBezTo>
                  <a:pt x="1361196" y="616912"/>
                  <a:pt x="1365182" y="620898"/>
                  <a:pt x="1365182" y="622892"/>
                </a:cubicBezTo>
                <a:cubicBezTo>
                  <a:pt x="1365182" y="624885"/>
                  <a:pt x="1367175" y="626878"/>
                  <a:pt x="1369169" y="624885"/>
                </a:cubicBezTo>
                <a:cubicBezTo>
                  <a:pt x="1373155" y="620898"/>
                  <a:pt x="1373155" y="620898"/>
                  <a:pt x="1377142" y="622892"/>
                </a:cubicBezTo>
                <a:cubicBezTo>
                  <a:pt x="1379135" y="626878"/>
                  <a:pt x="1385115" y="628871"/>
                  <a:pt x="1385115" y="624885"/>
                </a:cubicBezTo>
                <a:cubicBezTo>
                  <a:pt x="1385115" y="618905"/>
                  <a:pt x="1377142" y="622892"/>
                  <a:pt x="1375148" y="618905"/>
                </a:cubicBezTo>
                <a:cubicBezTo>
                  <a:pt x="1373155" y="614919"/>
                  <a:pt x="1373155" y="612926"/>
                  <a:pt x="1373155" y="612926"/>
                </a:cubicBezTo>
                <a:cubicBezTo>
                  <a:pt x="1373155" y="612926"/>
                  <a:pt x="1369169" y="610933"/>
                  <a:pt x="1367175" y="608940"/>
                </a:cubicBezTo>
                <a:cubicBezTo>
                  <a:pt x="1367175" y="606947"/>
                  <a:pt x="1367175" y="598975"/>
                  <a:pt x="1365182" y="602961"/>
                </a:cubicBezTo>
                <a:cubicBezTo>
                  <a:pt x="1363189" y="606947"/>
                  <a:pt x="1367175" y="610933"/>
                  <a:pt x="1357209" y="610933"/>
                </a:cubicBezTo>
                <a:cubicBezTo>
                  <a:pt x="1347243" y="610933"/>
                  <a:pt x="1345250" y="608940"/>
                  <a:pt x="1339270" y="608940"/>
                </a:cubicBezTo>
                <a:cubicBezTo>
                  <a:pt x="1335283" y="608940"/>
                  <a:pt x="1325317" y="614919"/>
                  <a:pt x="1325317" y="610933"/>
                </a:cubicBezTo>
                <a:cubicBezTo>
                  <a:pt x="1325317" y="606947"/>
                  <a:pt x="1325317" y="608940"/>
                  <a:pt x="1327310" y="604954"/>
                </a:cubicBezTo>
                <a:cubicBezTo>
                  <a:pt x="1327310" y="602961"/>
                  <a:pt x="1325317" y="594989"/>
                  <a:pt x="1325317" y="594989"/>
                </a:cubicBezTo>
                <a:cubicBezTo>
                  <a:pt x="1325317" y="594989"/>
                  <a:pt x="1325317" y="592996"/>
                  <a:pt x="1329304" y="591002"/>
                </a:cubicBezTo>
                <a:cubicBezTo>
                  <a:pt x="1331297" y="589009"/>
                  <a:pt x="1331297" y="587016"/>
                  <a:pt x="1331297" y="585023"/>
                </a:cubicBezTo>
                <a:cubicBezTo>
                  <a:pt x="1331297" y="581037"/>
                  <a:pt x="1331297" y="577051"/>
                  <a:pt x="1333290" y="573065"/>
                </a:cubicBezTo>
                <a:cubicBezTo>
                  <a:pt x="1335283" y="571072"/>
                  <a:pt x="1335283" y="567086"/>
                  <a:pt x="1335283" y="567086"/>
                </a:cubicBezTo>
                <a:cubicBezTo>
                  <a:pt x="1335283" y="567086"/>
                  <a:pt x="1335283" y="563100"/>
                  <a:pt x="1337277" y="555127"/>
                </a:cubicBezTo>
                <a:cubicBezTo>
                  <a:pt x="1341263" y="547155"/>
                  <a:pt x="1339270" y="543169"/>
                  <a:pt x="1343256" y="545162"/>
                </a:cubicBezTo>
                <a:cubicBezTo>
                  <a:pt x="1345250" y="545162"/>
                  <a:pt x="1351229" y="545162"/>
                  <a:pt x="1351229" y="543169"/>
                </a:cubicBezTo>
                <a:cubicBezTo>
                  <a:pt x="1353223" y="539183"/>
                  <a:pt x="1355216" y="537190"/>
                  <a:pt x="1357209" y="539183"/>
                </a:cubicBezTo>
                <a:cubicBezTo>
                  <a:pt x="1359202" y="539183"/>
                  <a:pt x="1363189" y="539183"/>
                  <a:pt x="1361196" y="535197"/>
                </a:cubicBezTo>
                <a:cubicBezTo>
                  <a:pt x="1359202" y="533204"/>
                  <a:pt x="1359202" y="527224"/>
                  <a:pt x="1363189" y="525231"/>
                </a:cubicBezTo>
                <a:cubicBezTo>
                  <a:pt x="1365182" y="523238"/>
                  <a:pt x="1369169" y="519252"/>
                  <a:pt x="1371162" y="517259"/>
                </a:cubicBezTo>
                <a:cubicBezTo>
                  <a:pt x="1373155" y="513273"/>
                  <a:pt x="1381128" y="509287"/>
                  <a:pt x="1381128" y="509287"/>
                </a:cubicBezTo>
                <a:cubicBezTo>
                  <a:pt x="1381128" y="509287"/>
                  <a:pt x="1385115" y="505301"/>
                  <a:pt x="1385115" y="505301"/>
                </a:cubicBezTo>
                <a:cubicBezTo>
                  <a:pt x="1387108" y="505301"/>
                  <a:pt x="1395081" y="503308"/>
                  <a:pt x="1395081" y="503308"/>
                </a:cubicBezTo>
                <a:cubicBezTo>
                  <a:pt x="1395081" y="503308"/>
                  <a:pt x="1405047" y="499321"/>
                  <a:pt x="1407040" y="497328"/>
                </a:cubicBezTo>
                <a:cubicBezTo>
                  <a:pt x="1407040" y="497328"/>
                  <a:pt x="1413020" y="493342"/>
                  <a:pt x="1419000" y="493342"/>
                </a:cubicBezTo>
                <a:cubicBezTo>
                  <a:pt x="1426973" y="491349"/>
                  <a:pt x="1430960" y="489356"/>
                  <a:pt x="1430960" y="489356"/>
                </a:cubicBezTo>
                <a:cubicBezTo>
                  <a:pt x="1434946" y="491349"/>
                  <a:pt x="1434946" y="491349"/>
                  <a:pt x="1434946" y="491349"/>
                </a:cubicBezTo>
                <a:cubicBezTo>
                  <a:pt x="1440926" y="489356"/>
                  <a:pt x="1440926" y="489356"/>
                  <a:pt x="1440926" y="489356"/>
                </a:cubicBezTo>
                <a:cubicBezTo>
                  <a:pt x="1440926" y="489356"/>
                  <a:pt x="1442421" y="488858"/>
                  <a:pt x="1444165" y="488609"/>
                </a:cubicBezTo>
                <a:close/>
                <a:moveTo>
                  <a:pt x="1010555" y="488363"/>
                </a:moveTo>
                <a:cubicBezTo>
                  <a:pt x="1012799" y="487863"/>
                  <a:pt x="1015292" y="488363"/>
                  <a:pt x="1016289" y="489363"/>
                </a:cubicBezTo>
                <a:cubicBezTo>
                  <a:pt x="1018283" y="491363"/>
                  <a:pt x="1016289" y="493363"/>
                  <a:pt x="1020278" y="495363"/>
                </a:cubicBezTo>
                <a:cubicBezTo>
                  <a:pt x="1022272" y="495363"/>
                  <a:pt x="1026261" y="497363"/>
                  <a:pt x="1024266" y="499363"/>
                </a:cubicBezTo>
                <a:cubicBezTo>
                  <a:pt x="1024266" y="501363"/>
                  <a:pt x="1022272" y="501363"/>
                  <a:pt x="1024266" y="503363"/>
                </a:cubicBezTo>
                <a:cubicBezTo>
                  <a:pt x="1026261" y="505363"/>
                  <a:pt x="1026261" y="505363"/>
                  <a:pt x="1026261" y="507363"/>
                </a:cubicBezTo>
                <a:cubicBezTo>
                  <a:pt x="1024266" y="509363"/>
                  <a:pt x="1024266" y="509363"/>
                  <a:pt x="1024266" y="509363"/>
                </a:cubicBezTo>
                <a:cubicBezTo>
                  <a:pt x="1024266" y="509363"/>
                  <a:pt x="1020278" y="511363"/>
                  <a:pt x="1020278" y="513363"/>
                </a:cubicBezTo>
                <a:cubicBezTo>
                  <a:pt x="1020278" y="515363"/>
                  <a:pt x="1018283" y="513363"/>
                  <a:pt x="1018283" y="513363"/>
                </a:cubicBezTo>
                <a:cubicBezTo>
                  <a:pt x="1018283" y="513363"/>
                  <a:pt x="1014295" y="511363"/>
                  <a:pt x="1014295" y="515363"/>
                </a:cubicBezTo>
                <a:cubicBezTo>
                  <a:pt x="1014295" y="517363"/>
                  <a:pt x="1014295" y="523363"/>
                  <a:pt x="1012300" y="525363"/>
                </a:cubicBezTo>
                <a:cubicBezTo>
                  <a:pt x="1008312" y="525363"/>
                  <a:pt x="1006317" y="523363"/>
                  <a:pt x="1004323" y="527363"/>
                </a:cubicBezTo>
                <a:cubicBezTo>
                  <a:pt x="1002329" y="529363"/>
                  <a:pt x="1002329" y="531363"/>
                  <a:pt x="1000334" y="531363"/>
                </a:cubicBezTo>
                <a:cubicBezTo>
                  <a:pt x="996346" y="531363"/>
                  <a:pt x="996346" y="533363"/>
                  <a:pt x="996346" y="535363"/>
                </a:cubicBezTo>
                <a:cubicBezTo>
                  <a:pt x="1000334" y="537363"/>
                  <a:pt x="1004323" y="543363"/>
                  <a:pt x="1000334" y="545363"/>
                </a:cubicBezTo>
                <a:cubicBezTo>
                  <a:pt x="996346" y="549363"/>
                  <a:pt x="996346" y="549363"/>
                  <a:pt x="998340" y="551363"/>
                </a:cubicBezTo>
                <a:cubicBezTo>
                  <a:pt x="1000334" y="555363"/>
                  <a:pt x="996346" y="559363"/>
                  <a:pt x="996346" y="559363"/>
                </a:cubicBezTo>
                <a:cubicBezTo>
                  <a:pt x="996346" y="559363"/>
                  <a:pt x="992357" y="561363"/>
                  <a:pt x="996346" y="565363"/>
                </a:cubicBezTo>
                <a:cubicBezTo>
                  <a:pt x="1000334" y="569363"/>
                  <a:pt x="996346" y="571363"/>
                  <a:pt x="996346" y="571363"/>
                </a:cubicBezTo>
                <a:cubicBezTo>
                  <a:pt x="996346" y="571363"/>
                  <a:pt x="996346" y="577363"/>
                  <a:pt x="996346" y="579363"/>
                </a:cubicBezTo>
                <a:cubicBezTo>
                  <a:pt x="998340" y="583363"/>
                  <a:pt x="1000334" y="585363"/>
                  <a:pt x="1000334" y="585363"/>
                </a:cubicBezTo>
                <a:cubicBezTo>
                  <a:pt x="1002329" y="587363"/>
                  <a:pt x="1002329" y="587363"/>
                  <a:pt x="1002329" y="587363"/>
                </a:cubicBezTo>
                <a:cubicBezTo>
                  <a:pt x="1002329" y="587363"/>
                  <a:pt x="1008312" y="585363"/>
                  <a:pt x="1008312" y="589363"/>
                </a:cubicBezTo>
                <a:cubicBezTo>
                  <a:pt x="1008312" y="593363"/>
                  <a:pt x="1008312" y="595363"/>
                  <a:pt x="1008312" y="595363"/>
                </a:cubicBezTo>
                <a:cubicBezTo>
                  <a:pt x="1008312" y="595363"/>
                  <a:pt x="1008312" y="601363"/>
                  <a:pt x="1006317" y="601363"/>
                </a:cubicBezTo>
                <a:cubicBezTo>
                  <a:pt x="1004323" y="601363"/>
                  <a:pt x="1002329" y="605363"/>
                  <a:pt x="1002329" y="605363"/>
                </a:cubicBezTo>
                <a:cubicBezTo>
                  <a:pt x="1002329" y="607363"/>
                  <a:pt x="998340" y="611363"/>
                  <a:pt x="998340" y="611363"/>
                </a:cubicBezTo>
                <a:cubicBezTo>
                  <a:pt x="998340" y="611363"/>
                  <a:pt x="992357" y="611363"/>
                  <a:pt x="996346" y="615363"/>
                </a:cubicBezTo>
                <a:cubicBezTo>
                  <a:pt x="1000334" y="619363"/>
                  <a:pt x="1004323" y="621363"/>
                  <a:pt x="1004323" y="623363"/>
                </a:cubicBezTo>
                <a:cubicBezTo>
                  <a:pt x="1006317" y="627363"/>
                  <a:pt x="1006317" y="633363"/>
                  <a:pt x="1010306" y="633363"/>
                </a:cubicBezTo>
                <a:cubicBezTo>
                  <a:pt x="1014295" y="631363"/>
                  <a:pt x="1016289" y="635363"/>
                  <a:pt x="1016289" y="635363"/>
                </a:cubicBezTo>
                <a:cubicBezTo>
                  <a:pt x="1016289" y="635363"/>
                  <a:pt x="1018283" y="637363"/>
                  <a:pt x="1024266" y="637363"/>
                </a:cubicBezTo>
                <a:cubicBezTo>
                  <a:pt x="1028255" y="635363"/>
                  <a:pt x="1022272" y="641363"/>
                  <a:pt x="1026261" y="641363"/>
                </a:cubicBezTo>
                <a:cubicBezTo>
                  <a:pt x="1030249" y="641363"/>
                  <a:pt x="1028255" y="635363"/>
                  <a:pt x="1028255" y="635363"/>
                </a:cubicBezTo>
                <a:cubicBezTo>
                  <a:pt x="1028255" y="635363"/>
                  <a:pt x="1030249" y="629363"/>
                  <a:pt x="1032244" y="633363"/>
                </a:cubicBezTo>
                <a:cubicBezTo>
                  <a:pt x="1034238" y="637363"/>
                  <a:pt x="1030249" y="639363"/>
                  <a:pt x="1034238" y="641363"/>
                </a:cubicBezTo>
                <a:cubicBezTo>
                  <a:pt x="1038227" y="643363"/>
                  <a:pt x="1038227" y="641363"/>
                  <a:pt x="1040221" y="645363"/>
                </a:cubicBezTo>
                <a:cubicBezTo>
                  <a:pt x="1044210" y="651363"/>
                  <a:pt x="1042216" y="653363"/>
                  <a:pt x="1044210" y="653363"/>
                </a:cubicBezTo>
                <a:cubicBezTo>
                  <a:pt x="1046204" y="653363"/>
                  <a:pt x="1050193" y="647363"/>
                  <a:pt x="1052187" y="649363"/>
                </a:cubicBezTo>
                <a:cubicBezTo>
                  <a:pt x="1052187" y="651363"/>
                  <a:pt x="1052187" y="657363"/>
                  <a:pt x="1052187" y="657363"/>
                </a:cubicBezTo>
                <a:cubicBezTo>
                  <a:pt x="1052187" y="657363"/>
                  <a:pt x="1052187" y="661363"/>
                  <a:pt x="1054182" y="661363"/>
                </a:cubicBezTo>
                <a:cubicBezTo>
                  <a:pt x="1056176" y="659363"/>
                  <a:pt x="1058170" y="659363"/>
                  <a:pt x="1060165" y="659363"/>
                </a:cubicBezTo>
                <a:cubicBezTo>
                  <a:pt x="1060165" y="661363"/>
                  <a:pt x="1062159" y="663363"/>
                  <a:pt x="1064153" y="661363"/>
                </a:cubicBezTo>
                <a:cubicBezTo>
                  <a:pt x="1066148" y="659363"/>
                  <a:pt x="1068142" y="663363"/>
                  <a:pt x="1066148" y="665363"/>
                </a:cubicBezTo>
                <a:cubicBezTo>
                  <a:pt x="1064153" y="667363"/>
                  <a:pt x="1066148" y="665363"/>
                  <a:pt x="1064153" y="671363"/>
                </a:cubicBezTo>
                <a:cubicBezTo>
                  <a:pt x="1064153" y="675363"/>
                  <a:pt x="1060165" y="679363"/>
                  <a:pt x="1060165" y="679363"/>
                </a:cubicBezTo>
                <a:cubicBezTo>
                  <a:pt x="1060165" y="679363"/>
                  <a:pt x="1056176" y="687363"/>
                  <a:pt x="1054182" y="685363"/>
                </a:cubicBezTo>
                <a:cubicBezTo>
                  <a:pt x="1052187" y="683363"/>
                  <a:pt x="1050193" y="683363"/>
                  <a:pt x="1050193" y="679363"/>
                </a:cubicBezTo>
                <a:cubicBezTo>
                  <a:pt x="1050193" y="677363"/>
                  <a:pt x="1046204" y="673363"/>
                  <a:pt x="1046204" y="677363"/>
                </a:cubicBezTo>
                <a:cubicBezTo>
                  <a:pt x="1046204" y="681363"/>
                  <a:pt x="1044210" y="683363"/>
                  <a:pt x="1038227" y="681363"/>
                </a:cubicBezTo>
                <a:cubicBezTo>
                  <a:pt x="1032244" y="679363"/>
                  <a:pt x="1034238" y="677363"/>
                  <a:pt x="1034238" y="677363"/>
                </a:cubicBezTo>
                <a:cubicBezTo>
                  <a:pt x="1034238" y="677363"/>
                  <a:pt x="1032244" y="675363"/>
                  <a:pt x="1030249" y="677363"/>
                </a:cubicBezTo>
                <a:cubicBezTo>
                  <a:pt x="1030249" y="681363"/>
                  <a:pt x="1026261" y="679363"/>
                  <a:pt x="1026261" y="679363"/>
                </a:cubicBezTo>
                <a:cubicBezTo>
                  <a:pt x="1026261" y="679363"/>
                  <a:pt x="1020278" y="679363"/>
                  <a:pt x="1018283" y="683363"/>
                </a:cubicBezTo>
                <a:cubicBezTo>
                  <a:pt x="1018283" y="687363"/>
                  <a:pt x="1014295" y="687363"/>
                  <a:pt x="1014295" y="687363"/>
                </a:cubicBezTo>
                <a:cubicBezTo>
                  <a:pt x="1014295" y="687363"/>
                  <a:pt x="1012300" y="687363"/>
                  <a:pt x="1010306" y="685363"/>
                </a:cubicBezTo>
                <a:cubicBezTo>
                  <a:pt x="1008312" y="681363"/>
                  <a:pt x="1006317" y="679363"/>
                  <a:pt x="1004323" y="683363"/>
                </a:cubicBezTo>
                <a:cubicBezTo>
                  <a:pt x="1000334" y="683363"/>
                  <a:pt x="1004323" y="687363"/>
                  <a:pt x="1004323" y="687363"/>
                </a:cubicBezTo>
                <a:cubicBezTo>
                  <a:pt x="1008312" y="693363"/>
                  <a:pt x="1008312" y="693363"/>
                  <a:pt x="1008312" y="693363"/>
                </a:cubicBezTo>
                <a:cubicBezTo>
                  <a:pt x="1008312" y="693363"/>
                  <a:pt x="1006317" y="693363"/>
                  <a:pt x="1008312" y="695363"/>
                </a:cubicBezTo>
                <a:cubicBezTo>
                  <a:pt x="1010306" y="697363"/>
                  <a:pt x="1010306" y="701363"/>
                  <a:pt x="1008312" y="701363"/>
                </a:cubicBezTo>
                <a:cubicBezTo>
                  <a:pt x="1004323" y="701363"/>
                  <a:pt x="1004323" y="703363"/>
                  <a:pt x="1004323" y="707363"/>
                </a:cubicBezTo>
                <a:cubicBezTo>
                  <a:pt x="1006317" y="709363"/>
                  <a:pt x="1012300" y="707363"/>
                  <a:pt x="1014295" y="703363"/>
                </a:cubicBezTo>
                <a:cubicBezTo>
                  <a:pt x="1014295" y="701363"/>
                  <a:pt x="1014295" y="695363"/>
                  <a:pt x="1018283" y="695363"/>
                </a:cubicBezTo>
                <a:cubicBezTo>
                  <a:pt x="1024266" y="695363"/>
                  <a:pt x="1022272" y="693363"/>
                  <a:pt x="1026261" y="693363"/>
                </a:cubicBezTo>
                <a:cubicBezTo>
                  <a:pt x="1030249" y="691363"/>
                  <a:pt x="1030249" y="693363"/>
                  <a:pt x="1030249" y="695363"/>
                </a:cubicBezTo>
                <a:cubicBezTo>
                  <a:pt x="1030249" y="697363"/>
                  <a:pt x="1032244" y="699363"/>
                  <a:pt x="1032244" y="699363"/>
                </a:cubicBezTo>
                <a:cubicBezTo>
                  <a:pt x="1032244" y="699363"/>
                  <a:pt x="1030249" y="699363"/>
                  <a:pt x="1032244" y="703363"/>
                </a:cubicBezTo>
                <a:cubicBezTo>
                  <a:pt x="1034238" y="705363"/>
                  <a:pt x="1034238" y="709363"/>
                  <a:pt x="1032244" y="709363"/>
                </a:cubicBezTo>
                <a:cubicBezTo>
                  <a:pt x="1030249" y="709363"/>
                  <a:pt x="1032244" y="717363"/>
                  <a:pt x="1028255" y="717363"/>
                </a:cubicBezTo>
                <a:cubicBezTo>
                  <a:pt x="1024266" y="717363"/>
                  <a:pt x="1022272" y="719363"/>
                  <a:pt x="1022272" y="719363"/>
                </a:cubicBezTo>
                <a:cubicBezTo>
                  <a:pt x="1022272" y="719363"/>
                  <a:pt x="1018283" y="721363"/>
                  <a:pt x="1016289" y="721363"/>
                </a:cubicBezTo>
                <a:cubicBezTo>
                  <a:pt x="1014295" y="719363"/>
                  <a:pt x="1012300" y="721363"/>
                  <a:pt x="1012300" y="721363"/>
                </a:cubicBezTo>
                <a:cubicBezTo>
                  <a:pt x="1012300" y="721363"/>
                  <a:pt x="1006317" y="725363"/>
                  <a:pt x="1004323" y="721363"/>
                </a:cubicBezTo>
                <a:cubicBezTo>
                  <a:pt x="1002329" y="721363"/>
                  <a:pt x="1000334" y="721363"/>
                  <a:pt x="1000334" y="721363"/>
                </a:cubicBezTo>
                <a:cubicBezTo>
                  <a:pt x="1000334" y="721363"/>
                  <a:pt x="992357" y="725363"/>
                  <a:pt x="988368" y="723363"/>
                </a:cubicBezTo>
                <a:cubicBezTo>
                  <a:pt x="984380" y="721363"/>
                  <a:pt x="980391" y="721363"/>
                  <a:pt x="980391" y="721363"/>
                </a:cubicBezTo>
                <a:cubicBezTo>
                  <a:pt x="980391" y="721363"/>
                  <a:pt x="974408" y="717363"/>
                  <a:pt x="968425" y="719363"/>
                </a:cubicBezTo>
                <a:cubicBezTo>
                  <a:pt x="964436" y="721363"/>
                  <a:pt x="966430" y="725363"/>
                  <a:pt x="964436" y="725363"/>
                </a:cubicBezTo>
                <a:cubicBezTo>
                  <a:pt x="962442" y="725363"/>
                  <a:pt x="962442" y="729363"/>
                  <a:pt x="962442" y="729363"/>
                </a:cubicBezTo>
                <a:cubicBezTo>
                  <a:pt x="962442" y="729363"/>
                  <a:pt x="958453" y="731363"/>
                  <a:pt x="956459" y="729363"/>
                </a:cubicBezTo>
                <a:cubicBezTo>
                  <a:pt x="952470" y="727363"/>
                  <a:pt x="954464" y="725363"/>
                  <a:pt x="954464" y="725363"/>
                </a:cubicBezTo>
                <a:cubicBezTo>
                  <a:pt x="954464" y="725363"/>
                  <a:pt x="958453" y="723363"/>
                  <a:pt x="958453" y="721363"/>
                </a:cubicBezTo>
                <a:cubicBezTo>
                  <a:pt x="956459" y="721363"/>
                  <a:pt x="956459" y="721363"/>
                  <a:pt x="956459" y="719363"/>
                </a:cubicBezTo>
                <a:cubicBezTo>
                  <a:pt x="958453" y="717363"/>
                  <a:pt x="958453" y="713363"/>
                  <a:pt x="954464" y="713363"/>
                </a:cubicBezTo>
                <a:cubicBezTo>
                  <a:pt x="954464" y="713363"/>
                  <a:pt x="952470" y="713363"/>
                  <a:pt x="952470" y="711363"/>
                </a:cubicBezTo>
                <a:cubicBezTo>
                  <a:pt x="952470" y="709363"/>
                  <a:pt x="950476" y="705363"/>
                  <a:pt x="946487" y="705363"/>
                </a:cubicBezTo>
                <a:cubicBezTo>
                  <a:pt x="942498" y="707363"/>
                  <a:pt x="938510" y="709363"/>
                  <a:pt x="936515" y="705363"/>
                </a:cubicBezTo>
                <a:cubicBezTo>
                  <a:pt x="934521" y="701363"/>
                  <a:pt x="932526" y="701363"/>
                  <a:pt x="932526" y="699363"/>
                </a:cubicBezTo>
                <a:cubicBezTo>
                  <a:pt x="930532" y="697363"/>
                  <a:pt x="930532" y="695363"/>
                  <a:pt x="930532" y="695363"/>
                </a:cubicBezTo>
                <a:cubicBezTo>
                  <a:pt x="930532" y="695363"/>
                  <a:pt x="928538" y="695363"/>
                  <a:pt x="924549" y="699363"/>
                </a:cubicBezTo>
                <a:cubicBezTo>
                  <a:pt x="920560" y="703363"/>
                  <a:pt x="910589" y="709363"/>
                  <a:pt x="910589" y="709363"/>
                </a:cubicBezTo>
                <a:cubicBezTo>
                  <a:pt x="910589" y="709363"/>
                  <a:pt x="904606" y="717363"/>
                  <a:pt x="894634" y="719363"/>
                </a:cubicBezTo>
                <a:cubicBezTo>
                  <a:pt x="886657" y="721363"/>
                  <a:pt x="884662" y="719363"/>
                  <a:pt x="884662" y="719363"/>
                </a:cubicBezTo>
                <a:cubicBezTo>
                  <a:pt x="884662" y="719363"/>
                  <a:pt x="876685" y="717363"/>
                  <a:pt x="874690" y="721363"/>
                </a:cubicBezTo>
                <a:cubicBezTo>
                  <a:pt x="872696" y="727363"/>
                  <a:pt x="868707" y="727363"/>
                  <a:pt x="866713" y="727363"/>
                </a:cubicBezTo>
                <a:cubicBezTo>
                  <a:pt x="862724" y="727363"/>
                  <a:pt x="856741" y="727363"/>
                  <a:pt x="852753" y="731363"/>
                </a:cubicBezTo>
                <a:cubicBezTo>
                  <a:pt x="850758" y="735363"/>
                  <a:pt x="848764" y="735363"/>
                  <a:pt x="844775" y="735363"/>
                </a:cubicBezTo>
                <a:cubicBezTo>
                  <a:pt x="840787" y="735363"/>
                  <a:pt x="838792" y="737363"/>
                  <a:pt x="838792" y="735363"/>
                </a:cubicBezTo>
                <a:cubicBezTo>
                  <a:pt x="836798" y="733363"/>
                  <a:pt x="832809" y="733363"/>
                  <a:pt x="832809" y="733363"/>
                </a:cubicBezTo>
                <a:cubicBezTo>
                  <a:pt x="832809" y="733363"/>
                  <a:pt x="826826" y="735363"/>
                  <a:pt x="822837" y="733363"/>
                </a:cubicBezTo>
                <a:cubicBezTo>
                  <a:pt x="818849" y="733363"/>
                  <a:pt x="812866" y="731363"/>
                  <a:pt x="810871" y="735363"/>
                </a:cubicBezTo>
                <a:cubicBezTo>
                  <a:pt x="808877" y="737363"/>
                  <a:pt x="814860" y="739363"/>
                  <a:pt x="804888" y="739363"/>
                </a:cubicBezTo>
                <a:cubicBezTo>
                  <a:pt x="796911" y="739363"/>
                  <a:pt x="794917" y="739363"/>
                  <a:pt x="792922" y="739363"/>
                </a:cubicBezTo>
                <a:cubicBezTo>
                  <a:pt x="790928" y="739363"/>
                  <a:pt x="782950" y="739363"/>
                  <a:pt x="782950" y="739363"/>
                </a:cubicBezTo>
                <a:cubicBezTo>
                  <a:pt x="782950" y="739363"/>
                  <a:pt x="780956" y="737363"/>
                  <a:pt x="774973" y="739363"/>
                </a:cubicBezTo>
                <a:cubicBezTo>
                  <a:pt x="768990" y="741363"/>
                  <a:pt x="766996" y="739363"/>
                  <a:pt x="766996" y="735363"/>
                </a:cubicBezTo>
                <a:cubicBezTo>
                  <a:pt x="766996" y="733363"/>
                  <a:pt x="766996" y="731363"/>
                  <a:pt x="763007" y="729363"/>
                </a:cubicBezTo>
                <a:cubicBezTo>
                  <a:pt x="761013" y="727363"/>
                  <a:pt x="757024" y="725363"/>
                  <a:pt x="759018" y="721363"/>
                </a:cubicBezTo>
                <a:cubicBezTo>
                  <a:pt x="763007" y="717363"/>
                  <a:pt x="761013" y="715363"/>
                  <a:pt x="761013" y="715363"/>
                </a:cubicBezTo>
                <a:cubicBezTo>
                  <a:pt x="761013" y="715363"/>
                  <a:pt x="759018" y="711363"/>
                  <a:pt x="761013" y="711363"/>
                </a:cubicBezTo>
                <a:cubicBezTo>
                  <a:pt x="765001" y="711363"/>
                  <a:pt x="765001" y="707363"/>
                  <a:pt x="761013" y="707363"/>
                </a:cubicBezTo>
                <a:cubicBezTo>
                  <a:pt x="759018" y="707363"/>
                  <a:pt x="757024" y="709363"/>
                  <a:pt x="757024" y="705363"/>
                </a:cubicBezTo>
                <a:cubicBezTo>
                  <a:pt x="755030" y="701363"/>
                  <a:pt x="749047" y="703363"/>
                  <a:pt x="749047" y="703363"/>
                </a:cubicBezTo>
                <a:cubicBezTo>
                  <a:pt x="749047" y="703363"/>
                  <a:pt x="747052" y="705363"/>
                  <a:pt x="741069" y="705363"/>
                </a:cubicBezTo>
                <a:cubicBezTo>
                  <a:pt x="735086" y="705363"/>
                  <a:pt x="731097" y="707363"/>
                  <a:pt x="729103" y="705363"/>
                </a:cubicBezTo>
                <a:cubicBezTo>
                  <a:pt x="727109" y="705363"/>
                  <a:pt x="725114" y="701363"/>
                  <a:pt x="721126" y="701363"/>
                </a:cubicBezTo>
                <a:cubicBezTo>
                  <a:pt x="717137" y="701363"/>
                  <a:pt x="705171" y="701363"/>
                  <a:pt x="701182" y="697363"/>
                </a:cubicBezTo>
                <a:cubicBezTo>
                  <a:pt x="699188" y="693363"/>
                  <a:pt x="701182" y="687363"/>
                  <a:pt x="697194" y="687363"/>
                </a:cubicBezTo>
                <a:cubicBezTo>
                  <a:pt x="693205" y="689363"/>
                  <a:pt x="691211" y="687363"/>
                  <a:pt x="691211" y="683363"/>
                </a:cubicBezTo>
                <a:cubicBezTo>
                  <a:pt x="691211" y="679363"/>
                  <a:pt x="687222" y="675363"/>
                  <a:pt x="687222" y="675363"/>
                </a:cubicBezTo>
                <a:cubicBezTo>
                  <a:pt x="687222" y="675363"/>
                  <a:pt x="683233" y="669363"/>
                  <a:pt x="689216" y="667363"/>
                </a:cubicBezTo>
                <a:cubicBezTo>
                  <a:pt x="695199" y="667363"/>
                  <a:pt x="697194" y="665363"/>
                  <a:pt x="701182" y="665363"/>
                </a:cubicBezTo>
                <a:cubicBezTo>
                  <a:pt x="703177" y="665363"/>
                  <a:pt x="703177" y="663363"/>
                  <a:pt x="703177" y="663363"/>
                </a:cubicBezTo>
                <a:cubicBezTo>
                  <a:pt x="703177" y="663363"/>
                  <a:pt x="703177" y="657363"/>
                  <a:pt x="709160" y="659363"/>
                </a:cubicBezTo>
                <a:cubicBezTo>
                  <a:pt x="713148" y="659363"/>
                  <a:pt x="713148" y="659363"/>
                  <a:pt x="713148" y="659363"/>
                </a:cubicBezTo>
                <a:cubicBezTo>
                  <a:pt x="713148" y="659363"/>
                  <a:pt x="719131" y="661363"/>
                  <a:pt x="721126" y="659363"/>
                </a:cubicBezTo>
                <a:cubicBezTo>
                  <a:pt x="723120" y="655363"/>
                  <a:pt x="727109" y="659363"/>
                  <a:pt x="727109" y="659363"/>
                </a:cubicBezTo>
                <a:cubicBezTo>
                  <a:pt x="731097" y="655363"/>
                  <a:pt x="731097" y="655363"/>
                  <a:pt x="731097" y="655363"/>
                </a:cubicBezTo>
                <a:cubicBezTo>
                  <a:pt x="731097" y="655363"/>
                  <a:pt x="737081" y="653363"/>
                  <a:pt x="739075" y="657363"/>
                </a:cubicBezTo>
                <a:cubicBezTo>
                  <a:pt x="739075" y="659363"/>
                  <a:pt x="747052" y="657363"/>
                  <a:pt x="747052" y="655363"/>
                </a:cubicBezTo>
                <a:cubicBezTo>
                  <a:pt x="747052" y="653363"/>
                  <a:pt x="753035" y="649363"/>
                  <a:pt x="755030" y="653363"/>
                </a:cubicBezTo>
                <a:cubicBezTo>
                  <a:pt x="757024" y="655363"/>
                  <a:pt x="761013" y="653363"/>
                  <a:pt x="761013" y="653363"/>
                </a:cubicBezTo>
                <a:cubicBezTo>
                  <a:pt x="763007" y="651363"/>
                  <a:pt x="768990" y="655363"/>
                  <a:pt x="768990" y="655363"/>
                </a:cubicBezTo>
                <a:cubicBezTo>
                  <a:pt x="768990" y="655363"/>
                  <a:pt x="776967" y="657363"/>
                  <a:pt x="778962" y="655363"/>
                </a:cubicBezTo>
                <a:cubicBezTo>
                  <a:pt x="780956" y="653363"/>
                  <a:pt x="786939" y="655363"/>
                  <a:pt x="786939" y="655363"/>
                </a:cubicBezTo>
                <a:cubicBezTo>
                  <a:pt x="786939" y="655363"/>
                  <a:pt x="790928" y="657363"/>
                  <a:pt x="794917" y="655363"/>
                </a:cubicBezTo>
                <a:cubicBezTo>
                  <a:pt x="796911" y="653363"/>
                  <a:pt x="800900" y="657363"/>
                  <a:pt x="800900" y="657363"/>
                </a:cubicBezTo>
                <a:cubicBezTo>
                  <a:pt x="800900" y="657363"/>
                  <a:pt x="804888" y="661363"/>
                  <a:pt x="806883" y="659363"/>
                </a:cubicBezTo>
                <a:cubicBezTo>
                  <a:pt x="806883" y="655363"/>
                  <a:pt x="810871" y="657363"/>
                  <a:pt x="810871" y="657363"/>
                </a:cubicBezTo>
                <a:cubicBezTo>
                  <a:pt x="810871" y="657363"/>
                  <a:pt x="814860" y="659363"/>
                  <a:pt x="816854" y="657363"/>
                </a:cubicBezTo>
                <a:cubicBezTo>
                  <a:pt x="816854" y="655363"/>
                  <a:pt x="820843" y="651363"/>
                  <a:pt x="822837" y="653363"/>
                </a:cubicBezTo>
                <a:cubicBezTo>
                  <a:pt x="824832" y="655363"/>
                  <a:pt x="828820" y="655363"/>
                  <a:pt x="828820" y="653363"/>
                </a:cubicBezTo>
                <a:cubicBezTo>
                  <a:pt x="828820" y="649363"/>
                  <a:pt x="826826" y="649363"/>
                  <a:pt x="824832" y="649363"/>
                </a:cubicBezTo>
                <a:cubicBezTo>
                  <a:pt x="820843" y="651363"/>
                  <a:pt x="818849" y="651363"/>
                  <a:pt x="814860" y="649363"/>
                </a:cubicBezTo>
                <a:cubicBezTo>
                  <a:pt x="812866" y="645363"/>
                  <a:pt x="810871" y="645363"/>
                  <a:pt x="808877" y="645363"/>
                </a:cubicBezTo>
                <a:cubicBezTo>
                  <a:pt x="806883" y="645363"/>
                  <a:pt x="802894" y="643363"/>
                  <a:pt x="802894" y="643363"/>
                </a:cubicBezTo>
                <a:cubicBezTo>
                  <a:pt x="800900" y="641363"/>
                  <a:pt x="800900" y="641363"/>
                  <a:pt x="800900" y="641363"/>
                </a:cubicBezTo>
                <a:cubicBezTo>
                  <a:pt x="800900" y="641363"/>
                  <a:pt x="790928" y="641363"/>
                  <a:pt x="788934" y="639363"/>
                </a:cubicBezTo>
                <a:cubicBezTo>
                  <a:pt x="786939" y="637363"/>
                  <a:pt x="780956" y="635363"/>
                  <a:pt x="776967" y="637363"/>
                </a:cubicBezTo>
                <a:cubicBezTo>
                  <a:pt x="774973" y="637363"/>
                  <a:pt x="768990" y="637363"/>
                  <a:pt x="768990" y="637363"/>
                </a:cubicBezTo>
                <a:cubicBezTo>
                  <a:pt x="765001" y="637363"/>
                  <a:pt x="763007" y="637363"/>
                  <a:pt x="763007" y="637363"/>
                </a:cubicBezTo>
                <a:cubicBezTo>
                  <a:pt x="763007" y="637363"/>
                  <a:pt x="759018" y="635363"/>
                  <a:pt x="757024" y="637363"/>
                </a:cubicBezTo>
                <a:cubicBezTo>
                  <a:pt x="755030" y="641363"/>
                  <a:pt x="751041" y="645363"/>
                  <a:pt x="745058" y="643363"/>
                </a:cubicBezTo>
                <a:cubicBezTo>
                  <a:pt x="739075" y="641363"/>
                  <a:pt x="735086" y="643363"/>
                  <a:pt x="735086" y="643363"/>
                </a:cubicBezTo>
                <a:cubicBezTo>
                  <a:pt x="735086" y="643363"/>
                  <a:pt x="729103" y="643363"/>
                  <a:pt x="729103" y="641363"/>
                </a:cubicBezTo>
                <a:cubicBezTo>
                  <a:pt x="729103" y="637363"/>
                  <a:pt x="727109" y="637363"/>
                  <a:pt x="723120" y="637363"/>
                </a:cubicBezTo>
                <a:cubicBezTo>
                  <a:pt x="721126" y="637363"/>
                  <a:pt x="713148" y="635363"/>
                  <a:pt x="713148" y="635363"/>
                </a:cubicBezTo>
                <a:cubicBezTo>
                  <a:pt x="709160" y="635363"/>
                  <a:pt x="709160" y="635363"/>
                  <a:pt x="709160" y="635363"/>
                </a:cubicBezTo>
                <a:cubicBezTo>
                  <a:pt x="709160" y="635363"/>
                  <a:pt x="703177" y="639363"/>
                  <a:pt x="697194" y="639363"/>
                </a:cubicBezTo>
                <a:cubicBezTo>
                  <a:pt x="691211" y="637363"/>
                  <a:pt x="693205" y="635363"/>
                  <a:pt x="693205" y="635363"/>
                </a:cubicBezTo>
                <a:cubicBezTo>
                  <a:pt x="693205" y="635363"/>
                  <a:pt x="689216" y="633363"/>
                  <a:pt x="685227" y="631363"/>
                </a:cubicBezTo>
                <a:cubicBezTo>
                  <a:pt x="679244" y="631363"/>
                  <a:pt x="679244" y="621363"/>
                  <a:pt x="681239" y="621363"/>
                </a:cubicBezTo>
                <a:cubicBezTo>
                  <a:pt x="683233" y="619363"/>
                  <a:pt x="691211" y="615363"/>
                  <a:pt x="691211" y="615363"/>
                </a:cubicBezTo>
                <a:cubicBezTo>
                  <a:pt x="691211" y="615363"/>
                  <a:pt x="697194" y="613363"/>
                  <a:pt x="701182" y="613363"/>
                </a:cubicBezTo>
                <a:cubicBezTo>
                  <a:pt x="705171" y="613363"/>
                  <a:pt x="709160" y="611363"/>
                  <a:pt x="709160" y="611363"/>
                </a:cubicBezTo>
                <a:cubicBezTo>
                  <a:pt x="719131" y="611363"/>
                  <a:pt x="719131" y="611363"/>
                  <a:pt x="719131" y="611363"/>
                </a:cubicBezTo>
                <a:cubicBezTo>
                  <a:pt x="719131" y="611363"/>
                  <a:pt x="725114" y="611363"/>
                  <a:pt x="727109" y="607363"/>
                </a:cubicBezTo>
                <a:cubicBezTo>
                  <a:pt x="729103" y="605363"/>
                  <a:pt x="735086" y="607363"/>
                  <a:pt x="735086" y="607363"/>
                </a:cubicBezTo>
                <a:cubicBezTo>
                  <a:pt x="735086" y="607363"/>
                  <a:pt x="737081" y="611363"/>
                  <a:pt x="739075" y="611363"/>
                </a:cubicBezTo>
                <a:cubicBezTo>
                  <a:pt x="741069" y="611363"/>
                  <a:pt x="743064" y="607363"/>
                  <a:pt x="743064" y="607363"/>
                </a:cubicBezTo>
                <a:cubicBezTo>
                  <a:pt x="743064" y="607363"/>
                  <a:pt x="739075" y="607363"/>
                  <a:pt x="743064" y="603363"/>
                </a:cubicBezTo>
                <a:cubicBezTo>
                  <a:pt x="747052" y="599363"/>
                  <a:pt x="747052" y="603363"/>
                  <a:pt x="747052" y="603363"/>
                </a:cubicBezTo>
                <a:cubicBezTo>
                  <a:pt x="747052" y="603363"/>
                  <a:pt x="751041" y="605363"/>
                  <a:pt x="753035" y="603363"/>
                </a:cubicBezTo>
                <a:cubicBezTo>
                  <a:pt x="757024" y="599363"/>
                  <a:pt x="759018" y="601363"/>
                  <a:pt x="759018" y="601363"/>
                </a:cubicBezTo>
                <a:cubicBezTo>
                  <a:pt x="761013" y="599363"/>
                  <a:pt x="761013" y="599363"/>
                  <a:pt x="761013" y="599363"/>
                </a:cubicBezTo>
                <a:cubicBezTo>
                  <a:pt x="759018" y="595363"/>
                  <a:pt x="759018" y="595363"/>
                  <a:pt x="759018" y="595363"/>
                </a:cubicBezTo>
                <a:cubicBezTo>
                  <a:pt x="759018" y="595363"/>
                  <a:pt x="751041" y="601363"/>
                  <a:pt x="749047" y="599363"/>
                </a:cubicBezTo>
                <a:cubicBezTo>
                  <a:pt x="747052" y="595363"/>
                  <a:pt x="743064" y="599363"/>
                  <a:pt x="743064" y="599363"/>
                </a:cubicBezTo>
                <a:cubicBezTo>
                  <a:pt x="743064" y="599363"/>
                  <a:pt x="739075" y="595363"/>
                  <a:pt x="739075" y="599363"/>
                </a:cubicBezTo>
                <a:cubicBezTo>
                  <a:pt x="737081" y="603363"/>
                  <a:pt x="733092" y="601363"/>
                  <a:pt x="733092" y="601363"/>
                </a:cubicBezTo>
                <a:cubicBezTo>
                  <a:pt x="729103" y="601363"/>
                  <a:pt x="729103" y="601363"/>
                  <a:pt x="729103" y="601363"/>
                </a:cubicBezTo>
                <a:cubicBezTo>
                  <a:pt x="725114" y="601363"/>
                  <a:pt x="725114" y="601363"/>
                  <a:pt x="725114" y="601363"/>
                </a:cubicBezTo>
                <a:cubicBezTo>
                  <a:pt x="725114" y="601363"/>
                  <a:pt x="723120" y="603363"/>
                  <a:pt x="719131" y="603363"/>
                </a:cubicBezTo>
                <a:cubicBezTo>
                  <a:pt x="717137" y="603363"/>
                  <a:pt x="715143" y="603363"/>
                  <a:pt x="715143" y="603363"/>
                </a:cubicBezTo>
                <a:cubicBezTo>
                  <a:pt x="715143" y="603363"/>
                  <a:pt x="709160" y="609363"/>
                  <a:pt x="707165" y="607363"/>
                </a:cubicBezTo>
                <a:cubicBezTo>
                  <a:pt x="705171" y="605363"/>
                  <a:pt x="703177" y="601363"/>
                  <a:pt x="701182" y="603363"/>
                </a:cubicBezTo>
                <a:cubicBezTo>
                  <a:pt x="699188" y="605363"/>
                  <a:pt x="701182" y="607363"/>
                  <a:pt x="697194" y="607363"/>
                </a:cubicBezTo>
                <a:cubicBezTo>
                  <a:pt x="695199" y="605363"/>
                  <a:pt x="693205" y="607363"/>
                  <a:pt x="693205" y="607363"/>
                </a:cubicBezTo>
                <a:cubicBezTo>
                  <a:pt x="693205" y="607363"/>
                  <a:pt x="685227" y="611363"/>
                  <a:pt x="685227" y="607363"/>
                </a:cubicBezTo>
                <a:cubicBezTo>
                  <a:pt x="683233" y="603363"/>
                  <a:pt x="689216" y="603363"/>
                  <a:pt x="689216" y="603363"/>
                </a:cubicBezTo>
                <a:cubicBezTo>
                  <a:pt x="689216" y="603363"/>
                  <a:pt x="693205" y="601363"/>
                  <a:pt x="693205" y="597363"/>
                </a:cubicBezTo>
                <a:cubicBezTo>
                  <a:pt x="695199" y="593363"/>
                  <a:pt x="697194" y="591363"/>
                  <a:pt x="697194" y="591363"/>
                </a:cubicBezTo>
                <a:cubicBezTo>
                  <a:pt x="697194" y="591363"/>
                  <a:pt x="697194" y="589363"/>
                  <a:pt x="693205" y="591363"/>
                </a:cubicBezTo>
                <a:cubicBezTo>
                  <a:pt x="691211" y="591363"/>
                  <a:pt x="691211" y="591363"/>
                  <a:pt x="691211" y="591363"/>
                </a:cubicBezTo>
                <a:cubicBezTo>
                  <a:pt x="691211" y="591363"/>
                  <a:pt x="689216" y="599363"/>
                  <a:pt x="687222" y="595363"/>
                </a:cubicBezTo>
                <a:cubicBezTo>
                  <a:pt x="685227" y="593363"/>
                  <a:pt x="685227" y="591363"/>
                  <a:pt x="681239" y="593363"/>
                </a:cubicBezTo>
                <a:cubicBezTo>
                  <a:pt x="677250" y="597363"/>
                  <a:pt x="673261" y="599363"/>
                  <a:pt x="671267" y="591363"/>
                </a:cubicBezTo>
                <a:cubicBezTo>
                  <a:pt x="671267" y="585363"/>
                  <a:pt x="679244" y="579363"/>
                  <a:pt x="679244" y="579363"/>
                </a:cubicBezTo>
                <a:cubicBezTo>
                  <a:pt x="679244" y="579363"/>
                  <a:pt x="691211" y="573363"/>
                  <a:pt x="689216" y="571363"/>
                </a:cubicBezTo>
                <a:cubicBezTo>
                  <a:pt x="689216" y="569363"/>
                  <a:pt x="693205" y="567363"/>
                  <a:pt x="693205" y="567363"/>
                </a:cubicBezTo>
                <a:cubicBezTo>
                  <a:pt x="693205" y="567363"/>
                  <a:pt x="703177" y="565363"/>
                  <a:pt x="701182" y="561363"/>
                </a:cubicBezTo>
                <a:cubicBezTo>
                  <a:pt x="701182" y="559363"/>
                  <a:pt x="699188" y="555363"/>
                  <a:pt x="699188" y="555363"/>
                </a:cubicBezTo>
                <a:cubicBezTo>
                  <a:pt x="699188" y="555363"/>
                  <a:pt x="695199" y="553363"/>
                  <a:pt x="699188" y="549363"/>
                </a:cubicBezTo>
                <a:cubicBezTo>
                  <a:pt x="699188" y="549363"/>
                  <a:pt x="699188" y="543363"/>
                  <a:pt x="707165" y="543363"/>
                </a:cubicBezTo>
                <a:cubicBezTo>
                  <a:pt x="713148" y="541363"/>
                  <a:pt x="723120" y="541363"/>
                  <a:pt x="727109" y="535363"/>
                </a:cubicBezTo>
                <a:cubicBezTo>
                  <a:pt x="729103" y="529363"/>
                  <a:pt x="741069" y="527363"/>
                  <a:pt x="741069" y="527363"/>
                </a:cubicBezTo>
                <a:cubicBezTo>
                  <a:pt x="741069" y="527363"/>
                  <a:pt x="749047" y="527363"/>
                  <a:pt x="753035" y="523363"/>
                </a:cubicBezTo>
                <a:cubicBezTo>
                  <a:pt x="757024" y="519363"/>
                  <a:pt x="772979" y="517363"/>
                  <a:pt x="772979" y="517363"/>
                </a:cubicBezTo>
                <a:cubicBezTo>
                  <a:pt x="772979" y="517363"/>
                  <a:pt x="774973" y="517363"/>
                  <a:pt x="776967" y="517363"/>
                </a:cubicBezTo>
                <a:cubicBezTo>
                  <a:pt x="778962" y="515363"/>
                  <a:pt x="782950" y="511363"/>
                  <a:pt x="784945" y="511363"/>
                </a:cubicBezTo>
                <a:cubicBezTo>
                  <a:pt x="788934" y="511363"/>
                  <a:pt x="794917" y="511363"/>
                  <a:pt x="796911" y="507363"/>
                </a:cubicBezTo>
                <a:cubicBezTo>
                  <a:pt x="798905" y="503363"/>
                  <a:pt x="806883" y="509363"/>
                  <a:pt x="806883" y="513363"/>
                </a:cubicBezTo>
                <a:cubicBezTo>
                  <a:pt x="804888" y="519363"/>
                  <a:pt x="800900" y="521363"/>
                  <a:pt x="800900" y="521363"/>
                </a:cubicBezTo>
                <a:cubicBezTo>
                  <a:pt x="800900" y="521363"/>
                  <a:pt x="804888" y="525363"/>
                  <a:pt x="804888" y="527363"/>
                </a:cubicBezTo>
                <a:cubicBezTo>
                  <a:pt x="804888" y="531363"/>
                  <a:pt x="802894" y="533363"/>
                  <a:pt x="802894" y="533363"/>
                </a:cubicBezTo>
                <a:cubicBezTo>
                  <a:pt x="802894" y="533363"/>
                  <a:pt x="794917" y="533363"/>
                  <a:pt x="794917" y="537363"/>
                </a:cubicBezTo>
                <a:cubicBezTo>
                  <a:pt x="794917" y="539363"/>
                  <a:pt x="794917" y="543363"/>
                  <a:pt x="790928" y="543363"/>
                </a:cubicBezTo>
                <a:cubicBezTo>
                  <a:pt x="788934" y="543363"/>
                  <a:pt x="786939" y="543363"/>
                  <a:pt x="786939" y="545363"/>
                </a:cubicBezTo>
                <a:cubicBezTo>
                  <a:pt x="786939" y="547363"/>
                  <a:pt x="794917" y="545363"/>
                  <a:pt x="796911" y="545363"/>
                </a:cubicBezTo>
                <a:cubicBezTo>
                  <a:pt x="798905" y="547363"/>
                  <a:pt x="798905" y="541363"/>
                  <a:pt x="798905" y="541363"/>
                </a:cubicBezTo>
                <a:cubicBezTo>
                  <a:pt x="798905" y="541363"/>
                  <a:pt x="804888" y="539363"/>
                  <a:pt x="804888" y="543363"/>
                </a:cubicBezTo>
                <a:cubicBezTo>
                  <a:pt x="804888" y="545363"/>
                  <a:pt x="810871" y="545363"/>
                  <a:pt x="812866" y="545363"/>
                </a:cubicBezTo>
                <a:cubicBezTo>
                  <a:pt x="814860" y="545363"/>
                  <a:pt x="818849" y="543363"/>
                  <a:pt x="814860" y="539363"/>
                </a:cubicBezTo>
                <a:cubicBezTo>
                  <a:pt x="810871" y="533363"/>
                  <a:pt x="816854" y="535363"/>
                  <a:pt x="818849" y="535363"/>
                </a:cubicBezTo>
                <a:cubicBezTo>
                  <a:pt x="820843" y="533363"/>
                  <a:pt x="822837" y="531363"/>
                  <a:pt x="824832" y="529363"/>
                </a:cubicBezTo>
                <a:cubicBezTo>
                  <a:pt x="826826" y="525363"/>
                  <a:pt x="832809" y="521363"/>
                  <a:pt x="834804" y="525363"/>
                </a:cubicBezTo>
                <a:cubicBezTo>
                  <a:pt x="836798" y="531363"/>
                  <a:pt x="840787" y="527363"/>
                  <a:pt x="840787" y="527363"/>
                </a:cubicBezTo>
                <a:cubicBezTo>
                  <a:pt x="844775" y="531363"/>
                  <a:pt x="844775" y="531363"/>
                  <a:pt x="844775" y="531363"/>
                </a:cubicBezTo>
                <a:cubicBezTo>
                  <a:pt x="844775" y="531363"/>
                  <a:pt x="852753" y="529363"/>
                  <a:pt x="852753" y="533363"/>
                </a:cubicBezTo>
                <a:cubicBezTo>
                  <a:pt x="854747" y="537363"/>
                  <a:pt x="860730" y="537363"/>
                  <a:pt x="860730" y="537363"/>
                </a:cubicBezTo>
                <a:cubicBezTo>
                  <a:pt x="860730" y="537363"/>
                  <a:pt x="866713" y="537363"/>
                  <a:pt x="864719" y="541363"/>
                </a:cubicBezTo>
                <a:cubicBezTo>
                  <a:pt x="864719" y="547363"/>
                  <a:pt x="860730" y="551363"/>
                  <a:pt x="858736" y="551363"/>
                </a:cubicBezTo>
                <a:cubicBezTo>
                  <a:pt x="856741" y="551363"/>
                  <a:pt x="850758" y="557363"/>
                  <a:pt x="850758" y="561363"/>
                </a:cubicBezTo>
                <a:cubicBezTo>
                  <a:pt x="850758" y="563363"/>
                  <a:pt x="852753" y="565363"/>
                  <a:pt x="854747" y="561363"/>
                </a:cubicBezTo>
                <a:cubicBezTo>
                  <a:pt x="856741" y="557363"/>
                  <a:pt x="858736" y="551363"/>
                  <a:pt x="860730" y="553363"/>
                </a:cubicBezTo>
                <a:cubicBezTo>
                  <a:pt x="862724" y="557363"/>
                  <a:pt x="862724" y="563363"/>
                  <a:pt x="864719" y="557363"/>
                </a:cubicBezTo>
                <a:cubicBezTo>
                  <a:pt x="866713" y="553363"/>
                  <a:pt x="864719" y="551363"/>
                  <a:pt x="868707" y="551363"/>
                </a:cubicBezTo>
                <a:cubicBezTo>
                  <a:pt x="870702" y="549363"/>
                  <a:pt x="874690" y="551363"/>
                  <a:pt x="874690" y="549363"/>
                </a:cubicBezTo>
                <a:cubicBezTo>
                  <a:pt x="874690" y="547363"/>
                  <a:pt x="876685" y="543363"/>
                  <a:pt x="880673" y="545363"/>
                </a:cubicBezTo>
                <a:cubicBezTo>
                  <a:pt x="882668" y="549363"/>
                  <a:pt x="880673" y="551363"/>
                  <a:pt x="880673" y="551363"/>
                </a:cubicBezTo>
                <a:cubicBezTo>
                  <a:pt x="880673" y="551363"/>
                  <a:pt x="880673" y="553363"/>
                  <a:pt x="882668" y="549363"/>
                </a:cubicBezTo>
                <a:cubicBezTo>
                  <a:pt x="886657" y="547363"/>
                  <a:pt x="888651" y="549363"/>
                  <a:pt x="888651" y="549363"/>
                </a:cubicBezTo>
                <a:cubicBezTo>
                  <a:pt x="888651" y="549363"/>
                  <a:pt x="890645" y="551363"/>
                  <a:pt x="890645" y="547363"/>
                </a:cubicBezTo>
                <a:cubicBezTo>
                  <a:pt x="888651" y="543363"/>
                  <a:pt x="894634" y="545363"/>
                  <a:pt x="894634" y="545363"/>
                </a:cubicBezTo>
                <a:cubicBezTo>
                  <a:pt x="894634" y="545363"/>
                  <a:pt x="898623" y="543363"/>
                  <a:pt x="894634" y="541363"/>
                </a:cubicBezTo>
                <a:cubicBezTo>
                  <a:pt x="890645" y="539363"/>
                  <a:pt x="890645" y="535363"/>
                  <a:pt x="890645" y="535363"/>
                </a:cubicBezTo>
                <a:cubicBezTo>
                  <a:pt x="890645" y="535363"/>
                  <a:pt x="884662" y="531363"/>
                  <a:pt x="886657" y="527363"/>
                </a:cubicBezTo>
                <a:cubicBezTo>
                  <a:pt x="886657" y="525363"/>
                  <a:pt x="888651" y="523363"/>
                  <a:pt x="894634" y="525363"/>
                </a:cubicBezTo>
                <a:cubicBezTo>
                  <a:pt x="900617" y="529363"/>
                  <a:pt x="898623" y="529363"/>
                  <a:pt x="902611" y="529363"/>
                </a:cubicBezTo>
                <a:cubicBezTo>
                  <a:pt x="906600" y="529363"/>
                  <a:pt x="906600" y="533363"/>
                  <a:pt x="906600" y="533363"/>
                </a:cubicBezTo>
                <a:cubicBezTo>
                  <a:pt x="906600" y="533363"/>
                  <a:pt x="904606" y="535363"/>
                  <a:pt x="910589" y="535363"/>
                </a:cubicBezTo>
                <a:cubicBezTo>
                  <a:pt x="914577" y="535363"/>
                  <a:pt x="914577" y="539363"/>
                  <a:pt x="914577" y="539363"/>
                </a:cubicBezTo>
                <a:cubicBezTo>
                  <a:pt x="914577" y="539363"/>
                  <a:pt x="914577" y="539363"/>
                  <a:pt x="916572" y="541363"/>
                </a:cubicBezTo>
                <a:cubicBezTo>
                  <a:pt x="916572" y="543363"/>
                  <a:pt x="916572" y="547363"/>
                  <a:pt x="916572" y="547363"/>
                </a:cubicBezTo>
                <a:cubicBezTo>
                  <a:pt x="916572" y="547363"/>
                  <a:pt x="918566" y="549363"/>
                  <a:pt x="920560" y="549363"/>
                </a:cubicBezTo>
                <a:cubicBezTo>
                  <a:pt x="922555" y="547363"/>
                  <a:pt x="922555" y="551363"/>
                  <a:pt x="922555" y="551363"/>
                </a:cubicBezTo>
                <a:cubicBezTo>
                  <a:pt x="922555" y="551363"/>
                  <a:pt x="924549" y="557363"/>
                  <a:pt x="920560" y="557363"/>
                </a:cubicBezTo>
                <a:cubicBezTo>
                  <a:pt x="918566" y="557363"/>
                  <a:pt x="916572" y="557363"/>
                  <a:pt x="918566" y="559363"/>
                </a:cubicBezTo>
                <a:cubicBezTo>
                  <a:pt x="918566" y="561363"/>
                  <a:pt x="920560" y="563363"/>
                  <a:pt x="920560" y="565363"/>
                </a:cubicBezTo>
                <a:cubicBezTo>
                  <a:pt x="918566" y="567363"/>
                  <a:pt x="918566" y="569363"/>
                  <a:pt x="918566" y="573363"/>
                </a:cubicBezTo>
                <a:cubicBezTo>
                  <a:pt x="918566" y="575363"/>
                  <a:pt x="916572" y="575363"/>
                  <a:pt x="920560" y="575363"/>
                </a:cubicBezTo>
                <a:cubicBezTo>
                  <a:pt x="922555" y="577363"/>
                  <a:pt x="920560" y="579363"/>
                  <a:pt x="920560" y="581363"/>
                </a:cubicBezTo>
                <a:cubicBezTo>
                  <a:pt x="918566" y="581363"/>
                  <a:pt x="918566" y="583363"/>
                  <a:pt x="920560" y="585363"/>
                </a:cubicBezTo>
                <a:cubicBezTo>
                  <a:pt x="922555" y="587363"/>
                  <a:pt x="924549" y="589363"/>
                  <a:pt x="924549" y="589363"/>
                </a:cubicBezTo>
                <a:cubicBezTo>
                  <a:pt x="924549" y="589363"/>
                  <a:pt x="926543" y="591363"/>
                  <a:pt x="928538" y="587363"/>
                </a:cubicBezTo>
                <a:cubicBezTo>
                  <a:pt x="930532" y="585363"/>
                  <a:pt x="936515" y="587363"/>
                  <a:pt x="936515" y="587363"/>
                </a:cubicBezTo>
                <a:cubicBezTo>
                  <a:pt x="936515" y="587363"/>
                  <a:pt x="942498" y="587363"/>
                  <a:pt x="942498" y="581363"/>
                </a:cubicBezTo>
                <a:cubicBezTo>
                  <a:pt x="942498" y="575363"/>
                  <a:pt x="938510" y="577363"/>
                  <a:pt x="938510" y="573363"/>
                </a:cubicBezTo>
                <a:cubicBezTo>
                  <a:pt x="938510" y="567363"/>
                  <a:pt x="938510" y="567363"/>
                  <a:pt x="936515" y="567363"/>
                </a:cubicBezTo>
                <a:cubicBezTo>
                  <a:pt x="934521" y="567363"/>
                  <a:pt x="934521" y="565363"/>
                  <a:pt x="936515" y="561363"/>
                </a:cubicBezTo>
                <a:cubicBezTo>
                  <a:pt x="938510" y="559363"/>
                  <a:pt x="936515" y="557363"/>
                  <a:pt x="936515" y="553363"/>
                </a:cubicBezTo>
                <a:cubicBezTo>
                  <a:pt x="938510" y="549363"/>
                  <a:pt x="938510" y="547363"/>
                  <a:pt x="938510" y="539363"/>
                </a:cubicBezTo>
                <a:cubicBezTo>
                  <a:pt x="938510" y="529363"/>
                  <a:pt x="938510" y="531363"/>
                  <a:pt x="938510" y="529363"/>
                </a:cubicBezTo>
                <a:cubicBezTo>
                  <a:pt x="938510" y="525363"/>
                  <a:pt x="938510" y="521363"/>
                  <a:pt x="942498" y="519363"/>
                </a:cubicBezTo>
                <a:cubicBezTo>
                  <a:pt x="946487" y="517363"/>
                  <a:pt x="946487" y="515363"/>
                  <a:pt x="944493" y="515363"/>
                </a:cubicBezTo>
                <a:cubicBezTo>
                  <a:pt x="942498" y="513363"/>
                  <a:pt x="944493" y="509363"/>
                  <a:pt x="950476" y="511363"/>
                </a:cubicBezTo>
                <a:cubicBezTo>
                  <a:pt x="954464" y="513363"/>
                  <a:pt x="960447" y="511363"/>
                  <a:pt x="960447" y="511363"/>
                </a:cubicBezTo>
                <a:cubicBezTo>
                  <a:pt x="960447" y="511363"/>
                  <a:pt x="962442" y="511363"/>
                  <a:pt x="962442" y="515363"/>
                </a:cubicBezTo>
                <a:cubicBezTo>
                  <a:pt x="962442" y="517363"/>
                  <a:pt x="970419" y="519363"/>
                  <a:pt x="970419" y="517363"/>
                </a:cubicBezTo>
                <a:cubicBezTo>
                  <a:pt x="968425" y="513363"/>
                  <a:pt x="966430" y="511363"/>
                  <a:pt x="972413" y="513363"/>
                </a:cubicBezTo>
                <a:cubicBezTo>
                  <a:pt x="976402" y="513363"/>
                  <a:pt x="982385" y="513363"/>
                  <a:pt x="984380" y="519363"/>
                </a:cubicBezTo>
                <a:cubicBezTo>
                  <a:pt x="984380" y="525363"/>
                  <a:pt x="990363" y="529363"/>
                  <a:pt x="992357" y="529363"/>
                </a:cubicBezTo>
                <a:cubicBezTo>
                  <a:pt x="994351" y="529363"/>
                  <a:pt x="994351" y="529363"/>
                  <a:pt x="992357" y="523363"/>
                </a:cubicBezTo>
                <a:cubicBezTo>
                  <a:pt x="992357" y="517363"/>
                  <a:pt x="986374" y="519363"/>
                  <a:pt x="986374" y="515363"/>
                </a:cubicBezTo>
                <a:cubicBezTo>
                  <a:pt x="986374" y="509363"/>
                  <a:pt x="986374" y="509363"/>
                  <a:pt x="982385" y="509363"/>
                </a:cubicBezTo>
                <a:cubicBezTo>
                  <a:pt x="980391" y="509363"/>
                  <a:pt x="976402" y="509363"/>
                  <a:pt x="974408" y="507363"/>
                </a:cubicBezTo>
                <a:cubicBezTo>
                  <a:pt x="974408" y="503363"/>
                  <a:pt x="964436" y="503363"/>
                  <a:pt x="970419" y="499363"/>
                </a:cubicBezTo>
                <a:cubicBezTo>
                  <a:pt x="976402" y="495363"/>
                  <a:pt x="978396" y="495363"/>
                  <a:pt x="980391" y="491363"/>
                </a:cubicBezTo>
                <a:cubicBezTo>
                  <a:pt x="982385" y="489363"/>
                  <a:pt x="986374" y="491363"/>
                  <a:pt x="988368" y="493363"/>
                </a:cubicBezTo>
                <a:cubicBezTo>
                  <a:pt x="988368" y="495363"/>
                  <a:pt x="994351" y="495363"/>
                  <a:pt x="994351" y="493363"/>
                </a:cubicBezTo>
                <a:cubicBezTo>
                  <a:pt x="996346" y="491363"/>
                  <a:pt x="1000334" y="495363"/>
                  <a:pt x="1000334" y="495363"/>
                </a:cubicBezTo>
                <a:cubicBezTo>
                  <a:pt x="1000334" y="495363"/>
                  <a:pt x="1006317" y="497363"/>
                  <a:pt x="1006317" y="493363"/>
                </a:cubicBezTo>
                <a:cubicBezTo>
                  <a:pt x="1006317" y="490363"/>
                  <a:pt x="1008312" y="488863"/>
                  <a:pt x="1010555" y="488363"/>
                </a:cubicBezTo>
                <a:close/>
                <a:moveTo>
                  <a:pt x="1563875" y="487362"/>
                </a:moveTo>
                <a:cubicBezTo>
                  <a:pt x="1567858" y="487362"/>
                  <a:pt x="1573833" y="491303"/>
                  <a:pt x="1573833" y="491303"/>
                </a:cubicBezTo>
                <a:cubicBezTo>
                  <a:pt x="1573833" y="491303"/>
                  <a:pt x="1573833" y="493274"/>
                  <a:pt x="1577816" y="493274"/>
                </a:cubicBezTo>
                <a:cubicBezTo>
                  <a:pt x="1581800" y="493274"/>
                  <a:pt x="1587774" y="495245"/>
                  <a:pt x="1587774" y="497216"/>
                </a:cubicBezTo>
                <a:cubicBezTo>
                  <a:pt x="1589766" y="499186"/>
                  <a:pt x="1599724" y="499186"/>
                  <a:pt x="1601716" y="497216"/>
                </a:cubicBezTo>
                <a:cubicBezTo>
                  <a:pt x="1603707" y="495245"/>
                  <a:pt x="1609682" y="495245"/>
                  <a:pt x="1609682" y="497216"/>
                </a:cubicBezTo>
                <a:cubicBezTo>
                  <a:pt x="1611674" y="499186"/>
                  <a:pt x="1611674" y="499186"/>
                  <a:pt x="1613665" y="497216"/>
                </a:cubicBezTo>
                <a:cubicBezTo>
                  <a:pt x="1615657" y="495245"/>
                  <a:pt x="1625615" y="493274"/>
                  <a:pt x="1625615" y="495245"/>
                </a:cubicBezTo>
                <a:cubicBezTo>
                  <a:pt x="1627606" y="497216"/>
                  <a:pt x="1627606" y="499186"/>
                  <a:pt x="1631590" y="499186"/>
                </a:cubicBezTo>
                <a:cubicBezTo>
                  <a:pt x="1633581" y="499186"/>
                  <a:pt x="1635573" y="503128"/>
                  <a:pt x="1635573" y="505098"/>
                </a:cubicBezTo>
                <a:cubicBezTo>
                  <a:pt x="1635573" y="505098"/>
                  <a:pt x="1639556" y="509040"/>
                  <a:pt x="1645531" y="509040"/>
                </a:cubicBezTo>
                <a:cubicBezTo>
                  <a:pt x="1649514" y="511010"/>
                  <a:pt x="1651506" y="511010"/>
                  <a:pt x="1651506" y="514952"/>
                </a:cubicBezTo>
                <a:cubicBezTo>
                  <a:pt x="1649514" y="514952"/>
                  <a:pt x="1651506" y="518893"/>
                  <a:pt x="1655489" y="518893"/>
                </a:cubicBezTo>
                <a:cubicBezTo>
                  <a:pt x="1657480" y="518893"/>
                  <a:pt x="1657480" y="520864"/>
                  <a:pt x="1655489" y="522834"/>
                </a:cubicBezTo>
                <a:cubicBezTo>
                  <a:pt x="1653497" y="524805"/>
                  <a:pt x="1653497" y="524805"/>
                  <a:pt x="1653497" y="526776"/>
                </a:cubicBezTo>
                <a:cubicBezTo>
                  <a:pt x="1655489" y="528747"/>
                  <a:pt x="1657480" y="530717"/>
                  <a:pt x="1659472" y="530717"/>
                </a:cubicBezTo>
                <a:cubicBezTo>
                  <a:pt x="1661464" y="528747"/>
                  <a:pt x="1663455" y="532688"/>
                  <a:pt x="1661464" y="534659"/>
                </a:cubicBezTo>
                <a:cubicBezTo>
                  <a:pt x="1661464" y="536629"/>
                  <a:pt x="1657480" y="536629"/>
                  <a:pt x="1657480" y="534659"/>
                </a:cubicBezTo>
                <a:cubicBezTo>
                  <a:pt x="1655489" y="534659"/>
                  <a:pt x="1653497" y="532688"/>
                  <a:pt x="1651506" y="534659"/>
                </a:cubicBezTo>
                <a:cubicBezTo>
                  <a:pt x="1649514" y="536629"/>
                  <a:pt x="1649514" y="538600"/>
                  <a:pt x="1645531" y="534659"/>
                </a:cubicBezTo>
                <a:cubicBezTo>
                  <a:pt x="1643539" y="532688"/>
                  <a:pt x="1641548" y="530717"/>
                  <a:pt x="1637564" y="530717"/>
                </a:cubicBezTo>
                <a:cubicBezTo>
                  <a:pt x="1633581" y="532688"/>
                  <a:pt x="1631590" y="534659"/>
                  <a:pt x="1627606" y="532688"/>
                </a:cubicBezTo>
                <a:cubicBezTo>
                  <a:pt x="1621632" y="530717"/>
                  <a:pt x="1617648" y="530717"/>
                  <a:pt x="1615657" y="532688"/>
                </a:cubicBezTo>
                <a:cubicBezTo>
                  <a:pt x="1611674" y="534659"/>
                  <a:pt x="1607690" y="532688"/>
                  <a:pt x="1605699" y="532688"/>
                </a:cubicBezTo>
                <a:cubicBezTo>
                  <a:pt x="1603707" y="530717"/>
                  <a:pt x="1599724" y="530717"/>
                  <a:pt x="1595741" y="534659"/>
                </a:cubicBezTo>
                <a:cubicBezTo>
                  <a:pt x="1593749" y="538600"/>
                  <a:pt x="1587774" y="538600"/>
                  <a:pt x="1587774" y="540571"/>
                </a:cubicBezTo>
                <a:cubicBezTo>
                  <a:pt x="1587774" y="540571"/>
                  <a:pt x="1579808" y="544512"/>
                  <a:pt x="1577816" y="542541"/>
                </a:cubicBezTo>
                <a:cubicBezTo>
                  <a:pt x="1575825" y="538600"/>
                  <a:pt x="1573833" y="538600"/>
                  <a:pt x="1571842" y="540571"/>
                </a:cubicBezTo>
                <a:cubicBezTo>
                  <a:pt x="1569850" y="540571"/>
                  <a:pt x="1569850" y="540571"/>
                  <a:pt x="1567858" y="536629"/>
                </a:cubicBezTo>
                <a:cubicBezTo>
                  <a:pt x="1565867" y="532688"/>
                  <a:pt x="1565867" y="534659"/>
                  <a:pt x="1563875" y="532688"/>
                </a:cubicBezTo>
                <a:cubicBezTo>
                  <a:pt x="1563875" y="532688"/>
                  <a:pt x="1561884" y="530717"/>
                  <a:pt x="1563875" y="526776"/>
                </a:cubicBezTo>
                <a:cubicBezTo>
                  <a:pt x="1565867" y="522834"/>
                  <a:pt x="1567858" y="518893"/>
                  <a:pt x="1565867" y="518893"/>
                </a:cubicBezTo>
                <a:cubicBezTo>
                  <a:pt x="1563875" y="516922"/>
                  <a:pt x="1557900" y="518893"/>
                  <a:pt x="1555909" y="514952"/>
                </a:cubicBezTo>
                <a:cubicBezTo>
                  <a:pt x="1553917" y="511010"/>
                  <a:pt x="1553917" y="507069"/>
                  <a:pt x="1555909" y="503128"/>
                </a:cubicBezTo>
                <a:cubicBezTo>
                  <a:pt x="1557900" y="499186"/>
                  <a:pt x="1557900" y="499186"/>
                  <a:pt x="1557900" y="499186"/>
                </a:cubicBezTo>
                <a:cubicBezTo>
                  <a:pt x="1557900" y="499186"/>
                  <a:pt x="1557900" y="489333"/>
                  <a:pt x="1563875" y="487362"/>
                </a:cubicBezTo>
                <a:close/>
                <a:moveTo>
                  <a:pt x="1129598" y="484358"/>
                </a:moveTo>
                <a:cubicBezTo>
                  <a:pt x="1130849" y="484609"/>
                  <a:pt x="1131849" y="485614"/>
                  <a:pt x="1131849" y="486618"/>
                </a:cubicBezTo>
                <a:cubicBezTo>
                  <a:pt x="1131849" y="488628"/>
                  <a:pt x="1131849" y="488628"/>
                  <a:pt x="1133851" y="488628"/>
                </a:cubicBezTo>
                <a:cubicBezTo>
                  <a:pt x="1135853" y="488628"/>
                  <a:pt x="1137854" y="490637"/>
                  <a:pt x="1137854" y="490637"/>
                </a:cubicBezTo>
                <a:cubicBezTo>
                  <a:pt x="1139856" y="492646"/>
                  <a:pt x="1141858" y="494655"/>
                  <a:pt x="1145861" y="494655"/>
                </a:cubicBezTo>
                <a:cubicBezTo>
                  <a:pt x="1147863" y="494655"/>
                  <a:pt x="1151866" y="492646"/>
                  <a:pt x="1153867" y="492646"/>
                </a:cubicBezTo>
                <a:cubicBezTo>
                  <a:pt x="1157871" y="492646"/>
                  <a:pt x="1159872" y="492646"/>
                  <a:pt x="1161874" y="490637"/>
                </a:cubicBezTo>
                <a:cubicBezTo>
                  <a:pt x="1161874" y="490637"/>
                  <a:pt x="1165877" y="490637"/>
                  <a:pt x="1165877" y="490637"/>
                </a:cubicBezTo>
                <a:cubicBezTo>
                  <a:pt x="1167879" y="490637"/>
                  <a:pt x="1171882" y="490637"/>
                  <a:pt x="1173884" y="488628"/>
                </a:cubicBezTo>
                <a:cubicBezTo>
                  <a:pt x="1175885" y="486618"/>
                  <a:pt x="1185894" y="484609"/>
                  <a:pt x="1185894" y="484609"/>
                </a:cubicBezTo>
                <a:cubicBezTo>
                  <a:pt x="1185894" y="484609"/>
                  <a:pt x="1193900" y="484609"/>
                  <a:pt x="1195902" y="490637"/>
                </a:cubicBezTo>
                <a:cubicBezTo>
                  <a:pt x="1195902" y="498673"/>
                  <a:pt x="1187895" y="494655"/>
                  <a:pt x="1187895" y="494655"/>
                </a:cubicBezTo>
                <a:cubicBezTo>
                  <a:pt x="1187895" y="494655"/>
                  <a:pt x="1187895" y="496664"/>
                  <a:pt x="1185894" y="496664"/>
                </a:cubicBezTo>
                <a:cubicBezTo>
                  <a:pt x="1185894" y="498673"/>
                  <a:pt x="1181890" y="498673"/>
                  <a:pt x="1181890" y="498673"/>
                </a:cubicBezTo>
                <a:cubicBezTo>
                  <a:pt x="1181890" y="498673"/>
                  <a:pt x="1177887" y="496664"/>
                  <a:pt x="1177887" y="500683"/>
                </a:cubicBezTo>
                <a:cubicBezTo>
                  <a:pt x="1175885" y="504701"/>
                  <a:pt x="1181890" y="502692"/>
                  <a:pt x="1181890" y="500683"/>
                </a:cubicBezTo>
                <a:cubicBezTo>
                  <a:pt x="1183892" y="500683"/>
                  <a:pt x="1187895" y="500683"/>
                  <a:pt x="1187895" y="502692"/>
                </a:cubicBezTo>
                <a:cubicBezTo>
                  <a:pt x="1185894" y="506710"/>
                  <a:pt x="1181890" y="510728"/>
                  <a:pt x="1177887" y="508719"/>
                </a:cubicBezTo>
                <a:cubicBezTo>
                  <a:pt x="1173884" y="508719"/>
                  <a:pt x="1173884" y="508719"/>
                  <a:pt x="1173884" y="512738"/>
                </a:cubicBezTo>
                <a:cubicBezTo>
                  <a:pt x="1171882" y="514747"/>
                  <a:pt x="1171882" y="518765"/>
                  <a:pt x="1165877" y="518765"/>
                </a:cubicBezTo>
                <a:cubicBezTo>
                  <a:pt x="1161874" y="518765"/>
                  <a:pt x="1155869" y="524793"/>
                  <a:pt x="1155869" y="526802"/>
                </a:cubicBezTo>
                <a:cubicBezTo>
                  <a:pt x="1155869" y="528811"/>
                  <a:pt x="1159872" y="530820"/>
                  <a:pt x="1161874" y="526802"/>
                </a:cubicBezTo>
                <a:cubicBezTo>
                  <a:pt x="1165877" y="520774"/>
                  <a:pt x="1169881" y="524793"/>
                  <a:pt x="1169881" y="524793"/>
                </a:cubicBezTo>
                <a:cubicBezTo>
                  <a:pt x="1169881" y="524793"/>
                  <a:pt x="1175885" y="522784"/>
                  <a:pt x="1175885" y="520774"/>
                </a:cubicBezTo>
                <a:cubicBezTo>
                  <a:pt x="1177887" y="518765"/>
                  <a:pt x="1181890" y="518765"/>
                  <a:pt x="1179889" y="520774"/>
                </a:cubicBezTo>
                <a:cubicBezTo>
                  <a:pt x="1179889" y="524793"/>
                  <a:pt x="1177887" y="526802"/>
                  <a:pt x="1177887" y="526802"/>
                </a:cubicBezTo>
                <a:cubicBezTo>
                  <a:pt x="1177887" y="526802"/>
                  <a:pt x="1179889" y="526802"/>
                  <a:pt x="1181890" y="530820"/>
                </a:cubicBezTo>
                <a:cubicBezTo>
                  <a:pt x="1181890" y="532829"/>
                  <a:pt x="1181890" y="534839"/>
                  <a:pt x="1181890" y="534839"/>
                </a:cubicBezTo>
                <a:cubicBezTo>
                  <a:pt x="1181890" y="534839"/>
                  <a:pt x="1183892" y="536848"/>
                  <a:pt x="1183892" y="538857"/>
                </a:cubicBezTo>
                <a:cubicBezTo>
                  <a:pt x="1181890" y="540866"/>
                  <a:pt x="1181890" y="542875"/>
                  <a:pt x="1181890" y="542875"/>
                </a:cubicBezTo>
                <a:cubicBezTo>
                  <a:pt x="1181890" y="542875"/>
                  <a:pt x="1177887" y="544884"/>
                  <a:pt x="1179889" y="546894"/>
                </a:cubicBezTo>
                <a:cubicBezTo>
                  <a:pt x="1181890" y="548903"/>
                  <a:pt x="1185894" y="546894"/>
                  <a:pt x="1187895" y="544884"/>
                </a:cubicBezTo>
                <a:cubicBezTo>
                  <a:pt x="1187895" y="542875"/>
                  <a:pt x="1191899" y="542875"/>
                  <a:pt x="1193900" y="544884"/>
                </a:cubicBezTo>
                <a:cubicBezTo>
                  <a:pt x="1195902" y="548903"/>
                  <a:pt x="1193900" y="548903"/>
                  <a:pt x="1195902" y="548903"/>
                </a:cubicBezTo>
                <a:cubicBezTo>
                  <a:pt x="1199905" y="548903"/>
                  <a:pt x="1199905" y="556939"/>
                  <a:pt x="1195902" y="558949"/>
                </a:cubicBezTo>
                <a:cubicBezTo>
                  <a:pt x="1193900" y="560958"/>
                  <a:pt x="1189897" y="560958"/>
                  <a:pt x="1189897" y="560958"/>
                </a:cubicBezTo>
                <a:cubicBezTo>
                  <a:pt x="1189897" y="560958"/>
                  <a:pt x="1187895" y="562967"/>
                  <a:pt x="1183892" y="562967"/>
                </a:cubicBezTo>
                <a:cubicBezTo>
                  <a:pt x="1181890" y="562967"/>
                  <a:pt x="1179889" y="562967"/>
                  <a:pt x="1181890" y="564976"/>
                </a:cubicBezTo>
                <a:cubicBezTo>
                  <a:pt x="1183892" y="566985"/>
                  <a:pt x="1187895" y="566985"/>
                  <a:pt x="1185894" y="568994"/>
                </a:cubicBezTo>
                <a:cubicBezTo>
                  <a:pt x="1181890" y="571004"/>
                  <a:pt x="1181890" y="571004"/>
                  <a:pt x="1183892" y="573013"/>
                </a:cubicBezTo>
                <a:cubicBezTo>
                  <a:pt x="1183892" y="575022"/>
                  <a:pt x="1187895" y="579040"/>
                  <a:pt x="1183892" y="583059"/>
                </a:cubicBezTo>
                <a:cubicBezTo>
                  <a:pt x="1181890" y="587077"/>
                  <a:pt x="1179889" y="585068"/>
                  <a:pt x="1179889" y="585068"/>
                </a:cubicBezTo>
                <a:cubicBezTo>
                  <a:pt x="1179889" y="585068"/>
                  <a:pt x="1175885" y="585068"/>
                  <a:pt x="1173884" y="589086"/>
                </a:cubicBezTo>
                <a:cubicBezTo>
                  <a:pt x="1173884" y="591095"/>
                  <a:pt x="1171882" y="593105"/>
                  <a:pt x="1167879" y="593105"/>
                </a:cubicBezTo>
                <a:cubicBezTo>
                  <a:pt x="1165877" y="593105"/>
                  <a:pt x="1165877" y="593105"/>
                  <a:pt x="1161874" y="593105"/>
                </a:cubicBezTo>
                <a:cubicBezTo>
                  <a:pt x="1157871" y="593105"/>
                  <a:pt x="1155869" y="595114"/>
                  <a:pt x="1153867" y="593105"/>
                </a:cubicBezTo>
                <a:cubicBezTo>
                  <a:pt x="1151866" y="593105"/>
                  <a:pt x="1149864" y="591095"/>
                  <a:pt x="1149864" y="589086"/>
                </a:cubicBezTo>
                <a:cubicBezTo>
                  <a:pt x="1151866" y="587077"/>
                  <a:pt x="1151866" y="585068"/>
                  <a:pt x="1149864" y="585068"/>
                </a:cubicBezTo>
                <a:cubicBezTo>
                  <a:pt x="1145861" y="587077"/>
                  <a:pt x="1145861" y="589086"/>
                  <a:pt x="1145861" y="593105"/>
                </a:cubicBezTo>
                <a:cubicBezTo>
                  <a:pt x="1145861" y="595114"/>
                  <a:pt x="1149864" y="595114"/>
                  <a:pt x="1149864" y="599132"/>
                </a:cubicBezTo>
                <a:cubicBezTo>
                  <a:pt x="1147863" y="601141"/>
                  <a:pt x="1149864" y="601141"/>
                  <a:pt x="1145861" y="601141"/>
                </a:cubicBezTo>
                <a:cubicBezTo>
                  <a:pt x="1143859" y="601141"/>
                  <a:pt x="1139856" y="603150"/>
                  <a:pt x="1139856" y="607169"/>
                </a:cubicBezTo>
                <a:cubicBezTo>
                  <a:pt x="1137854" y="609178"/>
                  <a:pt x="1135853" y="611187"/>
                  <a:pt x="1131849" y="609178"/>
                </a:cubicBezTo>
                <a:cubicBezTo>
                  <a:pt x="1127846" y="607169"/>
                  <a:pt x="1127846" y="603150"/>
                  <a:pt x="1127846" y="603150"/>
                </a:cubicBezTo>
                <a:cubicBezTo>
                  <a:pt x="1127846" y="603150"/>
                  <a:pt x="1127846" y="603150"/>
                  <a:pt x="1123843" y="605160"/>
                </a:cubicBezTo>
                <a:cubicBezTo>
                  <a:pt x="1121841" y="605160"/>
                  <a:pt x="1119840" y="607169"/>
                  <a:pt x="1119840" y="603150"/>
                </a:cubicBezTo>
                <a:cubicBezTo>
                  <a:pt x="1121841" y="599132"/>
                  <a:pt x="1123843" y="597123"/>
                  <a:pt x="1121841" y="595114"/>
                </a:cubicBezTo>
                <a:cubicBezTo>
                  <a:pt x="1121841" y="595114"/>
                  <a:pt x="1119840" y="593105"/>
                  <a:pt x="1119840" y="593105"/>
                </a:cubicBezTo>
                <a:cubicBezTo>
                  <a:pt x="1119840" y="593105"/>
                  <a:pt x="1115836" y="595114"/>
                  <a:pt x="1115836" y="591095"/>
                </a:cubicBezTo>
                <a:cubicBezTo>
                  <a:pt x="1115836" y="587077"/>
                  <a:pt x="1115836" y="587077"/>
                  <a:pt x="1111833" y="587077"/>
                </a:cubicBezTo>
                <a:cubicBezTo>
                  <a:pt x="1109831" y="587077"/>
                  <a:pt x="1103827" y="591095"/>
                  <a:pt x="1105828" y="583059"/>
                </a:cubicBezTo>
                <a:cubicBezTo>
                  <a:pt x="1105828" y="575022"/>
                  <a:pt x="1103827" y="573013"/>
                  <a:pt x="1101825" y="575022"/>
                </a:cubicBezTo>
                <a:cubicBezTo>
                  <a:pt x="1099823" y="575022"/>
                  <a:pt x="1095820" y="575022"/>
                  <a:pt x="1095820" y="573013"/>
                </a:cubicBezTo>
                <a:cubicBezTo>
                  <a:pt x="1095820" y="568994"/>
                  <a:pt x="1095820" y="568994"/>
                  <a:pt x="1095820" y="568994"/>
                </a:cubicBezTo>
                <a:cubicBezTo>
                  <a:pt x="1095820" y="568994"/>
                  <a:pt x="1093818" y="568994"/>
                  <a:pt x="1093818" y="566985"/>
                </a:cubicBezTo>
                <a:cubicBezTo>
                  <a:pt x="1093818" y="564976"/>
                  <a:pt x="1091817" y="562967"/>
                  <a:pt x="1089815" y="564976"/>
                </a:cubicBezTo>
                <a:cubicBezTo>
                  <a:pt x="1089815" y="566985"/>
                  <a:pt x="1089815" y="568994"/>
                  <a:pt x="1085812" y="568994"/>
                </a:cubicBezTo>
                <a:cubicBezTo>
                  <a:pt x="1081809" y="568994"/>
                  <a:pt x="1081809" y="568994"/>
                  <a:pt x="1081809" y="568994"/>
                </a:cubicBezTo>
                <a:cubicBezTo>
                  <a:pt x="1081809" y="568994"/>
                  <a:pt x="1079807" y="568994"/>
                  <a:pt x="1079807" y="566985"/>
                </a:cubicBezTo>
                <a:cubicBezTo>
                  <a:pt x="1079807" y="564976"/>
                  <a:pt x="1079807" y="564976"/>
                  <a:pt x="1077805" y="564976"/>
                </a:cubicBezTo>
                <a:cubicBezTo>
                  <a:pt x="1075804" y="564976"/>
                  <a:pt x="1075804" y="562967"/>
                  <a:pt x="1075804" y="560958"/>
                </a:cubicBezTo>
                <a:cubicBezTo>
                  <a:pt x="1075804" y="560958"/>
                  <a:pt x="1075804" y="556939"/>
                  <a:pt x="1073802" y="556939"/>
                </a:cubicBezTo>
                <a:cubicBezTo>
                  <a:pt x="1071800" y="556939"/>
                  <a:pt x="1063794" y="556939"/>
                  <a:pt x="1063794" y="550912"/>
                </a:cubicBezTo>
                <a:cubicBezTo>
                  <a:pt x="1061792" y="544884"/>
                  <a:pt x="1061792" y="540866"/>
                  <a:pt x="1063794" y="538857"/>
                </a:cubicBezTo>
                <a:cubicBezTo>
                  <a:pt x="1067797" y="538857"/>
                  <a:pt x="1067797" y="534839"/>
                  <a:pt x="1067797" y="530820"/>
                </a:cubicBezTo>
                <a:cubicBezTo>
                  <a:pt x="1067797" y="526802"/>
                  <a:pt x="1071800" y="526802"/>
                  <a:pt x="1075804" y="524793"/>
                </a:cubicBezTo>
                <a:cubicBezTo>
                  <a:pt x="1077805" y="524793"/>
                  <a:pt x="1083810" y="522784"/>
                  <a:pt x="1081809" y="528811"/>
                </a:cubicBezTo>
                <a:cubicBezTo>
                  <a:pt x="1081809" y="532829"/>
                  <a:pt x="1081809" y="530820"/>
                  <a:pt x="1085812" y="532829"/>
                </a:cubicBezTo>
                <a:cubicBezTo>
                  <a:pt x="1085812" y="534839"/>
                  <a:pt x="1089815" y="534839"/>
                  <a:pt x="1089815" y="538857"/>
                </a:cubicBezTo>
                <a:cubicBezTo>
                  <a:pt x="1089815" y="540866"/>
                  <a:pt x="1089815" y="540866"/>
                  <a:pt x="1091817" y="542875"/>
                </a:cubicBezTo>
                <a:cubicBezTo>
                  <a:pt x="1093818" y="542875"/>
                  <a:pt x="1095820" y="542875"/>
                  <a:pt x="1095820" y="544884"/>
                </a:cubicBezTo>
                <a:cubicBezTo>
                  <a:pt x="1097822" y="546894"/>
                  <a:pt x="1103827" y="546894"/>
                  <a:pt x="1105828" y="544884"/>
                </a:cubicBezTo>
                <a:cubicBezTo>
                  <a:pt x="1107830" y="542875"/>
                  <a:pt x="1107830" y="540866"/>
                  <a:pt x="1109831" y="540866"/>
                </a:cubicBezTo>
                <a:cubicBezTo>
                  <a:pt x="1113835" y="540866"/>
                  <a:pt x="1113835" y="538857"/>
                  <a:pt x="1113835" y="536848"/>
                </a:cubicBezTo>
                <a:cubicBezTo>
                  <a:pt x="1113835" y="534839"/>
                  <a:pt x="1111833" y="532829"/>
                  <a:pt x="1113835" y="530820"/>
                </a:cubicBezTo>
                <a:cubicBezTo>
                  <a:pt x="1117838" y="530820"/>
                  <a:pt x="1117838" y="534839"/>
                  <a:pt x="1119840" y="530820"/>
                </a:cubicBezTo>
                <a:cubicBezTo>
                  <a:pt x="1121841" y="528811"/>
                  <a:pt x="1117838" y="524793"/>
                  <a:pt x="1117838" y="524793"/>
                </a:cubicBezTo>
                <a:cubicBezTo>
                  <a:pt x="1117838" y="524793"/>
                  <a:pt x="1113835" y="526802"/>
                  <a:pt x="1111833" y="522784"/>
                </a:cubicBezTo>
                <a:cubicBezTo>
                  <a:pt x="1111833" y="520774"/>
                  <a:pt x="1111833" y="518765"/>
                  <a:pt x="1115836" y="516756"/>
                </a:cubicBezTo>
                <a:cubicBezTo>
                  <a:pt x="1115836" y="516756"/>
                  <a:pt x="1117838" y="516756"/>
                  <a:pt x="1119840" y="516756"/>
                </a:cubicBezTo>
                <a:cubicBezTo>
                  <a:pt x="1121841" y="518765"/>
                  <a:pt x="1123843" y="516756"/>
                  <a:pt x="1125845" y="514747"/>
                </a:cubicBezTo>
                <a:cubicBezTo>
                  <a:pt x="1125845" y="512738"/>
                  <a:pt x="1121841" y="512738"/>
                  <a:pt x="1119840" y="510728"/>
                </a:cubicBezTo>
                <a:cubicBezTo>
                  <a:pt x="1119840" y="508719"/>
                  <a:pt x="1115836" y="514747"/>
                  <a:pt x="1113835" y="514747"/>
                </a:cubicBezTo>
                <a:cubicBezTo>
                  <a:pt x="1109831" y="514747"/>
                  <a:pt x="1105828" y="518765"/>
                  <a:pt x="1105828" y="516756"/>
                </a:cubicBezTo>
                <a:cubicBezTo>
                  <a:pt x="1105828" y="512738"/>
                  <a:pt x="1101825" y="510728"/>
                  <a:pt x="1101825" y="510728"/>
                </a:cubicBezTo>
                <a:lnTo>
                  <a:pt x="1095820" y="504701"/>
                </a:lnTo>
                <a:cubicBezTo>
                  <a:pt x="1095820" y="504701"/>
                  <a:pt x="1093818" y="500683"/>
                  <a:pt x="1095820" y="498673"/>
                </a:cubicBezTo>
                <a:cubicBezTo>
                  <a:pt x="1099823" y="496664"/>
                  <a:pt x="1103827" y="496664"/>
                  <a:pt x="1103827" y="498673"/>
                </a:cubicBezTo>
                <a:cubicBezTo>
                  <a:pt x="1103827" y="498673"/>
                  <a:pt x="1105828" y="500683"/>
                  <a:pt x="1107830" y="500683"/>
                </a:cubicBezTo>
                <a:cubicBezTo>
                  <a:pt x="1107830" y="500683"/>
                  <a:pt x="1109831" y="500683"/>
                  <a:pt x="1111833" y="502692"/>
                </a:cubicBezTo>
                <a:cubicBezTo>
                  <a:pt x="1111833" y="502692"/>
                  <a:pt x="1113835" y="504701"/>
                  <a:pt x="1115836" y="502692"/>
                </a:cubicBezTo>
                <a:cubicBezTo>
                  <a:pt x="1117838" y="502692"/>
                  <a:pt x="1117838" y="500683"/>
                  <a:pt x="1117838" y="500683"/>
                </a:cubicBezTo>
                <a:cubicBezTo>
                  <a:pt x="1117838" y="500683"/>
                  <a:pt x="1117838" y="496664"/>
                  <a:pt x="1117838" y="496664"/>
                </a:cubicBezTo>
                <a:cubicBezTo>
                  <a:pt x="1117838" y="496664"/>
                  <a:pt x="1115836" y="496664"/>
                  <a:pt x="1113835" y="498673"/>
                </a:cubicBezTo>
                <a:cubicBezTo>
                  <a:pt x="1113835" y="498673"/>
                  <a:pt x="1113835" y="500683"/>
                  <a:pt x="1111833" y="500683"/>
                </a:cubicBezTo>
                <a:cubicBezTo>
                  <a:pt x="1109831" y="498673"/>
                  <a:pt x="1107830" y="498673"/>
                  <a:pt x="1107830" y="498673"/>
                </a:cubicBezTo>
                <a:cubicBezTo>
                  <a:pt x="1107830" y="498673"/>
                  <a:pt x="1103827" y="494655"/>
                  <a:pt x="1105828" y="492646"/>
                </a:cubicBezTo>
                <a:cubicBezTo>
                  <a:pt x="1105828" y="490637"/>
                  <a:pt x="1111833" y="490637"/>
                  <a:pt x="1111833" y="490637"/>
                </a:cubicBezTo>
                <a:cubicBezTo>
                  <a:pt x="1117838" y="488628"/>
                  <a:pt x="1117838" y="488628"/>
                  <a:pt x="1117838" y="488628"/>
                </a:cubicBezTo>
                <a:cubicBezTo>
                  <a:pt x="1117838" y="488628"/>
                  <a:pt x="1119840" y="488628"/>
                  <a:pt x="1119840" y="490637"/>
                </a:cubicBezTo>
                <a:cubicBezTo>
                  <a:pt x="1119840" y="492646"/>
                  <a:pt x="1123843" y="492646"/>
                  <a:pt x="1123843" y="492646"/>
                </a:cubicBezTo>
                <a:cubicBezTo>
                  <a:pt x="1123843" y="492646"/>
                  <a:pt x="1129848" y="492646"/>
                  <a:pt x="1127846" y="490637"/>
                </a:cubicBezTo>
                <a:cubicBezTo>
                  <a:pt x="1127846" y="488628"/>
                  <a:pt x="1123843" y="488628"/>
                  <a:pt x="1125845" y="486618"/>
                </a:cubicBezTo>
                <a:cubicBezTo>
                  <a:pt x="1126845" y="484609"/>
                  <a:pt x="1128347" y="484107"/>
                  <a:pt x="1129598" y="484358"/>
                </a:cubicBezTo>
                <a:close/>
                <a:moveTo>
                  <a:pt x="1175211" y="473393"/>
                </a:moveTo>
                <a:cubicBezTo>
                  <a:pt x="1177240" y="471488"/>
                  <a:pt x="1179268" y="473393"/>
                  <a:pt x="1179268" y="475298"/>
                </a:cubicBezTo>
                <a:cubicBezTo>
                  <a:pt x="1177240" y="477203"/>
                  <a:pt x="1179268" y="479108"/>
                  <a:pt x="1175211" y="481013"/>
                </a:cubicBezTo>
                <a:cubicBezTo>
                  <a:pt x="1173183" y="482918"/>
                  <a:pt x="1173183" y="484823"/>
                  <a:pt x="1173183" y="484823"/>
                </a:cubicBezTo>
                <a:cubicBezTo>
                  <a:pt x="1173183" y="484823"/>
                  <a:pt x="1171154" y="484823"/>
                  <a:pt x="1169126" y="484823"/>
                </a:cubicBezTo>
                <a:cubicBezTo>
                  <a:pt x="1167097" y="484823"/>
                  <a:pt x="1165069" y="484823"/>
                  <a:pt x="1165069" y="486728"/>
                </a:cubicBezTo>
                <a:cubicBezTo>
                  <a:pt x="1165069" y="488633"/>
                  <a:pt x="1161012" y="486728"/>
                  <a:pt x="1161012" y="486728"/>
                </a:cubicBezTo>
                <a:cubicBezTo>
                  <a:pt x="1161012" y="486728"/>
                  <a:pt x="1158983" y="484823"/>
                  <a:pt x="1156955" y="484823"/>
                </a:cubicBezTo>
                <a:cubicBezTo>
                  <a:pt x="1152898" y="486728"/>
                  <a:pt x="1152898" y="490538"/>
                  <a:pt x="1150869" y="488633"/>
                </a:cubicBezTo>
                <a:cubicBezTo>
                  <a:pt x="1148841" y="488633"/>
                  <a:pt x="1142755" y="490538"/>
                  <a:pt x="1142755" y="488633"/>
                </a:cubicBezTo>
                <a:cubicBezTo>
                  <a:pt x="1142755" y="486728"/>
                  <a:pt x="1142755" y="484823"/>
                  <a:pt x="1146812" y="484823"/>
                </a:cubicBezTo>
                <a:cubicBezTo>
                  <a:pt x="1146812" y="484823"/>
                  <a:pt x="1150869" y="484823"/>
                  <a:pt x="1150869" y="481013"/>
                </a:cubicBezTo>
                <a:cubicBezTo>
                  <a:pt x="1152898" y="477203"/>
                  <a:pt x="1156955" y="477203"/>
                  <a:pt x="1158983" y="479108"/>
                </a:cubicBezTo>
                <a:cubicBezTo>
                  <a:pt x="1161012" y="479108"/>
                  <a:pt x="1163040" y="479108"/>
                  <a:pt x="1165069" y="477203"/>
                </a:cubicBezTo>
                <a:cubicBezTo>
                  <a:pt x="1165069" y="475298"/>
                  <a:pt x="1167097" y="475298"/>
                  <a:pt x="1169126" y="475298"/>
                </a:cubicBezTo>
                <a:cubicBezTo>
                  <a:pt x="1171154" y="475298"/>
                  <a:pt x="1175211" y="475298"/>
                  <a:pt x="1175211" y="473393"/>
                </a:cubicBezTo>
                <a:close/>
                <a:moveTo>
                  <a:pt x="1266984" y="471488"/>
                </a:moveTo>
                <a:cubicBezTo>
                  <a:pt x="1266984" y="471488"/>
                  <a:pt x="1268979" y="473482"/>
                  <a:pt x="1268979" y="475476"/>
                </a:cubicBezTo>
                <a:cubicBezTo>
                  <a:pt x="1268979" y="475476"/>
                  <a:pt x="1274964" y="475476"/>
                  <a:pt x="1276959" y="475476"/>
                </a:cubicBezTo>
                <a:cubicBezTo>
                  <a:pt x="1276959" y="475476"/>
                  <a:pt x="1276959" y="471488"/>
                  <a:pt x="1278954" y="471488"/>
                </a:cubicBezTo>
                <a:cubicBezTo>
                  <a:pt x="1278954" y="471488"/>
                  <a:pt x="1288929" y="471488"/>
                  <a:pt x="1288929" y="471488"/>
                </a:cubicBezTo>
                <a:cubicBezTo>
                  <a:pt x="1290924" y="471488"/>
                  <a:pt x="1300899" y="471488"/>
                  <a:pt x="1300899" y="473482"/>
                </a:cubicBezTo>
                <a:cubicBezTo>
                  <a:pt x="1302894" y="475476"/>
                  <a:pt x="1302894" y="477470"/>
                  <a:pt x="1304889" y="479464"/>
                </a:cubicBezTo>
                <a:cubicBezTo>
                  <a:pt x="1306884" y="479464"/>
                  <a:pt x="1308879" y="479464"/>
                  <a:pt x="1310874" y="477470"/>
                </a:cubicBezTo>
                <a:cubicBezTo>
                  <a:pt x="1310874" y="475476"/>
                  <a:pt x="1310874" y="475476"/>
                  <a:pt x="1312869" y="473482"/>
                </a:cubicBezTo>
                <a:cubicBezTo>
                  <a:pt x="1312869" y="473482"/>
                  <a:pt x="1316859" y="475476"/>
                  <a:pt x="1316859" y="475476"/>
                </a:cubicBezTo>
                <a:cubicBezTo>
                  <a:pt x="1316859" y="475476"/>
                  <a:pt x="1322844" y="475476"/>
                  <a:pt x="1324839" y="475476"/>
                </a:cubicBezTo>
                <a:cubicBezTo>
                  <a:pt x="1324839" y="475476"/>
                  <a:pt x="1332819" y="475476"/>
                  <a:pt x="1334814" y="475476"/>
                </a:cubicBezTo>
                <a:cubicBezTo>
                  <a:pt x="1336809" y="477470"/>
                  <a:pt x="1336809" y="479464"/>
                  <a:pt x="1338804" y="479464"/>
                </a:cubicBezTo>
                <a:cubicBezTo>
                  <a:pt x="1338804" y="481458"/>
                  <a:pt x="1350774" y="481458"/>
                  <a:pt x="1352769" y="481458"/>
                </a:cubicBezTo>
                <a:cubicBezTo>
                  <a:pt x="1352769" y="481458"/>
                  <a:pt x="1346784" y="487440"/>
                  <a:pt x="1344789" y="489434"/>
                </a:cubicBezTo>
                <a:cubicBezTo>
                  <a:pt x="1344789" y="489434"/>
                  <a:pt x="1340799" y="493422"/>
                  <a:pt x="1340799" y="493422"/>
                </a:cubicBezTo>
                <a:cubicBezTo>
                  <a:pt x="1338804" y="495416"/>
                  <a:pt x="1338804" y="495416"/>
                  <a:pt x="1338804" y="497410"/>
                </a:cubicBezTo>
                <a:cubicBezTo>
                  <a:pt x="1336809" y="497410"/>
                  <a:pt x="1334814" y="497410"/>
                  <a:pt x="1334814" y="497410"/>
                </a:cubicBezTo>
                <a:cubicBezTo>
                  <a:pt x="1332819" y="499404"/>
                  <a:pt x="1318854" y="517350"/>
                  <a:pt x="1318854" y="517350"/>
                </a:cubicBezTo>
                <a:cubicBezTo>
                  <a:pt x="1318854" y="517350"/>
                  <a:pt x="1318854" y="517350"/>
                  <a:pt x="1306884" y="525326"/>
                </a:cubicBezTo>
                <a:cubicBezTo>
                  <a:pt x="1306884" y="525326"/>
                  <a:pt x="1296909" y="535296"/>
                  <a:pt x="1294914" y="535296"/>
                </a:cubicBezTo>
                <a:cubicBezTo>
                  <a:pt x="1292919" y="537290"/>
                  <a:pt x="1286934" y="533302"/>
                  <a:pt x="1284939" y="535296"/>
                </a:cubicBezTo>
                <a:cubicBezTo>
                  <a:pt x="1282944" y="535296"/>
                  <a:pt x="1278954" y="537290"/>
                  <a:pt x="1278954" y="537290"/>
                </a:cubicBezTo>
                <a:cubicBezTo>
                  <a:pt x="1276959" y="535296"/>
                  <a:pt x="1272969" y="533302"/>
                  <a:pt x="1270974" y="533302"/>
                </a:cubicBezTo>
                <a:cubicBezTo>
                  <a:pt x="1268979" y="533302"/>
                  <a:pt x="1264989" y="535296"/>
                  <a:pt x="1264989" y="535296"/>
                </a:cubicBezTo>
                <a:cubicBezTo>
                  <a:pt x="1264989" y="535296"/>
                  <a:pt x="1259004" y="533302"/>
                  <a:pt x="1253019" y="533302"/>
                </a:cubicBezTo>
                <a:cubicBezTo>
                  <a:pt x="1249029" y="533302"/>
                  <a:pt x="1249029" y="531308"/>
                  <a:pt x="1249029" y="533302"/>
                </a:cubicBezTo>
                <a:cubicBezTo>
                  <a:pt x="1249029" y="535296"/>
                  <a:pt x="1249029" y="539284"/>
                  <a:pt x="1251024" y="539284"/>
                </a:cubicBezTo>
                <a:cubicBezTo>
                  <a:pt x="1253019" y="539284"/>
                  <a:pt x="1259004" y="539284"/>
                  <a:pt x="1259004" y="539284"/>
                </a:cubicBezTo>
                <a:cubicBezTo>
                  <a:pt x="1259004" y="539284"/>
                  <a:pt x="1259004" y="543272"/>
                  <a:pt x="1259004" y="545266"/>
                </a:cubicBezTo>
                <a:cubicBezTo>
                  <a:pt x="1259004" y="547260"/>
                  <a:pt x="1259004" y="549254"/>
                  <a:pt x="1259004" y="551248"/>
                </a:cubicBezTo>
                <a:cubicBezTo>
                  <a:pt x="1259004" y="553242"/>
                  <a:pt x="1255014" y="557230"/>
                  <a:pt x="1251024" y="557230"/>
                </a:cubicBezTo>
                <a:cubicBezTo>
                  <a:pt x="1249029" y="559224"/>
                  <a:pt x="1245039" y="561218"/>
                  <a:pt x="1243044" y="565206"/>
                </a:cubicBezTo>
                <a:cubicBezTo>
                  <a:pt x="1241049" y="569194"/>
                  <a:pt x="1243044" y="575176"/>
                  <a:pt x="1241049" y="575176"/>
                </a:cubicBezTo>
                <a:cubicBezTo>
                  <a:pt x="1239054" y="577170"/>
                  <a:pt x="1237059" y="577170"/>
                  <a:pt x="1235064" y="577170"/>
                </a:cubicBezTo>
                <a:cubicBezTo>
                  <a:pt x="1233069" y="577170"/>
                  <a:pt x="1233069" y="573182"/>
                  <a:pt x="1229079" y="575176"/>
                </a:cubicBezTo>
                <a:cubicBezTo>
                  <a:pt x="1227084" y="575176"/>
                  <a:pt x="1223094" y="577170"/>
                  <a:pt x="1225089" y="577170"/>
                </a:cubicBezTo>
                <a:cubicBezTo>
                  <a:pt x="1229079" y="579164"/>
                  <a:pt x="1231074" y="577170"/>
                  <a:pt x="1233069" y="581158"/>
                </a:cubicBezTo>
                <a:cubicBezTo>
                  <a:pt x="1233069" y="583152"/>
                  <a:pt x="1233069" y="585146"/>
                  <a:pt x="1235064" y="585146"/>
                </a:cubicBezTo>
                <a:cubicBezTo>
                  <a:pt x="1237059" y="585146"/>
                  <a:pt x="1239054" y="587140"/>
                  <a:pt x="1239054" y="585146"/>
                </a:cubicBezTo>
                <a:cubicBezTo>
                  <a:pt x="1241049" y="583152"/>
                  <a:pt x="1245039" y="583152"/>
                  <a:pt x="1245039" y="585146"/>
                </a:cubicBezTo>
                <a:cubicBezTo>
                  <a:pt x="1247034" y="589134"/>
                  <a:pt x="1247034" y="591128"/>
                  <a:pt x="1249029" y="591128"/>
                </a:cubicBezTo>
                <a:cubicBezTo>
                  <a:pt x="1249029" y="595116"/>
                  <a:pt x="1260999" y="599104"/>
                  <a:pt x="1262994" y="601098"/>
                </a:cubicBezTo>
                <a:cubicBezTo>
                  <a:pt x="1262994" y="603092"/>
                  <a:pt x="1262994" y="605086"/>
                  <a:pt x="1262994" y="607080"/>
                </a:cubicBezTo>
                <a:cubicBezTo>
                  <a:pt x="1260999" y="607080"/>
                  <a:pt x="1260999" y="609074"/>
                  <a:pt x="1260999" y="611068"/>
                </a:cubicBezTo>
                <a:cubicBezTo>
                  <a:pt x="1262994" y="613062"/>
                  <a:pt x="1262994" y="615056"/>
                  <a:pt x="1262994" y="617050"/>
                </a:cubicBezTo>
                <a:cubicBezTo>
                  <a:pt x="1260999" y="619044"/>
                  <a:pt x="1259004" y="621038"/>
                  <a:pt x="1259004" y="623032"/>
                </a:cubicBezTo>
                <a:cubicBezTo>
                  <a:pt x="1259004" y="625026"/>
                  <a:pt x="1257009" y="627020"/>
                  <a:pt x="1255014" y="629014"/>
                </a:cubicBezTo>
                <a:cubicBezTo>
                  <a:pt x="1253019" y="629014"/>
                  <a:pt x="1251024" y="631008"/>
                  <a:pt x="1253019" y="631008"/>
                </a:cubicBezTo>
                <a:cubicBezTo>
                  <a:pt x="1255014" y="633002"/>
                  <a:pt x="1257009" y="631008"/>
                  <a:pt x="1259004" y="631008"/>
                </a:cubicBezTo>
                <a:cubicBezTo>
                  <a:pt x="1260999" y="631008"/>
                  <a:pt x="1262994" y="631008"/>
                  <a:pt x="1262994" y="633002"/>
                </a:cubicBezTo>
                <a:cubicBezTo>
                  <a:pt x="1262994" y="634996"/>
                  <a:pt x="1260999" y="636990"/>
                  <a:pt x="1262994" y="638984"/>
                </a:cubicBezTo>
                <a:cubicBezTo>
                  <a:pt x="1262994" y="638984"/>
                  <a:pt x="1270974" y="640978"/>
                  <a:pt x="1270974" y="640978"/>
                </a:cubicBezTo>
                <a:cubicBezTo>
                  <a:pt x="1270974" y="642972"/>
                  <a:pt x="1270974" y="644966"/>
                  <a:pt x="1268979" y="644966"/>
                </a:cubicBezTo>
                <a:cubicBezTo>
                  <a:pt x="1268979" y="644966"/>
                  <a:pt x="1266984" y="644966"/>
                  <a:pt x="1268979" y="646960"/>
                </a:cubicBezTo>
                <a:cubicBezTo>
                  <a:pt x="1268979" y="648954"/>
                  <a:pt x="1270974" y="648954"/>
                  <a:pt x="1270974" y="650948"/>
                </a:cubicBezTo>
                <a:cubicBezTo>
                  <a:pt x="1272969" y="652942"/>
                  <a:pt x="1270974" y="654936"/>
                  <a:pt x="1272969" y="654936"/>
                </a:cubicBezTo>
                <a:cubicBezTo>
                  <a:pt x="1274964" y="654936"/>
                  <a:pt x="1276959" y="654936"/>
                  <a:pt x="1276959" y="652942"/>
                </a:cubicBezTo>
                <a:cubicBezTo>
                  <a:pt x="1278954" y="652942"/>
                  <a:pt x="1280949" y="654936"/>
                  <a:pt x="1280949" y="656930"/>
                </a:cubicBezTo>
                <a:cubicBezTo>
                  <a:pt x="1280949" y="658924"/>
                  <a:pt x="1282944" y="660918"/>
                  <a:pt x="1278954" y="660918"/>
                </a:cubicBezTo>
                <a:cubicBezTo>
                  <a:pt x="1276959" y="660918"/>
                  <a:pt x="1274964" y="660918"/>
                  <a:pt x="1272969" y="662912"/>
                </a:cubicBezTo>
                <a:cubicBezTo>
                  <a:pt x="1272969" y="662912"/>
                  <a:pt x="1270974" y="660918"/>
                  <a:pt x="1268979" y="660918"/>
                </a:cubicBezTo>
                <a:cubicBezTo>
                  <a:pt x="1266984" y="660918"/>
                  <a:pt x="1262994" y="658924"/>
                  <a:pt x="1260999" y="658924"/>
                </a:cubicBezTo>
                <a:cubicBezTo>
                  <a:pt x="1260999" y="658924"/>
                  <a:pt x="1257009" y="658924"/>
                  <a:pt x="1257009" y="660918"/>
                </a:cubicBezTo>
                <a:cubicBezTo>
                  <a:pt x="1257009" y="662912"/>
                  <a:pt x="1259004" y="664906"/>
                  <a:pt x="1260999" y="664906"/>
                </a:cubicBezTo>
                <a:cubicBezTo>
                  <a:pt x="1260999" y="664906"/>
                  <a:pt x="1262994" y="662912"/>
                  <a:pt x="1264989" y="664906"/>
                </a:cubicBezTo>
                <a:cubicBezTo>
                  <a:pt x="1266984" y="666900"/>
                  <a:pt x="1266984" y="668894"/>
                  <a:pt x="1266984" y="668894"/>
                </a:cubicBezTo>
                <a:cubicBezTo>
                  <a:pt x="1266984" y="670888"/>
                  <a:pt x="1260999" y="672882"/>
                  <a:pt x="1259004" y="674876"/>
                </a:cubicBezTo>
                <a:cubicBezTo>
                  <a:pt x="1257009" y="674876"/>
                  <a:pt x="1253019" y="676870"/>
                  <a:pt x="1253019" y="676870"/>
                </a:cubicBezTo>
                <a:cubicBezTo>
                  <a:pt x="1253019" y="676870"/>
                  <a:pt x="1251024" y="678864"/>
                  <a:pt x="1251024" y="678864"/>
                </a:cubicBezTo>
                <a:cubicBezTo>
                  <a:pt x="1251024" y="680858"/>
                  <a:pt x="1253019" y="682852"/>
                  <a:pt x="1255014" y="682852"/>
                </a:cubicBezTo>
                <a:cubicBezTo>
                  <a:pt x="1259004" y="680858"/>
                  <a:pt x="1260999" y="682852"/>
                  <a:pt x="1262994" y="682852"/>
                </a:cubicBezTo>
                <a:cubicBezTo>
                  <a:pt x="1262994" y="682852"/>
                  <a:pt x="1262994" y="684846"/>
                  <a:pt x="1262994" y="686840"/>
                </a:cubicBezTo>
                <a:cubicBezTo>
                  <a:pt x="1262994" y="688834"/>
                  <a:pt x="1266984" y="694816"/>
                  <a:pt x="1266984" y="692822"/>
                </a:cubicBezTo>
                <a:cubicBezTo>
                  <a:pt x="1268979" y="692822"/>
                  <a:pt x="1272969" y="690828"/>
                  <a:pt x="1274964" y="690828"/>
                </a:cubicBezTo>
                <a:cubicBezTo>
                  <a:pt x="1274964" y="688834"/>
                  <a:pt x="1274964" y="686840"/>
                  <a:pt x="1274964" y="686840"/>
                </a:cubicBezTo>
                <a:cubicBezTo>
                  <a:pt x="1276959" y="684846"/>
                  <a:pt x="1278954" y="684846"/>
                  <a:pt x="1278954" y="684846"/>
                </a:cubicBezTo>
                <a:cubicBezTo>
                  <a:pt x="1280949" y="684846"/>
                  <a:pt x="1280949" y="682852"/>
                  <a:pt x="1282944" y="682852"/>
                </a:cubicBezTo>
                <a:cubicBezTo>
                  <a:pt x="1282944" y="680858"/>
                  <a:pt x="1284939" y="682852"/>
                  <a:pt x="1286934" y="682852"/>
                </a:cubicBezTo>
                <a:cubicBezTo>
                  <a:pt x="1288929" y="680858"/>
                  <a:pt x="1290924" y="682852"/>
                  <a:pt x="1290924" y="682852"/>
                </a:cubicBezTo>
                <a:cubicBezTo>
                  <a:pt x="1290924" y="682852"/>
                  <a:pt x="1284939" y="688834"/>
                  <a:pt x="1284939" y="690828"/>
                </a:cubicBezTo>
                <a:cubicBezTo>
                  <a:pt x="1282944" y="690828"/>
                  <a:pt x="1282944" y="694816"/>
                  <a:pt x="1282944" y="698804"/>
                </a:cubicBezTo>
                <a:cubicBezTo>
                  <a:pt x="1284939" y="700798"/>
                  <a:pt x="1288929" y="702792"/>
                  <a:pt x="1288929" y="704786"/>
                </a:cubicBezTo>
                <a:cubicBezTo>
                  <a:pt x="1288929" y="708774"/>
                  <a:pt x="1290924" y="714756"/>
                  <a:pt x="1290924" y="716750"/>
                </a:cubicBezTo>
                <a:cubicBezTo>
                  <a:pt x="1290924" y="718744"/>
                  <a:pt x="1290924" y="724725"/>
                  <a:pt x="1290924" y="726719"/>
                </a:cubicBezTo>
                <a:cubicBezTo>
                  <a:pt x="1290924" y="728713"/>
                  <a:pt x="1288929" y="732701"/>
                  <a:pt x="1288929" y="736689"/>
                </a:cubicBezTo>
                <a:cubicBezTo>
                  <a:pt x="1288929" y="738683"/>
                  <a:pt x="1290924" y="742671"/>
                  <a:pt x="1290924" y="744665"/>
                </a:cubicBezTo>
                <a:cubicBezTo>
                  <a:pt x="1290924" y="746659"/>
                  <a:pt x="1292919" y="750647"/>
                  <a:pt x="1294914" y="748653"/>
                </a:cubicBezTo>
                <a:cubicBezTo>
                  <a:pt x="1294914" y="748653"/>
                  <a:pt x="1298904" y="746659"/>
                  <a:pt x="1300899" y="744665"/>
                </a:cubicBezTo>
                <a:cubicBezTo>
                  <a:pt x="1300899" y="744665"/>
                  <a:pt x="1304889" y="738683"/>
                  <a:pt x="1304889" y="736689"/>
                </a:cubicBezTo>
                <a:cubicBezTo>
                  <a:pt x="1306884" y="734695"/>
                  <a:pt x="1308879" y="728713"/>
                  <a:pt x="1310874" y="726719"/>
                </a:cubicBezTo>
                <a:cubicBezTo>
                  <a:pt x="1310874" y="724725"/>
                  <a:pt x="1310874" y="718744"/>
                  <a:pt x="1310874" y="714756"/>
                </a:cubicBezTo>
                <a:cubicBezTo>
                  <a:pt x="1310874" y="712762"/>
                  <a:pt x="1314864" y="708774"/>
                  <a:pt x="1316859" y="708774"/>
                </a:cubicBezTo>
                <a:cubicBezTo>
                  <a:pt x="1318854" y="708774"/>
                  <a:pt x="1320849" y="706780"/>
                  <a:pt x="1322844" y="704786"/>
                </a:cubicBezTo>
                <a:cubicBezTo>
                  <a:pt x="1324839" y="700798"/>
                  <a:pt x="1330824" y="696810"/>
                  <a:pt x="1332819" y="696810"/>
                </a:cubicBezTo>
                <a:cubicBezTo>
                  <a:pt x="1334814" y="696810"/>
                  <a:pt x="1336809" y="700798"/>
                  <a:pt x="1336809" y="702792"/>
                </a:cubicBezTo>
                <a:cubicBezTo>
                  <a:pt x="1336809" y="704786"/>
                  <a:pt x="1338804" y="712762"/>
                  <a:pt x="1340799" y="712762"/>
                </a:cubicBezTo>
                <a:cubicBezTo>
                  <a:pt x="1342794" y="714756"/>
                  <a:pt x="1350774" y="722731"/>
                  <a:pt x="1350774" y="726719"/>
                </a:cubicBezTo>
                <a:cubicBezTo>
                  <a:pt x="1352769" y="728713"/>
                  <a:pt x="1348779" y="742671"/>
                  <a:pt x="1348779" y="744665"/>
                </a:cubicBezTo>
                <a:cubicBezTo>
                  <a:pt x="1348779" y="746659"/>
                  <a:pt x="1346784" y="750647"/>
                  <a:pt x="1344789" y="750647"/>
                </a:cubicBezTo>
                <a:cubicBezTo>
                  <a:pt x="1344789" y="750647"/>
                  <a:pt x="1340799" y="746659"/>
                  <a:pt x="1340799" y="746659"/>
                </a:cubicBezTo>
                <a:cubicBezTo>
                  <a:pt x="1338804" y="748653"/>
                  <a:pt x="1338804" y="750647"/>
                  <a:pt x="1338804" y="750647"/>
                </a:cubicBezTo>
                <a:cubicBezTo>
                  <a:pt x="1338804" y="752641"/>
                  <a:pt x="1338804" y="760617"/>
                  <a:pt x="1338804" y="762611"/>
                </a:cubicBezTo>
                <a:cubicBezTo>
                  <a:pt x="1338804" y="764605"/>
                  <a:pt x="1340799" y="772581"/>
                  <a:pt x="1340799" y="774575"/>
                </a:cubicBezTo>
                <a:cubicBezTo>
                  <a:pt x="1342794" y="778563"/>
                  <a:pt x="1342794" y="780557"/>
                  <a:pt x="1342794" y="782551"/>
                </a:cubicBezTo>
                <a:cubicBezTo>
                  <a:pt x="1344789" y="784545"/>
                  <a:pt x="1344789" y="784545"/>
                  <a:pt x="1344789" y="786539"/>
                </a:cubicBezTo>
                <a:cubicBezTo>
                  <a:pt x="1344789" y="788533"/>
                  <a:pt x="1342794" y="792521"/>
                  <a:pt x="1344789" y="792521"/>
                </a:cubicBezTo>
                <a:cubicBezTo>
                  <a:pt x="1346784" y="792521"/>
                  <a:pt x="1346784" y="790527"/>
                  <a:pt x="1348779" y="792521"/>
                </a:cubicBezTo>
                <a:cubicBezTo>
                  <a:pt x="1350774" y="796509"/>
                  <a:pt x="1350774" y="802491"/>
                  <a:pt x="1352769" y="802491"/>
                </a:cubicBezTo>
                <a:cubicBezTo>
                  <a:pt x="1354764" y="802491"/>
                  <a:pt x="1360749" y="794515"/>
                  <a:pt x="1362744" y="792521"/>
                </a:cubicBezTo>
                <a:cubicBezTo>
                  <a:pt x="1362744" y="790527"/>
                  <a:pt x="1364739" y="788533"/>
                  <a:pt x="1366734" y="788533"/>
                </a:cubicBezTo>
                <a:cubicBezTo>
                  <a:pt x="1368729" y="788533"/>
                  <a:pt x="1368729" y="790527"/>
                  <a:pt x="1370724" y="788533"/>
                </a:cubicBezTo>
                <a:cubicBezTo>
                  <a:pt x="1372719" y="788533"/>
                  <a:pt x="1374714" y="784545"/>
                  <a:pt x="1374714" y="784545"/>
                </a:cubicBezTo>
                <a:cubicBezTo>
                  <a:pt x="1376709" y="782551"/>
                  <a:pt x="1378704" y="784545"/>
                  <a:pt x="1378704" y="782551"/>
                </a:cubicBezTo>
                <a:cubicBezTo>
                  <a:pt x="1378704" y="780557"/>
                  <a:pt x="1376709" y="778563"/>
                  <a:pt x="1378704" y="774575"/>
                </a:cubicBezTo>
                <a:cubicBezTo>
                  <a:pt x="1378704" y="772581"/>
                  <a:pt x="1384689" y="764605"/>
                  <a:pt x="1384689" y="762611"/>
                </a:cubicBezTo>
                <a:cubicBezTo>
                  <a:pt x="1384689" y="762611"/>
                  <a:pt x="1388679" y="760617"/>
                  <a:pt x="1390674" y="758623"/>
                </a:cubicBezTo>
                <a:cubicBezTo>
                  <a:pt x="1390674" y="758623"/>
                  <a:pt x="1390674" y="752641"/>
                  <a:pt x="1390674" y="750647"/>
                </a:cubicBezTo>
                <a:cubicBezTo>
                  <a:pt x="1390674" y="750647"/>
                  <a:pt x="1394664" y="746659"/>
                  <a:pt x="1396659" y="744665"/>
                </a:cubicBezTo>
                <a:cubicBezTo>
                  <a:pt x="1398654" y="742671"/>
                  <a:pt x="1398654" y="738683"/>
                  <a:pt x="1400649" y="736689"/>
                </a:cubicBezTo>
                <a:cubicBezTo>
                  <a:pt x="1400649" y="734695"/>
                  <a:pt x="1402644" y="734695"/>
                  <a:pt x="1402644" y="732701"/>
                </a:cubicBezTo>
                <a:cubicBezTo>
                  <a:pt x="1404639" y="730707"/>
                  <a:pt x="1404639" y="726719"/>
                  <a:pt x="1404639" y="724725"/>
                </a:cubicBezTo>
                <a:cubicBezTo>
                  <a:pt x="1404639" y="722731"/>
                  <a:pt x="1406634" y="724725"/>
                  <a:pt x="1406634" y="724725"/>
                </a:cubicBezTo>
                <a:cubicBezTo>
                  <a:pt x="1406634" y="724725"/>
                  <a:pt x="1408629" y="728713"/>
                  <a:pt x="1410624" y="728713"/>
                </a:cubicBezTo>
                <a:cubicBezTo>
                  <a:pt x="1410624" y="728713"/>
                  <a:pt x="1412619" y="730707"/>
                  <a:pt x="1414614" y="728713"/>
                </a:cubicBezTo>
                <a:cubicBezTo>
                  <a:pt x="1414614" y="726719"/>
                  <a:pt x="1416609" y="718744"/>
                  <a:pt x="1418604" y="718744"/>
                </a:cubicBezTo>
                <a:cubicBezTo>
                  <a:pt x="1420599" y="716750"/>
                  <a:pt x="1426584" y="718744"/>
                  <a:pt x="1428579" y="718744"/>
                </a:cubicBezTo>
                <a:cubicBezTo>
                  <a:pt x="1428579" y="718744"/>
                  <a:pt x="1426584" y="714756"/>
                  <a:pt x="1426584" y="714756"/>
                </a:cubicBezTo>
                <a:cubicBezTo>
                  <a:pt x="1426584" y="714756"/>
                  <a:pt x="1418604" y="710768"/>
                  <a:pt x="1418604" y="708774"/>
                </a:cubicBezTo>
                <a:cubicBezTo>
                  <a:pt x="1416609" y="708774"/>
                  <a:pt x="1414614" y="708774"/>
                  <a:pt x="1414614" y="706780"/>
                </a:cubicBezTo>
                <a:cubicBezTo>
                  <a:pt x="1414614" y="704786"/>
                  <a:pt x="1414614" y="692822"/>
                  <a:pt x="1414614" y="692822"/>
                </a:cubicBezTo>
                <a:cubicBezTo>
                  <a:pt x="1416609" y="690828"/>
                  <a:pt x="1414614" y="688834"/>
                  <a:pt x="1416609" y="686840"/>
                </a:cubicBezTo>
                <a:cubicBezTo>
                  <a:pt x="1416609" y="682852"/>
                  <a:pt x="1416609" y="682852"/>
                  <a:pt x="1418604" y="682852"/>
                </a:cubicBezTo>
                <a:cubicBezTo>
                  <a:pt x="1420599" y="680858"/>
                  <a:pt x="1424589" y="684846"/>
                  <a:pt x="1426584" y="682852"/>
                </a:cubicBezTo>
                <a:cubicBezTo>
                  <a:pt x="1430574" y="680858"/>
                  <a:pt x="1434564" y="678864"/>
                  <a:pt x="1440549" y="678864"/>
                </a:cubicBezTo>
                <a:cubicBezTo>
                  <a:pt x="1448529" y="678864"/>
                  <a:pt x="1448529" y="680858"/>
                  <a:pt x="1450524" y="680858"/>
                </a:cubicBezTo>
                <a:cubicBezTo>
                  <a:pt x="1452519" y="680858"/>
                  <a:pt x="1456509" y="682852"/>
                  <a:pt x="1460499" y="682852"/>
                </a:cubicBezTo>
                <a:cubicBezTo>
                  <a:pt x="1464489" y="682852"/>
                  <a:pt x="1466484" y="682852"/>
                  <a:pt x="1468479" y="682852"/>
                </a:cubicBezTo>
                <a:cubicBezTo>
                  <a:pt x="1470474" y="682852"/>
                  <a:pt x="1474464" y="682852"/>
                  <a:pt x="1476459" y="682852"/>
                </a:cubicBezTo>
                <a:cubicBezTo>
                  <a:pt x="1478454" y="684846"/>
                  <a:pt x="1482444" y="694816"/>
                  <a:pt x="1482444" y="694816"/>
                </a:cubicBezTo>
                <a:cubicBezTo>
                  <a:pt x="1482444" y="694816"/>
                  <a:pt x="1486433" y="700798"/>
                  <a:pt x="1488428" y="700798"/>
                </a:cubicBezTo>
                <a:cubicBezTo>
                  <a:pt x="1488428" y="704786"/>
                  <a:pt x="1488428" y="704786"/>
                  <a:pt x="1492418" y="704786"/>
                </a:cubicBezTo>
                <a:cubicBezTo>
                  <a:pt x="1494413" y="704786"/>
                  <a:pt x="1500398" y="704786"/>
                  <a:pt x="1502393" y="706780"/>
                </a:cubicBezTo>
                <a:cubicBezTo>
                  <a:pt x="1502393" y="708774"/>
                  <a:pt x="1504388" y="710768"/>
                  <a:pt x="1506383" y="712762"/>
                </a:cubicBezTo>
                <a:cubicBezTo>
                  <a:pt x="1506383" y="712762"/>
                  <a:pt x="1506383" y="714756"/>
                  <a:pt x="1504388" y="714756"/>
                </a:cubicBezTo>
                <a:cubicBezTo>
                  <a:pt x="1500398" y="714756"/>
                  <a:pt x="1498403" y="714756"/>
                  <a:pt x="1498403" y="716750"/>
                </a:cubicBezTo>
                <a:cubicBezTo>
                  <a:pt x="1496408" y="718744"/>
                  <a:pt x="1494413" y="720738"/>
                  <a:pt x="1494413" y="724725"/>
                </a:cubicBezTo>
                <a:cubicBezTo>
                  <a:pt x="1496408" y="726719"/>
                  <a:pt x="1502393" y="724725"/>
                  <a:pt x="1502393" y="726719"/>
                </a:cubicBezTo>
                <a:cubicBezTo>
                  <a:pt x="1504388" y="728713"/>
                  <a:pt x="1502393" y="732701"/>
                  <a:pt x="1502393" y="734695"/>
                </a:cubicBezTo>
                <a:cubicBezTo>
                  <a:pt x="1502393" y="736689"/>
                  <a:pt x="1496408" y="740677"/>
                  <a:pt x="1494413" y="740677"/>
                </a:cubicBezTo>
                <a:cubicBezTo>
                  <a:pt x="1492418" y="740677"/>
                  <a:pt x="1488428" y="738683"/>
                  <a:pt x="1488428" y="740677"/>
                </a:cubicBezTo>
                <a:cubicBezTo>
                  <a:pt x="1486433" y="740677"/>
                  <a:pt x="1484438" y="744665"/>
                  <a:pt x="1484438" y="746659"/>
                </a:cubicBezTo>
                <a:cubicBezTo>
                  <a:pt x="1482444" y="746659"/>
                  <a:pt x="1478454" y="746659"/>
                  <a:pt x="1478454" y="746659"/>
                </a:cubicBezTo>
                <a:cubicBezTo>
                  <a:pt x="1478454" y="746659"/>
                  <a:pt x="1476459" y="744665"/>
                  <a:pt x="1476459" y="742671"/>
                </a:cubicBezTo>
                <a:cubicBezTo>
                  <a:pt x="1474464" y="742671"/>
                  <a:pt x="1470474" y="742671"/>
                  <a:pt x="1468479" y="742671"/>
                </a:cubicBezTo>
                <a:cubicBezTo>
                  <a:pt x="1468479" y="742671"/>
                  <a:pt x="1466484" y="744665"/>
                  <a:pt x="1466484" y="746659"/>
                </a:cubicBezTo>
                <a:cubicBezTo>
                  <a:pt x="1466484" y="746659"/>
                  <a:pt x="1470474" y="748653"/>
                  <a:pt x="1472469" y="748653"/>
                </a:cubicBezTo>
                <a:cubicBezTo>
                  <a:pt x="1474464" y="750647"/>
                  <a:pt x="1474464" y="752641"/>
                  <a:pt x="1474464" y="754635"/>
                </a:cubicBezTo>
                <a:cubicBezTo>
                  <a:pt x="1474464" y="754635"/>
                  <a:pt x="1476459" y="758623"/>
                  <a:pt x="1476459" y="758623"/>
                </a:cubicBezTo>
                <a:cubicBezTo>
                  <a:pt x="1476459" y="758623"/>
                  <a:pt x="1478454" y="754635"/>
                  <a:pt x="1478454" y="758623"/>
                </a:cubicBezTo>
                <a:cubicBezTo>
                  <a:pt x="1480449" y="762611"/>
                  <a:pt x="1478454" y="764605"/>
                  <a:pt x="1478454" y="766599"/>
                </a:cubicBezTo>
                <a:cubicBezTo>
                  <a:pt x="1478454" y="768593"/>
                  <a:pt x="1476459" y="768593"/>
                  <a:pt x="1478454" y="768593"/>
                </a:cubicBezTo>
                <a:cubicBezTo>
                  <a:pt x="1482444" y="768593"/>
                  <a:pt x="1484438" y="774575"/>
                  <a:pt x="1484438" y="776569"/>
                </a:cubicBezTo>
                <a:cubicBezTo>
                  <a:pt x="1484438" y="776569"/>
                  <a:pt x="1490423" y="788533"/>
                  <a:pt x="1488428" y="790527"/>
                </a:cubicBezTo>
                <a:cubicBezTo>
                  <a:pt x="1488428" y="792521"/>
                  <a:pt x="1486433" y="792521"/>
                  <a:pt x="1484438" y="794515"/>
                </a:cubicBezTo>
                <a:cubicBezTo>
                  <a:pt x="1484438" y="796509"/>
                  <a:pt x="1482444" y="800497"/>
                  <a:pt x="1482444" y="802491"/>
                </a:cubicBezTo>
                <a:cubicBezTo>
                  <a:pt x="1482444" y="806479"/>
                  <a:pt x="1482444" y="808473"/>
                  <a:pt x="1480449" y="810467"/>
                </a:cubicBezTo>
                <a:cubicBezTo>
                  <a:pt x="1478454" y="810467"/>
                  <a:pt x="1470474" y="810467"/>
                  <a:pt x="1470474" y="810467"/>
                </a:cubicBezTo>
                <a:cubicBezTo>
                  <a:pt x="1468479" y="812461"/>
                  <a:pt x="1468479" y="816449"/>
                  <a:pt x="1466484" y="818443"/>
                </a:cubicBezTo>
                <a:cubicBezTo>
                  <a:pt x="1466484" y="818443"/>
                  <a:pt x="1460499" y="818443"/>
                  <a:pt x="1458504" y="818443"/>
                </a:cubicBezTo>
                <a:cubicBezTo>
                  <a:pt x="1456509" y="818443"/>
                  <a:pt x="1452519" y="822431"/>
                  <a:pt x="1452519" y="822431"/>
                </a:cubicBezTo>
                <a:cubicBezTo>
                  <a:pt x="1450524" y="824425"/>
                  <a:pt x="1444539" y="826419"/>
                  <a:pt x="1444539" y="826419"/>
                </a:cubicBezTo>
                <a:cubicBezTo>
                  <a:pt x="1444539" y="828413"/>
                  <a:pt x="1440549" y="830407"/>
                  <a:pt x="1440549" y="830407"/>
                </a:cubicBezTo>
                <a:cubicBezTo>
                  <a:pt x="1438554" y="832401"/>
                  <a:pt x="1436559" y="832401"/>
                  <a:pt x="1434564" y="834395"/>
                </a:cubicBezTo>
                <a:cubicBezTo>
                  <a:pt x="1434564" y="836389"/>
                  <a:pt x="1434564" y="838383"/>
                  <a:pt x="1430574" y="836389"/>
                </a:cubicBezTo>
                <a:cubicBezTo>
                  <a:pt x="1428579" y="836389"/>
                  <a:pt x="1428579" y="836389"/>
                  <a:pt x="1426584" y="834395"/>
                </a:cubicBezTo>
                <a:cubicBezTo>
                  <a:pt x="1426584" y="830407"/>
                  <a:pt x="1428579" y="828413"/>
                  <a:pt x="1426584" y="826419"/>
                </a:cubicBezTo>
                <a:cubicBezTo>
                  <a:pt x="1426584" y="826419"/>
                  <a:pt x="1422594" y="826419"/>
                  <a:pt x="1422594" y="822431"/>
                </a:cubicBezTo>
                <a:cubicBezTo>
                  <a:pt x="1422594" y="822431"/>
                  <a:pt x="1422594" y="818443"/>
                  <a:pt x="1422594" y="816449"/>
                </a:cubicBezTo>
                <a:cubicBezTo>
                  <a:pt x="1420599" y="816449"/>
                  <a:pt x="1420599" y="818443"/>
                  <a:pt x="1418604" y="816449"/>
                </a:cubicBezTo>
                <a:cubicBezTo>
                  <a:pt x="1418604" y="816449"/>
                  <a:pt x="1416609" y="814455"/>
                  <a:pt x="1416609" y="812461"/>
                </a:cubicBezTo>
                <a:cubicBezTo>
                  <a:pt x="1416609" y="810467"/>
                  <a:pt x="1418604" y="810467"/>
                  <a:pt x="1414614" y="808473"/>
                </a:cubicBezTo>
                <a:cubicBezTo>
                  <a:pt x="1412619" y="808473"/>
                  <a:pt x="1410624" y="808473"/>
                  <a:pt x="1410624" y="808473"/>
                </a:cubicBezTo>
                <a:cubicBezTo>
                  <a:pt x="1410624" y="808473"/>
                  <a:pt x="1408629" y="808473"/>
                  <a:pt x="1406634" y="808473"/>
                </a:cubicBezTo>
                <a:cubicBezTo>
                  <a:pt x="1402644" y="808473"/>
                  <a:pt x="1402644" y="810467"/>
                  <a:pt x="1402644" y="810467"/>
                </a:cubicBezTo>
                <a:cubicBezTo>
                  <a:pt x="1400649" y="812461"/>
                  <a:pt x="1396659" y="816449"/>
                  <a:pt x="1396659" y="816449"/>
                </a:cubicBezTo>
                <a:cubicBezTo>
                  <a:pt x="1396659" y="818443"/>
                  <a:pt x="1400649" y="820437"/>
                  <a:pt x="1402644" y="818443"/>
                </a:cubicBezTo>
                <a:cubicBezTo>
                  <a:pt x="1402644" y="818443"/>
                  <a:pt x="1404639" y="814455"/>
                  <a:pt x="1406634" y="814455"/>
                </a:cubicBezTo>
                <a:cubicBezTo>
                  <a:pt x="1408629" y="814455"/>
                  <a:pt x="1410624" y="814455"/>
                  <a:pt x="1410624" y="816449"/>
                </a:cubicBezTo>
                <a:cubicBezTo>
                  <a:pt x="1412619" y="818443"/>
                  <a:pt x="1414614" y="822431"/>
                  <a:pt x="1416609" y="826419"/>
                </a:cubicBezTo>
                <a:cubicBezTo>
                  <a:pt x="1416609" y="826419"/>
                  <a:pt x="1422594" y="832401"/>
                  <a:pt x="1422594" y="836389"/>
                </a:cubicBezTo>
                <a:cubicBezTo>
                  <a:pt x="1424589" y="838383"/>
                  <a:pt x="1424589" y="842371"/>
                  <a:pt x="1422594" y="842371"/>
                </a:cubicBezTo>
                <a:cubicBezTo>
                  <a:pt x="1422594" y="844365"/>
                  <a:pt x="1416609" y="844365"/>
                  <a:pt x="1416609" y="842371"/>
                </a:cubicBezTo>
                <a:cubicBezTo>
                  <a:pt x="1414614" y="842371"/>
                  <a:pt x="1412619" y="840377"/>
                  <a:pt x="1412619" y="840377"/>
                </a:cubicBezTo>
                <a:cubicBezTo>
                  <a:pt x="1412619" y="840377"/>
                  <a:pt x="1414614" y="836389"/>
                  <a:pt x="1414614" y="836389"/>
                </a:cubicBezTo>
                <a:cubicBezTo>
                  <a:pt x="1414614" y="836389"/>
                  <a:pt x="1410624" y="836389"/>
                  <a:pt x="1408629" y="836389"/>
                </a:cubicBezTo>
                <a:cubicBezTo>
                  <a:pt x="1406634" y="838383"/>
                  <a:pt x="1408629" y="842371"/>
                  <a:pt x="1406634" y="842371"/>
                </a:cubicBezTo>
                <a:cubicBezTo>
                  <a:pt x="1406634" y="842371"/>
                  <a:pt x="1398654" y="840377"/>
                  <a:pt x="1396659" y="840377"/>
                </a:cubicBezTo>
                <a:cubicBezTo>
                  <a:pt x="1396659" y="840377"/>
                  <a:pt x="1398654" y="836389"/>
                  <a:pt x="1396659" y="836389"/>
                </a:cubicBezTo>
                <a:cubicBezTo>
                  <a:pt x="1394664" y="836389"/>
                  <a:pt x="1388679" y="838383"/>
                  <a:pt x="1388679" y="836389"/>
                </a:cubicBezTo>
                <a:cubicBezTo>
                  <a:pt x="1390674" y="834395"/>
                  <a:pt x="1392669" y="830407"/>
                  <a:pt x="1392669" y="828413"/>
                </a:cubicBezTo>
                <a:cubicBezTo>
                  <a:pt x="1392669" y="826419"/>
                  <a:pt x="1390674" y="824425"/>
                  <a:pt x="1388679" y="824425"/>
                </a:cubicBezTo>
                <a:cubicBezTo>
                  <a:pt x="1386684" y="824425"/>
                  <a:pt x="1384689" y="828413"/>
                  <a:pt x="1382694" y="828413"/>
                </a:cubicBezTo>
                <a:cubicBezTo>
                  <a:pt x="1380699" y="828413"/>
                  <a:pt x="1376709" y="826419"/>
                  <a:pt x="1372719" y="826419"/>
                </a:cubicBezTo>
                <a:cubicBezTo>
                  <a:pt x="1368729" y="824425"/>
                  <a:pt x="1364739" y="826419"/>
                  <a:pt x="1362744" y="826419"/>
                </a:cubicBezTo>
                <a:cubicBezTo>
                  <a:pt x="1360749" y="826419"/>
                  <a:pt x="1358754" y="826419"/>
                  <a:pt x="1358754" y="828413"/>
                </a:cubicBezTo>
                <a:cubicBezTo>
                  <a:pt x="1356759" y="828413"/>
                  <a:pt x="1356759" y="832401"/>
                  <a:pt x="1354764" y="832401"/>
                </a:cubicBezTo>
                <a:cubicBezTo>
                  <a:pt x="1354764" y="832401"/>
                  <a:pt x="1350774" y="830407"/>
                  <a:pt x="1350774" y="832401"/>
                </a:cubicBezTo>
                <a:cubicBezTo>
                  <a:pt x="1348779" y="834395"/>
                  <a:pt x="1348779" y="836389"/>
                  <a:pt x="1348779" y="836389"/>
                </a:cubicBezTo>
                <a:cubicBezTo>
                  <a:pt x="1350774" y="836389"/>
                  <a:pt x="1358754" y="836389"/>
                  <a:pt x="1360749" y="836389"/>
                </a:cubicBezTo>
                <a:cubicBezTo>
                  <a:pt x="1360749" y="836389"/>
                  <a:pt x="1364739" y="836389"/>
                  <a:pt x="1366734" y="836389"/>
                </a:cubicBezTo>
                <a:cubicBezTo>
                  <a:pt x="1368729" y="838383"/>
                  <a:pt x="1374714" y="838383"/>
                  <a:pt x="1374714" y="840377"/>
                </a:cubicBezTo>
                <a:cubicBezTo>
                  <a:pt x="1374714" y="840377"/>
                  <a:pt x="1372719" y="844365"/>
                  <a:pt x="1372719" y="844365"/>
                </a:cubicBezTo>
                <a:cubicBezTo>
                  <a:pt x="1372719" y="846359"/>
                  <a:pt x="1368729" y="850347"/>
                  <a:pt x="1368729" y="852341"/>
                </a:cubicBezTo>
                <a:cubicBezTo>
                  <a:pt x="1366734" y="856329"/>
                  <a:pt x="1360749" y="860317"/>
                  <a:pt x="1360749" y="860317"/>
                </a:cubicBezTo>
                <a:cubicBezTo>
                  <a:pt x="1360749" y="860317"/>
                  <a:pt x="1354764" y="866299"/>
                  <a:pt x="1354764" y="866299"/>
                </a:cubicBezTo>
                <a:cubicBezTo>
                  <a:pt x="1354764" y="866299"/>
                  <a:pt x="1346784" y="870287"/>
                  <a:pt x="1344789" y="870287"/>
                </a:cubicBezTo>
                <a:cubicBezTo>
                  <a:pt x="1342794" y="872281"/>
                  <a:pt x="1338804" y="876269"/>
                  <a:pt x="1338804" y="876269"/>
                </a:cubicBezTo>
                <a:cubicBezTo>
                  <a:pt x="1336809" y="878263"/>
                  <a:pt x="1334814" y="878263"/>
                  <a:pt x="1332819" y="878263"/>
                </a:cubicBezTo>
                <a:cubicBezTo>
                  <a:pt x="1330824" y="880257"/>
                  <a:pt x="1322844" y="878263"/>
                  <a:pt x="1320849" y="878263"/>
                </a:cubicBezTo>
                <a:cubicBezTo>
                  <a:pt x="1318854" y="878263"/>
                  <a:pt x="1312869" y="874275"/>
                  <a:pt x="1310874" y="872281"/>
                </a:cubicBezTo>
                <a:cubicBezTo>
                  <a:pt x="1308879" y="872281"/>
                  <a:pt x="1306884" y="870287"/>
                  <a:pt x="1304889" y="870287"/>
                </a:cubicBezTo>
                <a:cubicBezTo>
                  <a:pt x="1302894" y="870287"/>
                  <a:pt x="1300899" y="868293"/>
                  <a:pt x="1298904" y="868293"/>
                </a:cubicBezTo>
                <a:cubicBezTo>
                  <a:pt x="1296909" y="866299"/>
                  <a:pt x="1296909" y="860317"/>
                  <a:pt x="1296909" y="860317"/>
                </a:cubicBezTo>
                <a:cubicBezTo>
                  <a:pt x="1296909" y="860317"/>
                  <a:pt x="1290924" y="860317"/>
                  <a:pt x="1288929" y="860317"/>
                </a:cubicBezTo>
                <a:cubicBezTo>
                  <a:pt x="1286934" y="858323"/>
                  <a:pt x="1284939" y="856329"/>
                  <a:pt x="1282944" y="856329"/>
                </a:cubicBezTo>
                <a:cubicBezTo>
                  <a:pt x="1280949" y="856329"/>
                  <a:pt x="1274964" y="854335"/>
                  <a:pt x="1274964" y="854335"/>
                </a:cubicBezTo>
                <a:cubicBezTo>
                  <a:pt x="1272969" y="854335"/>
                  <a:pt x="1266984" y="852341"/>
                  <a:pt x="1264989" y="854335"/>
                </a:cubicBezTo>
                <a:cubicBezTo>
                  <a:pt x="1262994" y="854335"/>
                  <a:pt x="1260999" y="854335"/>
                  <a:pt x="1260999" y="856329"/>
                </a:cubicBezTo>
                <a:cubicBezTo>
                  <a:pt x="1260999" y="858323"/>
                  <a:pt x="1260999" y="858323"/>
                  <a:pt x="1262994" y="858323"/>
                </a:cubicBezTo>
                <a:cubicBezTo>
                  <a:pt x="1266984" y="858323"/>
                  <a:pt x="1270974" y="858323"/>
                  <a:pt x="1270974" y="858323"/>
                </a:cubicBezTo>
                <a:cubicBezTo>
                  <a:pt x="1272969" y="860317"/>
                  <a:pt x="1274964" y="862311"/>
                  <a:pt x="1276959" y="864305"/>
                </a:cubicBezTo>
                <a:cubicBezTo>
                  <a:pt x="1278954" y="864305"/>
                  <a:pt x="1284939" y="872281"/>
                  <a:pt x="1284939" y="874275"/>
                </a:cubicBezTo>
                <a:cubicBezTo>
                  <a:pt x="1286934" y="876269"/>
                  <a:pt x="1288929" y="880257"/>
                  <a:pt x="1294914" y="882251"/>
                </a:cubicBezTo>
                <a:cubicBezTo>
                  <a:pt x="1298904" y="884245"/>
                  <a:pt x="1306884" y="882251"/>
                  <a:pt x="1306884" y="882251"/>
                </a:cubicBezTo>
                <a:cubicBezTo>
                  <a:pt x="1308879" y="882251"/>
                  <a:pt x="1320849" y="880257"/>
                  <a:pt x="1322844" y="880257"/>
                </a:cubicBezTo>
                <a:cubicBezTo>
                  <a:pt x="1324839" y="880257"/>
                  <a:pt x="1332819" y="882251"/>
                  <a:pt x="1334814" y="882251"/>
                </a:cubicBezTo>
                <a:cubicBezTo>
                  <a:pt x="1338804" y="884245"/>
                  <a:pt x="1338804" y="882251"/>
                  <a:pt x="1338804" y="886239"/>
                </a:cubicBezTo>
                <a:cubicBezTo>
                  <a:pt x="1338804" y="888233"/>
                  <a:pt x="1332819" y="896209"/>
                  <a:pt x="1332819" y="896209"/>
                </a:cubicBezTo>
                <a:cubicBezTo>
                  <a:pt x="1332819" y="896209"/>
                  <a:pt x="1330824" y="900197"/>
                  <a:pt x="1330824" y="902191"/>
                </a:cubicBezTo>
                <a:cubicBezTo>
                  <a:pt x="1330824" y="904185"/>
                  <a:pt x="1326834" y="906179"/>
                  <a:pt x="1326834" y="908173"/>
                </a:cubicBezTo>
                <a:cubicBezTo>
                  <a:pt x="1324839" y="910167"/>
                  <a:pt x="1316859" y="916149"/>
                  <a:pt x="1316859" y="916149"/>
                </a:cubicBezTo>
                <a:cubicBezTo>
                  <a:pt x="1316859" y="916149"/>
                  <a:pt x="1316859" y="916149"/>
                  <a:pt x="1308879" y="924125"/>
                </a:cubicBezTo>
                <a:cubicBezTo>
                  <a:pt x="1308879" y="924125"/>
                  <a:pt x="1302894" y="930107"/>
                  <a:pt x="1302894" y="930107"/>
                </a:cubicBezTo>
                <a:cubicBezTo>
                  <a:pt x="1300899" y="932101"/>
                  <a:pt x="1302894" y="934095"/>
                  <a:pt x="1300899" y="932101"/>
                </a:cubicBezTo>
                <a:cubicBezTo>
                  <a:pt x="1296909" y="932101"/>
                  <a:pt x="1294914" y="932101"/>
                  <a:pt x="1294914" y="934095"/>
                </a:cubicBezTo>
                <a:cubicBezTo>
                  <a:pt x="1292919" y="934095"/>
                  <a:pt x="1294914" y="936089"/>
                  <a:pt x="1292919" y="938083"/>
                </a:cubicBezTo>
                <a:cubicBezTo>
                  <a:pt x="1290924" y="938083"/>
                  <a:pt x="1290924" y="938083"/>
                  <a:pt x="1290924" y="940077"/>
                </a:cubicBezTo>
                <a:cubicBezTo>
                  <a:pt x="1288929" y="940077"/>
                  <a:pt x="1286934" y="942071"/>
                  <a:pt x="1284939" y="942071"/>
                </a:cubicBezTo>
                <a:cubicBezTo>
                  <a:pt x="1282944" y="942071"/>
                  <a:pt x="1276959" y="940077"/>
                  <a:pt x="1274964" y="940077"/>
                </a:cubicBezTo>
                <a:cubicBezTo>
                  <a:pt x="1272969" y="940077"/>
                  <a:pt x="1266984" y="938083"/>
                  <a:pt x="1266984" y="938083"/>
                </a:cubicBezTo>
                <a:cubicBezTo>
                  <a:pt x="1264989" y="936089"/>
                  <a:pt x="1264989" y="932101"/>
                  <a:pt x="1264989" y="932101"/>
                </a:cubicBezTo>
                <a:cubicBezTo>
                  <a:pt x="1262994" y="932101"/>
                  <a:pt x="1260999" y="932101"/>
                  <a:pt x="1260999" y="934095"/>
                </a:cubicBezTo>
                <a:cubicBezTo>
                  <a:pt x="1260999" y="936089"/>
                  <a:pt x="1260999" y="940077"/>
                  <a:pt x="1260999" y="940077"/>
                </a:cubicBezTo>
                <a:cubicBezTo>
                  <a:pt x="1260999" y="940077"/>
                  <a:pt x="1260999" y="944065"/>
                  <a:pt x="1259004" y="944065"/>
                </a:cubicBezTo>
                <a:cubicBezTo>
                  <a:pt x="1259004" y="946059"/>
                  <a:pt x="1257009" y="944065"/>
                  <a:pt x="1255014" y="944065"/>
                </a:cubicBezTo>
                <a:cubicBezTo>
                  <a:pt x="1253019" y="944065"/>
                  <a:pt x="1253019" y="946059"/>
                  <a:pt x="1253019" y="948053"/>
                </a:cubicBezTo>
                <a:cubicBezTo>
                  <a:pt x="1253019" y="950047"/>
                  <a:pt x="1253019" y="950047"/>
                  <a:pt x="1251024" y="952041"/>
                </a:cubicBezTo>
                <a:cubicBezTo>
                  <a:pt x="1249029" y="952041"/>
                  <a:pt x="1247034" y="954035"/>
                  <a:pt x="1247034" y="954035"/>
                </a:cubicBezTo>
                <a:cubicBezTo>
                  <a:pt x="1245039" y="954035"/>
                  <a:pt x="1243044" y="954035"/>
                  <a:pt x="1243044" y="954035"/>
                </a:cubicBezTo>
                <a:cubicBezTo>
                  <a:pt x="1243044" y="954035"/>
                  <a:pt x="1241049" y="954035"/>
                  <a:pt x="1239054" y="954035"/>
                </a:cubicBezTo>
                <a:cubicBezTo>
                  <a:pt x="1239054" y="954035"/>
                  <a:pt x="1239054" y="954035"/>
                  <a:pt x="1237059" y="956029"/>
                </a:cubicBezTo>
                <a:cubicBezTo>
                  <a:pt x="1237059" y="958023"/>
                  <a:pt x="1235064" y="958023"/>
                  <a:pt x="1233069" y="958023"/>
                </a:cubicBezTo>
                <a:cubicBezTo>
                  <a:pt x="1233069" y="956029"/>
                  <a:pt x="1231074" y="956029"/>
                  <a:pt x="1229079" y="956029"/>
                </a:cubicBezTo>
                <a:cubicBezTo>
                  <a:pt x="1229079" y="956029"/>
                  <a:pt x="1227084" y="956029"/>
                  <a:pt x="1225089" y="956029"/>
                </a:cubicBezTo>
                <a:cubicBezTo>
                  <a:pt x="1225089" y="956029"/>
                  <a:pt x="1219104" y="952041"/>
                  <a:pt x="1217109" y="950047"/>
                </a:cubicBezTo>
                <a:cubicBezTo>
                  <a:pt x="1217109" y="950047"/>
                  <a:pt x="1211124" y="950047"/>
                  <a:pt x="1211124" y="950047"/>
                </a:cubicBezTo>
                <a:cubicBezTo>
                  <a:pt x="1209129" y="950047"/>
                  <a:pt x="1203144" y="950047"/>
                  <a:pt x="1203144" y="950047"/>
                </a:cubicBezTo>
                <a:cubicBezTo>
                  <a:pt x="1201149" y="952041"/>
                  <a:pt x="1197159" y="954035"/>
                  <a:pt x="1197159" y="958023"/>
                </a:cubicBezTo>
                <a:cubicBezTo>
                  <a:pt x="1199154" y="958023"/>
                  <a:pt x="1199154" y="958023"/>
                  <a:pt x="1203144" y="958023"/>
                </a:cubicBezTo>
                <a:cubicBezTo>
                  <a:pt x="1207134" y="958023"/>
                  <a:pt x="1213119" y="958023"/>
                  <a:pt x="1215114" y="958023"/>
                </a:cubicBezTo>
                <a:cubicBezTo>
                  <a:pt x="1217109" y="958023"/>
                  <a:pt x="1225089" y="962011"/>
                  <a:pt x="1227084" y="962011"/>
                </a:cubicBezTo>
                <a:cubicBezTo>
                  <a:pt x="1227084" y="962011"/>
                  <a:pt x="1231074" y="967993"/>
                  <a:pt x="1233069" y="969987"/>
                </a:cubicBezTo>
                <a:cubicBezTo>
                  <a:pt x="1233069" y="971981"/>
                  <a:pt x="1233069" y="979957"/>
                  <a:pt x="1231074" y="983945"/>
                </a:cubicBezTo>
                <a:cubicBezTo>
                  <a:pt x="1231074" y="983945"/>
                  <a:pt x="1225089" y="987933"/>
                  <a:pt x="1225089" y="987933"/>
                </a:cubicBezTo>
                <a:cubicBezTo>
                  <a:pt x="1223094" y="987933"/>
                  <a:pt x="1219104" y="991921"/>
                  <a:pt x="1215114" y="993915"/>
                </a:cubicBezTo>
                <a:cubicBezTo>
                  <a:pt x="1213119" y="995909"/>
                  <a:pt x="1213119" y="997903"/>
                  <a:pt x="1213119" y="999897"/>
                </a:cubicBezTo>
                <a:cubicBezTo>
                  <a:pt x="1213119" y="1001891"/>
                  <a:pt x="1211124" y="999897"/>
                  <a:pt x="1211124" y="999897"/>
                </a:cubicBezTo>
                <a:cubicBezTo>
                  <a:pt x="1211124" y="997903"/>
                  <a:pt x="1211124" y="995909"/>
                  <a:pt x="1209129" y="995909"/>
                </a:cubicBezTo>
                <a:cubicBezTo>
                  <a:pt x="1207134" y="995909"/>
                  <a:pt x="1205139" y="995909"/>
                  <a:pt x="1203144" y="995909"/>
                </a:cubicBezTo>
                <a:cubicBezTo>
                  <a:pt x="1203144" y="995909"/>
                  <a:pt x="1199154" y="993915"/>
                  <a:pt x="1199154" y="991921"/>
                </a:cubicBezTo>
                <a:cubicBezTo>
                  <a:pt x="1199154" y="989927"/>
                  <a:pt x="1199154" y="983945"/>
                  <a:pt x="1199154" y="981951"/>
                </a:cubicBezTo>
                <a:cubicBezTo>
                  <a:pt x="1201149" y="979957"/>
                  <a:pt x="1201149" y="975969"/>
                  <a:pt x="1199154" y="975969"/>
                </a:cubicBezTo>
                <a:cubicBezTo>
                  <a:pt x="1197159" y="975969"/>
                  <a:pt x="1195164" y="973975"/>
                  <a:pt x="1193169" y="975969"/>
                </a:cubicBezTo>
                <a:cubicBezTo>
                  <a:pt x="1193169" y="979957"/>
                  <a:pt x="1195164" y="983945"/>
                  <a:pt x="1195164" y="983945"/>
                </a:cubicBezTo>
                <a:cubicBezTo>
                  <a:pt x="1197159" y="985939"/>
                  <a:pt x="1197159" y="991921"/>
                  <a:pt x="1197159" y="991921"/>
                </a:cubicBezTo>
                <a:cubicBezTo>
                  <a:pt x="1197159" y="993915"/>
                  <a:pt x="1195164" y="993915"/>
                  <a:pt x="1195164" y="995909"/>
                </a:cubicBezTo>
                <a:cubicBezTo>
                  <a:pt x="1197159" y="995909"/>
                  <a:pt x="1197159" y="995909"/>
                  <a:pt x="1197159" y="997903"/>
                </a:cubicBezTo>
                <a:cubicBezTo>
                  <a:pt x="1199154" y="999897"/>
                  <a:pt x="1199154" y="1001891"/>
                  <a:pt x="1197159" y="1001891"/>
                </a:cubicBezTo>
                <a:cubicBezTo>
                  <a:pt x="1195164" y="1003885"/>
                  <a:pt x="1195164" y="1003885"/>
                  <a:pt x="1193169" y="1003885"/>
                </a:cubicBezTo>
                <a:cubicBezTo>
                  <a:pt x="1191174" y="1001891"/>
                  <a:pt x="1189179" y="999897"/>
                  <a:pt x="1187184" y="1001891"/>
                </a:cubicBezTo>
                <a:cubicBezTo>
                  <a:pt x="1187184" y="1003885"/>
                  <a:pt x="1189179" y="1003885"/>
                  <a:pt x="1187184" y="1005879"/>
                </a:cubicBezTo>
                <a:cubicBezTo>
                  <a:pt x="1187184" y="1007873"/>
                  <a:pt x="1185189" y="1007873"/>
                  <a:pt x="1183194" y="1007873"/>
                </a:cubicBezTo>
                <a:cubicBezTo>
                  <a:pt x="1183194" y="1007873"/>
                  <a:pt x="1181199" y="1007873"/>
                  <a:pt x="1181199" y="1009867"/>
                </a:cubicBezTo>
                <a:cubicBezTo>
                  <a:pt x="1181199" y="1009867"/>
                  <a:pt x="1183194" y="1013855"/>
                  <a:pt x="1181199" y="1013855"/>
                </a:cubicBezTo>
                <a:cubicBezTo>
                  <a:pt x="1177209" y="1013855"/>
                  <a:pt x="1177209" y="1013855"/>
                  <a:pt x="1177209" y="1011861"/>
                </a:cubicBezTo>
                <a:cubicBezTo>
                  <a:pt x="1177209" y="1011861"/>
                  <a:pt x="1175214" y="1007873"/>
                  <a:pt x="1173219" y="1009867"/>
                </a:cubicBezTo>
                <a:cubicBezTo>
                  <a:pt x="1173219" y="1009867"/>
                  <a:pt x="1173219" y="1011861"/>
                  <a:pt x="1173219" y="1013855"/>
                </a:cubicBezTo>
                <a:cubicBezTo>
                  <a:pt x="1173219" y="1013855"/>
                  <a:pt x="1171224" y="1013855"/>
                  <a:pt x="1171224" y="1015849"/>
                </a:cubicBezTo>
                <a:cubicBezTo>
                  <a:pt x="1169229" y="1017843"/>
                  <a:pt x="1171224" y="1021831"/>
                  <a:pt x="1169229" y="1021831"/>
                </a:cubicBezTo>
                <a:cubicBezTo>
                  <a:pt x="1169229" y="1023825"/>
                  <a:pt x="1169229" y="1023825"/>
                  <a:pt x="1167234" y="1023825"/>
                </a:cubicBezTo>
                <a:cubicBezTo>
                  <a:pt x="1165239" y="1021831"/>
                  <a:pt x="1165239" y="1021831"/>
                  <a:pt x="1163244" y="1021831"/>
                </a:cubicBezTo>
                <a:cubicBezTo>
                  <a:pt x="1163244" y="1023825"/>
                  <a:pt x="1161249" y="1025819"/>
                  <a:pt x="1163244" y="1027813"/>
                </a:cubicBezTo>
                <a:cubicBezTo>
                  <a:pt x="1165239" y="1029807"/>
                  <a:pt x="1167234" y="1031801"/>
                  <a:pt x="1167234" y="1033795"/>
                </a:cubicBezTo>
                <a:cubicBezTo>
                  <a:pt x="1167234" y="1033795"/>
                  <a:pt x="1165239" y="1035789"/>
                  <a:pt x="1163244" y="1035789"/>
                </a:cubicBezTo>
                <a:cubicBezTo>
                  <a:pt x="1161249" y="1033795"/>
                  <a:pt x="1161249" y="1029807"/>
                  <a:pt x="1159254" y="1029807"/>
                </a:cubicBezTo>
                <a:cubicBezTo>
                  <a:pt x="1159254" y="1027813"/>
                  <a:pt x="1157259" y="1027813"/>
                  <a:pt x="1157259" y="1027813"/>
                </a:cubicBezTo>
                <a:cubicBezTo>
                  <a:pt x="1155264" y="1029807"/>
                  <a:pt x="1153269" y="1029807"/>
                  <a:pt x="1155264" y="1031801"/>
                </a:cubicBezTo>
                <a:cubicBezTo>
                  <a:pt x="1157259" y="1033795"/>
                  <a:pt x="1159254" y="1033795"/>
                  <a:pt x="1159254" y="1035789"/>
                </a:cubicBezTo>
                <a:cubicBezTo>
                  <a:pt x="1159254" y="1037783"/>
                  <a:pt x="1159254" y="1037783"/>
                  <a:pt x="1157259" y="1037783"/>
                </a:cubicBezTo>
                <a:cubicBezTo>
                  <a:pt x="1157259" y="1039777"/>
                  <a:pt x="1155264" y="1037783"/>
                  <a:pt x="1155264" y="1039777"/>
                </a:cubicBezTo>
                <a:cubicBezTo>
                  <a:pt x="1153269" y="1041771"/>
                  <a:pt x="1153269" y="1041771"/>
                  <a:pt x="1151274" y="1043765"/>
                </a:cubicBezTo>
                <a:cubicBezTo>
                  <a:pt x="1149279" y="1045759"/>
                  <a:pt x="1151274" y="1047753"/>
                  <a:pt x="1147284" y="1047753"/>
                </a:cubicBezTo>
                <a:cubicBezTo>
                  <a:pt x="1145289" y="1047753"/>
                  <a:pt x="1145289" y="1047753"/>
                  <a:pt x="1145289" y="1049747"/>
                </a:cubicBezTo>
                <a:cubicBezTo>
                  <a:pt x="1143294" y="1051741"/>
                  <a:pt x="1143294" y="1053735"/>
                  <a:pt x="1141299" y="1053735"/>
                </a:cubicBezTo>
                <a:cubicBezTo>
                  <a:pt x="1141299" y="1053735"/>
                  <a:pt x="1141299" y="1055729"/>
                  <a:pt x="1141299" y="1055729"/>
                </a:cubicBezTo>
                <a:cubicBezTo>
                  <a:pt x="1141299" y="1057723"/>
                  <a:pt x="1141299" y="1059717"/>
                  <a:pt x="1141299" y="1061711"/>
                </a:cubicBezTo>
                <a:cubicBezTo>
                  <a:pt x="1139304" y="1063705"/>
                  <a:pt x="1137309" y="1063705"/>
                  <a:pt x="1135314" y="1067693"/>
                </a:cubicBezTo>
                <a:cubicBezTo>
                  <a:pt x="1133319" y="1067693"/>
                  <a:pt x="1131324" y="1069687"/>
                  <a:pt x="1129329" y="1071681"/>
                </a:cubicBezTo>
                <a:cubicBezTo>
                  <a:pt x="1129329" y="1071681"/>
                  <a:pt x="1127334" y="1075669"/>
                  <a:pt x="1127334" y="1075669"/>
                </a:cubicBezTo>
                <a:cubicBezTo>
                  <a:pt x="1125339" y="1077663"/>
                  <a:pt x="1125339" y="1079657"/>
                  <a:pt x="1123344" y="1081651"/>
                </a:cubicBezTo>
                <a:cubicBezTo>
                  <a:pt x="1121349" y="1083645"/>
                  <a:pt x="1117359" y="1083645"/>
                  <a:pt x="1115364" y="1085639"/>
                </a:cubicBezTo>
                <a:cubicBezTo>
                  <a:pt x="1115364" y="1085639"/>
                  <a:pt x="1115364" y="1089627"/>
                  <a:pt x="1115364" y="1091621"/>
                </a:cubicBezTo>
                <a:cubicBezTo>
                  <a:pt x="1115364" y="1093615"/>
                  <a:pt x="1115364" y="1099597"/>
                  <a:pt x="1115364" y="1101591"/>
                </a:cubicBezTo>
                <a:cubicBezTo>
                  <a:pt x="1115364" y="1103585"/>
                  <a:pt x="1107384" y="1113555"/>
                  <a:pt x="1107384" y="1115549"/>
                </a:cubicBezTo>
                <a:cubicBezTo>
                  <a:pt x="1105389" y="1119537"/>
                  <a:pt x="1107384" y="1121531"/>
                  <a:pt x="1107384" y="1123525"/>
                </a:cubicBezTo>
                <a:cubicBezTo>
                  <a:pt x="1107384" y="1125519"/>
                  <a:pt x="1107384" y="1129507"/>
                  <a:pt x="1107384" y="1131501"/>
                </a:cubicBezTo>
                <a:cubicBezTo>
                  <a:pt x="1105389" y="1133495"/>
                  <a:pt x="1103394" y="1143465"/>
                  <a:pt x="1103394" y="1143465"/>
                </a:cubicBezTo>
                <a:cubicBezTo>
                  <a:pt x="1103394" y="1145459"/>
                  <a:pt x="1103394" y="1151441"/>
                  <a:pt x="1105389" y="1155429"/>
                </a:cubicBezTo>
                <a:cubicBezTo>
                  <a:pt x="1107384" y="1157423"/>
                  <a:pt x="1107384" y="1159417"/>
                  <a:pt x="1111374" y="1159417"/>
                </a:cubicBezTo>
                <a:cubicBezTo>
                  <a:pt x="1113369" y="1161411"/>
                  <a:pt x="1117359" y="1159417"/>
                  <a:pt x="1119354" y="1157423"/>
                </a:cubicBezTo>
                <a:cubicBezTo>
                  <a:pt x="1121349" y="1155429"/>
                  <a:pt x="1123344" y="1155429"/>
                  <a:pt x="1127334" y="1155429"/>
                </a:cubicBezTo>
                <a:cubicBezTo>
                  <a:pt x="1131324" y="1155429"/>
                  <a:pt x="1131324" y="1157423"/>
                  <a:pt x="1133319" y="1157423"/>
                </a:cubicBezTo>
                <a:cubicBezTo>
                  <a:pt x="1135314" y="1157423"/>
                  <a:pt x="1135314" y="1159417"/>
                  <a:pt x="1137309" y="1155429"/>
                </a:cubicBezTo>
                <a:cubicBezTo>
                  <a:pt x="1137309" y="1153435"/>
                  <a:pt x="1133319" y="1153435"/>
                  <a:pt x="1137309" y="1151441"/>
                </a:cubicBezTo>
                <a:cubicBezTo>
                  <a:pt x="1139304" y="1151441"/>
                  <a:pt x="1141299" y="1155429"/>
                  <a:pt x="1143294" y="1157423"/>
                </a:cubicBezTo>
                <a:cubicBezTo>
                  <a:pt x="1143294" y="1159417"/>
                  <a:pt x="1141299" y="1163405"/>
                  <a:pt x="1141299" y="1165399"/>
                </a:cubicBezTo>
                <a:cubicBezTo>
                  <a:pt x="1143294" y="1167393"/>
                  <a:pt x="1141299" y="1171381"/>
                  <a:pt x="1141299" y="1173375"/>
                </a:cubicBezTo>
                <a:cubicBezTo>
                  <a:pt x="1141299" y="1175369"/>
                  <a:pt x="1143294" y="1179357"/>
                  <a:pt x="1143294" y="1181351"/>
                </a:cubicBezTo>
                <a:cubicBezTo>
                  <a:pt x="1143294" y="1181351"/>
                  <a:pt x="1141299" y="1189327"/>
                  <a:pt x="1141299" y="1191321"/>
                </a:cubicBezTo>
                <a:cubicBezTo>
                  <a:pt x="1143294" y="1195309"/>
                  <a:pt x="1143294" y="1203284"/>
                  <a:pt x="1143294" y="1205278"/>
                </a:cubicBezTo>
                <a:cubicBezTo>
                  <a:pt x="1143294" y="1207272"/>
                  <a:pt x="1147284" y="1211260"/>
                  <a:pt x="1147284" y="1213254"/>
                </a:cubicBezTo>
                <a:cubicBezTo>
                  <a:pt x="1147284" y="1215248"/>
                  <a:pt x="1147284" y="1219236"/>
                  <a:pt x="1147284" y="1221230"/>
                </a:cubicBezTo>
                <a:cubicBezTo>
                  <a:pt x="1145289" y="1223224"/>
                  <a:pt x="1143294" y="1227212"/>
                  <a:pt x="1143294" y="1227212"/>
                </a:cubicBezTo>
                <a:cubicBezTo>
                  <a:pt x="1143294" y="1227212"/>
                  <a:pt x="1147284" y="1227212"/>
                  <a:pt x="1149279" y="1227212"/>
                </a:cubicBezTo>
                <a:cubicBezTo>
                  <a:pt x="1151274" y="1225218"/>
                  <a:pt x="1153269" y="1227212"/>
                  <a:pt x="1157259" y="1223224"/>
                </a:cubicBezTo>
                <a:cubicBezTo>
                  <a:pt x="1159254" y="1223224"/>
                  <a:pt x="1163244" y="1219236"/>
                  <a:pt x="1167234" y="1219236"/>
                </a:cubicBezTo>
                <a:cubicBezTo>
                  <a:pt x="1171224" y="1217242"/>
                  <a:pt x="1179204" y="1217242"/>
                  <a:pt x="1181199" y="1217242"/>
                </a:cubicBezTo>
                <a:cubicBezTo>
                  <a:pt x="1183194" y="1217242"/>
                  <a:pt x="1189179" y="1217242"/>
                  <a:pt x="1189179" y="1219236"/>
                </a:cubicBezTo>
                <a:cubicBezTo>
                  <a:pt x="1191174" y="1221230"/>
                  <a:pt x="1193169" y="1223224"/>
                  <a:pt x="1195164" y="1225218"/>
                </a:cubicBezTo>
                <a:cubicBezTo>
                  <a:pt x="1197159" y="1227212"/>
                  <a:pt x="1199154" y="1229206"/>
                  <a:pt x="1203144" y="1229206"/>
                </a:cubicBezTo>
                <a:cubicBezTo>
                  <a:pt x="1207134" y="1231200"/>
                  <a:pt x="1215114" y="1233194"/>
                  <a:pt x="1215114" y="1233194"/>
                </a:cubicBezTo>
                <a:cubicBezTo>
                  <a:pt x="1217109" y="1235188"/>
                  <a:pt x="1223094" y="1241170"/>
                  <a:pt x="1225089" y="1241170"/>
                </a:cubicBezTo>
                <a:cubicBezTo>
                  <a:pt x="1225089" y="1243164"/>
                  <a:pt x="1231074" y="1249146"/>
                  <a:pt x="1233069" y="1249146"/>
                </a:cubicBezTo>
                <a:cubicBezTo>
                  <a:pt x="1233069" y="1251140"/>
                  <a:pt x="1237059" y="1251140"/>
                  <a:pt x="1239054" y="1253134"/>
                </a:cubicBezTo>
                <a:cubicBezTo>
                  <a:pt x="1241049" y="1255128"/>
                  <a:pt x="1245039" y="1259116"/>
                  <a:pt x="1245039" y="1261110"/>
                </a:cubicBezTo>
                <a:cubicBezTo>
                  <a:pt x="1245039" y="1261110"/>
                  <a:pt x="1247034" y="1263104"/>
                  <a:pt x="1249029" y="1267092"/>
                </a:cubicBezTo>
                <a:cubicBezTo>
                  <a:pt x="1249029" y="1269086"/>
                  <a:pt x="1251024" y="1269086"/>
                  <a:pt x="1253019" y="1269086"/>
                </a:cubicBezTo>
                <a:cubicBezTo>
                  <a:pt x="1255014" y="1271080"/>
                  <a:pt x="1260999" y="1271080"/>
                  <a:pt x="1262994" y="1273074"/>
                </a:cubicBezTo>
                <a:cubicBezTo>
                  <a:pt x="1266984" y="1275068"/>
                  <a:pt x="1276959" y="1279056"/>
                  <a:pt x="1280949" y="1279056"/>
                </a:cubicBezTo>
                <a:cubicBezTo>
                  <a:pt x="1282944" y="1281050"/>
                  <a:pt x="1288929" y="1283044"/>
                  <a:pt x="1288929" y="1283044"/>
                </a:cubicBezTo>
                <a:cubicBezTo>
                  <a:pt x="1290924" y="1285038"/>
                  <a:pt x="1294914" y="1289026"/>
                  <a:pt x="1296909" y="1291020"/>
                </a:cubicBezTo>
                <a:cubicBezTo>
                  <a:pt x="1296909" y="1291020"/>
                  <a:pt x="1298904" y="1295008"/>
                  <a:pt x="1302894" y="1297002"/>
                </a:cubicBezTo>
                <a:cubicBezTo>
                  <a:pt x="1304889" y="1298996"/>
                  <a:pt x="1306884" y="1298996"/>
                  <a:pt x="1312869" y="1300990"/>
                </a:cubicBezTo>
                <a:cubicBezTo>
                  <a:pt x="1316859" y="1302984"/>
                  <a:pt x="1312869" y="1302984"/>
                  <a:pt x="1316859" y="1302984"/>
                </a:cubicBezTo>
                <a:cubicBezTo>
                  <a:pt x="1320849" y="1302984"/>
                  <a:pt x="1322844" y="1300990"/>
                  <a:pt x="1328829" y="1300990"/>
                </a:cubicBezTo>
                <a:cubicBezTo>
                  <a:pt x="1332819" y="1300990"/>
                  <a:pt x="1344789" y="1298996"/>
                  <a:pt x="1344789" y="1298996"/>
                </a:cubicBezTo>
                <a:cubicBezTo>
                  <a:pt x="1344789" y="1298996"/>
                  <a:pt x="1350774" y="1298996"/>
                  <a:pt x="1352769" y="1298996"/>
                </a:cubicBezTo>
                <a:cubicBezTo>
                  <a:pt x="1352769" y="1298996"/>
                  <a:pt x="1354764" y="1300990"/>
                  <a:pt x="1356759" y="1300990"/>
                </a:cubicBezTo>
                <a:cubicBezTo>
                  <a:pt x="1358754" y="1300990"/>
                  <a:pt x="1358754" y="1300990"/>
                  <a:pt x="1360749" y="1298996"/>
                </a:cubicBezTo>
                <a:cubicBezTo>
                  <a:pt x="1362744" y="1298996"/>
                  <a:pt x="1364739" y="1298996"/>
                  <a:pt x="1364739" y="1300990"/>
                </a:cubicBezTo>
                <a:cubicBezTo>
                  <a:pt x="1366734" y="1302984"/>
                  <a:pt x="1366734" y="1304978"/>
                  <a:pt x="1368729" y="1302984"/>
                </a:cubicBezTo>
                <a:cubicBezTo>
                  <a:pt x="1370724" y="1302984"/>
                  <a:pt x="1368729" y="1302984"/>
                  <a:pt x="1372719" y="1302984"/>
                </a:cubicBezTo>
                <a:cubicBezTo>
                  <a:pt x="1374714" y="1302984"/>
                  <a:pt x="1378704" y="1300990"/>
                  <a:pt x="1378704" y="1304978"/>
                </a:cubicBezTo>
                <a:cubicBezTo>
                  <a:pt x="1378704" y="1304978"/>
                  <a:pt x="1378704" y="1308966"/>
                  <a:pt x="1376709" y="1310960"/>
                </a:cubicBezTo>
                <a:cubicBezTo>
                  <a:pt x="1376709" y="1312954"/>
                  <a:pt x="1376709" y="1316942"/>
                  <a:pt x="1376709" y="1318936"/>
                </a:cubicBezTo>
                <a:cubicBezTo>
                  <a:pt x="1376709" y="1320930"/>
                  <a:pt x="1374714" y="1320930"/>
                  <a:pt x="1372719" y="1322924"/>
                </a:cubicBezTo>
                <a:cubicBezTo>
                  <a:pt x="1372719" y="1324918"/>
                  <a:pt x="1368729" y="1326912"/>
                  <a:pt x="1368729" y="1330900"/>
                </a:cubicBezTo>
                <a:cubicBezTo>
                  <a:pt x="1370724" y="1334888"/>
                  <a:pt x="1368729" y="1338876"/>
                  <a:pt x="1370724" y="1340870"/>
                </a:cubicBezTo>
                <a:cubicBezTo>
                  <a:pt x="1372719" y="1342864"/>
                  <a:pt x="1372719" y="1348846"/>
                  <a:pt x="1372719" y="1350840"/>
                </a:cubicBezTo>
                <a:cubicBezTo>
                  <a:pt x="1372719" y="1352834"/>
                  <a:pt x="1372719" y="1358816"/>
                  <a:pt x="1370724" y="1360810"/>
                </a:cubicBezTo>
                <a:cubicBezTo>
                  <a:pt x="1368729" y="1362804"/>
                  <a:pt x="1368729" y="1362804"/>
                  <a:pt x="1366734" y="1366792"/>
                </a:cubicBezTo>
                <a:cubicBezTo>
                  <a:pt x="1366734" y="1370780"/>
                  <a:pt x="1368729" y="1374768"/>
                  <a:pt x="1366734" y="1376762"/>
                </a:cubicBezTo>
                <a:cubicBezTo>
                  <a:pt x="1366734" y="1380750"/>
                  <a:pt x="1362744" y="1380750"/>
                  <a:pt x="1360749" y="1382744"/>
                </a:cubicBezTo>
                <a:cubicBezTo>
                  <a:pt x="1358754" y="1382744"/>
                  <a:pt x="1358754" y="1380750"/>
                  <a:pt x="1358754" y="1384738"/>
                </a:cubicBezTo>
                <a:cubicBezTo>
                  <a:pt x="1358754" y="1386732"/>
                  <a:pt x="1362744" y="1388726"/>
                  <a:pt x="1364739" y="1390720"/>
                </a:cubicBezTo>
                <a:cubicBezTo>
                  <a:pt x="1364739" y="1392714"/>
                  <a:pt x="1368729" y="1396702"/>
                  <a:pt x="1370724" y="1400690"/>
                </a:cubicBezTo>
                <a:cubicBezTo>
                  <a:pt x="1372719" y="1404678"/>
                  <a:pt x="1372719" y="1404678"/>
                  <a:pt x="1372719" y="1408666"/>
                </a:cubicBezTo>
                <a:cubicBezTo>
                  <a:pt x="1372719" y="1410660"/>
                  <a:pt x="1368729" y="1418636"/>
                  <a:pt x="1368729" y="1418636"/>
                </a:cubicBezTo>
                <a:cubicBezTo>
                  <a:pt x="1368729" y="1418636"/>
                  <a:pt x="1370724" y="1420630"/>
                  <a:pt x="1372719" y="1418636"/>
                </a:cubicBezTo>
                <a:cubicBezTo>
                  <a:pt x="1376709" y="1416642"/>
                  <a:pt x="1378704" y="1414648"/>
                  <a:pt x="1378704" y="1414648"/>
                </a:cubicBezTo>
                <a:cubicBezTo>
                  <a:pt x="1378704" y="1414648"/>
                  <a:pt x="1380699" y="1412654"/>
                  <a:pt x="1380699" y="1416642"/>
                </a:cubicBezTo>
                <a:cubicBezTo>
                  <a:pt x="1380699" y="1418636"/>
                  <a:pt x="1382694" y="1422624"/>
                  <a:pt x="1382694" y="1422624"/>
                </a:cubicBezTo>
                <a:cubicBezTo>
                  <a:pt x="1384689" y="1422624"/>
                  <a:pt x="1388679" y="1426612"/>
                  <a:pt x="1390674" y="1428606"/>
                </a:cubicBezTo>
                <a:cubicBezTo>
                  <a:pt x="1392669" y="1430600"/>
                  <a:pt x="1394664" y="1432594"/>
                  <a:pt x="1394664" y="1434588"/>
                </a:cubicBezTo>
                <a:cubicBezTo>
                  <a:pt x="1394664" y="1434588"/>
                  <a:pt x="1396659" y="1438576"/>
                  <a:pt x="1396659" y="1442564"/>
                </a:cubicBezTo>
                <a:cubicBezTo>
                  <a:pt x="1396659" y="1444558"/>
                  <a:pt x="1396659" y="1448546"/>
                  <a:pt x="1394664" y="1448546"/>
                </a:cubicBezTo>
                <a:cubicBezTo>
                  <a:pt x="1394664" y="1450540"/>
                  <a:pt x="1394664" y="1452534"/>
                  <a:pt x="1392669" y="1452534"/>
                </a:cubicBezTo>
                <a:cubicBezTo>
                  <a:pt x="1392669" y="1452534"/>
                  <a:pt x="1388679" y="1454528"/>
                  <a:pt x="1388679" y="1456522"/>
                </a:cubicBezTo>
                <a:cubicBezTo>
                  <a:pt x="1386684" y="1456522"/>
                  <a:pt x="1384689" y="1460510"/>
                  <a:pt x="1384689" y="1460510"/>
                </a:cubicBezTo>
                <a:cubicBezTo>
                  <a:pt x="1384689" y="1462504"/>
                  <a:pt x="1388679" y="1460510"/>
                  <a:pt x="1390674" y="1460510"/>
                </a:cubicBezTo>
                <a:cubicBezTo>
                  <a:pt x="1392669" y="1458516"/>
                  <a:pt x="1394664" y="1454528"/>
                  <a:pt x="1396659" y="1454528"/>
                </a:cubicBezTo>
                <a:cubicBezTo>
                  <a:pt x="1400649" y="1452534"/>
                  <a:pt x="1402644" y="1452534"/>
                  <a:pt x="1404639" y="1454528"/>
                </a:cubicBezTo>
                <a:cubicBezTo>
                  <a:pt x="1406634" y="1456522"/>
                  <a:pt x="1410624" y="1458516"/>
                  <a:pt x="1414614" y="1456522"/>
                </a:cubicBezTo>
                <a:cubicBezTo>
                  <a:pt x="1416609" y="1456522"/>
                  <a:pt x="1416609" y="1454528"/>
                  <a:pt x="1418604" y="1452534"/>
                </a:cubicBezTo>
                <a:cubicBezTo>
                  <a:pt x="1418604" y="1452534"/>
                  <a:pt x="1418604" y="1450540"/>
                  <a:pt x="1418604" y="1448546"/>
                </a:cubicBezTo>
                <a:cubicBezTo>
                  <a:pt x="1418604" y="1446552"/>
                  <a:pt x="1422594" y="1448546"/>
                  <a:pt x="1422594" y="1448546"/>
                </a:cubicBezTo>
                <a:cubicBezTo>
                  <a:pt x="1422594" y="1446552"/>
                  <a:pt x="1420599" y="1442564"/>
                  <a:pt x="1422594" y="1440570"/>
                </a:cubicBezTo>
                <a:cubicBezTo>
                  <a:pt x="1422594" y="1438576"/>
                  <a:pt x="1426584" y="1438576"/>
                  <a:pt x="1426584" y="1438576"/>
                </a:cubicBezTo>
                <a:cubicBezTo>
                  <a:pt x="1426584" y="1440570"/>
                  <a:pt x="1430574" y="1444558"/>
                  <a:pt x="1430574" y="1448546"/>
                </a:cubicBezTo>
                <a:cubicBezTo>
                  <a:pt x="1430574" y="1450540"/>
                  <a:pt x="1430574" y="1454528"/>
                  <a:pt x="1434564" y="1456522"/>
                </a:cubicBezTo>
                <a:cubicBezTo>
                  <a:pt x="1436559" y="1458516"/>
                  <a:pt x="1436559" y="1456522"/>
                  <a:pt x="1438554" y="1456522"/>
                </a:cubicBezTo>
                <a:cubicBezTo>
                  <a:pt x="1438554" y="1454528"/>
                  <a:pt x="1438554" y="1444558"/>
                  <a:pt x="1436559" y="1442564"/>
                </a:cubicBezTo>
                <a:cubicBezTo>
                  <a:pt x="1436559" y="1438576"/>
                  <a:pt x="1440549" y="1428606"/>
                  <a:pt x="1440549" y="1426612"/>
                </a:cubicBezTo>
                <a:cubicBezTo>
                  <a:pt x="1442544" y="1422624"/>
                  <a:pt x="1448529" y="1418636"/>
                  <a:pt x="1448529" y="1418636"/>
                </a:cubicBezTo>
                <a:cubicBezTo>
                  <a:pt x="1448529" y="1416642"/>
                  <a:pt x="1448529" y="1414648"/>
                  <a:pt x="1448529" y="1412654"/>
                </a:cubicBezTo>
                <a:cubicBezTo>
                  <a:pt x="1448529" y="1410660"/>
                  <a:pt x="1450524" y="1408666"/>
                  <a:pt x="1448529" y="1406672"/>
                </a:cubicBezTo>
                <a:cubicBezTo>
                  <a:pt x="1446534" y="1406672"/>
                  <a:pt x="1446534" y="1404678"/>
                  <a:pt x="1446534" y="1402684"/>
                </a:cubicBezTo>
                <a:cubicBezTo>
                  <a:pt x="1444539" y="1400690"/>
                  <a:pt x="1448529" y="1396702"/>
                  <a:pt x="1448529" y="1394708"/>
                </a:cubicBezTo>
                <a:cubicBezTo>
                  <a:pt x="1448529" y="1392714"/>
                  <a:pt x="1448529" y="1392714"/>
                  <a:pt x="1446534" y="1388726"/>
                </a:cubicBezTo>
                <a:cubicBezTo>
                  <a:pt x="1444539" y="1386732"/>
                  <a:pt x="1444539" y="1382744"/>
                  <a:pt x="1444539" y="1380750"/>
                </a:cubicBezTo>
                <a:cubicBezTo>
                  <a:pt x="1446534" y="1378756"/>
                  <a:pt x="1446534" y="1374768"/>
                  <a:pt x="1444539" y="1372774"/>
                </a:cubicBezTo>
                <a:cubicBezTo>
                  <a:pt x="1444539" y="1370780"/>
                  <a:pt x="1444539" y="1364798"/>
                  <a:pt x="1444539" y="1360810"/>
                </a:cubicBezTo>
                <a:cubicBezTo>
                  <a:pt x="1444539" y="1358816"/>
                  <a:pt x="1446534" y="1354828"/>
                  <a:pt x="1448529" y="1352834"/>
                </a:cubicBezTo>
                <a:cubicBezTo>
                  <a:pt x="1448529" y="1350840"/>
                  <a:pt x="1446534" y="1344858"/>
                  <a:pt x="1446534" y="1342864"/>
                </a:cubicBezTo>
                <a:cubicBezTo>
                  <a:pt x="1444539" y="1342864"/>
                  <a:pt x="1440549" y="1340870"/>
                  <a:pt x="1440549" y="1340870"/>
                </a:cubicBezTo>
                <a:cubicBezTo>
                  <a:pt x="1440549" y="1340870"/>
                  <a:pt x="1438554" y="1338876"/>
                  <a:pt x="1438554" y="1336882"/>
                </a:cubicBezTo>
                <a:cubicBezTo>
                  <a:pt x="1436559" y="1334888"/>
                  <a:pt x="1438554" y="1328906"/>
                  <a:pt x="1436559" y="1326912"/>
                </a:cubicBezTo>
                <a:cubicBezTo>
                  <a:pt x="1434564" y="1324918"/>
                  <a:pt x="1432569" y="1320930"/>
                  <a:pt x="1434564" y="1318936"/>
                </a:cubicBezTo>
                <a:cubicBezTo>
                  <a:pt x="1434564" y="1316942"/>
                  <a:pt x="1436559" y="1314948"/>
                  <a:pt x="1438554" y="1314948"/>
                </a:cubicBezTo>
                <a:cubicBezTo>
                  <a:pt x="1440549" y="1314948"/>
                  <a:pt x="1452519" y="1314948"/>
                  <a:pt x="1454514" y="1314948"/>
                </a:cubicBezTo>
                <a:cubicBezTo>
                  <a:pt x="1456509" y="1312954"/>
                  <a:pt x="1462494" y="1308966"/>
                  <a:pt x="1464489" y="1308966"/>
                </a:cubicBezTo>
                <a:cubicBezTo>
                  <a:pt x="1466484" y="1306972"/>
                  <a:pt x="1470474" y="1306972"/>
                  <a:pt x="1474464" y="1306972"/>
                </a:cubicBezTo>
                <a:cubicBezTo>
                  <a:pt x="1474464" y="1304978"/>
                  <a:pt x="1478454" y="1304978"/>
                  <a:pt x="1480449" y="1302984"/>
                </a:cubicBezTo>
                <a:cubicBezTo>
                  <a:pt x="1482444" y="1300990"/>
                  <a:pt x="1484438" y="1297002"/>
                  <a:pt x="1486433" y="1295008"/>
                </a:cubicBezTo>
                <a:cubicBezTo>
                  <a:pt x="1490423" y="1295008"/>
                  <a:pt x="1492418" y="1295008"/>
                  <a:pt x="1494413" y="1295008"/>
                </a:cubicBezTo>
                <a:cubicBezTo>
                  <a:pt x="1496408" y="1293014"/>
                  <a:pt x="1500398" y="1289026"/>
                  <a:pt x="1500398" y="1287032"/>
                </a:cubicBezTo>
                <a:cubicBezTo>
                  <a:pt x="1502393" y="1285038"/>
                  <a:pt x="1504388" y="1287032"/>
                  <a:pt x="1504388" y="1283044"/>
                </a:cubicBezTo>
                <a:cubicBezTo>
                  <a:pt x="1504388" y="1279056"/>
                  <a:pt x="1502393" y="1277062"/>
                  <a:pt x="1504388" y="1275068"/>
                </a:cubicBezTo>
                <a:cubicBezTo>
                  <a:pt x="1504388" y="1273074"/>
                  <a:pt x="1514363" y="1269086"/>
                  <a:pt x="1514363" y="1267092"/>
                </a:cubicBezTo>
                <a:cubicBezTo>
                  <a:pt x="1516358" y="1265098"/>
                  <a:pt x="1516358" y="1263104"/>
                  <a:pt x="1516358" y="1261110"/>
                </a:cubicBezTo>
                <a:cubicBezTo>
                  <a:pt x="1516358" y="1259116"/>
                  <a:pt x="1516358" y="1253134"/>
                  <a:pt x="1516358" y="1249146"/>
                </a:cubicBezTo>
                <a:cubicBezTo>
                  <a:pt x="1518353" y="1247152"/>
                  <a:pt x="1522343" y="1241170"/>
                  <a:pt x="1522343" y="1239176"/>
                </a:cubicBezTo>
                <a:cubicBezTo>
                  <a:pt x="1522343" y="1237182"/>
                  <a:pt x="1524338" y="1225218"/>
                  <a:pt x="1524338" y="1223224"/>
                </a:cubicBezTo>
                <a:cubicBezTo>
                  <a:pt x="1524338" y="1221230"/>
                  <a:pt x="1522343" y="1215248"/>
                  <a:pt x="1522343" y="1215248"/>
                </a:cubicBezTo>
                <a:cubicBezTo>
                  <a:pt x="1522343" y="1213254"/>
                  <a:pt x="1520348" y="1209266"/>
                  <a:pt x="1520348" y="1207272"/>
                </a:cubicBezTo>
                <a:cubicBezTo>
                  <a:pt x="1520348" y="1205278"/>
                  <a:pt x="1518353" y="1199296"/>
                  <a:pt x="1518353" y="1197303"/>
                </a:cubicBezTo>
                <a:cubicBezTo>
                  <a:pt x="1516358" y="1195309"/>
                  <a:pt x="1512368" y="1187333"/>
                  <a:pt x="1512368" y="1185339"/>
                </a:cubicBezTo>
                <a:cubicBezTo>
                  <a:pt x="1510373" y="1185339"/>
                  <a:pt x="1506383" y="1181351"/>
                  <a:pt x="1506383" y="1181351"/>
                </a:cubicBezTo>
                <a:cubicBezTo>
                  <a:pt x="1504388" y="1179357"/>
                  <a:pt x="1500398" y="1175369"/>
                  <a:pt x="1500398" y="1173375"/>
                </a:cubicBezTo>
                <a:cubicBezTo>
                  <a:pt x="1498403" y="1173375"/>
                  <a:pt x="1494413" y="1169387"/>
                  <a:pt x="1494413" y="1167393"/>
                </a:cubicBezTo>
                <a:cubicBezTo>
                  <a:pt x="1492418" y="1165399"/>
                  <a:pt x="1490423" y="1161411"/>
                  <a:pt x="1490423" y="1159417"/>
                </a:cubicBezTo>
                <a:cubicBezTo>
                  <a:pt x="1490423" y="1155429"/>
                  <a:pt x="1492418" y="1153435"/>
                  <a:pt x="1494413" y="1153435"/>
                </a:cubicBezTo>
                <a:cubicBezTo>
                  <a:pt x="1496408" y="1153435"/>
                  <a:pt x="1496408" y="1153435"/>
                  <a:pt x="1496408" y="1153435"/>
                </a:cubicBezTo>
                <a:cubicBezTo>
                  <a:pt x="1498403" y="1151441"/>
                  <a:pt x="1496408" y="1149447"/>
                  <a:pt x="1496408" y="1147453"/>
                </a:cubicBezTo>
                <a:cubicBezTo>
                  <a:pt x="1496408" y="1145459"/>
                  <a:pt x="1500398" y="1145459"/>
                  <a:pt x="1502393" y="1145459"/>
                </a:cubicBezTo>
                <a:cubicBezTo>
                  <a:pt x="1506383" y="1143465"/>
                  <a:pt x="1506383" y="1143465"/>
                  <a:pt x="1508378" y="1143465"/>
                </a:cubicBezTo>
                <a:cubicBezTo>
                  <a:pt x="1510373" y="1141471"/>
                  <a:pt x="1512368" y="1137483"/>
                  <a:pt x="1512368" y="1135489"/>
                </a:cubicBezTo>
                <a:cubicBezTo>
                  <a:pt x="1510373" y="1133495"/>
                  <a:pt x="1510373" y="1129507"/>
                  <a:pt x="1512368" y="1127513"/>
                </a:cubicBezTo>
                <a:cubicBezTo>
                  <a:pt x="1514363" y="1125519"/>
                  <a:pt x="1518353" y="1123525"/>
                  <a:pt x="1518353" y="1123525"/>
                </a:cubicBezTo>
                <a:cubicBezTo>
                  <a:pt x="1518353" y="1123525"/>
                  <a:pt x="1516358" y="1117543"/>
                  <a:pt x="1518353" y="1117543"/>
                </a:cubicBezTo>
                <a:cubicBezTo>
                  <a:pt x="1520348" y="1117543"/>
                  <a:pt x="1522343" y="1117543"/>
                  <a:pt x="1522343" y="1115549"/>
                </a:cubicBezTo>
                <a:cubicBezTo>
                  <a:pt x="1520348" y="1113555"/>
                  <a:pt x="1518353" y="1111561"/>
                  <a:pt x="1518353" y="1109567"/>
                </a:cubicBezTo>
                <a:cubicBezTo>
                  <a:pt x="1516358" y="1105579"/>
                  <a:pt x="1516358" y="1103585"/>
                  <a:pt x="1520348" y="1103585"/>
                </a:cubicBezTo>
                <a:cubicBezTo>
                  <a:pt x="1522343" y="1103585"/>
                  <a:pt x="1522343" y="1103585"/>
                  <a:pt x="1522343" y="1101591"/>
                </a:cubicBezTo>
                <a:cubicBezTo>
                  <a:pt x="1524338" y="1101591"/>
                  <a:pt x="1524338" y="1099597"/>
                  <a:pt x="1522343" y="1099597"/>
                </a:cubicBezTo>
                <a:cubicBezTo>
                  <a:pt x="1520348" y="1099597"/>
                  <a:pt x="1518353" y="1101591"/>
                  <a:pt x="1518353" y="1097603"/>
                </a:cubicBezTo>
                <a:cubicBezTo>
                  <a:pt x="1518353" y="1093615"/>
                  <a:pt x="1516358" y="1091621"/>
                  <a:pt x="1520348" y="1091621"/>
                </a:cubicBezTo>
                <a:cubicBezTo>
                  <a:pt x="1522343" y="1089627"/>
                  <a:pt x="1522343" y="1089627"/>
                  <a:pt x="1522343" y="1089627"/>
                </a:cubicBezTo>
                <a:cubicBezTo>
                  <a:pt x="1522343" y="1087633"/>
                  <a:pt x="1520348" y="1085639"/>
                  <a:pt x="1520348" y="1083645"/>
                </a:cubicBezTo>
                <a:cubicBezTo>
                  <a:pt x="1520348" y="1081651"/>
                  <a:pt x="1520348" y="1077663"/>
                  <a:pt x="1520348" y="1077663"/>
                </a:cubicBezTo>
                <a:cubicBezTo>
                  <a:pt x="1520348" y="1075669"/>
                  <a:pt x="1510373" y="1075669"/>
                  <a:pt x="1510373" y="1073675"/>
                </a:cubicBezTo>
                <a:cubicBezTo>
                  <a:pt x="1510373" y="1073675"/>
                  <a:pt x="1516358" y="1061711"/>
                  <a:pt x="1518353" y="1059717"/>
                </a:cubicBezTo>
                <a:cubicBezTo>
                  <a:pt x="1520348" y="1059717"/>
                  <a:pt x="1520348" y="1059717"/>
                  <a:pt x="1520348" y="1057723"/>
                </a:cubicBezTo>
                <a:cubicBezTo>
                  <a:pt x="1520348" y="1053735"/>
                  <a:pt x="1520348" y="1049747"/>
                  <a:pt x="1520348" y="1049747"/>
                </a:cubicBezTo>
                <a:cubicBezTo>
                  <a:pt x="1522343" y="1047753"/>
                  <a:pt x="1526333" y="1047753"/>
                  <a:pt x="1528328" y="1045759"/>
                </a:cubicBezTo>
                <a:cubicBezTo>
                  <a:pt x="1528328" y="1045759"/>
                  <a:pt x="1528328" y="1041771"/>
                  <a:pt x="1526333" y="1041771"/>
                </a:cubicBezTo>
                <a:cubicBezTo>
                  <a:pt x="1524338" y="1039777"/>
                  <a:pt x="1520348" y="1035789"/>
                  <a:pt x="1520348" y="1031801"/>
                </a:cubicBezTo>
                <a:cubicBezTo>
                  <a:pt x="1520348" y="1029807"/>
                  <a:pt x="1518353" y="1017843"/>
                  <a:pt x="1518353" y="1015849"/>
                </a:cubicBezTo>
                <a:cubicBezTo>
                  <a:pt x="1518353" y="1013855"/>
                  <a:pt x="1518353" y="1011861"/>
                  <a:pt x="1522343" y="1009867"/>
                </a:cubicBezTo>
                <a:cubicBezTo>
                  <a:pt x="1524338" y="1009867"/>
                  <a:pt x="1524338" y="1007873"/>
                  <a:pt x="1526333" y="1007873"/>
                </a:cubicBezTo>
                <a:cubicBezTo>
                  <a:pt x="1528328" y="1005879"/>
                  <a:pt x="1534313" y="1003885"/>
                  <a:pt x="1536308" y="1001891"/>
                </a:cubicBezTo>
                <a:cubicBezTo>
                  <a:pt x="1536308" y="999897"/>
                  <a:pt x="1536308" y="999897"/>
                  <a:pt x="1538303" y="997903"/>
                </a:cubicBezTo>
                <a:cubicBezTo>
                  <a:pt x="1540298" y="997903"/>
                  <a:pt x="1548278" y="997903"/>
                  <a:pt x="1550273" y="997903"/>
                </a:cubicBezTo>
                <a:cubicBezTo>
                  <a:pt x="1552268" y="997903"/>
                  <a:pt x="1554263" y="997903"/>
                  <a:pt x="1554263" y="999897"/>
                </a:cubicBezTo>
                <a:cubicBezTo>
                  <a:pt x="1554263" y="1001891"/>
                  <a:pt x="1558253" y="1001891"/>
                  <a:pt x="1558253" y="1001891"/>
                </a:cubicBezTo>
                <a:cubicBezTo>
                  <a:pt x="1558253" y="1001891"/>
                  <a:pt x="1562243" y="1001891"/>
                  <a:pt x="1562243" y="1003885"/>
                </a:cubicBezTo>
                <a:cubicBezTo>
                  <a:pt x="1564238" y="1005879"/>
                  <a:pt x="1566233" y="1007873"/>
                  <a:pt x="1568228" y="1007873"/>
                </a:cubicBezTo>
                <a:cubicBezTo>
                  <a:pt x="1570223" y="1007873"/>
                  <a:pt x="1572218" y="1007873"/>
                  <a:pt x="1574213" y="1007873"/>
                </a:cubicBezTo>
                <a:cubicBezTo>
                  <a:pt x="1578203" y="1007873"/>
                  <a:pt x="1578203" y="1007873"/>
                  <a:pt x="1578203" y="1009867"/>
                </a:cubicBezTo>
                <a:cubicBezTo>
                  <a:pt x="1578203" y="1011861"/>
                  <a:pt x="1580198" y="1013855"/>
                  <a:pt x="1580198" y="1013855"/>
                </a:cubicBezTo>
                <a:cubicBezTo>
                  <a:pt x="1580198" y="1013855"/>
                  <a:pt x="1584188" y="1011861"/>
                  <a:pt x="1584188" y="1011861"/>
                </a:cubicBezTo>
                <a:cubicBezTo>
                  <a:pt x="1586183" y="1009867"/>
                  <a:pt x="1588178" y="1009867"/>
                  <a:pt x="1590173" y="1011861"/>
                </a:cubicBezTo>
                <a:cubicBezTo>
                  <a:pt x="1592168" y="1011861"/>
                  <a:pt x="1594163" y="1015849"/>
                  <a:pt x="1594163" y="1015849"/>
                </a:cubicBezTo>
                <a:cubicBezTo>
                  <a:pt x="1594163" y="1015849"/>
                  <a:pt x="1598153" y="1013855"/>
                  <a:pt x="1602143" y="1013855"/>
                </a:cubicBezTo>
                <a:cubicBezTo>
                  <a:pt x="1604138" y="1013855"/>
                  <a:pt x="1610123" y="1015849"/>
                  <a:pt x="1612118" y="1013855"/>
                </a:cubicBezTo>
                <a:cubicBezTo>
                  <a:pt x="1614113" y="1011861"/>
                  <a:pt x="1622093" y="1007873"/>
                  <a:pt x="1622093" y="1005879"/>
                </a:cubicBezTo>
                <a:cubicBezTo>
                  <a:pt x="1624088" y="1003885"/>
                  <a:pt x="1626083" y="1001891"/>
                  <a:pt x="1628078" y="1003885"/>
                </a:cubicBezTo>
                <a:cubicBezTo>
                  <a:pt x="1630073" y="1003885"/>
                  <a:pt x="1630073" y="1007873"/>
                  <a:pt x="1632068" y="1007873"/>
                </a:cubicBezTo>
                <a:cubicBezTo>
                  <a:pt x="1634063" y="1009867"/>
                  <a:pt x="1636058" y="1009867"/>
                  <a:pt x="1638053" y="1011861"/>
                </a:cubicBezTo>
                <a:cubicBezTo>
                  <a:pt x="1640048" y="1011861"/>
                  <a:pt x="1640048" y="1015849"/>
                  <a:pt x="1642043" y="1017843"/>
                </a:cubicBezTo>
                <a:cubicBezTo>
                  <a:pt x="1644038" y="1017843"/>
                  <a:pt x="1648028" y="1019837"/>
                  <a:pt x="1650023" y="1021831"/>
                </a:cubicBezTo>
                <a:cubicBezTo>
                  <a:pt x="1650023" y="1023825"/>
                  <a:pt x="1652018" y="1027813"/>
                  <a:pt x="1652018" y="1027813"/>
                </a:cubicBezTo>
                <a:cubicBezTo>
                  <a:pt x="1650023" y="1029807"/>
                  <a:pt x="1646033" y="1031801"/>
                  <a:pt x="1648028" y="1033795"/>
                </a:cubicBezTo>
                <a:cubicBezTo>
                  <a:pt x="1650023" y="1033795"/>
                  <a:pt x="1652018" y="1033795"/>
                  <a:pt x="1654013" y="1031801"/>
                </a:cubicBezTo>
                <a:cubicBezTo>
                  <a:pt x="1656008" y="1029807"/>
                  <a:pt x="1656008" y="1027813"/>
                  <a:pt x="1656008" y="1029807"/>
                </a:cubicBezTo>
                <a:cubicBezTo>
                  <a:pt x="1658003" y="1033795"/>
                  <a:pt x="1658003" y="1033795"/>
                  <a:pt x="1658003" y="1035789"/>
                </a:cubicBezTo>
                <a:cubicBezTo>
                  <a:pt x="1659998" y="1035789"/>
                  <a:pt x="1661993" y="1037783"/>
                  <a:pt x="1661993" y="1037783"/>
                </a:cubicBezTo>
                <a:cubicBezTo>
                  <a:pt x="1661993" y="1039777"/>
                  <a:pt x="1658003" y="1041771"/>
                  <a:pt x="1659998" y="1041771"/>
                </a:cubicBezTo>
                <a:cubicBezTo>
                  <a:pt x="1663988" y="1043765"/>
                  <a:pt x="1665983" y="1041771"/>
                  <a:pt x="1667978" y="1041771"/>
                </a:cubicBezTo>
                <a:cubicBezTo>
                  <a:pt x="1669973" y="1039777"/>
                  <a:pt x="1671968" y="1043765"/>
                  <a:pt x="1671968" y="1045759"/>
                </a:cubicBezTo>
                <a:cubicBezTo>
                  <a:pt x="1671968" y="1045759"/>
                  <a:pt x="1665983" y="1049747"/>
                  <a:pt x="1665983" y="1051741"/>
                </a:cubicBezTo>
                <a:cubicBezTo>
                  <a:pt x="1665983" y="1053735"/>
                  <a:pt x="1665983" y="1053735"/>
                  <a:pt x="1667978" y="1055729"/>
                </a:cubicBezTo>
                <a:cubicBezTo>
                  <a:pt x="1669973" y="1055729"/>
                  <a:pt x="1671968" y="1055729"/>
                  <a:pt x="1673963" y="1057723"/>
                </a:cubicBezTo>
                <a:cubicBezTo>
                  <a:pt x="1673963" y="1059717"/>
                  <a:pt x="1673963" y="1059717"/>
                  <a:pt x="1675958" y="1059717"/>
                </a:cubicBezTo>
                <a:cubicBezTo>
                  <a:pt x="1677953" y="1059717"/>
                  <a:pt x="1679948" y="1059717"/>
                  <a:pt x="1681943" y="1061711"/>
                </a:cubicBezTo>
                <a:cubicBezTo>
                  <a:pt x="1683938" y="1063705"/>
                  <a:pt x="1683938" y="1063705"/>
                  <a:pt x="1683938" y="1063705"/>
                </a:cubicBezTo>
                <a:cubicBezTo>
                  <a:pt x="1685933" y="1063705"/>
                  <a:pt x="1689923" y="1063705"/>
                  <a:pt x="1691918" y="1063705"/>
                </a:cubicBezTo>
                <a:cubicBezTo>
                  <a:pt x="1693913" y="1063705"/>
                  <a:pt x="1693913" y="1065699"/>
                  <a:pt x="1695908" y="1065699"/>
                </a:cubicBezTo>
                <a:cubicBezTo>
                  <a:pt x="1695908" y="1065699"/>
                  <a:pt x="1695908" y="1065699"/>
                  <a:pt x="1697903" y="1063705"/>
                </a:cubicBezTo>
                <a:cubicBezTo>
                  <a:pt x="1697903" y="1063705"/>
                  <a:pt x="1699898" y="1061711"/>
                  <a:pt x="1701893" y="1063705"/>
                </a:cubicBezTo>
                <a:cubicBezTo>
                  <a:pt x="1701893" y="1065699"/>
                  <a:pt x="1699898" y="1067693"/>
                  <a:pt x="1701893" y="1069687"/>
                </a:cubicBezTo>
                <a:cubicBezTo>
                  <a:pt x="1703888" y="1071681"/>
                  <a:pt x="1703888" y="1071681"/>
                  <a:pt x="1705883" y="1071681"/>
                </a:cubicBezTo>
                <a:cubicBezTo>
                  <a:pt x="1705883" y="1073675"/>
                  <a:pt x="1707878" y="1073675"/>
                  <a:pt x="1709873" y="1071681"/>
                </a:cubicBezTo>
                <a:cubicBezTo>
                  <a:pt x="1709873" y="1071681"/>
                  <a:pt x="1713863" y="1071681"/>
                  <a:pt x="1713863" y="1069687"/>
                </a:cubicBezTo>
                <a:cubicBezTo>
                  <a:pt x="1713863" y="1069687"/>
                  <a:pt x="1713863" y="1065699"/>
                  <a:pt x="1713863" y="1065699"/>
                </a:cubicBezTo>
                <a:cubicBezTo>
                  <a:pt x="1715858" y="1063705"/>
                  <a:pt x="1717853" y="1063705"/>
                  <a:pt x="1717853" y="1065699"/>
                </a:cubicBezTo>
                <a:cubicBezTo>
                  <a:pt x="1719848" y="1067693"/>
                  <a:pt x="1717853" y="1073675"/>
                  <a:pt x="1717853" y="1075669"/>
                </a:cubicBezTo>
                <a:cubicBezTo>
                  <a:pt x="1717853" y="1075669"/>
                  <a:pt x="1711868" y="1079657"/>
                  <a:pt x="1709873" y="1081651"/>
                </a:cubicBezTo>
                <a:cubicBezTo>
                  <a:pt x="1709873" y="1083645"/>
                  <a:pt x="1709873" y="1085639"/>
                  <a:pt x="1709873" y="1087633"/>
                </a:cubicBezTo>
                <a:cubicBezTo>
                  <a:pt x="1709873" y="1089627"/>
                  <a:pt x="1707878" y="1091621"/>
                  <a:pt x="1707878" y="1093615"/>
                </a:cubicBezTo>
                <a:cubicBezTo>
                  <a:pt x="1707878" y="1095609"/>
                  <a:pt x="1709873" y="1097603"/>
                  <a:pt x="1707878" y="1099597"/>
                </a:cubicBezTo>
                <a:cubicBezTo>
                  <a:pt x="1705883" y="1101591"/>
                  <a:pt x="1703888" y="1105579"/>
                  <a:pt x="1701893" y="1105579"/>
                </a:cubicBezTo>
                <a:cubicBezTo>
                  <a:pt x="1701893" y="1105579"/>
                  <a:pt x="1693913" y="1105579"/>
                  <a:pt x="1693913" y="1105579"/>
                </a:cubicBezTo>
                <a:cubicBezTo>
                  <a:pt x="1691918" y="1105579"/>
                  <a:pt x="1685933" y="1105579"/>
                  <a:pt x="1683938" y="1105579"/>
                </a:cubicBezTo>
                <a:cubicBezTo>
                  <a:pt x="1683938" y="1105579"/>
                  <a:pt x="1679948" y="1107573"/>
                  <a:pt x="1679948" y="1109567"/>
                </a:cubicBezTo>
                <a:cubicBezTo>
                  <a:pt x="1679948" y="1111561"/>
                  <a:pt x="1681943" y="1111561"/>
                  <a:pt x="1683938" y="1113555"/>
                </a:cubicBezTo>
                <a:cubicBezTo>
                  <a:pt x="1687928" y="1113555"/>
                  <a:pt x="1699898" y="1113555"/>
                  <a:pt x="1701893" y="1113555"/>
                </a:cubicBezTo>
                <a:cubicBezTo>
                  <a:pt x="1701893" y="1113555"/>
                  <a:pt x="1703888" y="1119537"/>
                  <a:pt x="1701893" y="1121531"/>
                </a:cubicBezTo>
                <a:cubicBezTo>
                  <a:pt x="1701893" y="1123525"/>
                  <a:pt x="1699898" y="1123525"/>
                  <a:pt x="1699898" y="1125519"/>
                </a:cubicBezTo>
                <a:cubicBezTo>
                  <a:pt x="1701893" y="1127513"/>
                  <a:pt x="1701893" y="1127513"/>
                  <a:pt x="1701893" y="1129507"/>
                </a:cubicBezTo>
                <a:cubicBezTo>
                  <a:pt x="1701893" y="1131501"/>
                  <a:pt x="1701893" y="1131501"/>
                  <a:pt x="1701893" y="1133495"/>
                </a:cubicBezTo>
                <a:cubicBezTo>
                  <a:pt x="1701893" y="1133495"/>
                  <a:pt x="1703888" y="1135489"/>
                  <a:pt x="1705883" y="1135489"/>
                </a:cubicBezTo>
                <a:cubicBezTo>
                  <a:pt x="1707878" y="1133495"/>
                  <a:pt x="1711868" y="1133495"/>
                  <a:pt x="1711868" y="1135489"/>
                </a:cubicBezTo>
                <a:cubicBezTo>
                  <a:pt x="1709873" y="1137483"/>
                  <a:pt x="1707878" y="1137483"/>
                  <a:pt x="1707878" y="1139477"/>
                </a:cubicBezTo>
                <a:cubicBezTo>
                  <a:pt x="1707878" y="1139477"/>
                  <a:pt x="1707878" y="1141471"/>
                  <a:pt x="1707878" y="1143465"/>
                </a:cubicBezTo>
                <a:cubicBezTo>
                  <a:pt x="1709873" y="1143465"/>
                  <a:pt x="1709873" y="1147453"/>
                  <a:pt x="1709873" y="1147453"/>
                </a:cubicBezTo>
                <a:cubicBezTo>
                  <a:pt x="1707878" y="1149447"/>
                  <a:pt x="1705883" y="1147453"/>
                  <a:pt x="1703888" y="1149447"/>
                </a:cubicBezTo>
                <a:cubicBezTo>
                  <a:pt x="1701893" y="1149447"/>
                  <a:pt x="1701893" y="1151441"/>
                  <a:pt x="1701893" y="1153435"/>
                </a:cubicBezTo>
                <a:cubicBezTo>
                  <a:pt x="1701893" y="1155429"/>
                  <a:pt x="1699898" y="1155429"/>
                  <a:pt x="1697903" y="1155429"/>
                </a:cubicBezTo>
                <a:cubicBezTo>
                  <a:pt x="1695908" y="1155429"/>
                  <a:pt x="1693913" y="1155429"/>
                  <a:pt x="1693913" y="1157423"/>
                </a:cubicBezTo>
                <a:cubicBezTo>
                  <a:pt x="1693913" y="1161411"/>
                  <a:pt x="1691918" y="1163405"/>
                  <a:pt x="1693913" y="1163405"/>
                </a:cubicBezTo>
                <a:cubicBezTo>
                  <a:pt x="1697903" y="1163405"/>
                  <a:pt x="1697903" y="1165399"/>
                  <a:pt x="1699898" y="1161411"/>
                </a:cubicBezTo>
                <a:cubicBezTo>
                  <a:pt x="1701893" y="1157423"/>
                  <a:pt x="1705883" y="1155429"/>
                  <a:pt x="1707878" y="1155429"/>
                </a:cubicBezTo>
                <a:cubicBezTo>
                  <a:pt x="1709873" y="1153435"/>
                  <a:pt x="1713863" y="1153435"/>
                  <a:pt x="1715858" y="1153435"/>
                </a:cubicBezTo>
                <a:cubicBezTo>
                  <a:pt x="1717853" y="1155429"/>
                  <a:pt x="1719848" y="1155429"/>
                  <a:pt x="1721843" y="1153435"/>
                </a:cubicBezTo>
                <a:cubicBezTo>
                  <a:pt x="1723838" y="1153435"/>
                  <a:pt x="1723838" y="1151441"/>
                  <a:pt x="1725833" y="1151441"/>
                </a:cubicBezTo>
                <a:cubicBezTo>
                  <a:pt x="1727828" y="1151441"/>
                  <a:pt x="1729823" y="1155429"/>
                  <a:pt x="1731818" y="1157423"/>
                </a:cubicBezTo>
                <a:cubicBezTo>
                  <a:pt x="1731818" y="1159417"/>
                  <a:pt x="1731818" y="1163405"/>
                  <a:pt x="1733813" y="1165399"/>
                </a:cubicBezTo>
                <a:cubicBezTo>
                  <a:pt x="1733813" y="1167393"/>
                  <a:pt x="1735808" y="1169387"/>
                  <a:pt x="1737803" y="1167393"/>
                </a:cubicBezTo>
                <a:cubicBezTo>
                  <a:pt x="1737803" y="1167393"/>
                  <a:pt x="1739798" y="1165399"/>
                  <a:pt x="1739798" y="1169387"/>
                </a:cubicBezTo>
                <a:cubicBezTo>
                  <a:pt x="1739798" y="1171381"/>
                  <a:pt x="1735808" y="1181351"/>
                  <a:pt x="1735808" y="1181351"/>
                </a:cubicBezTo>
                <a:cubicBezTo>
                  <a:pt x="1737803" y="1183345"/>
                  <a:pt x="1739798" y="1181351"/>
                  <a:pt x="1741793" y="1179357"/>
                </a:cubicBezTo>
                <a:cubicBezTo>
                  <a:pt x="1741793" y="1179357"/>
                  <a:pt x="1747778" y="1181351"/>
                  <a:pt x="1747778" y="1181351"/>
                </a:cubicBezTo>
                <a:cubicBezTo>
                  <a:pt x="1747778" y="1181351"/>
                  <a:pt x="1747778" y="1181351"/>
                  <a:pt x="1753763" y="1177363"/>
                </a:cubicBezTo>
                <a:cubicBezTo>
                  <a:pt x="1753763" y="1177363"/>
                  <a:pt x="1759748" y="1173375"/>
                  <a:pt x="1761743" y="1171381"/>
                </a:cubicBezTo>
                <a:cubicBezTo>
                  <a:pt x="1763738" y="1171381"/>
                  <a:pt x="1767728" y="1171381"/>
                  <a:pt x="1769723" y="1171381"/>
                </a:cubicBezTo>
                <a:cubicBezTo>
                  <a:pt x="1769723" y="1171381"/>
                  <a:pt x="1773713" y="1169387"/>
                  <a:pt x="1773713" y="1167393"/>
                </a:cubicBezTo>
                <a:cubicBezTo>
                  <a:pt x="1773713" y="1165399"/>
                  <a:pt x="1775708" y="1165399"/>
                  <a:pt x="1775708" y="1161411"/>
                </a:cubicBezTo>
                <a:cubicBezTo>
                  <a:pt x="1775708" y="1159417"/>
                  <a:pt x="1775708" y="1161411"/>
                  <a:pt x="1777703" y="1159417"/>
                </a:cubicBezTo>
                <a:cubicBezTo>
                  <a:pt x="1777703" y="1159417"/>
                  <a:pt x="1779698" y="1157423"/>
                  <a:pt x="1779698" y="1157423"/>
                </a:cubicBezTo>
                <a:cubicBezTo>
                  <a:pt x="1779698" y="1155429"/>
                  <a:pt x="1785683" y="1155429"/>
                  <a:pt x="1785683" y="1157423"/>
                </a:cubicBezTo>
                <a:cubicBezTo>
                  <a:pt x="1787678" y="1161411"/>
                  <a:pt x="1785683" y="1165399"/>
                  <a:pt x="1785683" y="1167393"/>
                </a:cubicBezTo>
                <a:cubicBezTo>
                  <a:pt x="1785683" y="1169387"/>
                  <a:pt x="1783688" y="1173375"/>
                  <a:pt x="1783688" y="1173375"/>
                </a:cubicBezTo>
                <a:cubicBezTo>
                  <a:pt x="1785683" y="1177363"/>
                  <a:pt x="1789673" y="1175369"/>
                  <a:pt x="1789673" y="1171381"/>
                </a:cubicBezTo>
                <a:cubicBezTo>
                  <a:pt x="1791668" y="1169387"/>
                  <a:pt x="1793663" y="1165399"/>
                  <a:pt x="1793663" y="1163405"/>
                </a:cubicBezTo>
                <a:cubicBezTo>
                  <a:pt x="1793663" y="1161411"/>
                  <a:pt x="1795658" y="1157423"/>
                  <a:pt x="1795658" y="1155429"/>
                </a:cubicBezTo>
                <a:cubicBezTo>
                  <a:pt x="1793663" y="1153435"/>
                  <a:pt x="1791668" y="1151441"/>
                  <a:pt x="1793663" y="1149447"/>
                </a:cubicBezTo>
                <a:cubicBezTo>
                  <a:pt x="1793663" y="1147453"/>
                  <a:pt x="1797653" y="1145459"/>
                  <a:pt x="1799648" y="1147453"/>
                </a:cubicBezTo>
                <a:cubicBezTo>
                  <a:pt x="1803638" y="1147453"/>
                  <a:pt x="1805633" y="1147453"/>
                  <a:pt x="1805633" y="1147453"/>
                </a:cubicBezTo>
                <a:cubicBezTo>
                  <a:pt x="1805633" y="1147453"/>
                  <a:pt x="1805633" y="1145459"/>
                  <a:pt x="1805633" y="1143465"/>
                </a:cubicBezTo>
                <a:cubicBezTo>
                  <a:pt x="1803638" y="1141471"/>
                  <a:pt x="1803638" y="1141471"/>
                  <a:pt x="1805633" y="1139477"/>
                </a:cubicBezTo>
                <a:cubicBezTo>
                  <a:pt x="1807628" y="1139477"/>
                  <a:pt x="1811618" y="1139477"/>
                  <a:pt x="1811618" y="1135489"/>
                </a:cubicBezTo>
                <a:cubicBezTo>
                  <a:pt x="1811618" y="1133495"/>
                  <a:pt x="1813613" y="1131501"/>
                  <a:pt x="1813613" y="1129507"/>
                </a:cubicBezTo>
                <a:cubicBezTo>
                  <a:pt x="1813613" y="1127513"/>
                  <a:pt x="1811618" y="1123525"/>
                  <a:pt x="1809623" y="1121531"/>
                </a:cubicBezTo>
                <a:cubicBezTo>
                  <a:pt x="1809623" y="1117543"/>
                  <a:pt x="1819598" y="1109567"/>
                  <a:pt x="1819598" y="1105579"/>
                </a:cubicBezTo>
                <a:cubicBezTo>
                  <a:pt x="1819598" y="1103585"/>
                  <a:pt x="1823588" y="1097603"/>
                  <a:pt x="1827578" y="1093615"/>
                </a:cubicBezTo>
                <a:cubicBezTo>
                  <a:pt x="1829573" y="1093615"/>
                  <a:pt x="1829573" y="1095609"/>
                  <a:pt x="1829573" y="1091621"/>
                </a:cubicBezTo>
                <a:cubicBezTo>
                  <a:pt x="1827578" y="1087633"/>
                  <a:pt x="1827578" y="1087633"/>
                  <a:pt x="1829573" y="1085639"/>
                </a:cubicBezTo>
                <a:cubicBezTo>
                  <a:pt x="1831568" y="1085639"/>
                  <a:pt x="1835558" y="1087633"/>
                  <a:pt x="1835558" y="1089627"/>
                </a:cubicBezTo>
                <a:cubicBezTo>
                  <a:pt x="1837553" y="1091621"/>
                  <a:pt x="1835558" y="1097603"/>
                  <a:pt x="1835558" y="1099597"/>
                </a:cubicBezTo>
                <a:cubicBezTo>
                  <a:pt x="1835558" y="1101591"/>
                  <a:pt x="1837553" y="1103585"/>
                  <a:pt x="1839548" y="1101591"/>
                </a:cubicBezTo>
                <a:cubicBezTo>
                  <a:pt x="1839548" y="1101591"/>
                  <a:pt x="1841543" y="1103585"/>
                  <a:pt x="1841543" y="1105579"/>
                </a:cubicBezTo>
                <a:cubicBezTo>
                  <a:pt x="1841543" y="1107573"/>
                  <a:pt x="1841543" y="1113555"/>
                  <a:pt x="1841543" y="1115549"/>
                </a:cubicBezTo>
                <a:cubicBezTo>
                  <a:pt x="1839548" y="1117543"/>
                  <a:pt x="1841543" y="1117543"/>
                  <a:pt x="1841543" y="1119537"/>
                </a:cubicBezTo>
                <a:cubicBezTo>
                  <a:pt x="1843538" y="1119537"/>
                  <a:pt x="1849523" y="1123525"/>
                  <a:pt x="1847528" y="1125519"/>
                </a:cubicBezTo>
                <a:cubicBezTo>
                  <a:pt x="1847528" y="1127513"/>
                  <a:pt x="1843538" y="1131501"/>
                  <a:pt x="1845533" y="1131501"/>
                </a:cubicBezTo>
                <a:cubicBezTo>
                  <a:pt x="1845533" y="1133495"/>
                  <a:pt x="1847528" y="1135489"/>
                  <a:pt x="1849523" y="1135489"/>
                </a:cubicBezTo>
                <a:cubicBezTo>
                  <a:pt x="1853513" y="1135489"/>
                  <a:pt x="1853513" y="1137483"/>
                  <a:pt x="1853513" y="1139477"/>
                </a:cubicBezTo>
                <a:cubicBezTo>
                  <a:pt x="1853513" y="1141471"/>
                  <a:pt x="1849523" y="1143465"/>
                  <a:pt x="1845533" y="1143465"/>
                </a:cubicBezTo>
                <a:cubicBezTo>
                  <a:pt x="1845533" y="1145459"/>
                  <a:pt x="1845533" y="1145459"/>
                  <a:pt x="1845533" y="1147453"/>
                </a:cubicBezTo>
                <a:cubicBezTo>
                  <a:pt x="1845533" y="1147453"/>
                  <a:pt x="1849523" y="1147453"/>
                  <a:pt x="1849523" y="1145459"/>
                </a:cubicBezTo>
                <a:cubicBezTo>
                  <a:pt x="1851518" y="1145459"/>
                  <a:pt x="1857503" y="1143465"/>
                  <a:pt x="1857503" y="1143465"/>
                </a:cubicBezTo>
                <a:cubicBezTo>
                  <a:pt x="1857503" y="1147453"/>
                  <a:pt x="1855508" y="1149447"/>
                  <a:pt x="1855508" y="1149447"/>
                </a:cubicBezTo>
                <a:cubicBezTo>
                  <a:pt x="1857503" y="1151441"/>
                  <a:pt x="1857503" y="1153435"/>
                  <a:pt x="1857503" y="1153435"/>
                </a:cubicBezTo>
                <a:cubicBezTo>
                  <a:pt x="1859498" y="1155429"/>
                  <a:pt x="1861493" y="1153435"/>
                  <a:pt x="1863488" y="1153435"/>
                </a:cubicBezTo>
                <a:cubicBezTo>
                  <a:pt x="1865483" y="1153435"/>
                  <a:pt x="1865483" y="1157423"/>
                  <a:pt x="1865483" y="1159417"/>
                </a:cubicBezTo>
                <a:cubicBezTo>
                  <a:pt x="1865483" y="1161411"/>
                  <a:pt x="1861493" y="1165399"/>
                  <a:pt x="1859498" y="1165399"/>
                </a:cubicBezTo>
                <a:cubicBezTo>
                  <a:pt x="1857503" y="1165399"/>
                  <a:pt x="1853513" y="1165399"/>
                  <a:pt x="1851518" y="1165399"/>
                </a:cubicBezTo>
                <a:cubicBezTo>
                  <a:pt x="1851518" y="1167393"/>
                  <a:pt x="1849523" y="1165399"/>
                  <a:pt x="1849523" y="1167393"/>
                </a:cubicBezTo>
                <a:cubicBezTo>
                  <a:pt x="1847528" y="1169387"/>
                  <a:pt x="1847528" y="1171381"/>
                  <a:pt x="1849523" y="1171381"/>
                </a:cubicBezTo>
                <a:cubicBezTo>
                  <a:pt x="1851518" y="1171381"/>
                  <a:pt x="1857503" y="1169387"/>
                  <a:pt x="1857503" y="1169387"/>
                </a:cubicBezTo>
                <a:cubicBezTo>
                  <a:pt x="1859498" y="1167393"/>
                  <a:pt x="1861493" y="1165399"/>
                  <a:pt x="1865483" y="1165399"/>
                </a:cubicBezTo>
                <a:cubicBezTo>
                  <a:pt x="1867478" y="1165399"/>
                  <a:pt x="1871468" y="1165399"/>
                  <a:pt x="1871468" y="1169387"/>
                </a:cubicBezTo>
                <a:cubicBezTo>
                  <a:pt x="1871468" y="1171381"/>
                  <a:pt x="1867478" y="1175369"/>
                  <a:pt x="1865483" y="1177363"/>
                </a:cubicBezTo>
                <a:cubicBezTo>
                  <a:pt x="1865483" y="1177363"/>
                  <a:pt x="1859498" y="1183345"/>
                  <a:pt x="1857503" y="1183345"/>
                </a:cubicBezTo>
                <a:cubicBezTo>
                  <a:pt x="1855508" y="1183345"/>
                  <a:pt x="1851518" y="1187333"/>
                  <a:pt x="1851518" y="1187333"/>
                </a:cubicBezTo>
                <a:cubicBezTo>
                  <a:pt x="1851518" y="1187333"/>
                  <a:pt x="1857503" y="1187333"/>
                  <a:pt x="1859498" y="1185339"/>
                </a:cubicBezTo>
                <a:cubicBezTo>
                  <a:pt x="1859498" y="1185339"/>
                  <a:pt x="1869473" y="1181351"/>
                  <a:pt x="1871468" y="1179357"/>
                </a:cubicBezTo>
                <a:cubicBezTo>
                  <a:pt x="1871468" y="1179357"/>
                  <a:pt x="1875458" y="1179357"/>
                  <a:pt x="1875458" y="1181351"/>
                </a:cubicBezTo>
                <a:cubicBezTo>
                  <a:pt x="1875458" y="1185339"/>
                  <a:pt x="1871468" y="1187333"/>
                  <a:pt x="1873463" y="1189327"/>
                </a:cubicBezTo>
                <a:cubicBezTo>
                  <a:pt x="1875458" y="1189327"/>
                  <a:pt x="1879448" y="1187333"/>
                  <a:pt x="1879448" y="1189327"/>
                </a:cubicBezTo>
                <a:cubicBezTo>
                  <a:pt x="1881443" y="1191321"/>
                  <a:pt x="1879448" y="1197303"/>
                  <a:pt x="1879448" y="1197303"/>
                </a:cubicBezTo>
                <a:cubicBezTo>
                  <a:pt x="1879448" y="1199296"/>
                  <a:pt x="1879448" y="1201290"/>
                  <a:pt x="1879448" y="1203284"/>
                </a:cubicBezTo>
                <a:cubicBezTo>
                  <a:pt x="1877453" y="1203284"/>
                  <a:pt x="1875458" y="1205278"/>
                  <a:pt x="1875458" y="1205278"/>
                </a:cubicBezTo>
                <a:cubicBezTo>
                  <a:pt x="1873463" y="1205278"/>
                  <a:pt x="1871468" y="1203284"/>
                  <a:pt x="1871468" y="1205278"/>
                </a:cubicBezTo>
                <a:cubicBezTo>
                  <a:pt x="1869473" y="1207272"/>
                  <a:pt x="1871468" y="1209266"/>
                  <a:pt x="1871468" y="1209266"/>
                </a:cubicBezTo>
                <a:cubicBezTo>
                  <a:pt x="1871468" y="1209266"/>
                  <a:pt x="1875458" y="1209266"/>
                  <a:pt x="1875458" y="1207272"/>
                </a:cubicBezTo>
                <a:cubicBezTo>
                  <a:pt x="1877453" y="1207272"/>
                  <a:pt x="1879448" y="1207272"/>
                  <a:pt x="1879448" y="1211260"/>
                </a:cubicBezTo>
                <a:cubicBezTo>
                  <a:pt x="1879448" y="1213254"/>
                  <a:pt x="1879448" y="1215248"/>
                  <a:pt x="1881443" y="1217242"/>
                </a:cubicBezTo>
                <a:cubicBezTo>
                  <a:pt x="1883438" y="1217242"/>
                  <a:pt x="1887427" y="1217242"/>
                  <a:pt x="1887427" y="1219236"/>
                </a:cubicBezTo>
                <a:cubicBezTo>
                  <a:pt x="1889422" y="1219236"/>
                  <a:pt x="1893412" y="1219236"/>
                  <a:pt x="1893412" y="1221230"/>
                </a:cubicBezTo>
                <a:cubicBezTo>
                  <a:pt x="1895407" y="1223224"/>
                  <a:pt x="1891417" y="1227212"/>
                  <a:pt x="1889422" y="1229206"/>
                </a:cubicBezTo>
                <a:cubicBezTo>
                  <a:pt x="1889422" y="1231200"/>
                  <a:pt x="1887427" y="1233194"/>
                  <a:pt x="1887427" y="1235188"/>
                </a:cubicBezTo>
                <a:cubicBezTo>
                  <a:pt x="1887427" y="1235188"/>
                  <a:pt x="1883438" y="1233194"/>
                  <a:pt x="1883438" y="1233194"/>
                </a:cubicBezTo>
                <a:cubicBezTo>
                  <a:pt x="1881443" y="1233194"/>
                  <a:pt x="1881443" y="1235188"/>
                  <a:pt x="1879448" y="1237182"/>
                </a:cubicBezTo>
                <a:cubicBezTo>
                  <a:pt x="1879448" y="1237182"/>
                  <a:pt x="1875458" y="1237182"/>
                  <a:pt x="1873463" y="1237182"/>
                </a:cubicBezTo>
                <a:cubicBezTo>
                  <a:pt x="1873463" y="1237182"/>
                  <a:pt x="1869473" y="1235188"/>
                  <a:pt x="1869473" y="1235188"/>
                </a:cubicBezTo>
                <a:cubicBezTo>
                  <a:pt x="1867478" y="1233194"/>
                  <a:pt x="1867478" y="1233194"/>
                  <a:pt x="1865483" y="1233194"/>
                </a:cubicBezTo>
                <a:cubicBezTo>
                  <a:pt x="1863488" y="1233194"/>
                  <a:pt x="1861493" y="1233194"/>
                  <a:pt x="1861493" y="1235188"/>
                </a:cubicBezTo>
                <a:cubicBezTo>
                  <a:pt x="1861493" y="1237182"/>
                  <a:pt x="1867478" y="1237182"/>
                  <a:pt x="1867478" y="1237182"/>
                </a:cubicBezTo>
                <a:cubicBezTo>
                  <a:pt x="1869473" y="1237182"/>
                  <a:pt x="1877453" y="1239176"/>
                  <a:pt x="1879448" y="1241170"/>
                </a:cubicBezTo>
                <a:cubicBezTo>
                  <a:pt x="1879448" y="1243164"/>
                  <a:pt x="1879448" y="1245158"/>
                  <a:pt x="1877453" y="1245158"/>
                </a:cubicBezTo>
                <a:cubicBezTo>
                  <a:pt x="1877453" y="1247152"/>
                  <a:pt x="1871468" y="1247152"/>
                  <a:pt x="1871468" y="1249146"/>
                </a:cubicBezTo>
                <a:cubicBezTo>
                  <a:pt x="1871468" y="1251140"/>
                  <a:pt x="1873463" y="1251140"/>
                  <a:pt x="1875458" y="1253134"/>
                </a:cubicBezTo>
                <a:cubicBezTo>
                  <a:pt x="1875458" y="1253134"/>
                  <a:pt x="1875458" y="1255128"/>
                  <a:pt x="1875458" y="1255128"/>
                </a:cubicBezTo>
                <a:cubicBezTo>
                  <a:pt x="1875458" y="1257122"/>
                  <a:pt x="1873463" y="1257122"/>
                  <a:pt x="1873463" y="1259116"/>
                </a:cubicBezTo>
                <a:cubicBezTo>
                  <a:pt x="1875458" y="1259116"/>
                  <a:pt x="1879448" y="1259116"/>
                  <a:pt x="1879448" y="1259116"/>
                </a:cubicBezTo>
                <a:cubicBezTo>
                  <a:pt x="1879448" y="1259116"/>
                  <a:pt x="1885432" y="1259116"/>
                  <a:pt x="1885432" y="1259116"/>
                </a:cubicBezTo>
                <a:cubicBezTo>
                  <a:pt x="1885432" y="1259116"/>
                  <a:pt x="1887427" y="1259116"/>
                  <a:pt x="1887427" y="1261110"/>
                </a:cubicBezTo>
                <a:cubicBezTo>
                  <a:pt x="1887427" y="1265098"/>
                  <a:pt x="1885432" y="1269086"/>
                  <a:pt x="1887427" y="1271080"/>
                </a:cubicBezTo>
                <a:cubicBezTo>
                  <a:pt x="1889422" y="1271080"/>
                  <a:pt x="1893412" y="1271080"/>
                  <a:pt x="1895407" y="1273074"/>
                </a:cubicBezTo>
                <a:cubicBezTo>
                  <a:pt x="1895407" y="1275068"/>
                  <a:pt x="1899397" y="1275068"/>
                  <a:pt x="1899397" y="1277062"/>
                </a:cubicBezTo>
                <a:cubicBezTo>
                  <a:pt x="1901392" y="1279056"/>
                  <a:pt x="1899397" y="1279056"/>
                  <a:pt x="1899397" y="1281050"/>
                </a:cubicBezTo>
                <a:cubicBezTo>
                  <a:pt x="1901392" y="1283044"/>
                  <a:pt x="1903387" y="1281050"/>
                  <a:pt x="1905382" y="1279056"/>
                </a:cubicBezTo>
                <a:cubicBezTo>
                  <a:pt x="1905382" y="1279056"/>
                  <a:pt x="1909372" y="1277062"/>
                  <a:pt x="1909372" y="1279056"/>
                </a:cubicBezTo>
                <a:cubicBezTo>
                  <a:pt x="1911367" y="1281050"/>
                  <a:pt x="1909372" y="1283044"/>
                  <a:pt x="1909372" y="1285038"/>
                </a:cubicBezTo>
                <a:cubicBezTo>
                  <a:pt x="1909372" y="1287032"/>
                  <a:pt x="1909372" y="1287032"/>
                  <a:pt x="1909372" y="1289026"/>
                </a:cubicBezTo>
                <a:cubicBezTo>
                  <a:pt x="1911367" y="1289026"/>
                  <a:pt x="1911367" y="1289026"/>
                  <a:pt x="1911367" y="1291020"/>
                </a:cubicBezTo>
                <a:cubicBezTo>
                  <a:pt x="1911367" y="1291020"/>
                  <a:pt x="1909372" y="1295008"/>
                  <a:pt x="1909372" y="1297002"/>
                </a:cubicBezTo>
                <a:cubicBezTo>
                  <a:pt x="1907377" y="1298996"/>
                  <a:pt x="1905382" y="1298996"/>
                  <a:pt x="1905382" y="1300990"/>
                </a:cubicBezTo>
                <a:cubicBezTo>
                  <a:pt x="1903387" y="1302984"/>
                  <a:pt x="1905382" y="1304978"/>
                  <a:pt x="1907377" y="1304978"/>
                </a:cubicBezTo>
                <a:cubicBezTo>
                  <a:pt x="1909372" y="1304978"/>
                  <a:pt x="1915357" y="1298996"/>
                  <a:pt x="1917352" y="1298996"/>
                </a:cubicBezTo>
                <a:cubicBezTo>
                  <a:pt x="1919347" y="1297002"/>
                  <a:pt x="1923337" y="1297002"/>
                  <a:pt x="1925332" y="1297002"/>
                </a:cubicBezTo>
                <a:cubicBezTo>
                  <a:pt x="1925332" y="1297002"/>
                  <a:pt x="1929322" y="1297002"/>
                  <a:pt x="1929322" y="1298996"/>
                </a:cubicBezTo>
                <a:cubicBezTo>
                  <a:pt x="1929322" y="1300990"/>
                  <a:pt x="1931317" y="1302984"/>
                  <a:pt x="1931317" y="1302984"/>
                </a:cubicBezTo>
                <a:cubicBezTo>
                  <a:pt x="1933312" y="1300990"/>
                  <a:pt x="1933312" y="1298996"/>
                  <a:pt x="1937302" y="1300990"/>
                </a:cubicBezTo>
                <a:cubicBezTo>
                  <a:pt x="1937302" y="1300990"/>
                  <a:pt x="1937302" y="1302984"/>
                  <a:pt x="1939297" y="1304978"/>
                </a:cubicBezTo>
                <a:cubicBezTo>
                  <a:pt x="1941292" y="1304978"/>
                  <a:pt x="1943287" y="1304978"/>
                  <a:pt x="1941292" y="1306972"/>
                </a:cubicBezTo>
                <a:cubicBezTo>
                  <a:pt x="1939297" y="1308966"/>
                  <a:pt x="1943287" y="1310960"/>
                  <a:pt x="1943287" y="1310960"/>
                </a:cubicBezTo>
                <a:cubicBezTo>
                  <a:pt x="1943287" y="1310960"/>
                  <a:pt x="1943287" y="1312954"/>
                  <a:pt x="1945282" y="1312954"/>
                </a:cubicBezTo>
                <a:cubicBezTo>
                  <a:pt x="1947277" y="1314948"/>
                  <a:pt x="1949272" y="1314948"/>
                  <a:pt x="1951267" y="1314948"/>
                </a:cubicBezTo>
                <a:cubicBezTo>
                  <a:pt x="1955257" y="1314948"/>
                  <a:pt x="1961242" y="1310960"/>
                  <a:pt x="1963237" y="1312954"/>
                </a:cubicBezTo>
                <a:cubicBezTo>
                  <a:pt x="1965232" y="1312954"/>
                  <a:pt x="1965232" y="1316942"/>
                  <a:pt x="1967227" y="1318936"/>
                </a:cubicBezTo>
                <a:cubicBezTo>
                  <a:pt x="1969222" y="1320930"/>
                  <a:pt x="1969222" y="1320930"/>
                  <a:pt x="1971217" y="1320930"/>
                </a:cubicBezTo>
                <a:cubicBezTo>
                  <a:pt x="1973212" y="1320930"/>
                  <a:pt x="1981192" y="1320930"/>
                  <a:pt x="1981192" y="1320930"/>
                </a:cubicBezTo>
                <a:cubicBezTo>
                  <a:pt x="1983187" y="1320930"/>
                  <a:pt x="1985182" y="1322924"/>
                  <a:pt x="1985182" y="1324918"/>
                </a:cubicBezTo>
                <a:cubicBezTo>
                  <a:pt x="1985182" y="1324918"/>
                  <a:pt x="1975207" y="1326912"/>
                  <a:pt x="1973212" y="1328906"/>
                </a:cubicBezTo>
                <a:cubicBezTo>
                  <a:pt x="1971217" y="1328906"/>
                  <a:pt x="1967227" y="1328906"/>
                  <a:pt x="1965232" y="1328906"/>
                </a:cubicBezTo>
                <a:cubicBezTo>
                  <a:pt x="1963237" y="1328906"/>
                  <a:pt x="1961242" y="1326912"/>
                  <a:pt x="1959247" y="1328906"/>
                </a:cubicBezTo>
                <a:cubicBezTo>
                  <a:pt x="1957252" y="1328906"/>
                  <a:pt x="1955257" y="1328906"/>
                  <a:pt x="1955257" y="1330900"/>
                </a:cubicBezTo>
                <a:cubicBezTo>
                  <a:pt x="1955257" y="1332894"/>
                  <a:pt x="1955257" y="1332894"/>
                  <a:pt x="1955257" y="1332894"/>
                </a:cubicBezTo>
                <a:cubicBezTo>
                  <a:pt x="1953262" y="1334888"/>
                  <a:pt x="1947277" y="1334888"/>
                  <a:pt x="1947277" y="1336882"/>
                </a:cubicBezTo>
                <a:cubicBezTo>
                  <a:pt x="1945282" y="1336882"/>
                  <a:pt x="1945282" y="1338876"/>
                  <a:pt x="1943287" y="1340870"/>
                </a:cubicBezTo>
                <a:cubicBezTo>
                  <a:pt x="1941292" y="1340870"/>
                  <a:pt x="1935307" y="1342864"/>
                  <a:pt x="1933312" y="1342864"/>
                </a:cubicBezTo>
                <a:cubicBezTo>
                  <a:pt x="1931317" y="1342864"/>
                  <a:pt x="1925332" y="1340870"/>
                  <a:pt x="1925332" y="1344858"/>
                </a:cubicBezTo>
                <a:cubicBezTo>
                  <a:pt x="1923337" y="1346852"/>
                  <a:pt x="1925332" y="1346852"/>
                  <a:pt x="1927327" y="1346852"/>
                </a:cubicBezTo>
                <a:cubicBezTo>
                  <a:pt x="1929322" y="1346852"/>
                  <a:pt x="1933312" y="1346852"/>
                  <a:pt x="1933312" y="1346852"/>
                </a:cubicBezTo>
                <a:cubicBezTo>
                  <a:pt x="1933312" y="1348846"/>
                  <a:pt x="1927327" y="1350840"/>
                  <a:pt x="1927327" y="1350840"/>
                </a:cubicBezTo>
                <a:cubicBezTo>
                  <a:pt x="1925332" y="1350840"/>
                  <a:pt x="1917352" y="1352834"/>
                  <a:pt x="1915357" y="1352834"/>
                </a:cubicBezTo>
                <a:cubicBezTo>
                  <a:pt x="1913362" y="1352834"/>
                  <a:pt x="1911367" y="1350840"/>
                  <a:pt x="1911367" y="1354828"/>
                </a:cubicBezTo>
                <a:cubicBezTo>
                  <a:pt x="1909372" y="1356822"/>
                  <a:pt x="1909372" y="1358816"/>
                  <a:pt x="1907377" y="1358816"/>
                </a:cubicBezTo>
                <a:cubicBezTo>
                  <a:pt x="1905382" y="1360810"/>
                  <a:pt x="1901392" y="1358816"/>
                  <a:pt x="1899397" y="1358816"/>
                </a:cubicBezTo>
                <a:cubicBezTo>
                  <a:pt x="1899397" y="1358816"/>
                  <a:pt x="1893412" y="1356822"/>
                  <a:pt x="1891417" y="1356822"/>
                </a:cubicBezTo>
                <a:cubicBezTo>
                  <a:pt x="1889422" y="1356822"/>
                  <a:pt x="1887427" y="1356822"/>
                  <a:pt x="1887427" y="1358816"/>
                </a:cubicBezTo>
                <a:cubicBezTo>
                  <a:pt x="1887427" y="1358816"/>
                  <a:pt x="1889422" y="1360810"/>
                  <a:pt x="1891417" y="1360810"/>
                </a:cubicBezTo>
                <a:cubicBezTo>
                  <a:pt x="1891417" y="1362804"/>
                  <a:pt x="1897402" y="1366792"/>
                  <a:pt x="1897402" y="1366792"/>
                </a:cubicBezTo>
                <a:cubicBezTo>
                  <a:pt x="1897402" y="1366792"/>
                  <a:pt x="1899397" y="1370780"/>
                  <a:pt x="1897402" y="1370780"/>
                </a:cubicBezTo>
                <a:cubicBezTo>
                  <a:pt x="1897402" y="1372774"/>
                  <a:pt x="1887427" y="1376762"/>
                  <a:pt x="1887427" y="1376762"/>
                </a:cubicBezTo>
                <a:cubicBezTo>
                  <a:pt x="1887427" y="1376762"/>
                  <a:pt x="1879448" y="1380750"/>
                  <a:pt x="1877453" y="1382744"/>
                </a:cubicBezTo>
                <a:cubicBezTo>
                  <a:pt x="1875458" y="1384738"/>
                  <a:pt x="1869473" y="1390720"/>
                  <a:pt x="1869473" y="1390720"/>
                </a:cubicBezTo>
                <a:cubicBezTo>
                  <a:pt x="1867478" y="1392714"/>
                  <a:pt x="1865483" y="1394708"/>
                  <a:pt x="1867478" y="1394708"/>
                </a:cubicBezTo>
                <a:cubicBezTo>
                  <a:pt x="1869473" y="1394708"/>
                  <a:pt x="1875458" y="1390720"/>
                  <a:pt x="1875458" y="1388726"/>
                </a:cubicBezTo>
                <a:cubicBezTo>
                  <a:pt x="1877453" y="1386732"/>
                  <a:pt x="1885432" y="1382744"/>
                  <a:pt x="1887427" y="1380750"/>
                </a:cubicBezTo>
                <a:cubicBezTo>
                  <a:pt x="1889422" y="1378756"/>
                  <a:pt x="1899397" y="1374768"/>
                  <a:pt x="1901392" y="1374768"/>
                </a:cubicBezTo>
                <a:cubicBezTo>
                  <a:pt x="1903387" y="1374768"/>
                  <a:pt x="1905382" y="1376762"/>
                  <a:pt x="1905382" y="1372774"/>
                </a:cubicBezTo>
                <a:cubicBezTo>
                  <a:pt x="1907377" y="1368786"/>
                  <a:pt x="1909372" y="1364798"/>
                  <a:pt x="1911367" y="1362804"/>
                </a:cubicBezTo>
                <a:cubicBezTo>
                  <a:pt x="1913362" y="1360810"/>
                  <a:pt x="1921342" y="1358816"/>
                  <a:pt x="1923337" y="1358816"/>
                </a:cubicBezTo>
                <a:cubicBezTo>
                  <a:pt x="1925332" y="1358816"/>
                  <a:pt x="1929322" y="1358816"/>
                  <a:pt x="1931317" y="1356822"/>
                </a:cubicBezTo>
                <a:cubicBezTo>
                  <a:pt x="1931317" y="1354828"/>
                  <a:pt x="1935307" y="1352834"/>
                  <a:pt x="1937302" y="1350840"/>
                </a:cubicBezTo>
                <a:cubicBezTo>
                  <a:pt x="1939297" y="1350840"/>
                  <a:pt x="1943287" y="1350840"/>
                  <a:pt x="1943287" y="1350840"/>
                </a:cubicBezTo>
                <a:cubicBezTo>
                  <a:pt x="1945282" y="1348846"/>
                  <a:pt x="1947277" y="1346852"/>
                  <a:pt x="1949272" y="1344858"/>
                </a:cubicBezTo>
                <a:cubicBezTo>
                  <a:pt x="1949272" y="1342864"/>
                  <a:pt x="1951267" y="1338876"/>
                  <a:pt x="1951267" y="1338876"/>
                </a:cubicBezTo>
                <a:cubicBezTo>
                  <a:pt x="1951267" y="1338876"/>
                  <a:pt x="1955257" y="1336882"/>
                  <a:pt x="1955257" y="1336882"/>
                </a:cubicBezTo>
                <a:cubicBezTo>
                  <a:pt x="1957252" y="1338876"/>
                  <a:pt x="1961242" y="1338876"/>
                  <a:pt x="1963237" y="1338876"/>
                </a:cubicBezTo>
                <a:cubicBezTo>
                  <a:pt x="1965232" y="1338876"/>
                  <a:pt x="1967227" y="1338876"/>
                  <a:pt x="1971217" y="1338876"/>
                </a:cubicBezTo>
                <a:cubicBezTo>
                  <a:pt x="1977202" y="1340870"/>
                  <a:pt x="1977202" y="1342864"/>
                  <a:pt x="1979197" y="1344858"/>
                </a:cubicBezTo>
                <a:cubicBezTo>
                  <a:pt x="1981192" y="1346852"/>
                  <a:pt x="1983187" y="1350840"/>
                  <a:pt x="1981192" y="1352834"/>
                </a:cubicBezTo>
                <a:cubicBezTo>
                  <a:pt x="1981192" y="1354828"/>
                  <a:pt x="1979197" y="1356822"/>
                  <a:pt x="1977202" y="1356822"/>
                </a:cubicBezTo>
                <a:cubicBezTo>
                  <a:pt x="1977202" y="1356822"/>
                  <a:pt x="1971217" y="1356822"/>
                  <a:pt x="1971217" y="1358816"/>
                </a:cubicBezTo>
                <a:cubicBezTo>
                  <a:pt x="1971217" y="1358816"/>
                  <a:pt x="1973212" y="1360810"/>
                  <a:pt x="1975207" y="1362804"/>
                </a:cubicBezTo>
                <a:cubicBezTo>
                  <a:pt x="1977202" y="1364798"/>
                  <a:pt x="1979197" y="1366792"/>
                  <a:pt x="1979197" y="1364798"/>
                </a:cubicBezTo>
                <a:cubicBezTo>
                  <a:pt x="1981192" y="1362804"/>
                  <a:pt x="1979197" y="1358816"/>
                  <a:pt x="1981192" y="1356822"/>
                </a:cubicBezTo>
                <a:cubicBezTo>
                  <a:pt x="1981192" y="1354828"/>
                  <a:pt x="1985182" y="1352834"/>
                  <a:pt x="1985182" y="1352834"/>
                </a:cubicBezTo>
                <a:cubicBezTo>
                  <a:pt x="1987177" y="1352834"/>
                  <a:pt x="1993162" y="1352834"/>
                  <a:pt x="1993162" y="1354828"/>
                </a:cubicBezTo>
                <a:cubicBezTo>
                  <a:pt x="1993162" y="1354828"/>
                  <a:pt x="1995157" y="1356822"/>
                  <a:pt x="1997152" y="1358816"/>
                </a:cubicBezTo>
                <a:cubicBezTo>
                  <a:pt x="1997152" y="1358816"/>
                  <a:pt x="1997152" y="1358816"/>
                  <a:pt x="1999147" y="1358816"/>
                </a:cubicBezTo>
                <a:cubicBezTo>
                  <a:pt x="2001142" y="1356822"/>
                  <a:pt x="2003137" y="1356822"/>
                  <a:pt x="2005132" y="1358816"/>
                </a:cubicBezTo>
                <a:cubicBezTo>
                  <a:pt x="2007127" y="1360810"/>
                  <a:pt x="2005132" y="1364798"/>
                  <a:pt x="2005132" y="1366792"/>
                </a:cubicBezTo>
                <a:cubicBezTo>
                  <a:pt x="2005132" y="1368786"/>
                  <a:pt x="2009122" y="1368786"/>
                  <a:pt x="2009122" y="1368786"/>
                </a:cubicBezTo>
                <a:cubicBezTo>
                  <a:pt x="2009122" y="1368786"/>
                  <a:pt x="2011117" y="1370780"/>
                  <a:pt x="2011117" y="1374768"/>
                </a:cubicBezTo>
                <a:cubicBezTo>
                  <a:pt x="2011117" y="1376762"/>
                  <a:pt x="2009122" y="1378756"/>
                  <a:pt x="2009122" y="1378756"/>
                </a:cubicBezTo>
                <a:cubicBezTo>
                  <a:pt x="2009122" y="1378756"/>
                  <a:pt x="2009122" y="1380750"/>
                  <a:pt x="2009122" y="1380750"/>
                </a:cubicBezTo>
                <a:cubicBezTo>
                  <a:pt x="2007127" y="1384738"/>
                  <a:pt x="2007127" y="1384738"/>
                  <a:pt x="2007127" y="1384738"/>
                </a:cubicBezTo>
                <a:cubicBezTo>
                  <a:pt x="2007127" y="1384738"/>
                  <a:pt x="2003137" y="1382744"/>
                  <a:pt x="2003137" y="1384738"/>
                </a:cubicBezTo>
                <a:cubicBezTo>
                  <a:pt x="2001142" y="1386732"/>
                  <a:pt x="2005132" y="1384738"/>
                  <a:pt x="2005132" y="1386732"/>
                </a:cubicBezTo>
                <a:cubicBezTo>
                  <a:pt x="2005132" y="1388726"/>
                  <a:pt x="2005132" y="1390720"/>
                  <a:pt x="2005132" y="1392714"/>
                </a:cubicBezTo>
                <a:cubicBezTo>
                  <a:pt x="2005132" y="1392714"/>
                  <a:pt x="2001142" y="1392714"/>
                  <a:pt x="2003137" y="1392714"/>
                </a:cubicBezTo>
                <a:cubicBezTo>
                  <a:pt x="2005132" y="1396702"/>
                  <a:pt x="2007127" y="1396702"/>
                  <a:pt x="2005132" y="1398696"/>
                </a:cubicBezTo>
                <a:cubicBezTo>
                  <a:pt x="2005132" y="1400690"/>
                  <a:pt x="2003137" y="1398696"/>
                  <a:pt x="2001142" y="1398696"/>
                </a:cubicBezTo>
                <a:cubicBezTo>
                  <a:pt x="2001142" y="1398696"/>
                  <a:pt x="1999147" y="1398696"/>
                  <a:pt x="1999147" y="1400690"/>
                </a:cubicBezTo>
                <a:cubicBezTo>
                  <a:pt x="2001142" y="1402684"/>
                  <a:pt x="2005132" y="1404678"/>
                  <a:pt x="2007127" y="1404678"/>
                </a:cubicBezTo>
                <a:cubicBezTo>
                  <a:pt x="2009122" y="1404678"/>
                  <a:pt x="2009122" y="1406672"/>
                  <a:pt x="2009122" y="1408666"/>
                </a:cubicBezTo>
                <a:cubicBezTo>
                  <a:pt x="2009122" y="1410660"/>
                  <a:pt x="2005132" y="1406672"/>
                  <a:pt x="2005132" y="1408666"/>
                </a:cubicBezTo>
                <a:cubicBezTo>
                  <a:pt x="2003137" y="1410660"/>
                  <a:pt x="2005132" y="1414648"/>
                  <a:pt x="2005132" y="1416642"/>
                </a:cubicBezTo>
                <a:cubicBezTo>
                  <a:pt x="2005132" y="1418636"/>
                  <a:pt x="2003137" y="1424618"/>
                  <a:pt x="2003137" y="1426612"/>
                </a:cubicBezTo>
                <a:cubicBezTo>
                  <a:pt x="2005132" y="1426612"/>
                  <a:pt x="2005132" y="1430600"/>
                  <a:pt x="2003137" y="1430600"/>
                </a:cubicBezTo>
                <a:cubicBezTo>
                  <a:pt x="2003137" y="1430600"/>
                  <a:pt x="2001142" y="1430600"/>
                  <a:pt x="1999147" y="1428606"/>
                </a:cubicBezTo>
                <a:cubicBezTo>
                  <a:pt x="1997152" y="1428606"/>
                  <a:pt x="1997152" y="1428606"/>
                  <a:pt x="1997152" y="1430600"/>
                </a:cubicBezTo>
                <a:cubicBezTo>
                  <a:pt x="1995157" y="1432594"/>
                  <a:pt x="1993162" y="1434588"/>
                  <a:pt x="1991167" y="1436582"/>
                </a:cubicBezTo>
                <a:cubicBezTo>
                  <a:pt x="1991167" y="1436582"/>
                  <a:pt x="1987177" y="1436582"/>
                  <a:pt x="1985182" y="1436582"/>
                </a:cubicBezTo>
                <a:cubicBezTo>
                  <a:pt x="1983187" y="1436582"/>
                  <a:pt x="1983187" y="1436582"/>
                  <a:pt x="1981192" y="1438576"/>
                </a:cubicBezTo>
                <a:cubicBezTo>
                  <a:pt x="1979197" y="1442564"/>
                  <a:pt x="1979197" y="1442564"/>
                  <a:pt x="1977202" y="1442564"/>
                </a:cubicBezTo>
                <a:cubicBezTo>
                  <a:pt x="1977202" y="1444558"/>
                  <a:pt x="1973212" y="1442564"/>
                  <a:pt x="1971217" y="1444558"/>
                </a:cubicBezTo>
                <a:cubicBezTo>
                  <a:pt x="1969222" y="1444558"/>
                  <a:pt x="1967227" y="1446552"/>
                  <a:pt x="1967227" y="1444558"/>
                </a:cubicBezTo>
                <a:cubicBezTo>
                  <a:pt x="1965232" y="1444558"/>
                  <a:pt x="1967227" y="1442564"/>
                  <a:pt x="1963237" y="1442564"/>
                </a:cubicBezTo>
                <a:cubicBezTo>
                  <a:pt x="1961242" y="1444558"/>
                  <a:pt x="1961242" y="1446552"/>
                  <a:pt x="1959247" y="1446552"/>
                </a:cubicBezTo>
                <a:cubicBezTo>
                  <a:pt x="1957252" y="1446552"/>
                  <a:pt x="1959247" y="1442564"/>
                  <a:pt x="1955257" y="1442564"/>
                </a:cubicBezTo>
                <a:cubicBezTo>
                  <a:pt x="1953262" y="1442564"/>
                  <a:pt x="1951267" y="1444558"/>
                  <a:pt x="1951267" y="1444558"/>
                </a:cubicBezTo>
                <a:cubicBezTo>
                  <a:pt x="1951267" y="1446552"/>
                  <a:pt x="1949272" y="1448546"/>
                  <a:pt x="1947277" y="1448546"/>
                </a:cubicBezTo>
                <a:cubicBezTo>
                  <a:pt x="1947277" y="1450540"/>
                  <a:pt x="1943287" y="1448546"/>
                  <a:pt x="1941292" y="1448546"/>
                </a:cubicBezTo>
                <a:cubicBezTo>
                  <a:pt x="1939297" y="1446552"/>
                  <a:pt x="1937302" y="1446552"/>
                  <a:pt x="1937302" y="1448546"/>
                </a:cubicBezTo>
                <a:cubicBezTo>
                  <a:pt x="1937302" y="1450540"/>
                  <a:pt x="1931317" y="1452534"/>
                  <a:pt x="1931317" y="1452534"/>
                </a:cubicBezTo>
                <a:cubicBezTo>
                  <a:pt x="1931317" y="1452534"/>
                  <a:pt x="1929322" y="1454528"/>
                  <a:pt x="1929322" y="1456522"/>
                </a:cubicBezTo>
                <a:cubicBezTo>
                  <a:pt x="1927327" y="1458516"/>
                  <a:pt x="1925332" y="1460510"/>
                  <a:pt x="1925332" y="1462504"/>
                </a:cubicBezTo>
                <a:cubicBezTo>
                  <a:pt x="1923337" y="1464498"/>
                  <a:pt x="1921342" y="1466492"/>
                  <a:pt x="1921342" y="1466492"/>
                </a:cubicBezTo>
                <a:cubicBezTo>
                  <a:pt x="1921342" y="1468486"/>
                  <a:pt x="1921342" y="1470480"/>
                  <a:pt x="1921342" y="1470480"/>
                </a:cubicBezTo>
                <a:cubicBezTo>
                  <a:pt x="1919347" y="1470480"/>
                  <a:pt x="1917352" y="1468486"/>
                  <a:pt x="1915357" y="1468486"/>
                </a:cubicBezTo>
                <a:cubicBezTo>
                  <a:pt x="1913362" y="1470480"/>
                  <a:pt x="1905382" y="1482444"/>
                  <a:pt x="1905382" y="1484438"/>
                </a:cubicBezTo>
                <a:cubicBezTo>
                  <a:pt x="1903387" y="1484438"/>
                  <a:pt x="1901392" y="1486432"/>
                  <a:pt x="1899397" y="1486432"/>
                </a:cubicBezTo>
                <a:cubicBezTo>
                  <a:pt x="1899397" y="1490420"/>
                  <a:pt x="1899397" y="1492414"/>
                  <a:pt x="1897402" y="1492414"/>
                </a:cubicBezTo>
                <a:cubicBezTo>
                  <a:pt x="1895407" y="1494408"/>
                  <a:pt x="1889422" y="1492414"/>
                  <a:pt x="1889422" y="1492414"/>
                </a:cubicBezTo>
                <a:cubicBezTo>
                  <a:pt x="1887427" y="1492414"/>
                  <a:pt x="1881443" y="1492414"/>
                  <a:pt x="1879448" y="1492414"/>
                </a:cubicBezTo>
                <a:cubicBezTo>
                  <a:pt x="1877453" y="1492414"/>
                  <a:pt x="1875458" y="1492414"/>
                  <a:pt x="1873463" y="1492414"/>
                </a:cubicBezTo>
                <a:cubicBezTo>
                  <a:pt x="1871468" y="1492414"/>
                  <a:pt x="1871468" y="1492414"/>
                  <a:pt x="1869473" y="1492414"/>
                </a:cubicBezTo>
                <a:cubicBezTo>
                  <a:pt x="1869473" y="1494408"/>
                  <a:pt x="1867478" y="1494408"/>
                  <a:pt x="1867478" y="1492414"/>
                </a:cubicBezTo>
                <a:cubicBezTo>
                  <a:pt x="1865483" y="1492414"/>
                  <a:pt x="1865483" y="1492414"/>
                  <a:pt x="1863488" y="1492414"/>
                </a:cubicBezTo>
                <a:cubicBezTo>
                  <a:pt x="1861493" y="1494408"/>
                  <a:pt x="1859498" y="1494408"/>
                  <a:pt x="1859498" y="1494408"/>
                </a:cubicBezTo>
                <a:cubicBezTo>
                  <a:pt x="1857503" y="1494408"/>
                  <a:pt x="1853513" y="1496402"/>
                  <a:pt x="1851518" y="1496402"/>
                </a:cubicBezTo>
                <a:cubicBezTo>
                  <a:pt x="1851518" y="1496402"/>
                  <a:pt x="1849523" y="1494408"/>
                  <a:pt x="1849523" y="1494408"/>
                </a:cubicBezTo>
                <a:cubicBezTo>
                  <a:pt x="1849523" y="1492414"/>
                  <a:pt x="1847528" y="1490420"/>
                  <a:pt x="1847528" y="1490420"/>
                </a:cubicBezTo>
                <a:cubicBezTo>
                  <a:pt x="1845533" y="1490420"/>
                  <a:pt x="1837553" y="1490420"/>
                  <a:pt x="1837553" y="1490420"/>
                </a:cubicBezTo>
                <a:cubicBezTo>
                  <a:pt x="1835558" y="1490420"/>
                  <a:pt x="1833563" y="1490420"/>
                  <a:pt x="1833563" y="1490420"/>
                </a:cubicBezTo>
                <a:cubicBezTo>
                  <a:pt x="1833563" y="1490420"/>
                  <a:pt x="1833563" y="1492414"/>
                  <a:pt x="1833563" y="1494408"/>
                </a:cubicBezTo>
                <a:cubicBezTo>
                  <a:pt x="1831568" y="1494408"/>
                  <a:pt x="1827578" y="1492414"/>
                  <a:pt x="1825583" y="1492414"/>
                </a:cubicBezTo>
                <a:cubicBezTo>
                  <a:pt x="1823588" y="1492414"/>
                  <a:pt x="1821593" y="1492414"/>
                  <a:pt x="1819598" y="1492414"/>
                </a:cubicBezTo>
                <a:cubicBezTo>
                  <a:pt x="1819598" y="1492414"/>
                  <a:pt x="1815608" y="1494408"/>
                  <a:pt x="1815608" y="1494408"/>
                </a:cubicBezTo>
                <a:cubicBezTo>
                  <a:pt x="1813613" y="1496402"/>
                  <a:pt x="1809623" y="1496402"/>
                  <a:pt x="1809623" y="1494408"/>
                </a:cubicBezTo>
                <a:cubicBezTo>
                  <a:pt x="1807628" y="1494408"/>
                  <a:pt x="1803638" y="1490420"/>
                  <a:pt x="1801643" y="1490420"/>
                </a:cubicBezTo>
                <a:cubicBezTo>
                  <a:pt x="1799648" y="1490420"/>
                  <a:pt x="1799648" y="1490420"/>
                  <a:pt x="1797653" y="1492414"/>
                </a:cubicBezTo>
                <a:cubicBezTo>
                  <a:pt x="1797653" y="1492414"/>
                  <a:pt x="1795658" y="1494408"/>
                  <a:pt x="1793663" y="1494408"/>
                </a:cubicBezTo>
                <a:cubicBezTo>
                  <a:pt x="1793663" y="1494408"/>
                  <a:pt x="1789673" y="1494408"/>
                  <a:pt x="1789673" y="1494408"/>
                </a:cubicBezTo>
                <a:cubicBezTo>
                  <a:pt x="1789673" y="1494408"/>
                  <a:pt x="1785683" y="1492414"/>
                  <a:pt x="1785683" y="1492414"/>
                </a:cubicBezTo>
                <a:cubicBezTo>
                  <a:pt x="1783688" y="1490420"/>
                  <a:pt x="1783688" y="1490420"/>
                  <a:pt x="1781693" y="1492414"/>
                </a:cubicBezTo>
                <a:cubicBezTo>
                  <a:pt x="1781693" y="1492414"/>
                  <a:pt x="1779698" y="1494408"/>
                  <a:pt x="1779698" y="1494408"/>
                </a:cubicBezTo>
                <a:cubicBezTo>
                  <a:pt x="1777703" y="1494408"/>
                  <a:pt x="1773713" y="1494408"/>
                  <a:pt x="1773713" y="1492414"/>
                </a:cubicBezTo>
                <a:cubicBezTo>
                  <a:pt x="1771718" y="1490420"/>
                  <a:pt x="1769723" y="1490420"/>
                  <a:pt x="1769723" y="1490420"/>
                </a:cubicBezTo>
                <a:cubicBezTo>
                  <a:pt x="1767728" y="1490420"/>
                  <a:pt x="1763738" y="1494408"/>
                  <a:pt x="1761743" y="1494408"/>
                </a:cubicBezTo>
                <a:cubicBezTo>
                  <a:pt x="1759748" y="1494408"/>
                  <a:pt x="1755758" y="1494408"/>
                  <a:pt x="1755758" y="1494408"/>
                </a:cubicBezTo>
                <a:cubicBezTo>
                  <a:pt x="1753763" y="1494408"/>
                  <a:pt x="1747778" y="1490420"/>
                  <a:pt x="1745783" y="1492414"/>
                </a:cubicBezTo>
                <a:cubicBezTo>
                  <a:pt x="1741793" y="1492414"/>
                  <a:pt x="1735808" y="1492414"/>
                  <a:pt x="1731818" y="1494408"/>
                </a:cubicBezTo>
                <a:cubicBezTo>
                  <a:pt x="1729823" y="1496402"/>
                  <a:pt x="1725833" y="1502384"/>
                  <a:pt x="1723838" y="1504378"/>
                </a:cubicBezTo>
                <a:cubicBezTo>
                  <a:pt x="1723838" y="1506372"/>
                  <a:pt x="1719848" y="1508366"/>
                  <a:pt x="1717853" y="1510360"/>
                </a:cubicBezTo>
                <a:cubicBezTo>
                  <a:pt x="1715858" y="1510360"/>
                  <a:pt x="1713863" y="1512354"/>
                  <a:pt x="1713863" y="1514348"/>
                </a:cubicBezTo>
                <a:cubicBezTo>
                  <a:pt x="1711868" y="1516342"/>
                  <a:pt x="1709873" y="1522324"/>
                  <a:pt x="1707878" y="1524318"/>
                </a:cubicBezTo>
                <a:cubicBezTo>
                  <a:pt x="1703888" y="1526312"/>
                  <a:pt x="1697903" y="1528306"/>
                  <a:pt x="1695908" y="1528306"/>
                </a:cubicBezTo>
                <a:cubicBezTo>
                  <a:pt x="1691918" y="1528306"/>
                  <a:pt x="1687928" y="1528306"/>
                  <a:pt x="1685933" y="1528306"/>
                </a:cubicBezTo>
                <a:cubicBezTo>
                  <a:pt x="1683938" y="1530300"/>
                  <a:pt x="1681943" y="1534288"/>
                  <a:pt x="1679948" y="1536282"/>
                </a:cubicBezTo>
                <a:cubicBezTo>
                  <a:pt x="1677953" y="1538276"/>
                  <a:pt x="1675958" y="1542264"/>
                  <a:pt x="1675958" y="1542264"/>
                </a:cubicBezTo>
                <a:cubicBezTo>
                  <a:pt x="1675958" y="1542264"/>
                  <a:pt x="1667978" y="1548246"/>
                  <a:pt x="1667978" y="1550240"/>
                </a:cubicBezTo>
                <a:cubicBezTo>
                  <a:pt x="1665983" y="1552234"/>
                  <a:pt x="1659998" y="1554228"/>
                  <a:pt x="1658003" y="1556222"/>
                </a:cubicBezTo>
                <a:cubicBezTo>
                  <a:pt x="1656008" y="1558216"/>
                  <a:pt x="1656008" y="1562204"/>
                  <a:pt x="1656008" y="1564198"/>
                </a:cubicBezTo>
                <a:cubicBezTo>
                  <a:pt x="1654013" y="1566192"/>
                  <a:pt x="1650023" y="1568186"/>
                  <a:pt x="1648028" y="1570180"/>
                </a:cubicBezTo>
                <a:cubicBezTo>
                  <a:pt x="1646033" y="1570180"/>
                  <a:pt x="1642043" y="1582144"/>
                  <a:pt x="1638053" y="1584138"/>
                </a:cubicBezTo>
                <a:cubicBezTo>
                  <a:pt x="1638053" y="1584138"/>
                  <a:pt x="1630073" y="1592114"/>
                  <a:pt x="1630073" y="1592114"/>
                </a:cubicBezTo>
                <a:cubicBezTo>
                  <a:pt x="1628078" y="1594108"/>
                  <a:pt x="1622093" y="1602084"/>
                  <a:pt x="1620098" y="1604078"/>
                </a:cubicBezTo>
                <a:cubicBezTo>
                  <a:pt x="1620098" y="1604078"/>
                  <a:pt x="1614113" y="1610060"/>
                  <a:pt x="1614113" y="1612054"/>
                </a:cubicBezTo>
                <a:cubicBezTo>
                  <a:pt x="1612118" y="1612054"/>
                  <a:pt x="1604138" y="1616042"/>
                  <a:pt x="1604138" y="1616042"/>
                </a:cubicBezTo>
                <a:cubicBezTo>
                  <a:pt x="1602143" y="1618036"/>
                  <a:pt x="1596158" y="1620030"/>
                  <a:pt x="1596158" y="1622024"/>
                </a:cubicBezTo>
                <a:cubicBezTo>
                  <a:pt x="1594163" y="1624018"/>
                  <a:pt x="1588178" y="1626012"/>
                  <a:pt x="1588178" y="1626012"/>
                </a:cubicBezTo>
                <a:cubicBezTo>
                  <a:pt x="1586183" y="1626012"/>
                  <a:pt x="1578203" y="1630000"/>
                  <a:pt x="1578203" y="1630000"/>
                </a:cubicBezTo>
                <a:cubicBezTo>
                  <a:pt x="1576208" y="1631994"/>
                  <a:pt x="1568228" y="1637976"/>
                  <a:pt x="1566233" y="1637976"/>
                </a:cubicBezTo>
                <a:cubicBezTo>
                  <a:pt x="1566233" y="1637976"/>
                  <a:pt x="1560248" y="1641964"/>
                  <a:pt x="1558253" y="1641964"/>
                </a:cubicBezTo>
                <a:cubicBezTo>
                  <a:pt x="1554263" y="1643958"/>
                  <a:pt x="1548278" y="1649940"/>
                  <a:pt x="1546283" y="1651933"/>
                </a:cubicBezTo>
                <a:cubicBezTo>
                  <a:pt x="1544288" y="1653927"/>
                  <a:pt x="1538303" y="1657915"/>
                  <a:pt x="1536308" y="1659909"/>
                </a:cubicBezTo>
                <a:cubicBezTo>
                  <a:pt x="1534313" y="1663897"/>
                  <a:pt x="1530323" y="1665891"/>
                  <a:pt x="1528328" y="1667885"/>
                </a:cubicBezTo>
                <a:lnTo>
                  <a:pt x="1525336" y="1671873"/>
                </a:lnTo>
                <a:lnTo>
                  <a:pt x="1522343" y="1671873"/>
                </a:lnTo>
                <a:cubicBezTo>
                  <a:pt x="1520348" y="1671873"/>
                  <a:pt x="1512368" y="1671873"/>
                  <a:pt x="1508378" y="1673867"/>
                </a:cubicBezTo>
                <a:cubicBezTo>
                  <a:pt x="1506383" y="1677855"/>
                  <a:pt x="1490423" y="1685831"/>
                  <a:pt x="1488428" y="1687825"/>
                </a:cubicBezTo>
                <a:cubicBezTo>
                  <a:pt x="1488428" y="1689819"/>
                  <a:pt x="1486433" y="1691813"/>
                  <a:pt x="1486433" y="1691813"/>
                </a:cubicBezTo>
                <a:cubicBezTo>
                  <a:pt x="1486433" y="1691813"/>
                  <a:pt x="1474464" y="1705771"/>
                  <a:pt x="1472469" y="1711753"/>
                </a:cubicBezTo>
                <a:cubicBezTo>
                  <a:pt x="1470474" y="1715741"/>
                  <a:pt x="1464489" y="1715741"/>
                  <a:pt x="1458504" y="1719729"/>
                </a:cubicBezTo>
                <a:cubicBezTo>
                  <a:pt x="1452519" y="1723717"/>
                  <a:pt x="1434564" y="1727705"/>
                  <a:pt x="1428579" y="1729699"/>
                </a:cubicBezTo>
                <a:cubicBezTo>
                  <a:pt x="1422594" y="1731693"/>
                  <a:pt x="1412619" y="1733687"/>
                  <a:pt x="1404639" y="1733687"/>
                </a:cubicBezTo>
                <a:cubicBezTo>
                  <a:pt x="1396659" y="1735681"/>
                  <a:pt x="1396659" y="1735681"/>
                  <a:pt x="1392669" y="1741663"/>
                </a:cubicBezTo>
                <a:cubicBezTo>
                  <a:pt x="1390674" y="1745651"/>
                  <a:pt x="1392669" y="1749639"/>
                  <a:pt x="1390674" y="1753627"/>
                </a:cubicBezTo>
                <a:cubicBezTo>
                  <a:pt x="1388679" y="1755621"/>
                  <a:pt x="1380699" y="1763597"/>
                  <a:pt x="1374714" y="1765591"/>
                </a:cubicBezTo>
                <a:cubicBezTo>
                  <a:pt x="1370724" y="1767585"/>
                  <a:pt x="1368729" y="1769579"/>
                  <a:pt x="1364739" y="1769579"/>
                </a:cubicBezTo>
                <a:cubicBezTo>
                  <a:pt x="1362744" y="1769579"/>
                  <a:pt x="1362744" y="1767585"/>
                  <a:pt x="1350774" y="1769579"/>
                </a:cubicBezTo>
                <a:cubicBezTo>
                  <a:pt x="1338804" y="1773567"/>
                  <a:pt x="1332819" y="1771573"/>
                  <a:pt x="1328829" y="1769579"/>
                </a:cubicBezTo>
                <a:cubicBezTo>
                  <a:pt x="1322844" y="1767585"/>
                  <a:pt x="1320849" y="1769579"/>
                  <a:pt x="1320849" y="1771573"/>
                </a:cubicBezTo>
                <a:cubicBezTo>
                  <a:pt x="1316859" y="1773567"/>
                  <a:pt x="1314864" y="1781543"/>
                  <a:pt x="1310874" y="1781543"/>
                </a:cubicBezTo>
                <a:cubicBezTo>
                  <a:pt x="1306884" y="1781543"/>
                  <a:pt x="1304889" y="1785531"/>
                  <a:pt x="1302894" y="1785531"/>
                </a:cubicBezTo>
                <a:cubicBezTo>
                  <a:pt x="1300899" y="1787525"/>
                  <a:pt x="1290924" y="1783537"/>
                  <a:pt x="1290924" y="1781543"/>
                </a:cubicBezTo>
                <a:cubicBezTo>
                  <a:pt x="1288929" y="1777555"/>
                  <a:pt x="1290924" y="1769579"/>
                  <a:pt x="1288929" y="1765591"/>
                </a:cubicBezTo>
                <a:cubicBezTo>
                  <a:pt x="1288929" y="1761603"/>
                  <a:pt x="1290924" y="1761603"/>
                  <a:pt x="1298904" y="1757615"/>
                </a:cubicBezTo>
                <a:cubicBezTo>
                  <a:pt x="1306884" y="1753627"/>
                  <a:pt x="1312869" y="1749639"/>
                  <a:pt x="1312869" y="1741663"/>
                </a:cubicBezTo>
                <a:cubicBezTo>
                  <a:pt x="1314864" y="1733687"/>
                  <a:pt x="1306884" y="1729699"/>
                  <a:pt x="1300899" y="1729699"/>
                </a:cubicBezTo>
                <a:cubicBezTo>
                  <a:pt x="1296909" y="1727705"/>
                  <a:pt x="1296909" y="1721723"/>
                  <a:pt x="1294914" y="1717735"/>
                </a:cubicBezTo>
                <a:cubicBezTo>
                  <a:pt x="1292919" y="1711753"/>
                  <a:pt x="1302894" y="1703777"/>
                  <a:pt x="1308879" y="1695801"/>
                </a:cubicBezTo>
                <a:cubicBezTo>
                  <a:pt x="1312869" y="1687825"/>
                  <a:pt x="1306884" y="1673867"/>
                  <a:pt x="1302894" y="1665891"/>
                </a:cubicBezTo>
                <a:cubicBezTo>
                  <a:pt x="1296909" y="1657915"/>
                  <a:pt x="1290924" y="1649940"/>
                  <a:pt x="1284939" y="1639970"/>
                </a:cubicBezTo>
                <a:cubicBezTo>
                  <a:pt x="1278954" y="1630000"/>
                  <a:pt x="1268979" y="1626012"/>
                  <a:pt x="1262994" y="1620030"/>
                </a:cubicBezTo>
                <a:cubicBezTo>
                  <a:pt x="1259004" y="1616042"/>
                  <a:pt x="1245039" y="1588126"/>
                  <a:pt x="1239054" y="1582144"/>
                </a:cubicBezTo>
                <a:cubicBezTo>
                  <a:pt x="1235064" y="1574168"/>
                  <a:pt x="1221099" y="1566192"/>
                  <a:pt x="1215114" y="1564198"/>
                </a:cubicBezTo>
                <a:cubicBezTo>
                  <a:pt x="1209129" y="1562204"/>
                  <a:pt x="1177209" y="1564198"/>
                  <a:pt x="1161249" y="1562204"/>
                </a:cubicBezTo>
                <a:cubicBezTo>
                  <a:pt x="1147284" y="1560210"/>
                  <a:pt x="1143294" y="1562204"/>
                  <a:pt x="1133319" y="1558216"/>
                </a:cubicBezTo>
                <a:cubicBezTo>
                  <a:pt x="1123344" y="1552234"/>
                  <a:pt x="1115364" y="1546252"/>
                  <a:pt x="1109379" y="1542264"/>
                </a:cubicBezTo>
                <a:cubicBezTo>
                  <a:pt x="1105389" y="1538276"/>
                  <a:pt x="1105389" y="1534288"/>
                  <a:pt x="1085439" y="1532294"/>
                </a:cubicBezTo>
                <a:cubicBezTo>
                  <a:pt x="1063495" y="1530300"/>
                  <a:pt x="1037560" y="1532294"/>
                  <a:pt x="1027585" y="1532294"/>
                </a:cubicBezTo>
                <a:cubicBezTo>
                  <a:pt x="1017610" y="1534288"/>
                  <a:pt x="1017610" y="1538276"/>
                  <a:pt x="1011625" y="1538276"/>
                </a:cubicBezTo>
                <a:cubicBezTo>
                  <a:pt x="1003645" y="1538276"/>
                  <a:pt x="971725" y="1538276"/>
                  <a:pt x="957760" y="1536282"/>
                </a:cubicBezTo>
                <a:cubicBezTo>
                  <a:pt x="945790" y="1534288"/>
                  <a:pt x="927835" y="1534288"/>
                  <a:pt x="911875" y="1536282"/>
                </a:cubicBezTo>
                <a:cubicBezTo>
                  <a:pt x="895915" y="1536282"/>
                  <a:pt x="860005" y="1536282"/>
                  <a:pt x="860005" y="1536282"/>
                </a:cubicBezTo>
                <a:cubicBezTo>
                  <a:pt x="860005" y="1536282"/>
                  <a:pt x="860005" y="1536282"/>
                  <a:pt x="772225" y="1536282"/>
                </a:cubicBezTo>
                <a:cubicBezTo>
                  <a:pt x="772225" y="1536282"/>
                  <a:pt x="772225" y="1536282"/>
                  <a:pt x="682450" y="1536282"/>
                </a:cubicBezTo>
                <a:cubicBezTo>
                  <a:pt x="682450" y="1536282"/>
                  <a:pt x="616616" y="1536282"/>
                  <a:pt x="610631" y="1536282"/>
                </a:cubicBezTo>
                <a:cubicBezTo>
                  <a:pt x="604646" y="1534288"/>
                  <a:pt x="552776" y="1534288"/>
                  <a:pt x="552776" y="1534288"/>
                </a:cubicBezTo>
                <a:cubicBezTo>
                  <a:pt x="552776" y="1534288"/>
                  <a:pt x="552776" y="1534288"/>
                  <a:pt x="464996" y="1534288"/>
                </a:cubicBezTo>
                <a:cubicBezTo>
                  <a:pt x="464996" y="1534288"/>
                  <a:pt x="464996" y="1534288"/>
                  <a:pt x="387191" y="1532294"/>
                </a:cubicBezTo>
                <a:cubicBezTo>
                  <a:pt x="387191" y="1532294"/>
                  <a:pt x="363251" y="1532294"/>
                  <a:pt x="357266" y="1534288"/>
                </a:cubicBezTo>
                <a:cubicBezTo>
                  <a:pt x="355271" y="1534288"/>
                  <a:pt x="347291" y="1526312"/>
                  <a:pt x="345296" y="1524318"/>
                </a:cubicBezTo>
                <a:cubicBezTo>
                  <a:pt x="345296" y="1522324"/>
                  <a:pt x="333326" y="1526312"/>
                  <a:pt x="333326" y="1526312"/>
                </a:cubicBezTo>
                <a:cubicBezTo>
                  <a:pt x="333326" y="1526312"/>
                  <a:pt x="333326" y="1526312"/>
                  <a:pt x="331331" y="1526312"/>
                </a:cubicBezTo>
                <a:cubicBezTo>
                  <a:pt x="331331" y="1526312"/>
                  <a:pt x="329336" y="1528306"/>
                  <a:pt x="327341" y="1526312"/>
                </a:cubicBezTo>
                <a:cubicBezTo>
                  <a:pt x="325346" y="1526312"/>
                  <a:pt x="321356" y="1524318"/>
                  <a:pt x="321356" y="1524318"/>
                </a:cubicBezTo>
                <a:cubicBezTo>
                  <a:pt x="323351" y="1522324"/>
                  <a:pt x="325346" y="1520330"/>
                  <a:pt x="325346" y="1520330"/>
                </a:cubicBezTo>
                <a:cubicBezTo>
                  <a:pt x="325346" y="1520330"/>
                  <a:pt x="329336" y="1518336"/>
                  <a:pt x="327341" y="1516342"/>
                </a:cubicBezTo>
                <a:cubicBezTo>
                  <a:pt x="327341" y="1516342"/>
                  <a:pt x="325346" y="1514348"/>
                  <a:pt x="323351" y="1516342"/>
                </a:cubicBezTo>
                <a:cubicBezTo>
                  <a:pt x="321356" y="1518336"/>
                  <a:pt x="321356" y="1520330"/>
                  <a:pt x="319361" y="1520330"/>
                </a:cubicBezTo>
                <a:cubicBezTo>
                  <a:pt x="319361" y="1520330"/>
                  <a:pt x="315371" y="1520330"/>
                  <a:pt x="317366" y="1518336"/>
                </a:cubicBezTo>
                <a:cubicBezTo>
                  <a:pt x="317366" y="1516342"/>
                  <a:pt x="315371" y="1508366"/>
                  <a:pt x="315371" y="1506372"/>
                </a:cubicBezTo>
                <a:cubicBezTo>
                  <a:pt x="317366" y="1504378"/>
                  <a:pt x="319361" y="1498396"/>
                  <a:pt x="321356" y="1496402"/>
                </a:cubicBezTo>
                <a:cubicBezTo>
                  <a:pt x="321356" y="1494408"/>
                  <a:pt x="321356" y="1492414"/>
                  <a:pt x="321356" y="1490420"/>
                </a:cubicBezTo>
                <a:cubicBezTo>
                  <a:pt x="321356" y="1490420"/>
                  <a:pt x="317366" y="1490420"/>
                  <a:pt x="317366" y="1490420"/>
                </a:cubicBezTo>
                <a:cubicBezTo>
                  <a:pt x="317366" y="1492414"/>
                  <a:pt x="313376" y="1502384"/>
                  <a:pt x="313376" y="1504378"/>
                </a:cubicBezTo>
                <a:cubicBezTo>
                  <a:pt x="311381" y="1506372"/>
                  <a:pt x="309386" y="1510360"/>
                  <a:pt x="307391" y="1512354"/>
                </a:cubicBezTo>
                <a:cubicBezTo>
                  <a:pt x="307391" y="1514348"/>
                  <a:pt x="303401" y="1514348"/>
                  <a:pt x="303401" y="1512354"/>
                </a:cubicBezTo>
                <a:cubicBezTo>
                  <a:pt x="301406" y="1510360"/>
                  <a:pt x="297416" y="1506372"/>
                  <a:pt x="297416" y="1502384"/>
                </a:cubicBezTo>
                <a:cubicBezTo>
                  <a:pt x="297416" y="1500390"/>
                  <a:pt x="295421" y="1496402"/>
                  <a:pt x="297416" y="1494408"/>
                </a:cubicBezTo>
                <a:cubicBezTo>
                  <a:pt x="299411" y="1492414"/>
                  <a:pt x="301406" y="1490420"/>
                  <a:pt x="303401" y="1488426"/>
                </a:cubicBezTo>
                <a:cubicBezTo>
                  <a:pt x="305396" y="1488426"/>
                  <a:pt x="307391" y="1488426"/>
                  <a:pt x="309386" y="1486432"/>
                </a:cubicBezTo>
                <a:cubicBezTo>
                  <a:pt x="309386" y="1484438"/>
                  <a:pt x="309386" y="1482444"/>
                  <a:pt x="307391" y="1482444"/>
                </a:cubicBezTo>
                <a:cubicBezTo>
                  <a:pt x="305396" y="1482444"/>
                  <a:pt x="303401" y="1484438"/>
                  <a:pt x="301406" y="1484438"/>
                </a:cubicBezTo>
                <a:cubicBezTo>
                  <a:pt x="301406" y="1484438"/>
                  <a:pt x="297416" y="1484438"/>
                  <a:pt x="297416" y="1484438"/>
                </a:cubicBezTo>
                <a:cubicBezTo>
                  <a:pt x="297416" y="1482444"/>
                  <a:pt x="299411" y="1478456"/>
                  <a:pt x="299411" y="1476462"/>
                </a:cubicBezTo>
                <a:cubicBezTo>
                  <a:pt x="297416" y="1474468"/>
                  <a:pt x="295421" y="1476462"/>
                  <a:pt x="295421" y="1476462"/>
                </a:cubicBezTo>
                <a:cubicBezTo>
                  <a:pt x="293426" y="1478456"/>
                  <a:pt x="291431" y="1482444"/>
                  <a:pt x="289436" y="1482444"/>
                </a:cubicBezTo>
                <a:cubicBezTo>
                  <a:pt x="287441" y="1482444"/>
                  <a:pt x="285446" y="1482444"/>
                  <a:pt x="285446" y="1480450"/>
                </a:cubicBezTo>
                <a:cubicBezTo>
                  <a:pt x="285446" y="1478456"/>
                  <a:pt x="285446" y="1476462"/>
                  <a:pt x="283451" y="1476462"/>
                </a:cubicBezTo>
                <a:cubicBezTo>
                  <a:pt x="283451" y="1474468"/>
                  <a:pt x="281456" y="1474468"/>
                  <a:pt x="281456" y="1472474"/>
                </a:cubicBezTo>
                <a:cubicBezTo>
                  <a:pt x="281456" y="1472474"/>
                  <a:pt x="281456" y="1468486"/>
                  <a:pt x="283451" y="1464498"/>
                </a:cubicBezTo>
                <a:cubicBezTo>
                  <a:pt x="285446" y="1462504"/>
                  <a:pt x="285446" y="1462504"/>
                  <a:pt x="285446" y="1460510"/>
                </a:cubicBezTo>
                <a:cubicBezTo>
                  <a:pt x="285446" y="1456522"/>
                  <a:pt x="285446" y="1456522"/>
                  <a:pt x="283451" y="1456522"/>
                </a:cubicBezTo>
                <a:cubicBezTo>
                  <a:pt x="281456" y="1456522"/>
                  <a:pt x="281456" y="1458516"/>
                  <a:pt x="279461" y="1460510"/>
                </a:cubicBezTo>
                <a:cubicBezTo>
                  <a:pt x="279461" y="1464498"/>
                  <a:pt x="281456" y="1466492"/>
                  <a:pt x="279461" y="1468486"/>
                </a:cubicBezTo>
                <a:cubicBezTo>
                  <a:pt x="279461" y="1470480"/>
                  <a:pt x="277466" y="1472474"/>
                  <a:pt x="275471" y="1472474"/>
                </a:cubicBezTo>
                <a:cubicBezTo>
                  <a:pt x="273476" y="1472474"/>
                  <a:pt x="273476" y="1472474"/>
                  <a:pt x="271481" y="1470480"/>
                </a:cubicBezTo>
                <a:cubicBezTo>
                  <a:pt x="269486" y="1468486"/>
                  <a:pt x="267491" y="1468486"/>
                  <a:pt x="267491" y="1468486"/>
                </a:cubicBezTo>
                <a:cubicBezTo>
                  <a:pt x="267491" y="1466492"/>
                  <a:pt x="267491" y="1464498"/>
                  <a:pt x="267491" y="1462504"/>
                </a:cubicBezTo>
                <a:cubicBezTo>
                  <a:pt x="267491" y="1460510"/>
                  <a:pt x="265496" y="1460510"/>
                  <a:pt x="263501" y="1460510"/>
                </a:cubicBezTo>
                <a:cubicBezTo>
                  <a:pt x="261506" y="1460510"/>
                  <a:pt x="261506" y="1460510"/>
                  <a:pt x="259511" y="1458516"/>
                </a:cubicBezTo>
                <a:cubicBezTo>
                  <a:pt x="259511" y="1456522"/>
                  <a:pt x="259511" y="1452534"/>
                  <a:pt x="257516" y="1452534"/>
                </a:cubicBezTo>
                <a:cubicBezTo>
                  <a:pt x="257516" y="1450540"/>
                  <a:pt x="251531" y="1450540"/>
                  <a:pt x="249536" y="1450540"/>
                </a:cubicBezTo>
                <a:cubicBezTo>
                  <a:pt x="249536" y="1450540"/>
                  <a:pt x="243551" y="1450540"/>
                  <a:pt x="243551" y="1450540"/>
                </a:cubicBezTo>
                <a:cubicBezTo>
                  <a:pt x="241556" y="1448546"/>
                  <a:pt x="241556" y="1446552"/>
                  <a:pt x="243551" y="1442564"/>
                </a:cubicBezTo>
                <a:cubicBezTo>
                  <a:pt x="243551" y="1442564"/>
                  <a:pt x="249536" y="1438576"/>
                  <a:pt x="251531" y="1438576"/>
                </a:cubicBezTo>
                <a:cubicBezTo>
                  <a:pt x="253526" y="1436582"/>
                  <a:pt x="255521" y="1434588"/>
                  <a:pt x="257516" y="1434588"/>
                </a:cubicBezTo>
                <a:cubicBezTo>
                  <a:pt x="257516" y="1434588"/>
                  <a:pt x="263501" y="1434588"/>
                  <a:pt x="263501" y="1434588"/>
                </a:cubicBezTo>
                <a:cubicBezTo>
                  <a:pt x="265496" y="1434588"/>
                  <a:pt x="265496" y="1432594"/>
                  <a:pt x="263501" y="1430600"/>
                </a:cubicBezTo>
                <a:cubicBezTo>
                  <a:pt x="263501" y="1430600"/>
                  <a:pt x="263501" y="1430600"/>
                  <a:pt x="261506" y="1430600"/>
                </a:cubicBezTo>
                <a:cubicBezTo>
                  <a:pt x="259511" y="1432594"/>
                  <a:pt x="257516" y="1432594"/>
                  <a:pt x="255521" y="1434588"/>
                </a:cubicBezTo>
                <a:cubicBezTo>
                  <a:pt x="255521" y="1434588"/>
                  <a:pt x="251531" y="1434588"/>
                  <a:pt x="249536" y="1434588"/>
                </a:cubicBezTo>
                <a:cubicBezTo>
                  <a:pt x="249536" y="1434588"/>
                  <a:pt x="247541" y="1432594"/>
                  <a:pt x="245546" y="1434588"/>
                </a:cubicBezTo>
                <a:cubicBezTo>
                  <a:pt x="245546" y="1436582"/>
                  <a:pt x="243551" y="1438576"/>
                  <a:pt x="241556" y="1438576"/>
                </a:cubicBezTo>
                <a:cubicBezTo>
                  <a:pt x="241556" y="1438576"/>
                  <a:pt x="237566" y="1438576"/>
                  <a:pt x="237566" y="1436582"/>
                </a:cubicBezTo>
                <a:cubicBezTo>
                  <a:pt x="237566" y="1434588"/>
                  <a:pt x="239561" y="1428606"/>
                  <a:pt x="239561" y="1426612"/>
                </a:cubicBezTo>
                <a:cubicBezTo>
                  <a:pt x="241556" y="1426612"/>
                  <a:pt x="245546" y="1420630"/>
                  <a:pt x="247541" y="1418636"/>
                </a:cubicBezTo>
                <a:cubicBezTo>
                  <a:pt x="251531" y="1416642"/>
                  <a:pt x="263501" y="1412654"/>
                  <a:pt x="263501" y="1412654"/>
                </a:cubicBezTo>
                <a:cubicBezTo>
                  <a:pt x="263501" y="1412654"/>
                  <a:pt x="263501" y="1418636"/>
                  <a:pt x="265496" y="1420630"/>
                </a:cubicBezTo>
                <a:cubicBezTo>
                  <a:pt x="265496" y="1422624"/>
                  <a:pt x="269486" y="1424618"/>
                  <a:pt x="269486" y="1422624"/>
                </a:cubicBezTo>
                <a:cubicBezTo>
                  <a:pt x="269486" y="1420630"/>
                  <a:pt x="269486" y="1418636"/>
                  <a:pt x="267491" y="1416642"/>
                </a:cubicBezTo>
                <a:cubicBezTo>
                  <a:pt x="265496" y="1414648"/>
                  <a:pt x="267491" y="1412654"/>
                  <a:pt x="265496" y="1410660"/>
                </a:cubicBezTo>
                <a:cubicBezTo>
                  <a:pt x="265496" y="1406672"/>
                  <a:pt x="263501" y="1410660"/>
                  <a:pt x="263501" y="1408666"/>
                </a:cubicBezTo>
                <a:cubicBezTo>
                  <a:pt x="263501" y="1404678"/>
                  <a:pt x="261506" y="1404678"/>
                  <a:pt x="263501" y="1400690"/>
                </a:cubicBezTo>
                <a:cubicBezTo>
                  <a:pt x="265496" y="1398696"/>
                  <a:pt x="269486" y="1398696"/>
                  <a:pt x="269486" y="1394708"/>
                </a:cubicBezTo>
                <a:cubicBezTo>
                  <a:pt x="269486" y="1392714"/>
                  <a:pt x="271481" y="1388726"/>
                  <a:pt x="267491" y="1388726"/>
                </a:cubicBezTo>
                <a:cubicBezTo>
                  <a:pt x="263501" y="1390720"/>
                  <a:pt x="261506" y="1394708"/>
                  <a:pt x="261506" y="1396702"/>
                </a:cubicBezTo>
                <a:cubicBezTo>
                  <a:pt x="261506" y="1400690"/>
                  <a:pt x="257516" y="1404678"/>
                  <a:pt x="255521" y="1406672"/>
                </a:cubicBezTo>
                <a:cubicBezTo>
                  <a:pt x="253526" y="1408666"/>
                  <a:pt x="253526" y="1412654"/>
                  <a:pt x="253526" y="1412654"/>
                </a:cubicBezTo>
                <a:cubicBezTo>
                  <a:pt x="253526" y="1412654"/>
                  <a:pt x="247541" y="1414648"/>
                  <a:pt x="245546" y="1412654"/>
                </a:cubicBezTo>
                <a:cubicBezTo>
                  <a:pt x="243551" y="1412654"/>
                  <a:pt x="243551" y="1408666"/>
                  <a:pt x="243551" y="1406672"/>
                </a:cubicBezTo>
                <a:cubicBezTo>
                  <a:pt x="243551" y="1404678"/>
                  <a:pt x="241556" y="1406672"/>
                  <a:pt x="241556" y="1404678"/>
                </a:cubicBezTo>
                <a:cubicBezTo>
                  <a:pt x="241556" y="1402684"/>
                  <a:pt x="243551" y="1402684"/>
                  <a:pt x="243551" y="1402684"/>
                </a:cubicBezTo>
                <a:cubicBezTo>
                  <a:pt x="243551" y="1400690"/>
                  <a:pt x="243551" y="1398696"/>
                  <a:pt x="241556" y="1398696"/>
                </a:cubicBezTo>
                <a:cubicBezTo>
                  <a:pt x="241556" y="1398696"/>
                  <a:pt x="239561" y="1398696"/>
                  <a:pt x="239561" y="1396702"/>
                </a:cubicBezTo>
                <a:cubicBezTo>
                  <a:pt x="239561" y="1396702"/>
                  <a:pt x="241556" y="1394708"/>
                  <a:pt x="243551" y="1394708"/>
                </a:cubicBezTo>
                <a:cubicBezTo>
                  <a:pt x="245546" y="1392714"/>
                  <a:pt x="245546" y="1390720"/>
                  <a:pt x="243551" y="1388726"/>
                </a:cubicBezTo>
                <a:cubicBezTo>
                  <a:pt x="243551" y="1388726"/>
                  <a:pt x="239561" y="1388726"/>
                  <a:pt x="237566" y="1388726"/>
                </a:cubicBezTo>
                <a:cubicBezTo>
                  <a:pt x="235571" y="1388726"/>
                  <a:pt x="231581" y="1388726"/>
                  <a:pt x="231581" y="1384738"/>
                </a:cubicBezTo>
                <a:cubicBezTo>
                  <a:pt x="229586" y="1382744"/>
                  <a:pt x="231581" y="1380750"/>
                  <a:pt x="231581" y="1378756"/>
                </a:cubicBezTo>
                <a:cubicBezTo>
                  <a:pt x="231581" y="1376762"/>
                  <a:pt x="229586" y="1374768"/>
                  <a:pt x="229586" y="1372774"/>
                </a:cubicBezTo>
                <a:cubicBezTo>
                  <a:pt x="229586" y="1370780"/>
                  <a:pt x="229586" y="1366792"/>
                  <a:pt x="231581" y="1366792"/>
                </a:cubicBezTo>
                <a:cubicBezTo>
                  <a:pt x="231581" y="1364798"/>
                  <a:pt x="231581" y="1364798"/>
                  <a:pt x="235571" y="1366792"/>
                </a:cubicBezTo>
                <a:cubicBezTo>
                  <a:pt x="237566" y="1370780"/>
                  <a:pt x="237566" y="1368786"/>
                  <a:pt x="239561" y="1366792"/>
                </a:cubicBezTo>
                <a:cubicBezTo>
                  <a:pt x="239561" y="1366792"/>
                  <a:pt x="239561" y="1364798"/>
                  <a:pt x="241556" y="1366792"/>
                </a:cubicBezTo>
                <a:cubicBezTo>
                  <a:pt x="243551" y="1366792"/>
                  <a:pt x="245546" y="1366792"/>
                  <a:pt x="247541" y="1368786"/>
                </a:cubicBezTo>
                <a:cubicBezTo>
                  <a:pt x="249536" y="1368786"/>
                  <a:pt x="251531" y="1370780"/>
                  <a:pt x="251531" y="1368786"/>
                </a:cubicBezTo>
                <a:cubicBezTo>
                  <a:pt x="251531" y="1366792"/>
                  <a:pt x="249536" y="1362804"/>
                  <a:pt x="249536" y="1360810"/>
                </a:cubicBezTo>
                <a:cubicBezTo>
                  <a:pt x="247541" y="1360810"/>
                  <a:pt x="247541" y="1358816"/>
                  <a:pt x="245546" y="1358816"/>
                </a:cubicBezTo>
                <a:cubicBezTo>
                  <a:pt x="243551" y="1358816"/>
                  <a:pt x="239561" y="1360810"/>
                  <a:pt x="237566" y="1360810"/>
                </a:cubicBezTo>
                <a:cubicBezTo>
                  <a:pt x="235571" y="1360810"/>
                  <a:pt x="231581" y="1358816"/>
                  <a:pt x="231581" y="1356822"/>
                </a:cubicBezTo>
                <a:cubicBezTo>
                  <a:pt x="231581" y="1354828"/>
                  <a:pt x="233576" y="1350840"/>
                  <a:pt x="235571" y="1350840"/>
                </a:cubicBezTo>
                <a:cubicBezTo>
                  <a:pt x="235571" y="1350840"/>
                  <a:pt x="237566" y="1350840"/>
                  <a:pt x="239561" y="1346852"/>
                </a:cubicBezTo>
                <a:cubicBezTo>
                  <a:pt x="239561" y="1344858"/>
                  <a:pt x="239561" y="1342864"/>
                  <a:pt x="239561" y="1342864"/>
                </a:cubicBezTo>
                <a:cubicBezTo>
                  <a:pt x="237566" y="1340870"/>
                  <a:pt x="233576" y="1342864"/>
                  <a:pt x="233576" y="1344858"/>
                </a:cubicBezTo>
                <a:cubicBezTo>
                  <a:pt x="231581" y="1346852"/>
                  <a:pt x="227592" y="1350840"/>
                  <a:pt x="227592" y="1352834"/>
                </a:cubicBezTo>
                <a:cubicBezTo>
                  <a:pt x="227592" y="1352834"/>
                  <a:pt x="221607" y="1360810"/>
                  <a:pt x="217617" y="1360810"/>
                </a:cubicBezTo>
                <a:cubicBezTo>
                  <a:pt x="215622" y="1362804"/>
                  <a:pt x="213627" y="1362804"/>
                  <a:pt x="211632" y="1360810"/>
                </a:cubicBezTo>
                <a:cubicBezTo>
                  <a:pt x="211632" y="1358816"/>
                  <a:pt x="209637" y="1350840"/>
                  <a:pt x="207642" y="1350840"/>
                </a:cubicBezTo>
                <a:cubicBezTo>
                  <a:pt x="207642" y="1348846"/>
                  <a:pt x="207642" y="1342864"/>
                  <a:pt x="207642" y="1342864"/>
                </a:cubicBezTo>
                <a:cubicBezTo>
                  <a:pt x="207642" y="1342864"/>
                  <a:pt x="205647" y="1338876"/>
                  <a:pt x="207642" y="1338876"/>
                </a:cubicBezTo>
                <a:cubicBezTo>
                  <a:pt x="209637" y="1336882"/>
                  <a:pt x="213627" y="1338876"/>
                  <a:pt x="217617" y="1338876"/>
                </a:cubicBezTo>
                <a:cubicBezTo>
                  <a:pt x="221607" y="1336882"/>
                  <a:pt x="221607" y="1334888"/>
                  <a:pt x="223602" y="1334888"/>
                </a:cubicBezTo>
                <a:cubicBezTo>
                  <a:pt x="223602" y="1332894"/>
                  <a:pt x="227592" y="1332894"/>
                  <a:pt x="225597" y="1330900"/>
                </a:cubicBezTo>
                <a:cubicBezTo>
                  <a:pt x="223602" y="1330900"/>
                  <a:pt x="221607" y="1330900"/>
                  <a:pt x="219612" y="1330900"/>
                </a:cubicBezTo>
                <a:cubicBezTo>
                  <a:pt x="217617" y="1332894"/>
                  <a:pt x="215622" y="1332894"/>
                  <a:pt x="213627" y="1332894"/>
                </a:cubicBezTo>
                <a:cubicBezTo>
                  <a:pt x="211632" y="1332894"/>
                  <a:pt x="211632" y="1330900"/>
                  <a:pt x="209637" y="1330900"/>
                </a:cubicBezTo>
                <a:cubicBezTo>
                  <a:pt x="209637" y="1332894"/>
                  <a:pt x="207642" y="1334888"/>
                  <a:pt x="205647" y="1334888"/>
                </a:cubicBezTo>
                <a:cubicBezTo>
                  <a:pt x="205647" y="1334888"/>
                  <a:pt x="201657" y="1336882"/>
                  <a:pt x="201657" y="1334888"/>
                </a:cubicBezTo>
                <a:cubicBezTo>
                  <a:pt x="199662" y="1332894"/>
                  <a:pt x="203652" y="1332894"/>
                  <a:pt x="203652" y="1330900"/>
                </a:cubicBezTo>
                <a:cubicBezTo>
                  <a:pt x="203652" y="1328906"/>
                  <a:pt x="203652" y="1326912"/>
                  <a:pt x="201657" y="1324918"/>
                </a:cubicBezTo>
                <a:cubicBezTo>
                  <a:pt x="201657" y="1324918"/>
                  <a:pt x="199662" y="1322924"/>
                  <a:pt x="199662" y="1320930"/>
                </a:cubicBezTo>
                <a:cubicBezTo>
                  <a:pt x="199662" y="1320930"/>
                  <a:pt x="201657" y="1320930"/>
                  <a:pt x="203652" y="1320930"/>
                </a:cubicBezTo>
                <a:cubicBezTo>
                  <a:pt x="205647" y="1320930"/>
                  <a:pt x="205647" y="1318936"/>
                  <a:pt x="205647" y="1316942"/>
                </a:cubicBezTo>
                <a:cubicBezTo>
                  <a:pt x="207642" y="1314948"/>
                  <a:pt x="205647" y="1312954"/>
                  <a:pt x="207642" y="1312954"/>
                </a:cubicBezTo>
                <a:cubicBezTo>
                  <a:pt x="209637" y="1312954"/>
                  <a:pt x="211632" y="1310960"/>
                  <a:pt x="211632" y="1310960"/>
                </a:cubicBezTo>
                <a:cubicBezTo>
                  <a:pt x="213627" y="1308966"/>
                  <a:pt x="213627" y="1304978"/>
                  <a:pt x="213627" y="1304978"/>
                </a:cubicBezTo>
                <a:cubicBezTo>
                  <a:pt x="215622" y="1304978"/>
                  <a:pt x="217617" y="1306972"/>
                  <a:pt x="217617" y="1304978"/>
                </a:cubicBezTo>
                <a:cubicBezTo>
                  <a:pt x="217617" y="1304978"/>
                  <a:pt x="219612" y="1302984"/>
                  <a:pt x="219612" y="1300990"/>
                </a:cubicBezTo>
                <a:cubicBezTo>
                  <a:pt x="219612" y="1298996"/>
                  <a:pt x="221607" y="1295008"/>
                  <a:pt x="221607" y="1293014"/>
                </a:cubicBezTo>
                <a:cubicBezTo>
                  <a:pt x="223602" y="1291020"/>
                  <a:pt x="225597" y="1291020"/>
                  <a:pt x="227592" y="1289026"/>
                </a:cubicBezTo>
                <a:cubicBezTo>
                  <a:pt x="227592" y="1289026"/>
                  <a:pt x="227592" y="1283044"/>
                  <a:pt x="225597" y="1283044"/>
                </a:cubicBezTo>
                <a:cubicBezTo>
                  <a:pt x="225597" y="1283044"/>
                  <a:pt x="223602" y="1279056"/>
                  <a:pt x="221607" y="1283044"/>
                </a:cubicBezTo>
                <a:cubicBezTo>
                  <a:pt x="219612" y="1283044"/>
                  <a:pt x="219612" y="1287032"/>
                  <a:pt x="219612" y="1289026"/>
                </a:cubicBezTo>
                <a:cubicBezTo>
                  <a:pt x="219612" y="1291020"/>
                  <a:pt x="219612" y="1297002"/>
                  <a:pt x="217617" y="1298996"/>
                </a:cubicBezTo>
                <a:cubicBezTo>
                  <a:pt x="217617" y="1300990"/>
                  <a:pt x="215622" y="1302984"/>
                  <a:pt x="215622" y="1302984"/>
                </a:cubicBezTo>
                <a:cubicBezTo>
                  <a:pt x="215622" y="1302984"/>
                  <a:pt x="213627" y="1300990"/>
                  <a:pt x="213627" y="1300990"/>
                </a:cubicBezTo>
                <a:cubicBezTo>
                  <a:pt x="213627" y="1300990"/>
                  <a:pt x="213627" y="1298996"/>
                  <a:pt x="213627" y="1298996"/>
                </a:cubicBezTo>
                <a:cubicBezTo>
                  <a:pt x="213627" y="1298996"/>
                  <a:pt x="215622" y="1295008"/>
                  <a:pt x="215622" y="1291020"/>
                </a:cubicBezTo>
                <a:cubicBezTo>
                  <a:pt x="215622" y="1287032"/>
                  <a:pt x="217617" y="1275068"/>
                  <a:pt x="219612" y="1271080"/>
                </a:cubicBezTo>
                <a:cubicBezTo>
                  <a:pt x="221607" y="1269086"/>
                  <a:pt x="223602" y="1267092"/>
                  <a:pt x="219612" y="1261110"/>
                </a:cubicBezTo>
                <a:cubicBezTo>
                  <a:pt x="215622" y="1257122"/>
                  <a:pt x="213627" y="1253134"/>
                  <a:pt x="207642" y="1247152"/>
                </a:cubicBezTo>
                <a:cubicBezTo>
                  <a:pt x="199662" y="1241170"/>
                  <a:pt x="189687" y="1241170"/>
                  <a:pt x="187692" y="1231200"/>
                </a:cubicBezTo>
                <a:cubicBezTo>
                  <a:pt x="185697" y="1221230"/>
                  <a:pt x="187692" y="1219236"/>
                  <a:pt x="181707" y="1211260"/>
                </a:cubicBezTo>
                <a:cubicBezTo>
                  <a:pt x="173727" y="1203284"/>
                  <a:pt x="175722" y="1203284"/>
                  <a:pt x="175722" y="1199296"/>
                </a:cubicBezTo>
                <a:cubicBezTo>
                  <a:pt x="175722" y="1193315"/>
                  <a:pt x="175722" y="1179357"/>
                  <a:pt x="175722" y="1179357"/>
                </a:cubicBezTo>
                <a:cubicBezTo>
                  <a:pt x="175722" y="1179357"/>
                  <a:pt x="177717" y="1179357"/>
                  <a:pt x="173727" y="1175369"/>
                </a:cubicBezTo>
                <a:cubicBezTo>
                  <a:pt x="171732" y="1169387"/>
                  <a:pt x="167742" y="1165399"/>
                  <a:pt x="163752" y="1165399"/>
                </a:cubicBezTo>
                <a:cubicBezTo>
                  <a:pt x="163752" y="1165399"/>
                  <a:pt x="163752" y="1161411"/>
                  <a:pt x="159762" y="1153435"/>
                </a:cubicBezTo>
                <a:cubicBezTo>
                  <a:pt x="153777" y="1147453"/>
                  <a:pt x="153777" y="1145459"/>
                  <a:pt x="151782" y="1143465"/>
                </a:cubicBezTo>
                <a:cubicBezTo>
                  <a:pt x="147792" y="1143465"/>
                  <a:pt x="145797" y="1139477"/>
                  <a:pt x="145797" y="1137483"/>
                </a:cubicBezTo>
                <a:cubicBezTo>
                  <a:pt x="145797" y="1133495"/>
                  <a:pt x="147792" y="1123525"/>
                  <a:pt x="145797" y="1121531"/>
                </a:cubicBezTo>
                <a:cubicBezTo>
                  <a:pt x="143802" y="1121531"/>
                  <a:pt x="137817" y="1119537"/>
                  <a:pt x="137817" y="1119537"/>
                </a:cubicBezTo>
                <a:cubicBezTo>
                  <a:pt x="135822" y="1117543"/>
                  <a:pt x="129837" y="1117543"/>
                  <a:pt x="127842" y="1115549"/>
                </a:cubicBezTo>
                <a:cubicBezTo>
                  <a:pt x="125847" y="1113555"/>
                  <a:pt x="115872" y="1109567"/>
                  <a:pt x="111882" y="1113555"/>
                </a:cubicBezTo>
                <a:cubicBezTo>
                  <a:pt x="105897" y="1117543"/>
                  <a:pt x="97917" y="1127513"/>
                  <a:pt x="97917" y="1127513"/>
                </a:cubicBezTo>
                <a:cubicBezTo>
                  <a:pt x="97917" y="1127513"/>
                  <a:pt x="91932" y="1137483"/>
                  <a:pt x="85947" y="1139477"/>
                </a:cubicBezTo>
                <a:cubicBezTo>
                  <a:pt x="79962" y="1139477"/>
                  <a:pt x="79962" y="1139477"/>
                  <a:pt x="77967" y="1141471"/>
                </a:cubicBezTo>
                <a:cubicBezTo>
                  <a:pt x="75972" y="1143465"/>
                  <a:pt x="71982" y="1143465"/>
                  <a:pt x="69987" y="1143465"/>
                </a:cubicBezTo>
                <a:cubicBezTo>
                  <a:pt x="65997" y="1143465"/>
                  <a:pt x="65997" y="1143465"/>
                  <a:pt x="65997" y="1141471"/>
                </a:cubicBezTo>
                <a:cubicBezTo>
                  <a:pt x="64002" y="1139477"/>
                  <a:pt x="62007" y="1123525"/>
                  <a:pt x="60012" y="1123525"/>
                </a:cubicBezTo>
                <a:cubicBezTo>
                  <a:pt x="58017" y="1123525"/>
                  <a:pt x="50037" y="1109567"/>
                  <a:pt x="46047" y="1105579"/>
                </a:cubicBezTo>
                <a:cubicBezTo>
                  <a:pt x="44052" y="1101591"/>
                  <a:pt x="40062" y="1095609"/>
                  <a:pt x="38067" y="1091621"/>
                </a:cubicBezTo>
                <a:cubicBezTo>
                  <a:pt x="38067" y="1087633"/>
                  <a:pt x="32082" y="1087633"/>
                  <a:pt x="32082" y="1087633"/>
                </a:cubicBezTo>
                <a:cubicBezTo>
                  <a:pt x="32082" y="1087633"/>
                  <a:pt x="30087" y="1083645"/>
                  <a:pt x="26097" y="1085639"/>
                </a:cubicBezTo>
                <a:cubicBezTo>
                  <a:pt x="22107" y="1087633"/>
                  <a:pt x="18117" y="1093615"/>
                  <a:pt x="8142" y="1089627"/>
                </a:cubicBezTo>
                <a:cubicBezTo>
                  <a:pt x="-1832" y="1087633"/>
                  <a:pt x="163" y="1087633"/>
                  <a:pt x="163" y="1087633"/>
                </a:cubicBezTo>
                <a:cubicBezTo>
                  <a:pt x="163" y="1087633"/>
                  <a:pt x="163" y="1087633"/>
                  <a:pt x="12132" y="1053735"/>
                </a:cubicBezTo>
                <a:cubicBezTo>
                  <a:pt x="12132" y="1053735"/>
                  <a:pt x="30087" y="997903"/>
                  <a:pt x="32082" y="993915"/>
                </a:cubicBezTo>
                <a:cubicBezTo>
                  <a:pt x="32082" y="991921"/>
                  <a:pt x="42057" y="958023"/>
                  <a:pt x="44052" y="950047"/>
                </a:cubicBezTo>
                <a:cubicBezTo>
                  <a:pt x="46047" y="942071"/>
                  <a:pt x="56022" y="908173"/>
                  <a:pt x="58017" y="904185"/>
                </a:cubicBezTo>
                <a:cubicBezTo>
                  <a:pt x="58017" y="900197"/>
                  <a:pt x="67992" y="872281"/>
                  <a:pt x="71982" y="860317"/>
                </a:cubicBezTo>
                <a:cubicBezTo>
                  <a:pt x="75972" y="846359"/>
                  <a:pt x="87942" y="814455"/>
                  <a:pt x="89937" y="806479"/>
                </a:cubicBezTo>
                <a:cubicBezTo>
                  <a:pt x="91932" y="798503"/>
                  <a:pt x="103902" y="770587"/>
                  <a:pt x="103902" y="762611"/>
                </a:cubicBezTo>
                <a:cubicBezTo>
                  <a:pt x="105897" y="756629"/>
                  <a:pt x="121857" y="704786"/>
                  <a:pt x="123852" y="698804"/>
                </a:cubicBezTo>
                <a:cubicBezTo>
                  <a:pt x="125847" y="694816"/>
                  <a:pt x="129837" y="678864"/>
                  <a:pt x="129837" y="678864"/>
                </a:cubicBezTo>
                <a:cubicBezTo>
                  <a:pt x="131832" y="678864"/>
                  <a:pt x="131832" y="680858"/>
                  <a:pt x="133827" y="682852"/>
                </a:cubicBezTo>
                <a:cubicBezTo>
                  <a:pt x="135822" y="682852"/>
                  <a:pt x="141807" y="684846"/>
                  <a:pt x="143802" y="684846"/>
                </a:cubicBezTo>
                <a:cubicBezTo>
                  <a:pt x="145797" y="686840"/>
                  <a:pt x="145797" y="684846"/>
                  <a:pt x="147792" y="684846"/>
                </a:cubicBezTo>
                <a:cubicBezTo>
                  <a:pt x="147792" y="682852"/>
                  <a:pt x="151782" y="684846"/>
                  <a:pt x="153777" y="684846"/>
                </a:cubicBezTo>
                <a:cubicBezTo>
                  <a:pt x="155772" y="686840"/>
                  <a:pt x="159762" y="688834"/>
                  <a:pt x="159762" y="686840"/>
                </a:cubicBezTo>
                <a:cubicBezTo>
                  <a:pt x="161757" y="684846"/>
                  <a:pt x="163752" y="684846"/>
                  <a:pt x="163752" y="684846"/>
                </a:cubicBezTo>
                <a:cubicBezTo>
                  <a:pt x="165747" y="684846"/>
                  <a:pt x="169737" y="684846"/>
                  <a:pt x="173727" y="686840"/>
                </a:cubicBezTo>
                <a:cubicBezTo>
                  <a:pt x="177717" y="688834"/>
                  <a:pt x="179712" y="688834"/>
                  <a:pt x="181707" y="686840"/>
                </a:cubicBezTo>
                <a:cubicBezTo>
                  <a:pt x="183702" y="686840"/>
                  <a:pt x="187692" y="684846"/>
                  <a:pt x="189687" y="686840"/>
                </a:cubicBezTo>
                <a:cubicBezTo>
                  <a:pt x="189687" y="688834"/>
                  <a:pt x="187692" y="690828"/>
                  <a:pt x="185697" y="690828"/>
                </a:cubicBezTo>
                <a:cubicBezTo>
                  <a:pt x="185697" y="692822"/>
                  <a:pt x="185697" y="694816"/>
                  <a:pt x="185697" y="696810"/>
                </a:cubicBezTo>
                <a:cubicBezTo>
                  <a:pt x="185697" y="696810"/>
                  <a:pt x="185697" y="696810"/>
                  <a:pt x="187692" y="696810"/>
                </a:cubicBezTo>
                <a:cubicBezTo>
                  <a:pt x="189687" y="694816"/>
                  <a:pt x="189687" y="694816"/>
                  <a:pt x="191682" y="696810"/>
                </a:cubicBezTo>
                <a:cubicBezTo>
                  <a:pt x="191682" y="698804"/>
                  <a:pt x="191682" y="700798"/>
                  <a:pt x="193677" y="700798"/>
                </a:cubicBezTo>
                <a:cubicBezTo>
                  <a:pt x="195672" y="700798"/>
                  <a:pt x="195672" y="696810"/>
                  <a:pt x="197667" y="696810"/>
                </a:cubicBezTo>
                <a:cubicBezTo>
                  <a:pt x="197667" y="696810"/>
                  <a:pt x="197667" y="700798"/>
                  <a:pt x="197667" y="700798"/>
                </a:cubicBezTo>
                <a:cubicBezTo>
                  <a:pt x="199662" y="702792"/>
                  <a:pt x="197667" y="704786"/>
                  <a:pt x="199662" y="704786"/>
                </a:cubicBezTo>
                <a:cubicBezTo>
                  <a:pt x="201657" y="704786"/>
                  <a:pt x="203652" y="704786"/>
                  <a:pt x="205647" y="706780"/>
                </a:cubicBezTo>
                <a:cubicBezTo>
                  <a:pt x="205647" y="708774"/>
                  <a:pt x="205647" y="710768"/>
                  <a:pt x="207642" y="710768"/>
                </a:cubicBezTo>
                <a:cubicBezTo>
                  <a:pt x="207642" y="708774"/>
                  <a:pt x="213627" y="708774"/>
                  <a:pt x="213627" y="710768"/>
                </a:cubicBezTo>
                <a:cubicBezTo>
                  <a:pt x="213627" y="712762"/>
                  <a:pt x="213627" y="714756"/>
                  <a:pt x="215622" y="714756"/>
                </a:cubicBezTo>
                <a:cubicBezTo>
                  <a:pt x="217617" y="714756"/>
                  <a:pt x="219612" y="714756"/>
                  <a:pt x="219612" y="714756"/>
                </a:cubicBezTo>
                <a:cubicBezTo>
                  <a:pt x="221607" y="714756"/>
                  <a:pt x="223602" y="716750"/>
                  <a:pt x="225597" y="718744"/>
                </a:cubicBezTo>
                <a:cubicBezTo>
                  <a:pt x="225597" y="720738"/>
                  <a:pt x="225597" y="720738"/>
                  <a:pt x="227592" y="720738"/>
                </a:cubicBezTo>
                <a:cubicBezTo>
                  <a:pt x="229586" y="718744"/>
                  <a:pt x="235571" y="718744"/>
                  <a:pt x="235571" y="718744"/>
                </a:cubicBezTo>
                <a:cubicBezTo>
                  <a:pt x="237566" y="718744"/>
                  <a:pt x="239561" y="716750"/>
                  <a:pt x="241556" y="716750"/>
                </a:cubicBezTo>
                <a:cubicBezTo>
                  <a:pt x="243551" y="718744"/>
                  <a:pt x="247541" y="720738"/>
                  <a:pt x="247541" y="720738"/>
                </a:cubicBezTo>
                <a:cubicBezTo>
                  <a:pt x="247541" y="722731"/>
                  <a:pt x="247541" y="724725"/>
                  <a:pt x="249536" y="722731"/>
                </a:cubicBezTo>
                <a:cubicBezTo>
                  <a:pt x="249536" y="720738"/>
                  <a:pt x="247541" y="720738"/>
                  <a:pt x="249536" y="720738"/>
                </a:cubicBezTo>
                <a:cubicBezTo>
                  <a:pt x="251531" y="718744"/>
                  <a:pt x="253526" y="716750"/>
                  <a:pt x="253526" y="716750"/>
                </a:cubicBezTo>
                <a:cubicBezTo>
                  <a:pt x="253526" y="712762"/>
                  <a:pt x="253526" y="710768"/>
                  <a:pt x="251531" y="710768"/>
                </a:cubicBezTo>
                <a:cubicBezTo>
                  <a:pt x="251531" y="710768"/>
                  <a:pt x="249536" y="710768"/>
                  <a:pt x="249536" y="708774"/>
                </a:cubicBezTo>
                <a:cubicBezTo>
                  <a:pt x="249536" y="704786"/>
                  <a:pt x="249536" y="704786"/>
                  <a:pt x="251531" y="702792"/>
                </a:cubicBezTo>
                <a:cubicBezTo>
                  <a:pt x="253526" y="702792"/>
                  <a:pt x="255521" y="704786"/>
                  <a:pt x="257516" y="704786"/>
                </a:cubicBezTo>
                <a:cubicBezTo>
                  <a:pt x="259511" y="704786"/>
                  <a:pt x="261506" y="704786"/>
                  <a:pt x="261506" y="704786"/>
                </a:cubicBezTo>
                <a:cubicBezTo>
                  <a:pt x="263501" y="702792"/>
                  <a:pt x="265496" y="702792"/>
                  <a:pt x="265496" y="704786"/>
                </a:cubicBezTo>
                <a:cubicBezTo>
                  <a:pt x="265496" y="706780"/>
                  <a:pt x="265496" y="706780"/>
                  <a:pt x="265496" y="708774"/>
                </a:cubicBezTo>
                <a:cubicBezTo>
                  <a:pt x="267491" y="710768"/>
                  <a:pt x="271481" y="708774"/>
                  <a:pt x="271481" y="708774"/>
                </a:cubicBezTo>
                <a:cubicBezTo>
                  <a:pt x="271481" y="706780"/>
                  <a:pt x="269486" y="702792"/>
                  <a:pt x="269486" y="700798"/>
                </a:cubicBezTo>
                <a:cubicBezTo>
                  <a:pt x="271481" y="698804"/>
                  <a:pt x="271481" y="696810"/>
                  <a:pt x="273476" y="694816"/>
                </a:cubicBezTo>
                <a:cubicBezTo>
                  <a:pt x="275471" y="694816"/>
                  <a:pt x="277466" y="696810"/>
                  <a:pt x="279461" y="696810"/>
                </a:cubicBezTo>
                <a:cubicBezTo>
                  <a:pt x="281456" y="696810"/>
                  <a:pt x="281456" y="696810"/>
                  <a:pt x="283451" y="696810"/>
                </a:cubicBezTo>
                <a:cubicBezTo>
                  <a:pt x="285446" y="694816"/>
                  <a:pt x="285446" y="692822"/>
                  <a:pt x="287441" y="692822"/>
                </a:cubicBezTo>
                <a:cubicBezTo>
                  <a:pt x="287441" y="692822"/>
                  <a:pt x="291431" y="692822"/>
                  <a:pt x="291431" y="692822"/>
                </a:cubicBezTo>
                <a:cubicBezTo>
                  <a:pt x="293426" y="692822"/>
                  <a:pt x="293426" y="688834"/>
                  <a:pt x="293426" y="686840"/>
                </a:cubicBezTo>
                <a:cubicBezTo>
                  <a:pt x="291431" y="686840"/>
                  <a:pt x="291431" y="684846"/>
                  <a:pt x="293426" y="682852"/>
                </a:cubicBezTo>
                <a:cubicBezTo>
                  <a:pt x="293426" y="680858"/>
                  <a:pt x="295421" y="680858"/>
                  <a:pt x="295421" y="682852"/>
                </a:cubicBezTo>
                <a:cubicBezTo>
                  <a:pt x="297416" y="684846"/>
                  <a:pt x="297416" y="684846"/>
                  <a:pt x="297416" y="686840"/>
                </a:cubicBezTo>
                <a:cubicBezTo>
                  <a:pt x="299411" y="688834"/>
                  <a:pt x="301406" y="688834"/>
                  <a:pt x="301406" y="690828"/>
                </a:cubicBezTo>
                <a:cubicBezTo>
                  <a:pt x="303401" y="692822"/>
                  <a:pt x="299411" y="694816"/>
                  <a:pt x="299411" y="696810"/>
                </a:cubicBezTo>
                <a:cubicBezTo>
                  <a:pt x="297416" y="696810"/>
                  <a:pt x="293426" y="700798"/>
                  <a:pt x="291431" y="702792"/>
                </a:cubicBezTo>
                <a:cubicBezTo>
                  <a:pt x="289436" y="704786"/>
                  <a:pt x="281456" y="708774"/>
                  <a:pt x="279461" y="708774"/>
                </a:cubicBezTo>
                <a:cubicBezTo>
                  <a:pt x="279461" y="710768"/>
                  <a:pt x="279461" y="712762"/>
                  <a:pt x="281456" y="712762"/>
                </a:cubicBezTo>
                <a:cubicBezTo>
                  <a:pt x="283451" y="712762"/>
                  <a:pt x="291431" y="708774"/>
                  <a:pt x="293426" y="706780"/>
                </a:cubicBezTo>
                <a:cubicBezTo>
                  <a:pt x="297416" y="704786"/>
                  <a:pt x="303401" y="700798"/>
                  <a:pt x="305396" y="698804"/>
                </a:cubicBezTo>
                <a:cubicBezTo>
                  <a:pt x="307391" y="696810"/>
                  <a:pt x="309386" y="694816"/>
                  <a:pt x="311381" y="694816"/>
                </a:cubicBezTo>
                <a:cubicBezTo>
                  <a:pt x="311381" y="694816"/>
                  <a:pt x="315371" y="694816"/>
                  <a:pt x="319361" y="694816"/>
                </a:cubicBezTo>
                <a:cubicBezTo>
                  <a:pt x="321356" y="694816"/>
                  <a:pt x="323351" y="696810"/>
                  <a:pt x="325346" y="694816"/>
                </a:cubicBezTo>
                <a:cubicBezTo>
                  <a:pt x="325346" y="692822"/>
                  <a:pt x="327341" y="688834"/>
                  <a:pt x="329336" y="686840"/>
                </a:cubicBezTo>
                <a:cubicBezTo>
                  <a:pt x="329336" y="682852"/>
                  <a:pt x="331331" y="684846"/>
                  <a:pt x="331331" y="684846"/>
                </a:cubicBezTo>
                <a:cubicBezTo>
                  <a:pt x="333326" y="684846"/>
                  <a:pt x="335321" y="686840"/>
                  <a:pt x="337316" y="684846"/>
                </a:cubicBezTo>
                <a:cubicBezTo>
                  <a:pt x="337316" y="684846"/>
                  <a:pt x="337316" y="682852"/>
                  <a:pt x="337316" y="682852"/>
                </a:cubicBezTo>
                <a:cubicBezTo>
                  <a:pt x="335321" y="680858"/>
                  <a:pt x="333326" y="682852"/>
                  <a:pt x="335321" y="680858"/>
                </a:cubicBezTo>
                <a:cubicBezTo>
                  <a:pt x="335321" y="680858"/>
                  <a:pt x="341306" y="682852"/>
                  <a:pt x="341306" y="680858"/>
                </a:cubicBezTo>
                <a:cubicBezTo>
                  <a:pt x="343301" y="680858"/>
                  <a:pt x="345296" y="678864"/>
                  <a:pt x="347291" y="678864"/>
                </a:cubicBezTo>
                <a:cubicBezTo>
                  <a:pt x="349286" y="678864"/>
                  <a:pt x="353276" y="680858"/>
                  <a:pt x="355271" y="678864"/>
                </a:cubicBezTo>
                <a:cubicBezTo>
                  <a:pt x="357266" y="678864"/>
                  <a:pt x="357266" y="676870"/>
                  <a:pt x="359261" y="674876"/>
                </a:cubicBezTo>
                <a:cubicBezTo>
                  <a:pt x="361256" y="674876"/>
                  <a:pt x="363251" y="676870"/>
                  <a:pt x="365246" y="676870"/>
                </a:cubicBezTo>
                <a:cubicBezTo>
                  <a:pt x="367241" y="676870"/>
                  <a:pt x="373226" y="672882"/>
                  <a:pt x="375221" y="670888"/>
                </a:cubicBezTo>
                <a:cubicBezTo>
                  <a:pt x="377216" y="668894"/>
                  <a:pt x="379211" y="666900"/>
                  <a:pt x="379211" y="664906"/>
                </a:cubicBezTo>
                <a:cubicBezTo>
                  <a:pt x="381206" y="662912"/>
                  <a:pt x="383201" y="662912"/>
                  <a:pt x="385196" y="662912"/>
                </a:cubicBezTo>
                <a:cubicBezTo>
                  <a:pt x="387191" y="662912"/>
                  <a:pt x="391181" y="662912"/>
                  <a:pt x="393176" y="662912"/>
                </a:cubicBezTo>
                <a:cubicBezTo>
                  <a:pt x="395171" y="662912"/>
                  <a:pt x="401156" y="662912"/>
                  <a:pt x="401156" y="662912"/>
                </a:cubicBezTo>
                <a:cubicBezTo>
                  <a:pt x="403151" y="660918"/>
                  <a:pt x="407141" y="660918"/>
                  <a:pt x="409136" y="660918"/>
                </a:cubicBezTo>
                <a:cubicBezTo>
                  <a:pt x="409136" y="660918"/>
                  <a:pt x="413126" y="658924"/>
                  <a:pt x="415121" y="660918"/>
                </a:cubicBezTo>
                <a:cubicBezTo>
                  <a:pt x="415121" y="660918"/>
                  <a:pt x="415121" y="666900"/>
                  <a:pt x="415121" y="666900"/>
                </a:cubicBezTo>
                <a:cubicBezTo>
                  <a:pt x="413126" y="666900"/>
                  <a:pt x="411131" y="664906"/>
                  <a:pt x="409136" y="666900"/>
                </a:cubicBezTo>
                <a:cubicBezTo>
                  <a:pt x="409136" y="668894"/>
                  <a:pt x="409136" y="670888"/>
                  <a:pt x="407141" y="670888"/>
                </a:cubicBezTo>
                <a:cubicBezTo>
                  <a:pt x="405146" y="670888"/>
                  <a:pt x="403151" y="668894"/>
                  <a:pt x="401156" y="670888"/>
                </a:cubicBezTo>
                <a:cubicBezTo>
                  <a:pt x="401156" y="670888"/>
                  <a:pt x="399161" y="672882"/>
                  <a:pt x="397166" y="674876"/>
                </a:cubicBezTo>
                <a:cubicBezTo>
                  <a:pt x="397166" y="674876"/>
                  <a:pt x="395171" y="674876"/>
                  <a:pt x="393176" y="676870"/>
                </a:cubicBezTo>
                <a:cubicBezTo>
                  <a:pt x="391181" y="676870"/>
                  <a:pt x="387191" y="674876"/>
                  <a:pt x="385196" y="676870"/>
                </a:cubicBezTo>
                <a:cubicBezTo>
                  <a:pt x="383201" y="676870"/>
                  <a:pt x="381206" y="680858"/>
                  <a:pt x="379211" y="682852"/>
                </a:cubicBezTo>
                <a:cubicBezTo>
                  <a:pt x="379211" y="684846"/>
                  <a:pt x="377216" y="686840"/>
                  <a:pt x="375221" y="686840"/>
                </a:cubicBezTo>
                <a:cubicBezTo>
                  <a:pt x="373226" y="686840"/>
                  <a:pt x="367241" y="686840"/>
                  <a:pt x="365246" y="686840"/>
                </a:cubicBezTo>
                <a:cubicBezTo>
                  <a:pt x="363251" y="688834"/>
                  <a:pt x="355271" y="688834"/>
                  <a:pt x="353276" y="690828"/>
                </a:cubicBezTo>
                <a:cubicBezTo>
                  <a:pt x="351281" y="690828"/>
                  <a:pt x="347291" y="690828"/>
                  <a:pt x="345296" y="692822"/>
                </a:cubicBezTo>
                <a:cubicBezTo>
                  <a:pt x="343301" y="692822"/>
                  <a:pt x="341306" y="694816"/>
                  <a:pt x="341306" y="696810"/>
                </a:cubicBezTo>
                <a:cubicBezTo>
                  <a:pt x="339311" y="696810"/>
                  <a:pt x="337316" y="698804"/>
                  <a:pt x="335321" y="698804"/>
                </a:cubicBezTo>
                <a:cubicBezTo>
                  <a:pt x="333326" y="698804"/>
                  <a:pt x="327341" y="698804"/>
                  <a:pt x="327341" y="698804"/>
                </a:cubicBezTo>
                <a:cubicBezTo>
                  <a:pt x="325346" y="700798"/>
                  <a:pt x="323351" y="704786"/>
                  <a:pt x="323351" y="704786"/>
                </a:cubicBezTo>
                <a:cubicBezTo>
                  <a:pt x="321356" y="704786"/>
                  <a:pt x="321356" y="708774"/>
                  <a:pt x="319361" y="708774"/>
                </a:cubicBezTo>
                <a:cubicBezTo>
                  <a:pt x="317366" y="708774"/>
                  <a:pt x="317366" y="708774"/>
                  <a:pt x="315371" y="708774"/>
                </a:cubicBezTo>
                <a:cubicBezTo>
                  <a:pt x="311381" y="708774"/>
                  <a:pt x="311381" y="708774"/>
                  <a:pt x="311381" y="710768"/>
                </a:cubicBezTo>
                <a:cubicBezTo>
                  <a:pt x="311381" y="712762"/>
                  <a:pt x="309386" y="718744"/>
                  <a:pt x="311381" y="720738"/>
                </a:cubicBezTo>
                <a:cubicBezTo>
                  <a:pt x="311381" y="720738"/>
                  <a:pt x="317366" y="720738"/>
                  <a:pt x="319361" y="720738"/>
                </a:cubicBezTo>
                <a:cubicBezTo>
                  <a:pt x="319361" y="720738"/>
                  <a:pt x="323351" y="720738"/>
                  <a:pt x="323351" y="718744"/>
                </a:cubicBezTo>
                <a:cubicBezTo>
                  <a:pt x="323351" y="716750"/>
                  <a:pt x="323351" y="710768"/>
                  <a:pt x="325346" y="708774"/>
                </a:cubicBezTo>
                <a:cubicBezTo>
                  <a:pt x="325346" y="704786"/>
                  <a:pt x="331331" y="704786"/>
                  <a:pt x="335321" y="702792"/>
                </a:cubicBezTo>
                <a:cubicBezTo>
                  <a:pt x="339311" y="702792"/>
                  <a:pt x="341306" y="700798"/>
                  <a:pt x="343301" y="700798"/>
                </a:cubicBezTo>
                <a:cubicBezTo>
                  <a:pt x="345296" y="698804"/>
                  <a:pt x="347291" y="700798"/>
                  <a:pt x="349286" y="698804"/>
                </a:cubicBezTo>
                <a:cubicBezTo>
                  <a:pt x="351281" y="696810"/>
                  <a:pt x="353276" y="694816"/>
                  <a:pt x="353276" y="694816"/>
                </a:cubicBezTo>
                <a:cubicBezTo>
                  <a:pt x="355271" y="694816"/>
                  <a:pt x="355271" y="696810"/>
                  <a:pt x="357266" y="696810"/>
                </a:cubicBezTo>
                <a:cubicBezTo>
                  <a:pt x="359261" y="698804"/>
                  <a:pt x="359261" y="696810"/>
                  <a:pt x="361256" y="694816"/>
                </a:cubicBezTo>
                <a:cubicBezTo>
                  <a:pt x="363251" y="692822"/>
                  <a:pt x="367241" y="690828"/>
                  <a:pt x="367241" y="692822"/>
                </a:cubicBezTo>
                <a:cubicBezTo>
                  <a:pt x="369236" y="692822"/>
                  <a:pt x="369236" y="696810"/>
                  <a:pt x="367241" y="696810"/>
                </a:cubicBezTo>
                <a:cubicBezTo>
                  <a:pt x="367241" y="698804"/>
                  <a:pt x="363251" y="700798"/>
                  <a:pt x="365246" y="700798"/>
                </a:cubicBezTo>
                <a:cubicBezTo>
                  <a:pt x="367241" y="700798"/>
                  <a:pt x="369236" y="702792"/>
                  <a:pt x="371231" y="700798"/>
                </a:cubicBezTo>
                <a:cubicBezTo>
                  <a:pt x="373226" y="698804"/>
                  <a:pt x="375221" y="696810"/>
                  <a:pt x="375221" y="694816"/>
                </a:cubicBezTo>
                <a:cubicBezTo>
                  <a:pt x="377216" y="692822"/>
                  <a:pt x="377216" y="692822"/>
                  <a:pt x="379211" y="692822"/>
                </a:cubicBezTo>
                <a:cubicBezTo>
                  <a:pt x="381206" y="690828"/>
                  <a:pt x="385196" y="690828"/>
                  <a:pt x="385196" y="688834"/>
                </a:cubicBezTo>
                <a:cubicBezTo>
                  <a:pt x="387191" y="686840"/>
                  <a:pt x="387191" y="682852"/>
                  <a:pt x="389186" y="682852"/>
                </a:cubicBezTo>
                <a:cubicBezTo>
                  <a:pt x="391181" y="682852"/>
                  <a:pt x="393176" y="684846"/>
                  <a:pt x="395171" y="682852"/>
                </a:cubicBezTo>
                <a:cubicBezTo>
                  <a:pt x="397166" y="680858"/>
                  <a:pt x="397166" y="678864"/>
                  <a:pt x="399161" y="678864"/>
                </a:cubicBezTo>
                <a:cubicBezTo>
                  <a:pt x="399161" y="676870"/>
                  <a:pt x="403151" y="676870"/>
                  <a:pt x="405146" y="676870"/>
                </a:cubicBezTo>
                <a:cubicBezTo>
                  <a:pt x="409136" y="676870"/>
                  <a:pt x="415121" y="674876"/>
                  <a:pt x="417116" y="674876"/>
                </a:cubicBezTo>
                <a:cubicBezTo>
                  <a:pt x="419111" y="672882"/>
                  <a:pt x="421106" y="670888"/>
                  <a:pt x="421106" y="672882"/>
                </a:cubicBezTo>
                <a:cubicBezTo>
                  <a:pt x="421106" y="674876"/>
                  <a:pt x="421106" y="676870"/>
                  <a:pt x="421106" y="676870"/>
                </a:cubicBezTo>
                <a:cubicBezTo>
                  <a:pt x="423101" y="676870"/>
                  <a:pt x="427091" y="678864"/>
                  <a:pt x="429086" y="676870"/>
                </a:cubicBezTo>
                <a:cubicBezTo>
                  <a:pt x="429086" y="676870"/>
                  <a:pt x="431081" y="674876"/>
                  <a:pt x="435071" y="672882"/>
                </a:cubicBezTo>
                <a:cubicBezTo>
                  <a:pt x="437066" y="670888"/>
                  <a:pt x="435071" y="672882"/>
                  <a:pt x="437066" y="670888"/>
                </a:cubicBezTo>
                <a:cubicBezTo>
                  <a:pt x="437066" y="666900"/>
                  <a:pt x="441056" y="662912"/>
                  <a:pt x="441056" y="660918"/>
                </a:cubicBezTo>
                <a:cubicBezTo>
                  <a:pt x="441056" y="658924"/>
                  <a:pt x="443051" y="658924"/>
                  <a:pt x="443051" y="658924"/>
                </a:cubicBezTo>
                <a:cubicBezTo>
                  <a:pt x="445046" y="658924"/>
                  <a:pt x="447041" y="658924"/>
                  <a:pt x="447041" y="656930"/>
                </a:cubicBezTo>
                <a:cubicBezTo>
                  <a:pt x="449036" y="654936"/>
                  <a:pt x="449036" y="652942"/>
                  <a:pt x="447041" y="650948"/>
                </a:cubicBezTo>
                <a:cubicBezTo>
                  <a:pt x="447041" y="648954"/>
                  <a:pt x="445046" y="648954"/>
                  <a:pt x="447041" y="646960"/>
                </a:cubicBezTo>
                <a:cubicBezTo>
                  <a:pt x="447041" y="644966"/>
                  <a:pt x="449036" y="642972"/>
                  <a:pt x="451031" y="640978"/>
                </a:cubicBezTo>
                <a:cubicBezTo>
                  <a:pt x="451031" y="640978"/>
                  <a:pt x="453026" y="638984"/>
                  <a:pt x="455021" y="640978"/>
                </a:cubicBezTo>
                <a:cubicBezTo>
                  <a:pt x="457016" y="640978"/>
                  <a:pt x="457016" y="644966"/>
                  <a:pt x="457016" y="646960"/>
                </a:cubicBezTo>
                <a:cubicBezTo>
                  <a:pt x="457016" y="648954"/>
                  <a:pt x="461006" y="648954"/>
                  <a:pt x="461006" y="650948"/>
                </a:cubicBezTo>
                <a:cubicBezTo>
                  <a:pt x="463001" y="654936"/>
                  <a:pt x="464996" y="656930"/>
                  <a:pt x="464996" y="660918"/>
                </a:cubicBezTo>
                <a:cubicBezTo>
                  <a:pt x="464996" y="662912"/>
                  <a:pt x="463001" y="662912"/>
                  <a:pt x="466991" y="664906"/>
                </a:cubicBezTo>
                <a:cubicBezTo>
                  <a:pt x="468986" y="666900"/>
                  <a:pt x="468986" y="666900"/>
                  <a:pt x="468986" y="670888"/>
                </a:cubicBezTo>
                <a:cubicBezTo>
                  <a:pt x="468986" y="672882"/>
                  <a:pt x="464996" y="674876"/>
                  <a:pt x="464996" y="676870"/>
                </a:cubicBezTo>
                <a:cubicBezTo>
                  <a:pt x="464996" y="678864"/>
                  <a:pt x="470981" y="682852"/>
                  <a:pt x="470981" y="682852"/>
                </a:cubicBezTo>
                <a:cubicBezTo>
                  <a:pt x="470981" y="682852"/>
                  <a:pt x="474971" y="686840"/>
                  <a:pt x="474971" y="686840"/>
                </a:cubicBezTo>
                <a:cubicBezTo>
                  <a:pt x="474971" y="688834"/>
                  <a:pt x="478961" y="692822"/>
                  <a:pt x="480956" y="692822"/>
                </a:cubicBezTo>
                <a:cubicBezTo>
                  <a:pt x="480956" y="694816"/>
                  <a:pt x="484946" y="696810"/>
                  <a:pt x="484946" y="698804"/>
                </a:cubicBezTo>
                <a:cubicBezTo>
                  <a:pt x="486941" y="698804"/>
                  <a:pt x="488936" y="698804"/>
                  <a:pt x="490931" y="698804"/>
                </a:cubicBezTo>
                <a:cubicBezTo>
                  <a:pt x="492926" y="698804"/>
                  <a:pt x="492926" y="700798"/>
                  <a:pt x="492926" y="700798"/>
                </a:cubicBezTo>
                <a:cubicBezTo>
                  <a:pt x="494921" y="702792"/>
                  <a:pt x="496916" y="702792"/>
                  <a:pt x="498911" y="702792"/>
                </a:cubicBezTo>
                <a:cubicBezTo>
                  <a:pt x="500906" y="700798"/>
                  <a:pt x="500906" y="700798"/>
                  <a:pt x="498911" y="698804"/>
                </a:cubicBezTo>
                <a:cubicBezTo>
                  <a:pt x="498911" y="698804"/>
                  <a:pt x="496916" y="698804"/>
                  <a:pt x="496916" y="696810"/>
                </a:cubicBezTo>
                <a:cubicBezTo>
                  <a:pt x="498911" y="694816"/>
                  <a:pt x="500906" y="694816"/>
                  <a:pt x="500906" y="694816"/>
                </a:cubicBezTo>
                <a:cubicBezTo>
                  <a:pt x="502901" y="692822"/>
                  <a:pt x="502901" y="694816"/>
                  <a:pt x="502901" y="690828"/>
                </a:cubicBezTo>
                <a:cubicBezTo>
                  <a:pt x="502901" y="688834"/>
                  <a:pt x="504896" y="684846"/>
                  <a:pt x="506891" y="684846"/>
                </a:cubicBezTo>
                <a:cubicBezTo>
                  <a:pt x="508886" y="682852"/>
                  <a:pt x="510881" y="682852"/>
                  <a:pt x="512876" y="682852"/>
                </a:cubicBezTo>
                <a:cubicBezTo>
                  <a:pt x="514871" y="680858"/>
                  <a:pt x="510881" y="678864"/>
                  <a:pt x="510881" y="678864"/>
                </a:cubicBezTo>
                <a:cubicBezTo>
                  <a:pt x="510881" y="678864"/>
                  <a:pt x="506891" y="676870"/>
                  <a:pt x="506891" y="674876"/>
                </a:cubicBezTo>
                <a:cubicBezTo>
                  <a:pt x="508886" y="674876"/>
                  <a:pt x="510881" y="674876"/>
                  <a:pt x="512876" y="672882"/>
                </a:cubicBezTo>
                <a:cubicBezTo>
                  <a:pt x="514871" y="670888"/>
                  <a:pt x="518861" y="664906"/>
                  <a:pt x="520856" y="662912"/>
                </a:cubicBezTo>
                <a:cubicBezTo>
                  <a:pt x="522851" y="662912"/>
                  <a:pt x="526841" y="662912"/>
                  <a:pt x="526841" y="664906"/>
                </a:cubicBezTo>
                <a:cubicBezTo>
                  <a:pt x="526841" y="666900"/>
                  <a:pt x="524846" y="676870"/>
                  <a:pt x="524846" y="678864"/>
                </a:cubicBezTo>
                <a:cubicBezTo>
                  <a:pt x="524846" y="678864"/>
                  <a:pt x="530831" y="678864"/>
                  <a:pt x="530831" y="680858"/>
                </a:cubicBezTo>
                <a:cubicBezTo>
                  <a:pt x="530831" y="682852"/>
                  <a:pt x="528836" y="684846"/>
                  <a:pt x="526841" y="686840"/>
                </a:cubicBezTo>
                <a:cubicBezTo>
                  <a:pt x="526841" y="686840"/>
                  <a:pt x="522851" y="690828"/>
                  <a:pt x="522851" y="690828"/>
                </a:cubicBezTo>
                <a:cubicBezTo>
                  <a:pt x="520856" y="692822"/>
                  <a:pt x="518861" y="692822"/>
                  <a:pt x="518861" y="694816"/>
                </a:cubicBezTo>
                <a:cubicBezTo>
                  <a:pt x="518861" y="696810"/>
                  <a:pt x="516866" y="696810"/>
                  <a:pt x="518861" y="698804"/>
                </a:cubicBezTo>
                <a:cubicBezTo>
                  <a:pt x="518861" y="698804"/>
                  <a:pt x="522851" y="700798"/>
                  <a:pt x="522851" y="700798"/>
                </a:cubicBezTo>
                <a:cubicBezTo>
                  <a:pt x="522851" y="700798"/>
                  <a:pt x="524846" y="698804"/>
                  <a:pt x="526841" y="698804"/>
                </a:cubicBezTo>
                <a:cubicBezTo>
                  <a:pt x="526841" y="698804"/>
                  <a:pt x="528836" y="700798"/>
                  <a:pt x="530831" y="700798"/>
                </a:cubicBezTo>
                <a:cubicBezTo>
                  <a:pt x="530831" y="700798"/>
                  <a:pt x="534821" y="698804"/>
                  <a:pt x="536816" y="696810"/>
                </a:cubicBezTo>
                <a:cubicBezTo>
                  <a:pt x="538811" y="696810"/>
                  <a:pt x="550781" y="692822"/>
                  <a:pt x="552776" y="690828"/>
                </a:cubicBezTo>
                <a:cubicBezTo>
                  <a:pt x="552776" y="688834"/>
                  <a:pt x="550781" y="684846"/>
                  <a:pt x="552776" y="682852"/>
                </a:cubicBezTo>
                <a:cubicBezTo>
                  <a:pt x="552776" y="680858"/>
                  <a:pt x="554771" y="676870"/>
                  <a:pt x="556766" y="676870"/>
                </a:cubicBezTo>
                <a:cubicBezTo>
                  <a:pt x="558761" y="676870"/>
                  <a:pt x="564746" y="678864"/>
                  <a:pt x="568736" y="678864"/>
                </a:cubicBezTo>
                <a:cubicBezTo>
                  <a:pt x="572726" y="678864"/>
                  <a:pt x="576716" y="678864"/>
                  <a:pt x="582701" y="678864"/>
                </a:cubicBezTo>
                <a:cubicBezTo>
                  <a:pt x="588686" y="678864"/>
                  <a:pt x="592676" y="680858"/>
                  <a:pt x="594671" y="680858"/>
                </a:cubicBezTo>
                <a:cubicBezTo>
                  <a:pt x="598661" y="682852"/>
                  <a:pt x="600656" y="682852"/>
                  <a:pt x="602651" y="684846"/>
                </a:cubicBezTo>
                <a:cubicBezTo>
                  <a:pt x="602651" y="684846"/>
                  <a:pt x="606641" y="692822"/>
                  <a:pt x="606641" y="694816"/>
                </a:cubicBezTo>
                <a:cubicBezTo>
                  <a:pt x="608636" y="696810"/>
                  <a:pt x="618611" y="698804"/>
                  <a:pt x="620606" y="698804"/>
                </a:cubicBezTo>
                <a:cubicBezTo>
                  <a:pt x="624596" y="698804"/>
                  <a:pt x="632576" y="698804"/>
                  <a:pt x="632576" y="700798"/>
                </a:cubicBezTo>
                <a:cubicBezTo>
                  <a:pt x="634571" y="700798"/>
                  <a:pt x="642550" y="702792"/>
                  <a:pt x="644545" y="704786"/>
                </a:cubicBezTo>
                <a:cubicBezTo>
                  <a:pt x="648535" y="704786"/>
                  <a:pt x="658510" y="710768"/>
                  <a:pt x="658510" y="712762"/>
                </a:cubicBezTo>
                <a:cubicBezTo>
                  <a:pt x="660505" y="714756"/>
                  <a:pt x="660505" y="714756"/>
                  <a:pt x="662500" y="714756"/>
                </a:cubicBezTo>
                <a:cubicBezTo>
                  <a:pt x="664495" y="714756"/>
                  <a:pt x="668485" y="714756"/>
                  <a:pt x="670480" y="716750"/>
                </a:cubicBezTo>
                <a:cubicBezTo>
                  <a:pt x="670480" y="716750"/>
                  <a:pt x="674470" y="716750"/>
                  <a:pt x="676465" y="718744"/>
                </a:cubicBezTo>
                <a:cubicBezTo>
                  <a:pt x="678460" y="720738"/>
                  <a:pt x="678460" y="720738"/>
                  <a:pt x="680455" y="720738"/>
                </a:cubicBezTo>
                <a:cubicBezTo>
                  <a:pt x="680455" y="720738"/>
                  <a:pt x="684445" y="716750"/>
                  <a:pt x="686440" y="716750"/>
                </a:cubicBezTo>
                <a:cubicBezTo>
                  <a:pt x="688435" y="716750"/>
                  <a:pt x="692425" y="718744"/>
                  <a:pt x="692425" y="720738"/>
                </a:cubicBezTo>
                <a:cubicBezTo>
                  <a:pt x="692425" y="720738"/>
                  <a:pt x="698410" y="720738"/>
                  <a:pt x="700405" y="720738"/>
                </a:cubicBezTo>
                <a:cubicBezTo>
                  <a:pt x="700405" y="720738"/>
                  <a:pt x="704395" y="724725"/>
                  <a:pt x="704395" y="722731"/>
                </a:cubicBezTo>
                <a:cubicBezTo>
                  <a:pt x="704395" y="722731"/>
                  <a:pt x="704395" y="720738"/>
                  <a:pt x="704395" y="718744"/>
                </a:cubicBezTo>
                <a:cubicBezTo>
                  <a:pt x="702400" y="718744"/>
                  <a:pt x="702400" y="718744"/>
                  <a:pt x="702400" y="716750"/>
                </a:cubicBezTo>
                <a:cubicBezTo>
                  <a:pt x="704395" y="712762"/>
                  <a:pt x="706390" y="712762"/>
                  <a:pt x="708385" y="712762"/>
                </a:cubicBezTo>
                <a:cubicBezTo>
                  <a:pt x="708385" y="714756"/>
                  <a:pt x="708385" y="716750"/>
                  <a:pt x="708385" y="716750"/>
                </a:cubicBezTo>
                <a:cubicBezTo>
                  <a:pt x="710380" y="714756"/>
                  <a:pt x="710380" y="714756"/>
                  <a:pt x="712375" y="712762"/>
                </a:cubicBezTo>
                <a:cubicBezTo>
                  <a:pt x="712375" y="712762"/>
                  <a:pt x="716365" y="712762"/>
                  <a:pt x="716365" y="714756"/>
                </a:cubicBezTo>
                <a:cubicBezTo>
                  <a:pt x="716365" y="716750"/>
                  <a:pt x="716365" y="718744"/>
                  <a:pt x="720355" y="718744"/>
                </a:cubicBezTo>
                <a:cubicBezTo>
                  <a:pt x="722350" y="718744"/>
                  <a:pt x="726340" y="718744"/>
                  <a:pt x="728335" y="720738"/>
                </a:cubicBezTo>
                <a:cubicBezTo>
                  <a:pt x="730330" y="720738"/>
                  <a:pt x="730330" y="720738"/>
                  <a:pt x="730330" y="722731"/>
                </a:cubicBezTo>
                <a:cubicBezTo>
                  <a:pt x="730330" y="722731"/>
                  <a:pt x="730330" y="724725"/>
                  <a:pt x="732325" y="726719"/>
                </a:cubicBezTo>
                <a:cubicBezTo>
                  <a:pt x="732325" y="728713"/>
                  <a:pt x="734320" y="728713"/>
                  <a:pt x="736315" y="728713"/>
                </a:cubicBezTo>
                <a:cubicBezTo>
                  <a:pt x="736315" y="730707"/>
                  <a:pt x="738310" y="728713"/>
                  <a:pt x="738310" y="730707"/>
                </a:cubicBezTo>
                <a:cubicBezTo>
                  <a:pt x="740305" y="734695"/>
                  <a:pt x="740305" y="736689"/>
                  <a:pt x="740305" y="738683"/>
                </a:cubicBezTo>
                <a:cubicBezTo>
                  <a:pt x="740305" y="740677"/>
                  <a:pt x="742300" y="738683"/>
                  <a:pt x="742300" y="740677"/>
                </a:cubicBezTo>
                <a:cubicBezTo>
                  <a:pt x="742300" y="742671"/>
                  <a:pt x="742300" y="744665"/>
                  <a:pt x="740305" y="746659"/>
                </a:cubicBezTo>
                <a:cubicBezTo>
                  <a:pt x="740305" y="746659"/>
                  <a:pt x="738310" y="744665"/>
                  <a:pt x="736315" y="746659"/>
                </a:cubicBezTo>
                <a:cubicBezTo>
                  <a:pt x="736315" y="746659"/>
                  <a:pt x="734320" y="746659"/>
                  <a:pt x="732325" y="746659"/>
                </a:cubicBezTo>
                <a:cubicBezTo>
                  <a:pt x="730330" y="746659"/>
                  <a:pt x="728335" y="744665"/>
                  <a:pt x="728335" y="744665"/>
                </a:cubicBezTo>
                <a:cubicBezTo>
                  <a:pt x="728335" y="744665"/>
                  <a:pt x="728335" y="744665"/>
                  <a:pt x="726340" y="746659"/>
                </a:cubicBezTo>
                <a:cubicBezTo>
                  <a:pt x="726340" y="746659"/>
                  <a:pt x="724345" y="746659"/>
                  <a:pt x="724345" y="748653"/>
                </a:cubicBezTo>
                <a:cubicBezTo>
                  <a:pt x="722350" y="748653"/>
                  <a:pt x="720355" y="746659"/>
                  <a:pt x="718360" y="748653"/>
                </a:cubicBezTo>
                <a:cubicBezTo>
                  <a:pt x="716365" y="748653"/>
                  <a:pt x="714370" y="748653"/>
                  <a:pt x="714370" y="750647"/>
                </a:cubicBezTo>
                <a:cubicBezTo>
                  <a:pt x="714370" y="752641"/>
                  <a:pt x="714370" y="756629"/>
                  <a:pt x="714370" y="758623"/>
                </a:cubicBezTo>
                <a:cubicBezTo>
                  <a:pt x="712375" y="758623"/>
                  <a:pt x="710380" y="760617"/>
                  <a:pt x="708385" y="762611"/>
                </a:cubicBezTo>
                <a:cubicBezTo>
                  <a:pt x="708385" y="764605"/>
                  <a:pt x="702400" y="764605"/>
                  <a:pt x="704395" y="766599"/>
                </a:cubicBezTo>
                <a:cubicBezTo>
                  <a:pt x="704395" y="766599"/>
                  <a:pt x="708385" y="766599"/>
                  <a:pt x="710380" y="766599"/>
                </a:cubicBezTo>
                <a:cubicBezTo>
                  <a:pt x="712375" y="766599"/>
                  <a:pt x="714370" y="764605"/>
                  <a:pt x="716365" y="764605"/>
                </a:cubicBezTo>
                <a:cubicBezTo>
                  <a:pt x="720355" y="764605"/>
                  <a:pt x="724345" y="766599"/>
                  <a:pt x="728335" y="766599"/>
                </a:cubicBezTo>
                <a:cubicBezTo>
                  <a:pt x="730330" y="768593"/>
                  <a:pt x="734320" y="768593"/>
                  <a:pt x="738310" y="770587"/>
                </a:cubicBezTo>
                <a:cubicBezTo>
                  <a:pt x="740305" y="770587"/>
                  <a:pt x="744295" y="772581"/>
                  <a:pt x="746290" y="770587"/>
                </a:cubicBezTo>
                <a:cubicBezTo>
                  <a:pt x="748285" y="770587"/>
                  <a:pt x="752275" y="768593"/>
                  <a:pt x="756265" y="770587"/>
                </a:cubicBezTo>
                <a:cubicBezTo>
                  <a:pt x="758260" y="770587"/>
                  <a:pt x="760255" y="772581"/>
                  <a:pt x="762250" y="772581"/>
                </a:cubicBezTo>
                <a:cubicBezTo>
                  <a:pt x="764245" y="772581"/>
                  <a:pt x="768235" y="768593"/>
                  <a:pt x="768235" y="770587"/>
                </a:cubicBezTo>
                <a:cubicBezTo>
                  <a:pt x="770230" y="770587"/>
                  <a:pt x="770230" y="772581"/>
                  <a:pt x="772225" y="772581"/>
                </a:cubicBezTo>
                <a:cubicBezTo>
                  <a:pt x="774220" y="772581"/>
                  <a:pt x="776215" y="772581"/>
                  <a:pt x="778210" y="772581"/>
                </a:cubicBezTo>
                <a:cubicBezTo>
                  <a:pt x="780205" y="770587"/>
                  <a:pt x="780205" y="770587"/>
                  <a:pt x="782200" y="770587"/>
                </a:cubicBezTo>
                <a:cubicBezTo>
                  <a:pt x="784195" y="770587"/>
                  <a:pt x="784195" y="772581"/>
                  <a:pt x="784195" y="772581"/>
                </a:cubicBezTo>
                <a:cubicBezTo>
                  <a:pt x="786190" y="770587"/>
                  <a:pt x="786190" y="768593"/>
                  <a:pt x="788185" y="770587"/>
                </a:cubicBezTo>
                <a:cubicBezTo>
                  <a:pt x="790180" y="770587"/>
                  <a:pt x="792175" y="772581"/>
                  <a:pt x="794170" y="770587"/>
                </a:cubicBezTo>
                <a:cubicBezTo>
                  <a:pt x="796165" y="770587"/>
                  <a:pt x="798160" y="768593"/>
                  <a:pt x="798160" y="768593"/>
                </a:cubicBezTo>
                <a:cubicBezTo>
                  <a:pt x="800155" y="768593"/>
                  <a:pt x="802150" y="768593"/>
                  <a:pt x="804145" y="766599"/>
                </a:cubicBezTo>
                <a:cubicBezTo>
                  <a:pt x="806140" y="764605"/>
                  <a:pt x="806140" y="764605"/>
                  <a:pt x="806140" y="764605"/>
                </a:cubicBezTo>
                <a:cubicBezTo>
                  <a:pt x="808135" y="764605"/>
                  <a:pt x="812125" y="762611"/>
                  <a:pt x="812125" y="764605"/>
                </a:cubicBezTo>
                <a:cubicBezTo>
                  <a:pt x="810130" y="766599"/>
                  <a:pt x="806140" y="768593"/>
                  <a:pt x="808135" y="768593"/>
                </a:cubicBezTo>
                <a:cubicBezTo>
                  <a:pt x="808135" y="770587"/>
                  <a:pt x="812125" y="768593"/>
                  <a:pt x="814120" y="768593"/>
                </a:cubicBezTo>
                <a:cubicBezTo>
                  <a:pt x="816115" y="768593"/>
                  <a:pt x="822100" y="768593"/>
                  <a:pt x="822100" y="766599"/>
                </a:cubicBezTo>
                <a:cubicBezTo>
                  <a:pt x="826090" y="764605"/>
                  <a:pt x="828085" y="764605"/>
                  <a:pt x="828085" y="762611"/>
                </a:cubicBezTo>
                <a:cubicBezTo>
                  <a:pt x="828085" y="762611"/>
                  <a:pt x="828085" y="762611"/>
                  <a:pt x="830080" y="760617"/>
                </a:cubicBezTo>
                <a:cubicBezTo>
                  <a:pt x="832075" y="758623"/>
                  <a:pt x="834070" y="760617"/>
                  <a:pt x="836065" y="760617"/>
                </a:cubicBezTo>
                <a:cubicBezTo>
                  <a:pt x="836065" y="762611"/>
                  <a:pt x="836065" y="766599"/>
                  <a:pt x="836065" y="768593"/>
                </a:cubicBezTo>
                <a:cubicBezTo>
                  <a:pt x="836065" y="770587"/>
                  <a:pt x="836065" y="772581"/>
                  <a:pt x="836065" y="772581"/>
                </a:cubicBezTo>
                <a:cubicBezTo>
                  <a:pt x="838060" y="772581"/>
                  <a:pt x="842050" y="772581"/>
                  <a:pt x="844045" y="770587"/>
                </a:cubicBezTo>
                <a:cubicBezTo>
                  <a:pt x="846040" y="768593"/>
                  <a:pt x="848035" y="768593"/>
                  <a:pt x="850030" y="770587"/>
                </a:cubicBezTo>
                <a:cubicBezTo>
                  <a:pt x="852025" y="772581"/>
                  <a:pt x="852025" y="770587"/>
                  <a:pt x="854020" y="772581"/>
                </a:cubicBezTo>
                <a:cubicBezTo>
                  <a:pt x="856015" y="772581"/>
                  <a:pt x="858010" y="772581"/>
                  <a:pt x="856015" y="774575"/>
                </a:cubicBezTo>
                <a:cubicBezTo>
                  <a:pt x="854020" y="778563"/>
                  <a:pt x="852025" y="778563"/>
                  <a:pt x="854020" y="780557"/>
                </a:cubicBezTo>
                <a:cubicBezTo>
                  <a:pt x="854020" y="784545"/>
                  <a:pt x="852025" y="784545"/>
                  <a:pt x="854020" y="786539"/>
                </a:cubicBezTo>
                <a:cubicBezTo>
                  <a:pt x="856015" y="788533"/>
                  <a:pt x="860005" y="788533"/>
                  <a:pt x="860005" y="786539"/>
                </a:cubicBezTo>
                <a:cubicBezTo>
                  <a:pt x="860005" y="784545"/>
                  <a:pt x="860005" y="780557"/>
                  <a:pt x="860005" y="778563"/>
                </a:cubicBezTo>
                <a:cubicBezTo>
                  <a:pt x="862000" y="776569"/>
                  <a:pt x="862000" y="776569"/>
                  <a:pt x="863995" y="776569"/>
                </a:cubicBezTo>
                <a:cubicBezTo>
                  <a:pt x="863995" y="774575"/>
                  <a:pt x="865990" y="774575"/>
                  <a:pt x="865990" y="776569"/>
                </a:cubicBezTo>
                <a:cubicBezTo>
                  <a:pt x="865990" y="780557"/>
                  <a:pt x="863995" y="782551"/>
                  <a:pt x="863995" y="784545"/>
                </a:cubicBezTo>
                <a:cubicBezTo>
                  <a:pt x="863995" y="786539"/>
                  <a:pt x="863995" y="786539"/>
                  <a:pt x="865990" y="784545"/>
                </a:cubicBezTo>
                <a:cubicBezTo>
                  <a:pt x="867985" y="784545"/>
                  <a:pt x="869980" y="782551"/>
                  <a:pt x="869980" y="784545"/>
                </a:cubicBezTo>
                <a:cubicBezTo>
                  <a:pt x="871975" y="786539"/>
                  <a:pt x="873970" y="788533"/>
                  <a:pt x="873970" y="790527"/>
                </a:cubicBezTo>
                <a:cubicBezTo>
                  <a:pt x="873970" y="794515"/>
                  <a:pt x="869980" y="798503"/>
                  <a:pt x="869980" y="800497"/>
                </a:cubicBezTo>
                <a:cubicBezTo>
                  <a:pt x="869980" y="802491"/>
                  <a:pt x="869980" y="802491"/>
                  <a:pt x="867985" y="802491"/>
                </a:cubicBezTo>
                <a:cubicBezTo>
                  <a:pt x="865990" y="802491"/>
                  <a:pt x="865990" y="798503"/>
                  <a:pt x="863995" y="798503"/>
                </a:cubicBezTo>
                <a:cubicBezTo>
                  <a:pt x="860005" y="800497"/>
                  <a:pt x="860005" y="800497"/>
                  <a:pt x="860005" y="802491"/>
                </a:cubicBezTo>
                <a:cubicBezTo>
                  <a:pt x="862000" y="802491"/>
                  <a:pt x="862000" y="804485"/>
                  <a:pt x="862000" y="806479"/>
                </a:cubicBezTo>
                <a:cubicBezTo>
                  <a:pt x="863995" y="810467"/>
                  <a:pt x="863995" y="812461"/>
                  <a:pt x="863995" y="814455"/>
                </a:cubicBezTo>
                <a:cubicBezTo>
                  <a:pt x="865990" y="814455"/>
                  <a:pt x="867985" y="812461"/>
                  <a:pt x="869980" y="814455"/>
                </a:cubicBezTo>
                <a:cubicBezTo>
                  <a:pt x="869980" y="816449"/>
                  <a:pt x="871975" y="818443"/>
                  <a:pt x="871975" y="818443"/>
                </a:cubicBezTo>
                <a:cubicBezTo>
                  <a:pt x="873970" y="818443"/>
                  <a:pt x="873970" y="818443"/>
                  <a:pt x="875965" y="816449"/>
                </a:cubicBezTo>
                <a:cubicBezTo>
                  <a:pt x="875965" y="814455"/>
                  <a:pt x="875965" y="812461"/>
                  <a:pt x="877960" y="812461"/>
                </a:cubicBezTo>
                <a:cubicBezTo>
                  <a:pt x="877960" y="810467"/>
                  <a:pt x="881950" y="812461"/>
                  <a:pt x="881950" y="812461"/>
                </a:cubicBezTo>
                <a:cubicBezTo>
                  <a:pt x="881950" y="810467"/>
                  <a:pt x="883945" y="806479"/>
                  <a:pt x="883945" y="804485"/>
                </a:cubicBezTo>
                <a:cubicBezTo>
                  <a:pt x="885940" y="802491"/>
                  <a:pt x="885940" y="800497"/>
                  <a:pt x="885940" y="798503"/>
                </a:cubicBezTo>
                <a:cubicBezTo>
                  <a:pt x="885940" y="796509"/>
                  <a:pt x="885940" y="794515"/>
                  <a:pt x="883945" y="792521"/>
                </a:cubicBezTo>
                <a:cubicBezTo>
                  <a:pt x="881950" y="790527"/>
                  <a:pt x="881950" y="784545"/>
                  <a:pt x="883945" y="782551"/>
                </a:cubicBezTo>
                <a:cubicBezTo>
                  <a:pt x="883945" y="780557"/>
                  <a:pt x="881950" y="780557"/>
                  <a:pt x="881950" y="776569"/>
                </a:cubicBezTo>
                <a:cubicBezTo>
                  <a:pt x="881950" y="774575"/>
                  <a:pt x="877960" y="772581"/>
                  <a:pt x="879955" y="770587"/>
                </a:cubicBezTo>
                <a:cubicBezTo>
                  <a:pt x="879955" y="766599"/>
                  <a:pt x="881950" y="764605"/>
                  <a:pt x="881950" y="764605"/>
                </a:cubicBezTo>
                <a:cubicBezTo>
                  <a:pt x="883945" y="764605"/>
                  <a:pt x="885940" y="762611"/>
                  <a:pt x="883945" y="762611"/>
                </a:cubicBezTo>
                <a:cubicBezTo>
                  <a:pt x="881950" y="760617"/>
                  <a:pt x="881950" y="760617"/>
                  <a:pt x="881950" y="758623"/>
                </a:cubicBezTo>
                <a:cubicBezTo>
                  <a:pt x="879955" y="758623"/>
                  <a:pt x="883945" y="756629"/>
                  <a:pt x="883945" y="756629"/>
                </a:cubicBezTo>
                <a:cubicBezTo>
                  <a:pt x="883945" y="756629"/>
                  <a:pt x="887935" y="758623"/>
                  <a:pt x="887935" y="758623"/>
                </a:cubicBezTo>
                <a:cubicBezTo>
                  <a:pt x="889930" y="758623"/>
                  <a:pt x="889930" y="756629"/>
                  <a:pt x="891925" y="756629"/>
                </a:cubicBezTo>
                <a:cubicBezTo>
                  <a:pt x="891925" y="756629"/>
                  <a:pt x="893920" y="756629"/>
                  <a:pt x="895915" y="758623"/>
                </a:cubicBezTo>
                <a:cubicBezTo>
                  <a:pt x="897910" y="758623"/>
                  <a:pt x="899905" y="758623"/>
                  <a:pt x="899905" y="758623"/>
                </a:cubicBezTo>
                <a:cubicBezTo>
                  <a:pt x="901900" y="756629"/>
                  <a:pt x="903895" y="754635"/>
                  <a:pt x="903895" y="754635"/>
                </a:cubicBezTo>
                <a:cubicBezTo>
                  <a:pt x="903895" y="754635"/>
                  <a:pt x="905890" y="758623"/>
                  <a:pt x="907885" y="756629"/>
                </a:cubicBezTo>
                <a:cubicBezTo>
                  <a:pt x="909880" y="756629"/>
                  <a:pt x="913870" y="752641"/>
                  <a:pt x="913870" y="752641"/>
                </a:cubicBezTo>
                <a:cubicBezTo>
                  <a:pt x="915865" y="752641"/>
                  <a:pt x="917860" y="752641"/>
                  <a:pt x="917860" y="752641"/>
                </a:cubicBezTo>
                <a:cubicBezTo>
                  <a:pt x="919855" y="752641"/>
                  <a:pt x="919855" y="752641"/>
                  <a:pt x="921850" y="750647"/>
                </a:cubicBezTo>
                <a:cubicBezTo>
                  <a:pt x="921850" y="748653"/>
                  <a:pt x="921850" y="748653"/>
                  <a:pt x="923845" y="746659"/>
                </a:cubicBezTo>
                <a:cubicBezTo>
                  <a:pt x="923845" y="746659"/>
                  <a:pt x="923845" y="746659"/>
                  <a:pt x="925840" y="746659"/>
                </a:cubicBezTo>
                <a:cubicBezTo>
                  <a:pt x="929830" y="742671"/>
                  <a:pt x="929830" y="742671"/>
                  <a:pt x="931825" y="742671"/>
                </a:cubicBezTo>
                <a:cubicBezTo>
                  <a:pt x="931825" y="742671"/>
                  <a:pt x="935815" y="740677"/>
                  <a:pt x="937810" y="740677"/>
                </a:cubicBezTo>
                <a:cubicBezTo>
                  <a:pt x="939805" y="738683"/>
                  <a:pt x="939805" y="740677"/>
                  <a:pt x="941800" y="738683"/>
                </a:cubicBezTo>
                <a:cubicBezTo>
                  <a:pt x="941800" y="734695"/>
                  <a:pt x="941800" y="730707"/>
                  <a:pt x="941800" y="730707"/>
                </a:cubicBezTo>
                <a:cubicBezTo>
                  <a:pt x="939805" y="730707"/>
                  <a:pt x="937810" y="730707"/>
                  <a:pt x="935815" y="730707"/>
                </a:cubicBezTo>
                <a:cubicBezTo>
                  <a:pt x="931825" y="732701"/>
                  <a:pt x="931825" y="734695"/>
                  <a:pt x="929830" y="736689"/>
                </a:cubicBezTo>
                <a:cubicBezTo>
                  <a:pt x="927835" y="736689"/>
                  <a:pt x="925840" y="736689"/>
                  <a:pt x="923845" y="736689"/>
                </a:cubicBezTo>
                <a:cubicBezTo>
                  <a:pt x="923845" y="738683"/>
                  <a:pt x="921850" y="740677"/>
                  <a:pt x="921850" y="740677"/>
                </a:cubicBezTo>
                <a:cubicBezTo>
                  <a:pt x="921850" y="742671"/>
                  <a:pt x="921850" y="744665"/>
                  <a:pt x="919855" y="744665"/>
                </a:cubicBezTo>
                <a:cubicBezTo>
                  <a:pt x="917860" y="744665"/>
                  <a:pt x="915865" y="744665"/>
                  <a:pt x="915865" y="742671"/>
                </a:cubicBezTo>
                <a:cubicBezTo>
                  <a:pt x="913870" y="742671"/>
                  <a:pt x="909880" y="744665"/>
                  <a:pt x="907885" y="744665"/>
                </a:cubicBezTo>
                <a:cubicBezTo>
                  <a:pt x="907885" y="744665"/>
                  <a:pt x="905890" y="744665"/>
                  <a:pt x="903895" y="744665"/>
                </a:cubicBezTo>
                <a:cubicBezTo>
                  <a:pt x="901900" y="746659"/>
                  <a:pt x="901900" y="746659"/>
                  <a:pt x="899905" y="746659"/>
                </a:cubicBezTo>
                <a:cubicBezTo>
                  <a:pt x="897910" y="746659"/>
                  <a:pt x="889930" y="744665"/>
                  <a:pt x="887935" y="744665"/>
                </a:cubicBezTo>
                <a:cubicBezTo>
                  <a:pt x="885940" y="746659"/>
                  <a:pt x="887935" y="748653"/>
                  <a:pt x="887935" y="750647"/>
                </a:cubicBezTo>
                <a:cubicBezTo>
                  <a:pt x="887935" y="750647"/>
                  <a:pt x="885940" y="752641"/>
                  <a:pt x="885940" y="752641"/>
                </a:cubicBezTo>
                <a:cubicBezTo>
                  <a:pt x="883945" y="752641"/>
                  <a:pt x="875965" y="754635"/>
                  <a:pt x="875965" y="754635"/>
                </a:cubicBezTo>
                <a:cubicBezTo>
                  <a:pt x="873970" y="752641"/>
                  <a:pt x="873970" y="750647"/>
                  <a:pt x="873970" y="750647"/>
                </a:cubicBezTo>
                <a:cubicBezTo>
                  <a:pt x="873970" y="748653"/>
                  <a:pt x="879955" y="736689"/>
                  <a:pt x="881950" y="734695"/>
                </a:cubicBezTo>
                <a:cubicBezTo>
                  <a:pt x="883945" y="732701"/>
                  <a:pt x="885940" y="730707"/>
                  <a:pt x="889930" y="730707"/>
                </a:cubicBezTo>
                <a:cubicBezTo>
                  <a:pt x="893920" y="730707"/>
                  <a:pt x="903895" y="730707"/>
                  <a:pt x="907885" y="730707"/>
                </a:cubicBezTo>
                <a:cubicBezTo>
                  <a:pt x="909880" y="730707"/>
                  <a:pt x="911875" y="726719"/>
                  <a:pt x="913870" y="724725"/>
                </a:cubicBezTo>
                <a:cubicBezTo>
                  <a:pt x="917860" y="724725"/>
                  <a:pt x="925840" y="722731"/>
                  <a:pt x="927835" y="720738"/>
                </a:cubicBezTo>
                <a:cubicBezTo>
                  <a:pt x="929830" y="720738"/>
                  <a:pt x="935815" y="718744"/>
                  <a:pt x="937810" y="720738"/>
                </a:cubicBezTo>
                <a:cubicBezTo>
                  <a:pt x="941800" y="720738"/>
                  <a:pt x="945790" y="720738"/>
                  <a:pt x="945790" y="722731"/>
                </a:cubicBezTo>
                <a:cubicBezTo>
                  <a:pt x="945790" y="724725"/>
                  <a:pt x="945790" y="730707"/>
                  <a:pt x="947785" y="730707"/>
                </a:cubicBezTo>
                <a:cubicBezTo>
                  <a:pt x="949780" y="732701"/>
                  <a:pt x="955765" y="734695"/>
                  <a:pt x="957760" y="734695"/>
                </a:cubicBezTo>
                <a:cubicBezTo>
                  <a:pt x="959755" y="734695"/>
                  <a:pt x="961750" y="734695"/>
                  <a:pt x="961750" y="738683"/>
                </a:cubicBezTo>
                <a:cubicBezTo>
                  <a:pt x="963745" y="740677"/>
                  <a:pt x="963745" y="742671"/>
                  <a:pt x="963745" y="744665"/>
                </a:cubicBezTo>
                <a:cubicBezTo>
                  <a:pt x="963745" y="744665"/>
                  <a:pt x="963745" y="746659"/>
                  <a:pt x="961750" y="746659"/>
                </a:cubicBezTo>
                <a:cubicBezTo>
                  <a:pt x="959755" y="746659"/>
                  <a:pt x="955765" y="744665"/>
                  <a:pt x="955765" y="742671"/>
                </a:cubicBezTo>
                <a:cubicBezTo>
                  <a:pt x="953770" y="742671"/>
                  <a:pt x="951775" y="738683"/>
                  <a:pt x="949780" y="740677"/>
                </a:cubicBezTo>
                <a:cubicBezTo>
                  <a:pt x="947785" y="740677"/>
                  <a:pt x="949780" y="744665"/>
                  <a:pt x="949780" y="746659"/>
                </a:cubicBezTo>
                <a:cubicBezTo>
                  <a:pt x="951775" y="746659"/>
                  <a:pt x="953770" y="746659"/>
                  <a:pt x="953770" y="746659"/>
                </a:cubicBezTo>
                <a:cubicBezTo>
                  <a:pt x="953770" y="748653"/>
                  <a:pt x="955765" y="746659"/>
                  <a:pt x="957760" y="748653"/>
                </a:cubicBezTo>
                <a:cubicBezTo>
                  <a:pt x="957760" y="750647"/>
                  <a:pt x="955765" y="750647"/>
                  <a:pt x="957760" y="750647"/>
                </a:cubicBezTo>
                <a:cubicBezTo>
                  <a:pt x="959755" y="750647"/>
                  <a:pt x="961750" y="750647"/>
                  <a:pt x="963745" y="752641"/>
                </a:cubicBezTo>
                <a:cubicBezTo>
                  <a:pt x="963745" y="754635"/>
                  <a:pt x="961750" y="756629"/>
                  <a:pt x="961750" y="756629"/>
                </a:cubicBezTo>
                <a:cubicBezTo>
                  <a:pt x="963745" y="758623"/>
                  <a:pt x="965740" y="758623"/>
                  <a:pt x="967735" y="758623"/>
                </a:cubicBezTo>
                <a:cubicBezTo>
                  <a:pt x="969730" y="756629"/>
                  <a:pt x="971725" y="758623"/>
                  <a:pt x="971725" y="758623"/>
                </a:cubicBezTo>
                <a:cubicBezTo>
                  <a:pt x="971725" y="758623"/>
                  <a:pt x="975715" y="760617"/>
                  <a:pt x="977710" y="760617"/>
                </a:cubicBezTo>
                <a:cubicBezTo>
                  <a:pt x="981700" y="758623"/>
                  <a:pt x="983695" y="756629"/>
                  <a:pt x="985690" y="756629"/>
                </a:cubicBezTo>
                <a:cubicBezTo>
                  <a:pt x="987685" y="754635"/>
                  <a:pt x="989680" y="754635"/>
                  <a:pt x="989680" y="756629"/>
                </a:cubicBezTo>
                <a:cubicBezTo>
                  <a:pt x="989680" y="758623"/>
                  <a:pt x="995665" y="762611"/>
                  <a:pt x="995665" y="764605"/>
                </a:cubicBezTo>
                <a:cubicBezTo>
                  <a:pt x="997660" y="766599"/>
                  <a:pt x="999655" y="768593"/>
                  <a:pt x="1003645" y="768593"/>
                </a:cubicBezTo>
                <a:cubicBezTo>
                  <a:pt x="1003645" y="768593"/>
                  <a:pt x="1005640" y="768593"/>
                  <a:pt x="1005640" y="768593"/>
                </a:cubicBezTo>
                <a:cubicBezTo>
                  <a:pt x="1007635" y="768593"/>
                  <a:pt x="1009630" y="768593"/>
                  <a:pt x="1009630" y="768593"/>
                </a:cubicBezTo>
                <a:cubicBezTo>
                  <a:pt x="1011625" y="770587"/>
                  <a:pt x="1011625" y="772581"/>
                  <a:pt x="1013620" y="770587"/>
                </a:cubicBezTo>
                <a:cubicBezTo>
                  <a:pt x="1015615" y="770587"/>
                  <a:pt x="1017610" y="768593"/>
                  <a:pt x="1019605" y="768593"/>
                </a:cubicBezTo>
                <a:cubicBezTo>
                  <a:pt x="1021600" y="768593"/>
                  <a:pt x="1023595" y="770587"/>
                  <a:pt x="1025590" y="770587"/>
                </a:cubicBezTo>
                <a:cubicBezTo>
                  <a:pt x="1025590" y="768593"/>
                  <a:pt x="1031575" y="770587"/>
                  <a:pt x="1033570" y="770587"/>
                </a:cubicBezTo>
                <a:cubicBezTo>
                  <a:pt x="1033570" y="768593"/>
                  <a:pt x="1039555" y="768593"/>
                  <a:pt x="1041550" y="768593"/>
                </a:cubicBezTo>
                <a:cubicBezTo>
                  <a:pt x="1043544" y="768593"/>
                  <a:pt x="1047534" y="768593"/>
                  <a:pt x="1049529" y="768593"/>
                </a:cubicBezTo>
                <a:cubicBezTo>
                  <a:pt x="1051524" y="768593"/>
                  <a:pt x="1053520" y="768593"/>
                  <a:pt x="1053520" y="768593"/>
                </a:cubicBezTo>
                <a:cubicBezTo>
                  <a:pt x="1055515" y="768593"/>
                  <a:pt x="1057510" y="766599"/>
                  <a:pt x="1057510" y="766599"/>
                </a:cubicBezTo>
                <a:cubicBezTo>
                  <a:pt x="1059505" y="766599"/>
                  <a:pt x="1065490" y="768593"/>
                  <a:pt x="1067485" y="768593"/>
                </a:cubicBezTo>
                <a:cubicBezTo>
                  <a:pt x="1067485" y="768593"/>
                  <a:pt x="1069480" y="768593"/>
                  <a:pt x="1071475" y="768593"/>
                </a:cubicBezTo>
                <a:cubicBezTo>
                  <a:pt x="1073470" y="768593"/>
                  <a:pt x="1081449" y="770587"/>
                  <a:pt x="1081449" y="770587"/>
                </a:cubicBezTo>
                <a:cubicBezTo>
                  <a:pt x="1083444" y="772581"/>
                  <a:pt x="1087434" y="772581"/>
                  <a:pt x="1089429" y="772581"/>
                </a:cubicBezTo>
                <a:cubicBezTo>
                  <a:pt x="1091424" y="772581"/>
                  <a:pt x="1099404" y="770587"/>
                  <a:pt x="1097409" y="768593"/>
                </a:cubicBezTo>
                <a:cubicBezTo>
                  <a:pt x="1097409" y="768593"/>
                  <a:pt x="1095414" y="768593"/>
                  <a:pt x="1093419" y="764605"/>
                </a:cubicBezTo>
                <a:cubicBezTo>
                  <a:pt x="1091424" y="760617"/>
                  <a:pt x="1091424" y="758623"/>
                  <a:pt x="1093419" y="758623"/>
                </a:cubicBezTo>
                <a:cubicBezTo>
                  <a:pt x="1095414" y="756629"/>
                  <a:pt x="1099404" y="758623"/>
                  <a:pt x="1101399" y="758623"/>
                </a:cubicBezTo>
                <a:cubicBezTo>
                  <a:pt x="1103394" y="758623"/>
                  <a:pt x="1101399" y="756629"/>
                  <a:pt x="1101399" y="752641"/>
                </a:cubicBezTo>
                <a:cubicBezTo>
                  <a:pt x="1101399" y="750647"/>
                  <a:pt x="1099404" y="746659"/>
                  <a:pt x="1099404" y="744665"/>
                </a:cubicBezTo>
                <a:cubicBezTo>
                  <a:pt x="1101399" y="742671"/>
                  <a:pt x="1103394" y="742671"/>
                  <a:pt x="1105389" y="742671"/>
                </a:cubicBezTo>
                <a:cubicBezTo>
                  <a:pt x="1105389" y="744665"/>
                  <a:pt x="1109379" y="746659"/>
                  <a:pt x="1111374" y="746659"/>
                </a:cubicBezTo>
                <a:cubicBezTo>
                  <a:pt x="1111374" y="744665"/>
                  <a:pt x="1113369" y="742671"/>
                  <a:pt x="1115364" y="740677"/>
                </a:cubicBezTo>
                <a:cubicBezTo>
                  <a:pt x="1115364" y="740677"/>
                  <a:pt x="1119354" y="736689"/>
                  <a:pt x="1121349" y="738683"/>
                </a:cubicBezTo>
                <a:cubicBezTo>
                  <a:pt x="1121349" y="740677"/>
                  <a:pt x="1123344" y="742671"/>
                  <a:pt x="1123344" y="744665"/>
                </a:cubicBezTo>
                <a:cubicBezTo>
                  <a:pt x="1125339" y="744665"/>
                  <a:pt x="1127334" y="744665"/>
                  <a:pt x="1127334" y="742671"/>
                </a:cubicBezTo>
                <a:cubicBezTo>
                  <a:pt x="1129329" y="742671"/>
                  <a:pt x="1133319" y="742671"/>
                  <a:pt x="1135314" y="744665"/>
                </a:cubicBezTo>
                <a:cubicBezTo>
                  <a:pt x="1135314" y="744665"/>
                  <a:pt x="1133319" y="746659"/>
                  <a:pt x="1135314" y="748653"/>
                </a:cubicBezTo>
                <a:cubicBezTo>
                  <a:pt x="1139304" y="748653"/>
                  <a:pt x="1141299" y="746659"/>
                  <a:pt x="1143294" y="746659"/>
                </a:cubicBezTo>
                <a:cubicBezTo>
                  <a:pt x="1145289" y="748653"/>
                  <a:pt x="1145289" y="748653"/>
                  <a:pt x="1145289" y="750647"/>
                </a:cubicBezTo>
                <a:cubicBezTo>
                  <a:pt x="1143294" y="752641"/>
                  <a:pt x="1135314" y="754635"/>
                  <a:pt x="1135314" y="756629"/>
                </a:cubicBezTo>
                <a:cubicBezTo>
                  <a:pt x="1133319" y="758623"/>
                  <a:pt x="1133319" y="760617"/>
                  <a:pt x="1135314" y="760617"/>
                </a:cubicBezTo>
                <a:cubicBezTo>
                  <a:pt x="1137309" y="760617"/>
                  <a:pt x="1139304" y="760617"/>
                  <a:pt x="1139304" y="758623"/>
                </a:cubicBezTo>
                <a:cubicBezTo>
                  <a:pt x="1141299" y="758623"/>
                  <a:pt x="1141299" y="756629"/>
                  <a:pt x="1141299" y="756629"/>
                </a:cubicBezTo>
                <a:cubicBezTo>
                  <a:pt x="1143294" y="756629"/>
                  <a:pt x="1147284" y="750647"/>
                  <a:pt x="1151274" y="750647"/>
                </a:cubicBezTo>
                <a:cubicBezTo>
                  <a:pt x="1153269" y="750647"/>
                  <a:pt x="1157259" y="748653"/>
                  <a:pt x="1157259" y="750647"/>
                </a:cubicBezTo>
                <a:cubicBezTo>
                  <a:pt x="1159254" y="752641"/>
                  <a:pt x="1157259" y="754635"/>
                  <a:pt x="1155264" y="756629"/>
                </a:cubicBezTo>
                <a:cubicBezTo>
                  <a:pt x="1155264" y="758623"/>
                  <a:pt x="1149279" y="766599"/>
                  <a:pt x="1149279" y="768593"/>
                </a:cubicBezTo>
                <a:cubicBezTo>
                  <a:pt x="1149279" y="770587"/>
                  <a:pt x="1151274" y="774575"/>
                  <a:pt x="1149279" y="774575"/>
                </a:cubicBezTo>
                <a:cubicBezTo>
                  <a:pt x="1149279" y="776569"/>
                  <a:pt x="1143294" y="776569"/>
                  <a:pt x="1143294" y="778563"/>
                </a:cubicBezTo>
                <a:cubicBezTo>
                  <a:pt x="1143294" y="780557"/>
                  <a:pt x="1143294" y="782551"/>
                  <a:pt x="1143294" y="782551"/>
                </a:cubicBezTo>
                <a:cubicBezTo>
                  <a:pt x="1145289" y="782551"/>
                  <a:pt x="1147284" y="782551"/>
                  <a:pt x="1145289" y="784545"/>
                </a:cubicBezTo>
                <a:cubicBezTo>
                  <a:pt x="1145289" y="786539"/>
                  <a:pt x="1145289" y="790527"/>
                  <a:pt x="1145289" y="792521"/>
                </a:cubicBezTo>
                <a:cubicBezTo>
                  <a:pt x="1147284" y="794515"/>
                  <a:pt x="1149279" y="796509"/>
                  <a:pt x="1151274" y="794515"/>
                </a:cubicBezTo>
                <a:cubicBezTo>
                  <a:pt x="1151274" y="792521"/>
                  <a:pt x="1153269" y="788533"/>
                  <a:pt x="1155264" y="788533"/>
                </a:cubicBezTo>
                <a:cubicBezTo>
                  <a:pt x="1157259" y="788533"/>
                  <a:pt x="1159254" y="788533"/>
                  <a:pt x="1159254" y="790527"/>
                </a:cubicBezTo>
                <a:cubicBezTo>
                  <a:pt x="1159254" y="792521"/>
                  <a:pt x="1155264" y="794515"/>
                  <a:pt x="1157259" y="796509"/>
                </a:cubicBezTo>
                <a:cubicBezTo>
                  <a:pt x="1157259" y="796509"/>
                  <a:pt x="1161249" y="794515"/>
                  <a:pt x="1161249" y="796509"/>
                </a:cubicBezTo>
                <a:cubicBezTo>
                  <a:pt x="1161249" y="798503"/>
                  <a:pt x="1161249" y="802491"/>
                  <a:pt x="1161249" y="804485"/>
                </a:cubicBezTo>
                <a:cubicBezTo>
                  <a:pt x="1161249" y="804485"/>
                  <a:pt x="1157259" y="806479"/>
                  <a:pt x="1155264" y="806479"/>
                </a:cubicBezTo>
                <a:cubicBezTo>
                  <a:pt x="1153269" y="806479"/>
                  <a:pt x="1149279" y="804485"/>
                  <a:pt x="1147284" y="802491"/>
                </a:cubicBezTo>
                <a:cubicBezTo>
                  <a:pt x="1147284" y="802491"/>
                  <a:pt x="1135314" y="800497"/>
                  <a:pt x="1135314" y="802491"/>
                </a:cubicBezTo>
                <a:cubicBezTo>
                  <a:pt x="1135314" y="802491"/>
                  <a:pt x="1135314" y="806479"/>
                  <a:pt x="1137309" y="808473"/>
                </a:cubicBezTo>
                <a:cubicBezTo>
                  <a:pt x="1139304" y="810467"/>
                  <a:pt x="1139304" y="812461"/>
                  <a:pt x="1139304" y="814455"/>
                </a:cubicBezTo>
                <a:cubicBezTo>
                  <a:pt x="1141299" y="816449"/>
                  <a:pt x="1141299" y="818443"/>
                  <a:pt x="1143294" y="818443"/>
                </a:cubicBezTo>
                <a:cubicBezTo>
                  <a:pt x="1145289" y="818443"/>
                  <a:pt x="1145289" y="818443"/>
                  <a:pt x="1145289" y="816449"/>
                </a:cubicBezTo>
                <a:cubicBezTo>
                  <a:pt x="1145289" y="814455"/>
                  <a:pt x="1145289" y="810467"/>
                  <a:pt x="1147284" y="808473"/>
                </a:cubicBezTo>
                <a:cubicBezTo>
                  <a:pt x="1149279" y="806479"/>
                  <a:pt x="1153269" y="806479"/>
                  <a:pt x="1155264" y="806479"/>
                </a:cubicBezTo>
                <a:cubicBezTo>
                  <a:pt x="1157259" y="806479"/>
                  <a:pt x="1161249" y="810467"/>
                  <a:pt x="1165239" y="808473"/>
                </a:cubicBezTo>
                <a:cubicBezTo>
                  <a:pt x="1167234" y="806479"/>
                  <a:pt x="1167234" y="800497"/>
                  <a:pt x="1167234" y="798503"/>
                </a:cubicBezTo>
                <a:cubicBezTo>
                  <a:pt x="1165239" y="796509"/>
                  <a:pt x="1167234" y="780557"/>
                  <a:pt x="1167234" y="778563"/>
                </a:cubicBezTo>
                <a:cubicBezTo>
                  <a:pt x="1165239" y="776569"/>
                  <a:pt x="1159254" y="774575"/>
                  <a:pt x="1159254" y="772581"/>
                </a:cubicBezTo>
                <a:cubicBezTo>
                  <a:pt x="1159254" y="768593"/>
                  <a:pt x="1163244" y="768593"/>
                  <a:pt x="1165239" y="766599"/>
                </a:cubicBezTo>
                <a:cubicBezTo>
                  <a:pt x="1165239" y="764605"/>
                  <a:pt x="1167234" y="756629"/>
                  <a:pt x="1169229" y="756629"/>
                </a:cubicBezTo>
                <a:cubicBezTo>
                  <a:pt x="1171224" y="756629"/>
                  <a:pt x="1179204" y="758623"/>
                  <a:pt x="1181199" y="758623"/>
                </a:cubicBezTo>
                <a:cubicBezTo>
                  <a:pt x="1181199" y="758623"/>
                  <a:pt x="1181199" y="758623"/>
                  <a:pt x="1183194" y="754635"/>
                </a:cubicBezTo>
                <a:cubicBezTo>
                  <a:pt x="1185189" y="750647"/>
                  <a:pt x="1183194" y="750647"/>
                  <a:pt x="1187184" y="750647"/>
                </a:cubicBezTo>
                <a:cubicBezTo>
                  <a:pt x="1191174" y="752641"/>
                  <a:pt x="1195164" y="754635"/>
                  <a:pt x="1197159" y="750647"/>
                </a:cubicBezTo>
                <a:cubicBezTo>
                  <a:pt x="1199154" y="748653"/>
                  <a:pt x="1203144" y="742671"/>
                  <a:pt x="1205139" y="742671"/>
                </a:cubicBezTo>
                <a:cubicBezTo>
                  <a:pt x="1207134" y="740677"/>
                  <a:pt x="1211124" y="738683"/>
                  <a:pt x="1213119" y="736689"/>
                </a:cubicBezTo>
                <a:cubicBezTo>
                  <a:pt x="1215114" y="734695"/>
                  <a:pt x="1215114" y="732701"/>
                  <a:pt x="1215114" y="730707"/>
                </a:cubicBezTo>
                <a:cubicBezTo>
                  <a:pt x="1215114" y="726719"/>
                  <a:pt x="1213119" y="726719"/>
                  <a:pt x="1215114" y="724725"/>
                </a:cubicBezTo>
                <a:cubicBezTo>
                  <a:pt x="1217109" y="722731"/>
                  <a:pt x="1217109" y="720738"/>
                  <a:pt x="1217109" y="718744"/>
                </a:cubicBezTo>
                <a:cubicBezTo>
                  <a:pt x="1215114" y="716750"/>
                  <a:pt x="1213119" y="714756"/>
                  <a:pt x="1211124" y="716750"/>
                </a:cubicBezTo>
                <a:cubicBezTo>
                  <a:pt x="1211124" y="716750"/>
                  <a:pt x="1211124" y="722731"/>
                  <a:pt x="1211124" y="724725"/>
                </a:cubicBezTo>
                <a:cubicBezTo>
                  <a:pt x="1211124" y="724725"/>
                  <a:pt x="1209129" y="726719"/>
                  <a:pt x="1207134" y="728713"/>
                </a:cubicBezTo>
                <a:cubicBezTo>
                  <a:pt x="1207134" y="728713"/>
                  <a:pt x="1201149" y="728713"/>
                  <a:pt x="1201149" y="728713"/>
                </a:cubicBezTo>
                <a:cubicBezTo>
                  <a:pt x="1199154" y="728713"/>
                  <a:pt x="1199154" y="732701"/>
                  <a:pt x="1197159" y="732701"/>
                </a:cubicBezTo>
                <a:cubicBezTo>
                  <a:pt x="1195164" y="732701"/>
                  <a:pt x="1193169" y="734695"/>
                  <a:pt x="1193169" y="732701"/>
                </a:cubicBezTo>
                <a:cubicBezTo>
                  <a:pt x="1193169" y="730707"/>
                  <a:pt x="1193169" y="728713"/>
                  <a:pt x="1195164" y="726719"/>
                </a:cubicBezTo>
                <a:cubicBezTo>
                  <a:pt x="1195164" y="726719"/>
                  <a:pt x="1195164" y="724725"/>
                  <a:pt x="1195164" y="722731"/>
                </a:cubicBezTo>
                <a:cubicBezTo>
                  <a:pt x="1195164" y="718744"/>
                  <a:pt x="1197159" y="716750"/>
                  <a:pt x="1199154" y="714756"/>
                </a:cubicBezTo>
                <a:cubicBezTo>
                  <a:pt x="1203144" y="712762"/>
                  <a:pt x="1207134" y="708774"/>
                  <a:pt x="1207134" y="708774"/>
                </a:cubicBezTo>
                <a:cubicBezTo>
                  <a:pt x="1209129" y="706780"/>
                  <a:pt x="1209129" y="702792"/>
                  <a:pt x="1211124" y="700798"/>
                </a:cubicBezTo>
                <a:cubicBezTo>
                  <a:pt x="1211124" y="698804"/>
                  <a:pt x="1211124" y="696810"/>
                  <a:pt x="1213119" y="696810"/>
                </a:cubicBezTo>
                <a:cubicBezTo>
                  <a:pt x="1217109" y="696810"/>
                  <a:pt x="1221099" y="694816"/>
                  <a:pt x="1221099" y="696810"/>
                </a:cubicBezTo>
                <a:cubicBezTo>
                  <a:pt x="1223094" y="696810"/>
                  <a:pt x="1219104" y="700798"/>
                  <a:pt x="1221099" y="700798"/>
                </a:cubicBezTo>
                <a:cubicBezTo>
                  <a:pt x="1223094" y="700798"/>
                  <a:pt x="1227084" y="700798"/>
                  <a:pt x="1229079" y="698804"/>
                </a:cubicBezTo>
                <a:cubicBezTo>
                  <a:pt x="1229079" y="698804"/>
                  <a:pt x="1231074" y="694816"/>
                  <a:pt x="1233069" y="694816"/>
                </a:cubicBezTo>
                <a:cubicBezTo>
                  <a:pt x="1237059" y="694816"/>
                  <a:pt x="1241049" y="696810"/>
                  <a:pt x="1243044" y="694816"/>
                </a:cubicBezTo>
                <a:cubicBezTo>
                  <a:pt x="1245039" y="694816"/>
                  <a:pt x="1247034" y="694816"/>
                  <a:pt x="1247034" y="692822"/>
                </a:cubicBezTo>
                <a:cubicBezTo>
                  <a:pt x="1247034" y="690828"/>
                  <a:pt x="1247034" y="688834"/>
                  <a:pt x="1245039" y="690828"/>
                </a:cubicBezTo>
                <a:cubicBezTo>
                  <a:pt x="1243044" y="690828"/>
                  <a:pt x="1237059" y="690828"/>
                  <a:pt x="1237059" y="692822"/>
                </a:cubicBezTo>
                <a:cubicBezTo>
                  <a:pt x="1235064" y="692822"/>
                  <a:pt x="1233069" y="692822"/>
                  <a:pt x="1229079" y="692822"/>
                </a:cubicBezTo>
                <a:cubicBezTo>
                  <a:pt x="1227084" y="690828"/>
                  <a:pt x="1221099" y="690828"/>
                  <a:pt x="1219104" y="690828"/>
                </a:cubicBezTo>
                <a:cubicBezTo>
                  <a:pt x="1215114" y="688834"/>
                  <a:pt x="1213119" y="688834"/>
                  <a:pt x="1211124" y="686840"/>
                </a:cubicBezTo>
                <a:cubicBezTo>
                  <a:pt x="1209129" y="684846"/>
                  <a:pt x="1207134" y="682852"/>
                  <a:pt x="1205139" y="682852"/>
                </a:cubicBezTo>
                <a:cubicBezTo>
                  <a:pt x="1203144" y="682852"/>
                  <a:pt x="1203144" y="684846"/>
                  <a:pt x="1201149" y="684846"/>
                </a:cubicBezTo>
                <a:cubicBezTo>
                  <a:pt x="1201149" y="686840"/>
                  <a:pt x="1199154" y="686840"/>
                  <a:pt x="1197159" y="686840"/>
                </a:cubicBezTo>
                <a:cubicBezTo>
                  <a:pt x="1195164" y="686840"/>
                  <a:pt x="1189179" y="686840"/>
                  <a:pt x="1187184" y="686840"/>
                </a:cubicBezTo>
                <a:cubicBezTo>
                  <a:pt x="1187184" y="684846"/>
                  <a:pt x="1183194" y="680858"/>
                  <a:pt x="1181199" y="678864"/>
                </a:cubicBezTo>
                <a:cubicBezTo>
                  <a:pt x="1179204" y="678864"/>
                  <a:pt x="1175214" y="680858"/>
                  <a:pt x="1173219" y="680858"/>
                </a:cubicBezTo>
                <a:cubicBezTo>
                  <a:pt x="1171224" y="678864"/>
                  <a:pt x="1167234" y="680858"/>
                  <a:pt x="1167234" y="678864"/>
                </a:cubicBezTo>
                <a:cubicBezTo>
                  <a:pt x="1165239" y="676870"/>
                  <a:pt x="1167234" y="652942"/>
                  <a:pt x="1167234" y="650948"/>
                </a:cubicBezTo>
                <a:cubicBezTo>
                  <a:pt x="1169229" y="648954"/>
                  <a:pt x="1173219" y="642972"/>
                  <a:pt x="1175214" y="642972"/>
                </a:cubicBezTo>
                <a:cubicBezTo>
                  <a:pt x="1177209" y="640978"/>
                  <a:pt x="1177209" y="640978"/>
                  <a:pt x="1179204" y="640978"/>
                </a:cubicBezTo>
                <a:cubicBezTo>
                  <a:pt x="1181199" y="642972"/>
                  <a:pt x="1183194" y="644966"/>
                  <a:pt x="1185189" y="642972"/>
                </a:cubicBezTo>
                <a:cubicBezTo>
                  <a:pt x="1187184" y="640978"/>
                  <a:pt x="1187184" y="634996"/>
                  <a:pt x="1187184" y="634996"/>
                </a:cubicBezTo>
                <a:cubicBezTo>
                  <a:pt x="1187184" y="633002"/>
                  <a:pt x="1183194" y="633002"/>
                  <a:pt x="1181199" y="633002"/>
                </a:cubicBezTo>
                <a:cubicBezTo>
                  <a:pt x="1181199" y="633002"/>
                  <a:pt x="1177209" y="629014"/>
                  <a:pt x="1177209" y="625026"/>
                </a:cubicBezTo>
                <a:cubicBezTo>
                  <a:pt x="1177209" y="623032"/>
                  <a:pt x="1177209" y="623032"/>
                  <a:pt x="1179204" y="621038"/>
                </a:cubicBezTo>
                <a:cubicBezTo>
                  <a:pt x="1181199" y="621038"/>
                  <a:pt x="1185189" y="621038"/>
                  <a:pt x="1183194" y="617050"/>
                </a:cubicBezTo>
                <a:cubicBezTo>
                  <a:pt x="1183194" y="613062"/>
                  <a:pt x="1187184" y="607080"/>
                  <a:pt x="1187184" y="605086"/>
                </a:cubicBezTo>
                <a:cubicBezTo>
                  <a:pt x="1189179" y="603092"/>
                  <a:pt x="1191174" y="601098"/>
                  <a:pt x="1191174" y="601098"/>
                </a:cubicBezTo>
                <a:cubicBezTo>
                  <a:pt x="1193169" y="601098"/>
                  <a:pt x="1195164" y="605086"/>
                  <a:pt x="1197159" y="605086"/>
                </a:cubicBezTo>
                <a:cubicBezTo>
                  <a:pt x="1199154" y="607080"/>
                  <a:pt x="1203144" y="605086"/>
                  <a:pt x="1205139" y="605086"/>
                </a:cubicBezTo>
                <a:cubicBezTo>
                  <a:pt x="1205139" y="603092"/>
                  <a:pt x="1205139" y="599104"/>
                  <a:pt x="1205139" y="599104"/>
                </a:cubicBezTo>
                <a:cubicBezTo>
                  <a:pt x="1205139" y="599104"/>
                  <a:pt x="1199154" y="597110"/>
                  <a:pt x="1199154" y="597110"/>
                </a:cubicBezTo>
                <a:cubicBezTo>
                  <a:pt x="1197159" y="597110"/>
                  <a:pt x="1197159" y="595116"/>
                  <a:pt x="1199154" y="593122"/>
                </a:cubicBezTo>
                <a:cubicBezTo>
                  <a:pt x="1199154" y="591128"/>
                  <a:pt x="1207134" y="591128"/>
                  <a:pt x="1209129" y="589134"/>
                </a:cubicBezTo>
                <a:cubicBezTo>
                  <a:pt x="1209129" y="587140"/>
                  <a:pt x="1207134" y="587140"/>
                  <a:pt x="1209129" y="585146"/>
                </a:cubicBezTo>
                <a:cubicBezTo>
                  <a:pt x="1211124" y="583152"/>
                  <a:pt x="1217109" y="585146"/>
                  <a:pt x="1219104" y="583152"/>
                </a:cubicBezTo>
                <a:cubicBezTo>
                  <a:pt x="1219104" y="581158"/>
                  <a:pt x="1217109" y="577170"/>
                  <a:pt x="1215114" y="577170"/>
                </a:cubicBezTo>
                <a:cubicBezTo>
                  <a:pt x="1215114" y="575176"/>
                  <a:pt x="1213119" y="569194"/>
                  <a:pt x="1215114" y="567200"/>
                </a:cubicBezTo>
                <a:cubicBezTo>
                  <a:pt x="1215114" y="565206"/>
                  <a:pt x="1219104" y="561218"/>
                  <a:pt x="1219104" y="559224"/>
                </a:cubicBezTo>
                <a:cubicBezTo>
                  <a:pt x="1219104" y="555236"/>
                  <a:pt x="1219104" y="553242"/>
                  <a:pt x="1219104" y="551248"/>
                </a:cubicBezTo>
                <a:cubicBezTo>
                  <a:pt x="1221099" y="549254"/>
                  <a:pt x="1223094" y="549254"/>
                  <a:pt x="1221099" y="549254"/>
                </a:cubicBezTo>
                <a:cubicBezTo>
                  <a:pt x="1221099" y="545266"/>
                  <a:pt x="1219104" y="539284"/>
                  <a:pt x="1217109" y="539284"/>
                </a:cubicBezTo>
                <a:cubicBezTo>
                  <a:pt x="1215114" y="537290"/>
                  <a:pt x="1213119" y="537290"/>
                  <a:pt x="1213119" y="537290"/>
                </a:cubicBezTo>
                <a:cubicBezTo>
                  <a:pt x="1213119" y="535296"/>
                  <a:pt x="1215114" y="533302"/>
                  <a:pt x="1215114" y="531308"/>
                </a:cubicBezTo>
                <a:cubicBezTo>
                  <a:pt x="1215114" y="529314"/>
                  <a:pt x="1213119" y="523332"/>
                  <a:pt x="1215114" y="521338"/>
                </a:cubicBezTo>
                <a:cubicBezTo>
                  <a:pt x="1215114" y="519344"/>
                  <a:pt x="1219104" y="519344"/>
                  <a:pt x="1221099" y="519344"/>
                </a:cubicBezTo>
                <a:cubicBezTo>
                  <a:pt x="1223094" y="519344"/>
                  <a:pt x="1221099" y="511368"/>
                  <a:pt x="1221099" y="509374"/>
                </a:cubicBezTo>
                <a:cubicBezTo>
                  <a:pt x="1221099" y="507380"/>
                  <a:pt x="1223094" y="499404"/>
                  <a:pt x="1223094" y="497410"/>
                </a:cubicBezTo>
                <a:cubicBezTo>
                  <a:pt x="1223094" y="495416"/>
                  <a:pt x="1223094" y="491428"/>
                  <a:pt x="1223094" y="489434"/>
                </a:cubicBezTo>
                <a:cubicBezTo>
                  <a:pt x="1225089" y="489434"/>
                  <a:pt x="1229079" y="487440"/>
                  <a:pt x="1229079" y="487440"/>
                </a:cubicBezTo>
                <a:cubicBezTo>
                  <a:pt x="1229079" y="489434"/>
                  <a:pt x="1235064" y="493422"/>
                  <a:pt x="1235064" y="493422"/>
                </a:cubicBezTo>
                <a:cubicBezTo>
                  <a:pt x="1237059" y="495416"/>
                  <a:pt x="1239054" y="497410"/>
                  <a:pt x="1241049" y="497410"/>
                </a:cubicBezTo>
                <a:cubicBezTo>
                  <a:pt x="1241049" y="497410"/>
                  <a:pt x="1251024" y="497410"/>
                  <a:pt x="1251024" y="499404"/>
                </a:cubicBezTo>
                <a:cubicBezTo>
                  <a:pt x="1253019" y="499404"/>
                  <a:pt x="1264989" y="501398"/>
                  <a:pt x="1262994" y="501398"/>
                </a:cubicBezTo>
                <a:cubicBezTo>
                  <a:pt x="1262994" y="501398"/>
                  <a:pt x="1245039" y="495416"/>
                  <a:pt x="1245039" y="495416"/>
                </a:cubicBezTo>
                <a:cubicBezTo>
                  <a:pt x="1245039" y="495416"/>
                  <a:pt x="1241049" y="495416"/>
                  <a:pt x="1241049" y="493422"/>
                </a:cubicBezTo>
                <a:cubicBezTo>
                  <a:pt x="1241049" y="491428"/>
                  <a:pt x="1241049" y="489434"/>
                  <a:pt x="1239054" y="485446"/>
                </a:cubicBezTo>
                <a:cubicBezTo>
                  <a:pt x="1237059" y="483452"/>
                  <a:pt x="1235064" y="481458"/>
                  <a:pt x="1237059" y="479464"/>
                </a:cubicBezTo>
                <a:cubicBezTo>
                  <a:pt x="1237059" y="477470"/>
                  <a:pt x="1239054" y="479464"/>
                  <a:pt x="1241049" y="479464"/>
                </a:cubicBezTo>
                <a:cubicBezTo>
                  <a:pt x="1241049" y="479464"/>
                  <a:pt x="1247034" y="475476"/>
                  <a:pt x="1249029" y="475476"/>
                </a:cubicBezTo>
                <a:cubicBezTo>
                  <a:pt x="1249029" y="473482"/>
                  <a:pt x="1255014" y="473482"/>
                  <a:pt x="1257009" y="473482"/>
                </a:cubicBezTo>
                <a:cubicBezTo>
                  <a:pt x="1257009" y="471488"/>
                  <a:pt x="1264989" y="471488"/>
                  <a:pt x="1266984" y="471488"/>
                </a:cubicBezTo>
                <a:close/>
                <a:moveTo>
                  <a:pt x="1144872" y="469900"/>
                </a:moveTo>
                <a:cubicBezTo>
                  <a:pt x="1144872" y="469900"/>
                  <a:pt x="1149105" y="469900"/>
                  <a:pt x="1149105" y="473869"/>
                </a:cubicBezTo>
                <a:cubicBezTo>
                  <a:pt x="1149105" y="477837"/>
                  <a:pt x="1144872" y="477837"/>
                  <a:pt x="1142755" y="473869"/>
                </a:cubicBezTo>
                <a:cubicBezTo>
                  <a:pt x="1142755" y="471884"/>
                  <a:pt x="1144872" y="469900"/>
                  <a:pt x="1144872" y="469900"/>
                </a:cubicBezTo>
                <a:close/>
                <a:moveTo>
                  <a:pt x="1157836" y="466725"/>
                </a:moveTo>
                <a:cubicBezTo>
                  <a:pt x="1157836" y="466725"/>
                  <a:pt x="1161805" y="466725"/>
                  <a:pt x="1161805" y="470958"/>
                </a:cubicBezTo>
                <a:cubicBezTo>
                  <a:pt x="1161805" y="473075"/>
                  <a:pt x="1155852" y="473075"/>
                  <a:pt x="1153867" y="468842"/>
                </a:cubicBezTo>
                <a:cubicBezTo>
                  <a:pt x="1153867" y="466725"/>
                  <a:pt x="1157836" y="466725"/>
                  <a:pt x="1157836" y="466725"/>
                </a:cubicBezTo>
                <a:close/>
                <a:moveTo>
                  <a:pt x="1217490" y="458788"/>
                </a:moveTo>
                <a:cubicBezTo>
                  <a:pt x="1217490" y="458788"/>
                  <a:pt x="1221397" y="458788"/>
                  <a:pt x="1223351" y="460905"/>
                </a:cubicBezTo>
                <a:cubicBezTo>
                  <a:pt x="1225305" y="463021"/>
                  <a:pt x="1225305" y="465138"/>
                  <a:pt x="1221397" y="467255"/>
                </a:cubicBezTo>
                <a:cubicBezTo>
                  <a:pt x="1219444" y="467255"/>
                  <a:pt x="1217490" y="471488"/>
                  <a:pt x="1209674" y="469371"/>
                </a:cubicBezTo>
                <a:cubicBezTo>
                  <a:pt x="1201859" y="469371"/>
                  <a:pt x="1199905" y="467255"/>
                  <a:pt x="1199905" y="465138"/>
                </a:cubicBezTo>
                <a:cubicBezTo>
                  <a:pt x="1199905" y="460905"/>
                  <a:pt x="1207721" y="460905"/>
                  <a:pt x="1207721" y="460905"/>
                </a:cubicBezTo>
                <a:cubicBezTo>
                  <a:pt x="1205767" y="460905"/>
                  <a:pt x="1217490" y="458788"/>
                  <a:pt x="1217490" y="458788"/>
                </a:cubicBezTo>
                <a:close/>
                <a:moveTo>
                  <a:pt x="655208" y="452844"/>
                </a:moveTo>
                <a:cubicBezTo>
                  <a:pt x="659195" y="450850"/>
                  <a:pt x="665176" y="450850"/>
                  <a:pt x="667170" y="454837"/>
                </a:cubicBezTo>
                <a:cubicBezTo>
                  <a:pt x="669163" y="458824"/>
                  <a:pt x="669163" y="458824"/>
                  <a:pt x="671157" y="458824"/>
                </a:cubicBezTo>
                <a:cubicBezTo>
                  <a:pt x="675144" y="458824"/>
                  <a:pt x="681125" y="458824"/>
                  <a:pt x="683118" y="462812"/>
                </a:cubicBezTo>
                <a:cubicBezTo>
                  <a:pt x="687106" y="466799"/>
                  <a:pt x="691093" y="466799"/>
                  <a:pt x="695080" y="466799"/>
                </a:cubicBezTo>
                <a:cubicBezTo>
                  <a:pt x="697074" y="466799"/>
                  <a:pt x="697074" y="460818"/>
                  <a:pt x="701061" y="462812"/>
                </a:cubicBezTo>
                <a:cubicBezTo>
                  <a:pt x="703054" y="462812"/>
                  <a:pt x="707042" y="466799"/>
                  <a:pt x="705048" y="468792"/>
                </a:cubicBezTo>
                <a:cubicBezTo>
                  <a:pt x="705048" y="472780"/>
                  <a:pt x="703054" y="474773"/>
                  <a:pt x="703054" y="476767"/>
                </a:cubicBezTo>
                <a:cubicBezTo>
                  <a:pt x="703054" y="478761"/>
                  <a:pt x="709035" y="474773"/>
                  <a:pt x="709035" y="470786"/>
                </a:cubicBezTo>
                <a:cubicBezTo>
                  <a:pt x="711029" y="468792"/>
                  <a:pt x="715016" y="466799"/>
                  <a:pt x="720997" y="466799"/>
                </a:cubicBezTo>
                <a:cubicBezTo>
                  <a:pt x="724984" y="466799"/>
                  <a:pt x="730965" y="466799"/>
                  <a:pt x="732959" y="464805"/>
                </a:cubicBezTo>
                <a:cubicBezTo>
                  <a:pt x="734952" y="462812"/>
                  <a:pt x="738939" y="462812"/>
                  <a:pt x="740933" y="464805"/>
                </a:cubicBezTo>
                <a:cubicBezTo>
                  <a:pt x="742927" y="466799"/>
                  <a:pt x="748907" y="468792"/>
                  <a:pt x="750901" y="472780"/>
                </a:cubicBezTo>
                <a:cubicBezTo>
                  <a:pt x="752895" y="474773"/>
                  <a:pt x="752895" y="482748"/>
                  <a:pt x="756882" y="480754"/>
                </a:cubicBezTo>
                <a:cubicBezTo>
                  <a:pt x="758875" y="480754"/>
                  <a:pt x="762863" y="480754"/>
                  <a:pt x="766850" y="484741"/>
                </a:cubicBezTo>
                <a:cubicBezTo>
                  <a:pt x="770837" y="488729"/>
                  <a:pt x="770837" y="488729"/>
                  <a:pt x="772831" y="488729"/>
                </a:cubicBezTo>
                <a:cubicBezTo>
                  <a:pt x="776818" y="490722"/>
                  <a:pt x="780805" y="492716"/>
                  <a:pt x="780805" y="496703"/>
                </a:cubicBezTo>
                <a:cubicBezTo>
                  <a:pt x="780805" y="500690"/>
                  <a:pt x="780805" y="502684"/>
                  <a:pt x="778811" y="502684"/>
                </a:cubicBezTo>
                <a:cubicBezTo>
                  <a:pt x="774824" y="504677"/>
                  <a:pt x="770837" y="506671"/>
                  <a:pt x="766850" y="506671"/>
                </a:cubicBezTo>
                <a:cubicBezTo>
                  <a:pt x="762863" y="506671"/>
                  <a:pt x="758875" y="504677"/>
                  <a:pt x="752895" y="506671"/>
                </a:cubicBezTo>
                <a:cubicBezTo>
                  <a:pt x="748907" y="508665"/>
                  <a:pt x="746914" y="510658"/>
                  <a:pt x="746914" y="510658"/>
                </a:cubicBezTo>
                <a:cubicBezTo>
                  <a:pt x="746914" y="510658"/>
                  <a:pt x="742927" y="514645"/>
                  <a:pt x="738939" y="514645"/>
                </a:cubicBezTo>
                <a:cubicBezTo>
                  <a:pt x="734952" y="514645"/>
                  <a:pt x="726978" y="518633"/>
                  <a:pt x="726978" y="518633"/>
                </a:cubicBezTo>
                <a:cubicBezTo>
                  <a:pt x="726978" y="518633"/>
                  <a:pt x="724984" y="522620"/>
                  <a:pt x="722991" y="520626"/>
                </a:cubicBezTo>
                <a:cubicBezTo>
                  <a:pt x="720997" y="520626"/>
                  <a:pt x="719003" y="520626"/>
                  <a:pt x="717010" y="522620"/>
                </a:cubicBezTo>
                <a:cubicBezTo>
                  <a:pt x="717010" y="526607"/>
                  <a:pt x="715016" y="528601"/>
                  <a:pt x="713023" y="528601"/>
                </a:cubicBezTo>
                <a:cubicBezTo>
                  <a:pt x="709035" y="528601"/>
                  <a:pt x="707042" y="528601"/>
                  <a:pt x="707042" y="528601"/>
                </a:cubicBezTo>
                <a:cubicBezTo>
                  <a:pt x="707042" y="528601"/>
                  <a:pt x="705048" y="526607"/>
                  <a:pt x="703054" y="530594"/>
                </a:cubicBezTo>
                <a:cubicBezTo>
                  <a:pt x="701061" y="534581"/>
                  <a:pt x="697074" y="536575"/>
                  <a:pt x="695080" y="536575"/>
                </a:cubicBezTo>
                <a:cubicBezTo>
                  <a:pt x="693086" y="534581"/>
                  <a:pt x="691093" y="532588"/>
                  <a:pt x="691093" y="532588"/>
                </a:cubicBezTo>
                <a:cubicBezTo>
                  <a:pt x="691093" y="532588"/>
                  <a:pt x="689099" y="532588"/>
                  <a:pt x="687106" y="536575"/>
                </a:cubicBezTo>
                <a:cubicBezTo>
                  <a:pt x="687106" y="542556"/>
                  <a:pt x="683118" y="542556"/>
                  <a:pt x="683118" y="542556"/>
                </a:cubicBezTo>
                <a:cubicBezTo>
                  <a:pt x="683118" y="542556"/>
                  <a:pt x="683118" y="542556"/>
                  <a:pt x="681125" y="546543"/>
                </a:cubicBezTo>
                <a:cubicBezTo>
                  <a:pt x="681125" y="548537"/>
                  <a:pt x="677138" y="552524"/>
                  <a:pt x="673150" y="556511"/>
                </a:cubicBezTo>
                <a:cubicBezTo>
                  <a:pt x="669163" y="562492"/>
                  <a:pt x="665176" y="562492"/>
                  <a:pt x="665176" y="562492"/>
                </a:cubicBezTo>
                <a:cubicBezTo>
                  <a:pt x="663182" y="562492"/>
                  <a:pt x="663182" y="562492"/>
                  <a:pt x="663182" y="562492"/>
                </a:cubicBezTo>
                <a:cubicBezTo>
                  <a:pt x="663182" y="562492"/>
                  <a:pt x="661189" y="564486"/>
                  <a:pt x="659195" y="564486"/>
                </a:cubicBezTo>
                <a:cubicBezTo>
                  <a:pt x="657202" y="564486"/>
                  <a:pt x="655208" y="564486"/>
                  <a:pt x="655208" y="560498"/>
                </a:cubicBezTo>
                <a:cubicBezTo>
                  <a:pt x="655208" y="558505"/>
                  <a:pt x="653214" y="556511"/>
                  <a:pt x="651221" y="556511"/>
                </a:cubicBezTo>
                <a:cubicBezTo>
                  <a:pt x="647234" y="558505"/>
                  <a:pt x="649227" y="564486"/>
                  <a:pt x="649227" y="564486"/>
                </a:cubicBezTo>
                <a:cubicBezTo>
                  <a:pt x="649227" y="564486"/>
                  <a:pt x="649227" y="568473"/>
                  <a:pt x="647234" y="570466"/>
                </a:cubicBezTo>
                <a:cubicBezTo>
                  <a:pt x="645240" y="572460"/>
                  <a:pt x="641253" y="572460"/>
                  <a:pt x="641253" y="578441"/>
                </a:cubicBezTo>
                <a:cubicBezTo>
                  <a:pt x="639259" y="584422"/>
                  <a:pt x="641253" y="588409"/>
                  <a:pt x="639259" y="594390"/>
                </a:cubicBezTo>
                <a:cubicBezTo>
                  <a:pt x="637266" y="598377"/>
                  <a:pt x="637266" y="602364"/>
                  <a:pt x="633278" y="604358"/>
                </a:cubicBezTo>
                <a:cubicBezTo>
                  <a:pt x="627298" y="606351"/>
                  <a:pt x="625304" y="606351"/>
                  <a:pt x="623310" y="606351"/>
                </a:cubicBezTo>
                <a:cubicBezTo>
                  <a:pt x="621317" y="606351"/>
                  <a:pt x="619323" y="606351"/>
                  <a:pt x="617329" y="606351"/>
                </a:cubicBezTo>
                <a:cubicBezTo>
                  <a:pt x="617329" y="604358"/>
                  <a:pt x="613342" y="604358"/>
                  <a:pt x="611349" y="604358"/>
                </a:cubicBezTo>
                <a:cubicBezTo>
                  <a:pt x="607361" y="606351"/>
                  <a:pt x="599387" y="604358"/>
                  <a:pt x="595400" y="610338"/>
                </a:cubicBezTo>
                <a:cubicBezTo>
                  <a:pt x="589419" y="614326"/>
                  <a:pt x="583438" y="616319"/>
                  <a:pt x="579451" y="620306"/>
                </a:cubicBezTo>
                <a:cubicBezTo>
                  <a:pt x="573470" y="622300"/>
                  <a:pt x="571477" y="620306"/>
                  <a:pt x="569483" y="618313"/>
                </a:cubicBezTo>
                <a:cubicBezTo>
                  <a:pt x="567489" y="614326"/>
                  <a:pt x="565496" y="614326"/>
                  <a:pt x="565496" y="610338"/>
                </a:cubicBezTo>
                <a:cubicBezTo>
                  <a:pt x="565496" y="606351"/>
                  <a:pt x="561509" y="594390"/>
                  <a:pt x="561509" y="590402"/>
                </a:cubicBezTo>
                <a:cubicBezTo>
                  <a:pt x="557521" y="584422"/>
                  <a:pt x="555528" y="582428"/>
                  <a:pt x="551541" y="582428"/>
                </a:cubicBezTo>
                <a:cubicBezTo>
                  <a:pt x="547553" y="582428"/>
                  <a:pt x="543566" y="582428"/>
                  <a:pt x="537585" y="578441"/>
                </a:cubicBezTo>
                <a:cubicBezTo>
                  <a:pt x="531604" y="574454"/>
                  <a:pt x="527617" y="578441"/>
                  <a:pt x="525624" y="576447"/>
                </a:cubicBezTo>
                <a:cubicBezTo>
                  <a:pt x="523630" y="574454"/>
                  <a:pt x="523630" y="570466"/>
                  <a:pt x="527617" y="568473"/>
                </a:cubicBezTo>
                <a:cubicBezTo>
                  <a:pt x="529611" y="568473"/>
                  <a:pt x="531604" y="566479"/>
                  <a:pt x="533598" y="562492"/>
                </a:cubicBezTo>
                <a:cubicBezTo>
                  <a:pt x="533598" y="558505"/>
                  <a:pt x="535592" y="556511"/>
                  <a:pt x="541573" y="552524"/>
                </a:cubicBezTo>
                <a:cubicBezTo>
                  <a:pt x="545560" y="546543"/>
                  <a:pt x="545560" y="546543"/>
                  <a:pt x="549547" y="544549"/>
                </a:cubicBezTo>
                <a:cubicBezTo>
                  <a:pt x="549547" y="542556"/>
                  <a:pt x="551541" y="540562"/>
                  <a:pt x="551541" y="538569"/>
                </a:cubicBezTo>
                <a:cubicBezTo>
                  <a:pt x="551541" y="538569"/>
                  <a:pt x="553534" y="530594"/>
                  <a:pt x="557521" y="530594"/>
                </a:cubicBezTo>
                <a:cubicBezTo>
                  <a:pt x="561509" y="530594"/>
                  <a:pt x="565496" y="528601"/>
                  <a:pt x="565496" y="526607"/>
                </a:cubicBezTo>
                <a:cubicBezTo>
                  <a:pt x="565496" y="524613"/>
                  <a:pt x="559515" y="524613"/>
                  <a:pt x="559515" y="520626"/>
                </a:cubicBezTo>
                <a:cubicBezTo>
                  <a:pt x="561509" y="516639"/>
                  <a:pt x="563502" y="516639"/>
                  <a:pt x="563502" y="516639"/>
                </a:cubicBezTo>
                <a:cubicBezTo>
                  <a:pt x="563502" y="516639"/>
                  <a:pt x="565496" y="518633"/>
                  <a:pt x="565496" y="514645"/>
                </a:cubicBezTo>
                <a:cubicBezTo>
                  <a:pt x="565496" y="508665"/>
                  <a:pt x="569483" y="508665"/>
                  <a:pt x="571477" y="508665"/>
                </a:cubicBezTo>
                <a:cubicBezTo>
                  <a:pt x="573470" y="508665"/>
                  <a:pt x="573470" y="510658"/>
                  <a:pt x="575464" y="506671"/>
                </a:cubicBezTo>
                <a:cubicBezTo>
                  <a:pt x="577457" y="504677"/>
                  <a:pt x="577457" y="504677"/>
                  <a:pt x="579451" y="504677"/>
                </a:cubicBezTo>
                <a:cubicBezTo>
                  <a:pt x="583438" y="502684"/>
                  <a:pt x="583438" y="500690"/>
                  <a:pt x="583438" y="498697"/>
                </a:cubicBezTo>
                <a:cubicBezTo>
                  <a:pt x="583438" y="496703"/>
                  <a:pt x="579451" y="492716"/>
                  <a:pt x="583438" y="492716"/>
                </a:cubicBezTo>
                <a:cubicBezTo>
                  <a:pt x="587425" y="492716"/>
                  <a:pt x="591413" y="496703"/>
                  <a:pt x="591413" y="492716"/>
                </a:cubicBezTo>
                <a:cubicBezTo>
                  <a:pt x="591413" y="488729"/>
                  <a:pt x="589419" y="484741"/>
                  <a:pt x="587425" y="484741"/>
                </a:cubicBezTo>
                <a:cubicBezTo>
                  <a:pt x="585432" y="484741"/>
                  <a:pt x="581445" y="484741"/>
                  <a:pt x="581445" y="482748"/>
                </a:cubicBezTo>
                <a:cubicBezTo>
                  <a:pt x="579451" y="480754"/>
                  <a:pt x="581445" y="480754"/>
                  <a:pt x="583438" y="480754"/>
                </a:cubicBezTo>
                <a:cubicBezTo>
                  <a:pt x="583438" y="480754"/>
                  <a:pt x="585432" y="478761"/>
                  <a:pt x="585432" y="476767"/>
                </a:cubicBezTo>
                <a:cubicBezTo>
                  <a:pt x="583438" y="474773"/>
                  <a:pt x="583438" y="470786"/>
                  <a:pt x="583438" y="470786"/>
                </a:cubicBezTo>
                <a:cubicBezTo>
                  <a:pt x="583438" y="468792"/>
                  <a:pt x="583438" y="466799"/>
                  <a:pt x="581445" y="464805"/>
                </a:cubicBezTo>
                <a:cubicBezTo>
                  <a:pt x="581445" y="464805"/>
                  <a:pt x="577457" y="458824"/>
                  <a:pt x="581445" y="458824"/>
                </a:cubicBezTo>
                <a:cubicBezTo>
                  <a:pt x="585432" y="458824"/>
                  <a:pt x="591413" y="460818"/>
                  <a:pt x="595400" y="460818"/>
                </a:cubicBezTo>
                <a:cubicBezTo>
                  <a:pt x="595400" y="458824"/>
                  <a:pt x="599387" y="458824"/>
                  <a:pt x="599387" y="458824"/>
                </a:cubicBezTo>
                <a:cubicBezTo>
                  <a:pt x="599387" y="460818"/>
                  <a:pt x="607361" y="460818"/>
                  <a:pt x="607361" y="460818"/>
                </a:cubicBezTo>
                <a:cubicBezTo>
                  <a:pt x="613342" y="460818"/>
                  <a:pt x="613342" y="460818"/>
                  <a:pt x="613342" y="460818"/>
                </a:cubicBezTo>
                <a:cubicBezTo>
                  <a:pt x="613342" y="460818"/>
                  <a:pt x="615336" y="454837"/>
                  <a:pt x="619323" y="456831"/>
                </a:cubicBezTo>
                <a:cubicBezTo>
                  <a:pt x="621317" y="456831"/>
                  <a:pt x="623310" y="456831"/>
                  <a:pt x="623310" y="458824"/>
                </a:cubicBezTo>
                <a:cubicBezTo>
                  <a:pt x="623310" y="460818"/>
                  <a:pt x="627298" y="460818"/>
                  <a:pt x="627298" y="460818"/>
                </a:cubicBezTo>
                <a:cubicBezTo>
                  <a:pt x="629291" y="460818"/>
                  <a:pt x="631285" y="460818"/>
                  <a:pt x="633278" y="460818"/>
                </a:cubicBezTo>
                <a:cubicBezTo>
                  <a:pt x="637266" y="460818"/>
                  <a:pt x="641253" y="460818"/>
                  <a:pt x="643246" y="460818"/>
                </a:cubicBezTo>
                <a:cubicBezTo>
                  <a:pt x="645240" y="460818"/>
                  <a:pt x="649227" y="454837"/>
                  <a:pt x="655208" y="452844"/>
                </a:cubicBezTo>
                <a:close/>
                <a:moveTo>
                  <a:pt x="1106242" y="450850"/>
                </a:moveTo>
                <a:cubicBezTo>
                  <a:pt x="1106242" y="450850"/>
                  <a:pt x="1106242" y="453231"/>
                  <a:pt x="1104125" y="455612"/>
                </a:cubicBezTo>
                <a:cubicBezTo>
                  <a:pt x="1102009" y="455612"/>
                  <a:pt x="1099892" y="453231"/>
                  <a:pt x="1099892" y="453231"/>
                </a:cubicBezTo>
                <a:cubicBezTo>
                  <a:pt x="1099892" y="453231"/>
                  <a:pt x="1099892" y="453231"/>
                  <a:pt x="1102009" y="453231"/>
                </a:cubicBezTo>
                <a:cubicBezTo>
                  <a:pt x="1102009" y="450850"/>
                  <a:pt x="1106242" y="450850"/>
                  <a:pt x="1106242" y="450850"/>
                </a:cubicBezTo>
                <a:close/>
                <a:moveTo>
                  <a:pt x="1175140" y="444897"/>
                </a:moveTo>
                <a:cubicBezTo>
                  <a:pt x="1180855" y="442913"/>
                  <a:pt x="1178950" y="446881"/>
                  <a:pt x="1177045" y="448866"/>
                </a:cubicBezTo>
                <a:cubicBezTo>
                  <a:pt x="1175140" y="450850"/>
                  <a:pt x="1173235" y="450850"/>
                  <a:pt x="1173235" y="446881"/>
                </a:cubicBezTo>
                <a:cubicBezTo>
                  <a:pt x="1171330" y="444897"/>
                  <a:pt x="1175140" y="444897"/>
                  <a:pt x="1175140" y="444897"/>
                </a:cubicBezTo>
                <a:close/>
                <a:moveTo>
                  <a:pt x="1123705" y="403225"/>
                </a:moveTo>
                <a:cubicBezTo>
                  <a:pt x="1125293" y="403225"/>
                  <a:pt x="1126880" y="403225"/>
                  <a:pt x="1126880" y="405342"/>
                </a:cubicBezTo>
                <a:cubicBezTo>
                  <a:pt x="1126880" y="409575"/>
                  <a:pt x="1123705" y="407458"/>
                  <a:pt x="1123705" y="405342"/>
                </a:cubicBezTo>
                <a:cubicBezTo>
                  <a:pt x="1123705" y="403225"/>
                  <a:pt x="1123705" y="403225"/>
                  <a:pt x="1123705" y="403225"/>
                </a:cubicBezTo>
                <a:close/>
                <a:moveTo>
                  <a:pt x="1259436" y="400050"/>
                </a:moveTo>
                <a:cubicBezTo>
                  <a:pt x="1259436" y="400050"/>
                  <a:pt x="1267374" y="400050"/>
                  <a:pt x="1267374" y="400050"/>
                </a:cubicBezTo>
                <a:cubicBezTo>
                  <a:pt x="1267374" y="400050"/>
                  <a:pt x="1273327" y="402049"/>
                  <a:pt x="1275311" y="402049"/>
                </a:cubicBezTo>
                <a:cubicBezTo>
                  <a:pt x="1277296" y="402049"/>
                  <a:pt x="1279280" y="404048"/>
                  <a:pt x="1283249" y="406047"/>
                </a:cubicBezTo>
                <a:cubicBezTo>
                  <a:pt x="1285233" y="408046"/>
                  <a:pt x="1289202" y="410045"/>
                  <a:pt x="1289202" y="412044"/>
                </a:cubicBezTo>
                <a:cubicBezTo>
                  <a:pt x="1291186" y="414043"/>
                  <a:pt x="1291186" y="414043"/>
                  <a:pt x="1291186" y="416043"/>
                </a:cubicBezTo>
                <a:cubicBezTo>
                  <a:pt x="1291186" y="418042"/>
                  <a:pt x="1295155" y="422040"/>
                  <a:pt x="1291186" y="424039"/>
                </a:cubicBezTo>
                <a:cubicBezTo>
                  <a:pt x="1289202" y="428037"/>
                  <a:pt x="1289202" y="428037"/>
                  <a:pt x="1289202" y="430036"/>
                </a:cubicBezTo>
                <a:cubicBezTo>
                  <a:pt x="1291186" y="434034"/>
                  <a:pt x="1291186" y="436033"/>
                  <a:pt x="1291186" y="438032"/>
                </a:cubicBezTo>
                <a:cubicBezTo>
                  <a:pt x="1289202" y="442030"/>
                  <a:pt x="1291186" y="442030"/>
                  <a:pt x="1291186" y="444030"/>
                </a:cubicBezTo>
                <a:cubicBezTo>
                  <a:pt x="1289202" y="448028"/>
                  <a:pt x="1287218" y="450027"/>
                  <a:pt x="1285233" y="452026"/>
                </a:cubicBezTo>
                <a:cubicBezTo>
                  <a:pt x="1283249" y="452026"/>
                  <a:pt x="1281265" y="452026"/>
                  <a:pt x="1279280" y="452026"/>
                </a:cubicBezTo>
                <a:cubicBezTo>
                  <a:pt x="1277296" y="452026"/>
                  <a:pt x="1275311" y="452026"/>
                  <a:pt x="1273327" y="452026"/>
                </a:cubicBezTo>
                <a:cubicBezTo>
                  <a:pt x="1271343" y="454025"/>
                  <a:pt x="1271343" y="454025"/>
                  <a:pt x="1267374" y="452026"/>
                </a:cubicBezTo>
                <a:cubicBezTo>
                  <a:pt x="1265390" y="452026"/>
                  <a:pt x="1263405" y="452026"/>
                  <a:pt x="1261421" y="452026"/>
                </a:cubicBezTo>
                <a:cubicBezTo>
                  <a:pt x="1261421" y="454025"/>
                  <a:pt x="1257452" y="454025"/>
                  <a:pt x="1255468" y="454025"/>
                </a:cubicBezTo>
                <a:cubicBezTo>
                  <a:pt x="1253483" y="452026"/>
                  <a:pt x="1249515" y="452026"/>
                  <a:pt x="1249515" y="452026"/>
                </a:cubicBezTo>
                <a:cubicBezTo>
                  <a:pt x="1249515" y="452026"/>
                  <a:pt x="1245546" y="452026"/>
                  <a:pt x="1247530" y="448028"/>
                </a:cubicBezTo>
                <a:cubicBezTo>
                  <a:pt x="1247530" y="444030"/>
                  <a:pt x="1251499" y="440031"/>
                  <a:pt x="1247530" y="442030"/>
                </a:cubicBezTo>
                <a:cubicBezTo>
                  <a:pt x="1245546" y="442030"/>
                  <a:pt x="1245546" y="444030"/>
                  <a:pt x="1243561" y="446029"/>
                </a:cubicBezTo>
                <a:cubicBezTo>
                  <a:pt x="1243561" y="448028"/>
                  <a:pt x="1241577" y="452026"/>
                  <a:pt x="1239593" y="450027"/>
                </a:cubicBezTo>
                <a:cubicBezTo>
                  <a:pt x="1237608" y="448028"/>
                  <a:pt x="1237608" y="446029"/>
                  <a:pt x="1237608" y="446029"/>
                </a:cubicBezTo>
                <a:cubicBezTo>
                  <a:pt x="1237608" y="446029"/>
                  <a:pt x="1237608" y="444030"/>
                  <a:pt x="1233640" y="444030"/>
                </a:cubicBezTo>
                <a:cubicBezTo>
                  <a:pt x="1231655" y="444030"/>
                  <a:pt x="1229671" y="446029"/>
                  <a:pt x="1229671" y="444030"/>
                </a:cubicBezTo>
                <a:cubicBezTo>
                  <a:pt x="1227686" y="440031"/>
                  <a:pt x="1231655" y="438032"/>
                  <a:pt x="1225702" y="438032"/>
                </a:cubicBezTo>
                <a:cubicBezTo>
                  <a:pt x="1219749" y="438032"/>
                  <a:pt x="1217765" y="438032"/>
                  <a:pt x="1215780" y="436033"/>
                </a:cubicBezTo>
                <a:cubicBezTo>
                  <a:pt x="1215780" y="432035"/>
                  <a:pt x="1215780" y="428037"/>
                  <a:pt x="1219749" y="428037"/>
                </a:cubicBezTo>
                <a:cubicBezTo>
                  <a:pt x="1219749" y="428037"/>
                  <a:pt x="1223718" y="426038"/>
                  <a:pt x="1223718" y="424039"/>
                </a:cubicBezTo>
                <a:cubicBezTo>
                  <a:pt x="1223718" y="420041"/>
                  <a:pt x="1225702" y="418042"/>
                  <a:pt x="1227686" y="420041"/>
                </a:cubicBezTo>
                <a:cubicBezTo>
                  <a:pt x="1229671" y="422040"/>
                  <a:pt x="1235624" y="420041"/>
                  <a:pt x="1235624" y="418042"/>
                </a:cubicBezTo>
                <a:cubicBezTo>
                  <a:pt x="1235624" y="414043"/>
                  <a:pt x="1237608" y="406047"/>
                  <a:pt x="1241577" y="406047"/>
                </a:cubicBezTo>
                <a:cubicBezTo>
                  <a:pt x="1245546" y="404048"/>
                  <a:pt x="1253483" y="402049"/>
                  <a:pt x="1253483" y="402049"/>
                </a:cubicBezTo>
                <a:cubicBezTo>
                  <a:pt x="1255468" y="402049"/>
                  <a:pt x="1259436" y="402049"/>
                  <a:pt x="1259436" y="400050"/>
                </a:cubicBezTo>
                <a:close/>
                <a:moveTo>
                  <a:pt x="1224029" y="397308"/>
                </a:moveTo>
                <a:cubicBezTo>
                  <a:pt x="1224794" y="397814"/>
                  <a:pt x="1225305" y="399329"/>
                  <a:pt x="1225305" y="401349"/>
                </a:cubicBezTo>
                <a:cubicBezTo>
                  <a:pt x="1225305" y="403370"/>
                  <a:pt x="1225305" y="401349"/>
                  <a:pt x="1229387" y="399329"/>
                </a:cubicBezTo>
                <a:cubicBezTo>
                  <a:pt x="1231428" y="399329"/>
                  <a:pt x="1229387" y="399329"/>
                  <a:pt x="1233469" y="401349"/>
                </a:cubicBezTo>
                <a:cubicBezTo>
                  <a:pt x="1235510" y="403370"/>
                  <a:pt x="1235510" y="403370"/>
                  <a:pt x="1235510" y="403370"/>
                </a:cubicBezTo>
                <a:cubicBezTo>
                  <a:pt x="1235510" y="403370"/>
                  <a:pt x="1239592" y="401349"/>
                  <a:pt x="1237551" y="405390"/>
                </a:cubicBezTo>
                <a:cubicBezTo>
                  <a:pt x="1235510" y="409431"/>
                  <a:pt x="1233469" y="407411"/>
                  <a:pt x="1231428" y="407411"/>
                </a:cubicBezTo>
                <a:cubicBezTo>
                  <a:pt x="1231428" y="407411"/>
                  <a:pt x="1229387" y="409431"/>
                  <a:pt x="1227346" y="409431"/>
                </a:cubicBezTo>
                <a:cubicBezTo>
                  <a:pt x="1225305" y="409431"/>
                  <a:pt x="1221222" y="413472"/>
                  <a:pt x="1221222" y="413472"/>
                </a:cubicBezTo>
                <a:cubicBezTo>
                  <a:pt x="1219181" y="413472"/>
                  <a:pt x="1217140" y="415492"/>
                  <a:pt x="1215099" y="415492"/>
                </a:cubicBezTo>
                <a:cubicBezTo>
                  <a:pt x="1211017" y="417513"/>
                  <a:pt x="1211017" y="415492"/>
                  <a:pt x="1213058" y="409431"/>
                </a:cubicBezTo>
                <a:cubicBezTo>
                  <a:pt x="1213058" y="403370"/>
                  <a:pt x="1215099" y="405390"/>
                  <a:pt x="1215099" y="405390"/>
                </a:cubicBezTo>
                <a:cubicBezTo>
                  <a:pt x="1215099" y="405390"/>
                  <a:pt x="1215099" y="405390"/>
                  <a:pt x="1217140" y="403370"/>
                </a:cubicBezTo>
                <a:lnTo>
                  <a:pt x="1219181" y="401349"/>
                </a:lnTo>
                <a:cubicBezTo>
                  <a:pt x="1219181" y="401349"/>
                  <a:pt x="1219181" y="401349"/>
                  <a:pt x="1221222" y="399329"/>
                </a:cubicBezTo>
                <a:cubicBezTo>
                  <a:pt x="1222243" y="397308"/>
                  <a:pt x="1223264" y="396803"/>
                  <a:pt x="1224029" y="397308"/>
                </a:cubicBezTo>
                <a:close/>
                <a:moveTo>
                  <a:pt x="1073540" y="389334"/>
                </a:moveTo>
                <a:cubicBezTo>
                  <a:pt x="1080208" y="387350"/>
                  <a:pt x="1082430" y="391318"/>
                  <a:pt x="1080208" y="393303"/>
                </a:cubicBezTo>
                <a:cubicBezTo>
                  <a:pt x="1080208" y="395287"/>
                  <a:pt x="1071317" y="393303"/>
                  <a:pt x="1071317" y="391318"/>
                </a:cubicBezTo>
                <a:cubicBezTo>
                  <a:pt x="1071317" y="391318"/>
                  <a:pt x="1073540" y="389334"/>
                  <a:pt x="1073540" y="389334"/>
                </a:cubicBezTo>
                <a:close/>
                <a:moveTo>
                  <a:pt x="1224511" y="388938"/>
                </a:moveTo>
                <a:cubicBezTo>
                  <a:pt x="1228480" y="388938"/>
                  <a:pt x="1228480" y="391055"/>
                  <a:pt x="1228480" y="393171"/>
                </a:cubicBezTo>
                <a:cubicBezTo>
                  <a:pt x="1228480" y="395288"/>
                  <a:pt x="1222527" y="395288"/>
                  <a:pt x="1220542" y="391055"/>
                </a:cubicBezTo>
                <a:cubicBezTo>
                  <a:pt x="1220542" y="388938"/>
                  <a:pt x="1224511" y="388938"/>
                  <a:pt x="1224511" y="388938"/>
                </a:cubicBezTo>
                <a:close/>
                <a:moveTo>
                  <a:pt x="1117884" y="388938"/>
                </a:moveTo>
                <a:cubicBezTo>
                  <a:pt x="1117884" y="388938"/>
                  <a:pt x="1119913" y="388938"/>
                  <a:pt x="1121941" y="388938"/>
                </a:cubicBezTo>
                <a:cubicBezTo>
                  <a:pt x="1123970" y="388938"/>
                  <a:pt x="1125998" y="391055"/>
                  <a:pt x="1128027" y="393171"/>
                </a:cubicBezTo>
                <a:cubicBezTo>
                  <a:pt x="1130055" y="395288"/>
                  <a:pt x="1128027" y="397405"/>
                  <a:pt x="1128027" y="397405"/>
                </a:cubicBezTo>
                <a:cubicBezTo>
                  <a:pt x="1128027" y="397405"/>
                  <a:pt x="1123970" y="397405"/>
                  <a:pt x="1121941" y="399521"/>
                </a:cubicBezTo>
                <a:cubicBezTo>
                  <a:pt x="1119913" y="403755"/>
                  <a:pt x="1115856" y="403755"/>
                  <a:pt x="1113827" y="403755"/>
                </a:cubicBezTo>
                <a:cubicBezTo>
                  <a:pt x="1111799" y="403755"/>
                  <a:pt x="1109770" y="401638"/>
                  <a:pt x="1105713" y="403755"/>
                </a:cubicBezTo>
                <a:cubicBezTo>
                  <a:pt x="1101656" y="407988"/>
                  <a:pt x="1099628" y="405871"/>
                  <a:pt x="1099628" y="405871"/>
                </a:cubicBezTo>
                <a:cubicBezTo>
                  <a:pt x="1099628" y="405871"/>
                  <a:pt x="1093542" y="405871"/>
                  <a:pt x="1093542" y="401638"/>
                </a:cubicBezTo>
                <a:cubicBezTo>
                  <a:pt x="1093542" y="397405"/>
                  <a:pt x="1101656" y="399521"/>
                  <a:pt x="1101656" y="399521"/>
                </a:cubicBezTo>
                <a:cubicBezTo>
                  <a:pt x="1105713" y="401638"/>
                  <a:pt x="1105713" y="395288"/>
                  <a:pt x="1105713" y="395288"/>
                </a:cubicBezTo>
                <a:cubicBezTo>
                  <a:pt x="1105713" y="395288"/>
                  <a:pt x="1105713" y="393171"/>
                  <a:pt x="1107742" y="391055"/>
                </a:cubicBezTo>
                <a:cubicBezTo>
                  <a:pt x="1109770" y="388938"/>
                  <a:pt x="1113827" y="391055"/>
                  <a:pt x="1113827" y="391055"/>
                </a:cubicBezTo>
                <a:cubicBezTo>
                  <a:pt x="1115856" y="391055"/>
                  <a:pt x="1117884" y="388938"/>
                  <a:pt x="1117884" y="388938"/>
                </a:cubicBezTo>
                <a:close/>
                <a:moveTo>
                  <a:pt x="1248721" y="384175"/>
                </a:moveTo>
                <a:cubicBezTo>
                  <a:pt x="1250705" y="384175"/>
                  <a:pt x="1248721" y="386159"/>
                  <a:pt x="1248721" y="388143"/>
                </a:cubicBezTo>
                <a:cubicBezTo>
                  <a:pt x="1246736" y="390128"/>
                  <a:pt x="1242767" y="392112"/>
                  <a:pt x="1242767" y="390128"/>
                </a:cubicBezTo>
                <a:cubicBezTo>
                  <a:pt x="1242767" y="388143"/>
                  <a:pt x="1242767" y="386159"/>
                  <a:pt x="1242767" y="386159"/>
                </a:cubicBezTo>
                <a:cubicBezTo>
                  <a:pt x="1242767" y="386159"/>
                  <a:pt x="1246736" y="384175"/>
                  <a:pt x="1248721" y="384175"/>
                </a:cubicBezTo>
                <a:close/>
                <a:moveTo>
                  <a:pt x="1105222" y="384175"/>
                </a:moveTo>
                <a:cubicBezTo>
                  <a:pt x="1105222" y="384175"/>
                  <a:pt x="1109077" y="386159"/>
                  <a:pt x="1111005" y="388144"/>
                </a:cubicBezTo>
                <a:cubicBezTo>
                  <a:pt x="1111005" y="388144"/>
                  <a:pt x="1107150" y="388144"/>
                  <a:pt x="1105222" y="390128"/>
                </a:cubicBezTo>
                <a:cubicBezTo>
                  <a:pt x="1103294" y="392112"/>
                  <a:pt x="1097511" y="394097"/>
                  <a:pt x="1093656" y="394097"/>
                </a:cubicBezTo>
                <a:cubicBezTo>
                  <a:pt x="1091728" y="394097"/>
                  <a:pt x="1093656" y="396081"/>
                  <a:pt x="1087873" y="398066"/>
                </a:cubicBezTo>
                <a:cubicBezTo>
                  <a:pt x="1084017" y="400050"/>
                  <a:pt x="1084017" y="398066"/>
                  <a:pt x="1084017" y="396081"/>
                </a:cubicBezTo>
                <a:cubicBezTo>
                  <a:pt x="1084017" y="392112"/>
                  <a:pt x="1087873" y="392112"/>
                  <a:pt x="1087873" y="392112"/>
                </a:cubicBezTo>
                <a:cubicBezTo>
                  <a:pt x="1087873" y="392112"/>
                  <a:pt x="1087873" y="392112"/>
                  <a:pt x="1089800" y="392112"/>
                </a:cubicBezTo>
                <a:cubicBezTo>
                  <a:pt x="1091728" y="392112"/>
                  <a:pt x="1093656" y="392112"/>
                  <a:pt x="1093656" y="390128"/>
                </a:cubicBezTo>
                <a:cubicBezTo>
                  <a:pt x="1093656" y="388144"/>
                  <a:pt x="1099439" y="386159"/>
                  <a:pt x="1101367" y="386159"/>
                </a:cubicBezTo>
                <a:cubicBezTo>
                  <a:pt x="1103294" y="388144"/>
                  <a:pt x="1103294" y="386159"/>
                  <a:pt x="1105222" y="384175"/>
                </a:cubicBezTo>
                <a:close/>
                <a:moveTo>
                  <a:pt x="1273459" y="379413"/>
                </a:moveTo>
                <a:cubicBezTo>
                  <a:pt x="1275575" y="379413"/>
                  <a:pt x="1277692" y="383495"/>
                  <a:pt x="1275575" y="385536"/>
                </a:cubicBezTo>
                <a:cubicBezTo>
                  <a:pt x="1275575" y="387577"/>
                  <a:pt x="1275575" y="387577"/>
                  <a:pt x="1275575" y="389618"/>
                </a:cubicBezTo>
                <a:cubicBezTo>
                  <a:pt x="1277692" y="391659"/>
                  <a:pt x="1275575" y="393700"/>
                  <a:pt x="1273459" y="393700"/>
                </a:cubicBezTo>
                <a:cubicBezTo>
                  <a:pt x="1269225" y="393700"/>
                  <a:pt x="1264992" y="391659"/>
                  <a:pt x="1264992" y="387577"/>
                </a:cubicBezTo>
                <a:cubicBezTo>
                  <a:pt x="1264992" y="381454"/>
                  <a:pt x="1269225" y="381454"/>
                  <a:pt x="1269225" y="381454"/>
                </a:cubicBezTo>
                <a:cubicBezTo>
                  <a:pt x="1269225" y="381454"/>
                  <a:pt x="1269225" y="381454"/>
                  <a:pt x="1273459" y="379413"/>
                </a:cubicBezTo>
                <a:close/>
                <a:moveTo>
                  <a:pt x="1098221" y="379413"/>
                </a:moveTo>
                <a:cubicBezTo>
                  <a:pt x="1100226" y="379413"/>
                  <a:pt x="1106242" y="379413"/>
                  <a:pt x="1106242" y="381397"/>
                </a:cubicBezTo>
                <a:cubicBezTo>
                  <a:pt x="1106242" y="383381"/>
                  <a:pt x="1098221" y="385366"/>
                  <a:pt x="1096216" y="385366"/>
                </a:cubicBezTo>
                <a:cubicBezTo>
                  <a:pt x="1094211" y="385366"/>
                  <a:pt x="1092205" y="387350"/>
                  <a:pt x="1084184" y="387350"/>
                </a:cubicBezTo>
                <a:cubicBezTo>
                  <a:pt x="1076163" y="387350"/>
                  <a:pt x="1072153" y="387350"/>
                  <a:pt x="1070147" y="385366"/>
                </a:cubicBezTo>
                <a:cubicBezTo>
                  <a:pt x="1068142" y="383381"/>
                  <a:pt x="1072153" y="383381"/>
                  <a:pt x="1072153" y="383381"/>
                </a:cubicBezTo>
                <a:cubicBezTo>
                  <a:pt x="1072153" y="383381"/>
                  <a:pt x="1080174" y="383381"/>
                  <a:pt x="1084184" y="383381"/>
                </a:cubicBezTo>
                <a:cubicBezTo>
                  <a:pt x="1088195" y="383381"/>
                  <a:pt x="1092205" y="381397"/>
                  <a:pt x="1092205" y="381397"/>
                </a:cubicBezTo>
                <a:cubicBezTo>
                  <a:pt x="1092205" y="381397"/>
                  <a:pt x="1096216" y="379413"/>
                  <a:pt x="1098221" y="379413"/>
                </a:cubicBezTo>
                <a:close/>
                <a:moveTo>
                  <a:pt x="761819" y="378221"/>
                </a:moveTo>
                <a:cubicBezTo>
                  <a:pt x="763788" y="380206"/>
                  <a:pt x="763788" y="380206"/>
                  <a:pt x="765756" y="378221"/>
                </a:cubicBezTo>
                <a:cubicBezTo>
                  <a:pt x="767725" y="378221"/>
                  <a:pt x="769693" y="378221"/>
                  <a:pt x="769693" y="380206"/>
                </a:cubicBezTo>
                <a:cubicBezTo>
                  <a:pt x="767725" y="382190"/>
                  <a:pt x="767725" y="384174"/>
                  <a:pt x="765756" y="384174"/>
                </a:cubicBezTo>
                <a:cubicBezTo>
                  <a:pt x="763788" y="384174"/>
                  <a:pt x="761819" y="384174"/>
                  <a:pt x="761819" y="386159"/>
                </a:cubicBezTo>
                <a:cubicBezTo>
                  <a:pt x="759850" y="388143"/>
                  <a:pt x="759850" y="388143"/>
                  <a:pt x="757882" y="390128"/>
                </a:cubicBezTo>
                <a:cubicBezTo>
                  <a:pt x="755913" y="390128"/>
                  <a:pt x="751976" y="392112"/>
                  <a:pt x="751976" y="394096"/>
                </a:cubicBezTo>
                <a:cubicBezTo>
                  <a:pt x="751976" y="398065"/>
                  <a:pt x="750008" y="400049"/>
                  <a:pt x="748039" y="402034"/>
                </a:cubicBezTo>
                <a:cubicBezTo>
                  <a:pt x="746071" y="402034"/>
                  <a:pt x="744102" y="402034"/>
                  <a:pt x="744102" y="404018"/>
                </a:cubicBezTo>
                <a:cubicBezTo>
                  <a:pt x="742134" y="406003"/>
                  <a:pt x="742134" y="407987"/>
                  <a:pt x="738197" y="407987"/>
                </a:cubicBezTo>
                <a:cubicBezTo>
                  <a:pt x="734260" y="407987"/>
                  <a:pt x="730323" y="407987"/>
                  <a:pt x="728354" y="406003"/>
                </a:cubicBezTo>
                <a:cubicBezTo>
                  <a:pt x="726386" y="404018"/>
                  <a:pt x="726386" y="402034"/>
                  <a:pt x="726386" y="402034"/>
                </a:cubicBezTo>
                <a:cubicBezTo>
                  <a:pt x="726386" y="402034"/>
                  <a:pt x="720480" y="400049"/>
                  <a:pt x="722449" y="396081"/>
                </a:cubicBezTo>
                <a:cubicBezTo>
                  <a:pt x="722449" y="394096"/>
                  <a:pt x="726386" y="394096"/>
                  <a:pt x="726386" y="394096"/>
                </a:cubicBezTo>
                <a:cubicBezTo>
                  <a:pt x="726386" y="394096"/>
                  <a:pt x="730323" y="396081"/>
                  <a:pt x="732291" y="392112"/>
                </a:cubicBezTo>
                <a:cubicBezTo>
                  <a:pt x="734260" y="390128"/>
                  <a:pt x="734260" y="386159"/>
                  <a:pt x="736228" y="386159"/>
                </a:cubicBezTo>
                <a:cubicBezTo>
                  <a:pt x="738197" y="386159"/>
                  <a:pt x="740165" y="386159"/>
                  <a:pt x="740165" y="388143"/>
                </a:cubicBezTo>
                <a:cubicBezTo>
                  <a:pt x="740165" y="388143"/>
                  <a:pt x="740165" y="388143"/>
                  <a:pt x="742134" y="388143"/>
                </a:cubicBezTo>
                <a:cubicBezTo>
                  <a:pt x="744102" y="386159"/>
                  <a:pt x="746071" y="384174"/>
                  <a:pt x="746071" y="386159"/>
                </a:cubicBezTo>
                <a:cubicBezTo>
                  <a:pt x="748039" y="386159"/>
                  <a:pt x="750008" y="386159"/>
                  <a:pt x="750008" y="384174"/>
                </a:cubicBezTo>
                <a:cubicBezTo>
                  <a:pt x="750008" y="382190"/>
                  <a:pt x="750008" y="382190"/>
                  <a:pt x="753945" y="382190"/>
                </a:cubicBezTo>
                <a:cubicBezTo>
                  <a:pt x="755913" y="382190"/>
                  <a:pt x="757882" y="380206"/>
                  <a:pt x="757882" y="380206"/>
                </a:cubicBezTo>
                <a:cubicBezTo>
                  <a:pt x="759850" y="378221"/>
                  <a:pt x="761819" y="376237"/>
                  <a:pt x="761819" y="378221"/>
                </a:cubicBezTo>
                <a:close/>
                <a:moveTo>
                  <a:pt x="1100181" y="365125"/>
                </a:moveTo>
                <a:cubicBezTo>
                  <a:pt x="1102201" y="365125"/>
                  <a:pt x="1102201" y="365125"/>
                  <a:pt x="1104222" y="365125"/>
                </a:cubicBezTo>
                <a:cubicBezTo>
                  <a:pt x="1106242" y="369207"/>
                  <a:pt x="1104222" y="369207"/>
                  <a:pt x="1102201" y="371248"/>
                </a:cubicBezTo>
                <a:cubicBezTo>
                  <a:pt x="1102201" y="373289"/>
                  <a:pt x="1098160" y="373289"/>
                  <a:pt x="1098160" y="375330"/>
                </a:cubicBezTo>
                <a:cubicBezTo>
                  <a:pt x="1096140" y="377371"/>
                  <a:pt x="1094119" y="379412"/>
                  <a:pt x="1090078" y="379412"/>
                </a:cubicBezTo>
                <a:cubicBezTo>
                  <a:pt x="1088058" y="377371"/>
                  <a:pt x="1086038" y="377371"/>
                  <a:pt x="1084017" y="377371"/>
                </a:cubicBezTo>
                <a:cubicBezTo>
                  <a:pt x="1081997" y="377371"/>
                  <a:pt x="1077956" y="379412"/>
                  <a:pt x="1075935" y="377371"/>
                </a:cubicBezTo>
                <a:cubicBezTo>
                  <a:pt x="1071894" y="377371"/>
                  <a:pt x="1071894" y="377371"/>
                  <a:pt x="1067853" y="377371"/>
                </a:cubicBezTo>
                <a:cubicBezTo>
                  <a:pt x="1063813" y="377371"/>
                  <a:pt x="1063813" y="375330"/>
                  <a:pt x="1063813" y="371248"/>
                </a:cubicBezTo>
                <a:cubicBezTo>
                  <a:pt x="1061792" y="367166"/>
                  <a:pt x="1067853" y="367166"/>
                  <a:pt x="1067853" y="367166"/>
                </a:cubicBezTo>
                <a:lnTo>
                  <a:pt x="1071894" y="369207"/>
                </a:lnTo>
                <a:cubicBezTo>
                  <a:pt x="1071894" y="369207"/>
                  <a:pt x="1075935" y="369207"/>
                  <a:pt x="1075935" y="369207"/>
                </a:cubicBezTo>
                <a:cubicBezTo>
                  <a:pt x="1077956" y="369207"/>
                  <a:pt x="1081997" y="369207"/>
                  <a:pt x="1081997" y="369207"/>
                </a:cubicBezTo>
                <a:cubicBezTo>
                  <a:pt x="1081997" y="369207"/>
                  <a:pt x="1081997" y="369207"/>
                  <a:pt x="1086038" y="367166"/>
                </a:cubicBezTo>
                <a:cubicBezTo>
                  <a:pt x="1086038" y="367166"/>
                  <a:pt x="1090078" y="367166"/>
                  <a:pt x="1092099" y="369207"/>
                </a:cubicBezTo>
                <a:cubicBezTo>
                  <a:pt x="1094119" y="371248"/>
                  <a:pt x="1096140" y="367166"/>
                  <a:pt x="1096140" y="367166"/>
                </a:cubicBezTo>
                <a:cubicBezTo>
                  <a:pt x="1096140" y="367166"/>
                  <a:pt x="1098160" y="367166"/>
                  <a:pt x="1100181" y="365125"/>
                </a:cubicBezTo>
                <a:close/>
                <a:moveTo>
                  <a:pt x="1069421" y="348876"/>
                </a:moveTo>
                <a:cubicBezTo>
                  <a:pt x="1071362" y="348633"/>
                  <a:pt x="1073787" y="348633"/>
                  <a:pt x="1075727" y="349603"/>
                </a:cubicBezTo>
                <a:cubicBezTo>
                  <a:pt x="1077668" y="349603"/>
                  <a:pt x="1079608" y="347663"/>
                  <a:pt x="1081548" y="349603"/>
                </a:cubicBezTo>
                <a:cubicBezTo>
                  <a:pt x="1085429" y="349603"/>
                  <a:pt x="1085429" y="351543"/>
                  <a:pt x="1083488" y="353484"/>
                </a:cubicBezTo>
                <a:cubicBezTo>
                  <a:pt x="1083488" y="355424"/>
                  <a:pt x="1085429" y="355424"/>
                  <a:pt x="1087369" y="357364"/>
                </a:cubicBezTo>
                <a:cubicBezTo>
                  <a:pt x="1089309" y="359304"/>
                  <a:pt x="1091250" y="357364"/>
                  <a:pt x="1091250" y="357364"/>
                </a:cubicBezTo>
                <a:cubicBezTo>
                  <a:pt x="1093190" y="357364"/>
                  <a:pt x="1095130" y="359304"/>
                  <a:pt x="1093190" y="361244"/>
                </a:cubicBezTo>
                <a:cubicBezTo>
                  <a:pt x="1093190" y="363185"/>
                  <a:pt x="1089309" y="361244"/>
                  <a:pt x="1081548" y="363185"/>
                </a:cubicBezTo>
                <a:cubicBezTo>
                  <a:pt x="1075727" y="365125"/>
                  <a:pt x="1073787" y="365125"/>
                  <a:pt x="1071847" y="363185"/>
                </a:cubicBezTo>
                <a:cubicBezTo>
                  <a:pt x="1067966" y="361244"/>
                  <a:pt x="1064086" y="359304"/>
                  <a:pt x="1062145" y="355424"/>
                </a:cubicBezTo>
                <a:cubicBezTo>
                  <a:pt x="1060205" y="351543"/>
                  <a:pt x="1066026" y="349603"/>
                  <a:pt x="1066026" y="349603"/>
                </a:cubicBezTo>
                <a:cubicBezTo>
                  <a:pt x="1066026" y="349603"/>
                  <a:pt x="1067481" y="349118"/>
                  <a:pt x="1069421" y="348876"/>
                </a:cubicBezTo>
                <a:close/>
                <a:moveTo>
                  <a:pt x="1171267" y="344927"/>
                </a:moveTo>
                <a:cubicBezTo>
                  <a:pt x="1175204" y="344927"/>
                  <a:pt x="1175204" y="346953"/>
                  <a:pt x="1175204" y="348980"/>
                </a:cubicBezTo>
                <a:cubicBezTo>
                  <a:pt x="1175204" y="351006"/>
                  <a:pt x="1177172" y="351006"/>
                  <a:pt x="1179141" y="353033"/>
                </a:cubicBezTo>
                <a:cubicBezTo>
                  <a:pt x="1181109" y="353033"/>
                  <a:pt x="1181109" y="357086"/>
                  <a:pt x="1181109" y="357086"/>
                </a:cubicBezTo>
                <a:cubicBezTo>
                  <a:pt x="1181109" y="361139"/>
                  <a:pt x="1185046" y="361139"/>
                  <a:pt x="1187015" y="361139"/>
                </a:cubicBezTo>
                <a:cubicBezTo>
                  <a:pt x="1188983" y="361139"/>
                  <a:pt x="1190952" y="357086"/>
                  <a:pt x="1190952" y="353033"/>
                </a:cubicBezTo>
                <a:cubicBezTo>
                  <a:pt x="1190952" y="351006"/>
                  <a:pt x="1192920" y="351006"/>
                  <a:pt x="1194889" y="353033"/>
                </a:cubicBezTo>
                <a:cubicBezTo>
                  <a:pt x="1196857" y="353033"/>
                  <a:pt x="1198826" y="353033"/>
                  <a:pt x="1198826" y="351006"/>
                </a:cubicBezTo>
                <a:cubicBezTo>
                  <a:pt x="1198826" y="348980"/>
                  <a:pt x="1198826" y="348980"/>
                  <a:pt x="1196857" y="348980"/>
                </a:cubicBezTo>
                <a:cubicBezTo>
                  <a:pt x="1194889" y="348980"/>
                  <a:pt x="1194889" y="348980"/>
                  <a:pt x="1190952" y="351006"/>
                </a:cubicBezTo>
                <a:cubicBezTo>
                  <a:pt x="1188983" y="351006"/>
                  <a:pt x="1188983" y="348980"/>
                  <a:pt x="1188983" y="344927"/>
                </a:cubicBezTo>
                <a:cubicBezTo>
                  <a:pt x="1188983" y="342900"/>
                  <a:pt x="1192920" y="342900"/>
                  <a:pt x="1194889" y="344927"/>
                </a:cubicBezTo>
                <a:cubicBezTo>
                  <a:pt x="1196857" y="344927"/>
                  <a:pt x="1198826" y="344927"/>
                  <a:pt x="1202763" y="344927"/>
                </a:cubicBezTo>
                <a:cubicBezTo>
                  <a:pt x="1204731" y="344927"/>
                  <a:pt x="1206700" y="346953"/>
                  <a:pt x="1204731" y="348980"/>
                </a:cubicBezTo>
                <a:cubicBezTo>
                  <a:pt x="1202763" y="353033"/>
                  <a:pt x="1202763" y="353033"/>
                  <a:pt x="1206700" y="353033"/>
                </a:cubicBezTo>
                <a:cubicBezTo>
                  <a:pt x="1208668" y="353033"/>
                  <a:pt x="1210637" y="355060"/>
                  <a:pt x="1208668" y="359113"/>
                </a:cubicBezTo>
                <a:cubicBezTo>
                  <a:pt x="1206700" y="363166"/>
                  <a:pt x="1206700" y="365192"/>
                  <a:pt x="1210637" y="365192"/>
                </a:cubicBezTo>
                <a:cubicBezTo>
                  <a:pt x="1212605" y="367219"/>
                  <a:pt x="1210637" y="371272"/>
                  <a:pt x="1208668" y="373299"/>
                </a:cubicBezTo>
                <a:cubicBezTo>
                  <a:pt x="1206700" y="377352"/>
                  <a:pt x="1208668" y="379379"/>
                  <a:pt x="1210637" y="383432"/>
                </a:cubicBezTo>
                <a:cubicBezTo>
                  <a:pt x="1210637" y="385458"/>
                  <a:pt x="1202763" y="389512"/>
                  <a:pt x="1200794" y="391538"/>
                </a:cubicBezTo>
                <a:cubicBezTo>
                  <a:pt x="1198826" y="395591"/>
                  <a:pt x="1204731" y="395591"/>
                  <a:pt x="1206700" y="395591"/>
                </a:cubicBezTo>
                <a:cubicBezTo>
                  <a:pt x="1210637" y="395591"/>
                  <a:pt x="1210637" y="405724"/>
                  <a:pt x="1208668" y="409778"/>
                </a:cubicBezTo>
                <a:cubicBezTo>
                  <a:pt x="1206700" y="413831"/>
                  <a:pt x="1202763" y="411804"/>
                  <a:pt x="1202763" y="407751"/>
                </a:cubicBezTo>
                <a:cubicBezTo>
                  <a:pt x="1200794" y="405724"/>
                  <a:pt x="1198826" y="403698"/>
                  <a:pt x="1196857" y="403698"/>
                </a:cubicBezTo>
                <a:cubicBezTo>
                  <a:pt x="1194889" y="403698"/>
                  <a:pt x="1194889" y="403698"/>
                  <a:pt x="1190952" y="409778"/>
                </a:cubicBezTo>
                <a:cubicBezTo>
                  <a:pt x="1188983" y="415857"/>
                  <a:pt x="1190952" y="415857"/>
                  <a:pt x="1192920" y="419911"/>
                </a:cubicBezTo>
                <a:cubicBezTo>
                  <a:pt x="1194889" y="421937"/>
                  <a:pt x="1194889" y="425990"/>
                  <a:pt x="1192920" y="425990"/>
                </a:cubicBezTo>
                <a:cubicBezTo>
                  <a:pt x="1188983" y="428017"/>
                  <a:pt x="1188983" y="421937"/>
                  <a:pt x="1187015" y="421937"/>
                </a:cubicBezTo>
                <a:cubicBezTo>
                  <a:pt x="1187015" y="421937"/>
                  <a:pt x="1187015" y="425990"/>
                  <a:pt x="1187015" y="425990"/>
                </a:cubicBezTo>
                <a:cubicBezTo>
                  <a:pt x="1187015" y="425990"/>
                  <a:pt x="1187015" y="428017"/>
                  <a:pt x="1185046" y="430044"/>
                </a:cubicBezTo>
                <a:cubicBezTo>
                  <a:pt x="1183078" y="434097"/>
                  <a:pt x="1175204" y="428017"/>
                  <a:pt x="1175204" y="430044"/>
                </a:cubicBezTo>
                <a:cubicBezTo>
                  <a:pt x="1173235" y="432070"/>
                  <a:pt x="1167330" y="434097"/>
                  <a:pt x="1165361" y="430044"/>
                </a:cubicBezTo>
                <a:cubicBezTo>
                  <a:pt x="1163393" y="428017"/>
                  <a:pt x="1161424" y="428017"/>
                  <a:pt x="1159456" y="430044"/>
                </a:cubicBezTo>
                <a:cubicBezTo>
                  <a:pt x="1155519" y="432070"/>
                  <a:pt x="1153550" y="430044"/>
                  <a:pt x="1155519" y="425990"/>
                </a:cubicBezTo>
                <a:cubicBezTo>
                  <a:pt x="1155519" y="421937"/>
                  <a:pt x="1155519" y="423964"/>
                  <a:pt x="1151582" y="423964"/>
                </a:cubicBezTo>
                <a:cubicBezTo>
                  <a:pt x="1147645" y="425990"/>
                  <a:pt x="1149613" y="430044"/>
                  <a:pt x="1149613" y="432070"/>
                </a:cubicBezTo>
                <a:cubicBezTo>
                  <a:pt x="1149613" y="434097"/>
                  <a:pt x="1149613" y="436123"/>
                  <a:pt x="1147645" y="436123"/>
                </a:cubicBezTo>
                <a:cubicBezTo>
                  <a:pt x="1143708" y="436123"/>
                  <a:pt x="1143708" y="432070"/>
                  <a:pt x="1141739" y="430044"/>
                </a:cubicBezTo>
                <a:cubicBezTo>
                  <a:pt x="1139771" y="428017"/>
                  <a:pt x="1133865" y="438150"/>
                  <a:pt x="1131897" y="430044"/>
                </a:cubicBezTo>
                <a:cubicBezTo>
                  <a:pt x="1131897" y="423964"/>
                  <a:pt x="1133865" y="421937"/>
                  <a:pt x="1135834" y="419911"/>
                </a:cubicBezTo>
                <a:cubicBezTo>
                  <a:pt x="1135834" y="419911"/>
                  <a:pt x="1137802" y="415857"/>
                  <a:pt x="1135834" y="415857"/>
                </a:cubicBezTo>
                <a:cubicBezTo>
                  <a:pt x="1133865" y="415857"/>
                  <a:pt x="1133865" y="415857"/>
                  <a:pt x="1133865" y="413831"/>
                </a:cubicBezTo>
                <a:cubicBezTo>
                  <a:pt x="1133865" y="409778"/>
                  <a:pt x="1135834" y="405724"/>
                  <a:pt x="1139771" y="407751"/>
                </a:cubicBezTo>
                <a:cubicBezTo>
                  <a:pt x="1141739" y="409778"/>
                  <a:pt x="1143708" y="411804"/>
                  <a:pt x="1143708" y="411804"/>
                </a:cubicBezTo>
                <a:cubicBezTo>
                  <a:pt x="1143708" y="411804"/>
                  <a:pt x="1143708" y="409778"/>
                  <a:pt x="1145676" y="409778"/>
                </a:cubicBezTo>
                <a:cubicBezTo>
                  <a:pt x="1147645" y="407751"/>
                  <a:pt x="1149613" y="409778"/>
                  <a:pt x="1149613" y="407751"/>
                </a:cubicBezTo>
                <a:cubicBezTo>
                  <a:pt x="1149613" y="407751"/>
                  <a:pt x="1153550" y="403698"/>
                  <a:pt x="1155519" y="401671"/>
                </a:cubicBezTo>
                <a:cubicBezTo>
                  <a:pt x="1159456" y="399645"/>
                  <a:pt x="1157487" y="395591"/>
                  <a:pt x="1153550" y="395591"/>
                </a:cubicBezTo>
                <a:cubicBezTo>
                  <a:pt x="1151582" y="395591"/>
                  <a:pt x="1153550" y="397618"/>
                  <a:pt x="1153550" y="397618"/>
                </a:cubicBezTo>
                <a:cubicBezTo>
                  <a:pt x="1153550" y="397618"/>
                  <a:pt x="1151582" y="401671"/>
                  <a:pt x="1151582" y="401671"/>
                </a:cubicBezTo>
                <a:cubicBezTo>
                  <a:pt x="1151582" y="401671"/>
                  <a:pt x="1147645" y="403698"/>
                  <a:pt x="1143708" y="403698"/>
                </a:cubicBezTo>
                <a:cubicBezTo>
                  <a:pt x="1141739" y="405724"/>
                  <a:pt x="1141739" y="401671"/>
                  <a:pt x="1143708" y="399645"/>
                </a:cubicBezTo>
                <a:cubicBezTo>
                  <a:pt x="1143708" y="399645"/>
                  <a:pt x="1149613" y="395591"/>
                  <a:pt x="1145676" y="395591"/>
                </a:cubicBezTo>
                <a:cubicBezTo>
                  <a:pt x="1141739" y="395591"/>
                  <a:pt x="1137802" y="397618"/>
                  <a:pt x="1133865" y="397618"/>
                </a:cubicBezTo>
                <a:cubicBezTo>
                  <a:pt x="1131897" y="399645"/>
                  <a:pt x="1127960" y="389512"/>
                  <a:pt x="1125991" y="385458"/>
                </a:cubicBezTo>
                <a:cubicBezTo>
                  <a:pt x="1124023" y="383432"/>
                  <a:pt x="1127960" y="381405"/>
                  <a:pt x="1127960" y="379379"/>
                </a:cubicBezTo>
                <a:cubicBezTo>
                  <a:pt x="1125991" y="377352"/>
                  <a:pt x="1122054" y="381405"/>
                  <a:pt x="1118117" y="383432"/>
                </a:cubicBezTo>
                <a:cubicBezTo>
                  <a:pt x="1114180" y="385458"/>
                  <a:pt x="1116149" y="379379"/>
                  <a:pt x="1118117" y="377352"/>
                </a:cubicBezTo>
                <a:cubicBezTo>
                  <a:pt x="1120086" y="373299"/>
                  <a:pt x="1124023" y="373299"/>
                  <a:pt x="1125991" y="371272"/>
                </a:cubicBezTo>
                <a:cubicBezTo>
                  <a:pt x="1127960" y="369246"/>
                  <a:pt x="1127960" y="367219"/>
                  <a:pt x="1125991" y="367219"/>
                </a:cubicBezTo>
                <a:cubicBezTo>
                  <a:pt x="1124023" y="367219"/>
                  <a:pt x="1120086" y="369246"/>
                  <a:pt x="1118117" y="371272"/>
                </a:cubicBezTo>
                <a:cubicBezTo>
                  <a:pt x="1116149" y="373299"/>
                  <a:pt x="1114180" y="373299"/>
                  <a:pt x="1114180" y="371272"/>
                </a:cubicBezTo>
                <a:cubicBezTo>
                  <a:pt x="1114180" y="367219"/>
                  <a:pt x="1125991" y="361139"/>
                  <a:pt x="1131897" y="359113"/>
                </a:cubicBezTo>
                <a:cubicBezTo>
                  <a:pt x="1135834" y="359113"/>
                  <a:pt x="1135834" y="367219"/>
                  <a:pt x="1137802" y="371272"/>
                </a:cubicBezTo>
                <a:cubicBezTo>
                  <a:pt x="1137802" y="373299"/>
                  <a:pt x="1139771" y="377352"/>
                  <a:pt x="1141739" y="377352"/>
                </a:cubicBezTo>
                <a:cubicBezTo>
                  <a:pt x="1143708" y="377352"/>
                  <a:pt x="1145676" y="377352"/>
                  <a:pt x="1143708" y="379379"/>
                </a:cubicBezTo>
                <a:cubicBezTo>
                  <a:pt x="1143708" y="381405"/>
                  <a:pt x="1147645" y="381405"/>
                  <a:pt x="1149613" y="381405"/>
                </a:cubicBezTo>
                <a:cubicBezTo>
                  <a:pt x="1153550" y="383432"/>
                  <a:pt x="1153550" y="385458"/>
                  <a:pt x="1155519" y="387485"/>
                </a:cubicBezTo>
                <a:cubicBezTo>
                  <a:pt x="1155519" y="389512"/>
                  <a:pt x="1157487" y="389512"/>
                  <a:pt x="1159456" y="387485"/>
                </a:cubicBezTo>
                <a:cubicBezTo>
                  <a:pt x="1161424" y="385458"/>
                  <a:pt x="1159456" y="383432"/>
                  <a:pt x="1159456" y="383432"/>
                </a:cubicBezTo>
                <a:cubicBezTo>
                  <a:pt x="1159456" y="383432"/>
                  <a:pt x="1157487" y="377352"/>
                  <a:pt x="1157487" y="373299"/>
                </a:cubicBezTo>
                <a:cubicBezTo>
                  <a:pt x="1157487" y="369246"/>
                  <a:pt x="1159456" y="365192"/>
                  <a:pt x="1159456" y="365192"/>
                </a:cubicBezTo>
                <a:cubicBezTo>
                  <a:pt x="1161424" y="365192"/>
                  <a:pt x="1161424" y="361139"/>
                  <a:pt x="1159456" y="361139"/>
                </a:cubicBezTo>
                <a:cubicBezTo>
                  <a:pt x="1157487" y="359113"/>
                  <a:pt x="1151582" y="361139"/>
                  <a:pt x="1151582" y="361139"/>
                </a:cubicBezTo>
                <a:cubicBezTo>
                  <a:pt x="1151582" y="361139"/>
                  <a:pt x="1143708" y="363166"/>
                  <a:pt x="1143708" y="359113"/>
                </a:cubicBezTo>
                <a:cubicBezTo>
                  <a:pt x="1143708" y="355060"/>
                  <a:pt x="1149613" y="355060"/>
                  <a:pt x="1149613" y="355060"/>
                </a:cubicBezTo>
                <a:cubicBezTo>
                  <a:pt x="1153550" y="357086"/>
                  <a:pt x="1153550" y="355060"/>
                  <a:pt x="1153550" y="355060"/>
                </a:cubicBezTo>
                <a:cubicBezTo>
                  <a:pt x="1153550" y="355060"/>
                  <a:pt x="1151582" y="353033"/>
                  <a:pt x="1155519" y="348980"/>
                </a:cubicBezTo>
                <a:cubicBezTo>
                  <a:pt x="1161424" y="346953"/>
                  <a:pt x="1163393" y="351006"/>
                  <a:pt x="1165361" y="351006"/>
                </a:cubicBezTo>
                <a:cubicBezTo>
                  <a:pt x="1165361" y="351006"/>
                  <a:pt x="1171267" y="351006"/>
                  <a:pt x="1171267" y="351006"/>
                </a:cubicBezTo>
                <a:cubicBezTo>
                  <a:pt x="1171267" y="351006"/>
                  <a:pt x="1171267" y="351006"/>
                  <a:pt x="1171267" y="348980"/>
                </a:cubicBezTo>
                <a:cubicBezTo>
                  <a:pt x="1171267" y="348980"/>
                  <a:pt x="1169298" y="348980"/>
                  <a:pt x="1167330" y="346953"/>
                </a:cubicBezTo>
                <a:cubicBezTo>
                  <a:pt x="1167330" y="344927"/>
                  <a:pt x="1169298" y="344927"/>
                  <a:pt x="1171267" y="344927"/>
                </a:cubicBezTo>
                <a:close/>
                <a:moveTo>
                  <a:pt x="1147640" y="342900"/>
                </a:moveTo>
                <a:cubicBezTo>
                  <a:pt x="1147640" y="342900"/>
                  <a:pt x="1153868" y="342900"/>
                  <a:pt x="1153868" y="344941"/>
                </a:cubicBezTo>
                <a:cubicBezTo>
                  <a:pt x="1151792" y="349023"/>
                  <a:pt x="1151792" y="349023"/>
                  <a:pt x="1147640" y="349023"/>
                </a:cubicBezTo>
                <a:cubicBezTo>
                  <a:pt x="1143488" y="351064"/>
                  <a:pt x="1141412" y="351064"/>
                  <a:pt x="1141412" y="353105"/>
                </a:cubicBezTo>
                <a:cubicBezTo>
                  <a:pt x="1139336" y="355146"/>
                  <a:pt x="1131032" y="357187"/>
                  <a:pt x="1128956" y="357187"/>
                </a:cubicBezTo>
                <a:cubicBezTo>
                  <a:pt x="1126880" y="355146"/>
                  <a:pt x="1126880" y="351064"/>
                  <a:pt x="1131032" y="351064"/>
                </a:cubicBezTo>
                <a:cubicBezTo>
                  <a:pt x="1133108" y="351064"/>
                  <a:pt x="1133108" y="351064"/>
                  <a:pt x="1133108" y="351064"/>
                </a:cubicBezTo>
                <a:cubicBezTo>
                  <a:pt x="1133108" y="351064"/>
                  <a:pt x="1137260" y="351064"/>
                  <a:pt x="1139336" y="349023"/>
                </a:cubicBezTo>
                <a:cubicBezTo>
                  <a:pt x="1141412" y="344941"/>
                  <a:pt x="1145564" y="344941"/>
                  <a:pt x="1147640" y="342900"/>
                </a:cubicBezTo>
                <a:close/>
                <a:moveTo>
                  <a:pt x="961476" y="335371"/>
                </a:moveTo>
                <a:cubicBezTo>
                  <a:pt x="963469" y="333375"/>
                  <a:pt x="965462" y="333375"/>
                  <a:pt x="965462" y="335371"/>
                </a:cubicBezTo>
                <a:cubicBezTo>
                  <a:pt x="965462" y="337368"/>
                  <a:pt x="965462" y="339364"/>
                  <a:pt x="969448" y="339364"/>
                </a:cubicBezTo>
                <a:cubicBezTo>
                  <a:pt x="971441" y="339364"/>
                  <a:pt x="975426" y="337368"/>
                  <a:pt x="975426" y="339364"/>
                </a:cubicBezTo>
                <a:cubicBezTo>
                  <a:pt x="975426" y="341361"/>
                  <a:pt x="975426" y="343357"/>
                  <a:pt x="979412" y="343357"/>
                </a:cubicBezTo>
                <a:cubicBezTo>
                  <a:pt x="981405" y="343357"/>
                  <a:pt x="981405" y="347350"/>
                  <a:pt x="979412" y="347350"/>
                </a:cubicBezTo>
                <a:cubicBezTo>
                  <a:pt x="979412" y="347350"/>
                  <a:pt x="977419" y="347350"/>
                  <a:pt x="977419" y="351342"/>
                </a:cubicBezTo>
                <a:cubicBezTo>
                  <a:pt x="977419" y="355335"/>
                  <a:pt x="975426" y="357332"/>
                  <a:pt x="977419" y="357332"/>
                </a:cubicBezTo>
                <a:cubicBezTo>
                  <a:pt x="979412" y="359328"/>
                  <a:pt x="981405" y="365317"/>
                  <a:pt x="979412" y="367314"/>
                </a:cubicBezTo>
                <a:cubicBezTo>
                  <a:pt x="977419" y="371306"/>
                  <a:pt x="971441" y="371306"/>
                  <a:pt x="971441" y="371306"/>
                </a:cubicBezTo>
                <a:cubicBezTo>
                  <a:pt x="971441" y="371306"/>
                  <a:pt x="969448" y="375299"/>
                  <a:pt x="971441" y="375299"/>
                </a:cubicBezTo>
                <a:cubicBezTo>
                  <a:pt x="975426" y="377296"/>
                  <a:pt x="983398" y="377296"/>
                  <a:pt x="983398" y="383285"/>
                </a:cubicBezTo>
                <a:cubicBezTo>
                  <a:pt x="983398" y="387278"/>
                  <a:pt x="981405" y="387278"/>
                  <a:pt x="981405" y="387278"/>
                </a:cubicBezTo>
                <a:cubicBezTo>
                  <a:pt x="981405" y="387278"/>
                  <a:pt x="977419" y="389274"/>
                  <a:pt x="977419" y="391270"/>
                </a:cubicBezTo>
                <a:cubicBezTo>
                  <a:pt x="975426" y="393267"/>
                  <a:pt x="975426" y="393267"/>
                  <a:pt x="979412" y="393267"/>
                </a:cubicBezTo>
                <a:cubicBezTo>
                  <a:pt x="981405" y="393267"/>
                  <a:pt x="983398" y="395263"/>
                  <a:pt x="985390" y="393267"/>
                </a:cubicBezTo>
                <a:cubicBezTo>
                  <a:pt x="985390" y="389274"/>
                  <a:pt x="987383" y="387278"/>
                  <a:pt x="991369" y="385281"/>
                </a:cubicBezTo>
                <a:cubicBezTo>
                  <a:pt x="995354" y="385281"/>
                  <a:pt x="997347" y="389274"/>
                  <a:pt x="997347" y="393267"/>
                </a:cubicBezTo>
                <a:cubicBezTo>
                  <a:pt x="995354" y="397260"/>
                  <a:pt x="995354" y="399256"/>
                  <a:pt x="999340" y="399256"/>
                </a:cubicBezTo>
                <a:cubicBezTo>
                  <a:pt x="1001333" y="399256"/>
                  <a:pt x="1003326" y="393267"/>
                  <a:pt x="1003326" y="393267"/>
                </a:cubicBezTo>
                <a:cubicBezTo>
                  <a:pt x="1003326" y="393267"/>
                  <a:pt x="1003326" y="389274"/>
                  <a:pt x="1001333" y="387278"/>
                </a:cubicBezTo>
                <a:cubicBezTo>
                  <a:pt x="1001333" y="383285"/>
                  <a:pt x="1001333" y="379292"/>
                  <a:pt x="1005319" y="377296"/>
                </a:cubicBezTo>
                <a:cubicBezTo>
                  <a:pt x="1011297" y="377296"/>
                  <a:pt x="1013290" y="375299"/>
                  <a:pt x="1017275" y="375299"/>
                </a:cubicBezTo>
                <a:cubicBezTo>
                  <a:pt x="1019268" y="375299"/>
                  <a:pt x="1021261" y="377296"/>
                  <a:pt x="1021261" y="379292"/>
                </a:cubicBezTo>
                <a:cubicBezTo>
                  <a:pt x="1021261" y="381288"/>
                  <a:pt x="1023254" y="383285"/>
                  <a:pt x="1025247" y="385281"/>
                </a:cubicBezTo>
                <a:cubicBezTo>
                  <a:pt x="1029232" y="387278"/>
                  <a:pt x="1031225" y="387278"/>
                  <a:pt x="1031225" y="387278"/>
                </a:cubicBezTo>
                <a:cubicBezTo>
                  <a:pt x="1033218" y="387278"/>
                  <a:pt x="1033218" y="385281"/>
                  <a:pt x="1033218" y="389274"/>
                </a:cubicBezTo>
                <a:cubicBezTo>
                  <a:pt x="1033218" y="393267"/>
                  <a:pt x="1033218" y="393267"/>
                  <a:pt x="1033218" y="393267"/>
                </a:cubicBezTo>
                <a:cubicBezTo>
                  <a:pt x="1031225" y="399256"/>
                  <a:pt x="1031225" y="399256"/>
                  <a:pt x="1031225" y="399256"/>
                </a:cubicBezTo>
                <a:cubicBezTo>
                  <a:pt x="1031225" y="399256"/>
                  <a:pt x="1029232" y="407242"/>
                  <a:pt x="1025247" y="407242"/>
                </a:cubicBezTo>
                <a:cubicBezTo>
                  <a:pt x="1025247" y="407242"/>
                  <a:pt x="1021261" y="407242"/>
                  <a:pt x="1021261" y="411234"/>
                </a:cubicBezTo>
                <a:cubicBezTo>
                  <a:pt x="1019268" y="415227"/>
                  <a:pt x="1017275" y="417223"/>
                  <a:pt x="1017275" y="419220"/>
                </a:cubicBezTo>
                <a:cubicBezTo>
                  <a:pt x="1017275" y="423213"/>
                  <a:pt x="1013290" y="425209"/>
                  <a:pt x="1013290" y="425209"/>
                </a:cubicBezTo>
                <a:cubicBezTo>
                  <a:pt x="1013290" y="425209"/>
                  <a:pt x="1013290" y="429202"/>
                  <a:pt x="1011297" y="429202"/>
                </a:cubicBezTo>
                <a:cubicBezTo>
                  <a:pt x="1007311" y="427205"/>
                  <a:pt x="1005319" y="427205"/>
                  <a:pt x="1003326" y="429202"/>
                </a:cubicBezTo>
                <a:cubicBezTo>
                  <a:pt x="1003326" y="429202"/>
                  <a:pt x="1001333" y="431198"/>
                  <a:pt x="999340" y="429202"/>
                </a:cubicBezTo>
                <a:cubicBezTo>
                  <a:pt x="995354" y="429202"/>
                  <a:pt x="995354" y="429202"/>
                  <a:pt x="993362" y="431198"/>
                </a:cubicBezTo>
                <a:cubicBezTo>
                  <a:pt x="993362" y="431198"/>
                  <a:pt x="987383" y="433195"/>
                  <a:pt x="985390" y="431198"/>
                </a:cubicBezTo>
                <a:cubicBezTo>
                  <a:pt x="983398" y="431198"/>
                  <a:pt x="983398" y="433195"/>
                  <a:pt x="983398" y="435191"/>
                </a:cubicBezTo>
                <a:cubicBezTo>
                  <a:pt x="981405" y="437187"/>
                  <a:pt x="979412" y="439184"/>
                  <a:pt x="977419" y="437187"/>
                </a:cubicBezTo>
                <a:cubicBezTo>
                  <a:pt x="973433" y="437187"/>
                  <a:pt x="971441" y="435191"/>
                  <a:pt x="971441" y="433195"/>
                </a:cubicBezTo>
                <a:cubicBezTo>
                  <a:pt x="971441" y="433195"/>
                  <a:pt x="971441" y="431198"/>
                  <a:pt x="971441" y="431198"/>
                </a:cubicBezTo>
                <a:cubicBezTo>
                  <a:pt x="967455" y="429202"/>
                  <a:pt x="967455" y="429202"/>
                  <a:pt x="967455" y="429202"/>
                </a:cubicBezTo>
                <a:cubicBezTo>
                  <a:pt x="967455" y="429202"/>
                  <a:pt x="963469" y="429202"/>
                  <a:pt x="963469" y="431198"/>
                </a:cubicBezTo>
                <a:cubicBezTo>
                  <a:pt x="963469" y="435191"/>
                  <a:pt x="963469" y="437187"/>
                  <a:pt x="959484" y="437187"/>
                </a:cubicBezTo>
                <a:cubicBezTo>
                  <a:pt x="955498" y="437187"/>
                  <a:pt x="953505" y="437187"/>
                  <a:pt x="953505" y="433195"/>
                </a:cubicBezTo>
                <a:cubicBezTo>
                  <a:pt x="953505" y="431198"/>
                  <a:pt x="953505" y="429202"/>
                  <a:pt x="951512" y="429202"/>
                </a:cubicBezTo>
                <a:cubicBezTo>
                  <a:pt x="949520" y="429202"/>
                  <a:pt x="945534" y="429202"/>
                  <a:pt x="943541" y="431198"/>
                </a:cubicBezTo>
                <a:cubicBezTo>
                  <a:pt x="943541" y="433195"/>
                  <a:pt x="943541" y="435191"/>
                  <a:pt x="939555" y="433195"/>
                </a:cubicBezTo>
                <a:cubicBezTo>
                  <a:pt x="937563" y="431198"/>
                  <a:pt x="935570" y="433195"/>
                  <a:pt x="935570" y="435191"/>
                </a:cubicBezTo>
                <a:cubicBezTo>
                  <a:pt x="935570" y="437187"/>
                  <a:pt x="931584" y="439184"/>
                  <a:pt x="929591" y="437187"/>
                </a:cubicBezTo>
                <a:cubicBezTo>
                  <a:pt x="925606" y="437187"/>
                  <a:pt x="923613" y="435191"/>
                  <a:pt x="919627" y="437187"/>
                </a:cubicBezTo>
                <a:cubicBezTo>
                  <a:pt x="915642" y="437187"/>
                  <a:pt x="915642" y="443177"/>
                  <a:pt x="909663" y="443177"/>
                </a:cubicBezTo>
                <a:cubicBezTo>
                  <a:pt x="903685" y="441180"/>
                  <a:pt x="901692" y="445173"/>
                  <a:pt x="901692" y="447169"/>
                </a:cubicBezTo>
                <a:cubicBezTo>
                  <a:pt x="899699" y="451162"/>
                  <a:pt x="899699" y="453159"/>
                  <a:pt x="893720" y="453159"/>
                </a:cubicBezTo>
                <a:cubicBezTo>
                  <a:pt x="887742" y="451162"/>
                  <a:pt x="883756" y="451162"/>
                  <a:pt x="881764" y="455155"/>
                </a:cubicBezTo>
                <a:cubicBezTo>
                  <a:pt x="877778" y="459148"/>
                  <a:pt x="873792" y="463141"/>
                  <a:pt x="869807" y="461144"/>
                </a:cubicBezTo>
                <a:cubicBezTo>
                  <a:pt x="865821" y="461144"/>
                  <a:pt x="861835" y="461144"/>
                  <a:pt x="855857" y="463141"/>
                </a:cubicBezTo>
                <a:cubicBezTo>
                  <a:pt x="849878" y="465137"/>
                  <a:pt x="837921" y="465137"/>
                  <a:pt x="831943" y="461144"/>
                </a:cubicBezTo>
                <a:cubicBezTo>
                  <a:pt x="827957" y="457151"/>
                  <a:pt x="819986" y="453159"/>
                  <a:pt x="819986" y="447169"/>
                </a:cubicBezTo>
                <a:cubicBezTo>
                  <a:pt x="821979" y="441180"/>
                  <a:pt x="829950" y="441180"/>
                  <a:pt x="829950" y="441180"/>
                </a:cubicBezTo>
                <a:cubicBezTo>
                  <a:pt x="829950" y="441180"/>
                  <a:pt x="835929" y="441180"/>
                  <a:pt x="835929" y="439184"/>
                </a:cubicBezTo>
                <a:cubicBezTo>
                  <a:pt x="837921" y="435191"/>
                  <a:pt x="841907" y="437187"/>
                  <a:pt x="841907" y="437187"/>
                </a:cubicBezTo>
                <a:cubicBezTo>
                  <a:pt x="841907" y="437187"/>
                  <a:pt x="847886" y="437187"/>
                  <a:pt x="851871" y="433195"/>
                </a:cubicBezTo>
                <a:cubicBezTo>
                  <a:pt x="855857" y="429202"/>
                  <a:pt x="859842" y="427205"/>
                  <a:pt x="863828" y="429202"/>
                </a:cubicBezTo>
                <a:cubicBezTo>
                  <a:pt x="869807" y="429202"/>
                  <a:pt x="869807" y="429202"/>
                  <a:pt x="871799" y="427205"/>
                </a:cubicBezTo>
                <a:cubicBezTo>
                  <a:pt x="873792" y="427205"/>
                  <a:pt x="875785" y="429202"/>
                  <a:pt x="875785" y="429202"/>
                </a:cubicBezTo>
                <a:cubicBezTo>
                  <a:pt x="875785" y="429202"/>
                  <a:pt x="879771" y="433195"/>
                  <a:pt x="883756" y="431198"/>
                </a:cubicBezTo>
                <a:cubicBezTo>
                  <a:pt x="889735" y="429202"/>
                  <a:pt x="891728" y="429202"/>
                  <a:pt x="893720" y="425209"/>
                </a:cubicBezTo>
                <a:cubicBezTo>
                  <a:pt x="897706" y="421216"/>
                  <a:pt x="897706" y="419220"/>
                  <a:pt x="893720" y="421216"/>
                </a:cubicBezTo>
                <a:cubicBezTo>
                  <a:pt x="889735" y="423213"/>
                  <a:pt x="883756" y="427205"/>
                  <a:pt x="879771" y="425209"/>
                </a:cubicBezTo>
                <a:cubicBezTo>
                  <a:pt x="875785" y="425209"/>
                  <a:pt x="871799" y="423213"/>
                  <a:pt x="869807" y="425209"/>
                </a:cubicBezTo>
                <a:cubicBezTo>
                  <a:pt x="865821" y="425209"/>
                  <a:pt x="863828" y="427205"/>
                  <a:pt x="859842" y="425209"/>
                </a:cubicBezTo>
                <a:cubicBezTo>
                  <a:pt x="855857" y="423213"/>
                  <a:pt x="855857" y="423213"/>
                  <a:pt x="851871" y="425209"/>
                </a:cubicBezTo>
                <a:cubicBezTo>
                  <a:pt x="845893" y="425209"/>
                  <a:pt x="837921" y="429202"/>
                  <a:pt x="835929" y="425209"/>
                </a:cubicBezTo>
                <a:cubicBezTo>
                  <a:pt x="833936" y="425209"/>
                  <a:pt x="839914" y="417223"/>
                  <a:pt x="839914" y="417223"/>
                </a:cubicBezTo>
                <a:cubicBezTo>
                  <a:pt x="839914" y="417223"/>
                  <a:pt x="843900" y="413231"/>
                  <a:pt x="839914" y="411234"/>
                </a:cubicBezTo>
                <a:cubicBezTo>
                  <a:pt x="837921" y="409238"/>
                  <a:pt x="835929" y="413231"/>
                  <a:pt x="833936" y="415227"/>
                </a:cubicBezTo>
                <a:cubicBezTo>
                  <a:pt x="833936" y="417223"/>
                  <a:pt x="833936" y="421216"/>
                  <a:pt x="831943" y="423213"/>
                </a:cubicBezTo>
                <a:cubicBezTo>
                  <a:pt x="829950" y="423213"/>
                  <a:pt x="827957" y="425209"/>
                  <a:pt x="827957" y="425209"/>
                </a:cubicBezTo>
                <a:cubicBezTo>
                  <a:pt x="827957" y="429202"/>
                  <a:pt x="827957" y="429202"/>
                  <a:pt x="827957" y="429202"/>
                </a:cubicBezTo>
                <a:cubicBezTo>
                  <a:pt x="819986" y="427205"/>
                  <a:pt x="819986" y="427205"/>
                  <a:pt x="819986" y="427205"/>
                </a:cubicBezTo>
                <a:cubicBezTo>
                  <a:pt x="819986" y="427205"/>
                  <a:pt x="816000" y="433195"/>
                  <a:pt x="810022" y="431198"/>
                </a:cubicBezTo>
                <a:cubicBezTo>
                  <a:pt x="806036" y="429202"/>
                  <a:pt x="810022" y="421216"/>
                  <a:pt x="806036" y="421216"/>
                </a:cubicBezTo>
                <a:cubicBezTo>
                  <a:pt x="802051" y="421216"/>
                  <a:pt x="802051" y="423213"/>
                  <a:pt x="800058" y="425209"/>
                </a:cubicBezTo>
                <a:cubicBezTo>
                  <a:pt x="798065" y="427205"/>
                  <a:pt x="798065" y="429202"/>
                  <a:pt x="796072" y="431198"/>
                </a:cubicBezTo>
                <a:cubicBezTo>
                  <a:pt x="794079" y="431198"/>
                  <a:pt x="792087" y="433195"/>
                  <a:pt x="790094" y="431198"/>
                </a:cubicBezTo>
                <a:cubicBezTo>
                  <a:pt x="788101" y="429202"/>
                  <a:pt x="788101" y="427205"/>
                  <a:pt x="788101" y="427205"/>
                </a:cubicBezTo>
                <a:cubicBezTo>
                  <a:pt x="788101" y="427205"/>
                  <a:pt x="784115" y="429202"/>
                  <a:pt x="784115" y="425209"/>
                </a:cubicBezTo>
                <a:cubicBezTo>
                  <a:pt x="784115" y="421216"/>
                  <a:pt x="782122" y="417223"/>
                  <a:pt x="782122" y="419220"/>
                </a:cubicBezTo>
                <a:cubicBezTo>
                  <a:pt x="780130" y="421216"/>
                  <a:pt x="778137" y="427205"/>
                  <a:pt x="776144" y="427205"/>
                </a:cubicBezTo>
                <a:cubicBezTo>
                  <a:pt x="772158" y="427205"/>
                  <a:pt x="768173" y="421216"/>
                  <a:pt x="764187" y="421216"/>
                </a:cubicBezTo>
                <a:cubicBezTo>
                  <a:pt x="760201" y="423213"/>
                  <a:pt x="756216" y="425209"/>
                  <a:pt x="754223" y="421216"/>
                </a:cubicBezTo>
                <a:cubicBezTo>
                  <a:pt x="752230" y="419220"/>
                  <a:pt x="752230" y="415227"/>
                  <a:pt x="754223" y="413231"/>
                </a:cubicBezTo>
                <a:cubicBezTo>
                  <a:pt x="756216" y="411234"/>
                  <a:pt x="760201" y="409238"/>
                  <a:pt x="762194" y="409238"/>
                </a:cubicBezTo>
                <a:cubicBezTo>
                  <a:pt x="764187" y="407242"/>
                  <a:pt x="772158" y="407242"/>
                  <a:pt x="772158" y="407242"/>
                </a:cubicBezTo>
                <a:cubicBezTo>
                  <a:pt x="772158" y="407242"/>
                  <a:pt x="780130" y="409238"/>
                  <a:pt x="782122" y="409238"/>
                </a:cubicBezTo>
                <a:cubicBezTo>
                  <a:pt x="786108" y="411234"/>
                  <a:pt x="794079" y="409238"/>
                  <a:pt x="798065" y="405245"/>
                </a:cubicBezTo>
                <a:cubicBezTo>
                  <a:pt x="800058" y="401252"/>
                  <a:pt x="806036" y="401252"/>
                  <a:pt x="806036" y="401252"/>
                </a:cubicBezTo>
                <a:cubicBezTo>
                  <a:pt x="806036" y="401252"/>
                  <a:pt x="814008" y="401252"/>
                  <a:pt x="814008" y="399256"/>
                </a:cubicBezTo>
                <a:cubicBezTo>
                  <a:pt x="814008" y="395263"/>
                  <a:pt x="812015" y="395263"/>
                  <a:pt x="810022" y="397260"/>
                </a:cubicBezTo>
                <a:cubicBezTo>
                  <a:pt x="806036" y="397260"/>
                  <a:pt x="806036" y="397260"/>
                  <a:pt x="804043" y="397260"/>
                </a:cubicBezTo>
                <a:cubicBezTo>
                  <a:pt x="800058" y="397260"/>
                  <a:pt x="798065" y="399256"/>
                  <a:pt x="798065" y="399256"/>
                </a:cubicBezTo>
                <a:cubicBezTo>
                  <a:pt x="798065" y="401252"/>
                  <a:pt x="794079" y="405245"/>
                  <a:pt x="790094" y="405245"/>
                </a:cubicBezTo>
                <a:cubicBezTo>
                  <a:pt x="786108" y="405245"/>
                  <a:pt x="784115" y="405245"/>
                  <a:pt x="784115" y="405245"/>
                </a:cubicBezTo>
                <a:cubicBezTo>
                  <a:pt x="778137" y="407242"/>
                  <a:pt x="778137" y="407242"/>
                  <a:pt x="778137" y="407242"/>
                </a:cubicBezTo>
                <a:cubicBezTo>
                  <a:pt x="778137" y="407242"/>
                  <a:pt x="776144" y="407242"/>
                  <a:pt x="772158" y="405245"/>
                </a:cubicBezTo>
                <a:cubicBezTo>
                  <a:pt x="768173" y="405245"/>
                  <a:pt x="766180" y="403249"/>
                  <a:pt x="768173" y="399256"/>
                </a:cubicBezTo>
                <a:cubicBezTo>
                  <a:pt x="770165" y="397260"/>
                  <a:pt x="772158" y="395263"/>
                  <a:pt x="776144" y="393267"/>
                </a:cubicBezTo>
                <a:cubicBezTo>
                  <a:pt x="780130" y="393267"/>
                  <a:pt x="788101" y="393267"/>
                  <a:pt x="788101" y="393267"/>
                </a:cubicBezTo>
                <a:cubicBezTo>
                  <a:pt x="788101" y="393267"/>
                  <a:pt x="794079" y="393267"/>
                  <a:pt x="796072" y="391270"/>
                </a:cubicBezTo>
                <a:cubicBezTo>
                  <a:pt x="798065" y="389274"/>
                  <a:pt x="810022" y="389274"/>
                  <a:pt x="810022" y="389274"/>
                </a:cubicBezTo>
                <a:cubicBezTo>
                  <a:pt x="810022" y="389274"/>
                  <a:pt x="814008" y="391270"/>
                  <a:pt x="817993" y="391270"/>
                </a:cubicBezTo>
                <a:cubicBezTo>
                  <a:pt x="821979" y="391270"/>
                  <a:pt x="823972" y="389274"/>
                  <a:pt x="821979" y="387278"/>
                </a:cubicBezTo>
                <a:cubicBezTo>
                  <a:pt x="819986" y="385281"/>
                  <a:pt x="817993" y="385281"/>
                  <a:pt x="816000" y="385281"/>
                </a:cubicBezTo>
                <a:cubicBezTo>
                  <a:pt x="814008" y="385281"/>
                  <a:pt x="808029" y="385281"/>
                  <a:pt x="808029" y="385281"/>
                </a:cubicBezTo>
                <a:cubicBezTo>
                  <a:pt x="808029" y="385281"/>
                  <a:pt x="804043" y="385281"/>
                  <a:pt x="802051" y="387278"/>
                </a:cubicBezTo>
                <a:cubicBezTo>
                  <a:pt x="800058" y="387278"/>
                  <a:pt x="796072" y="389274"/>
                  <a:pt x="794079" y="387278"/>
                </a:cubicBezTo>
                <a:cubicBezTo>
                  <a:pt x="790094" y="387278"/>
                  <a:pt x="788101" y="387278"/>
                  <a:pt x="788101" y="387278"/>
                </a:cubicBezTo>
                <a:cubicBezTo>
                  <a:pt x="788101" y="387278"/>
                  <a:pt x="788101" y="387278"/>
                  <a:pt x="788101" y="383285"/>
                </a:cubicBezTo>
                <a:cubicBezTo>
                  <a:pt x="788101" y="381288"/>
                  <a:pt x="788101" y="377296"/>
                  <a:pt x="788101" y="377296"/>
                </a:cubicBezTo>
                <a:cubicBezTo>
                  <a:pt x="788101" y="377296"/>
                  <a:pt x="788101" y="375299"/>
                  <a:pt x="792087" y="375299"/>
                </a:cubicBezTo>
                <a:cubicBezTo>
                  <a:pt x="794079" y="375299"/>
                  <a:pt x="796072" y="373303"/>
                  <a:pt x="796072" y="373303"/>
                </a:cubicBezTo>
                <a:cubicBezTo>
                  <a:pt x="796072" y="373303"/>
                  <a:pt x="798065" y="371306"/>
                  <a:pt x="800058" y="373303"/>
                </a:cubicBezTo>
                <a:cubicBezTo>
                  <a:pt x="800058" y="373303"/>
                  <a:pt x="806036" y="373303"/>
                  <a:pt x="806036" y="373303"/>
                </a:cubicBezTo>
                <a:cubicBezTo>
                  <a:pt x="810022" y="373303"/>
                  <a:pt x="810022" y="373303"/>
                  <a:pt x="810022" y="373303"/>
                </a:cubicBezTo>
                <a:cubicBezTo>
                  <a:pt x="816000" y="373303"/>
                  <a:pt x="816000" y="373303"/>
                  <a:pt x="816000" y="373303"/>
                </a:cubicBezTo>
                <a:cubicBezTo>
                  <a:pt x="819986" y="373303"/>
                  <a:pt x="819986" y="373303"/>
                  <a:pt x="819986" y="373303"/>
                </a:cubicBezTo>
                <a:cubicBezTo>
                  <a:pt x="827957" y="373303"/>
                  <a:pt x="827957" y="373303"/>
                  <a:pt x="827957" y="373303"/>
                </a:cubicBezTo>
                <a:cubicBezTo>
                  <a:pt x="833936" y="373303"/>
                  <a:pt x="833936" y="373303"/>
                  <a:pt x="833936" y="373303"/>
                </a:cubicBezTo>
                <a:cubicBezTo>
                  <a:pt x="833936" y="373303"/>
                  <a:pt x="831943" y="367314"/>
                  <a:pt x="829950" y="367314"/>
                </a:cubicBezTo>
                <a:cubicBezTo>
                  <a:pt x="827957" y="367314"/>
                  <a:pt x="827957" y="367314"/>
                  <a:pt x="827957" y="367314"/>
                </a:cubicBezTo>
                <a:cubicBezTo>
                  <a:pt x="827957" y="367314"/>
                  <a:pt x="825965" y="369310"/>
                  <a:pt x="821979" y="369310"/>
                </a:cubicBezTo>
                <a:cubicBezTo>
                  <a:pt x="821979" y="369310"/>
                  <a:pt x="819986" y="369310"/>
                  <a:pt x="819986" y="369310"/>
                </a:cubicBezTo>
                <a:cubicBezTo>
                  <a:pt x="819986" y="369310"/>
                  <a:pt x="808029" y="371306"/>
                  <a:pt x="812015" y="365317"/>
                </a:cubicBezTo>
                <a:cubicBezTo>
                  <a:pt x="812015" y="365317"/>
                  <a:pt x="814008" y="361324"/>
                  <a:pt x="821979" y="357332"/>
                </a:cubicBezTo>
                <a:cubicBezTo>
                  <a:pt x="831943" y="355335"/>
                  <a:pt x="835929" y="357332"/>
                  <a:pt x="835929" y="357332"/>
                </a:cubicBezTo>
                <a:cubicBezTo>
                  <a:pt x="841907" y="357332"/>
                  <a:pt x="841907" y="357332"/>
                  <a:pt x="841907" y="357332"/>
                </a:cubicBezTo>
                <a:cubicBezTo>
                  <a:pt x="841907" y="357332"/>
                  <a:pt x="841907" y="357332"/>
                  <a:pt x="845893" y="355335"/>
                </a:cubicBezTo>
                <a:cubicBezTo>
                  <a:pt x="851871" y="353339"/>
                  <a:pt x="853864" y="355335"/>
                  <a:pt x="851871" y="357332"/>
                </a:cubicBezTo>
                <a:cubicBezTo>
                  <a:pt x="851871" y="359328"/>
                  <a:pt x="849878" y="361324"/>
                  <a:pt x="849878" y="363321"/>
                </a:cubicBezTo>
                <a:cubicBezTo>
                  <a:pt x="849878" y="365317"/>
                  <a:pt x="849878" y="365317"/>
                  <a:pt x="847886" y="367314"/>
                </a:cubicBezTo>
                <a:cubicBezTo>
                  <a:pt x="847886" y="369310"/>
                  <a:pt x="847886" y="371306"/>
                  <a:pt x="849878" y="371306"/>
                </a:cubicBezTo>
                <a:cubicBezTo>
                  <a:pt x="851871" y="371306"/>
                  <a:pt x="859842" y="373303"/>
                  <a:pt x="859842" y="371306"/>
                </a:cubicBezTo>
                <a:cubicBezTo>
                  <a:pt x="859842" y="369310"/>
                  <a:pt x="863828" y="369310"/>
                  <a:pt x="863828" y="369310"/>
                </a:cubicBezTo>
                <a:cubicBezTo>
                  <a:pt x="863828" y="369310"/>
                  <a:pt x="871799" y="367314"/>
                  <a:pt x="873792" y="369310"/>
                </a:cubicBezTo>
                <a:cubicBezTo>
                  <a:pt x="873792" y="369310"/>
                  <a:pt x="875785" y="369310"/>
                  <a:pt x="875785" y="369310"/>
                </a:cubicBezTo>
                <a:cubicBezTo>
                  <a:pt x="877778" y="367314"/>
                  <a:pt x="881764" y="371306"/>
                  <a:pt x="881764" y="371306"/>
                </a:cubicBezTo>
                <a:cubicBezTo>
                  <a:pt x="883756" y="371306"/>
                  <a:pt x="885749" y="371306"/>
                  <a:pt x="885749" y="375299"/>
                </a:cubicBezTo>
                <a:cubicBezTo>
                  <a:pt x="883756" y="377296"/>
                  <a:pt x="883756" y="379292"/>
                  <a:pt x="885749" y="381288"/>
                </a:cubicBezTo>
                <a:cubicBezTo>
                  <a:pt x="887742" y="383285"/>
                  <a:pt x="893720" y="385281"/>
                  <a:pt x="895713" y="385281"/>
                </a:cubicBezTo>
                <a:cubicBezTo>
                  <a:pt x="895713" y="385281"/>
                  <a:pt x="897706" y="385281"/>
                  <a:pt x="895713" y="387278"/>
                </a:cubicBezTo>
                <a:cubicBezTo>
                  <a:pt x="895713" y="389274"/>
                  <a:pt x="891728" y="387278"/>
                  <a:pt x="891728" y="387278"/>
                </a:cubicBezTo>
                <a:cubicBezTo>
                  <a:pt x="891728" y="387278"/>
                  <a:pt x="887742" y="387278"/>
                  <a:pt x="887742" y="389274"/>
                </a:cubicBezTo>
                <a:cubicBezTo>
                  <a:pt x="889735" y="391270"/>
                  <a:pt x="889735" y="393267"/>
                  <a:pt x="893720" y="393267"/>
                </a:cubicBezTo>
                <a:cubicBezTo>
                  <a:pt x="895713" y="393267"/>
                  <a:pt x="899699" y="391270"/>
                  <a:pt x="899699" y="391270"/>
                </a:cubicBezTo>
                <a:cubicBezTo>
                  <a:pt x="901692" y="393267"/>
                  <a:pt x="901692" y="399256"/>
                  <a:pt x="899699" y="399256"/>
                </a:cubicBezTo>
                <a:cubicBezTo>
                  <a:pt x="899699" y="401252"/>
                  <a:pt x="899699" y="401252"/>
                  <a:pt x="899699" y="403249"/>
                </a:cubicBezTo>
                <a:cubicBezTo>
                  <a:pt x="901692" y="405245"/>
                  <a:pt x="901692" y="409238"/>
                  <a:pt x="905677" y="407242"/>
                </a:cubicBezTo>
                <a:cubicBezTo>
                  <a:pt x="909663" y="407242"/>
                  <a:pt x="913649" y="399256"/>
                  <a:pt x="919627" y="401252"/>
                </a:cubicBezTo>
                <a:cubicBezTo>
                  <a:pt x="925606" y="401252"/>
                  <a:pt x="935570" y="405245"/>
                  <a:pt x="935570" y="405245"/>
                </a:cubicBezTo>
                <a:cubicBezTo>
                  <a:pt x="935570" y="405245"/>
                  <a:pt x="941548" y="405245"/>
                  <a:pt x="943541" y="405245"/>
                </a:cubicBezTo>
                <a:cubicBezTo>
                  <a:pt x="945534" y="405245"/>
                  <a:pt x="947527" y="405245"/>
                  <a:pt x="947527" y="405245"/>
                </a:cubicBezTo>
                <a:cubicBezTo>
                  <a:pt x="947527" y="405245"/>
                  <a:pt x="949520" y="407242"/>
                  <a:pt x="953505" y="403249"/>
                </a:cubicBezTo>
                <a:cubicBezTo>
                  <a:pt x="953505" y="401252"/>
                  <a:pt x="957491" y="401252"/>
                  <a:pt x="957491" y="401252"/>
                </a:cubicBezTo>
                <a:cubicBezTo>
                  <a:pt x="957491" y="401252"/>
                  <a:pt x="955498" y="401252"/>
                  <a:pt x="953505" y="399256"/>
                </a:cubicBezTo>
                <a:cubicBezTo>
                  <a:pt x="951512" y="399256"/>
                  <a:pt x="953505" y="395263"/>
                  <a:pt x="953505" y="395263"/>
                </a:cubicBezTo>
                <a:cubicBezTo>
                  <a:pt x="953505" y="395263"/>
                  <a:pt x="953505" y="391270"/>
                  <a:pt x="949520" y="393267"/>
                </a:cubicBezTo>
                <a:cubicBezTo>
                  <a:pt x="949520" y="395263"/>
                  <a:pt x="945534" y="395263"/>
                  <a:pt x="945534" y="391270"/>
                </a:cubicBezTo>
                <a:cubicBezTo>
                  <a:pt x="943541" y="389274"/>
                  <a:pt x="943541" y="389274"/>
                  <a:pt x="939555" y="389274"/>
                </a:cubicBezTo>
                <a:cubicBezTo>
                  <a:pt x="935570" y="389274"/>
                  <a:pt x="935570" y="389274"/>
                  <a:pt x="935570" y="383285"/>
                </a:cubicBezTo>
                <a:cubicBezTo>
                  <a:pt x="935570" y="379292"/>
                  <a:pt x="937563" y="385281"/>
                  <a:pt x="941548" y="383285"/>
                </a:cubicBezTo>
                <a:cubicBezTo>
                  <a:pt x="945534" y="381288"/>
                  <a:pt x="947527" y="379292"/>
                  <a:pt x="949520" y="379292"/>
                </a:cubicBezTo>
                <a:cubicBezTo>
                  <a:pt x="953505" y="379292"/>
                  <a:pt x="953505" y="375299"/>
                  <a:pt x="951512" y="375299"/>
                </a:cubicBezTo>
                <a:cubicBezTo>
                  <a:pt x="949520" y="375299"/>
                  <a:pt x="947527" y="377296"/>
                  <a:pt x="947527" y="377296"/>
                </a:cubicBezTo>
                <a:cubicBezTo>
                  <a:pt x="947527" y="377296"/>
                  <a:pt x="945534" y="375299"/>
                  <a:pt x="945534" y="375299"/>
                </a:cubicBezTo>
                <a:cubicBezTo>
                  <a:pt x="945534" y="373303"/>
                  <a:pt x="945534" y="371306"/>
                  <a:pt x="941548" y="371306"/>
                </a:cubicBezTo>
                <a:cubicBezTo>
                  <a:pt x="939555" y="373303"/>
                  <a:pt x="933577" y="373303"/>
                  <a:pt x="933577" y="371306"/>
                </a:cubicBezTo>
                <a:cubicBezTo>
                  <a:pt x="933577" y="367314"/>
                  <a:pt x="931584" y="365317"/>
                  <a:pt x="935570" y="361324"/>
                </a:cubicBezTo>
                <a:cubicBezTo>
                  <a:pt x="939555" y="361324"/>
                  <a:pt x="945534" y="357332"/>
                  <a:pt x="945534" y="357332"/>
                </a:cubicBezTo>
                <a:cubicBezTo>
                  <a:pt x="945534" y="357332"/>
                  <a:pt x="947527" y="357332"/>
                  <a:pt x="949520" y="353339"/>
                </a:cubicBezTo>
                <a:cubicBezTo>
                  <a:pt x="949520" y="351342"/>
                  <a:pt x="949520" y="347350"/>
                  <a:pt x="951512" y="349346"/>
                </a:cubicBezTo>
                <a:cubicBezTo>
                  <a:pt x="955498" y="349346"/>
                  <a:pt x="957491" y="349346"/>
                  <a:pt x="957491" y="347350"/>
                </a:cubicBezTo>
                <a:cubicBezTo>
                  <a:pt x="959484" y="345353"/>
                  <a:pt x="959484" y="343357"/>
                  <a:pt x="961476" y="343357"/>
                </a:cubicBezTo>
                <a:cubicBezTo>
                  <a:pt x="961476" y="341361"/>
                  <a:pt x="965462" y="341361"/>
                  <a:pt x="963469" y="339364"/>
                </a:cubicBezTo>
                <a:cubicBezTo>
                  <a:pt x="961476" y="337368"/>
                  <a:pt x="959484" y="337368"/>
                  <a:pt x="961476" y="335371"/>
                </a:cubicBezTo>
                <a:close/>
                <a:moveTo>
                  <a:pt x="844388" y="334962"/>
                </a:moveTo>
                <a:cubicBezTo>
                  <a:pt x="844388" y="334962"/>
                  <a:pt x="850404" y="337003"/>
                  <a:pt x="852409" y="337003"/>
                </a:cubicBezTo>
                <a:cubicBezTo>
                  <a:pt x="854414" y="337003"/>
                  <a:pt x="858425" y="337003"/>
                  <a:pt x="860430" y="334962"/>
                </a:cubicBezTo>
                <a:cubicBezTo>
                  <a:pt x="862435" y="334962"/>
                  <a:pt x="864441" y="337003"/>
                  <a:pt x="864441" y="337003"/>
                </a:cubicBezTo>
                <a:cubicBezTo>
                  <a:pt x="864441" y="337003"/>
                  <a:pt x="866446" y="339044"/>
                  <a:pt x="870457" y="339044"/>
                </a:cubicBezTo>
                <a:cubicBezTo>
                  <a:pt x="874467" y="339044"/>
                  <a:pt x="870457" y="345167"/>
                  <a:pt x="870457" y="345167"/>
                </a:cubicBezTo>
                <a:cubicBezTo>
                  <a:pt x="870457" y="345167"/>
                  <a:pt x="866446" y="349249"/>
                  <a:pt x="862435" y="347208"/>
                </a:cubicBezTo>
                <a:cubicBezTo>
                  <a:pt x="860430" y="345167"/>
                  <a:pt x="858425" y="345167"/>
                  <a:pt x="856420" y="347208"/>
                </a:cubicBezTo>
                <a:cubicBezTo>
                  <a:pt x="854414" y="349249"/>
                  <a:pt x="852409" y="347208"/>
                  <a:pt x="850404" y="345167"/>
                </a:cubicBezTo>
                <a:cubicBezTo>
                  <a:pt x="848399" y="343126"/>
                  <a:pt x="846393" y="345167"/>
                  <a:pt x="846393" y="345167"/>
                </a:cubicBezTo>
                <a:cubicBezTo>
                  <a:pt x="846393" y="345167"/>
                  <a:pt x="840378" y="345167"/>
                  <a:pt x="838372" y="343126"/>
                </a:cubicBezTo>
                <a:cubicBezTo>
                  <a:pt x="836367" y="341085"/>
                  <a:pt x="844388" y="334962"/>
                  <a:pt x="844388" y="334962"/>
                </a:cubicBezTo>
                <a:close/>
                <a:moveTo>
                  <a:pt x="1221072" y="331787"/>
                </a:moveTo>
                <a:cubicBezTo>
                  <a:pt x="1223188" y="331787"/>
                  <a:pt x="1225305" y="333904"/>
                  <a:pt x="1225305" y="336020"/>
                </a:cubicBezTo>
                <a:cubicBezTo>
                  <a:pt x="1225305" y="338137"/>
                  <a:pt x="1218955" y="338137"/>
                  <a:pt x="1218955" y="336020"/>
                </a:cubicBezTo>
                <a:cubicBezTo>
                  <a:pt x="1218955" y="333904"/>
                  <a:pt x="1221072" y="331787"/>
                  <a:pt x="1221072" y="331787"/>
                </a:cubicBezTo>
                <a:close/>
                <a:moveTo>
                  <a:pt x="1259588" y="327025"/>
                </a:moveTo>
                <a:cubicBezTo>
                  <a:pt x="1261583" y="329033"/>
                  <a:pt x="1263579" y="329033"/>
                  <a:pt x="1267569" y="329033"/>
                </a:cubicBezTo>
                <a:cubicBezTo>
                  <a:pt x="1269564" y="329033"/>
                  <a:pt x="1269564" y="331040"/>
                  <a:pt x="1271559" y="333048"/>
                </a:cubicBezTo>
                <a:cubicBezTo>
                  <a:pt x="1273555" y="337064"/>
                  <a:pt x="1277545" y="333048"/>
                  <a:pt x="1277545" y="333048"/>
                </a:cubicBezTo>
                <a:cubicBezTo>
                  <a:pt x="1277545" y="333048"/>
                  <a:pt x="1277545" y="333048"/>
                  <a:pt x="1281536" y="333048"/>
                </a:cubicBezTo>
                <a:cubicBezTo>
                  <a:pt x="1283531" y="333048"/>
                  <a:pt x="1283531" y="335056"/>
                  <a:pt x="1283531" y="335056"/>
                </a:cubicBezTo>
                <a:cubicBezTo>
                  <a:pt x="1283531" y="335056"/>
                  <a:pt x="1285526" y="335056"/>
                  <a:pt x="1287521" y="337064"/>
                </a:cubicBezTo>
                <a:cubicBezTo>
                  <a:pt x="1289516" y="337064"/>
                  <a:pt x="1289516" y="337064"/>
                  <a:pt x="1291512" y="337064"/>
                </a:cubicBezTo>
                <a:cubicBezTo>
                  <a:pt x="1295502" y="337064"/>
                  <a:pt x="1295502" y="339071"/>
                  <a:pt x="1295502" y="339071"/>
                </a:cubicBezTo>
                <a:cubicBezTo>
                  <a:pt x="1295502" y="341079"/>
                  <a:pt x="1297497" y="341079"/>
                  <a:pt x="1297497" y="339071"/>
                </a:cubicBezTo>
                <a:cubicBezTo>
                  <a:pt x="1299493" y="337064"/>
                  <a:pt x="1305478" y="341079"/>
                  <a:pt x="1305478" y="341079"/>
                </a:cubicBezTo>
                <a:cubicBezTo>
                  <a:pt x="1307473" y="341079"/>
                  <a:pt x="1313459" y="347102"/>
                  <a:pt x="1313459" y="349110"/>
                </a:cubicBezTo>
                <a:cubicBezTo>
                  <a:pt x="1313459" y="353125"/>
                  <a:pt x="1311464" y="353125"/>
                  <a:pt x="1309469" y="355133"/>
                </a:cubicBezTo>
                <a:cubicBezTo>
                  <a:pt x="1305478" y="355133"/>
                  <a:pt x="1305478" y="359148"/>
                  <a:pt x="1309469" y="361156"/>
                </a:cubicBezTo>
                <a:cubicBezTo>
                  <a:pt x="1311464" y="361156"/>
                  <a:pt x="1313459" y="357141"/>
                  <a:pt x="1315454" y="355133"/>
                </a:cubicBezTo>
                <a:cubicBezTo>
                  <a:pt x="1317450" y="353125"/>
                  <a:pt x="1323435" y="351118"/>
                  <a:pt x="1325430" y="353125"/>
                </a:cubicBezTo>
                <a:cubicBezTo>
                  <a:pt x="1329421" y="355133"/>
                  <a:pt x="1331416" y="355133"/>
                  <a:pt x="1335406" y="353125"/>
                </a:cubicBezTo>
                <a:cubicBezTo>
                  <a:pt x="1339397" y="353125"/>
                  <a:pt x="1343387" y="351118"/>
                  <a:pt x="1345383" y="349110"/>
                </a:cubicBezTo>
                <a:cubicBezTo>
                  <a:pt x="1347378" y="347102"/>
                  <a:pt x="1353363" y="349110"/>
                  <a:pt x="1355359" y="349110"/>
                </a:cubicBezTo>
                <a:cubicBezTo>
                  <a:pt x="1357354" y="349110"/>
                  <a:pt x="1359349" y="349110"/>
                  <a:pt x="1361344" y="349110"/>
                </a:cubicBezTo>
                <a:cubicBezTo>
                  <a:pt x="1363340" y="349110"/>
                  <a:pt x="1365335" y="353125"/>
                  <a:pt x="1367330" y="355133"/>
                </a:cubicBezTo>
                <a:cubicBezTo>
                  <a:pt x="1367330" y="355133"/>
                  <a:pt x="1369325" y="357141"/>
                  <a:pt x="1369325" y="359148"/>
                </a:cubicBezTo>
                <a:cubicBezTo>
                  <a:pt x="1371320" y="361156"/>
                  <a:pt x="1369325" y="363164"/>
                  <a:pt x="1365335" y="361156"/>
                </a:cubicBezTo>
                <a:cubicBezTo>
                  <a:pt x="1361344" y="359148"/>
                  <a:pt x="1357354" y="359148"/>
                  <a:pt x="1355359" y="359148"/>
                </a:cubicBezTo>
                <a:cubicBezTo>
                  <a:pt x="1353363" y="359148"/>
                  <a:pt x="1351368" y="361156"/>
                  <a:pt x="1351368" y="363164"/>
                </a:cubicBezTo>
                <a:cubicBezTo>
                  <a:pt x="1353363" y="365172"/>
                  <a:pt x="1357354" y="365172"/>
                  <a:pt x="1359349" y="365172"/>
                </a:cubicBezTo>
                <a:cubicBezTo>
                  <a:pt x="1363340" y="365172"/>
                  <a:pt x="1363340" y="365172"/>
                  <a:pt x="1365335" y="367179"/>
                </a:cubicBezTo>
                <a:cubicBezTo>
                  <a:pt x="1365335" y="367179"/>
                  <a:pt x="1367330" y="369187"/>
                  <a:pt x="1367330" y="367179"/>
                </a:cubicBezTo>
                <a:cubicBezTo>
                  <a:pt x="1369325" y="365172"/>
                  <a:pt x="1369325" y="365172"/>
                  <a:pt x="1371320" y="365172"/>
                </a:cubicBezTo>
                <a:cubicBezTo>
                  <a:pt x="1371320" y="367179"/>
                  <a:pt x="1373316" y="367179"/>
                  <a:pt x="1377306" y="367179"/>
                </a:cubicBezTo>
                <a:cubicBezTo>
                  <a:pt x="1379301" y="365172"/>
                  <a:pt x="1381297" y="371195"/>
                  <a:pt x="1383292" y="371195"/>
                </a:cubicBezTo>
                <a:cubicBezTo>
                  <a:pt x="1385287" y="371195"/>
                  <a:pt x="1387282" y="371195"/>
                  <a:pt x="1391273" y="371195"/>
                </a:cubicBezTo>
                <a:cubicBezTo>
                  <a:pt x="1393268" y="369187"/>
                  <a:pt x="1395263" y="373203"/>
                  <a:pt x="1395263" y="373203"/>
                </a:cubicBezTo>
                <a:cubicBezTo>
                  <a:pt x="1395263" y="373203"/>
                  <a:pt x="1395263" y="373203"/>
                  <a:pt x="1395263" y="377218"/>
                </a:cubicBezTo>
                <a:cubicBezTo>
                  <a:pt x="1397258" y="379226"/>
                  <a:pt x="1393268" y="379226"/>
                  <a:pt x="1391273" y="379226"/>
                </a:cubicBezTo>
                <a:cubicBezTo>
                  <a:pt x="1389277" y="379226"/>
                  <a:pt x="1381297" y="377218"/>
                  <a:pt x="1379301" y="377218"/>
                </a:cubicBezTo>
                <a:cubicBezTo>
                  <a:pt x="1377306" y="375210"/>
                  <a:pt x="1377306" y="377218"/>
                  <a:pt x="1375311" y="379226"/>
                </a:cubicBezTo>
                <a:cubicBezTo>
                  <a:pt x="1373316" y="379226"/>
                  <a:pt x="1369325" y="375210"/>
                  <a:pt x="1365335" y="375210"/>
                </a:cubicBezTo>
                <a:cubicBezTo>
                  <a:pt x="1363340" y="373203"/>
                  <a:pt x="1363340" y="375210"/>
                  <a:pt x="1359349" y="375210"/>
                </a:cubicBezTo>
                <a:cubicBezTo>
                  <a:pt x="1359349" y="377218"/>
                  <a:pt x="1359349" y="375210"/>
                  <a:pt x="1355359" y="375210"/>
                </a:cubicBezTo>
                <a:cubicBezTo>
                  <a:pt x="1353363" y="375210"/>
                  <a:pt x="1357354" y="379226"/>
                  <a:pt x="1357354" y="379226"/>
                </a:cubicBezTo>
                <a:cubicBezTo>
                  <a:pt x="1357354" y="381233"/>
                  <a:pt x="1355359" y="383241"/>
                  <a:pt x="1353363" y="383241"/>
                </a:cubicBezTo>
                <a:cubicBezTo>
                  <a:pt x="1351368" y="383241"/>
                  <a:pt x="1351368" y="383241"/>
                  <a:pt x="1351368" y="387257"/>
                </a:cubicBezTo>
                <a:cubicBezTo>
                  <a:pt x="1349373" y="389264"/>
                  <a:pt x="1351368" y="389264"/>
                  <a:pt x="1353363" y="391272"/>
                </a:cubicBezTo>
                <a:cubicBezTo>
                  <a:pt x="1357354" y="391272"/>
                  <a:pt x="1357354" y="391272"/>
                  <a:pt x="1359349" y="389264"/>
                </a:cubicBezTo>
                <a:cubicBezTo>
                  <a:pt x="1361344" y="387257"/>
                  <a:pt x="1363340" y="387257"/>
                  <a:pt x="1367330" y="387257"/>
                </a:cubicBezTo>
                <a:cubicBezTo>
                  <a:pt x="1371320" y="387257"/>
                  <a:pt x="1373316" y="385249"/>
                  <a:pt x="1375311" y="385249"/>
                </a:cubicBezTo>
                <a:cubicBezTo>
                  <a:pt x="1377306" y="385249"/>
                  <a:pt x="1381297" y="389264"/>
                  <a:pt x="1381297" y="391272"/>
                </a:cubicBezTo>
                <a:cubicBezTo>
                  <a:pt x="1383292" y="393280"/>
                  <a:pt x="1385287" y="393280"/>
                  <a:pt x="1385287" y="393280"/>
                </a:cubicBezTo>
                <a:cubicBezTo>
                  <a:pt x="1387282" y="395287"/>
                  <a:pt x="1391273" y="397295"/>
                  <a:pt x="1393268" y="399303"/>
                </a:cubicBezTo>
                <a:cubicBezTo>
                  <a:pt x="1393268" y="403318"/>
                  <a:pt x="1389277" y="401311"/>
                  <a:pt x="1387282" y="403318"/>
                </a:cubicBezTo>
                <a:cubicBezTo>
                  <a:pt x="1385287" y="403318"/>
                  <a:pt x="1383292" y="403318"/>
                  <a:pt x="1381297" y="403318"/>
                </a:cubicBezTo>
                <a:cubicBezTo>
                  <a:pt x="1379301" y="403318"/>
                  <a:pt x="1379301" y="405326"/>
                  <a:pt x="1379301" y="409341"/>
                </a:cubicBezTo>
                <a:cubicBezTo>
                  <a:pt x="1379301" y="411349"/>
                  <a:pt x="1385287" y="407334"/>
                  <a:pt x="1387282" y="407334"/>
                </a:cubicBezTo>
                <a:cubicBezTo>
                  <a:pt x="1389277" y="407334"/>
                  <a:pt x="1389277" y="413357"/>
                  <a:pt x="1389277" y="415365"/>
                </a:cubicBezTo>
                <a:cubicBezTo>
                  <a:pt x="1391273" y="417372"/>
                  <a:pt x="1391273" y="417372"/>
                  <a:pt x="1393268" y="417372"/>
                </a:cubicBezTo>
                <a:cubicBezTo>
                  <a:pt x="1395263" y="417372"/>
                  <a:pt x="1395263" y="413357"/>
                  <a:pt x="1395263" y="411349"/>
                </a:cubicBezTo>
                <a:cubicBezTo>
                  <a:pt x="1395263" y="407334"/>
                  <a:pt x="1399253" y="403318"/>
                  <a:pt x="1403244" y="403318"/>
                </a:cubicBezTo>
                <a:cubicBezTo>
                  <a:pt x="1405239" y="403318"/>
                  <a:pt x="1407234" y="409341"/>
                  <a:pt x="1409230" y="409341"/>
                </a:cubicBezTo>
                <a:cubicBezTo>
                  <a:pt x="1411225" y="409341"/>
                  <a:pt x="1409230" y="411349"/>
                  <a:pt x="1409230" y="411349"/>
                </a:cubicBezTo>
                <a:cubicBezTo>
                  <a:pt x="1409230" y="411349"/>
                  <a:pt x="1409230" y="411349"/>
                  <a:pt x="1411225" y="413357"/>
                </a:cubicBezTo>
                <a:cubicBezTo>
                  <a:pt x="1411225" y="413357"/>
                  <a:pt x="1413220" y="415365"/>
                  <a:pt x="1413220" y="413357"/>
                </a:cubicBezTo>
                <a:cubicBezTo>
                  <a:pt x="1413220" y="409341"/>
                  <a:pt x="1415215" y="409341"/>
                  <a:pt x="1419206" y="409341"/>
                </a:cubicBezTo>
                <a:cubicBezTo>
                  <a:pt x="1423196" y="409341"/>
                  <a:pt x="1419206" y="415365"/>
                  <a:pt x="1419206" y="415365"/>
                </a:cubicBezTo>
                <a:cubicBezTo>
                  <a:pt x="1419206" y="415365"/>
                  <a:pt x="1421201" y="415365"/>
                  <a:pt x="1421201" y="413357"/>
                </a:cubicBezTo>
                <a:cubicBezTo>
                  <a:pt x="1423196" y="413357"/>
                  <a:pt x="1423196" y="413357"/>
                  <a:pt x="1425191" y="411349"/>
                </a:cubicBezTo>
                <a:cubicBezTo>
                  <a:pt x="1427187" y="409341"/>
                  <a:pt x="1427187" y="407334"/>
                  <a:pt x="1427187" y="405326"/>
                </a:cubicBezTo>
                <a:cubicBezTo>
                  <a:pt x="1427187" y="403318"/>
                  <a:pt x="1427187" y="403318"/>
                  <a:pt x="1429182" y="403318"/>
                </a:cubicBezTo>
                <a:cubicBezTo>
                  <a:pt x="1431177" y="403318"/>
                  <a:pt x="1433172" y="411349"/>
                  <a:pt x="1433172" y="411349"/>
                </a:cubicBezTo>
                <a:cubicBezTo>
                  <a:pt x="1433172" y="411349"/>
                  <a:pt x="1439158" y="411349"/>
                  <a:pt x="1441153" y="409341"/>
                </a:cubicBezTo>
                <a:cubicBezTo>
                  <a:pt x="1443148" y="409341"/>
                  <a:pt x="1449134" y="409341"/>
                  <a:pt x="1449134" y="413357"/>
                </a:cubicBezTo>
                <a:cubicBezTo>
                  <a:pt x="1449134" y="415365"/>
                  <a:pt x="1445144" y="415365"/>
                  <a:pt x="1445144" y="417372"/>
                </a:cubicBezTo>
                <a:cubicBezTo>
                  <a:pt x="1445144" y="421388"/>
                  <a:pt x="1447139" y="419380"/>
                  <a:pt x="1449134" y="419380"/>
                </a:cubicBezTo>
                <a:cubicBezTo>
                  <a:pt x="1453124" y="417372"/>
                  <a:pt x="1453124" y="417372"/>
                  <a:pt x="1455120" y="417372"/>
                </a:cubicBezTo>
                <a:cubicBezTo>
                  <a:pt x="1457115" y="417372"/>
                  <a:pt x="1461105" y="419380"/>
                  <a:pt x="1463100" y="417372"/>
                </a:cubicBezTo>
                <a:cubicBezTo>
                  <a:pt x="1463100" y="415365"/>
                  <a:pt x="1463100" y="415365"/>
                  <a:pt x="1459110" y="413357"/>
                </a:cubicBezTo>
                <a:cubicBezTo>
                  <a:pt x="1457115" y="411349"/>
                  <a:pt x="1457115" y="409341"/>
                  <a:pt x="1459110" y="407334"/>
                </a:cubicBezTo>
                <a:cubicBezTo>
                  <a:pt x="1461105" y="403318"/>
                  <a:pt x="1467091" y="405326"/>
                  <a:pt x="1469086" y="405326"/>
                </a:cubicBezTo>
                <a:cubicBezTo>
                  <a:pt x="1471081" y="407334"/>
                  <a:pt x="1475072" y="409341"/>
                  <a:pt x="1477067" y="407334"/>
                </a:cubicBezTo>
                <a:cubicBezTo>
                  <a:pt x="1477067" y="405326"/>
                  <a:pt x="1481057" y="403318"/>
                  <a:pt x="1483053" y="403318"/>
                </a:cubicBezTo>
                <a:cubicBezTo>
                  <a:pt x="1485048" y="403318"/>
                  <a:pt x="1487043" y="403318"/>
                  <a:pt x="1487043" y="401311"/>
                </a:cubicBezTo>
                <a:cubicBezTo>
                  <a:pt x="1487043" y="399303"/>
                  <a:pt x="1491034" y="401311"/>
                  <a:pt x="1491034" y="401311"/>
                </a:cubicBezTo>
                <a:cubicBezTo>
                  <a:pt x="1493029" y="401311"/>
                  <a:pt x="1493029" y="399303"/>
                  <a:pt x="1495024" y="397295"/>
                </a:cubicBezTo>
                <a:cubicBezTo>
                  <a:pt x="1497019" y="395287"/>
                  <a:pt x="1499014" y="395287"/>
                  <a:pt x="1499014" y="395287"/>
                </a:cubicBezTo>
                <a:cubicBezTo>
                  <a:pt x="1499014" y="395287"/>
                  <a:pt x="1503005" y="397295"/>
                  <a:pt x="1505000" y="395287"/>
                </a:cubicBezTo>
                <a:cubicBezTo>
                  <a:pt x="1506995" y="393280"/>
                  <a:pt x="1512981" y="393280"/>
                  <a:pt x="1518967" y="395287"/>
                </a:cubicBezTo>
                <a:cubicBezTo>
                  <a:pt x="1522957" y="397295"/>
                  <a:pt x="1524952" y="395287"/>
                  <a:pt x="1536924" y="393280"/>
                </a:cubicBezTo>
                <a:cubicBezTo>
                  <a:pt x="1546900" y="391272"/>
                  <a:pt x="1548895" y="393280"/>
                  <a:pt x="1550890" y="395287"/>
                </a:cubicBezTo>
                <a:cubicBezTo>
                  <a:pt x="1554881" y="397295"/>
                  <a:pt x="1558871" y="395287"/>
                  <a:pt x="1560866" y="393280"/>
                </a:cubicBezTo>
                <a:cubicBezTo>
                  <a:pt x="1560866" y="391272"/>
                  <a:pt x="1562861" y="391272"/>
                  <a:pt x="1566852" y="391272"/>
                </a:cubicBezTo>
                <a:cubicBezTo>
                  <a:pt x="1572838" y="389264"/>
                  <a:pt x="1572838" y="395287"/>
                  <a:pt x="1572838" y="397295"/>
                </a:cubicBezTo>
                <a:cubicBezTo>
                  <a:pt x="1574833" y="399303"/>
                  <a:pt x="1580818" y="399303"/>
                  <a:pt x="1582814" y="397295"/>
                </a:cubicBezTo>
                <a:cubicBezTo>
                  <a:pt x="1582814" y="395287"/>
                  <a:pt x="1584809" y="397295"/>
                  <a:pt x="1584809" y="397295"/>
                </a:cubicBezTo>
                <a:cubicBezTo>
                  <a:pt x="1584809" y="397295"/>
                  <a:pt x="1584809" y="399303"/>
                  <a:pt x="1586804" y="397295"/>
                </a:cubicBezTo>
                <a:cubicBezTo>
                  <a:pt x="1588799" y="395287"/>
                  <a:pt x="1592790" y="397295"/>
                  <a:pt x="1592790" y="401311"/>
                </a:cubicBezTo>
                <a:cubicBezTo>
                  <a:pt x="1592790" y="403318"/>
                  <a:pt x="1592790" y="403318"/>
                  <a:pt x="1592790" y="403318"/>
                </a:cubicBezTo>
                <a:cubicBezTo>
                  <a:pt x="1594785" y="403318"/>
                  <a:pt x="1596780" y="411349"/>
                  <a:pt x="1594785" y="413357"/>
                </a:cubicBezTo>
                <a:cubicBezTo>
                  <a:pt x="1592790" y="413357"/>
                  <a:pt x="1594785" y="415365"/>
                  <a:pt x="1594785" y="415365"/>
                </a:cubicBezTo>
                <a:cubicBezTo>
                  <a:pt x="1594785" y="415365"/>
                  <a:pt x="1596780" y="417372"/>
                  <a:pt x="1594785" y="421388"/>
                </a:cubicBezTo>
                <a:cubicBezTo>
                  <a:pt x="1592790" y="423396"/>
                  <a:pt x="1586804" y="425403"/>
                  <a:pt x="1584809" y="425403"/>
                </a:cubicBezTo>
                <a:cubicBezTo>
                  <a:pt x="1582814" y="427411"/>
                  <a:pt x="1580818" y="429419"/>
                  <a:pt x="1580818" y="431426"/>
                </a:cubicBezTo>
                <a:cubicBezTo>
                  <a:pt x="1580818" y="435442"/>
                  <a:pt x="1584809" y="433434"/>
                  <a:pt x="1588799" y="431426"/>
                </a:cubicBezTo>
                <a:cubicBezTo>
                  <a:pt x="1590794" y="429419"/>
                  <a:pt x="1588799" y="431426"/>
                  <a:pt x="1590794" y="429419"/>
                </a:cubicBezTo>
                <a:cubicBezTo>
                  <a:pt x="1592790" y="425403"/>
                  <a:pt x="1594785" y="431426"/>
                  <a:pt x="1592790" y="433434"/>
                </a:cubicBezTo>
                <a:cubicBezTo>
                  <a:pt x="1592790" y="437450"/>
                  <a:pt x="1590794" y="443473"/>
                  <a:pt x="1588799" y="443473"/>
                </a:cubicBezTo>
                <a:cubicBezTo>
                  <a:pt x="1586804" y="445480"/>
                  <a:pt x="1586804" y="445480"/>
                  <a:pt x="1584809" y="445480"/>
                </a:cubicBezTo>
                <a:cubicBezTo>
                  <a:pt x="1582814" y="445480"/>
                  <a:pt x="1582814" y="443473"/>
                  <a:pt x="1582814" y="441465"/>
                </a:cubicBezTo>
                <a:cubicBezTo>
                  <a:pt x="1582814" y="439457"/>
                  <a:pt x="1582814" y="439457"/>
                  <a:pt x="1580818" y="439457"/>
                </a:cubicBezTo>
                <a:cubicBezTo>
                  <a:pt x="1578823" y="439457"/>
                  <a:pt x="1578823" y="441465"/>
                  <a:pt x="1578823" y="443473"/>
                </a:cubicBezTo>
                <a:cubicBezTo>
                  <a:pt x="1578823" y="445480"/>
                  <a:pt x="1580818" y="447488"/>
                  <a:pt x="1582814" y="447488"/>
                </a:cubicBezTo>
                <a:cubicBezTo>
                  <a:pt x="1584809" y="447488"/>
                  <a:pt x="1580818" y="449496"/>
                  <a:pt x="1578823" y="451504"/>
                </a:cubicBezTo>
                <a:cubicBezTo>
                  <a:pt x="1578823" y="453511"/>
                  <a:pt x="1576828" y="455519"/>
                  <a:pt x="1574833" y="453511"/>
                </a:cubicBezTo>
                <a:cubicBezTo>
                  <a:pt x="1572838" y="451504"/>
                  <a:pt x="1572838" y="453511"/>
                  <a:pt x="1568847" y="455519"/>
                </a:cubicBezTo>
                <a:cubicBezTo>
                  <a:pt x="1564857" y="457527"/>
                  <a:pt x="1562861" y="455519"/>
                  <a:pt x="1560866" y="453511"/>
                </a:cubicBezTo>
                <a:cubicBezTo>
                  <a:pt x="1558871" y="451504"/>
                  <a:pt x="1552885" y="455519"/>
                  <a:pt x="1548895" y="459534"/>
                </a:cubicBezTo>
                <a:cubicBezTo>
                  <a:pt x="1544904" y="461542"/>
                  <a:pt x="1540914" y="461542"/>
                  <a:pt x="1536924" y="459534"/>
                </a:cubicBezTo>
                <a:cubicBezTo>
                  <a:pt x="1530938" y="457527"/>
                  <a:pt x="1530938" y="459534"/>
                  <a:pt x="1526947" y="461542"/>
                </a:cubicBezTo>
                <a:cubicBezTo>
                  <a:pt x="1522957" y="463550"/>
                  <a:pt x="1518967" y="461542"/>
                  <a:pt x="1516971" y="459534"/>
                </a:cubicBezTo>
                <a:cubicBezTo>
                  <a:pt x="1514976" y="457527"/>
                  <a:pt x="1512981" y="453511"/>
                  <a:pt x="1514976" y="449496"/>
                </a:cubicBezTo>
                <a:cubicBezTo>
                  <a:pt x="1516971" y="447488"/>
                  <a:pt x="1518967" y="445480"/>
                  <a:pt x="1518967" y="445480"/>
                </a:cubicBezTo>
                <a:cubicBezTo>
                  <a:pt x="1518967" y="445480"/>
                  <a:pt x="1516971" y="443473"/>
                  <a:pt x="1516971" y="443473"/>
                </a:cubicBezTo>
                <a:cubicBezTo>
                  <a:pt x="1514976" y="441465"/>
                  <a:pt x="1514976" y="439457"/>
                  <a:pt x="1510986" y="439457"/>
                </a:cubicBezTo>
                <a:cubicBezTo>
                  <a:pt x="1506995" y="441465"/>
                  <a:pt x="1512981" y="445480"/>
                  <a:pt x="1512981" y="445480"/>
                </a:cubicBezTo>
                <a:cubicBezTo>
                  <a:pt x="1512981" y="445480"/>
                  <a:pt x="1512981" y="447488"/>
                  <a:pt x="1510986" y="449496"/>
                </a:cubicBezTo>
                <a:cubicBezTo>
                  <a:pt x="1508991" y="451504"/>
                  <a:pt x="1508991" y="453511"/>
                  <a:pt x="1508991" y="455519"/>
                </a:cubicBezTo>
                <a:cubicBezTo>
                  <a:pt x="1506995" y="457527"/>
                  <a:pt x="1503005" y="457527"/>
                  <a:pt x="1501010" y="457527"/>
                </a:cubicBezTo>
                <a:cubicBezTo>
                  <a:pt x="1501010" y="457527"/>
                  <a:pt x="1497019" y="455519"/>
                  <a:pt x="1493029" y="457527"/>
                </a:cubicBezTo>
                <a:cubicBezTo>
                  <a:pt x="1491034" y="459534"/>
                  <a:pt x="1487043" y="459534"/>
                  <a:pt x="1483053" y="457527"/>
                </a:cubicBezTo>
                <a:cubicBezTo>
                  <a:pt x="1481057" y="455519"/>
                  <a:pt x="1479062" y="457527"/>
                  <a:pt x="1475072" y="459534"/>
                </a:cubicBezTo>
                <a:cubicBezTo>
                  <a:pt x="1471081" y="459534"/>
                  <a:pt x="1473077" y="455519"/>
                  <a:pt x="1473077" y="455519"/>
                </a:cubicBezTo>
                <a:cubicBezTo>
                  <a:pt x="1473077" y="453511"/>
                  <a:pt x="1473077" y="453511"/>
                  <a:pt x="1471081" y="453511"/>
                </a:cubicBezTo>
                <a:cubicBezTo>
                  <a:pt x="1467091" y="453511"/>
                  <a:pt x="1467091" y="457527"/>
                  <a:pt x="1467091" y="457527"/>
                </a:cubicBezTo>
                <a:cubicBezTo>
                  <a:pt x="1467091" y="457527"/>
                  <a:pt x="1467091" y="459534"/>
                  <a:pt x="1463100" y="459534"/>
                </a:cubicBezTo>
                <a:cubicBezTo>
                  <a:pt x="1461105" y="459534"/>
                  <a:pt x="1461105" y="455519"/>
                  <a:pt x="1461105" y="455519"/>
                </a:cubicBezTo>
                <a:cubicBezTo>
                  <a:pt x="1461105" y="455519"/>
                  <a:pt x="1463100" y="453511"/>
                  <a:pt x="1461105" y="451504"/>
                </a:cubicBezTo>
                <a:cubicBezTo>
                  <a:pt x="1457115" y="447488"/>
                  <a:pt x="1459110" y="453511"/>
                  <a:pt x="1459110" y="453511"/>
                </a:cubicBezTo>
                <a:cubicBezTo>
                  <a:pt x="1459110" y="453511"/>
                  <a:pt x="1459110" y="457527"/>
                  <a:pt x="1459110" y="459534"/>
                </a:cubicBezTo>
                <a:cubicBezTo>
                  <a:pt x="1459110" y="461542"/>
                  <a:pt x="1449134" y="463550"/>
                  <a:pt x="1447139" y="463550"/>
                </a:cubicBezTo>
                <a:cubicBezTo>
                  <a:pt x="1445144" y="463550"/>
                  <a:pt x="1445144" y="459534"/>
                  <a:pt x="1445144" y="457527"/>
                </a:cubicBezTo>
                <a:cubicBezTo>
                  <a:pt x="1445144" y="455519"/>
                  <a:pt x="1443148" y="457527"/>
                  <a:pt x="1441153" y="459534"/>
                </a:cubicBezTo>
                <a:cubicBezTo>
                  <a:pt x="1439158" y="461542"/>
                  <a:pt x="1437163" y="459534"/>
                  <a:pt x="1437163" y="459534"/>
                </a:cubicBezTo>
                <a:cubicBezTo>
                  <a:pt x="1437163" y="459534"/>
                  <a:pt x="1435167" y="455519"/>
                  <a:pt x="1433172" y="455519"/>
                </a:cubicBezTo>
                <a:cubicBezTo>
                  <a:pt x="1431177" y="455519"/>
                  <a:pt x="1433172" y="457527"/>
                  <a:pt x="1433172" y="459534"/>
                </a:cubicBezTo>
                <a:cubicBezTo>
                  <a:pt x="1433172" y="459534"/>
                  <a:pt x="1433172" y="461542"/>
                  <a:pt x="1429182" y="461542"/>
                </a:cubicBezTo>
                <a:cubicBezTo>
                  <a:pt x="1427187" y="459534"/>
                  <a:pt x="1427187" y="461542"/>
                  <a:pt x="1425191" y="463550"/>
                </a:cubicBezTo>
                <a:cubicBezTo>
                  <a:pt x="1425191" y="463550"/>
                  <a:pt x="1421201" y="461542"/>
                  <a:pt x="1421201" y="461542"/>
                </a:cubicBezTo>
                <a:cubicBezTo>
                  <a:pt x="1421201" y="461542"/>
                  <a:pt x="1417210" y="461542"/>
                  <a:pt x="1417210" y="461542"/>
                </a:cubicBezTo>
                <a:cubicBezTo>
                  <a:pt x="1417210" y="463550"/>
                  <a:pt x="1415215" y="463550"/>
                  <a:pt x="1413220" y="463550"/>
                </a:cubicBezTo>
                <a:cubicBezTo>
                  <a:pt x="1409230" y="461542"/>
                  <a:pt x="1407234" y="459534"/>
                  <a:pt x="1407234" y="461542"/>
                </a:cubicBezTo>
                <a:cubicBezTo>
                  <a:pt x="1405239" y="463550"/>
                  <a:pt x="1401249" y="461542"/>
                  <a:pt x="1401249" y="461542"/>
                </a:cubicBezTo>
                <a:cubicBezTo>
                  <a:pt x="1401249" y="461542"/>
                  <a:pt x="1397258" y="459534"/>
                  <a:pt x="1397258" y="459534"/>
                </a:cubicBezTo>
                <a:cubicBezTo>
                  <a:pt x="1395263" y="461542"/>
                  <a:pt x="1393268" y="459534"/>
                  <a:pt x="1391273" y="457527"/>
                </a:cubicBezTo>
                <a:cubicBezTo>
                  <a:pt x="1389277" y="455519"/>
                  <a:pt x="1389277" y="451504"/>
                  <a:pt x="1391273" y="449496"/>
                </a:cubicBezTo>
                <a:cubicBezTo>
                  <a:pt x="1393268" y="447488"/>
                  <a:pt x="1395263" y="445480"/>
                  <a:pt x="1393268" y="445480"/>
                </a:cubicBezTo>
                <a:cubicBezTo>
                  <a:pt x="1389277" y="445480"/>
                  <a:pt x="1389277" y="447488"/>
                  <a:pt x="1387282" y="449496"/>
                </a:cubicBezTo>
                <a:cubicBezTo>
                  <a:pt x="1383292" y="451504"/>
                  <a:pt x="1385287" y="449496"/>
                  <a:pt x="1381297" y="449496"/>
                </a:cubicBezTo>
                <a:cubicBezTo>
                  <a:pt x="1379301" y="447488"/>
                  <a:pt x="1381297" y="451504"/>
                  <a:pt x="1381297" y="455519"/>
                </a:cubicBezTo>
                <a:cubicBezTo>
                  <a:pt x="1381297" y="457527"/>
                  <a:pt x="1375311" y="457527"/>
                  <a:pt x="1373316" y="455519"/>
                </a:cubicBezTo>
                <a:cubicBezTo>
                  <a:pt x="1371320" y="455519"/>
                  <a:pt x="1367330" y="455519"/>
                  <a:pt x="1363340" y="455519"/>
                </a:cubicBezTo>
                <a:cubicBezTo>
                  <a:pt x="1361344" y="457527"/>
                  <a:pt x="1359349" y="457527"/>
                  <a:pt x="1359349" y="455519"/>
                </a:cubicBezTo>
                <a:cubicBezTo>
                  <a:pt x="1357354" y="451504"/>
                  <a:pt x="1355359" y="451504"/>
                  <a:pt x="1351368" y="451504"/>
                </a:cubicBezTo>
                <a:cubicBezTo>
                  <a:pt x="1349373" y="447488"/>
                  <a:pt x="1349373" y="447488"/>
                  <a:pt x="1345383" y="447488"/>
                </a:cubicBezTo>
                <a:cubicBezTo>
                  <a:pt x="1341392" y="447488"/>
                  <a:pt x="1341392" y="445480"/>
                  <a:pt x="1341392" y="443473"/>
                </a:cubicBezTo>
                <a:cubicBezTo>
                  <a:pt x="1339397" y="443473"/>
                  <a:pt x="1339397" y="445480"/>
                  <a:pt x="1339397" y="447488"/>
                </a:cubicBezTo>
                <a:cubicBezTo>
                  <a:pt x="1339397" y="449496"/>
                  <a:pt x="1339397" y="449496"/>
                  <a:pt x="1335406" y="451504"/>
                </a:cubicBezTo>
                <a:cubicBezTo>
                  <a:pt x="1331416" y="453511"/>
                  <a:pt x="1327426" y="451504"/>
                  <a:pt x="1325430" y="447488"/>
                </a:cubicBezTo>
                <a:cubicBezTo>
                  <a:pt x="1323435" y="445480"/>
                  <a:pt x="1323435" y="445480"/>
                  <a:pt x="1319445" y="443473"/>
                </a:cubicBezTo>
                <a:cubicBezTo>
                  <a:pt x="1317450" y="443473"/>
                  <a:pt x="1317450" y="437450"/>
                  <a:pt x="1317450" y="435442"/>
                </a:cubicBezTo>
                <a:cubicBezTo>
                  <a:pt x="1317450" y="431426"/>
                  <a:pt x="1319445" y="431426"/>
                  <a:pt x="1321440" y="429419"/>
                </a:cubicBezTo>
                <a:cubicBezTo>
                  <a:pt x="1321440" y="427411"/>
                  <a:pt x="1319445" y="425403"/>
                  <a:pt x="1313459" y="425403"/>
                </a:cubicBezTo>
                <a:cubicBezTo>
                  <a:pt x="1309469" y="425403"/>
                  <a:pt x="1311464" y="421388"/>
                  <a:pt x="1313459" y="419380"/>
                </a:cubicBezTo>
                <a:cubicBezTo>
                  <a:pt x="1313459" y="417372"/>
                  <a:pt x="1313459" y="415365"/>
                  <a:pt x="1313459" y="413357"/>
                </a:cubicBezTo>
                <a:cubicBezTo>
                  <a:pt x="1313459" y="409341"/>
                  <a:pt x="1313459" y="407334"/>
                  <a:pt x="1317450" y="407334"/>
                </a:cubicBezTo>
                <a:cubicBezTo>
                  <a:pt x="1321440" y="405326"/>
                  <a:pt x="1321440" y="403318"/>
                  <a:pt x="1321440" y="403318"/>
                </a:cubicBezTo>
                <a:cubicBezTo>
                  <a:pt x="1321440" y="403318"/>
                  <a:pt x="1325430" y="401311"/>
                  <a:pt x="1323435" y="399303"/>
                </a:cubicBezTo>
                <a:cubicBezTo>
                  <a:pt x="1323435" y="397295"/>
                  <a:pt x="1323435" y="393280"/>
                  <a:pt x="1321440" y="391272"/>
                </a:cubicBezTo>
                <a:cubicBezTo>
                  <a:pt x="1321440" y="387257"/>
                  <a:pt x="1317450" y="387257"/>
                  <a:pt x="1317450" y="383241"/>
                </a:cubicBezTo>
                <a:cubicBezTo>
                  <a:pt x="1315454" y="381233"/>
                  <a:pt x="1315454" y="377218"/>
                  <a:pt x="1315454" y="375210"/>
                </a:cubicBezTo>
                <a:cubicBezTo>
                  <a:pt x="1315454" y="373203"/>
                  <a:pt x="1315454" y="371195"/>
                  <a:pt x="1315454" y="371195"/>
                </a:cubicBezTo>
                <a:cubicBezTo>
                  <a:pt x="1313459" y="371195"/>
                  <a:pt x="1311464" y="371195"/>
                  <a:pt x="1307473" y="369187"/>
                </a:cubicBezTo>
                <a:cubicBezTo>
                  <a:pt x="1303483" y="367179"/>
                  <a:pt x="1303483" y="371195"/>
                  <a:pt x="1303483" y="373203"/>
                </a:cubicBezTo>
                <a:cubicBezTo>
                  <a:pt x="1301488" y="375210"/>
                  <a:pt x="1299493" y="375210"/>
                  <a:pt x="1297497" y="373203"/>
                </a:cubicBezTo>
                <a:cubicBezTo>
                  <a:pt x="1293507" y="369187"/>
                  <a:pt x="1291512" y="371195"/>
                  <a:pt x="1291512" y="371195"/>
                </a:cubicBezTo>
                <a:cubicBezTo>
                  <a:pt x="1291512" y="371195"/>
                  <a:pt x="1287521" y="373203"/>
                  <a:pt x="1285526" y="371195"/>
                </a:cubicBezTo>
                <a:cubicBezTo>
                  <a:pt x="1283531" y="371195"/>
                  <a:pt x="1281536" y="371195"/>
                  <a:pt x="1281536" y="371195"/>
                </a:cubicBezTo>
                <a:cubicBezTo>
                  <a:pt x="1279540" y="373203"/>
                  <a:pt x="1277545" y="375210"/>
                  <a:pt x="1275550" y="371195"/>
                </a:cubicBezTo>
                <a:cubicBezTo>
                  <a:pt x="1273555" y="369187"/>
                  <a:pt x="1273555" y="371195"/>
                  <a:pt x="1269564" y="371195"/>
                </a:cubicBezTo>
                <a:cubicBezTo>
                  <a:pt x="1267569" y="371195"/>
                  <a:pt x="1267569" y="375210"/>
                  <a:pt x="1267569" y="377218"/>
                </a:cubicBezTo>
                <a:cubicBezTo>
                  <a:pt x="1267569" y="381233"/>
                  <a:pt x="1265574" y="381233"/>
                  <a:pt x="1263579" y="379226"/>
                </a:cubicBezTo>
                <a:cubicBezTo>
                  <a:pt x="1263579" y="377218"/>
                  <a:pt x="1263579" y="377218"/>
                  <a:pt x="1261583" y="375210"/>
                </a:cubicBezTo>
                <a:cubicBezTo>
                  <a:pt x="1261583" y="371195"/>
                  <a:pt x="1259588" y="369187"/>
                  <a:pt x="1261583" y="367179"/>
                </a:cubicBezTo>
                <a:cubicBezTo>
                  <a:pt x="1263579" y="365172"/>
                  <a:pt x="1257593" y="365172"/>
                  <a:pt x="1257593" y="365172"/>
                </a:cubicBezTo>
                <a:cubicBezTo>
                  <a:pt x="1257593" y="365172"/>
                  <a:pt x="1249612" y="365172"/>
                  <a:pt x="1249612" y="361156"/>
                </a:cubicBezTo>
                <a:cubicBezTo>
                  <a:pt x="1247617" y="357141"/>
                  <a:pt x="1249612" y="357141"/>
                  <a:pt x="1249612" y="357141"/>
                </a:cubicBezTo>
                <a:cubicBezTo>
                  <a:pt x="1249612" y="357141"/>
                  <a:pt x="1251607" y="357141"/>
                  <a:pt x="1251607" y="355133"/>
                </a:cubicBezTo>
                <a:cubicBezTo>
                  <a:pt x="1251607" y="353125"/>
                  <a:pt x="1247617" y="353125"/>
                  <a:pt x="1243626" y="353125"/>
                </a:cubicBezTo>
                <a:cubicBezTo>
                  <a:pt x="1239636" y="355133"/>
                  <a:pt x="1235646" y="353125"/>
                  <a:pt x="1233650" y="353125"/>
                </a:cubicBezTo>
                <a:cubicBezTo>
                  <a:pt x="1233650" y="351118"/>
                  <a:pt x="1231655" y="349110"/>
                  <a:pt x="1233650" y="347102"/>
                </a:cubicBezTo>
                <a:cubicBezTo>
                  <a:pt x="1233650" y="343087"/>
                  <a:pt x="1239636" y="349110"/>
                  <a:pt x="1239636" y="351118"/>
                </a:cubicBezTo>
                <a:cubicBezTo>
                  <a:pt x="1241631" y="351118"/>
                  <a:pt x="1243626" y="347102"/>
                  <a:pt x="1245622" y="347102"/>
                </a:cubicBezTo>
                <a:cubicBezTo>
                  <a:pt x="1245622" y="345094"/>
                  <a:pt x="1239636" y="345094"/>
                  <a:pt x="1237641" y="345094"/>
                </a:cubicBezTo>
                <a:cubicBezTo>
                  <a:pt x="1235646" y="345094"/>
                  <a:pt x="1231655" y="341079"/>
                  <a:pt x="1231655" y="339071"/>
                </a:cubicBezTo>
                <a:cubicBezTo>
                  <a:pt x="1231655" y="335056"/>
                  <a:pt x="1233650" y="335056"/>
                  <a:pt x="1233650" y="335056"/>
                </a:cubicBezTo>
                <a:cubicBezTo>
                  <a:pt x="1233650" y="335056"/>
                  <a:pt x="1237641" y="335056"/>
                  <a:pt x="1241631" y="337064"/>
                </a:cubicBezTo>
                <a:cubicBezTo>
                  <a:pt x="1243626" y="339071"/>
                  <a:pt x="1245622" y="335056"/>
                  <a:pt x="1247617" y="333048"/>
                </a:cubicBezTo>
                <a:cubicBezTo>
                  <a:pt x="1249612" y="331040"/>
                  <a:pt x="1253603" y="331040"/>
                  <a:pt x="1253603" y="331040"/>
                </a:cubicBezTo>
                <a:cubicBezTo>
                  <a:pt x="1255598" y="329033"/>
                  <a:pt x="1257593" y="327025"/>
                  <a:pt x="1259588" y="327025"/>
                </a:cubicBezTo>
                <a:close/>
                <a:moveTo>
                  <a:pt x="1085152" y="323850"/>
                </a:moveTo>
                <a:cubicBezTo>
                  <a:pt x="1087193" y="323850"/>
                  <a:pt x="1085152" y="327660"/>
                  <a:pt x="1083111" y="329565"/>
                </a:cubicBezTo>
                <a:cubicBezTo>
                  <a:pt x="1081070" y="333375"/>
                  <a:pt x="1076987" y="333375"/>
                  <a:pt x="1074946" y="329565"/>
                </a:cubicBezTo>
                <a:cubicBezTo>
                  <a:pt x="1072905" y="327660"/>
                  <a:pt x="1079029" y="325755"/>
                  <a:pt x="1079029" y="325755"/>
                </a:cubicBezTo>
                <a:cubicBezTo>
                  <a:pt x="1079029" y="325755"/>
                  <a:pt x="1083111" y="323850"/>
                  <a:pt x="1085152" y="323850"/>
                </a:cubicBezTo>
                <a:close/>
                <a:moveTo>
                  <a:pt x="1777632" y="314326"/>
                </a:moveTo>
                <a:cubicBezTo>
                  <a:pt x="1777632" y="314326"/>
                  <a:pt x="1781784" y="316231"/>
                  <a:pt x="1783860" y="316231"/>
                </a:cubicBezTo>
                <a:cubicBezTo>
                  <a:pt x="1785936" y="316231"/>
                  <a:pt x="1785936" y="316231"/>
                  <a:pt x="1788012" y="318136"/>
                </a:cubicBezTo>
                <a:cubicBezTo>
                  <a:pt x="1790088" y="318136"/>
                  <a:pt x="1792164" y="320041"/>
                  <a:pt x="1792164" y="318136"/>
                </a:cubicBezTo>
                <a:cubicBezTo>
                  <a:pt x="1794240" y="318136"/>
                  <a:pt x="1794240" y="316231"/>
                  <a:pt x="1796316" y="318136"/>
                </a:cubicBezTo>
                <a:cubicBezTo>
                  <a:pt x="1798392" y="318136"/>
                  <a:pt x="1796316" y="320041"/>
                  <a:pt x="1796316" y="321946"/>
                </a:cubicBezTo>
                <a:cubicBezTo>
                  <a:pt x="1796316" y="321946"/>
                  <a:pt x="1792164" y="323851"/>
                  <a:pt x="1792164" y="323851"/>
                </a:cubicBezTo>
                <a:cubicBezTo>
                  <a:pt x="1790088" y="323851"/>
                  <a:pt x="1785936" y="323851"/>
                  <a:pt x="1783860" y="323851"/>
                </a:cubicBezTo>
                <a:cubicBezTo>
                  <a:pt x="1781784" y="321946"/>
                  <a:pt x="1779708" y="321946"/>
                  <a:pt x="1779708" y="321946"/>
                </a:cubicBezTo>
                <a:cubicBezTo>
                  <a:pt x="1777632" y="321946"/>
                  <a:pt x="1775556" y="320041"/>
                  <a:pt x="1775556" y="320041"/>
                </a:cubicBezTo>
                <a:cubicBezTo>
                  <a:pt x="1775556" y="320041"/>
                  <a:pt x="1773480" y="318136"/>
                  <a:pt x="1771404" y="316231"/>
                </a:cubicBezTo>
                <a:cubicBezTo>
                  <a:pt x="1771404" y="316231"/>
                  <a:pt x="1775556" y="314326"/>
                  <a:pt x="1777632" y="314326"/>
                </a:cubicBezTo>
                <a:close/>
                <a:moveTo>
                  <a:pt x="1764102" y="313268"/>
                </a:moveTo>
                <a:cubicBezTo>
                  <a:pt x="1766007" y="311151"/>
                  <a:pt x="1767912" y="311151"/>
                  <a:pt x="1767912" y="313268"/>
                </a:cubicBezTo>
                <a:cubicBezTo>
                  <a:pt x="1769817" y="317501"/>
                  <a:pt x="1760292" y="317501"/>
                  <a:pt x="1764102" y="313268"/>
                </a:cubicBezTo>
                <a:close/>
                <a:moveTo>
                  <a:pt x="1801990" y="309828"/>
                </a:moveTo>
                <a:cubicBezTo>
                  <a:pt x="1804001" y="307976"/>
                  <a:pt x="1808023" y="309828"/>
                  <a:pt x="1808023" y="311680"/>
                </a:cubicBezTo>
                <a:cubicBezTo>
                  <a:pt x="1812044" y="311680"/>
                  <a:pt x="1814055" y="311680"/>
                  <a:pt x="1816066" y="311680"/>
                </a:cubicBezTo>
                <a:cubicBezTo>
                  <a:pt x="1816066" y="309828"/>
                  <a:pt x="1818077" y="309828"/>
                  <a:pt x="1820088" y="311680"/>
                </a:cubicBezTo>
                <a:cubicBezTo>
                  <a:pt x="1820088" y="311680"/>
                  <a:pt x="1822099" y="311680"/>
                  <a:pt x="1824110" y="311680"/>
                </a:cubicBezTo>
                <a:cubicBezTo>
                  <a:pt x="1826120" y="311680"/>
                  <a:pt x="1828131" y="311680"/>
                  <a:pt x="1830142" y="313532"/>
                </a:cubicBezTo>
                <a:cubicBezTo>
                  <a:pt x="1830142" y="315384"/>
                  <a:pt x="1830142" y="317236"/>
                  <a:pt x="1830142" y="317236"/>
                </a:cubicBezTo>
                <a:cubicBezTo>
                  <a:pt x="1828131" y="319088"/>
                  <a:pt x="1824110" y="319088"/>
                  <a:pt x="1824110" y="317236"/>
                </a:cubicBezTo>
                <a:cubicBezTo>
                  <a:pt x="1822099" y="317236"/>
                  <a:pt x="1822099" y="315384"/>
                  <a:pt x="1820088" y="315384"/>
                </a:cubicBezTo>
                <a:cubicBezTo>
                  <a:pt x="1818077" y="315384"/>
                  <a:pt x="1816066" y="315384"/>
                  <a:pt x="1814055" y="317236"/>
                </a:cubicBezTo>
                <a:cubicBezTo>
                  <a:pt x="1812044" y="317236"/>
                  <a:pt x="1810033" y="317236"/>
                  <a:pt x="1810033" y="317236"/>
                </a:cubicBezTo>
                <a:cubicBezTo>
                  <a:pt x="1808023" y="317236"/>
                  <a:pt x="1804001" y="315384"/>
                  <a:pt x="1804001" y="315384"/>
                </a:cubicBezTo>
                <a:cubicBezTo>
                  <a:pt x="1801990" y="313532"/>
                  <a:pt x="1799979" y="311680"/>
                  <a:pt x="1801990" y="309828"/>
                </a:cubicBezTo>
                <a:close/>
                <a:moveTo>
                  <a:pt x="1373049" y="306387"/>
                </a:moveTo>
                <a:cubicBezTo>
                  <a:pt x="1377070" y="306387"/>
                  <a:pt x="1381092" y="308292"/>
                  <a:pt x="1381092" y="308292"/>
                </a:cubicBezTo>
                <a:cubicBezTo>
                  <a:pt x="1381092" y="308292"/>
                  <a:pt x="1383103" y="310197"/>
                  <a:pt x="1385114" y="308292"/>
                </a:cubicBezTo>
                <a:cubicBezTo>
                  <a:pt x="1389136" y="306387"/>
                  <a:pt x="1393157" y="312102"/>
                  <a:pt x="1393157" y="312102"/>
                </a:cubicBezTo>
                <a:cubicBezTo>
                  <a:pt x="1393157" y="312102"/>
                  <a:pt x="1395168" y="312102"/>
                  <a:pt x="1395168" y="315912"/>
                </a:cubicBezTo>
                <a:cubicBezTo>
                  <a:pt x="1393157" y="319722"/>
                  <a:pt x="1393157" y="319722"/>
                  <a:pt x="1393157" y="319722"/>
                </a:cubicBezTo>
                <a:cubicBezTo>
                  <a:pt x="1393157" y="319722"/>
                  <a:pt x="1393157" y="321627"/>
                  <a:pt x="1393157" y="323532"/>
                </a:cubicBezTo>
                <a:cubicBezTo>
                  <a:pt x="1393157" y="323532"/>
                  <a:pt x="1393157" y="325437"/>
                  <a:pt x="1389136" y="325437"/>
                </a:cubicBezTo>
                <a:cubicBezTo>
                  <a:pt x="1387125" y="325437"/>
                  <a:pt x="1389136" y="325437"/>
                  <a:pt x="1385114" y="325437"/>
                </a:cubicBezTo>
                <a:cubicBezTo>
                  <a:pt x="1383103" y="323532"/>
                  <a:pt x="1381092" y="325437"/>
                  <a:pt x="1381092" y="323532"/>
                </a:cubicBezTo>
                <a:cubicBezTo>
                  <a:pt x="1379081" y="321627"/>
                  <a:pt x="1377070" y="319722"/>
                  <a:pt x="1375059" y="319722"/>
                </a:cubicBezTo>
                <a:cubicBezTo>
                  <a:pt x="1373049" y="319722"/>
                  <a:pt x="1371038" y="319722"/>
                  <a:pt x="1371038" y="321627"/>
                </a:cubicBezTo>
                <a:cubicBezTo>
                  <a:pt x="1371038" y="323532"/>
                  <a:pt x="1371038" y="325437"/>
                  <a:pt x="1367016" y="325437"/>
                </a:cubicBezTo>
                <a:cubicBezTo>
                  <a:pt x="1365005" y="325437"/>
                  <a:pt x="1365005" y="323532"/>
                  <a:pt x="1367016" y="321627"/>
                </a:cubicBezTo>
                <a:cubicBezTo>
                  <a:pt x="1369027" y="317817"/>
                  <a:pt x="1371038" y="317817"/>
                  <a:pt x="1371038" y="315912"/>
                </a:cubicBezTo>
                <a:cubicBezTo>
                  <a:pt x="1371038" y="315912"/>
                  <a:pt x="1371038" y="312102"/>
                  <a:pt x="1371038" y="312102"/>
                </a:cubicBezTo>
                <a:cubicBezTo>
                  <a:pt x="1371038" y="312102"/>
                  <a:pt x="1369027" y="308292"/>
                  <a:pt x="1373049" y="306387"/>
                </a:cubicBezTo>
                <a:close/>
                <a:moveTo>
                  <a:pt x="815972" y="304727"/>
                </a:moveTo>
                <a:cubicBezTo>
                  <a:pt x="817728" y="304727"/>
                  <a:pt x="819734" y="305232"/>
                  <a:pt x="820737" y="307253"/>
                </a:cubicBezTo>
                <a:cubicBezTo>
                  <a:pt x="822743" y="311294"/>
                  <a:pt x="820737" y="311294"/>
                  <a:pt x="822743" y="311294"/>
                </a:cubicBezTo>
                <a:cubicBezTo>
                  <a:pt x="826755" y="311294"/>
                  <a:pt x="826755" y="311294"/>
                  <a:pt x="826755" y="311294"/>
                </a:cubicBezTo>
                <a:cubicBezTo>
                  <a:pt x="826755" y="311294"/>
                  <a:pt x="826755" y="313314"/>
                  <a:pt x="830768" y="313314"/>
                </a:cubicBezTo>
                <a:cubicBezTo>
                  <a:pt x="834780" y="315335"/>
                  <a:pt x="832774" y="321396"/>
                  <a:pt x="830768" y="321396"/>
                </a:cubicBezTo>
                <a:cubicBezTo>
                  <a:pt x="828762" y="321396"/>
                  <a:pt x="824749" y="321396"/>
                  <a:pt x="824749" y="323416"/>
                </a:cubicBezTo>
                <a:cubicBezTo>
                  <a:pt x="824749" y="325437"/>
                  <a:pt x="820737" y="323416"/>
                  <a:pt x="820737" y="323416"/>
                </a:cubicBezTo>
                <a:cubicBezTo>
                  <a:pt x="820737" y="323416"/>
                  <a:pt x="816724" y="323416"/>
                  <a:pt x="814718" y="327457"/>
                </a:cubicBezTo>
                <a:cubicBezTo>
                  <a:pt x="814718" y="331498"/>
                  <a:pt x="812712" y="331498"/>
                  <a:pt x="814718" y="333519"/>
                </a:cubicBezTo>
                <a:cubicBezTo>
                  <a:pt x="816724" y="337560"/>
                  <a:pt x="820737" y="339580"/>
                  <a:pt x="816724" y="341601"/>
                </a:cubicBezTo>
                <a:cubicBezTo>
                  <a:pt x="814718" y="343621"/>
                  <a:pt x="812712" y="341601"/>
                  <a:pt x="812712" y="341601"/>
                </a:cubicBezTo>
                <a:cubicBezTo>
                  <a:pt x="812712" y="341601"/>
                  <a:pt x="806693" y="339580"/>
                  <a:pt x="806693" y="343621"/>
                </a:cubicBezTo>
                <a:cubicBezTo>
                  <a:pt x="806693" y="345641"/>
                  <a:pt x="808700" y="345641"/>
                  <a:pt x="810706" y="347662"/>
                </a:cubicBezTo>
                <a:cubicBezTo>
                  <a:pt x="812712" y="347662"/>
                  <a:pt x="808700" y="349682"/>
                  <a:pt x="806693" y="349682"/>
                </a:cubicBezTo>
                <a:cubicBezTo>
                  <a:pt x="804687" y="349682"/>
                  <a:pt x="802681" y="353723"/>
                  <a:pt x="802681" y="353723"/>
                </a:cubicBezTo>
                <a:cubicBezTo>
                  <a:pt x="802681" y="353723"/>
                  <a:pt x="796663" y="353723"/>
                  <a:pt x="794656" y="353723"/>
                </a:cubicBezTo>
                <a:cubicBezTo>
                  <a:pt x="792650" y="353723"/>
                  <a:pt x="794656" y="351703"/>
                  <a:pt x="792650" y="351703"/>
                </a:cubicBezTo>
                <a:cubicBezTo>
                  <a:pt x="790644" y="351703"/>
                  <a:pt x="784625" y="355744"/>
                  <a:pt x="784625" y="355744"/>
                </a:cubicBezTo>
                <a:cubicBezTo>
                  <a:pt x="784625" y="355744"/>
                  <a:pt x="780613" y="361805"/>
                  <a:pt x="778607" y="365846"/>
                </a:cubicBezTo>
                <a:cubicBezTo>
                  <a:pt x="778607" y="367866"/>
                  <a:pt x="776601" y="369887"/>
                  <a:pt x="774594" y="369887"/>
                </a:cubicBezTo>
                <a:cubicBezTo>
                  <a:pt x="770582" y="369887"/>
                  <a:pt x="768576" y="369887"/>
                  <a:pt x="768576" y="369887"/>
                </a:cubicBezTo>
                <a:cubicBezTo>
                  <a:pt x="766570" y="363826"/>
                  <a:pt x="766570" y="363826"/>
                  <a:pt x="766570" y="363826"/>
                </a:cubicBezTo>
                <a:cubicBezTo>
                  <a:pt x="766570" y="363826"/>
                  <a:pt x="760551" y="359785"/>
                  <a:pt x="760551" y="359785"/>
                </a:cubicBezTo>
                <a:cubicBezTo>
                  <a:pt x="758545" y="359785"/>
                  <a:pt x="758545" y="353723"/>
                  <a:pt x="762557" y="353723"/>
                </a:cubicBezTo>
                <a:cubicBezTo>
                  <a:pt x="764564" y="353723"/>
                  <a:pt x="764564" y="353723"/>
                  <a:pt x="764564" y="351703"/>
                </a:cubicBezTo>
                <a:cubicBezTo>
                  <a:pt x="764564" y="347662"/>
                  <a:pt x="764564" y="347662"/>
                  <a:pt x="764564" y="347662"/>
                </a:cubicBezTo>
                <a:cubicBezTo>
                  <a:pt x="766570" y="347662"/>
                  <a:pt x="764564" y="343621"/>
                  <a:pt x="764564" y="343621"/>
                </a:cubicBezTo>
                <a:cubicBezTo>
                  <a:pt x="762557" y="343621"/>
                  <a:pt x="762557" y="347662"/>
                  <a:pt x="760551" y="347662"/>
                </a:cubicBezTo>
                <a:cubicBezTo>
                  <a:pt x="756539" y="347662"/>
                  <a:pt x="756539" y="347662"/>
                  <a:pt x="756539" y="351703"/>
                </a:cubicBezTo>
                <a:cubicBezTo>
                  <a:pt x="756539" y="355744"/>
                  <a:pt x="758545" y="357764"/>
                  <a:pt x="754533" y="357764"/>
                </a:cubicBezTo>
                <a:cubicBezTo>
                  <a:pt x="750520" y="357764"/>
                  <a:pt x="748514" y="353723"/>
                  <a:pt x="748514" y="361805"/>
                </a:cubicBezTo>
                <a:cubicBezTo>
                  <a:pt x="748514" y="367866"/>
                  <a:pt x="748514" y="367866"/>
                  <a:pt x="744502" y="367866"/>
                </a:cubicBezTo>
                <a:cubicBezTo>
                  <a:pt x="738483" y="367866"/>
                  <a:pt x="738483" y="371907"/>
                  <a:pt x="738483" y="371907"/>
                </a:cubicBezTo>
                <a:cubicBezTo>
                  <a:pt x="738483" y="375948"/>
                  <a:pt x="736477" y="375948"/>
                  <a:pt x="732465" y="375948"/>
                </a:cubicBezTo>
                <a:cubicBezTo>
                  <a:pt x="728452" y="375948"/>
                  <a:pt x="730458" y="373928"/>
                  <a:pt x="726446" y="373928"/>
                </a:cubicBezTo>
                <a:cubicBezTo>
                  <a:pt x="724440" y="373928"/>
                  <a:pt x="724440" y="379989"/>
                  <a:pt x="724440" y="379989"/>
                </a:cubicBezTo>
                <a:cubicBezTo>
                  <a:pt x="724440" y="379989"/>
                  <a:pt x="726446" y="384030"/>
                  <a:pt x="722434" y="384030"/>
                </a:cubicBezTo>
                <a:cubicBezTo>
                  <a:pt x="720427" y="386051"/>
                  <a:pt x="718421" y="386051"/>
                  <a:pt x="718421" y="388071"/>
                </a:cubicBezTo>
                <a:cubicBezTo>
                  <a:pt x="716415" y="388071"/>
                  <a:pt x="714409" y="390091"/>
                  <a:pt x="714409" y="390091"/>
                </a:cubicBezTo>
                <a:cubicBezTo>
                  <a:pt x="714409" y="390091"/>
                  <a:pt x="712403" y="392112"/>
                  <a:pt x="710396" y="392112"/>
                </a:cubicBezTo>
                <a:cubicBezTo>
                  <a:pt x="706384" y="392112"/>
                  <a:pt x="706384" y="390091"/>
                  <a:pt x="704378" y="390091"/>
                </a:cubicBezTo>
                <a:cubicBezTo>
                  <a:pt x="702372" y="392112"/>
                  <a:pt x="702372" y="392112"/>
                  <a:pt x="700366" y="388071"/>
                </a:cubicBezTo>
                <a:cubicBezTo>
                  <a:pt x="700366" y="386051"/>
                  <a:pt x="700366" y="384030"/>
                  <a:pt x="700366" y="382010"/>
                </a:cubicBezTo>
                <a:cubicBezTo>
                  <a:pt x="698359" y="379989"/>
                  <a:pt x="698359" y="377969"/>
                  <a:pt x="700366" y="375948"/>
                </a:cubicBezTo>
                <a:cubicBezTo>
                  <a:pt x="702372" y="371907"/>
                  <a:pt x="700366" y="369887"/>
                  <a:pt x="698359" y="369887"/>
                </a:cubicBezTo>
                <a:cubicBezTo>
                  <a:pt x="696353" y="369887"/>
                  <a:pt x="694347" y="371907"/>
                  <a:pt x="694347" y="373928"/>
                </a:cubicBezTo>
                <a:cubicBezTo>
                  <a:pt x="692341" y="375948"/>
                  <a:pt x="694347" y="375948"/>
                  <a:pt x="692341" y="375948"/>
                </a:cubicBezTo>
                <a:cubicBezTo>
                  <a:pt x="690335" y="377969"/>
                  <a:pt x="690335" y="377969"/>
                  <a:pt x="692341" y="379989"/>
                </a:cubicBezTo>
                <a:cubicBezTo>
                  <a:pt x="696353" y="382010"/>
                  <a:pt x="694347" y="384030"/>
                  <a:pt x="692341" y="386051"/>
                </a:cubicBezTo>
                <a:cubicBezTo>
                  <a:pt x="690335" y="388071"/>
                  <a:pt x="684316" y="388071"/>
                  <a:pt x="682310" y="384030"/>
                </a:cubicBezTo>
                <a:cubicBezTo>
                  <a:pt x="678297" y="379989"/>
                  <a:pt x="674285" y="379989"/>
                  <a:pt x="674285" y="379989"/>
                </a:cubicBezTo>
                <a:cubicBezTo>
                  <a:pt x="674285" y="379989"/>
                  <a:pt x="670273" y="375948"/>
                  <a:pt x="672279" y="382010"/>
                </a:cubicBezTo>
                <a:cubicBezTo>
                  <a:pt x="672279" y="386051"/>
                  <a:pt x="672279" y="386051"/>
                  <a:pt x="668267" y="386051"/>
                </a:cubicBezTo>
                <a:cubicBezTo>
                  <a:pt x="666260" y="386051"/>
                  <a:pt x="666260" y="384030"/>
                  <a:pt x="666260" y="384030"/>
                </a:cubicBezTo>
                <a:cubicBezTo>
                  <a:pt x="666260" y="384030"/>
                  <a:pt x="662248" y="390091"/>
                  <a:pt x="658236" y="388071"/>
                </a:cubicBezTo>
                <a:cubicBezTo>
                  <a:pt x="652217" y="386051"/>
                  <a:pt x="652217" y="379989"/>
                  <a:pt x="656229" y="379989"/>
                </a:cubicBezTo>
                <a:cubicBezTo>
                  <a:pt x="658236" y="379989"/>
                  <a:pt x="660242" y="377969"/>
                  <a:pt x="658236" y="373928"/>
                </a:cubicBezTo>
                <a:cubicBezTo>
                  <a:pt x="658236" y="373928"/>
                  <a:pt x="656229" y="371907"/>
                  <a:pt x="658236" y="369887"/>
                </a:cubicBezTo>
                <a:cubicBezTo>
                  <a:pt x="662248" y="365846"/>
                  <a:pt x="664254" y="369887"/>
                  <a:pt x="666260" y="363826"/>
                </a:cubicBezTo>
                <a:cubicBezTo>
                  <a:pt x="668267" y="359785"/>
                  <a:pt x="676291" y="359785"/>
                  <a:pt x="678297" y="361805"/>
                </a:cubicBezTo>
                <a:cubicBezTo>
                  <a:pt x="678297" y="363826"/>
                  <a:pt x="684316" y="365846"/>
                  <a:pt x="684316" y="363826"/>
                </a:cubicBezTo>
                <a:cubicBezTo>
                  <a:pt x="684316" y="361805"/>
                  <a:pt x="688328" y="363826"/>
                  <a:pt x="688328" y="363826"/>
                </a:cubicBezTo>
                <a:cubicBezTo>
                  <a:pt x="688328" y="363826"/>
                  <a:pt x="690335" y="363826"/>
                  <a:pt x="690335" y="361805"/>
                </a:cubicBezTo>
                <a:cubicBezTo>
                  <a:pt x="690335" y="357764"/>
                  <a:pt x="690335" y="353723"/>
                  <a:pt x="694347" y="353723"/>
                </a:cubicBezTo>
                <a:cubicBezTo>
                  <a:pt x="700366" y="351703"/>
                  <a:pt x="704378" y="347662"/>
                  <a:pt x="704378" y="347662"/>
                </a:cubicBezTo>
                <a:cubicBezTo>
                  <a:pt x="704378" y="347662"/>
                  <a:pt x="708390" y="343621"/>
                  <a:pt x="710396" y="345641"/>
                </a:cubicBezTo>
                <a:cubicBezTo>
                  <a:pt x="712403" y="347662"/>
                  <a:pt x="716415" y="343621"/>
                  <a:pt x="718421" y="341601"/>
                </a:cubicBezTo>
                <a:cubicBezTo>
                  <a:pt x="720427" y="337560"/>
                  <a:pt x="722434" y="337560"/>
                  <a:pt x="722434" y="337560"/>
                </a:cubicBezTo>
                <a:cubicBezTo>
                  <a:pt x="722434" y="337560"/>
                  <a:pt x="724440" y="333519"/>
                  <a:pt x="724440" y="333519"/>
                </a:cubicBezTo>
                <a:cubicBezTo>
                  <a:pt x="724440" y="331498"/>
                  <a:pt x="726446" y="327457"/>
                  <a:pt x="728452" y="327457"/>
                </a:cubicBezTo>
                <a:cubicBezTo>
                  <a:pt x="732465" y="327457"/>
                  <a:pt x="732465" y="329478"/>
                  <a:pt x="734471" y="327457"/>
                </a:cubicBezTo>
                <a:cubicBezTo>
                  <a:pt x="734471" y="327457"/>
                  <a:pt x="746508" y="317355"/>
                  <a:pt x="750520" y="315335"/>
                </a:cubicBezTo>
                <a:cubicBezTo>
                  <a:pt x="754533" y="311294"/>
                  <a:pt x="764564" y="311294"/>
                  <a:pt x="766570" y="313314"/>
                </a:cubicBezTo>
                <a:cubicBezTo>
                  <a:pt x="770582" y="315335"/>
                  <a:pt x="774594" y="313314"/>
                  <a:pt x="774594" y="313314"/>
                </a:cubicBezTo>
                <a:cubicBezTo>
                  <a:pt x="774594" y="313314"/>
                  <a:pt x="780613" y="309273"/>
                  <a:pt x="780613" y="311294"/>
                </a:cubicBezTo>
                <a:cubicBezTo>
                  <a:pt x="784625" y="315335"/>
                  <a:pt x="786632" y="315335"/>
                  <a:pt x="786632" y="315335"/>
                </a:cubicBezTo>
                <a:cubicBezTo>
                  <a:pt x="786632" y="315335"/>
                  <a:pt x="788638" y="315335"/>
                  <a:pt x="790644" y="315335"/>
                </a:cubicBezTo>
                <a:cubicBezTo>
                  <a:pt x="790644" y="317355"/>
                  <a:pt x="794656" y="317355"/>
                  <a:pt x="796663" y="315335"/>
                </a:cubicBezTo>
                <a:cubicBezTo>
                  <a:pt x="796663" y="311294"/>
                  <a:pt x="800675" y="315335"/>
                  <a:pt x="800675" y="315335"/>
                </a:cubicBezTo>
                <a:cubicBezTo>
                  <a:pt x="800675" y="315335"/>
                  <a:pt x="802681" y="319376"/>
                  <a:pt x="802681" y="317355"/>
                </a:cubicBezTo>
                <a:cubicBezTo>
                  <a:pt x="804687" y="315335"/>
                  <a:pt x="802681" y="315335"/>
                  <a:pt x="802681" y="313314"/>
                </a:cubicBezTo>
                <a:cubicBezTo>
                  <a:pt x="800675" y="313314"/>
                  <a:pt x="798669" y="309273"/>
                  <a:pt x="802681" y="307253"/>
                </a:cubicBezTo>
                <a:cubicBezTo>
                  <a:pt x="806693" y="305232"/>
                  <a:pt x="806693" y="305232"/>
                  <a:pt x="806693" y="307253"/>
                </a:cubicBezTo>
                <a:cubicBezTo>
                  <a:pt x="806693" y="309273"/>
                  <a:pt x="812712" y="305232"/>
                  <a:pt x="812712" y="305232"/>
                </a:cubicBezTo>
                <a:cubicBezTo>
                  <a:pt x="812712" y="305232"/>
                  <a:pt x="814217" y="304727"/>
                  <a:pt x="815972" y="304727"/>
                </a:cubicBezTo>
                <a:close/>
                <a:moveTo>
                  <a:pt x="1279280" y="297259"/>
                </a:moveTo>
                <a:cubicBezTo>
                  <a:pt x="1281301" y="297259"/>
                  <a:pt x="1281301" y="299244"/>
                  <a:pt x="1281301" y="299244"/>
                </a:cubicBezTo>
                <a:cubicBezTo>
                  <a:pt x="1281301" y="299244"/>
                  <a:pt x="1285341" y="299244"/>
                  <a:pt x="1289382" y="299244"/>
                </a:cubicBezTo>
                <a:cubicBezTo>
                  <a:pt x="1293423" y="299244"/>
                  <a:pt x="1299485" y="299244"/>
                  <a:pt x="1299485" y="299244"/>
                </a:cubicBezTo>
                <a:cubicBezTo>
                  <a:pt x="1299485" y="299244"/>
                  <a:pt x="1305546" y="299244"/>
                  <a:pt x="1307566" y="299244"/>
                </a:cubicBezTo>
                <a:cubicBezTo>
                  <a:pt x="1309587" y="301228"/>
                  <a:pt x="1313628" y="301228"/>
                  <a:pt x="1317669" y="299244"/>
                </a:cubicBezTo>
                <a:cubicBezTo>
                  <a:pt x="1319689" y="295275"/>
                  <a:pt x="1323730" y="301228"/>
                  <a:pt x="1321710" y="303212"/>
                </a:cubicBezTo>
                <a:cubicBezTo>
                  <a:pt x="1321710" y="307181"/>
                  <a:pt x="1319689" y="307181"/>
                  <a:pt x="1317669" y="311150"/>
                </a:cubicBezTo>
                <a:cubicBezTo>
                  <a:pt x="1315648" y="315118"/>
                  <a:pt x="1315648" y="315118"/>
                  <a:pt x="1315648" y="317103"/>
                </a:cubicBezTo>
                <a:cubicBezTo>
                  <a:pt x="1313628" y="319087"/>
                  <a:pt x="1309587" y="317103"/>
                  <a:pt x="1309587" y="315118"/>
                </a:cubicBezTo>
                <a:cubicBezTo>
                  <a:pt x="1307566" y="315118"/>
                  <a:pt x="1305546" y="317103"/>
                  <a:pt x="1303526" y="317103"/>
                </a:cubicBezTo>
                <a:cubicBezTo>
                  <a:pt x="1299485" y="317103"/>
                  <a:pt x="1297464" y="315118"/>
                  <a:pt x="1297464" y="313134"/>
                </a:cubicBezTo>
                <a:cubicBezTo>
                  <a:pt x="1295444" y="311150"/>
                  <a:pt x="1291403" y="313134"/>
                  <a:pt x="1291403" y="313134"/>
                </a:cubicBezTo>
                <a:cubicBezTo>
                  <a:pt x="1289382" y="315118"/>
                  <a:pt x="1283321" y="315118"/>
                  <a:pt x="1281301" y="313134"/>
                </a:cubicBezTo>
                <a:cubicBezTo>
                  <a:pt x="1279280" y="311150"/>
                  <a:pt x="1277260" y="313134"/>
                  <a:pt x="1277260" y="313134"/>
                </a:cubicBezTo>
                <a:cubicBezTo>
                  <a:pt x="1275239" y="315118"/>
                  <a:pt x="1273219" y="313134"/>
                  <a:pt x="1271198" y="313134"/>
                </a:cubicBezTo>
                <a:cubicBezTo>
                  <a:pt x="1271198" y="311150"/>
                  <a:pt x="1267157" y="313134"/>
                  <a:pt x="1263116" y="315118"/>
                </a:cubicBezTo>
                <a:cubicBezTo>
                  <a:pt x="1259076" y="315118"/>
                  <a:pt x="1257055" y="315118"/>
                  <a:pt x="1257055" y="309165"/>
                </a:cubicBezTo>
                <a:cubicBezTo>
                  <a:pt x="1257055" y="305197"/>
                  <a:pt x="1259076" y="305197"/>
                  <a:pt x="1259076" y="305197"/>
                </a:cubicBezTo>
                <a:cubicBezTo>
                  <a:pt x="1259076" y="305197"/>
                  <a:pt x="1261096" y="303212"/>
                  <a:pt x="1263116" y="303212"/>
                </a:cubicBezTo>
                <a:cubicBezTo>
                  <a:pt x="1263116" y="303212"/>
                  <a:pt x="1263116" y="303212"/>
                  <a:pt x="1263116" y="301228"/>
                </a:cubicBezTo>
                <a:cubicBezTo>
                  <a:pt x="1263116" y="299244"/>
                  <a:pt x="1267157" y="299244"/>
                  <a:pt x="1269178" y="299244"/>
                </a:cubicBezTo>
                <a:cubicBezTo>
                  <a:pt x="1273219" y="301228"/>
                  <a:pt x="1275239" y="299244"/>
                  <a:pt x="1275239" y="299244"/>
                </a:cubicBezTo>
                <a:cubicBezTo>
                  <a:pt x="1275239" y="299244"/>
                  <a:pt x="1277260" y="299244"/>
                  <a:pt x="1279280" y="297259"/>
                </a:cubicBezTo>
                <a:close/>
                <a:moveTo>
                  <a:pt x="1048299" y="293687"/>
                </a:moveTo>
                <a:cubicBezTo>
                  <a:pt x="1048299" y="293687"/>
                  <a:pt x="1048299" y="293687"/>
                  <a:pt x="1052268" y="293687"/>
                </a:cubicBezTo>
                <a:cubicBezTo>
                  <a:pt x="1056236" y="293687"/>
                  <a:pt x="1058221" y="299570"/>
                  <a:pt x="1064174" y="301531"/>
                </a:cubicBezTo>
                <a:cubicBezTo>
                  <a:pt x="1068143" y="303492"/>
                  <a:pt x="1068143" y="307414"/>
                  <a:pt x="1068143" y="307414"/>
                </a:cubicBezTo>
                <a:cubicBezTo>
                  <a:pt x="1068143" y="309375"/>
                  <a:pt x="1068143" y="313297"/>
                  <a:pt x="1072111" y="313297"/>
                </a:cubicBezTo>
                <a:cubicBezTo>
                  <a:pt x="1076080" y="313297"/>
                  <a:pt x="1076080" y="319180"/>
                  <a:pt x="1076080" y="323102"/>
                </a:cubicBezTo>
                <a:cubicBezTo>
                  <a:pt x="1074096" y="327024"/>
                  <a:pt x="1066158" y="325063"/>
                  <a:pt x="1064174" y="323102"/>
                </a:cubicBezTo>
                <a:cubicBezTo>
                  <a:pt x="1060205" y="323102"/>
                  <a:pt x="1060205" y="321141"/>
                  <a:pt x="1060205" y="319180"/>
                </a:cubicBezTo>
                <a:cubicBezTo>
                  <a:pt x="1060205" y="315258"/>
                  <a:pt x="1058221" y="313297"/>
                  <a:pt x="1056236" y="313297"/>
                </a:cubicBezTo>
                <a:cubicBezTo>
                  <a:pt x="1052268" y="313297"/>
                  <a:pt x="1052268" y="309375"/>
                  <a:pt x="1052268" y="305453"/>
                </a:cubicBezTo>
                <a:cubicBezTo>
                  <a:pt x="1052268" y="301531"/>
                  <a:pt x="1048299" y="303492"/>
                  <a:pt x="1046314" y="299570"/>
                </a:cubicBezTo>
                <a:cubicBezTo>
                  <a:pt x="1044330" y="297609"/>
                  <a:pt x="1048299" y="293687"/>
                  <a:pt x="1048299" y="293687"/>
                </a:cubicBezTo>
                <a:close/>
                <a:moveTo>
                  <a:pt x="1141565" y="286146"/>
                </a:moveTo>
                <a:cubicBezTo>
                  <a:pt x="1145533" y="286146"/>
                  <a:pt x="1147518" y="284162"/>
                  <a:pt x="1149502" y="286146"/>
                </a:cubicBezTo>
                <a:cubicBezTo>
                  <a:pt x="1151486" y="290115"/>
                  <a:pt x="1153471" y="290115"/>
                  <a:pt x="1155455" y="294084"/>
                </a:cubicBezTo>
                <a:cubicBezTo>
                  <a:pt x="1155455" y="296068"/>
                  <a:pt x="1151486" y="296068"/>
                  <a:pt x="1149502" y="296068"/>
                </a:cubicBezTo>
                <a:cubicBezTo>
                  <a:pt x="1147518" y="294084"/>
                  <a:pt x="1145533" y="294084"/>
                  <a:pt x="1145533" y="294084"/>
                </a:cubicBezTo>
                <a:cubicBezTo>
                  <a:pt x="1145533" y="294084"/>
                  <a:pt x="1143549" y="296068"/>
                  <a:pt x="1143549" y="294084"/>
                </a:cubicBezTo>
                <a:cubicBezTo>
                  <a:pt x="1141565" y="294084"/>
                  <a:pt x="1139580" y="294084"/>
                  <a:pt x="1137596" y="296068"/>
                </a:cubicBezTo>
                <a:cubicBezTo>
                  <a:pt x="1137596" y="300037"/>
                  <a:pt x="1137596" y="300037"/>
                  <a:pt x="1135611" y="300037"/>
                </a:cubicBezTo>
                <a:cubicBezTo>
                  <a:pt x="1133627" y="300037"/>
                  <a:pt x="1133627" y="300037"/>
                  <a:pt x="1133627" y="298053"/>
                </a:cubicBezTo>
                <a:cubicBezTo>
                  <a:pt x="1133627" y="296068"/>
                  <a:pt x="1131643" y="296068"/>
                  <a:pt x="1131643" y="296068"/>
                </a:cubicBezTo>
                <a:cubicBezTo>
                  <a:pt x="1129658" y="298053"/>
                  <a:pt x="1125690" y="296068"/>
                  <a:pt x="1123705" y="294084"/>
                </a:cubicBezTo>
                <a:cubicBezTo>
                  <a:pt x="1123705" y="290115"/>
                  <a:pt x="1123705" y="290115"/>
                  <a:pt x="1125690" y="290115"/>
                </a:cubicBezTo>
                <a:cubicBezTo>
                  <a:pt x="1127674" y="290115"/>
                  <a:pt x="1129658" y="290115"/>
                  <a:pt x="1129658" y="290115"/>
                </a:cubicBezTo>
                <a:cubicBezTo>
                  <a:pt x="1129658" y="290115"/>
                  <a:pt x="1135611" y="286146"/>
                  <a:pt x="1141565" y="286146"/>
                </a:cubicBezTo>
                <a:close/>
                <a:moveTo>
                  <a:pt x="862561" y="280987"/>
                </a:moveTo>
                <a:cubicBezTo>
                  <a:pt x="862561" y="280987"/>
                  <a:pt x="864546" y="280987"/>
                  <a:pt x="866530" y="280987"/>
                </a:cubicBezTo>
                <a:cubicBezTo>
                  <a:pt x="870499" y="280987"/>
                  <a:pt x="872483" y="283104"/>
                  <a:pt x="872483" y="285220"/>
                </a:cubicBezTo>
                <a:cubicBezTo>
                  <a:pt x="874468" y="287337"/>
                  <a:pt x="874468" y="287337"/>
                  <a:pt x="878436" y="287337"/>
                </a:cubicBezTo>
                <a:cubicBezTo>
                  <a:pt x="878436" y="287337"/>
                  <a:pt x="882405" y="293687"/>
                  <a:pt x="878436" y="293687"/>
                </a:cubicBezTo>
                <a:cubicBezTo>
                  <a:pt x="874468" y="293687"/>
                  <a:pt x="874468" y="293687"/>
                  <a:pt x="874468" y="293687"/>
                </a:cubicBezTo>
                <a:cubicBezTo>
                  <a:pt x="874468" y="293687"/>
                  <a:pt x="872483" y="300037"/>
                  <a:pt x="868514" y="300037"/>
                </a:cubicBezTo>
                <a:cubicBezTo>
                  <a:pt x="864546" y="300037"/>
                  <a:pt x="862561" y="295804"/>
                  <a:pt x="862561" y="295804"/>
                </a:cubicBezTo>
                <a:cubicBezTo>
                  <a:pt x="862561" y="293687"/>
                  <a:pt x="856608" y="291570"/>
                  <a:pt x="856608" y="291570"/>
                </a:cubicBezTo>
                <a:cubicBezTo>
                  <a:pt x="854624" y="291570"/>
                  <a:pt x="850655" y="289454"/>
                  <a:pt x="850655" y="287337"/>
                </a:cubicBezTo>
                <a:cubicBezTo>
                  <a:pt x="850655" y="285220"/>
                  <a:pt x="852639" y="285220"/>
                  <a:pt x="852639" y="285220"/>
                </a:cubicBezTo>
                <a:cubicBezTo>
                  <a:pt x="852639" y="285220"/>
                  <a:pt x="856608" y="283104"/>
                  <a:pt x="858593" y="283104"/>
                </a:cubicBezTo>
                <a:cubicBezTo>
                  <a:pt x="858593" y="283104"/>
                  <a:pt x="862561" y="283104"/>
                  <a:pt x="862561" y="280987"/>
                </a:cubicBezTo>
                <a:close/>
                <a:moveTo>
                  <a:pt x="937414" y="278227"/>
                </a:moveTo>
                <a:cubicBezTo>
                  <a:pt x="939407" y="276225"/>
                  <a:pt x="941401" y="278227"/>
                  <a:pt x="943395" y="278227"/>
                </a:cubicBezTo>
                <a:cubicBezTo>
                  <a:pt x="945388" y="276225"/>
                  <a:pt x="947382" y="278227"/>
                  <a:pt x="949375" y="280228"/>
                </a:cubicBezTo>
                <a:cubicBezTo>
                  <a:pt x="951369" y="280228"/>
                  <a:pt x="951369" y="280228"/>
                  <a:pt x="951369" y="278227"/>
                </a:cubicBezTo>
                <a:cubicBezTo>
                  <a:pt x="951369" y="278227"/>
                  <a:pt x="953363" y="278227"/>
                  <a:pt x="957350" y="278227"/>
                </a:cubicBezTo>
                <a:cubicBezTo>
                  <a:pt x="961337" y="278227"/>
                  <a:pt x="961337" y="278227"/>
                  <a:pt x="965324" y="278227"/>
                </a:cubicBezTo>
                <a:cubicBezTo>
                  <a:pt x="971305" y="278227"/>
                  <a:pt x="971305" y="282230"/>
                  <a:pt x="969311" y="284231"/>
                </a:cubicBezTo>
                <a:cubicBezTo>
                  <a:pt x="965324" y="286233"/>
                  <a:pt x="965324" y="288235"/>
                  <a:pt x="965324" y="288235"/>
                </a:cubicBezTo>
                <a:cubicBezTo>
                  <a:pt x="967318" y="290236"/>
                  <a:pt x="969311" y="290236"/>
                  <a:pt x="965324" y="290236"/>
                </a:cubicBezTo>
                <a:cubicBezTo>
                  <a:pt x="961337" y="290236"/>
                  <a:pt x="961337" y="290236"/>
                  <a:pt x="959343" y="288235"/>
                </a:cubicBezTo>
                <a:cubicBezTo>
                  <a:pt x="957350" y="288235"/>
                  <a:pt x="955356" y="288235"/>
                  <a:pt x="949375" y="288235"/>
                </a:cubicBezTo>
                <a:cubicBezTo>
                  <a:pt x="945388" y="288235"/>
                  <a:pt x="947382" y="288235"/>
                  <a:pt x="945388" y="286233"/>
                </a:cubicBezTo>
                <a:cubicBezTo>
                  <a:pt x="945388" y="286233"/>
                  <a:pt x="943395" y="286233"/>
                  <a:pt x="943395" y="290236"/>
                </a:cubicBezTo>
                <a:cubicBezTo>
                  <a:pt x="943395" y="294239"/>
                  <a:pt x="937414" y="292238"/>
                  <a:pt x="935420" y="292238"/>
                </a:cubicBezTo>
                <a:cubicBezTo>
                  <a:pt x="933427" y="292238"/>
                  <a:pt x="933427" y="294239"/>
                  <a:pt x="931433" y="296241"/>
                </a:cubicBezTo>
                <a:cubicBezTo>
                  <a:pt x="931433" y="298243"/>
                  <a:pt x="935420" y="298243"/>
                  <a:pt x="937414" y="296241"/>
                </a:cubicBezTo>
                <a:cubicBezTo>
                  <a:pt x="939407" y="294239"/>
                  <a:pt x="939407" y="294239"/>
                  <a:pt x="941401" y="298243"/>
                </a:cubicBezTo>
                <a:cubicBezTo>
                  <a:pt x="941401" y="300244"/>
                  <a:pt x="945388" y="298243"/>
                  <a:pt x="945388" y="298243"/>
                </a:cubicBezTo>
                <a:cubicBezTo>
                  <a:pt x="945388" y="298243"/>
                  <a:pt x="947382" y="298243"/>
                  <a:pt x="949375" y="300244"/>
                </a:cubicBezTo>
                <a:cubicBezTo>
                  <a:pt x="951369" y="300244"/>
                  <a:pt x="953363" y="298243"/>
                  <a:pt x="953363" y="298243"/>
                </a:cubicBezTo>
                <a:cubicBezTo>
                  <a:pt x="953363" y="298243"/>
                  <a:pt x="955356" y="296241"/>
                  <a:pt x="955356" y="296241"/>
                </a:cubicBezTo>
                <a:cubicBezTo>
                  <a:pt x="957350" y="298243"/>
                  <a:pt x="955356" y="302246"/>
                  <a:pt x="955356" y="304247"/>
                </a:cubicBezTo>
                <a:cubicBezTo>
                  <a:pt x="955356" y="306249"/>
                  <a:pt x="957350" y="306249"/>
                  <a:pt x="957350" y="308251"/>
                </a:cubicBezTo>
                <a:cubicBezTo>
                  <a:pt x="957350" y="310252"/>
                  <a:pt x="953363" y="312254"/>
                  <a:pt x="947382" y="312254"/>
                </a:cubicBezTo>
                <a:cubicBezTo>
                  <a:pt x="943395" y="312254"/>
                  <a:pt x="937414" y="316257"/>
                  <a:pt x="935420" y="316257"/>
                </a:cubicBezTo>
                <a:cubicBezTo>
                  <a:pt x="933427" y="318259"/>
                  <a:pt x="927446" y="314256"/>
                  <a:pt x="927446" y="314256"/>
                </a:cubicBezTo>
                <a:cubicBezTo>
                  <a:pt x="927446" y="314256"/>
                  <a:pt x="923459" y="310252"/>
                  <a:pt x="923459" y="312254"/>
                </a:cubicBezTo>
                <a:cubicBezTo>
                  <a:pt x="921465" y="312254"/>
                  <a:pt x="919471" y="312254"/>
                  <a:pt x="917478" y="314256"/>
                </a:cubicBezTo>
                <a:cubicBezTo>
                  <a:pt x="915484" y="316257"/>
                  <a:pt x="915484" y="316257"/>
                  <a:pt x="915484" y="318259"/>
                </a:cubicBezTo>
                <a:cubicBezTo>
                  <a:pt x="913491" y="320260"/>
                  <a:pt x="913491" y="318259"/>
                  <a:pt x="909503" y="320260"/>
                </a:cubicBezTo>
                <a:cubicBezTo>
                  <a:pt x="903523" y="322262"/>
                  <a:pt x="899535" y="316257"/>
                  <a:pt x="899535" y="316257"/>
                </a:cubicBezTo>
                <a:cubicBezTo>
                  <a:pt x="899535" y="316257"/>
                  <a:pt x="891561" y="312254"/>
                  <a:pt x="889567" y="310252"/>
                </a:cubicBezTo>
                <a:cubicBezTo>
                  <a:pt x="889567" y="306249"/>
                  <a:pt x="885580" y="308251"/>
                  <a:pt x="885580" y="304247"/>
                </a:cubicBezTo>
                <a:cubicBezTo>
                  <a:pt x="885580" y="302246"/>
                  <a:pt x="887574" y="300244"/>
                  <a:pt x="887574" y="300244"/>
                </a:cubicBezTo>
                <a:cubicBezTo>
                  <a:pt x="889567" y="296241"/>
                  <a:pt x="889567" y="294239"/>
                  <a:pt x="889567" y="294239"/>
                </a:cubicBezTo>
                <a:cubicBezTo>
                  <a:pt x="889567" y="292238"/>
                  <a:pt x="889567" y="292238"/>
                  <a:pt x="891561" y="290236"/>
                </a:cubicBezTo>
                <a:cubicBezTo>
                  <a:pt x="893554" y="288235"/>
                  <a:pt x="893554" y="288235"/>
                  <a:pt x="893554" y="286233"/>
                </a:cubicBezTo>
                <a:cubicBezTo>
                  <a:pt x="895548" y="284231"/>
                  <a:pt x="897542" y="284231"/>
                  <a:pt x="899535" y="282230"/>
                </a:cubicBezTo>
                <a:cubicBezTo>
                  <a:pt x="901529" y="280228"/>
                  <a:pt x="905516" y="282230"/>
                  <a:pt x="905516" y="282230"/>
                </a:cubicBezTo>
                <a:cubicBezTo>
                  <a:pt x="905516" y="282230"/>
                  <a:pt x="907510" y="280228"/>
                  <a:pt x="911497" y="280228"/>
                </a:cubicBezTo>
                <a:cubicBezTo>
                  <a:pt x="915484" y="280228"/>
                  <a:pt x="915484" y="284231"/>
                  <a:pt x="917478" y="282230"/>
                </a:cubicBezTo>
                <a:cubicBezTo>
                  <a:pt x="919471" y="282230"/>
                  <a:pt x="919471" y="282230"/>
                  <a:pt x="921465" y="280228"/>
                </a:cubicBezTo>
                <a:cubicBezTo>
                  <a:pt x="923459" y="280228"/>
                  <a:pt x="923459" y="280228"/>
                  <a:pt x="923459" y="280228"/>
                </a:cubicBezTo>
                <a:cubicBezTo>
                  <a:pt x="923459" y="278227"/>
                  <a:pt x="927446" y="280228"/>
                  <a:pt x="927446" y="282230"/>
                </a:cubicBezTo>
                <a:cubicBezTo>
                  <a:pt x="929439" y="284231"/>
                  <a:pt x="927446" y="284231"/>
                  <a:pt x="931433" y="282230"/>
                </a:cubicBezTo>
                <a:cubicBezTo>
                  <a:pt x="931433" y="278227"/>
                  <a:pt x="935420" y="278227"/>
                  <a:pt x="937414" y="278227"/>
                </a:cubicBezTo>
                <a:close/>
                <a:moveTo>
                  <a:pt x="1301187" y="269875"/>
                </a:moveTo>
                <a:cubicBezTo>
                  <a:pt x="1303410" y="269875"/>
                  <a:pt x="1307855" y="273843"/>
                  <a:pt x="1305633" y="275828"/>
                </a:cubicBezTo>
                <a:cubicBezTo>
                  <a:pt x="1305633" y="277812"/>
                  <a:pt x="1303410" y="277812"/>
                  <a:pt x="1298965" y="275828"/>
                </a:cubicBezTo>
                <a:cubicBezTo>
                  <a:pt x="1296742" y="273843"/>
                  <a:pt x="1296742" y="273843"/>
                  <a:pt x="1296742" y="271859"/>
                </a:cubicBezTo>
                <a:cubicBezTo>
                  <a:pt x="1296742" y="269875"/>
                  <a:pt x="1301187" y="269875"/>
                  <a:pt x="1301187" y="269875"/>
                </a:cubicBezTo>
                <a:close/>
                <a:moveTo>
                  <a:pt x="1081724" y="251313"/>
                </a:moveTo>
                <a:cubicBezTo>
                  <a:pt x="1083246" y="251313"/>
                  <a:pt x="1084767" y="252351"/>
                  <a:pt x="1085781" y="253389"/>
                </a:cubicBezTo>
                <a:cubicBezTo>
                  <a:pt x="1085781" y="253389"/>
                  <a:pt x="1089838" y="255465"/>
                  <a:pt x="1093895" y="255465"/>
                </a:cubicBezTo>
                <a:cubicBezTo>
                  <a:pt x="1095924" y="255465"/>
                  <a:pt x="1097952" y="255465"/>
                  <a:pt x="1099981" y="257541"/>
                </a:cubicBezTo>
                <a:cubicBezTo>
                  <a:pt x="1102009" y="257541"/>
                  <a:pt x="1102009" y="257541"/>
                  <a:pt x="1106066" y="257541"/>
                </a:cubicBezTo>
                <a:cubicBezTo>
                  <a:pt x="1110123" y="255465"/>
                  <a:pt x="1114180" y="259617"/>
                  <a:pt x="1112152" y="265844"/>
                </a:cubicBezTo>
                <a:cubicBezTo>
                  <a:pt x="1112152" y="267920"/>
                  <a:pt x="1108095" y="267920"/>
                  <a:pt x="1106066" y="267920"/>
                </a:cubicBezTo>
                <a:cubicBezTo>
                  <a:pt x="1102009" y="267920"/>
                  <a:pt x="1102009" y="269996"/>
                  <a:pt x="1099981" y="272072"/>
                </a:cubicBezTo>
                <a:cubicBezTo>
                  <a:pt x="1095924" y="276224"/>
                  <a:pt x="1093895" y="274148"/>
                  <a:pt x="1091867" y="269996"/>
                </a:cubicBezTo>
                <a:cubicBezTo>
                  <a:pt x="1089838" y="269996"/>
                  <a:pt x="1085781" y="267920"/>
                  <a:pt x="1083753" y="265844"/>
                </a:cubicBezTo>
                <a:cubicBezTo>
                  <a:pt x="1081724" y="265844"/>
                  <a:pt x="1077667" y="263768"/>
                  <a:pt x="1077667" y="255465"/>
                </a:cubicBezTo>
                <a:cubicBezTo>
                  <a:pt x="1078681" y="252351"/>
                  <a:pt x="1080203" y="251313"/>
                  <a:pt x="1081724" y="251313"/>
                </a:cubicBezTo>
                <a:close/>
                <a:moveTo>
                  <a:pt x="961553" y="239712"/>
                </a:moveTo>
                <a:cubicBezTo>
                  <a:pt x="965484" y="241696"/>
                  <a:pt x="969415" y="239712"/>
                  <a:pt x="969415" y="243681"/>
                </a:cubicBezTo>
                <a:cubicBezTo>
                  <a:pt x="969415" y="251618"/>
                  <a:pt x="975311" y="249634"/>
                  <a:pt x="977277" y="251618"/>
                </a:cubicBezTo>
                <a:cubicBezTo>
                  <a:pt x="979242" y="253603"/>
                  <a:pt x="979242" y="257571"/>
                  <a:pt x="977277" y="257571"/>
                </a:cubicBezTo>
                <a:cubicBezTo>
                  <a:pt x="975311" y="257571"/>
                  <a:pt x="975311" y="259556"/>
                  <a:pt x="977277" y="259556"/>
                </a:cubicBezTo>
                <a:cubicBezTo>
                  <a:pt x="977277" y="261540"/>
                  <a:pt x="979242" y="265509"/>
                  <a:pt x="977277" y="267493"/>
                </a:cubicBezTo>
                <a:cubicBezTo>
                  <a:pt x="975311" y="269478"/>
                  <a:pt x="971380" y="269478"/>
                  <a:pt x="971380" y="269478"/>
                </a:cubicBezTo>
                <a:cubicBezTo>
                  <a:pt x="971380" y="269478"/>
                  <a:pt x="967449" y="267493"/>
                  <a:pt x="967449" y="267493"/>
                </a:cubicBezTo>
                <a:cubicBezTo>
                  <a:pt x="965484" y="269478"/>
                  <a:pt x="959587" y="271462"/>
                  <a:pt x="957622" y="267493"/>
                </a:cubicBezTo>
                <a:cubicBezTo>
                  <a:pt x="953691" y="265509"/>
                  <a:pt x="951725" y="261540"/>
                  <a:pt x="949760" y="261540"/>
                </a:cubicBezTo>
                <a:cubicBezTo>
                  <a:pt x="945829" y="259556"/>
                  <a:pt x="945829" y="261540"/>
                  <a:pt x="945829" y="263524"/>
                </a:cubicBezTo>
                <a:cubicBezTo>
                  <a:pt x="945829" y="265509"/>
                  <a:pt x="945829" y="265509"/>
                  <a:pt x="943863" y="265509"/>
                </a:cubicBezTo>
                <a:cubicBezTo>
                  <a:pt x="941898" y="265509"/>
                  <a:pt x="941898" y="265509"/>
                  <a:pt x="941898" y="267493"/>
                </a:cubicBezTo>
                <a:cubicBezTo>
                  <a:pt x="941898" y="269478"/>
                  <a:pt x="939933" y="271462"/>
                  <a:pt x="936002" y="269478"/>
                </a:cubicBezTo>
                <a:cubicBezTo>
                  <a:pt x="932071" y="269478"/>
                  <a:pt x="926174" y="267493"/>
                  <a:pt x="926174" y="265509"/>
                </a:cubicBezTo>
                <a:cubicBezTo>
                  <a:pt x="924209" y="261540"/>
                  <a:pt x="922243" y="259556"/>
                  <a:pt x="920278" y="259556"/>
                </a:cubicBezTo>
                <a:cubicBezTo>
                  <a:pt x="918312" y="259556"/>
                  <a:pt x="916347" y="259556"/>
                  <a:pt x="914381" y="261540"/>
                </a:cubicBezTo>
                <a:cubicBezTo>
                  <a:pt x="912416" y="263524"/>
                  <a:pt x="912416" y="263524"/>
                  <a:pt x="912416" y="265509"/>
                </a:cubicBezTo>
                <a:cubicBezTo>
                  <a:pt x="912416" y="269478"/>
                  <a:pt x="910450" y="267493"/>
                  <a:pt x="908485" y="267493"/>
                </a:cubicBezTo>
                <a:cubicBezTo>
                  <a:pt x="908485" y="267493"/>
                  <a:pt x="902588" y="267493"/>
                  <a:pt x="902588" y="267493"/>
                </a:cubicBezTo>
                <a:cubicBezTo>
                  <a:pt x="902588" y="267493"/>
                  <a:pt x="902588" y="267493"/>
                  <a:pt x="900623" y="269478"/>
                </a:cubicBezTo>
                <a:cubicBezTo>
                  <a:pt x="900623" y="269478"/>
                  <a:pt x="900623" y="271462"/>
                  <a:pt x="898658" y="269478"/>
                </a:cubicBezTo>
                <a:cubicBezTo>
                  <a:pt x="896692" y="269478"/>
                  <a:pt x="898658" y="265509"/>
                  <a:pt x="898658" y="263524"/>
                </a:cubicBezTo>
                <a:cubicBezTo>
                  <a:pt x="900623" y="263524"/>
                  <a:pt x="900623" y="259556"/>
                  <a:pt x="900623" y="259556"/>
                </a:cubicBezTo>
                <a:cubicBezTo>
                  <a:pt x="900623" y="259556"/>
                  <a:pt x="900623" y="255587"/>
                  <a:pt x="902588" y="255587"/>
                </a:cubicBezTo>
                <a:cubicBezTo>
                  <a:pt x="904554" y="255587"/>
                  <a:pt x="908485" y="257571"/>
                  <a:pt x="908485" y="257571"/>
                </a:cubicBezTo>
                <a:cubicBezTo>
                  <a:pt x="908485" y="257571"/>
                  <a:pt x="914381" y="257571"/>
                  <a:pt x="914381" y="255587"/>
                </a:cubicBezTo>
                <a:cubicBezTo>
                  <a:pt x="916347" y="253603"/>
                  <a:pt x="920278" y="251618"/>
                  <a:pt x="922243" y="253603"/>
                </a:cubicBezTo>
                <a:cubicBezTo>
                  <a:pt x="924209" y="253603"/>
                  <a:pt x="930105" y="255587"/>
                  <a:pt x="932071" y="253603"/>
                </a:cubicBezTo>
                <a:cubicBezTo>
                  <a:pt x="934036" y="251618"/>
                  <a:pt x="934036" y="251618"/>
                  <a:pt x="939933" y="251618"/>
                </a:cubicBezTo>
                <a:cubicBezTo>
                  <a:pt x="943863" y="251618"/>
                  <a:pt x="945829" y="247649"/>
                  <a:pt x="945829" y="247649"/>
                </a:cubicBezTo>
                <a:cubicBezTo>
                  <a:pt x="945829" y="247649"/>
                  <a:pt x="945829" y="245665"/>
                  <a:pt x="949760" y="243681"/>
                </a:cubicBezTo>
                <a:cubicBezTo>
                  <a:pt x="955656" y="243681"/>
                  <a:pt x="957622" y="239712"/>
                  <a:pt x="961553" y="239712"/>
                </a:cubicBezTo>
                <a:close/>
                <a:moveTo>
                  <a:pt x="1233639" y="233362"/>
                </a:moveTo>
                <a:cubicBezTo>
                  <a:pt x="1239592" y="233362"/>
                  <a:pt x="1241577" y="233362"/>
                  <a:pt x="1243561" y="233362"/>
                </a:cubicBezTo>
                <a:cubicBezTo>
                  <a:pt x="1245545" y="235370"/>
                  <a:pt x="1249514" y="235370"/>
                  <a:pt x="1249514" y="235370"/>
                </a:cubicBezTo>
                <a:cubicBezTo>
                  <a:pt x="1251499" y="235370"/>
                  <a:pt x="1251499" y="237377"/>
                  <a:pt x="1253483" y="239385"/>
                </a:cubicBezTo>
                <a:cubicBezTo>
                  <a:pt x="1253483" y="241393"/>
                  <a:pt x="1253483" y="243400"/>
                  <a:pt x="1257452" y="241393"/>
                </a:cubicBezTo>
                <a:cubicBezTo>
                  <a:pt x="1261421" y="241393"/>
                  <a:pt x="1263405" y="243400"/>
                  <a:pt x="1263405" y="245408"/>
                </a:cubicBezTo>
                <a:cubicBezTo>
                  <a:pt x="1265389" y="249424"/>
                  <a:pt x="1267374" y="251431"/>
                  <a:pt x="1269358" y="251431"/>
                </a:cubicBezTo>
                <a:cubicBezTo>
                  <a:pt x="1271342" y="251431"/>
                  <a:pt x="1273327" y="251431"/>
                  <a:pt x="1275311" y="255447"/>
                </a:cubicBezTo>
                <a:cubicBezTo>
                  <a:pt x="1275311" y="259462"/>
                  <a:pt x="1281264" y="259462"/>
                  <a:pt x="1283249" y="257454"/>
                </a:cubicBezTo>
                <a:cubicBezTo>
                  <a:pt x="1287218" y="255447"/>
                  <a:pt x="1291186" y="257454"/>
                  <a:pt x="1293171" y="259462"/>
                </a:cubicBezTo>
                <a:cubicBezTo>
                  <a:pt x="1293171" y="263478"/>
                  <a:pt x="1295155" y="265485"/>
                  <a:pt x="1291186" y="269501"/>
                </a:cubicBezTo>
                <a:cubicBezTo>
                  <a:pt x="1289202" y="269501"/>
                  <a:pt x="1287218" y="269501"/>
                  <a:pt x="1289202" y="273516"/>
                </a:cubicBezTo>
                <a:cubicBezTo>
                  <a:pt x="1289202" y="277531"/>
                  <a:pt x="1291186" y="279539"/>
                  <a:pt x="1287218" y="283555"/>
                </a:cubicBezTo>
                <a:cubicBezTo>
                  <a:pt x="1285233" y="287570"/>
                  <a:pt x="1287218" y="287570"/>
                  <a:pt x="1283249" y="287570"/>
                </a:cubicBezTo>
                <a:cubicBezTo>
                  <a:pt x="1281264" y="287570"/>
                  <a:pt x="1283249" y="289578"/>
                  <a:pt x="1281264" y="289578"/>
                </a:cubicBezTo>
                <a:cubicBezTo>
                  <a:pt x="1279280" y="289578"/>
                  <a:pt x="1277296" y="289578"/>
                  <a:pt x="1277296" y="289578"/>
                </a:cubicBezTo>
                <a:cubicBezTo>
                  <a:pt x="1277296" y="289578"/>
                  <a:pt x="1277296" y="289578"/>
                  <a:pt x="1275311" y="289578"/>
                </a:cubicBezTo>
                <a:cubicBezTo>
                  <a:pt x="1275311" y="291585"/>
                  <a:pt x="1271342" y="291585"/>
                  <a:pt x="1271342" y="291585"/>
                </a:cubicBezTo>
                <a:cubicBezTo>
                  <a:pt x="1271342" y="289578"/>
                  <a:pt x="1267374" y="289578"/>
                  <a:pt x="1267374" y="291585"/>
                </a:cubicBezTo>
                <a:cubicBezTo>
                  <a:pt x="1267374" y="293593"/>
                  <a:pt x="1265389" y="295601"/>
                  <a:pt x="1263405" y="293593"/>
                </a:cubicBezTo>
                <a:cubicBezTo>
                  <a:pt x="1261421" y="293593"/>
                  <a:pt x="1259436" y="291585"/>
                  <a:pt x="1259436" y="291585"/>
                </a:cubicBezTo>
                <a:cubicBezTo>
                  <a:pt x="1257452" y="291585"/>
                  <a:pt x="1257452" y="293593"/>
                  <a:pt x="1255467" y="291585"/>
                </a:cubicBezTo>
                <a:cubicBezTo>
                  <a:pt x="1255467" y="289578"/>
                  <a:pt x="1251499" y="289578"/>
                  <a:pt x="1251499" y="291585"/>
                </a:cubicBezTo>
                <a:cubicBezTo>
                  <a:pt x="1253483" y="295601"/>
                  <a:pt x="1253483" y="297609"/>
                  <a:pt x="1251499" y="299616"/>
                </a:cubicBezTo>
                <a:cubicBezTo>
                  <a:pt x="1249514" y="299616"/>
                  <a:pt x="1247530" y="301624"/>
                  <a:pt x="1247530" y="299616"/>
                </a:cubicBezTo>
                <a:cubicBezTo>
                  <a:pt x="1247530" y="297609"/>
                  <a:pt x="1247530" y="295601"/>
                  <a:pt x="1245545" y="297609"/>
                </a:cubicBezTo>
                <a:cubicBezTo>
                  <a:pt x="1245545" y="297609"/>
                  <a:pt x="1243561" y="299616"/>
                  <a:pt x="1241577" y="295601"/>
                </a:cubicBezTo>
                <a:cubicBezTo>
                  <a:pt x="1239592" y="293593"/>
                  <a:pt x="1237608" y="293593"/>
                  <a:pt x="1239592" y="289578"/>
                </a:cubicBezTo>
                <a:cubicBezTo>
                  <a:pt x="1239592" y="287570"/>
                  <a:pt x="1239592" y="285562"/>
                  <a:pt x="1237608" y="285562"/>
                </a:cubicBezTo>
                <a:cubicBezTo>
                  <a:pt x="1235623" y="285562"/>
                  <a:pt x="1235623" y="281547"/>
                  <a:pt x="1233639" y="281547"/>
                </a:cubicBezTo>
                <a:cubicBezTo>
                  <a:pt x="1233639" y="277531"/>
                  <a:pt x="1229670" y="277531"/>
                  <a:pt x="1233639" y="277531"/>
                </a:cubicBezTo>
                <a:cubicBezTo>
                  <a:pt x="1239592" y="277531"/>
                  <a:pt x="1239592" y="277531"/>
                  <a:pt x="1241577" y="277531"/>
                </a:cubicBezTo>
                <a:cubicBezTo>
                  <a:pt x="1243561" y="277531"/>
                  <a:pt x="1249514" y="277531"/>
                  <a:pt x="1249514" y="275524"/>
                </a:cubicBezTo>
                <a:cubicBezTo>
                  <a:pt x="1249514" y="275524"/>
                  <a:pt x="1243561" y="273516"/>
                  <a:pt x="1239592" y="273516"/>
                </a:cubicBezTo>
                <a:cubicBezTo>
                  <a:pt x="1237608" y="273516"/>
                  <a:pt x="1233639" y="273516"/>
                  <a:pt x="1231655" y="271508"/>
                </a:cubicBezTo>
                <a:cubicBezTo>
                  <a:pt x="1229670" y="269501"/>
                  <a:pt x="1227686" y="269501"/>
                  <a:pt x="1227686" y="265485"/>
                </a:cubicBezTo>
                <a:cubicBezTo>
                  <a:pt x="1227686" y="261470"/>
                  <a:pt x="1227686" y="261470"/>
                  <a:pt x="1227686" y="259462"/>
                </a:cubicBezTo>
                <a:cubicBezTo>
                  <a:pt x="1225702" y="257454"/>
                  <a:pt x="1223717" y="255447"/>
                  <a:pt x="1225702" y="251431"/>
                </a:cubicBezTo>
                <a:cubicBezTo>
                  <a:pt x="1227686" y="249424"/>
                  <a:pt x="1229670" y="251431"/>
                  <a:pt x="1229670" y="247416"/>
                </a:cubicBezTo>
                <a:cubicBezTo>
                  <a:pt x="1231655" y="245408"/>
                  <a:pt x="1229670" y="241393"/>
                  <a:pt x="1229670" y="241393"/>
                </a:cubicBezTo>
                <a:cubicBezTo>
                  <a:pt x="1229670" y="241393"/>
                  <a:pt x="1227686" y="235370"/>
                  <a:pt x="1233639" y="233362"/>
                </a:cubicBezTo>
                <a:close/>
                <a:moveTo>
                  <a:pt x="1111371" y="209550"/>
                </a:moveTo>
                <a:cubicBezTo>
                  <a:pt x="1113374" y="209550"/>
                  <a:pt x="1119382" y="211570"/>
                  <a:pt x="1119382" y="211570"/>
                </a:cubicBezTo>
                <a:cubicBezTo>
                  <a:pt x="1119382" y="211570"/>
                  <a:pt x="1121384" y="213591"/>
                  <a:pt x="1125390" y="213591"/>
                </a:cubicBezTo>
                <a:cubicBezTo>
                  <a:pt x="1131398" y="213591"/>
                  <a:pt x="1129395" y="219652"/>
                  <a:pt x="1129395" y="219652"/>
                </a:cubicBezTo>
                <a:cubicBezTo>
                  <a:pt x="1129395" y="219652"/>
                  <a:pt x="1131398" y="221673"/>
                  <a:pt x="1135403" y="225714"/>
                </a:cubicBezTo>
                <a:cubicBezTo>
                  <a:pt x="1137406" y="231775"/>
                  <a:pt x="1135403" y="235816"/>
                  <a:pt x="1135403" y="237836"/>
                </a:cubicBezTo>
                <a:cubicBezTo>
                  <a:pt x="1135403" y="239857"/>
                  <a:pt x="1139409" y="235816"/>
                  <a:pt x="1139409" y="233795"/>
                </a:cubicBezTo>
                <a:cubicBezTo>
                  <a:pt x="1139409" y="231775"/>
                  <a:pt x="1141411" y="231775"/>
                  <a:pt x="1143414" y="231775"/>
                </a:cubicBezTo>
                <a:cubicBezTo>
                  <a:pt x="1147419" y="231775"/>
                  <a:pt x="1149422" y="229754"/>
                  <a:pt x="1149422" y="229754"/>
                </a:cubicBezTo>
                <a:cubicBezTo>
                  <a:pt x="1149422" y="229754"/>
                  <a:pt x="1149422" y="227734"/>
                  <a:pt x="1153428" y="227734"/>
                </a:cubicBezTo>
                <a:cubicBezTo>
                  <a:pt x="1159436" y="229754"/>
                  <a:pt x="1157433" y="229754"/>
                  <a:pt x="1161438" y="233795"/>
                </a:cubicBezTo>
                <a:cubicBezTo>
                  <a:pt x="1163441" y="237836"/>
                  <a:pt x="1165444" y="235816"/>
                  <a:pt x="1165444" y="235816"/>
                </a:cubicBezTo>
                <a:cubicBezTo>
                  <a:pt x="1165444" y="235816"/>
                  <a:pt x="1165444" y="235816"/>
                  <a:pt x="1165444" y="243898"/>
                </a:cubicBezTo>
                <a:cubicBezTo>
                  <a:pt x="1165444" y="243898"/>
                  <a:pt x="1165444" y="243898"/>
                  <a:pt x="1173454" y="241877"/>
                </a:cubicBezTo>
                <a:cubicBezTo>
                  <a:pt x="1173454" y="241877"/>
                  <a:pt x="1173454" y="241877"/>
                  <a:pt x="1179463" y="241877"/>
                </a:cubicBezTo>
                <a:cubicBezTo>
                  <a:pt x="1185471" y="243898"/>
                  <a:pt x="1187473" y="249959"/>
                  <a:pt x="1189476" y="251979"/>
                </a:cubicBezTo>
                <a:cubicBezTo>
                  <a:pt x="1189476" y="256020"/>
                  <a:pt x="1189476" y="260061"/>
                  <a:pt x="1187473" y="262082"/>
                </a:cubicBezTo>
                <a:cubicBezTo>
                  <a:pt x="1183468" y="266123"/>
                  <a:pt x="1187473" y="268143"/>
                  <a:pt x="1191479" y="268143"/>
                </a:cubicBezTo>
                <a:cubicBezTo>
                  <a:pt x="1195484" y="266123"/>
                  <a:pt x="1195484" y="270164"/>
                  <a:pt x="1195484" y="270164"/>
                </a:cubicBezTo>
                <a:cubicBezTo>
                  <a:pt x="1195484" y="270164"/>
                  <a:pt x="1195484" y="272184"/>
                  <a:pt x="1197487" y="274204"/>
                </a:cubicBezTo>
                <a:cubicBezTo>
                  <a:pt x="1199489" y="274204"/>
                  <a:pt x="1201492" y="276225"/>
                  <a:pt x="1201492" y="278245"/>
                </a:cubicBezTo>
                <a:cubicBezTo>
                  <a:pt x="1201492" y="282286"/>
                  <a:pt x="1201492" y="286327"/>
                  <a:pt x="1201492" y="288348"/>
                </a:cubicBezTo>
                <a:cubicBezTo>
                  <a:pt x="1201492" y="290368"/>
                  <a:pt x="1197487" y="290368"/>
                  <a:pt x="1195484" y="290368"/>
                </a:cubicBezTo>
                <a:cubicBezTo>
                  <a:pt x="1191479" y="292389"/>
                  <a:pt x="1189476" y="292389"/>
                  <a:pt x="1187473" y="292389"/>
                </a:cubicBezTo>
                <a:cubicBezTo>
                  <a:pt x="1187473" y="292389"/>
                  <a:pt x="1181465" y="294409"/>
                  <a:pt x="1181465" y="296429"/>
                </a:cubicBezTo>
                <a:cubicBezTo>
                  <a:pt x="1177460" y="298450"/>
                  <a:pt x="1175457" y="296429"/>
                  <a:pt x="1175457" y="294409"/>
                </a:cubicBezTo>
                <a:cubicBezTo>
                  <a:pt x="1175457" y="294409"/>
                  <a:pt x="1173454" y="292389"/>
                  <a:pt x="1171452" y="292389"/>
                </a:cubicBezTo>
                <a:cubicBezTo>
                  <a:pt x="1169449" y="294409"/>
                  <a:pt x="1167446" y="292389"/>
                  <a:pt x="1165444" y="290368"/>
                </a:cubicBezTo>
                <a:cubicBezTo>
                  <a:pt x="1165444" y="286327"/>
                  <a:pt x="1163441" y="280266"/>
                  <a:pt x="1163441" y="278245"/>
                </a:cubicBezTo>
                <a:cubicBezTo>
                  <a:pt x="1163441" y="276225"/>
                  <a:pt x="1163441" y="274204"/>
                  <a:pt x="1161438" y="274204"/>
                </a:cubicBezTo>
                <a:cubicBezTo>
                  <a:pt x="1157433" y="274204"/>
                  <a:pt x="1157433" y="274204"/>
                  <a:pt x="1155430" y="272184"/>
                </a:cubicBezTo>
                <a:cubicBezTo>
                  <a:pt x="1153428" y="270164"/>
                  <a:pt x="1151425" y="272184"/>
                  <a:pt x="1149422" y="274204"/>
                </a:cubicBezTo>
                <a:cubicBezTo>
                  <a:pt x="1147419" y="276225"/>
                  <a:pt x="1141411" y="276225"/>
                  <a:pt x="1141411" y="274204"/>
                </a:cubicBezTo>
                <a:cubicBezTo>
                  <a:pt x="1139409" y="274204"/>
                  <a:pt x="1139409" y="272184"/>
                  <a:pt x="1141411" y="272184"/>
                </a:cubicBezTo>
                <a:cubicBezTo>
                  <a:pt x="1143414" y="272184"/>
                  <a:pt x="1141411" y="272184"/>
                  <a:pt x="1141411" y="270164"/>
                </a:cubicBezTo>
                <a:cubicBezTo>
                  <a:pt x="1141411" y="266123"/>
                  <a:pt x="1133401" y="266123"/>
                  <a:pt x="1133401" y="266123"/>
                </a:cubicBezTo>
                <a:cubicBezTo>
                  <a:pt x="1131398" y="266123"/>
                  <a:pt x="1129395" y="268143"/>
                  <a:pt x="1131398" y="268143"/>
                </a:cubicBezTo>
                <a:cubicBezTo>
                  <a:pt x="1133401" y="268143"/>
                  <a:pt x="1133401" y="270164"/>
                  <a:pt x="1131398" y="272184"/>
                </a:cubicBezTo>
                <a:cubicBezTo>
                  <a:pt x="1131398" y="274204"/>
                  <a:pt x="1127393" y="272184"/>
                  <a:pt x="1125390" y="270164"/>
                </a:cubicBezTo>
                <a:cubicBezTo>
                  <a:pt x="1123387" y="270164"/>
                  <a:pt x="1123387" y="274204"/>
                  <a:pt x="1119382" y="276225"/>
                </a:cubicBezTo>
                <a:cubicBezTo>
                  <a:pt x="1117379" y="278245"/>
                  <a:pt x="1115376" y="276225"/>
                  <a:pt x="1115376" y="272184"/>
                </a:cubicBezTo>
                <a:cubicBezTo>
                  <a:pt x="1115376" y="270164"/>
                  <a:pt x="1119382" y="270164"/>
                  <a:pt x="1121384" y="266123"/>
                </a:cubicBezTo>
                <a:cubicBezTo>
                  <a:pt x="1123387" y="264102"/>
                  <a:pt x="1123387" y="264102"/>
                  <a:pt x="1119382" y="266123"/>
                </a:cubicBezTo>
                <a:cubicBezTo>
                  <a:pt x="1113374" y="266123"/>
                  <a:pt x="1113374" y="260061"/>
                  <a:pt x="1113374" y="258041"/>
                </a:cubicBezTo>
                <a:cubicBezTo>
                  <a:pt x="1113374" y="256020"/>
                  <a:pt x="1109368" y="256020"/>
                  <a:pt x="1105363" y="256020"/>
                </a:cubicBezTo>
                <a:cubicBezTo>
                  <a:pt x="1101358" y="256020"/>
                  <a:pt x="1101358" y="251979"/>
                  <a:pt x="1101358" y="249959"/>
                </a:cubicBezTo>
                <a:cubicBezTo>
                  <a:pt x="1101358" y="247939"/>
                  <a:pt x="1105363" y="249959"/>
                  <a:pt x="1107366" y="249959"/>
                </a:cubicBezTo>
                <a:cubicBezTo>
                  <a:pt x="1109368" y="251979"/>
                  <a:pt x="1111371" y="247939"/>
                  <a:pt x="1111371" y="247939"/>
                </a:cubicBezTo>
                <a:cubicBezTo>
                  <a:pt x="1111371" y="247939"/>
                  <a:pt x="1115376" y="245918"/>
                  <a:pt x="1113374" y="245918"/>
                </a:cubicBezTo>
                <a:cubicBezTo>
                  <a:pt x="1113374" y="243898"/>
                  <a:pt x="1105363" y="243898"/>
                  <a:pt x="1103360" y="243898"/>
                </a:cubicBezTo>
                <a:cubicBezTo>
                  <a:pt x="1099355" y="243898"/>
                  <a:pt x="1101358" y="239857"/>
                  <a:pt x="1101358" y="239857"/>
                </a:cubicBezTo>
                <a:cubicBezTo>
                  <a:pt x="1101358" y="239857"/>
                  <a:pt x="1107366" y="237836"/>
                  <a:pt x="1107366" y="235816"/>
                </a:cubicBezTo>
                <a:cubicBezTo>
                  <a:pt x="1107366" y="233795"/>
                  <a:pt x="1101358" y="231775"/>
                  <a:pt x="1099355" y="231775"/>
                </a:cubicBezTo>
                <a:cubicBezTo>
                  <a:pt x="1097352" y="231775"/>
                  <a:pt x="1097352" y="233795"/>
                  <a:pt x="1095349" y="235816"/>
                </a:cubicBezTo>
                <a:cubicBezTo>
                  <a:pt x="1093347" y="239857"/>
                  <a:pt x="1091344" y="241877"/>
                  <a:pt x="1089341" y="239857"/>
                </a:cubicBezTo>
                <a:cubicBezTo>
                  <a:pt x="1087339" y="239857"/>
                  <a:pt x="1089341" y="235816"/>
                  <a:pt x="1089341" y="233795"/>
                </a:cubicBezTo>
                <a:cubicBezTo>
                  <a:pt x="1091344" y="231775"/>
                  <a:pt x="1091344" y="231775"/>
                  <a:pt x="1087339" y="229754"/>
                </a:cubicBezTo>
                <a:cubicBezTo>
                  <a:pt x="1085336" y="227734"/>
                  <a:pt x="1083333" y="229754"/>
                  <a:pt x="1081331" y="233795"/>
                </a:cubicBezTo>
                <a:cubicBezTo>
                  <a:pt x="1077325" y="235816"/>
                  <a:pt x="1073320" y="233795"/>
                  <a:pt x="1071317" y="231775"/>
                </a:cubicBezTo>
                <a:cubicBezTo>
                  <a:pt x="1071317" y="229754"/>
                  <a:pt x="1073320" y="227734"/>
                  <a:pt x="1071317" y="223693"/>
                </a:cubicBezTo>
                <a:cubicBezTo>
                  <a:pt x="1071317" y="221673"/>
                  <a:pt x="1071317" y="221673"/>
                  <a:pt x="1071317" y="221673"/>
                </a:cubicBezTo>
                <a:cubicBezTo>
                  <a:pt x="1071317" y="221673"/>
                  <a:pt x="1075323" y="219652"/>
                  <a:pt x="1075323" y="219652"/>
                </a:cubicBezTo>
                <a:cubicBezTo>
                  <a:pt x="1077325" y="219652"/>
                  <a:pt x="1077325" y="217632"/>
                  <a:pt x="1077325" y="215611"/>
                </a:cubicBezTo>
                <a:cubicBezTo>
                  <a:pt x="1077325" y="213591"/>
                  <a:pt x="1079328" y="213591"/>
                  <a:pt x="1079328" y="211570"/>
                </a:cubicBezTo>
                <a:cubicBezTo>
                  <a:pt x="1079328" y="211570"/>
                  <a:pt x="1083333" y="211570"/>
                  <a:pt x="1083333" y="213591"/>
                </a:cubicBezTo>
                <a:cubicBezTo>
                  <a:pt x="1085336" y="217632"/>
                  <a:pt x="1087339" y="217632"/>
                  <a:pt x="1089341" y="215611"/>
                </a:cubicBezTo>
                <a:cubicBezTo>
                  <a:pt x="1091344" y="213591"/>
                  <a:pt x="1093347" y="215611"/>
                  <a:pt x="1099355" y="213591"/>
                </a:cubicBezTo>
                <a:cubicBezTo>
                  <a:pt x="1105363" y="211570"/>
                  <a:pt x="1107366" y="209550"/>
                  <a:pt x="1111371" y="209550"/>
                </a:cubicBezTo>
                <a:close/>
                <a:moveTo>
                  <a:pt x="1229227" y="171846"/>
                </a:moveTo>
                <a:cubicBezTo>
                  <a:pt x="1229227" y="171846"/>
                  <a:pt x="1229227" y="169862"/>
                  <a:pt x="1231282" y="171846"/>
                </a:cubicBezTo>
                <a:cubicBezTo>
                  <a:pt x="1235390" y="171846"/>
                  <a:pt x="1233336" y="171846"/>
                  <a:pt x="1235390" y="175815"/>
                </a:cubicBezTo>
                <a:cubicBezTo>
                  <a:pt x="1237445" y="177799"/>
                  <a:pt x="1243608" y="175815"/>
                  <a:pt x="1243608" y="175815"/>
                </a:cubicBezTo>
                <a:cubicBezTo>
                  <a:pt x="1243608" y="175815"/>
                  <a:pt x="1245662" y="173831"/>
                  <a:pt x="1247717" y="175815"/>
                </a:cubicBezTo>
                <a:cubicBezTo>
                  <a:pt x="1251826" y="175815"/>
                  <a:pt x="1253880" y="183753"/>
                  <a:pt x="1249771" y="183753"/>
                </a:cubicBezTo>
                <a:cubicBezTo>
                  <a:pt x="1247717" y="183753"/>
                  <a:pt x="1249771" y="185737"/>
                  <a:pt x="1249771" y="187721"/>
                </a:cubicBezTo>
                <a:cubicBezTo>
                  <a:pt x="1247717" y="189706"/>
                  <a:pt x="1247717" y="193674"/>
                  <a:pt x="1243608" y="193674"/>
                </a:cubicBezTo>
                <a:cubicBezTo>
                  <a:pt x="1241554" y="193674"/>
                  <a:pt x="1241554" y="195659"/>
                  <a:pt x="1239499" y="197643"/>
                </a:cubicBezTo>
                <a:cubicBezTo>
                  <a:pt x="1237445" y="201612"/>
                  <a:pt x="1237445" y="197643"/>
                  <a:pt x="1235390" y="195659"/>
                </a:cubicBezTo>
                <a:cubicBezTo>
                  <a:pt x="1235390" y="193674"/>
                  <a:pt x="1231282" y="193674"/>
                  <a:pt x="1231282" y="189706"/>
                </a:cubicBezTo>
                <a:cubicBezTo>
                  <a:pt x="1229227" y="187721"/>
                  <a:pt x="1227173" y="187721"/>
                  <a:pt x="1225118" y="185737"/>
                </a:cubicBezTo>
                <a:cubicBezTo>
                  <a:pt x="1223064" y="185737"/>
                  <a:pt x="1218955" y="185737"/>
                  <a:pt x="1218955" y="179784"/>
                </a:cubicBezTo>
                <a:cubicBezTo>
                  <a:pt x="1218955" y="175815"/>
                  <a:pt x="1225118" y="175815"/>
                  <a:pt x="1225118" y="175815"/>
                </a:cubicBezTo>
                <a:cubicBezTo>
                  <a:pt x="1229227" y="175815"/>
                  <a:pt x="1229227" y="171846"/>
                  <a:pt x="1229227" y="171846"/>
                </a:cubicBezTo>
                <a:close/>
                <a:moveTo>
                  <a:pt x="1355398" y="101600"/>
                </a:moveTo>
                <a:cubicBezTo>
                  <a:pt x="1359387" y="103593"/>
                  <a:pt x="1359387" y="103593"/>
                  <a:pt x="1359387" y="103593"/>
                </a:cubicBezTo>
                <a:cubicBezTo>
                  <a:pt x="1359387" y="103593"/>
                  <a:pt x="1363377" y="107580"/>
                  <a:pt x="1365371" y="105586"/>
                </a:cubicBezTo>
                <a:cubicBezTo>
                  <a:pt x="1367366" y="103593"/>
                  <a:pt x="1369360" y="107580"/>
                  <a:pt x="1369360" y="107580"/>
                </a:cubicBezTo>
                <a:cubicBezTo>
                  <a:pt x="1369360" y="107580"/>
                  <a:pt x="1373349" y="109573"/>
                  <a:pt x="1373349" y="107580"/>
                </a:cubicBezTo>
                <a:cubicBezTo>
                  <a:pt x="1373349" y="105586"/>
                  <a:pt x="1373349" y="105586"/>
                  <a:pt x="1377338" y="105586"/>
                </a:cubicBezTo>
                <a:cubicBezTo>
                  <a:pt x="1379333" y="105586"/>
                  <a:pt x="1381328" y="103593"/>
                  <a:pt x="1385317" y="105586"/>
                </a:cubicBezTo>
                <a:cubicBezTo>
                  <a:pt x="1387311" y="107580"/>
                  <a:pt x="1389306" y="109573"/>
                  <a:pt x="1391300" y="107580"/>
                </a:cubicBezTo>
                <a:cubicBezTo>
                  <a:pt x="1393295" y="105586"/>
                  <a:pt x="1397284" y="105586"/>
                  <a:pt x="1399279" y="107580"/>
                </a:cubicBezTo>
                <a:cubicBezTo>
                  <a:pt x="1403268" y="109573"/>
                  <a:pt x="1401273" y="109573"/>
                  <a:pt x="1407257" y="111566"/>
                </a:cubicBezTo>
                <a:cubicBezTo>
                  <a:pt x="1411246" y="113559"/>
                  <a:pt x="1415235" y="115552"/>
                  <a:pt x="1415235" y="119539"/>
                </a:cubicBezTo>
                <a:cubicBezTo>
                  <a:pt x="1415235" y="121532"/>
                  <a:pt x="1411246" y="121532"/>
                  <a:pt x="1411246" y="121532"/>
                </a:cubicBezTo>
                <a:cubicBezTo>
                  <a:pt x="1411246" y="121532"/>
                  <a:pt x="1411246" y="121532"/>
                  <a:pt x="1413240" y="125518"/>
                </a:cubicBezTo>
                <a:cubicBezTo>
                  <a:pt x="1415235" y="127511"/>
                  <a:pt x="1417230" y="129505"/>
                  <a:pt x="1415235" y="131498"/>
                </a:cubicBezTo>
                <a:cubicBezTo>
                  <a:pt x="1415235" y="133491"/>
                  <a:pt x="1413240" y="137477"/>
                  <a:pt x="1417230" y="139471"/>
                </a:cubicBezTo>
                <a:cubicBezTo>
                  <a:pt x="1419224" y="141464"/>
                  <a:pt x="1423213" y="139471"/>
                  <a:pt x="1423213" y="145450"/>
                </a:cubicBezTo>
                <a:cubicBezTo>
                  <a:pt x="1423213" y="149436"/>
                  <a:pt x="1421219" y="149436"/>
                  <a:pt x="1425208" y="149436"/>
                </a:cubicBezTo>
                <a:cubicBezTo>
                  <a:pt x="1429197" y="149436"/>
                  <a:pt x="1437175" y="149436"/>
                  <a:pt x="1437175" y="151430"/>
                </a:cubicBezTo>
                <a:cubicBezTo>
                  <a:pt x="1439170" y="151430"/>
                  <a:pt x="1441164" y="151430"/>
                  <a:pt x="1445153" y="151430"/>
                </a:cubicBezTo>
                <a:cubicBezTo>
                  <a:pt x="1447148" y="151430"/>
                  <a:pt x="1453132" y="151430"/>
                  <a:pt x="1453132" y="155416"/>
                </a:cubicBezTo>
                <a:cubicBezTo>
                  <a:pt x="1453132" y="159402"/>
                  <a:pt x="1453132" y="163389"/>
                  <a:pt x="1453132" y="167375"/>
                </a:cubicBezTo>
                <a:cubicBezTo>
                  <a:pt x="1455126" y="169368"/>
                  <a:pt x="1455126" y="171362"/>
                  <a:pt x="1459115" y="171362"/>
                </a:cubicBezTo>
                <a:cubicBezTo>
                  <a:pt x="1463104" y="171362"/>
                  <a:pt x="1465099" y="171362"/>
                  <a:pt x="1467093" y="169368"/>
                </a:cubicBezTo>
                <a:cubicBezTo>
                  <a:pt x="1469088" y="167375"/>
                  <a:pt x="1469088" y="167375"/>
                  <a:pt x="1469088" y="165382"/>
                </a:cubicBezTo>
                <a:cubicBezTo>
                  <a:pt x="1469088" y="163389"/>
                  <a:pt x="1467093" y="163389"/>
                  <a:pt x="1469088" y="157409"/>
                </a:cubicBezTo>
                <a:cubicBezTo>
                  <a:pt x="1469088" y="153423"/>
                  <a:pt x="1473077" y="155416"/>
                  <a:pt x="1475072" y="157409"/>
                </a:cubicBezTo>
                <a:cubicBezTo>
                  <a:pt x="1475072" y="159402"/>
                  <a:pt x="1475072" y="159402"/>
                  <a:pt x="1479061" y="159402"/>
                </a:cubicBezTo>
                <a:cubicBezTo>
                  <a:pt x="1483050" y="161396"/>
                  <a:pt x="1487039" y="161396"/>
                  <a:pt x="1487039" y="165382"/>
                </a:cubicBezTo>
                <a:cubicBezTo>
                  <a:pt x="1487039" y="167375"/>
                  <a:pt x="1485044" y="169368"/>
                  <a:pt x="1485044" y="169368"/>
                </a:cubicBezTo>
                <a:cubicBezTo>
                  <a:pt x="1485044" y="169368"/>
                  <a:pt x="1477066" y="169368"/>
                  <a:pt x="1477066" y="171362"/>
                </a:cubicBezTo>
                <a:cubicBezTo>
                  <a:pt x="1477066" y="173355"/>
                  <a:pt x="1479061" y="175348"/>
                  <a:pt x="1481055" y="175348"/>
                </a:cubicBezTo>
                <a:cubicBezTo>
                  <a:pt x="1483050" y="175348"/>
                  <a:pt x="1489034" y="175348"/>
                  <a:pt x="1489034" y="179334"/>
                </a:cubicBezTo>
                <a:cubicBezTo>
                  <a:pt x="1489034" y="183321"/>
                  <a:pt x="1487039" y="185314"/>
                  <a:pt x="1485044" y="187307"/>
                </a:cubicBezTo>
                <a:cubicBezTo>
                  <a:pt x="1481055" y="189300"/>
                  <a:pt x="1477066" y="191293"/>
                  <a:pt x="1477066" y="193287"/>
                </a:cubicBezTo>
                <a:cubicBezTo>
                  <a:pt x="1477066" y="197273"/>
                  <a:pt x="1477066" y="199266"/>
                  <a:pt x="1479061" y="197273"/>
                </a:cubicBezTo>
                <a:cubicBezTo>
                  <a:pt x="1483050" y="195280"/>
                  <a:pt x="1481055" y="195280"/>
                  <a:pt x="1483050" y="193287"/>
                </a:cubicBezTo>
                <a:cubicBezTo>
                  <a:pt x="1485044" y="193287"/>
                  <a:pt x="1485044" y="195280"/>
                  <a:pt x="1485044" y="195280"/>
                </a:cubicBezTo>
                <a:cubicBezTo>
                  <a:pt x="1485044" y="195280"/>
                  <a:pt x="1487039" y="197273"/>
                  <a:pt x="1489034" y="195280"/>
                </a:cubicBezTo>
                <a:cubicBezTo>
                  <a:pt x="1491028" y="193287"/>
                  <a:pt x="1495017" y="191293"/>
                  <a:pt x="1497012" y="193287"/>
                </a:cubicBezTo>
                <a:cubicBezTo>
                  <a:pt x="1501001" y="195280"/>
                  <a:pt x="1499006" y="195280"/>
                  <a:pt x="1502995" y="195280"/>
                </a:cubicBezTo>
                <a:cubicBezTo>
                  <a:pt x="1504990" y="197273"/>
                  <a:pt x="1504990" y="199266"/>
                  <a:pt x="1504990" y="199266"/>
                </a:cubicBezTo>
                <a:cubicBezTo>
                  <a:pt x="1504990" y="199266"/>
                  <a:pt x="1504990" y="203253"/>
                  <a:pt x="1506985" y="203253"/>
                </a:cubicBezTo>
                <a:cubicBezTo>
                  <a:pt x="1510974" y="203253"/>
                  <a:pt x="1510974" y="197273"/>
                  <a:pt x="1510974" y="197273"/>
                </a:cubicBezTo>
                <a:cubicBezTo>
                  <a:pt x="1510974" y="197273"/>
                  <a:pt x="1510974" y="195280"/>
                  <a:pt x="1512968" y="197273"/>
                </a:cubicBezTo>
                <a:cubicBezTo>
                  <a:pt x="1514963" y="197273"/>
                  <a:pt x="1514963" y="201259"/>
                  <a:pt x="1516957" y="203253"/>
                </a:cubicBezTo>
                <a:cubicBezTo>
                  <a:pt x="1518952" y="205246"/>
                  <a:pt x="1518952" y="207239"/>
                  <a:pt x="1520946" y="209232"/>
                </a:cubicBezTo>
                <a:cubicBezTo>
                  <a:pt x="1524936" y="209232"/>
                  <a:pt x="1526930" y="211225"/>
                  <a:pt x="1526930" y="213219"/>
                </a:cubicBezTo>
                <a:cubicBezTo>
                  <a:pt x="1524936" y="217205"/>
                  <a:pt x="1522941" y="219198"/>
                  <a:pt x="1520946" y="217205"/>
                </a:cubicBezTo>
                <a:cubicBezTo>
                  <a:pt x="1520946" y="217205"/>
                  <a:pt x="1516957" y="217205"/>
                  <a:pt x="1512968" y="219198"/>
                </a:cubicBezTo>
                <a:cubicBezTo>
                  <a:pt x="1510974" y="221191"/>
                  <a:pt x="1499006" y="227171"/>
                  <a:pt x="1495017" y="225178"/>
                </a:cubicBezTo>
                <a:cubicBezTo>
                  <a:pt x="1493023" y="225178"/>
                  <a:pt x="1489034" y="225178"/>
                  <a:pt x="1487039" y="229164"/>
                </a:cubicBezTo>
                <a:cubicBezTo>
                  <a:pt x="1483050" y="233150"/>
                  <a:pt x="1481055" y="233150"/>
                  <a:pt x="1479061" y="235144"/>
                </a:cubicBezTo>
                <a:cubicBezTo>
                  <a:pt x="1477066" y="239130"/>
                  <a:pt x="1475072" y="239130"/>
                  <a:pt x="1473077" y="239130"/>
                </a:cubicBezTo>
                <a:cubicBezTo>
                  <a:pt x="1469088" y="239130"/>
                  <a:pt x="1465099" y="243116"/>
                  <a:pt x="1465099" y="245110"/>
                </a:cubicBezTo>
                <a:cubicBezTo>
                  <a:pt x="1465099" y="245110"/>
                  <a:pt x="1459115" y="251089"/>
                  <a:pt x="1455126" y="249096"/>
                </a:cubicBezTo>
                <a:cubicBezTo>
                  <a:pt x="1451137" y="247103"/>
                  <a:pt x="1457121" y="239130"/>
                  <a:pt x="1455126" y="235144"/>
                </a:cubicBezTo>
                <a:cubicBezTo>
                  <a:pt x="1455126" y="231157"/>
                  <a:pt x="1453132" y="229164"/>
                  <a:pt x="1451137" y="233150"/>
                </a:cubicBezTo>
                <a:cubicBezTo>
                  <a:pt x="1449142" y="235144"/>
                  <a:pt x="1449142" y="239130"/>
                  <a:pt x="1449142" y="243116"/>
                </a:cubicBezTo>
                <a:cubicBezTo>
                  <a:pt x="1449142" y="247103"/>
                  <a:pt x="1449142" y="253082"/>
                  <a:pt x="1449142" y="255075"/>
                </a:cubicBezTo>
                <a:cubicBezTo>
                  <a:pt x="1449142" y="257069"/>
                  <a:pt x="1451137" y="259062"/>
                  <a:pt x="1449142" y="263048"/>
                </a:cubicBezTo>
                <a:cubicBezTo>
                  <a:pt x="1447148" y="267035"/>
                  <a:pt x="1443159" y="263048"/>
                  <a:pt x="1441164" y="261055"/>
                </a:cubicBezTo>
                <a:cubicBezTo>
                  <a:pt x="1441164" y="259062"/>
                  <a:pt x="1437175" y="257069"/>
                  <a:pt x="1435181" y="259062"/>
                </a:cubicBezTo>
                <a:cubicBezTo>
                  <a:pt x="1435181" y="263048"/>
                  <a:pt x="1435181" y="265041"/>
                  <a:pt x="1433186" y="267035"/>
                </a:cubicBezTo>
                <a:cubicBezTo>
                  <a:pt x="1431191" y="267035"/>
                  <a:pt x="1433186" y="271021"/>
                  <a:pt x="1431191" y="273014"/>
                </a:cubicBezTo>
                <a:cubicBezTo>
                  <a:pt x="1431191" y="275007"/>
                  <a:pt x="1429197" y="277001"/>
                  <a:pt x="1427202" y="273014"/>
                </a:cubicBezTo>
                <a:cubicBezTo>
                  <a:pt x="1425208" y="269028"/>
                  <a:pt x="1425208" y="265041"/>
                  <a:pt x="1423213" y="265041"/>
                </a:cubicBezTo>
                <a:cubicBezTo>
                  <a:pt x="1419224" y="265041"/>
                  <a:pt x="1417230" y="267035"/>
                  <a:pt x="1413240" y="265041"/>
                </a:cubicBezTo>
                <a:cubicBezTo>
                  <a:pt x="1411246" y="261055"/>
                  <a:pt x="1405262" y="257069"/>
                  <a:pt x="1403268" y="257069"/>
                </a:cubicBezTo>
                <a:cubicBezTo>
                  <a:pt x="1401273" y="259062"/>
                  <a:pt x="1401273" y="261055"/>
                  <a:pt x="1403268" y="263048"/>
                </a:cubicBezTo>
                <a:cubicBezTo>
                  <a:pt x="1407257" y="265041"/>
                  <a:pt x="1413240" y="267035"/>
                  <a:pt x="1415235" y="269028"/>
                </a:cubicBezTo>
                <a:cubicBezTo>
                  <a:pt x="1417230" y="273014"/>
                  <a:pt x="1417230" y="275007"/>
                  <a:pt x="1411246" y="277001"/>
                </a:cubicBezTo>
                <a:cubicBezTo>
                  <a:pt x="1407257" y="277001"/>
                  <a:pt x="1405262" y="277001"/>
                  <a:pt x="1403268" y="273014"/>
                </a:cubicBezTo>
                <a:cubicBezTo>
                  <a:pt x="1403268" y="271021"/>
                  <a:pt x="1399279" y="269028"/>
                  <a:pt x="1397284" y="269028"/>
                </a:cubicBezTo>
                <a:cubicBezTo>
                  <a:pt x="1393295" y="269028"/>
                  <a:pt x="1397284" y="273014"/>
                  <a:pt x="1397284" y="273014"/>
                </a:cubicBezTo>
                <a:cubicBezTo>
                  <a:pt x="1397284" y="275007"/>
                  <a:pt x="1399279" y="278994"/>
                  <a:pt x="1395289" y="280987"/>
                </a:cubicBezTo>
                <a:cubicBezTo>
                  <a:pt x="1391300" y="280987"/>
                  <a:pt x="1385317" y="278994"/>
                  <a:pt x="1383322" y="278994"/>
                </a:cubicBezTo>
                <a:cubicBezTo>
                  <a:pt x="1381328" y="277001"/>
                  <a:pt x="1375344" y="275007"/>
                  <a:pt x="1371355" y="273014"/>
                </a:cubicBezTo>
                <a:cubicBezTo>
                  <a:pt x="1367366" y="273014"/>
                  <a:pt x="1367366" y="273014"/>
                  <a:pt x="1363377" y="273014"/>
                </a:cubicBezTo>
                <a:cubicBezTo>
                  <a:pt x="1359387" y="273014"/>
                  <a:pt x="1355398" y="273014"/>
                  <a:pt x="1355398" y="271021"/>
                </a:cubicBezTo>
                <a:cubicBezTo>
                  <a:pt x="1355398" y="269028"/>
                  <a:pt x="1357393" y="267035"/>
                  <a:pt x="1349415" y="267035"/>
                </a:cubicBezTo>
                <a:cubicBezTo>
                  <a:pt x="1341436" y="267035"/>
                  <a:pt x="1345426" y="259062"/>
                  <a:pt x="1345426" y="259062"/>
                </a:cubicBezTo>
                <a:cubicBezTo>
                  <a:pt x="1345426" y="259062"/>
                  <a:pt x="1347420" y="259062"/>
                  <a:pt x="1349415" y="261055"/>
                </a:cubicBezTo>
                <a:cubicBezTo>
                  <a:pt x="1351409" y="263048"/>
                  <a:pt x="1353404" y="263048"/>
                  <a:pt x="1355398" y="261055"/>
                </a:cubicBezTo>
                <a:cubicBezTo>
                  <a:pt x="1357393" y="261055"/>
                  <a:pt x="1361382" y="259062"/>
                  <a:pt x="1363377" y="259062"/>
                </a:cubicBezTo>
                <a:cubicBezTo>
                  <a:pt x="1365371" y="261055"/>
                  <a:pt x="1367366" y="261055"/>
                  <a:pt x="1369360" y="261055"/>
                </a:cubicBezTo>
                <a:cubicBezTo>
                  <a:pt x="1371355" y="261055"/>
                  <a:pt x="1373349" y="261055"/>
                  <a:pt x="1371355" y="259062"/>
                </a:cubicBezTo>
                <a:cubicBezTo>
                  <a:pt x="1371355" y="257069"/>
                  <a:pt x="1369360" y="255075"/>
                  <a:pt x="1365371" y="255075"/>
                </a:cubicBezTo>
                <a:cubicBezTo>
                  <a:pt x="1363377" y="255075"/>
                  <a:pt x="1361382" y="255075"/>
                  <a:pt x="1359387" y="253082"/>
                </a:cubicBezTo>
                <a:cubicBezTo>
                  <a:pt x="1355398" y="253082"/>
                  <a:pt x="1351409" y="251089"/>
                  <a:pt x="1349415" y="253082"/>
                </a:cubicBezTo>
                <a:cubicBezTo>
                  <a:pt x="1347420" y="255075"/>
                  <a:pt x="1343431" y="255075"/>
                  <a:pt x="1341436" y="255075"/>
                </a:cubicBezTo>
                <a:cubicBezTo>
                  <a:pt x="1341436" y="253082"/>
                  <a:pt x="1343431" y="249096"/>
                  <a:pt x="1339442" y="249096"/>
                </a:cubicBezTo>
                <a:cubicBezTo>
                  <a:pt x="1339442" y="249096"/>
                  <a:pt x="1337447" y="247103"/>
                  <a:pt x="1339442" y="245110"/>
                </a:cubicBezTo>
                <a:cubicBezTo>
                  <a:pt x="1339442" y="243116"/>
                  <a:pt x="1343431" y="243116"/>
                  <a:pt x="1345426" y="245110"/>
                </a:cubicBezTo>
                <a:cubicBezTo>
                  <a:pt x="1347420" y="247103"/>
                  <a:pt x="1351409" y="247103"/>
                  <a:pt x="1351409" y="245110"/>
                </a:cubicBezTo>
                <a:cubicBezTo>
                  <a:pt x="1351409" y="243116"/>
                  <a:pt x="1347420" y="241123"/>
                  <a:pt x="1345426" y="241123"/>
                </a:cubicBezTo>
                <a:cubicBezTo>
                  <a:pt x="1343431" y="241123"/>
                  <a:pt x="1337447" y="237137"/>
                  <a:pt x="1335453" y="237137"/>
                </a:cubicBezTo>
                <a:cubicBezTo>
                  <a:pt x="1333458" y="235144"/>
                  <a:pt x="1327475" y="231157"/>
                  <a:pt x="1333458" y="229164"/>
                </a:cubicBezTo>
                <a:cubicBezTo>
                  <a:pt x="1339442" y="227171"/>
                  <a:pt x="1343431" y="227171"/>
                  <a:pt x="1343431" y="227171"/>
                </a:cubicBezTo>
                <a:cubicBezTo>
                  <a:pt x="1343431" y="227171"/>
                  <a:pt x="1345426" y="227171"/>
                  <a:pt x="1347420" y="225178"/>
                </a:cubicBezTo>
                <a:cubicBezTo>
                  <a:pt x="1349415" y="221191"/>
                  <a:pt x="1357393" y="219198"/>
                  <a:pt x="1357393" y="219198"/>
                </a:cubicBezTo>
                <a:cubicBezTo>
                  <a:pt x="1357393" y="219198"/>
                  <a:pt x="1371355" y="215212"/>
                  <a:pt x="1373349" y="217205"/>
                </a:cubicBezTo>
                <a:cubicBezTo>
                  <a:pt x="1377338" y="221191"/>
                  <a:pt x="1375344" y="223184"/>
                  <a:pt x="1385317" y="221191"/>
                </a:cubicBezTo>
                <a:cubicBezTo>
                  <a:pt x="1395289" y="217205"/>
                  <a:pt x="1397284" y="215212"/>
                  <a:pt x="1399279" y="217205"/>
                </a:cubicBezTo>
                <a:cubicBezTo>
                  <a:pt x="1403268" y="217205"/>
                  <a:pt x="1407257" y="217205"/>
                  <a:pt x="1409251" y="215212"/>
                </a:cubicBezTo>
                <a:cubicBezTo>
                  <a:pt x="1411246" y="213219"/>
                  <a:pt x="1407257" y="213219"/>
                  <a:pt x="1405262" y="213219"/>
                </a:cubicBezTo>
                <a:cubicBezTo>
                  <a:pt x="1401273" y="213219"/>
                  <a:pt x="1397284" y="213219"/>
                  <a:pt x="1395289" y="213219"/>
                </a:cubicBezTo>
                <a:cubicBezTo>
                  <a:pt x="1393295" y="213219"/>
                  <a:pt x="1385317" y="217205"/>
                  <a:pt x="1381328" y="217205"/>
                </a:cubicBezTo>
                <a:cubicBezTo>
                  <a:pt x="1377338" y="217205"/>
                  <a:pt x="1373349" y="217205"/>
                  <a:pt x="1373349" y="213219"/>
                </a:cubicBezTo>
                <a:cubicBezTo>
                  <a:pt x="1373349" y="209232"/>
                  <a:pt x="1377338" y="211225"/>
                  <a:pt x="1377338" y="211225"/>
                </a:cubicBezTo>
                <a:cubicBezTo>
                  <a:pt x="1377338" y="211225"/>
                  <a:pt x="1383322" y="211225"/>
                  <a:pt x="1379333" y="207239"/>
                </a:cubicBezTo>
                <a:cubicBezTo>
                  <a:pt x="1375344" y="203253"/>
                  <a:pt x="1373349" y="209232"/>
                  <a:pt x="1373349" y="205246"/>
                </a:cubicBezTo>
                <a:cubicBezTo>
                  <a:pt x="1371355" y="203253"/>
                  <a:pt x="1369360" y="205246"/>
                  <a:pt x="1369360" y="205246"/>
                </a:cubicBezTo>
                <a:cubicBezTo>
                  <a:pt x="1369360" y="205246"/>
                  <a:pt x="1365371" y="205246"/>
                  <a:pt x="1363377" y="205246"/>
                </a:cubicBezTo>
                <a:cubicBezTo>
                  <a:pt x="1363377" y="205246"/>
                  <a:pt x="1359387" y="203253"/>
                  <a:pt x="1359387" y="205246"/>
                </a:cubicBezTo>
                <a:cubicBezTo>
                  <a:pt x="1359387" y="207239"/>
                  <a:pt x="1359387" y="209232"/>
                  <a:pt x="1357393" y="207239"/>
                </a:cubicBezTo>
                <a:cubicBezTo>
                  <a:pt x="1355398" y="207239"/>
                  <a:pt x="1355398" y="207239"/>
                  <a:pt x="1353404" y="209232"/>
                </a:cubicBezTo>
                <a:cubicBezTo>
                  <a:pt x="1351409" y="209232"/>
                  <a:pt x="1349415" y="211225"/>
                  <a:pt x="1347420" y="211225"/>
                </a:cubicBezTo>
                <a:cubicBezTo>
                  <a:pt x="1347420" y="211225"/>
                  <a:pt x="1345426" y="213219"/>
                  <a:pt x="1343431" y="213219"/>
                </a:cubicBezTo>
                <a:cubicBezTo>
                  <a:pt x="1341436" y="213219"/>
                  <a:pt x="1339442" y="215212"/>
                  <a:pt x="1339442" y="213219"/>
                </a:cubicBezTo>
                <a:cubicBezTo>
                  <a:pt x="1339442" y="211225"/>
                  <a:pt x="1341436" y="209232"/>
                  <a:pt x="1341436" y="209232"/>
                </a:cubicBezTo>
                <a:cubicBezTo>
                  <a:pt x="1341436" y="209232"/>
                  <a:pt x="1343431" y="207239"/>
                  <a:pt x="1339442" y="207239"/>
                </a:cubicBezTo>
                <a:cubicBezTo>
                  <a:pt x="1337447" y="207239"/>
                  <a:pt x="1337447" y="207239"/>
                  <a:pt x="1335453" y="207239"/>
                </a:cubicBezTo>
                <a:cubicBezTo>
                  <a:pt x="1333458" y="207239"/>
                  <a:pt x="1331464" y="205246"/>
                  <a:pt x="1331464" y="205246"/>
                </a:cubicBezTo>
                <a:cubicBezTo>
                  <a:pt x="1331464" y="205246"/>
                  <a:pt x="1329469" y="205246"/>
                  <a:pt x="1329469" y="209232"/>
                </a:cubicBezTo>
                <a:cubicBezTo>
                  <a:pt x="1329469" y="211225"/>
                  <a:pt x="1329469" y="213219"/>
                  <a:pt x="1325480" y="213219"/>
                </a:cubicBezTo>
                <a:cubicBezTo>
                  <a:pt x="1323485" y="213219"/>
                  <a:pt x="1319496" y="213219"/>
                  <a:pt x="1317502" y="215212"/>
                </a:cubicBezTo>
                <a:cubicBezTo>
                  <a:pt x="1315507" y="215212"/>
                  <a:pt x="1315507" y="213219"/>
                  <a:pt x="1313513" y="213219"/>
                </a:cubicBezTo>
                <a:cubicBezTo>
                  <a:pt x="1313513" y="209232"/>
                  <a:pt x="1315507" y="207239"/>
                  <a:pt x="1313513" y="207239"/>
                </a:cubicBezTo>
                <a:cubicBezTo>
                  <a:pt x="1311518" y="207239"/>
                  <a:pt x="1305534" y="205246"/>
                  <a:pt x="1305534" y="201259"/>
                </a:cubicBezTo>
                <a:cubicBezTo>
                  <a:pt x="1309524" y="199266"/>
                  <a:pt x="1311518" y="197273"/>
                  <a:pt x="1313513" y="197273"/>
                </a:cubicBezTo>
                <a:cubicBezTo>
                  <a:pt x="1313513" y="199266"/>
                  <a:pt x="1317502" y="199266"/>
                  <a:pt x="1319496" y="197273"/>
                </a:cubicBezTo>
                <a:cubicBezTo>
                  <a:pt x="1319496" y="197273"/>
                  <a:pt x="1323485" y="199266"/>
                  <a:pt x="1323485" y="199266"/>
                </a:cubicBezTo>
                <a:cubicBezTo>
                  <a:pt x="1323485" y="199266"/>
                  <a:pt x="1325480" y="201259"/>
                  <a:pt x="1327475" y="199266"/>
                </a:cubicBezTo>
                <a:cubicBezTo>
                  <a:pt x="1329469" y="197273"/>
                  <a:pt x="1327475" y="197273"/>
                  <a:pt x="1331464" y="197273"/>
                </a:cubicBezTo>
                <a:cubicBezTo>
                  <a:pt x="1333458" y="197273"/>
                  <a:pt x="1335453" y="197273"/>
                  <a:pt x="1335453" y="195280"/>
                </a:cubicBezTo>
                <a:cubicBezTo>
                  <a:pt x="1335453" y="193287"/>
                  <a:pt x="1333458" y="193287"/>
                  <a:pt x="1329469" y="193287"/>
                </a:cubicBezTo>
                <a:cubicBezTo>
                  <a:pt x="1325480" y="193287"/>
                  <a:pt x="1323485" y="193287"/>
                  <a:pt x="1319496" y="193287"/>
                </a:cubicBezTo>
                <a:cubicBezTo>
                  <a:pt x="1315507" y="193287"/>
                  <a:pt x="1309524" y="193287"/>
                  <a:pt x="1309524" y="193287"/>
                </a:cubicBezTo>
                <a:cubicBezTo>
                  <a:pt x="1307529" y="193287"/>
                  <a:pt x="1303540" y="193287"/>
                  <a:pt x="1303540" y="191293"/>
                </a:cubicBezTo>
                <a:cubicBezTo>
                  <a:pt x="1301545" y="187307"/>
                  <a:pt x="1297556" y="191293"/>
                  <a:pt x="1295562" y="189300"/>
                </a:cubicBezTo>
                <a:cubicBezTo>
                  <a:pt x="1293567" y="187307"/>
                  <a:pt x="1293567" y="183321"/>
                  <a:pt x="1295562" y="183321"/>
                </a:cubicBezTo>
                <a:cubicBezTo>
                  <a:pt x="1297556" y="183321"/>
                  <a:pt x="1297556" y="181327"/>
                  <a:pt x="1297556" y="177341"/>
                </a:cubicBezTo>
                <a:cubicBezTo>
                  <a:pt x="1297556" y="175348"/>
                  <a:pt x="1299551" y="171362"/>
                  <a:pt x="1303540" y="173355"/>
                </a:cubicBezTo>
                <a:cubicBezTo>
                  <a:pt x="1307529" y="175348"/>
                  <a:pt x="1311518" y="179334"/>
                  <a:pt x="1313513" y="179334"/>
                </a:cubicBezTo>
                <a:cubicBezTo>
                  <a:pt x="1317502" y="179334"/>
                  <a:pt x="1321491" y="179334"/>
                  <a:pt x="1321491" y="177341"/>
                </a:cubicBezTo>
                <a:cubicBezTo>
                  <a:pt x="1323485" y="175348"/>
                  <a:pt x="1325480" y="173355"/>
                  <a:pt x="1331464" y="177341"/>
                </a:cubicBezTo>
                <a:cubicBezTo>
                  <a:pt x="1333458" y="181327"/>
                  <a:pt x="1335453" y="181327"/>
                  <a:pt x="1337447" y="181327"/>
                </a:cubicBezTo>
                <a:cubicBezTo>
                  <a:pt x="1339442" y="181327"/>
                  <a:pt x="1341436" y="181327"/>
                  <a:pt x="1339442" y="179334"/>
                </a:cubicBezTo>
                <a:cubicBezTo>
                  <a:pt x="1339442" y="177341"/>
                  <a:pt x="1333458" y="175348"/>
                  <a:pt x="1331464" y="175348"/>
                </a:cubicBezTo>
                <a:cubicBezTo>
                  <a:pt x="1329469" y="173355"/>
                  <a:pt x="1325480" y="173355"/>
                  <a:pt x="1323485" y="173355"/>
                </a:cubicBezTo>
                <a:cubicBezTo>
                  <a:pt x="1319496" y="173355"/>
                  <a:pt x="1319496" y="171362"/>
                  <a:pt x="1315507" y="171362"/>
                </a:cubicBezTo>
                <a:cubicBezTo>
                  <a:pt x="1309524" y="171362"/>
                  <a:pt x="1309524" y="171362"/>
                  <a:pt x="1307529" y="169368"/>
                </a:cubicBezTo>
                <a:cubicBezTo>
                  <a:pt x="1307529" y="167375"/>
                  <a:pt x="1307529" y="167375"/>
                  <a:pt x="1301545" y="167375"/>
                </a:cubicBezTo>
                <a:cubicBezTo>
                  <a:pt x="1295562" y="167375"/>
                  <a:pt x="1297556" y="167375"/>
                  <a:pt x="1299551" y="163389"/>
                </a:cubicBezTo>
                <a:cubicBezTo>
                  <a:pt x="1301545" y="159402"/>
                  <a:pt x="1309524" y="159402"/>
                  <a:pt x="1309524" y="161396"/>
                </a:cubicBezTo>
                <a:cubicBezTo>
                  <a:pt x="1309524" y="163389"/>
                  <a:pt x="1315507" y="163389"/>
                  <a:pt x="1315507" y="161396"/>
                </a:cubicBezTo>
                <a:cubicBezTo>
                  <a:pt x="1315507" y="159402"/>
                  <a:pt x="1315507" y="153423"/>
                  <a:pt x="1319496" y="151430"/>
                </a:cubicBezTo>
                <a:cubicBezTo>
                  <a:pt x="1323485" y="149436"/>
                  <a:pt x="1327475" y="149436"/>
                  <a:pt x="1327475" y="149436"/>
                </a:cubicBezTo>
                <a:cubicBezTo>
                  <a:pt x="1327475" y="147443"/>
                  <a:pt x="1325480" y="145450"/>
                  <a:pt x="1323485" y="145450"/>
                </a:cubicBezTo>
                <a:cubicBezTo>
                  <a:pt x="1321491" y="147443"/>
                  <a:pt x="1311518" y="149436"/>
                  <a:pt x="1309524" y="147443"/>
                </a:cubicBezTo>
                <a:cubicBezTo>
                  <a:pt x="1309524" y="145450"/>
                  <a:pt x="1309524" y="141464"/>
                  <a:pt x="1311518" y="141464"/>
                </a:cubicBezTo>
                <a:cubicBezTo>
                  <a:pt x="1313513" y="141464"/>
                  <a:pt x="1317502" y="141464"/>
                  <a:pt x="1319496" y="141464"/>
                </a:cubicBezTo>
                <a:cubicBezTo>
                  <a:pt x="1321491" y="143457"/>
                  <a:pt x="1325480" y="141464"/>
                  <a:pt x="1327475" y="141464"/>
                </a:cubicBezTo>
                <a:cubicBezTo>
                  <a:pt x="1329469" y="141464"/>
                  <a:pt x="1331464" y="141464"/>
                  <a:pt x="1331464" y="143457"/>
                </a:cubicBezTo>
                <a:cubicBezTo>
                  <a:pt x="1331464" y="147443"/>
                  <a:pt x="1333458" y="149436"/>
                  <a:pt x="1335453" y="149436"/>
                </a:cubicBezTo>
                <a:cubicBezTo>
                  <a:pt x="1339442" y="149436"/>
                  <a:pt x="1347420" y="147443"/>
                  <a:pt x="1349415" y="149436"/>
                </a:cubicBezTo>
                <a:cubicBezTo>
                  <a:pt x="1351409" y="151430"/>
                  <a:pt x="1355398" y="153423"/>
                  <a:pt x="1355398" y="153423"/>
                </a:cubicBezTo>
                <a:cubicBezTo>
                  <a:pt x="1357393" y="155416"/>
                  <a:pt x="1361382" y="153423"/>
                  <a:pt x="1361382" y="153423"/>
                </a:cubicBezTo>
                <a:cubicBezTo>
                  <a:pt x="1361382" y="151430"/>
                  <a:pt x="1361382" y="149436"/>
                  <a:pt x="1355398" y="147443"/>
                </a:cubicBezTo>
                <a:cubicBezTo>
                  <a:pt x="1351409" y="147443"/>
                  <a:pt x="1347420" y="147443"/>
                  <a:pt x="1345426" y="145450"/>
                </a:cubicBezTo>
                <a:cubicBezTo>
                  <a:pt x="1343431" y="141464"/>
                  <a:pt x="1347420" y="141464"/>
                  <a:pt x="1347420" y="141464"/>
                </a:cubicBezTo>
                <a:lnTo>
                  <a:pt x="1345426" y="141464"/>
                </a:lnTo>
                <a:cubicBezTo>
                  <a:pt x="1341436" y="141464"/>
                  <a:pt x="1331464" y="139471"/>
                  <a:pt x="1331464" y="137477"/>
                </a:cubicBezTo>
                <a:cubicBezTo>
                  <a:pt x="1331464" y="135484"/>
                  <a:pt x="1333458" y="133491"/>
                  <a:pt x="1333458" y="131498"/>
                </a:cubicBezTo>
                <a:cubicBezTo>
                  <a:pt x="1333458" y="129505"/>
                  <a:pt x="1337447" y="125518"/>
                  <a:pt x="1339442" y="125518"/>
                </a:cubicBezTo>
                <a:cubicBezTo>
                  <a:pt x="1343431" y="127511"/>
                  <a:pt x="1347420" y="125518"/>
                  <a:pt x="1351409" y="129505"/>
                </a:cubicBezTo>
                <a:cubicBezTo>
                  <a:pt x="1353404" y="129505"/>
                  <a:pt x="1359387" y="129505"/>
                  <a:pt x="1361382" y="129505"/>
                </a:cubicBezTo>
                <a:cubicBezTo>
                  <a:pt x="1363377" y="127511"/>
                  <a:pt x="1363377" y="125518"/>
                  <a:pt x="1361382" y="125518"/>
                </a:cubicBezTo>
                <a:cubicBezTo>
                  <a:pt x="1359387" y="125518"/>
                  <a:pt x="1355398" y="125518"/>
                  <a:pt x="1355398" y="123525"/>
                </a:cubicBezTo>
                <a:cubicBezTo>
                  <a:pt x="1355398" y="121532"/>
                  <a:pt x="1359387" y="119539"/>
                  <a:pt x="1361382" y="121532"/>
                </a:cubicBezTo>
                <a:cubicBezTo>
                  <a:pt x="1363377" y="121532"/>
                  <a:pt x="1367366" y="119539"/>
                  <a:pt x="1369360" y="121532"/>
                </a:cubicBezTo>
                <a:cubicBezTo>
                  <a:pt x="1371355" y="123525"/>
                  <a:pt x="1373349" y="125518"/>
                  <a:pt x="1375344" y="123525"/>
                </a:cubicBezTo>
                <a:cubicBezTo>
                  <a:pt x="1377338" y="123525"/>
                  <a:pt x="1377338" y="121532"/>
                  <a:pt x="1377338" y="119539"/>
                </a:cubicBezTo>
                <a:cubicBezTo>
                  <a:pt x="1379333" y="119539"/>
                  <a:pt x="1383322" y="119539"/>
                  <a:pt x="1383322" y="119539"/>
                </a:cubicBezTo>
                <a:cubicBezTo>
                  <a:pt x="1385317" y="121532"/>
                  <a:pt x="1385317" y="121532"/>
                  <a:pt x="1385317" y="117545"/>
                </a:cubicBezTo>
                <a:cubicBezTo>
                  <a:pt x="1385317" y="115552"/>
                  <a:pt x="1383322" y="115552"/>
                  <a:pt x="1381328" y="115552"/>
                </a:cubicBezTo>
                <a:cubicBezTo>
                  <a:pt x="1379333" y="115552"/>
                  <a:pt x="1377338" y="115552"/>
                  <a:pt x="1375344" y="115552"/>
                </a:cubicBezTo>
                <a:cubicBezTo>
                  <a:pt x="1373349" y="113559"/>
                  <a:pt x="1373349" y="113559"/>
                  <a:pt x="1369360" y="115552"/>
                </a:cubicBezTo>
                <a:cubicBezTo>
                  <a:pt x="1367366" y="115552"/>
                  <a:pt x="1363377" y="117545"/>
                  <a:pt x="1359387" y="115552"/>
                </a:cubicBezTo>
                <a:cubicBezTo>
                  <a:pt x="1355398" y="115552"/>
                  <a:pt x="1351409" y="115552"/>
                  <a:pt x="1349415" y="111566"/>
                </a:cubicBezTo>
                <a:cubicBezTo>
                  <a:pt x="1347420" y="109573"/>
                  <a:pt x="1351409" y="105586"/>
                  <a:pt x="1351409" y="105586"/>
                </a:cubicBezTo>
                <a:cubicBezTo>
                  <a:pt x="1351409" y="105586"/>
                  <a:pt x="1351409" y="101600"/>
                  <a:pt x="1355398" y="101600"/>
                </a:cubicBezTo>
                <a:close/>
                <a:moveTo>
                  <a:pt x="1877826" y="0"/>
                </a:moveTo>
                <a:cubicBezTo>
                  <a:pt x="1881817" y="0"/>
                  <a:pt x="1881817" y="2001"/>
                  <a:pt x="1881817" y="4002"/>
                </a:cubicBezTo>
                <a:cubicBezTo>
                  <a:pt x="1883813" y="8004"/>
                  <a:pt x="1887804" y="6003"/>
                  <a:pt x="1887804" y="8004"/>
                </a:cubicBezTo>
                <a:cubicBezTo>
                  <a:pt x="1889799" y="8004"/>
                  <a:pt x="1891795" y="8004"/>
                  <a:pt x="1893790" y="12005"/>
                </a:cubicBezTo>
                <a:cubicBezTo>
                  <a:pt x="1893790" y="16007"/>
                  <a:pt x="1899777" y="12005"/>
                  <a:pt x="1903768" y="12005"/>
                </a:cubicBezTo>
                <a:cubicBezTo>
                  <a:pt x="1907760" y="10004"/>
                  <a:pt x="1909755" y="12005"/>
                  <a:pt x="1911751" y="14006"/>
                </a:cubicBezTo>
                <a:cubicBezTo>
                  <a:pt x="1913746" y="16007"/>
                  <a:pt x="1919733" y="14006"/>
                  <a:pt x="1921729" y="12005"/>
                </a:cubicBezTo>
                <a:cubicBezTo>
                  <a:pt x="1923724" y="12005"/>
                  <a:pt x="1927716" y="12005"/>
                  <a:pt x="1929711" y="12005"/>
                </a:cubicBezTo>
                <a:cubicBezTo>
                  <a:pt x="1931707" y="14006"/>
                  <a:pt x="1933702" y="14006"/>
                  <a:pt x="1935698" y="14006"/>
                </a:cubicBezTo>
                <a:cubicBezTo>
                  <a:pt x="1937693" y="12005"/>
                  <a:pt x="1941685" y="14006"/>
                  <a:pt x="1941685" y="14006"/>
                </a:cubicBezTo>
                <a:cubicBezTo>
                  <a:pt x="1941685" y="14006"/>
                  <a:pt x="1945676" y="16007"/>
                  <a:pt x="1949667" y="16007"/>
                </a:cubicBezTo>
                <a:cubicBezTo>
                  <a:pt x="1951663" y="16007"/>
                  <a:pt x="1955654" y="16007"/>
                  <a:pt x="1955654" y="18008"/>
                </a:cubicBezTo>
                <a:cubicBezTo>
                  <a:pt x="1955654" y="20009"/>
                  <a:pt x="1953658" y="20009"/>
                  <a:pt x="1943680" y="22010"/>
                </a:cubicBezTo>
                <a:cubicBezTo>
                  <a:pt x="1931707" y="24011"/>
                  <a:pt x="1929711" y="24011"/>
                  <a:pt x="1927716" y="24011"/>
                </a:cubicBezTo>
                <a:cubicBezTo>
                  <a:pt x="1923724" y="24011"/>
                  <a:pt x="1915742" y="28013"/>
                  <a:pt x="1911751" y="28013"/>
                </a:cubicBezTo>
                <a:cubicBezTo>
                  <a:pt x="1907760" y="28013"/>
                  <a:pt x="1907760" y="28013"/>
                  <a:pt x="1907760" y="28013"/>
                </a:cubicBezTo>
                <a:cubicBezTo>
                  <a:pt x="1907760" y="28013"/>
                  <a:pt x="1905764" y="30014"/>
                  <a:pt x="1901773" y="30014"/>
                </a:cubicBezTo>
                <a:cubicBezTo>
                  <a:pt x="1899777" y="30014"/>
                  <a:pt x="1899777" y="32015"/>
                  <a:pt x="1899777" y="34015"/>
                </a:cubicBezTo>
                <a:cubicBezTo>
                  <a:pt x="1899777" y="36016"/>
                  <a:pt x="1903768" y="32015"/>
                  <a:pt x="1903768" y="32015"/>
                </a:cubicBezTo>
                <a:cubicBezTo>
                  <a:pt x="1903768" y="32015"/>
                  <a:pt x="1909755" y="32015"/>
                  <a:pt x="1911751" y="30014"/>
                </a:cubicBezTo>
                <a:cubicBezTo>
                  <a:pt x="1915742" y="30014"/>
                  <a:pt x="1919733" y="32015"/>
                  <a:pt x="1921729" y="32015"/>
                </a:cubicBezTo>
                <a:cubicBezTo>
                  <a:pt x="1923724" y="34015"/>
                  <a:pt x="1933702" y="32015"/>
                  <a:pt x="1935698" y="30014"/>
                </a:cubicBezTo>
                <a:cubicBezTo>
                  <a:pt x="1937693" y="28013"/>
                  <a:pt x="1947671" y="26012"/>
                  <a:pt x="1951663" y="26012"/>
                </a:cubicBezTo>
                <a:cubicBezTo>
                  <a:pt x="1955654" y="26012"/>
                  <a:pt x="1959645" y="24011"/>
                  <a:pt x="1959645" y="24011"/>
                </a:cubicBezTo>
                <a:cubicBezTo>
                  <a:pt x="1959645" y="24011"/>
                  <a:pt x="1963636" y="22010"/>
                  <a:pt x="1969623" y="22010"/>
                </a:cubicBezTo>
                <a:cubicBezTo>
                  <a:pt x="1973614" y="20009"/>
                  <a:pt x="1975610" y="22010"/>
                  <a:pt x="1977605" y="24011"/>
                </a:cubicBezTo>
                <a:cubicBezTo>
                  <a:pt x="1979601" y="24011"/>
                  <a:pt x="1979601" y="22010"/>
                  <a:pt x="1979601" y="18008"/>
                </a:cubicBezTo>
                <a:cubicBezTo>
                  <a:pt x="1979601" y="16007"/>
                  <a:pt x="1991574" y="14006"/>
                  <a:pt x="1995565" y="16007"/>
                </a:cubicBezTo>
                <a:cubicBezTo>
                  <a:pt x="1999557" y="18008"/>
                  <a:pt x="1997561" y="18008"/>
                  <a:pt x="1995565" y="22010"/>
                </a:cubicBezTo>
                <a:cubicBezTo>
                  <a:pt x="1993570" y="24011"/>
                  <a:pt x="1997561" y="24011"/>
                  <a:pt x="2001552" y="24011"/>
                </a:cubicBezTo>
                <a:cubicBezTo>
                  <a:pt x="2005543" y="24011"/>
                  <a:pt x="2009535" y="20009"/>
                  <a:pt x="2009535" y="20009"/>
                </a:cubicBezTo>
                <a:cubicBezTo>
                  <a:pt x="2009535" y="20009"/>
                  <a:pt x="2013526" y="20009"/>
                  <a:pt x="2015521" y="20009"/>
                </a:cubicBezTo>
                <a:cubicBezTo>
                  <a:pt x="2017517" y="20009"/>
                  <a:pt x="2019513" y="22010"/>
                  <a:pt x="2017517" y="26012"/>
                </a:cubicBezTo>
                <a:cubicBezTo>
                  <a:pt x="2015521" y="30014"/>
                  <a:pt x="2019513" y="28013"/>
                  <a:pt x="2019513" y="28013"/>
                </a:cubicBezTo>
                <a:cubicBezTo>
                  <a:pt x="2019513" y="28013"/>
                  <a:pt x="2025499" y="26012"/>
                  <a:pt x="2023504" y="28013"/>
                </a:cubicBezTo>
                <a:cubicBezTo>
                  <a:pt x="2023504" y="32015"/>
                  <a:pt x="2023504" y="34015"/>
                  <a:pt x="2027495" y="36016"/>
                </a:cubicBezTo>
                <a:cubicBezTo>
                  <a:pt x="2027495" y="38017"/>
                  <a:pt x="2027495" y="40018"/>
                  <a:pt x="2025499" y="40018"/>
                </a:cubicBezTo>
                <a:cubicBezTo>
                  <a:pt x="2023504" y="42019"/>
                  <a:pt x="2023504" y="44020"/>
                  <a:pt x="2021508" y="48022"/>
                </a:cubicBezTo>
                <a:cubicBezTo>
                  <a:pt x="2021508" y="52024"/>
                  <a:pt x="2027495" y="46021"/>
                  <a:pt x="2029490" y="44020"/>
                </a:cubicBezTo>
                <a:cubicBezTo>
                  <a:pt x="2031486" y="40018"/>
                  <a:pt x="2037473" y="40018"/>
                  <a:pt x="2039468" y="42019"/>
                </a:cubicBezTo>
                <a:cubicBezTo>
                  <a:pt x="2041464" y="44020"/>
                  <a:pt x="2047451" y="42019"/>
                  <a:pt x="2049446" y="40018"/>
                </a:cubicBezTo>
                <a:cubicBezTo>
                  <a:pt x="2049446" y="38017"/>
                  <a:pt x="2049446" y="44020"/>
                  <a:pt x="2051442" y="44020"/>
                </a:cubicBezTo>
                <a:cubicBezTo>
                  <a:pt x="2053438" y="46021"/>
                  <a:pt x="2057429" y="44020"/>
                  <a:pt x="2061420" y="42019"/>
                </a:cubicBezTo>
                <a:cubicBezTo>
                  <a:pt x="2063415" y="42019"/>
                  <a:pt x="2065411" y="42019"/>
                  <a:pt x="2067407" y="44020"/>
                </a:cubicBezTo>
                <a:cubicBezTo>
                  <a:pt x="2067407" y="44020"/>
                  <a:pt x="2075389" y="44020"/>
                  <a:pt x="2077385" y="44020"/>
                </a:cubicBezTo>
                <a:cubicBezTo>
                  <a:pt x="2077385" y="44020"/>
                  <a:pt x="2079380" y="56025"/>
                  <a:pt x="2071398" y="58026"/>
                </a:cubicBezTo>
                <a:cubicBezTo>
                  <a:pt x="2063415" y="62028"/>
                  <a:pt x="2039468" y="70032"/>
                  <a:pt x="2039468" y="70032"/>
                </a:cubicBezTo>
                <a:cubicBezTo>
                  <a:pt x="2039468" y="70032"/>
                  <a:pt x="2031486" y="74034"/>
                  <a:pt x="2027495" y="76035"/>
                </a:cubicBezTo>
                <a:cubicBezTo>
                  <a:pt x="2021508" y="76035"/>
                  <a:pt x="2017517" y="80036"/>
                  <a:pt x="2017517" y="80036"/>
                </a:cubicBezTo>
                <a:cubicBezTo>
                  <a:pt x="2017517" y="80036"/>
                  <a:pt x="2009535" y="84038"/>
                  <a:pt x="2005543" y="82037"/>
                </a:cubicBezTo>
                <a:cubicBezTo>
                  <a:pt x="2003548" y="82037"/>
                  <a:pt x="1997561" y="82037"/>
                  <a:pt x="1995565" y="86039"/>
                </a:cubicBezTo>
                <a:cubicBezTo>
                  <a:pt x="1993570" y="92042"/>
                  <a:pt x="1987583" y="90041"/>
                  <a:pt x="1987583" y="86039"/>
                </a:cubicBezTo>
                <a:cubicBezTo>
                  <a:pt x="1985588" y="84038"/>
                  <a:pt x="1979601" y="84038"/>
                  <a:pt x="1977605" y="84038"/>
                </a:cubicBezTo>
                <a:cubicBezTo>
                  <a:pt x="1977605" y="86039"/>
                  <a:pt x="1971618" y="84038"/>
                  <a:pt x="1971618" y="84038"/>
                </a:cubicBezTo>
                <a:cubicBezTo>
                  <a:pt x="1971618" y="84038"/>
                  <a:pt x="1961640" y="80036"/>
                  <a:pt x="1959645" y="84038"/>
                </a:cubicBezTo>
                <a:cubicBezTo>
                  <a:pt x="1957649" y="90041"/>
                  <a:pt x="1959645" y="90041"/>
                  <a:pt x="1963636" y="96044"/>
                </a:cubicBezTo>
                <a:cubicBezTo>
                  <a:pt x="1965632" y="100046"/>
                  <a:pt x="1967627" y="98045"/>
                  <a:pt x="1973614" y="96044"/>
                </a:cubicBezTo>
                <a:cubicBezTo>
                  <a:pt x="1979601" y="96044"/>
                  <a:pt x="1981596" y="94043"/>
                  <a:pt x="1985588" y="94043"/>
                </a:cubicBezTo>
                <a:cubicBezTo>
                  <a:pt x="1989579" y="94043"/>
                  <a:pt x="1989579" y="100046"/>
                  <a:pt x="1983592" y="102046"/>
                </a:cubicBezTo>
                <a:cubicBezTo>
                  <a:pt x="1979601" y="106048"/>
                  <a:pt x="1965632" y="110050"/>
                  <a:pt x="1955654" y="112051"/>
                </a:cubicBezTo>
                <a:cubicBezTo>
                  <a:pt x="1945676" y="116053"/>
                  <a:pt x="1947671" y="116053"/>
                  <a:pt x="1943680" y="124056"/>
                </a:cubicBezTo>
                <a:cubicBezTo>
                  <a:pt x="1937693" y="130059"/>
                  <a:pt x="1927716" y="130059"/>
                  <a:pt x="1923724" y="130059"/>
                </a:cubicBezTo>
                <a:cubicBezTo>
                  <a:pt x="1919733" y="132060"/>
                  <a:pt x="1917738" y="130059"/>
                  <a:pt x="1917738" y="134061"/>
                </a:cubicBezTo>
                <a:cubicBezTo>
                  <a:pt x="1917738" y="138063"/>
                  <a:pt x="1911751" y="138063"/>
                  <a:pt x="1907760" y="138063"/>
                </a:cubicBezTo>
                <a:cubicBezTo>
                  <a:pt x="1903768" y="138063"/>
                  <a:pt x="1897782" y="144066"/>
                  <a:pt x="1897782" y="144066"/>
                </a:cubicBezTo>
                <a:cubicBezTo>
                  <a:pt x="1895786" y="146066"/>
                  <a:pt x="1893790" y="146066"/>
                  <a:pt x="1889799" y="148067"/>
                </a:cubicBezTo>
                <a:cubicBezTo>
                  <a:pt x="1887804" y="150068"/>
                  <a:pt x="1889799" y="152069"/>
                  <a:pt x="1885808" y="154070"/>
                </a:cubicBezTo>
                <a:cubicBezTo>
                  <a:pt x="1881817" y="156071"/>
                  <a:pt x="1879821" y="156071"/>
                  <a:pt x="1877826" y="160073"/>
                </a:cubicBezTo>
                <a:cubicBezTo>
                  <a:pt x="1875830" y="160073"/>
                  <a:pt x="1871839" y="164075"/>
                  <a:pt x="1869843" y="166076"/>
                </a:cubicBezTo>
                <a:cubicBezTo>
                  <a:pt x="1865852" y="168076"/>
                  <a:pt x="1861861" y="166076"/>
                  <a:pt x="1859866" y="164075"/>
                </a:cubicBezTo>
                <a:cubicBezTo>
                  <a:pt x="1859866" y="164075"/>
                  <a:pt x="1855874" y="164075"/>
                  <a:pt x="1853879" y="164075"/>
                </a:cubicBezTo>
                <a:cubicBezTo>
                  <a:pt x="1851883" y="164075"/>
                  <a:pt x="1851883" y="162074"/>
                  <a:pt x="1849888" y="164075"/>
                </a:cubicBezTo>
                <a:cubicBezTo>
                  <a:pt x="1847892" y="166076"/>
                  <a:pt x="1845896" y="164075"/>
                  <a:pt x="1841905" y="162074"/>
                </a:cubicBezTo>
                <a:cubicBezTo>
                  <a:pt x="1837914" y="160073"/>
                  <a:pt x="1837914" y="162074"/>
                  <a:pt x="1837914" y="162074"/>
                </a:cubicBezTo>
                <a:cubicBezTo>
                  <a:pt x="1837914" y="162074"/>
                  <a:pt x="1839910" y="164075"/>
                  <a:pt x="1841905" y="168076"/>
                </a:cubicBezTo>
                <a:cubicBezTo>
                  <a:pt x="1841905" y="172078"/>
                  <a:pt x="1843901" y="168076"/>
                  <a:pt x="1845896" y="168076"/>
                </a:cubicBezTo>
                <a:cubicBezTo>
                  <a:pt x="1847892" y="168076"/>
                  <a:pt x="1849888" y="168076"/>
                  <a:pt x="1849888" y="168076"/>
                </a:cubicBezTo>
                <a:cubicBezTo>
                  <a:pt x="1849888" y="168076"/>
                  <a:pt x="1853879" y="166076"/>
                  <a:pt x="1853879" y="168076"/>
                </a:cubicBezTo>
                <a:cubicBezTo>
                  <a:pt x="1855874" y="168076"/>
                  <a:pt x="1855874" y="174079"/>
                  <a:pt x="1853879" y="174079"/>
                </a:cubicBezTo>
                <a:cubicBezTo>
                  <a:pt x="1849888" y="174079"/>
                  <a:pt x="1851883" y="174079"/>
                  <a:pt x="1847892" y="176080"/>
                </a:cubicBezTo>
                <a:cubicBezTo>
                  <a:pt x="1843901" y="178081"/>
                  <a:pt x="1839910" y="178081"/>
                  <a:pt x="1837914" y="176080"/>
                </a:cubicBezTo>
                <a:cubicBezTo>
                  <a:pt x="1835918" y="172078"/>
                  <a:pt x="1823945" y="170077"/>
                  <a:pt x="1819954" y="174079"/>
                </a:cubicBezTo>
                <a:cubicBezTo>
                  <a:pt x="1813967" y="178081"/>
                  <a:pt x="1809976" y="176080"/>
                  <a:pt x="1803989" y="176080"/>
                </a:cubicBezTo>
                <a:cubicBezTo>
                  <a:pt x="1799998" y="174079"/>
                  <a:pt x="1805985" y="178081"/>
                  <a:pt x="1807980" y="180082"/>
                </a:cubicBezTo>
                <a:cubicBezTo>
                  <a:pt x="1809976" y="182083"/>
                  <a:pt x="1815963" y="182083"/>
                  <a:pt x="1817958" y="180082"/>
                </a:cubicBezTo>
                <a:cubicBezTo>
                  <a:pt x="1819954" y="180082"/>
                  <a:pt x="1823945" y="178081"/>
                  <a:pt x="1825941" y="180082"/>
                </a:cubicBezTo>
                <a:cubicBezTo>
                  <a:pt x="1827936" y="180082"/>
                  <a:pt x="1829932" y="182083"/>
                  <a:pt x="1831927" y="180082"/>
                </a:cubicBezTo>
                <a:cubicBezTo>
                  <a:pt x="1833923" y="180082"/>
                  <a:pt x="1837914" y="182083"/>
                  <a:pt x="1835918" y="184084"/>
                </a:cubicBezTo>
                <a:cubicBezTo>
                  <a:pt x="1833923" y="188086"/>
                  <a:pt x="1829932" y="184084"/>
                  <a:pt x="1825941" y="188086"/>
                </a:cubicBezTo>
                <a:cubicBezTo>
                  <a:pt x="1821949" y="190087"/>
                  <a:pt x="1823945" y="190087"/>
                  <a:pt x="1827936" y="192087"/>
                </a:cubicBezTo>
                <a:cubicBezTo>
                  <a:pt x="1829932" y="192087"/>
                  <a:pt x="1823945" y="196089"/>
                  <a:pt x="1823945" y="196089"/>
                </a:cubicBezTo>
                <a:cubicBezTo>
                  <a:pt x="1823945" y="196089"/>
                  <a:pt x="1815963" y="200091"/>
                  <a:pt x="1813967" y="202092"/>
                </a:cubicBezTo>
                <a:cubicBezTo>
                  <a:pt x="1809976" y="202092"/>
                  <a:pt x="1805985" y="202092"/>
                  <a:pt x="1803989" y="202092"/>
                </a:cubicBezTo>
                <a:cubicBezTo>
                  <a:pt x="1801993" y="202092"/>
                  <a:pt x="1799998" y="202092"/>
                  <a:pt x="1798002" y="202092"/>
                </a:cubicBezTo>
                <a:cubicBezTo>
                  <a:pt x="1796007" y="204093"/>
                  <a:pt x="1794011" y="204093"/>
                  <a:pt x="1790020" y="204093"/>
                </a:cubicBezTo>
                <a:cubicBezTo>
                  <a:pt x="1784033" y="204093"/>
                  <a:pt x="1782038" y="202092"/>
                  <a:pt x="1782038" y="200091"/>
                </a:cubicBezTo>
                <a:cubicBezTo>
                  <a:pt x="1782038" y="198090"/>
                  <a:pt x="1780042" y="198090"/>
                  <a:pt x="1778046" y="196089"/>
                </a:cubicBezTo>
                <a:cubicBezTo>
                  <a:pt x="1776051" y="194088"/>
                  <a:pt x="1778046" y="192087"/>
                  <a:pt x="1778046" y="190087"/>
                </a:cubicBezTo>
                <a:cubicBezTo>
                  <a:pt x="1778046" y="188086"/>
                  <a:pt x="1772060" y="188086"/>
                  <a:pt x="1770064" y="188086"/>
                </a:cubicBezTo>
                <a:cubicBezTo>
                  <a:pt x="1768068" y="188086"/>
                  <a:pt x="1766073" y="188086"/>
                  <a:pt x="1764077" y="188086"/>
                </a:cubicBezTo>
                <a:cubicBezTo>
                  <a:pt x="1762082" y="186085"/>
                  <a:pt x="1760086" y="186085"/>
                  <a:pt x="1758091" y="188086"/>
                </a:cubicBezTo>
                <a:cubicBezTo>
                  <a:pt x="1756095" y="188086"/>
                  <a:pt x="1750108" y="188086"/>
                  <a:pt x="1748113" y="188086"/>
                </a:cubicBezTo>
                <a:cubicBezTo>
                  <a:pt x="1744121" y="188086"/>
                  <a:pt x="1742126" y="188086"/>
                  <a:pt x="1740130" y="190087"/>
                </a:cubicBezTo>
                <a:cubicBezTo>
                  <a:pt x="1738135" y="192087"/>
                  <a:pt x="1736139" y="194088"/>
                  <a:pt x="1740130" y="194088"/>
                </a:cubicBezTo>
                <a:cubicBezTo>
                  <a:pt x="1744121" y="196089"/>
                  <a:pt x="1742126" y="194088"/>
                  <a:pt x="1744121" y="194088"/>
                </a:cubicBezTo>
                <a:cubicBezTo>
                  <a:pt x="1746117" y="192087"/>
                  <a:pt x="1748113" y="194088"/>
                  <a:pt x="1748113" y="194088"/>
                </a:cubicBezTo>
                <a:cubicBezTo>
                  <a:pt x="1750108" y="194088"/>
                  <a:pt x="1752104" y="192087"/>
                  <a:pt x="1756095" y="192087"/>
                </a:cubicBezTo>
                <a:cubicBezTo>
                  <a:pt x="1756095" y="192087"/>
                  <a:pt x="1758091" y="192087"/>
                  <a:pt x="1758091" y="192087"/>
                </a:cubicBezTo>
                <a:cubicBezTo>
                  <a:pt x="1760086" y="192087"/>
                  <a:pt x="1762082" y="194088"/>
                  <a:pt x="1762082" y="194088"/>
                </a:cubicBezTo>
                <a:cubicBezTo>
                  <a:pt x="1764077" y="194088"/>
                  <a:pt x="1768068" y="194088"/>
                  <a:pt x="1770064" y="196089"/>
                </a:cubicBezTo>
                <a:cubicBezTo>
                  <a:pt x="1774055" y="196089"/>
                  <a:pt x="1774055" y="198090"/>
                  <a:pt x="1776051" y="204093"/>
                </a:cubicBezTo>
                <a:cubicBezTo>
                  <a:pt x="1776051" y="208095"/>
                  <a:pt x="1774055" y="206094"/>
                  <a:pt x="1772060" y="206094"/>
                </a:cubicBezTo>
                <a:cubicBezTo>
                  <a:pt x="1768068" y="208095"/>
                  <a:pt x="1766073" y="206094"/>
                  <a:pt x="1764077" y="206094"/>
                </a:cubicBezTo>
                <a:cubicBezTo>
                  <a:pt x="1760086" y="202092"/>
                  <a:pt x="1758091" y="206094"/>
                  <a:pt x="1756095" y="210096"/>
                </a:cubicBezTo>
                <a:cubicBezTo>
                  <a:pt x="1756095" y="212097"/>
                  <a:pt x="1750108" y="210096"/>
                  <a:pt x="1746117" y="210096"/>
                </a:cubicBezTo>
                <a:cubicBezTo>
                  <a:pt x="1744121" y="208095"/>
                  <a:pt x="1742126" y="210096"/>
                  <a:pt x="1740130" y="210096"/>
                </a:cubicBezTo>
                <a:cubicBezTo>
                  <a:pt x="1740130" y="212097"/>
                  <a:pt x="1736139" y="214097"/>
                  <a:pt x="1734143" y="214097"/>
                </a:cubicBezTo>
                <a:cubicBezTo>
                  <a:pt x="1732148" y="214097"/>
                  <a:pt x="1728157" y="214097"/>
                  <a:pt x="1724166" y="212097"/>
                </a:cubicBezTo>
                <a:cubicBezTo>
                  <a:pt x="1722170" y="210096"/>
                  <a:pt x="1724166" y="210096"/>
                  <a:pt x="1720174" y="212097"/>
                </a:cubicBezTo>
                <a:cubicBezTo>
                  <a:pt x="1718179" y="216098"/>
                  <a:pt x="1716183" y="214097"/>
                  <a:pt x="1716183" y="212097"/>
                </a:cubicBezTo>
                <a:cubicBezTo>
                  <a:pt x="1714188" y="210096"/>
                  <a:pt x="1710196" y="210096"/>
                  <a:pt x="1708201" y="212097"/>
                </a:cubicBezTo>
                <a:cubicBezTo>
                  <a:pt x="1706205" y="214097"/>
                  <a:pt x="1702214" y="214097"/>
                  <a:pt x="1700219" y="214097"/>
                </a:cubicBezTo>
                <a:cubicBezTo>
                  <a:pt x="1700219" y="214097"/>
                  <a:pt x="1696227" y="214097"/>
                  <a:pt x="1696227" y="210096"/>
                </a:cubicBezTo>
                <a:cubicBezTo>
                  <a:pt x="1694232" y="208095"/>
                  <a:pt x="1694232" y="206094"/>
                  <a:pt x="1692236" y="210096"/>
                </a:cubicBezTo>
                <a:cubicBezTo>
                  <a:pt x="1690241" y="214097"/>
                  <a:pt x="1688245" y="206094"/>
                  <a:pt x="1684254" y="210096"/>
                </a:cubicBezTo>
                <a:cubicBezTo>
                  <a:pt x="1678267" y="216098"/>
                  <a:pt x="1682258" y="216098"/>
                  <a:pt x="1686249" y="216098"/>
                </a:cubicBezTo>
                <a:cubicBezTo>
                  <a:pt x="1688245" y="216098"/>
                  <a:pt x="1694232" y="218099"/>
                  <a:pt x="1700219" y="218099"/>
                </a:cubicBezTo>
                <a:cubicBezTo>
                  <a:pt x="1706205" y="218099"/>
                  <a:pt x="1726161" y="216098"/>
                  <a:pt x="1728157" y="218099"/>
                </a:cubicBezTo>
                <a:cubicBezTo>
                  <a:pt x="1732148" y="220100"/>
                  <a:pt x="1734143" y="218099"/>
                  <a:pt x="1734143" y="218099"/>
                </a:cubicBezTo>
                <a:cubicBezTo>
                  <a:pt x="1734143" y="218099"/>
                  <a:pt x="1740130" y="214097"/>
                  <a:pt x="1744121" y="218099"/>
                </a:cubicBezTo>
                <a:cubicBezTo>
                  <a:pt x="1752104" y="222101"/>
                  <a:pt x="1752104" y="228104"/>
                  <a:pt x="1750108" y="230105"/>
                </a:cubicBezTo>
                <a:cubicBezTo>
                  <a:pt x="1750108" y="232106"/>
                  <a:pt x="1748113" y="234107"/>
                  <a:pt x="1746117" y="234107"/>
                </a:cubicBezTo>
                <a:cubicBezTo>
                  <a:pt x="1744121" y="234107"/>
                  <a:pt x="1740130" y="232106"/>
                  <a:pt x="1736139" y="232106"/>
                </a:cubicBezTo>
                <a:cubicBezTo>
                  <a:pt x="1732148" y="230105"/>
                  <a:pt x="1730152" y="232106"/>
                  <a:pt x="1728157" y="230105"/>
                </a:cubicBezTo>
                <a:cubicBezTo>
                  <a:pt x="1724166" y="228104"/>
                  <a:pt x="1726161" y="224102"/>
                  <a:pt x="1722170" y="222101"/>
                </a:cubicBezTo>
                <a:cubicBezTo>
                  <a:pt x="1718179" y="218099"/>
                  <a:pt x="1716183" y="220100"/>
                  <a:pt x="1714188" y="222101"/>
                </a:cubicBezTo>
                <a:cubicBezTo>
                  <a:pt x="1710196" y="222101"/>
                  <a:pt x="1708201" y="222101"/>
                  <a:pt x="1706205" y="222101"/>
                </a:cubicBezTo>
                <a:cubicBezTo>
                  <a:pt x="1704210" y="222101"/>
                  <a:pt x="1706205" y="222101"/>
                  <a:pt x="1700219" y="222101"/>
                </a:cubicBezTo>
                <a:cubicBezTo>
                  <a:pt x="1696227" y="222101"/>
                  <a:pt x="1696227" y="222101"/>
                  <a:pt x="1694232" y="222101"/>
                </a:cubicBezTo>
                <a:cubicBezTo>
                  <a:pt x="1690241" y="222101"/>
                  <a:pt x="1688245" y="222101"/>
                  <a:pt x="1686249" y="220100"/>
                </a:cubicBezTo>
                <a:cubicBezTo>
                  <a:pt x="1684254" y="220100"/>
                  <a:pt x="1680263" y="220100"/>
                  <a:pt x="1676271" y="220100"/>
                </a:cubicBezTo>
                <a:cubicBezTo>
                  <a:pt x="1674276" y="220100"/>
                  <a:pt x="1674276" y="224102"/>
                  <a:pt x="1674276" y="224102"/>
                </a:cubicBezTo>
                <a:cubicBezTo>
                  <a:pt x="1674276" y="224102"/>
                  <a:pt x="1678267" y="226103"/>
                  <a:pt x="1680263" y="226103"/>
                </a:cubicBezTo>
                <a:cubicBezTo>
                  <a:pt x="1680263" y="226103"/>
                  <a:pt x="1684254" y="226103"/>
                  <a:pt x="1684254" y="226103"/>
                </a:cubicBezTo>
                <a:cubicBezTo>
                  <a:pt x="1686249" y="226103"/>
                  <a:pt x="1688245" y="226103"/>
                  <a:pt x="1690241" y="226103"/>
                </a:cubicBezTo>
                <a:cubicBezTo>
                  <a:pt x="1692236" y="226103"/>
                  <a:pt x="1694232" y="226103"/>
                  <a:pt x="1698223" y="226103"/>
                </a:cubicBezTo>
                <a:cubicBezTo>
                  <a:pt x="1698223" y="226103"/>
                  <a:pt x="1698223" y="226103"/>
                  <a:pt x="1700219" y="226103"/>
                </a:cubicBezTo>
                <a:cubicBezTo>
                  <a:pt x="1702214" y="224102"/>
                  <a:pt x="1706205" y="226103"/>
                  <a:pt x="1706205" y="226103"/>
                </a:cubicBezTo>
                <a:cubicBezTo>
                  <a:pt x="1706205" y="226103"/>
                  <a:pt x="1708201" y="224102"/>
                  <a:pt x="1710196" y="224102"/>
                </a:cubicBezTo>
                <a:cubicBezTo>
                  <a:pt x="1710196" y="224102"/>
                  <a:pt x="1718179" y="226103"/>
                  <a:pt x="1718179" y="226103"/>
                </a:cubicBezTo>
                <a:cubicBezTo>
                  <a:pt x="1718179" y="226103"/>
                  <a:pt x="1718179" y="226103"/>
                  <a:pt x="1716183" y="228104"/>
                </a:cubicBezTo>
                <a:cubicBezTo>
                  <a:pt x="1716183" y="228104"/>
                  <a:pt x="1716183" y="228104"/>
                  <a:pt x="1710196" y="228104"/>
                </a:cubicBezTo>
                <a:cubicBezTo>
                  <a:pt x="1710196" y="228104"/>
                  <a:pt x="1708201" y="228104"/>
                  <a:pt x="1706205" y="228104"/>
                </a:cubicBezTo>
                <a:cubicBezTo>
                  <a:pt x="1704210" y="228104"/>
                  <a:pt x="1700219" y="228104"/>
                  <a:pt x="1700219" y="230105"/>
                </a:cubicBezTo>
                <a:cubicBezTo>
                  <a:pt x="1698223" y="230105"/>
                  <a:pt x="1694232" y="230105"/>
                  <a:pt x="1694232" y="230105"/>
                </a:cubicBezTo>
                <a:cubicBezTo>
                  <a:pt x="1694232" y="230105"/>
                  <a:pt x="1690241" y="232106"/>
                  <a:pt x="1690241" y="230105"/>
                </a:cubicBezTo>
                <a:cubicBezTo>
                  <a:pt x="1686249" y="230105"/>
                  <a:pt x="1684254" y="228104"/>
                  <a:pt x="1680263" y="232106"/>
                </a:cubicBezTo>
                <a:cubicBezTo>
                  <a:pt x="1678267" y="232106"/>
                  <a:pt x="1684254" y="234107"/>
                  <a:pt x="1684254" y="234107"/>
                </a:cubicBezTo>
                <a:cubicBezTo>
                  <a:pt x="1684254" y="234107"/>
                  <a:pt x="1684254" y="234107"/>
                  <a:pt x="1690241" y="234107"/>
                </a:cubicBezTo>
                <a:cubicBezTo>
                  <a:pt x="1690241" y="234107"/>
                  <a:pt x="1692236" y="234107"/>
                  <a:pt x="1694232" y="232106"/>
                </a:cubicBezTo>
                <a:cubicBezTo>
                  <a:pt x="1696227" y="232106"/>
                  <a:pt x="1698223" y="232106"/>
                  <a:pt x="1698223" y="232106"/>
                </a:cubicBezTo>
                <a:cubicBezTo>
                  <a:pt x="1700219" y="232106"/>
                  <a:pt x="1702214" y="234107"/>
                  <a:pt x="1702214" y="234107"/>
                </a:cubicBezTo>
                <a:cubicBezTo>
                  <a:pt x="1702214" y="234107"/>
                  <a:pt x="1706205" y="234107"/>
                  <a:pt x="1710196" y="234107"/>
                </a:cubicBezTo>
                <a:cubicBezTo>
                  <a:pt x="1714188" y="234107"/>
                  <a:pt x="1712192" y="234107"/>
                  <a:pt x="1716183" y="234107"/>
                </a:cubicBezTo>
                <a:cubicBezTo>
                  <a:pt x="1720174" y="234107"/>
                  <a:pt x="1716183" y="238108"/>
                  <a:pt x="1716183" y="238108"/>
                </a:cubicBezTo>
                <a:cubicBezTo>
                  <a:pt x="1716183" y="238108"/>
                  <a:pt x="1720174" y="240109"/>
                  <a:pt x="1720174" y="240109"/>
                </a:cubicBezTo>
                <a:cubicBezTo>
                  <a:pt x="1722170" y="240109"/>
                  <a:pt x="1724166" y="240109"/>
                  <a:pt x="1724166" y="238108"/>
                </a:cubicBezTo>
                <a:cubicBezTo>
                  <a:pt x="1726161" y="236107"/>
                  <a:pt x="1730152" y="240109"/>
                  <a:pt x="1730152" y="240109"/>
                </a:cubicBezTo>
                <a:cubicBezTo>
                  <a:pt x="1730152" y="240109"/>
                  <a:pt x="1732148" y="240109"/>
                  <a:pt x="1734143" y="240109"/>
                </a:cubicBezTo>
                <a:cubicBezTo>
                  <a:pt x="1736139" y="240109"/>
                  <a:pt x="1736139" y="244111"/>
                  <a:pt x="1736139" y="244111"/>
                </a:cubicBezTo>
                <a:cubicBezTo>
                  <a:pt x="1736139" y="244111"/>
                  <a:pt x="1738135" y="246112"/>
                  <a:pt x="1738135" y="248113"/>
                </a:cubicBezTo>
                <a:cubicBezTo>
                  <a:pt x="1740130" y="250114"/>
                  <a:pt x="1736139" y="256117"/>
                  <a:pt x="1734143" y="260118"/>
                </a:cubicBezTo>
                <a:cubicBezTo>
                  <a:pt x="1732148" y="262119"/>
                  <a:pt x="1726161" y="262119"/>
                  <a:pt x="1726161" y="262119"/>
                </a:cubicBezTo>
                <a:cubicBezTo>
                  <a:pt x="1724166" y="262119"/>
                  <a:pt x="1722170" y="260118"/>
                  <a:pt x="1718179" y="260118"/>
                </a:cubicBezTo>
                <a:cubicBezTo>
                  <a:pt x="1714188" y="262119"/>
                  <a:pt x="1714188" y="258118"/>
                  <a:pt x="1712192" y="258118"/>
                </a:cubicBezTo>
                <a:cubicBezTo>
                  <a:pt x="1708201" y="256117"/>
                  <a:pt x="1700219" y="258118"/>
                  <a:pt x="1698223" y="260118"/>
                </a:cubicBezTo>
                <a:cubicBezTo>
                  <a:pt x="1698223" y="264120"/>
                  <a:pt x="1702214" y="264120"/>
                  <a:pt x="1702214" y="264120"/>
                </a:cubicBezTo>
                <a:cubicBezTo>
                  <a:pt x="1702214" y="264120"/>
                  <a:pt x="1710196" y="264120"/>
                  <a:pt x="1712192" y="264120"/>
                </a:cubicBezTo>
                <a:cubicBezTo>
                  <a:pt x="1714188" y="264120"/>
                  <a:pt x="1718179" y="266121"/>
                  <a:pt x="1722170" y="266121"/>
                </a:cubicBezTo>
                <a:cubicBezTo>
                  <a:pt x="1724166" y="266121"/>
                  <a:pt x="1728157" y="268122"/>
                  <a:pt x="1726161" y="270123"/>
                </a:cubicBezTo>
                <a:cubicBezTo>
                  <a:pt x="1726161" y="272124"/>
                  <a:pt x="1718179" y="274125"/>
                  <a:pt x="1716183" y="274125"/>
                </a:cubicBezTo>
                <a:cubicBezTo>
                  <a:pt x="1714188" y="274125"/>
                  <a:pt x="1702214" y="272124"/>
                  <a:pt x="1700219" y="272124"/>
                </a:cubicBezTo>
                <a:cubicBezTo>
                  <a:pt x="1698223" y="270123"/>
                  <a:pt x="1692236" y="270123"/>
                  <a:pt x="1690241" y="270123"/>
                </a:cubicBezTo>
                <a:cubicBezTo>
                  <a:pt x="1686249" y="270123"/>
                  <a:pt x="1686249" y="272124"/>
                  <a:pt x="1686249" y="274125"/>
                </a:cubicBezTo>
                <a:cubicBezTo>
                  <a:pt x="1686249" y="278127"/>
                  <a:pt x="1690241" y="276126"/>
                  <a:pt x="1692236" y="276126"/>
                </a:cubicBezTo>
                <a:cubicBezTo>
                  <a:pt x="1694232" y="276126"/>
                  <a:pt x="1698223" y="276126"/>
                  <a:pt x="1698223" y="278127"/>
                </a:cubicBezTo>
                <a:cubicBezTo>
                  <a:pt x="1700219" y="280128"/>
                  <a:pt x="1706205" y="276126"/>
                  <a:pt x="1706205" y="276126"/>
                </a:cubicBezTo>
                <a:cubicBezTo>
                  <a:pt x="1706205" y="276126"/>
                  <a:pt x="1708201" y="276126"/>
                  <a:pt x="1710196" y="276126"/>
                </a:cubicBezTo>
                <a:cubicBezTo>
                  <a:pt x="1712192" y="278127"/>
                  <a:pt x="1714188" y="284129"/>
                  <a:pt x="1710196" y="286130"/>
                </a:cubicBezTo>
                <a:cubicBezTo>
                  <a:pt x="1710196" y="290132"/>
                  <a:pt x="1704210" y="286130"/>
                  <a:pt x="1702214" y="286130"/>
                </a:cubicBezTo>
                <a:cubicBezTo>
                  <a:pt x="1700219" y="284129"/>
                  <a:pt x="1696227" y="286130"/>
                  <a:pt x="1696227" y="286130"/>
                </a:cubicBezTo>
                <a:cubicBezTo>
                  <a:pt x="1696227" y="286130"/>
                  <a:pt x="1688245" y="290132"/>
                  <a:pt x="1688245" y="290132"/>
                </a:cubicBezTo>
                <a:cubicBezTo>
                  <a:pt x="1686249" y="292133"/>
                  <a:pt x="1680263" y="292133"/>
                  <a:pt x="1680263" y="290132"/>
                </a:cubicBezTo>
                <a:cubicBezTo>
                  <a:pt x="1678267" y="290132"/>
                  <a:pt x="1672280" y="288131"/>
                  <a:pt x="1670285" y="288131"/>
                </a:cubicBezTo>
                <a:cubicBezTo>
                  <a:pt x="1668289" y="288131"/>
                  <a:pt x="1666294" y="286130"/>
                  <a:pt x="1660307" y="286130"/>
                </a:cubicBezTo>
                <a:cubicBezTo>
                  <a:pt x="1656316" y="288131"/>
                  <a:pt x="1658311" y="292133"/>
                  <a:pt x="1658311" y="292133"/>
                </a:cubicBezTo>
                <a:cubicBezTo>
                  <a:pt x="1658311" y="292133"/>
                  <a:pt x="1660307" y="298136"/>
                  <a:pt x="1658311" y="302138"/>
                </a:cubicBezTo>
                <a:cubicBezTo>
                  <a:pt x="1654320" y="306139"/>
                  <a:pt x="1660307" y="308140"/>
                  <a:pt x="1662302" y="310141"/>
                </a:cubicBezTo>
                <a:cubicBezTo>
                  <a:pt x="1664298" y="312142"/>
                  <a:pt x="1656316" y="314143"/>
                  <a:pt x="1650329" y="316144"/>
                </a:cubicBezTo>
                <a:cubicBezTo>
                  <a:pt x="1646338" y="316144"/>
                  <a:pt x="1644342" y="320146"/>
                  <a:pt x="1642346" y="322147"/>
                </a:cubicBezTo>
                <a:cubicBezTo>
                  <a:pt x="1642346" y="324148"/>
                  <a:pt x="1638355" y="324148"/>
                  <a:pt x="1636360" y="324148"/>
                </a:cubicBezTo>
                <a:cubicBezTo>
                  <a:pt x="1634364" y="322147"/>
                  <a:pt x="1630373" y="322147"/>
                  <a:pt x="1630373" y="322147"/>
                </a:cubicBezTo>
                <a:cubicBezTo>
                  <a:pt x="1630373" y="322147"/>
                  <a:pt x="1624386" y="322147"/>
                  <a:pt x="1622391" y="320146"/>
                </a:cubicBezTo>
                <a:cubicBezTo>
                  <a:pt x="1618399" y="320146"/>
                  <a:pt x="1616404" y="320146"/>
                  <a:pt x="1616404" y="320146"/>
                </a:cubicBezTo>
                <a:cubicBezTo>
                  <a:pt x="1616404" y="322147"/>
                  <a:pt x="1610417" y="322147"/>
                  <a:pt x="1606426" y="320146"/>
                </a:cubicBezTo>
                <a:cubicBezTo>
                  <a:pt x="1604430" y="320146"/>
                  <a:pt x="1598444" y="320146"/>
                  <a:pt x="1592457" y="320146"/>
                </a:cubicBezTo>
                <a:cubicBezTo>
                  <a:pt x="1586470" y="318145"/>
                  <a:pt x="1586470" y="316144"/>
                  <a:pt x="1586470" y="316144"/>
                </a:cubicBezTo>
                <a:cubicBezTo>
                  <a:pt x="1586470" y="316144"/>
                  <a:pt x="1584474" y="314143"/>
                  <a:pt x="1580483" y="312142"/>
                </a:cubicBezTo>
                <a:cubicBezTo>
                  <a:pt x="1578488" y="312142"/>
                  <a:pt x="1578488" y="312142"/>
                  <a:pt x="1578488" y="310141"/>
                </a:cubicBezTo>
                <a:cubicBezTo>
                  <a:pt x="1578488" y="308140"/>
                  <a:pt x="1576492" y="302138"/>
                  <a:pt x="1572501" y="306139"/>
                </a:cubicBezTo>
                <a:cubicBezTo>
                  <a:pt x="1570505" y="312142"/>
                  <a:pt x="1572501" y="318145"/>
                  <a:pt x="1572501" y="318145"/>
                </a:cubicBezTo>
                <a:cubicBezTo>
                  <a:pt x="1572501" y="318145"/>
                  <a:pt x="1588466" y="322147"/>
                  <a:pt x="1594452" y="324148"/>
                </a:cubicBezTo>
                <a:cubicBezTo>
                  <a:pt x="1600439" y="326148"/>
                  <a:pt x="1602435" y="324148"/>
                  <a:pt x="1604430" y="326148"/>
                </a:cubicBezTo>
                <a:cubicBezTo>
                  <a:pt x="1606426" y="328149"/>
                  <a:pt x="1602435" y="330150"/>
                  <a:pt x="1602435" y="334152"/>
                </a:cubicBezTo>
                <a:cubicBezTo>
                  <a:pt x="1604430" y="336153"/>
                  <a:pt x="1608421" y="332151"/>
                  <a:pt x="1608421" y="332151"/>
                </a:cubicBezTo>
                <a:cubicBezTo>
                  <a:pt x="1608421" y="332151"/>
                  <a:pt x="1610417" y="328149"/>
                  <a:pt x="1610417" y="326148"/>
                </a:cubicBezTo>
                <a:cubicBezTo>
                  <a:pt x="1612413" y="322147"/>
                  <a:pt x="1618399" y="324148"/>
                  <a:pt x="1618399" y="324148"/>
                </a:cubicBezTo>
                <a:cubicBezTo>
                  <a:pt x="1618399" y="324148"/>
                  <a:pt x="1618399" y="324148"/>
                  <a:pt x="1624386" y="328149"/>
                </a:cubicBezTo>
                <a:cubicBezTo>
                  <a:pt x="1624386" y="328149"/>
                  <a:pt x="1628377" y="326148"/>
                  <a:pt x="1628377" y="330150"/>
                </a:cubicBezTo>
                <a:cubicBezTo>
                  <a:pt x="1628377" y="334152"/>
                  <a:pt x="1626382" y="334152"/>
                  <a:pt x="1624386" y="340155"/>
                </a:cubicBezTo>
                <a:cubicBezTo>
                  <a:pt x="1620395" y="344157"/>
                  <a:pt x="1624386" y="344157"/>
                  <a:pt x="1626382" y="342156"/>
                </a:cubicBezTo>
                <a:cubicBezTo>
                  <a:pt x="1630373" y="342156"/>
                  <a:pt x="1626382" y="348159"/>
                  <a:pt x="1628377" y="350159"/>
                </a:cubicBezTo>
                <a:cubicBezTo>
                  <a:pt x="1630373" y="352160"/>
                  <a:pt x="1630373" y="348159"/>
                  <a:pt x="1630373" y="348159"/>
                </a:cubicBezTo>
                <a:cubicBezTo>
                  <a:pt x="1630373" y="348159"/>
                  <a:pt x="1632369" y="346158"/>
                  <a:pt x="1636360" y="346158"/>
                </a:cubicBezTo>
                <a:cubicBezTo>
                  <a:pt x="1640351" y="346158"/>
                  <a:pt x="1640351" y="344157"/>
                  <a:pt x="1640351" y="342156"/>
                </a:cubicBezTo>
                <a:cubicBezTo>
                  <a:pt x="1640351" y="340155"/>
                  <a:pt x="1642346" y="338154"/>
                  <a:pt x="1646338" y="338154"/>
                </a:cubicBezTo>
                <a:cubicBezTo>
                  <a:pt x="1650329" y="338154"/>
                  <a:pt x="1654320" y="342156"/>
                  <a:pt x="1654320" y="344157"/>
                </a:cubicBezTo>
                <a:cubicBezTo>
                  <a:pt x="1652324" y="346158"/>
                  <a:pt x="1652324" y="352160"/>
                  <a:pt x="1652324" y="354161"/>
                </a:cubicBezTo>
                <a:cubicBezTo>
                  <a:pt x="1652324" y="358163"/>
                  <a:pt x="1646338" y="362165"/>
                  <a:pt x="1642346" y="362165"/>
                </a:cubicBezTo>
                <a:cubicBezTo>
                  <a:pt x="1636360" y="362165"/>
                  <a:pt x="1638355" y="370169"/>
                  <a:pt x="1634364" y="372169"/>
                </a:cubicBezTo>
                <a:cubicBezTo>
                  <a:pt x="1632369" y="374170"/>
                  <a:pt x="1630373" y="372169"/>
                  <a:pt x="1628377" y="370169"/>
                </a:cubicBezTo>
                <a:cubicBezTo>
                  <a:pt x="1628377" y="370169"/>
                  <a:pt x="1630373" y="362165"/>
                  <a:pt x="1626382" y="362165"/>
                </a:cubicBezTo>
                <a:cubicBezTo>
                  <a:pt x="1624386" y="362165"/>
                  <a:pt x="1624386" y="368168"/>
                  <a:pt x="1622391" y="370169"/>
                </a:cubicBezTo>
                <a:cubicBezTo>
                  <a:pt x="1618399" y="372169"/>
                  <a:pt x="1618399" y="372169"/>
                  <a:pt x="1614408" y="370169"/>
                </a:cubicBezTo>
                <a:cubicBezTo>
                  <a:pt x="1612413" y="370169"/>
                  <a:pt x="1612413" y="374170"/>
                  <a:pt x="1612413" y="376171"/>
                </a:cubicBezTo>
                <a:cubicBezTo>
                  <a:pt x="1610417" y="378172"/>
                  <a:pt x="1608421" y="378172"/>
                  <a:pt x="1608421" y="378172"/>
                </a:cubicBezTo>
                <a:cubicBezTo>
                  <a:pt x="1608421" y="378172"/>
                  <a:pt x="1608421" y="378172"/>
                  <a:pt x="1604430" y="378172"/>
                </a:cubicBezTo>
                <a:cubicBezTo>
                  <a:pt x="1600439" y="378172"/>
                  <a:pt x="1598444" y="376171"/>
                  <a:pt x="1598444" y="376171"/>
                </a:cubicBezTo>
                <a:cubicBezTo>
                  <a:pt x="1598444" y="376171"/>
                  <a:pt x="1592457" y="376171"/>
                  <a:pt x="1588466" y="376171"/>
                </a:cubicBezTo>
                <a:cubicBezTo>
                  <a:pt x="1586470" y="376171"/>
                  <a:pt x="1580483" y="384175"/>
                  <a:pt x="1578488" y="380173"/>
                </a:cubicBezTo>
                <a:cubicBezTo>
                  <a:pt x="1574496" y="376171"/>
                  <a:pt x="1578488" y="372169"/>
                  <a:pt x="1580483" y="368168"/>
                </a:cubicBezTo>
                <a:cubicBezTo>
                  <a:pt x="1580483" y="366167"/>
                  <a:pt x="1576492" y="366167"/>
                  <a:pt x="1574496" y="366167"/>
                </a:cubicBezTo>
                <a:cubicBezTo>
                  <a:pt x="1572501" y="366167"/>
                  <a:pt x="1570505" y="366167"/>
                  <a:pt x="1568510" y="368168"/>
                </a:cubicBezTo>
                <a:cubicBezTo>
                  <a:pt x="1564519" y="368168"/>
                  <a:pt x="1562523" y="368168"/>
                  <a:pt x="1560527" y="366167"/>
                </a:cubicBezTo>
                <a:cubicBezTo>
                  <a:pt x="1558532" y="364166"/>
                  <a:pt x="1558532" y="362165"/>
                  <a:pt x="1562523" y="362165"/>
                </a:cubicBezTo>
                <a:cubicBezTo>
                  <a:pt x="1562523" y="362165"/>
                  <a:pt x="1562523" y="360164"/>
                  <a:pt x="1562523" y="360164"/>
                </a:cubicBezTo>
                <a:cubicBezTo>
                  <a:pt x="1560527" y="358163"/>
                  <a:pt x="1558532" y="354161"/>
                  <a:pt x="1556536" y="354161"/>
                </a:cubicBezTo>
                <a:cubicBezTo>
                  <a:pt x="1554541" y="354161"/>
                  <a:pt x="1554541" y="352160"/>
                  <a:pt x="1554541" y="350159"/>
                </a:cubicBezTo>
                <a:cubicBezTo>
                  <a:pt x="1554541" y="350159"/>
                  <a:pt x="1552545" y="352160"/>
                  <a:pt x="1552545" y="354161"/>
                </a:cubicBezTo>
                <a:cubicBezTo>
                  <a:pt x="1550549" y="356162"/>
                  <a:pt x="1550549" y="358163"/>
                  <a:pt x="1552545" y="358163"/>
                </a:cubicBezTo>
                <a:cubicBezTo>
                  <a:pt x="1554541" y="358163"/>
                  <a:pt x="1554541" y="362165"/>
                  <a:pt x="1554541" y="362165"/>
                </a:cubicBezTo>
                <a:cubicBezTo>
                  <a:pt x="1554541" y="362165"/>
                  <a:pt x="1554541" y="368168"/>
                  <a:pt x="1554541" y="370169"/>
                </a:cubicBezTo>
                <a:cubicBezTo>
                  <a:pt x="1552545" y="372169"/>
                  <a:pt x="1548554" y="370169"/>
                  <a:pt x="1548554" y="368168"/>
                </a:cubicBezTo>
                <a:cubicBezTo>
                  <a:pt x="1546558" y="368168"/>
                  <a:pt x="1542567" y="370169"/>
                  <a:pt x="1542567" y="370169"/>
                </a:cubicBezTo>
                <a:cubicBezTo>
                  <a:pt x="1542567" y="372169"/>
                  <a:pt x="1538576" y="374170"/>
                  <a:pt x="1536580" y="372169"/>
                </a:cubicBezTo>
                <a:cubicBezTo>
                  <a:pt x="1534585" y="368168"/>
                  <a:pt x="1536580" y="364166"/>
                  <a:pt x="1534585" y="360164"/>
                </a:cubicBezTo>
                <a:cubicBezTo>
                  <a:pt x="1532589" y="358163"/>
                  <a:pt x="1536580" y="358163"/>
                  <a:pt x="1536580" y="356162"/>
                </a:cubicBezTo>
                <a:cubicBezTo>
                  <a:pt x="1536580" y="354161"/>
                  <a:pt x="1534585" y="352160"/>
                  <a:pt x="1532589" y="354161"/>
                </a:cubicBezTo>
                <a:cubicBezTo>
                  <a:pt x="1530594" y="358163"/>
                  <a:pt x="1528598" y="362165"/>
                  <a:pt x="1530594" y="362165"/>
                </a:cubicBezTo>
                <a:cubicBezTo>
                  <a:pt x="1532589" y="364166"/>
                  <a:pt x="1532589" y="368168"/>
                  <a:pt x="1530594" y="368168"/>
                </a:cubicBezTo>
                <a:cubicBezTo>
                  <a:pt x="1528598" y="368168"/>
                  <a:pt x="1526602" y="368168"/>
                  <a:pt x="1526602" y="370169"/>
                </a:cubicBezTo>
                <a:cubicBezTo>
                  <a:pt x="1524607" y="372169"/>
                  <a:pt x="1522611" y="370169"/>
                  <a:pt x="1520616" y="370169"/>
                </a:cubicBezTo>
                <a:cubicBezTo>
                  <a:pt x="1520616" y="368168"/>
                  <a:pt x="1516624" y="368168"/>
                  <a:pt x="1514629" y="368168"/>
                </a:cubicBezTo>
                <a:cubicBezTo>
                  <a:pt x="1510638" y="368168"/>
                  <a:pt x="1510638" y="360164"/>
                  <a:pt x="1510638" y="360164"/>
                </a:cubicBezTo>
                <a:cubicBezTo>
                  <a:pt x="1510638" y="360164"/>
                  <a:pt x="1510638" y="356162"/>
                  <a:pt x="1508642" y="356162"/>
                </a:cubicBezTo>
                <a:cubicBezTo>
                  <a:pt x="1506647" y="356162"/>
                  <a:pt x="1506647" y="360164"/>
                  <a:pt x="1508642" y="364166"/>
                </a:cubicBezTo>
                <a:cubicBezTo>
                  <a:pt x="1510638" y="366167"/>
                  <a:pt x="1508642" y="366167"/>
                  <a:pt x="1504651" y="366167"/>
                </a:cubicBezTo>
                <a:cubicBezTo>
                  <a:pt x="1502655" y="366167"/>
                  <a:pt x="1500660" y="366167"/>
                  <a:pt x="1500660" y="368168"/>
                </a:cubicBezTo>
                <a:cubicBezTo>
                  <a:pt x="1502655" y="370169"/>
                  <a:pt x="1498664" y="370169"/>
                  <a:pt x="1496669" y="370169"/>
                </a:cubicBezTo>
                <a:cubicBezTo>
                  <a:pt x="1494673" y="370169"/>
                  <a:pt x="1494673" y="368168"/>
                  <a:pt x="1492677" y="364166"/>
                </a:cubicBezTo>
                <a:cubicBezTo>
                  <a:pt x="1492677" y="362165"/>
                  <a:pt x="1486691" y="362165"/>
                  <a:pt x="1486691" y="364166"/>
                </a:cubicBezTo>
                <a:cubicBezTo>
                  <a:pt x="1484695" y="368168"/>
                  <a:pt x="1490682" y="372169"/>
                  <a:pt x="1490682" y="372169"/>
                </a:cubicBezTo>
                <a:cubicBezTo>
                  <a:pt x="1490682" y="372169"/>
                  <a:pt x="1494673" y="372169"/>
                  <a:pt x="1494673" y="376171"/>
                </a:cubicBezTo>
                <a:cubicBezTo>
                  <a:pt x="1492677" y="378172"/>
                  <a:pt x="1486691" y="378172"/>
                  <a:pt x="1486691" y="378172"/>
                </a:cubicBezTo>
                <a:cubicBezTo>
                  <a:pt x="1486691" y="378172"/>
                  <a:pt x="1480704" y="378172"/>
                  <a:pt x="1478708" y="376171"/>
                </a:cubicBezTo>
                <a:cubicBezTo>
                  <a:pt x="1478708" y="372169"/>
                  <a:pt x="1474717" y="372169"/>
                  <a:pt x="1470726" y="374170"/>
                </a:cubicBezTo>
                <a:cubicBezTo>
                  <a:pt x="1468730" y="376171"/>
                  <a:pt x="1464739" y="372169"/>
                  <a:pt x="1464739" y="372169"/>
                </a:cubicBezTo>
                <a:cubicBezTo>
                  <a:pt x="1464739" y="372169"/>
                  <a:pt x="1460748" y="372169"/>
                  <a:pt x="1456757" y="372169"/>
                </a:cubicBezTo>
                <a:cubicBezTo>
                  <a:pt x="1454761" y="372169"/>
                  <a:pt x="1456757" y="370169"/>
                  <a:pt x="1456757" y="368168"/>
                </a:cubicBezTo>
                <a:cubicBezTo>
                  <a:pt x="1456757" y="366167"/>
                  <a:pt x="1458752" y="366167"/>
                  <a:pt x="1460748" y="364166"/>
                </a:cubicBezTo>
                <a:cubicBezTo>
                  <a:pt x="1460748" y="362165"/>
                  <a:pt x="1460748" y="362165"/>
                  <a:pt x="1458752" y="358163"/>
                </a:cubicBezTo>
                <a:cubicBezTo>
                  <a:pt x="1456757" y="356162"/>
                  <a:pt x="1456757" y="354161"/>
                  <a:pt x="1454761" y="356162"/>
                </a:cubicBezTo>
                <a:cubicBezTo>
                  <a:pt x="1452766" y="356162"/>
                  <a:pt x="1454761" y="360164"/>
                  <a:pt x="1456757" y="360164"/>
                </a:cubicBezTo>
                <a:cubicBezTo>
                  <a:pt x="1456757" y="362165"/>
                  <a:pt x="1454761" y="364166"/>
                  <a:pt x="1454761" y="366167"/>
                </a:cubicBezTo>
                <a:cubicBezTo>
                  <a:pt x="1452766" y="366167"/>
                  <a:pt x="1452766" y="368168"/>
                  <a:pt x="1450770" y="370169"/>
                </a:cubicBezTo>
                <a:cubicBezTo>
                  <a:pt x="1448774" y="372169"/>
                  <a:pt x="1442788" y="372169"/>
                  <a:pt x="1440792" y="370169"/>
                </a:cubicBezTo>
                <a:cubicBezTo>
                  <a:pt x="1438797" y="368168"/>
                  <a:pt x="1438797" y="366167"/>
                  <a:pt x="1436801" y="366167"/>
                </a:cubicBezTo>
                <a:cubicBezTo>
                  <a:pt x="1436801" y="362165"/>
                  <a:pt x="1436801" y="362165"/>
                  <a:pt x="1436801" y="360164"/>
                </a:cubicBezTo>
                <a:cubicBezTo>
                  <a:pt x="1438797" y="358163"/>
                  <a:pt x="1438797" y="358163"/>
                  <a:pt x="1436801" y="356162"/>
                </a:cubicBezTo>
                <a:cubicBezTo>
                  <a:pt x="1434805" y="356162"/>
                  <a:pt x="1432810" y="360164"/>
                  <a:pt x="1432810" y="360164"/>
                </a:cubicBezTo>
                <a:cubicBezTo>
                  <a:pt x="1432810" y="360164"/>
                  <a:pt x="1432810" y="362165"/>
                  <a:pt x="1430814" y="362165"/>
                </a:cubicBezTo>
                <a:cubicBezTo>
                  <a:pt x="1430814" y="364166"/>
                  <a:pt x="1430814" y="366167"/>
                  <a:pt x="1432810" y="368168"/>
                </a:cubicBezTo>
                <a:cubicBezTo>
                  <a:pt x="1432810" y="370169"/>
                  <a:pt x="1430814" y="372169"/>
                  <a:pt x="1428819" y="372169"/>
                </a:cubicBezTo>
                <a:cubicBezTo>
                  <a:pt x="1426823" y="372169"/>
                  <a:pt x="1426823" y="374170"/>
                  <a:pt x="1422832" y="372169"/>
                </a:cubicBezTo>
                <a:cubicBezTo>
                  <a:pt x="1418841" y="372169"/>
                  <a:pt x="1418841" y="372169"/>
                  <a:pt x="1416845" y="370169"/>
                </a:cubicBezTo>
                <a:cubicBezTo>
                  <a:pt x="1414849" y="366167"/>
                  <a:pt x="1414849" y="368168"/>
                  <a:pt x="1414849" y="368168"/>
                </a:cubicBezTo>
                <a:cubicBezTo>
                  <a:pt x="1414849" y="368168"/>
                  <a:pt x="1410858" y="372169"/>
                  <a:pt x="1410858" y="370169"/>
                </a:cubicBezTo>
                <a:cubicBezTo>
                  <a:pt x="1408863" y="368168"/>
                  <a:pt x="1410858" y="366167"/>
                  <a:pt x="1410858" y="366167"/>
                </a:cubicBezTo>
                <a:cubicBezTo>
                  <a:pt x="1408863" y="364166"/>
                  <a:pt x="1406867" y="368168"/>
                  <a:pt x="1406867" y="368168"/>
                </a:cubicBezTo>
                <a:cubicBezTo>
                  <a:pt x="1406867" y="368168"/>
                  <a:pt x="1406867" y="370169"/>
                  <a:pt x="1404872" y="370169"/>
                </a:cubicBezTo>
                <a:cubicBezTo>
                  <a:pt x="1400880" y="370169"/>
                  <a:pt x="1396889" y="370169"/>
                  <a:pt x="1394894" y="368168"/>
                </a:cubicBezTo>
                <a:cubicBezTo>
                  <a:pt x="1392898" y="366167"/>
                  <a:pt x="1392898" y="364166"/>
                  <a:pt x="1394894" y="362165"/>
                </a:cubicBezTo>
                <a:cubicBezTo>
                  <a:pt x="1394894" y="362165"/>
                  <a:pt x="1394894" y="360164"/>
                  <a:pt x="1392898" y="360164"/>
                </a:cubicBezTo>
                <a:cubicBezTo>
                  <a:pt x="1390902" y="358163"/>
                  <a:pt x="1384916" y="358163"/>
                  <a:pt x="1384916" y="360164"/>
                </a:cubicBezTo>
                <a:cubicBezTo>
                  <a:pt x="1384916" y="362165"/>
                  <a:pt x="1382920" y="364166"/>
                  <a:pt x="1378929" y="364166"/>
                </a:cubicBezTo>
                <a:cubicBezTo>
                  <a:pt x="1376933" y="362165"/>
                  <a:pt x="1376933" y="360164"/>
                  <a:pt x="1376933" y="358163"/>
                </a:cubicBezTo>
                <a:cubicBezTo>
                  <a:pt x="1376933" y="358163"/>
                  <a:pt x="1374938" y="352160"/>
                  <a:pt x="1372942" y="350159"/>
                </a:cubicBezTo>
                <a:cubicBezTo>
                  <a:pt x="1372942" y="346158"/>
                  <a:pt x="1378929" y="342156"/>
                  <a:pt x="1378929" y="342156"/>
                </a:cubicBezTo>
                <a:cubicBezTo>
                  <a:pt x="1382920" y="338154"/>
                  <a:pt x="1384916" y="340155"/>
                  <a:pt x="1384916" y="342156"/>
                </a:cubicBezTo>
                <a:cubicBezTo>
                  <a:pt x="1384916" y="346158"/>
                  <a:pt x="1390902" y="342156"/>
                  <a:pt x="1390902" y="342156"/>
                </a:cubicBezTo>
                <a:cubicBezTo>
                  <a:pt x="1390902" y="342156"/>
                  <a:pt x="1394894" y="340155"/>
                  <a:pt x="1398885" y="340155"/>
                </a:cubicBezTo>
                <a:cubicBezTo>
                  <a:pt x="1402876" y="340155"/>
                  <a:pt x="1404872" y="338154"/>
                  <a:pt x="1404872" y="338154"/>
                </a:cubicBezTo>
                <a:cubicBezTo>
                  <a:pt x="1404872" y="338154"/>
                  <a:pt x="1408863" y="334152"/>
                  <a:pt x="1410858" y="334152"/>
                </a:cubicBezTo>
                <a:cubicBezTo>
                  <a:pt x="1412854" y="334152"/>
                  <a:pt x="1414849" y="332151"/>
                  <a:pt x="1414849" y="332151"/>
                </a:cubicBezTo>
                <a:cubicBezTo>
                  <a:pt x="1414849" y="332151"/>
                  <a:pt x="1428819" y="322147"/>
                  <a:pt x="1428819" y="330150"/>
                </a:cubicBezTo>
                <a:cubicBezTo>
                  <a:pt x="1428819" y="338154"/>
                  <a:pt x="1432810" y="332151"/>
                  <a:pt x="1436801" y="332151"/>
                </a:cubicBezTo>
                <a:cubicBezTo>
                  <a:pt x="1440792" y="330150"/>
                  <a:pt x="1446779" y="332151"/>
                  <a:pt x="1448774" y="332151"/>
                </a:cubicBezTo>
                <a:cubicBezTo>
                  <a:pt x="1448774" y="330150"/>
                  <a:pt x="1452766" y="332151"/>
                  <a:pt x="1454761" y="334152"/>
                </a:cubicBezTo>
                <a:cubicBezTo>
                  <a:pt x="1456757" y="336153"/>
                  <a:pt x="1456757" y="332151"/>
                  <a:pt x="1454761" y="326148"/>
                </a:cubicBezTo>
                <a:cubicBezTo>
                  <a:pt x="1452766" y="322147"/>
                  <a:pt x="1454761" y="324148"/>
                  <a:pt x="1458752" y="320146"/>
                </a:cubicBezTo>
                <a:cubicBezTo>
                  <a:pt x="1460748" y="316144"/>
                  <a:pt x="1456757" y="318145"/>
                  <a:pt x="1450770" y="320146"/>
                </a:cubicBezTo>
                <a:cubicBezTo>
                  <a:pt x="1446779" y="322147"/>
                  <a:pt x="1444783" y="320146"/>
                  <a:pt x="1444783" y="316144"/>
                </a:cubicBezTo>
                <a:cubicBezTo>
                  <a:pt x="1444783" y="314143"/>
                  <a:pt x="1438797" y="310141"/>
                  <a:pt x="1438797" y="310141"/>
                </a:cubicBezTo>
                <a:cubicBezTo>
                  <a:pt x="1438797" y="310141"/>
                  <a:pt x="1432810" y="308140"/>
                  <a:pt x="1434805" y="302138"/>
                </a:cubicBezTo>
                <a:cubicBezTo>
                  <a:pt x="1436801" y="296135"/>
                  <a:pt x="1450770" y="294134"/>
                  <a:pt x="1450770" y="294134"/>
                </a:cubicBezTo>
                <a:cubicBezTo>
                  <a:pt x="1450770" y="294134"/>
                  <a:pt x="1460748" y="292133"/>
                  <a:pt x="1464739" y="292133"/>
                </a:cubicBezTo>
                <a:cubicBezTo>
                  <a:pt x="1468730" y="292133"/>
                  <a:pt x="1472722" y="296135"/>
                  <a:pt x="1476713" y="300137"/>
                </a:cubicBezTo>
                <a:cubicBezTo>
                  <a:pt x="1480704" y="304138"/>
                  <a:pt x="1480704" y="304138"/>
                  <a:pt x="1478708" y="312142"/>
                </a:cubicBezTo>
                <a:cubicBezTo>
                  <a:pt x="1478708" y="320146"/>
                  <a:pt x="1484695" y="318145"/>
                  <a:pt x="1484695" y="318145"/>
                </a:cubicBezTo>
                <a:cubicBezTo>
                  <a:pt x="1484695" y="318145"/>
                  <a:pt x="1488686" y="316144"/>
                  <a:pt x="1490682" y="320146"/>
                </a:cubicBezTo>
                <a:cubicBezTo>
                  <a:pt x="1492677" y="324148"/>
                  <a:pt x="1494673" y="322147"/>
                  <a:pt x="1498664" y="320146"/>
                </a:cubicBezTo>
                <a:cubicBezTo>
                  <a:pt x="1500660" y="318145"/>
                  <a:pt x="1504651" y="322147"/>
                  <a:pt x="1506647" y="324148"/>
                </a:cubicBezTo>
                <a:cubicBezTo>
                  <a:pt x="1508642" y="326148"/>
                  <a:pt x="1510638" y="324148"/>
                  <a:pt x="1510638" y="320146"/>
                </a:cubicBezTo>
                <a:cubicBezTo>
                  <a:pt x="1510638" y="316144"/>
                  <a:pt x="1514629" y="316144"/>
                  <a:pt x="1520616" y="316144"/>
                </a:cubicBezTo>
                <a:cubicBezTo>
                  <a:pt x="1526602" y="316144"/>
                  <a:pt x="1522611" y="314143"/>
                  <a:pt x="1526602" y="314143"/>
                </a:cubicBezTo>
                <a:cubicBezTo>
                  <a:pt x="1530594" y="314143"/>
                  <a:pt x="1530594" y="318145"/>
                  <a:pt x="1532589" y="318145"/>
                </a:cubicBezTo>
                <a:cubicBezTo>
                  <a:pt x="1536580" y="318145"/>
                  <a:pt x="1534585" y="316144"/>
                  <a:pt x="1534585" y="314143"/>
                </a:cubicBezTo>
                <a:cubicBezTo>
                  <a:pt x="1534585" y="312142"/>
                  <a:pt x="1536580" y="310141"/>
                  <a:pt x="1536580" y="310141"/>
                </a:cubicBezTo>
                <a:cubicBezTo>
                  <a:pt x="1536580" y="310141"/>
                  <a:pt x="1536580" y="310141"/>
                  <a:pt x="1540571" y="310141"/>
                </a:cubicBezTo>
                <a:cubicBezTo>
                  <a:pt x="1540571" y="310141"/>
                  <a:pt x="1540571" y="310141"/>
                  <a:pt x="1546558" y="306139"/>
                </a:cubicBezTo>
                <a:cubicBezTo>
                  <a:pt x="1546558" y="306139"/>
                  <a:pt x="1550549" y="306139"/>
                  <a:pt x="1550549" y="304138"/>
                </a:cubicBezTo>
                <a:cubicBezTo>
                  <a:pt x="1550549" y="304138"/>
                  <a:pt x="1554541" y="300137"/>
                  <a:pt x="1554541" y="300137"/>
                </a:cubicBezTo>
                <a:cubicBezTo>
                  <a:pt x="1554541" y="300137"/>
                  <a:pt x="1556536" y="296135"/>
                  <a:pt x="1562523" y="290132"/>
                </a:cubicBezTo>
                <a:cubicBezTo>
                  <a:pt x="1568510" y="284129"/>
                  <a:pt x="1568510" y="284129"/>
                  <a:pt x="1566514" y="282128"/>
                </a:cubicBezTo>
                <a:cubicBezTo>
                  <a:pt x="1562523" y="278127"/>
                  <a:pt x="1558532" y="288131"/>
                  <a:pt x="1558532" y="288131"/>
                </a:cubicBezTo>
                <a:cubicBezTo>
                  <a:pt x="1558532" y="288131"/>
                  <a:pt x="1554541" y="296135"/>
                  <a:pt x="1550549" y="296135"/>
                </a:cubicBezTo>
                <a:cubicBezTo>
                  <a:pt x="1546558" y="298136"/>
                  <a:pt x="1546558" y="304138"/>
                  <a:pt x="1546558" y="304138"/>
                </a:cubicBezTo>
                <a:cubicBezTo>
                  <a:pt x="1546558" y="304138"/>
                  <a:pt x="1538576" y="306139"/>
                  <a:pt x="1536580" y="308140"/>
                </a:cubicBezTo>
                <a:cubicBezTo>
                  <a:pt x="1534585" y="308140"/>
                  <a:pt x="1536580" y="308140"/>
                  <a:pt x="1532589" y="308140"/>
                </a:cubicBezTo>
                <a:cubicBezTo>
                  <a:pt x="1530594" y="308140"/>
                  <a:pt x="1528598" y="310141"/>
                  <a:pt x="1528598" y="310141"/>
                </a:cubicBezTo>
                <a:cubicBezTo>
                  <a:pt x="1528598" y="310141"/>
                  <a:pt x="1524607" y="310141"/>
                  <a:pt x="1522611" y="310141"/>
                </a:cubicBezTo>
                <a:cubicBezTo>
                  <a:pt x="1520616" y="308140"/>
                  <a:pt x="1516624" y="310141"/>
                  <a:pt x="1512633" y="310141"/>
                </a:cubicBezTo>
                <a:cubicBezTo>
                  <a:pt x="1508642" y="310141"/>
                  <a:pt x="1510638" y="310141"/>
                  <a:pt x="1506647" y="310141"/>
                </a:cubicBezTo>
                <a:cubicBezTo>
                  <a:pt x="1504651" y="310141"/>
                  <a:pt x="1506647" y="308140"/>
                  <a:pt x="1506647" y="304138"/>
                </a:cubicBezTo>
                <a:cubicBezTo>
                  <a:pt x="1508642" y="302138"/>
                  <a:pt x="1508642" y="302138"/>
                  <a:pt x="1506647" y="302138"/>
                </a:cubicBezTo>
                <a:cubicBezTo>
                  <a:pt x="1504651" y="302138"/>
                  <a:pt x="1502655" y="304138"/>
                  <a:pt x="1502655" y="304138"/>
                </a:cubicBezTo>
                <a:cubicBezTo>
                  <a:pt x="1502655" y="304138"/>
                  <a:pt x="1502655" y="304138"/>
                  <a:pt x="1502655" y="306139"/>
                </a:cubicBezTo>
                <a:cubicBezTo>
                  <a:pt x="1502655" y="306139"/>
                  <a:pt x="1500660" y="306139"/>
                  <a:pt x="1498664" y="308140"/>
                </a:cubicBezTo>
                <a:cubicBezTo>
                  <a:pt x="1498664" y="308140"/>
                  <a:pt x="1500660" y="312142"/>
                  <a:pt x="1500660" y="312142"/>
                </a:cubicBezTo>
                <a:cubicBezTo>
                  <a:pt x="1500660" y="312142"/>
                  <a:pt x="1500660" y="312142"/>
                  <a:pt x="1500660" y="316144"/>
                </a:cubicBezTo>
                <a:cubicBezTo>
                  <a:pt x="1500660" y="316144"/>
                  <a:pt x="1498664" y="314143"/>
                  <a:pt x="1496669" y="314143"/>
                </a:cubicBezTo>
                <a:cubicBezTo>
                  <a:pt x="1494673" y="312142"/>
                  <a:pt x="1494673" y="314143"/>
                  <a:pt x="1492677" y="310141"/>
                </a:cubicBezTo>
                <a:cubicBezTo>
                  <a:pt x="1488686" y="306139"/>
                  <a:pt x="1494673" y="308140"/>
                  <a:pt x="1494673" y="308140"/>
                </a:cubicBezTo>
                <a:cubicBezTo>
                  <a:pt x="1494673" y="308140"/>
                  <a:pt x="1496669" y="308140"/>
                  <a:pt x="1494673" y="304138"/>
                </a:cubicBezTo>
                <a:cubicBezTo>
                  <a:pt x="1494673" y="302138"/>
                  <a:pt x="1492677" y="304138"/>
                  <a:pt x="1494673" y="300137"/>
                </a:cubicBezTo>
                <a:cubicBezTo>
                  <a:pt x="1496669" y="294134"/>
                  <a:pt x="1490682" y="298136"/>
                  <a:pt x="1490682" y="292133"/>
                </a:cubicBezTo>
                <a:cubicBezTo>
                  <a:pt x="1488686" y="284129"/>
                  <a:pt x="1498664" y="284129"/>
                  <a:pt x="1504651" y="282128"/>
                </a:cubicBezTo>
                <a:cubicBezTo>
                  <a:pt x="1508642" y="280128"/>
                  <a:pt x="1506647" y="280128"/>
                  <a:pt x="1506647" y="276126"/>
                </a:cubicBezTo>
                <a:cubicBezTo>
                  <a:pt x="1508642" y="274125"/>
                  <a:pt x="1512633" y="276126"/>
                  <a:pt x="1516624" y="276126"/>
                </a:cubicBezTo>
                <a:cubicBezTo>
                  <a:pt x="1520616" y="278127"/>
                  <a:pt x="1526602" y="276126"/>
                  <a:pt x="1526602" y="276126"/>
                </a:cubicBezTo>
                <a:cubicBezTo>
                  <a:pt x="1526602" y="276126"/>
                  <a:pt x="1526602" y="276126"/>
                  <a:pt x="1518620" y="272124"/>
                </a:cubicBezTo>
                <a:cubicBezTo>
                  <a:pt x="1518620" y="272124"/>
                  <a:pt x="1518620" y="272124"/>
                  <a:pt x="1512633" y="270123"/>
                </a:cubicBezTo>
                <a:cubicBezTo>
                  <a:pt x="1512633" y="270123"/>
                  <a:pt x="1512633" y="266121"/>
                  <a:pt x="1514629" y="266121"/>
                </a:cubicBezTo>
                <a:cubicBezTo>
                  <a:pt x="1514629" y="262119"/>
                  <a:pt x="1516624" y="258118"/>
                  <a:pt x="1512633" y="258118"/>
                </a:cubicBezTo>
                <a:cubicBezTo>
                  <a:pt x="1508642" y="258118"/>
                  <a:pt x="1508642" y="266121"/>
                  <a:pt x="1508642" y="266121"/>
                </a:cubicBezTo>
                <a:cubicBezTo>
                  <a:pt x="1508642" y="266121"/>
                  <a:pt x="1506647" y="268122"/>
                  <a:pt x="1504651" y="272124"/>
                </a:cubicBezTo>
                <a:cubicBezTo>
                  <a:pt x="1500660" y="278127"/>
                  <a:pt x="1496669" y="276126"/>
                  <a:pt x="1494673" y="276126"/>
                </a:cubicBezTo>
                <a:cubicBezTo>
                  <a:pt x="1494673" y="274125"/>
                  <a:pt x="1490682" y="278127"/>
                  <a:pt x="1490682" y="278127"/>
                </a:cubicBezTo>
                <a:cubicBezTo>
                  <a:pt x="1490682" y="278127"/>
                  <a:pt x="1486691" y="280128"/>
                  <a:pt x="1484695" y="278127"/>
                </a:cubicBezTo>
                <a:cubicBezTo>
                  <a:pt x="1482699" y="276126"/>
                  <a:pt x="1484695" y="276126"/>
                  <a:pt x="1488686" y="272124"/>
                </a:cubicBezTo>
                <a:cubicBezTo>
                  <a:pt x="1490682" y="270123"/>
                  <a:pt x="1490682" y="272124"/>
                  <a:pt x="1494673" y="268122"/>
                </a:cubicBezTo>
                <a:cubicBezTo>
                  <a:pt x="1496669" y="266121"/>
                  <a:pt x="1488686" y="268122"/>
                  <a:pt x="1488686" y="268122"/>
                </a:cubicBezTo>
                <a:cubicBezTo>
                  <a:pt x="1488686" y="268122"/>
                  <a:pt x="1484695" y="272124"/>
                  <a:pt x="1478708" y="272124"/>
                </a:cubicBezTo>
                <a:cubicBezTo>
                  <a:pt x="1474717" y="272124"/>
                  <a:pt x="1474717" y="274125"/>
                  <a:pt x="1472722" y="276126"/>
                </a:cubicBezTo>
                <a:cubicBezTo>
                  <a:pt x="1472722" y="280128"/>
                  <a:pt x="1466735" y="280128"/>
                  <a:pt x="1466735" y="280128"/>
                </a:cubicBezTo>
                <a:cubicBezTo>
                  <a:pt x="1466735" y="280128"/>
                  <a:pt x="1464739" y="280128"/>
                  <a:pt x="1462744" y="282128"/>
                </a:cubicBezTo>
                <a:cubicBezTo>
                  <a:pt x="1460748" y="284129"/>
                  <a:pt x="1460748" y="276126"/>
                  <a:pt x="1460748" y="276126"/>
                </a:cubicBezTo>
                <a:cubicBezTo>
                  <a:pt x="1460748" y="276126"/>
                  <a:pt x="1460748" y="276126"/>
                  <a:pt x="1460748" y="272124"/>
                </a:cubicBezTo>
                <a:cubicBezTo>
                  <a:pt x="1460748" y="272124"/>
                  <a:pt x="1458752" y="270123"/>
                  <a:pt x="1458752" y="266121"/>
                </a:cubicBezTo>
                <a:cubicBezTo>
                  <a:pt x="1458752" y="262119"/>
                  <a:pt x="1462744" y="260118"/>
                  <a:pt x="1468730" y="258118"/>
                </a:cubicBezTo>
                <a:cubicBezTo>
                  <a:pt x="1474717" y="258118"/>
                  <a:pt x="1472722" y="254116"/>
                  <a:pt x="1472722" y="254116"/>
                </a:cubicBezTo>
                <a:cubicBezTo>
                  <a:pt x="1472722" y="254116"/>
                  <a:pt x="1472722" y="250114"/>
                  <a:pt x="1474717" y="248113"/>
                </a:cubicBezTo>
                <a:cubicBezTo>
                  <a:pt x="1478708" y="244111"/>
                  <a:pt x="1484695" y="244111"/>
                  <a:pt x="1484695" y="248113"/>
                </a:cubicBezTo>
                <a:cubicBezTo>
                  <a:pt x="1486691" y="250114"/>
                  <a:pt x="1492677" y="246112"/>
                  <a:pt x="1492677" y="246112"/>
                </a:cubicBezTo>
                <a:cubicBezTo>
                  <a:pt x="1492677" y="246112"/>
                  <a:pt x="1498664" y="244111"/>
                  <a:pt x="1502655" y="246112"/>
                </a:cubicBezTo>
                <a:cubicBezTo>
                  <a:pt x="1506647" y="248113"/>
                  <a:pt x="1506647" y="246112"/>
                  <a:pt x="1508642" y="242110"/>
                </a:cubicBezTo>
                <a:cubicBezTo>
                  <a:pt x="1510638" y="236107"/>
                  <a:pt x="1516624" y="236107"/>
                  <a:pt x="1518620" y="240109"/>
                </a:cubicBezTo>
                <a:cubicBezTo>
                  <a:pt x="1520616" y="244111"/>
                  <a:pt x="1526602" y="244111"/>
                  <a:pt x="1528598" y="244111"/>
                </a:cubicBezTo>
                <a:cubicBezTo>
                  <a:pt x="1530594" y="242110"/>
                  <a:pt x="1534585" y="246112"/>
                  <a:pt x="1534585" y="246112"/>
                </a:cubicBezTo>
                <a:cubicBezTo>
                  <a:pt x="1534585" y="246112"/>
                  <a:pt x="1534585" y="246112"/>
                  <a:pt x="1540571" y="244111"/>
                </a:cubicBezTo>
                <a:cubicBezTo>
                  <a:pt x="1548554" y="244111"/>
                  <a:pt x="1550549" y="246112"/>
                  <a:pt x="1550549" y="248113"/>
                </a:cubicBezTo>
                <a:cubicBezTo>
                  <a:pt x="1552545" y="250114"/>
                  <a:pt x="1552545" y="248113"/>
                  <a:pt x="1552545" y="248113"/>
                </a:cubicBezTo>
                <a:cubicBezTo>
                  <a:pt x="1552545" y="248113"/>
                  <a:pt x="1554541" y="250114"/>
                  <a:pt x="1556536" y="252115"/>
                </a:cubicBezTo>
                <a:cubicBezTo>
                  <a:pt x="1558532" y="252115"/>
                  <a:pt x="1558532" y="252115"/>
                  <a:pt x="1558532" y="252115"/>
                </a:cubicBezTo>
                <a:cubicBezTo>
                  <a:pt x="1558532" y="252115"/>
                  <a:pt x="1558532" y="252115"/>
                  <a:pt x="1566514" y="254116"/>
                </a:cubicBezTo>
                <a:cubicBezTo>
                  <a:pt x="1574496" y="256117"/>
                  <a:pt x="1572501" y="254116"/>
                  <a:pt x="1570505" y="252115"/>
                </a:cubicBezTo>
                <a:cubicBezTo>
                  <a:pt x="1570505" y="250114"/>
                  <a:pt x="1570505" y="250114"/>
                  <a:pt x="1566514" y="248113"/>
                </a:cubicBezTo>
                <a:cubicBezTo>
                  <a:pt x="1562523" y="248113"/>
                  <a:pt x="1564519" y="248113"/>
                  <a:pt x="1562523" y="248113"/>
                </a:cubicBezTo>
                <a:cubicBezTo>
                  <a:pt x="1558532" y="246112"/>
                  <a:pt x="1560527" y="246112"/>
                  <a:pt x="1562523" y="244111"/>
                </a:cubicBezTo>
                <a:cubicBezTo>
                  <a:pt x="1564519" y="240109"/>
                  <a:pt x="1568510" y="244111"/>
                  <a:pt x="1568510" y="244111"/>
                </a:cubicBezTo>
                <a:cubicBezTo>
                  <a:pt x="1568510" y="244111"/>
                  <a:pt x="1568510" y="244111"/>
                  <a:pt x="1572501" y="244111"/>
                </a:cubicBezTo>
                <a:cubicBezTo>
                  <a:pt x="1572501" y="244111"/>
                  <a:pt x="1576492" y="244111"/>
                  <a:pt x="1584474" y="246112"/>
                </a:cubicBezTo>
                <a:cubicBezTo>
                  <a:pt x="1590461" y="248113"/>
                  <a:pt x="1592457" y="240109"/>
                  <a:pt x="1592457" y="236107"/>
                </a:cubicBezTo>
                <a:cubicBezTo>
                  <a:pt x="1590461" y="234107"/>
                  <a:pt x="1584474" y="238108"/>
                  <a:pt x="1580483" y="238108"/>
                </a:cubicBezTo>
                <a:cubicBezTo>
                  <a:pt x="1576492" y="238108"/>
                  <a:pt x="1572501" y="240109"/>
                  <a:pt x="1570505" y="240109"/>
                </a:cubicBezTo>
                <a:cubicBezTo>
                  <a:pt x="1568510" y="240109"/>
                  <a:pt x="1560527" y="240109"/>
                  <a:pt x="1550549" y="238108"/>
                </a:cubicBezTo>
                <a:cubicBezTo>
                  <a:pt x="1538576" y="236107"/>
                  <a:pt x="1536580" y="240109"/>
                  <a:pt x="1534585" y="238108"/>
                </a:cubicBezTo>
                <a:cubicBezTo>
                  <a:pt x="1532589" y="236107"/>
                  <a:pt x="1532589" y="236107"/>
                  <a:pt x="1530594" y="236107"/>
                </a:cubicBezTo>
                <a:cubicBezTo>
                  <a:pt x="1528598" y="236107"/>
                  <a:pt x="1524607" y="236107"/>
                  <a:pt x="1520616" y="232106"/>
                </a:cubicBezTo>
                <a:cubicBezTo>
                  <a:pt x="1518620" y="232106"/>
                  <a:pt x="1520616" y="230105"/>
                  <a:pt x="1522611" y="228104"/>
                </a:cubicBezTo>
                <a:cubicBezTo>
                  <a:pt x="1524607" y="228104"/>
                  <a:pt x="1526602" y="226103"/>
                  <a:pt x="1530594" y="224102"/>
                </a:cubicBezTo>
                <a:cubicBezTo>
                  <a:pt x="1532589" y="222101"/>
                  <a:pt x="1534585" y="224102"/>
                  <a:pt x="1534585" y="224102"/>
                </a:cubicBezTo>
                <a:cubicBezTo>
                  <a:pt x="1534585" y="224102"/>
                  <a:pt x="1538576" y="226103"/>
                  <a:pt x="1542567" y="228104"/>
                </a:cubicBezTo>
                <a:cubicBezTo>
                  <a:pt x="1546558" y="228104"/>
                  <a:pt x="1542567" y="232106"/>
                  <a:pt x="1546558" y="232106"/>
                </a:cubicBezTo>
                <a:cubicBezTo>
                  <a:pt x="1548554" y="230105"/>
                  <a:pt x="1550549" y="232106"/>
                  <a:pt x="1550549" y="232106"/>
                </a:cubicBezTo>
                <a:cubicBezTo>
                  <a:pt x="1550549" y="232106"/>
                  <a:pt x="1550549" y="232106"/>
                  <a:pt x="1554541" y="234107"/>
                </a:cubicBezTo>
                <a:cubicBezTo>
                  <a:pt x="1554541" y="234107"/>
                  <a:pt x="1552545" y="234107"/>
                  <a:pt x="1558532" y="232106"/>
                </a:cubicBezTo>
                <a:lnTo>
                  <a:pt x="1562523" y="232106"/>
                </a:lnTo>
                <a:cubicBezTo>
                  <a:pt x="1562523" y="232106"/>
                  <a:pt x="1560527" y="230105"/>
                  <a:pt x="1556536" y="228104"/>
                </a:cubicBezTo>
                <a:cubicBezTo>
                  <a:pt x="1550549" y="228104"/>
                  <a:pt x="1552545" y="226103"/>
                  <a:pt x="1552545" y="226103"/>
                </a:cubicBezTo>
                <a:cubicBezTo>
                  <a:pt x="1552545" y="226103"/>
                  <a:pt x="1552545" y="226103"/>
                  <a:pt x="1546558" y="222101"/>
                </a:cubicBezTo>
                <a:cubicBezTo>
                  <a:pt x="1546558" y="222101"/>
                  <a:pt x="1546558" y="220100"/>
                  <a:pt x="1542567" y="220100"/>
                </a:cubicBezTo>
                <a:cubicBezTo>
                  <a:pt x="1540571" y="220100"/>
                  <a:pt x="1540571" y="220100"/>
                  <a:pt x="1538576" y="214097"/>
                </a:cubicBezTo>
                <a:cubicBezTo>
                  <a:pt x="1536580" y="210096"/>
                  <a:pt x="1536580" y="212097"/>
                  <a:pt x="1534585" y="210096"/>
                </a:cubicBezTo>
                <a:cubicBezTo>
                  <a:pt x="1532589" y="208095"/>
                  <a:pt x="1528598" y="204093"/>
                  <a:pt x="1528598" y="204093"/>
                </a:cubicBezTo>
                <a:cubicBezTo>
                  <a:pt x="1528598" y="204093"/>
                  <a:pt x="1522611" y="198090"/>
                  <a:pt x="1514629" y="196089"/>
                </a:cubicBezTo>
                <a:cubicBezTo>
                  <a:pt x="1504651" y="194088"/>
                  <a:pt x="1502655" y="192087"/>
                  <a:pt x="1502655" y="188086"/>
                </a:cubicBezTo>
                <a:cubicBezTo>
                  <a:pt x="1502655" y="186085"/>
                  <a:pt x="1508642" y="182083"/>
                  <a:pt x="1512633" y="182083"/>
                </a:cubicBezTo>
                <a:cubicBezTo>
                  <a:pt x="1514629" y="182083"/>
                  <a:pt x="1516624" y="184084"/>
                  <a:pt x="1520616" y="184084"/>
                </a:cubicBezTo>
                <a:lnTo>
                  <a:pt x="1522611" y="184084"/>
                </a:lnTo>
                <a:cubicBezTo>
                  <a:pt x="1520616" y="184084"/>
                  <a:pt x="1518620" y="182083"/>
                  <a:pt x="1514629" y="180082"/>
                </a:cubicBezTo>
                <a:cubicBezTo>
                  <a:pt x="1512633" y="180082"/>
                  <a:pt x="1510638" y="180082"/>
                  <a:pt x="1506647" y="176080"/>
                </a:cubicBezTo>
                <a:cubicBezTo>
                  <a:pt x="1502655" y="172078"/>
                  <a:pt x="1506647" y="172078"/>
                  <a:pt x="1508642" y="166076"/>
                </a:cubicBezTo>
                <a:cubicBezTo>
                  <a:pt x="1508642" y="162074"/>
                  <a:pt x="1510638" y="162074"/>
                  <a:pt x="1516624" y="162074"/>
                </a:cubicBezTo>
                <a:cubicBezTo>
                  <a:pt x="1520616" y="160073"/>
                  <a:pt x="1520616" y="162074"/>
                  <a:pt x="1522611" y="164075"/>
                </a:cubicBezTo>
                <a:cubicBezTo>
                  <a:pt x="1526602" y="164075"/>
                  <a:pt x="1526602" y="164075"/>
                  <a:pt x="1530594" y="168076"/>
                </a:cubicBezTo>
                <a:cubicBezTo>
                  <a:pt x="1534585" y="170077"/>
                  <a:pt x="1534585" y="168076"/>
                  <a:pt x="1536580" y="166076"/>
                </a:cubicBezTo>
                <a:cubicBezTo>
                  <a:pt x="1540571" y="166076"/>
                  <a:pt x="1540571" y="166076"/>
                  <a:pt x="1544563" y="166076"/>
                </a:cubicBezTo>
                <a:cubicBezTo>
                  <a:pt x="1550549" y="166076"/>
                  <a:pt x="1550549" y="166076"/>
                  <a:pt x="1552545" y="166076"/>
                </a:cubicBezTo>
                <a:cubicBezTo>
                  <a:pt x="1554541" y="166076"/>
                  <a:pt x="1562523" y="168076"/>
                  <a:pt x="1562523" y="168076"/>
                </a:cubicBezTo>
                <a:cubicBezTo>
                  <a:pt x="1562523" y="168076"/>
                  <a:pt x="1572501" y="176080"/>
                  <a:pt x="1580483" y="182083"/>
                </a:cubicBezTo>
                <a:cubicBezTo>
                  <a:pt x="1590461" y="188086"/>
                  <a:pt x="1590461" y="192087"/>
                  <a:pt x="1592457" y="198090"/>
                </a:cubicBezTo>
                <a:cubicBezTo>
                  <a:pt x="1594452" y="206094"/>
                  <a:pt x="1598444" y="202092"/>
                  <a:pt x="1600439" y="202092"/>
                </a:cubicBezTo>
                <a:cubicBezTo>
                  <a:pt x="1602435" y="202092"/>
                  <a:pt x="1604430" y="202092"/>
                  <a:pt x="1604430" y="202092"/>
                </a:cubicBezTo>
                <a:cubicBezTo>
                  <a:pt x="1604430" y="202092"/>
                  <a:pt x="1604430" y="202092"/>
                  <a:pt x="1608421" y="202092"/>
                </a:cubicBezTo>
                <a:cubicBezTo>
                  <a:pt x="1608421" y="202092"/>
                  <a:pt x="1610417" y="204093"/>
                  <a:pt x="1612413" y="206094"/>
                </a:cubicBezTo>
                <a:cubicBezTo>
                  <a:pt x="1614408" y="208095"/>
                  <a:pt x="1616404" y="210096"/>
                  <a:pt x="1616404" y="210096"/>
                </a:cubicBezTo>
                <a:cubicBezTo>
                  <a:pt x="1616404" y="210096"/>
                  <a:pt x="1616404" y="210096"/>
                  <a:pt x="1618399" y="206094"/>
                </a:cubicBezTo>
                <a:cubicBezTo>
                  <a:pt x="1622391" y="204093"/>
                  <a:pt x="1622391" y="204093"/>
                  <a:pt x="1622391" y="200091"/>
                </a:cubicBezTo>
                <a:cubicBezTo>
                  <a:pt x="1622391" y="200091"/>
                  <a:pt x="1622391" y="200091"/>
                  <a:pt x="1614408" y="198090"/>
                </a:cubicBezTo>
                <a:cubicBezTo>
                  <a:pt x="1614408" y="198090"/>
                  <a:pt x="1608421" y="198090"/>
                  <a:pt x="1604430" y="198090"/>
                </a:cubicBezTo>
                <a:cubicBezTo>
                  <a:pt x="1600439" y="196089"/>
                  <a:pt x="1600439" y="192087"/>
                  <a:pt x="1600439" y="188086"/>
                </a:cubicBezTo>
                <a:cubicBezTo>
                  <a:pt x="1600439" y="186085"/>
                  <a:pt x="1600439" y="184084"/>
                  <a:pt x="1600439" y="182083"/>
                </a:cubicBezTo>
                <a:cubicBezTo>
                  <a:pt x="1600439" y="180082"/>
                  <a:pt x="1598444" y="180082"/>
                  <a:pt x="1596448" y="180082"/>
                </a:cubicBezTo>
                <a:cubicBezTo>
                  <a:pt x="1592457" y="178081"/>
                  <a:pt x="1596448" y="180082"/>
                  <a:pt x="1594452" y="176080"/>
                </a:cubicBezTo>
                <a:cubicBezTo>
                  <a:pt x="1594452" y="174079"/>
                  <a:pt x="1594452" y="178081"/>
                  <a:pt x="1592457" y="178081"/>
                </a:cubicBezTo>
                <a:cubicBezTo>
                  <a:pt x="1588466" y="178081"/>
                  <a:pt x="1582479" y="176080"/>
                  <a:pt x="1578488" y="170077"/>
                </a:cubicBezTo>
                <a:cubicBezTo>
                  <a:pt x="1574496" y="164075"/>
                  <a:pt x="1580483" y="166076"/>
                  <a:pt x="1584474" y="166076"/>
                </a:cubicBezTo>
                <a:cubicBezTo>
                  <a:pt x="1586470" y="166076"/>
                  <a:pt x="1592457" y="168076"/>
                  <a:pt x="1594452" y="168076"/>
                </a:cubicBezTo>
                <a:cubicBezTo>
                  <a:pt x="1596448" y="168076"/>
                  <a:pt x="1598444" y="168076"/>
                  <a:pt x="1602435" y="166076"/>
                </a:cubicBezTo>
                <a:cubicBezTo>
                  <a:pt x="1606426" y="166076"/>
                  <a:pt x="1606426" y="166076"/>
                  <a:pt x="1610417" y="164075"/>
                </a:cubicBezTo>
                <a:cubicBezTo>
                  <a:pt x="1614408" y="164075"/>
                  <a:pt x="1614408" y="162074"/>
                  <a:pt x="1614408" y="162074"/>
                </a:cubicBezTo>
                <a:cubicBezTo>
                  <a:pt x="1614408" y="162074"/>
                  <a:pt x="1618399" y="160073"/>
                  <a:pt x="1622391" y="160073"/>
                </a:cubicBezTo>
                <a:cubicBezTo>
                  <a:pt x="1626382" y="160073"/>
                  <a:pt x="1624386" y="160073"/>
                  <a:pt x="1628377" y="160073"/>
                </a:cubicBezTo>
                <a:cubicBezTo>
                  <a:pt x="1632369" y="160073"/>
                  <a:pt x="1632369" y="158072"/>
                  <a:pt x="1632369" y="158072"/>
                </a:cubicBezTo>
                <a:cubicBezTo>
                  <a:pt x="1632369" y="158072"/>
                  <a:pt x="1632369" y="158072"/>
                  <a:pt x="1634364" y="156071"/>
                </a:cubicBezTo>
                <a:cubicBezTo>
                  <a:pt x="1634364" y="156071"/>
                  <a:pt x="1634364" y="156071"/>
                  <a:pt x="1636360" y="158072"/>
                </a:cubicBezTo>
                <a:cubicBezTo>
                  <a:pt x="1636360" y="158072"/>
                  <a:pt x="1642346" y="158072"/>
                  <a:pt x="1646338" y="156071"/>
                </a:cubicBezTo>
                <a:cubicBezTo>
                  <a:pt x="1650329" y="156071"/>
                  <a:pt x="1650329" y="154070"/>
                  <a:pt x="1650329" y="154070"/>
                </a:cubicBezTo>
                <a:cubicBezTo>
                  <a:pt x="1650329" y="154070"/>
                  <a:pt x="1656316" y="154070"/>
                  <a:pt x="1658311" y="154070"/>
                </a:cubicBezTo>
                <a:cubicBezTo>
                  <a:pt x="1660307" y="154070"/>
                  <a:pt x="1658311" y="152069"/>
                  <a:pt x="1658311" y="152069"/>
                </a:cubicBezTo>
                <a:cubicBezTo>
                  <a:pt x="1658311" y="152069"/>
                  <a:pt x="1658311" y="152069"/>
                  <a:pt x="1654320" y="152069"/>
                </a:cubicBezTo>
                <a:cubicBezTo>
                  <a:pt x="1650329" y="152069"/>
                  <a:pt x="1650329" y="154070"/>
                  <a:pt x="1648333" y="154070"/>
                </a:cubicBezTo>
                <a:cubicBezTo>
                  <a:pt x="1644342" y="154070"/>
                  <a:pt x="1644342" y="154070"/>
                  <a:pt x="1640351" y="154070"/>
                </a:cubicBezTo>
                <a:cubicBezTo>
                  <a:pt x="1638355" y="152069"/>
                  <a:pt x="1638355" y="152069"/>
                  <a:pt x="1638355" y="150068"/>
                </a:cubicBezTo>
                <a:cubicBezTo>
                  <a:pt x="1640351" y="146066"/>
                  <a:pt x="1644342" y="146066"/>
                  <a:pt x="1646338" y="144066"/>
                </a:cubicBezTo>
                <a:cubicBezTo>
                  <a:pt x="1650329" y="142065"/>
                  <a:pt x="1650329" y="144066"/>
                  <a:pt x="1656316" y="144066"/>
                </a:cubicBezTo>
                <a:cubicBezTo>
                  <a:pt x="1660307" y="144066"/>
                  <a:pt x="1658311" y="144066"/>
                  <a:pt x="1664298" y="144066"/>
                </a:cubicBezTo>
                <a:cubicBezTo>
                  <a:pt x="1670285" y="146066"/>
                  <a:pt x="1668289" y="144066"/>
                  <a:pt x="1672280" y="144066"/>
                </a:cubicBezTo>
                <a:cubicBezTo>
                  <a:pt x="1674276" y="142065"/>
                  <a:pt x="1676271" y="142065"/>
                  <a:pt x="1680263" y="140064"/>
                </a:cubicBezTo>
                <a:cubicBezTo>
                  <a:pt x="1682258" y="138063"/>
                  <a:pt x="1682258" y="138063"/>
                  <a:pt x="1684254" y="138063"/>
                </a:cubicBezTo>
                <a:cubicBezTo>
                  <a:pt x="1688245" y="138063"/>
                  <a:pt x="1690241" y="138063"/>
                  <a:pt x="1694232" y="138063"/>
                </a:cubicBezTo>
                <a:cubicBezTo>
                  <a:pt x="1696227" y="138063"/>
                  <a:pt x="1702214" y="138063"/>
                  <a:pt x="1706205" y="140064"/>
                </a:cubicBezTo>
                <a:cubicBezTo>
                  <a:pt x="1712192" y="142065"/>
                  <a:pt x="1712192" y="140064"/>
                  <a:pt x="1716183" y="140064"/>
                </a:cubicBezTo>
                <a:cubicBezTo>
                  <a:pt x="1720174" y="138063"/>
                  <a:pt x="1720174" y="136062"/>
                  <a:pt x="1724166" y="136062"/>
                </a:cubicBezTo>
                <a:cubicBezTo>
                  <a:pt x="1726161" y="136062"/>
                  <a:pt x="1732148" y="134061"/>
                  <a:pt x="1732148" y="134061"/>
                </a:cubicBezTo>
                <a:cubicBezTo>
                  <a:pt x="1732148" y="134061"/>
                  <a:pt x="1740130" y="132060"/>
                  <a:pt x="1742126" y="132060"/>
                </a:cubicBezTo>
                <a:cubicBezTo>
                  <a:pt x="1744121" y="132060"/>
                  <a:pt x="1748113" y="130059"/>
                  <a:pt x="1758091" y="128058"/>
                </a:cubicBezTo>
                <a:cubicBezTo>
                  <a:pt x="1766073" y="124056"/>
                  <a:pt x="1752104" y="128058"/>
                  <a:pt x="1748113" y="130059"/>
                </a:cubicBezTo>
                <a:cubicBezTo>
                  <a:pt x="1744121" y="130059"/>
                  <a:pt x="1740130" y="126057"/>
                  <a:pt x="1736139" y="130059"/>
                </a:cubicBezTo>
                <a:cubicBezTo>
                  <a:pt x="1732148" y="134061"/>
                  <a:pt x="1724166" y="132060"/>
                  <a:pt x="1720174" y="132060"/>
                </a:cubicBezTo>
                <a:cubicBezTo>
                  <a:pt x="1718179" y="132060"/>
                  <a:pt x="1714188" y="134061"/>
                  <a:pt x="1710196" y="134061"/>
                </a:cubicBezTo>
                <a:cubicBezTo>
                  <a:pt x="1706205" y="134061"/>
                  <a:pt x="1704210" y="134061"/>
                  <a:pt x="1700219" y="134061"/>
                </a:cubicBezTo>
                <a:cubicBezTo>
                  <a:pt x="1698223" y="134061"/>
                  <a:pt x="1688245" y="134061"/>
                  <a:pt x="1684254" y="134061"/>
                </a:cubicBezTo>
                <a:cubicBezTo>
                  <a:pt x="1678267" y="136062"/>
                  <a:pt x="1676271" y="136062"/>
                  <a:pt x="1672280" y="136062"/>
                </a:cubicBezTo>
                <a:cubicBezTo>
                  <a:pt x="1668289" y="136062"/>
                  <a:pt x="1662302" y="138063"/>
                  <a:pt x="1662302" y="136062"/>
                </a:cubicBezTo>
                <a:cubicBezTo>
                  <a:pt x="1660307" y="134061"/>
                  <a:pt x="1662302" y="130059"/>
                  <a:pt x="1664298" y="126057"/>
                </a:cubicBezTo>
                <a:cubicBezTo>
                  <a:pt x="1664298" y="122056"/>
                  <a:pt x="1670285" y="124056"/>
                  <a:pt x="1670285" y="124056"/>
                </a:cubicBezTo>
                <a:cubicBezTo>
                  <a:pt x="1670285" y="124056"/>
                  <a:pt x="1672280" y="122056"/>
                  <a:pt x="1672280" y="118054"/>
                </a:cubicBezTo>
                <a:cubicBezTo>
                  <a:pt x="1674276" y="116053"/>
                  <a:pt x="1682258" y="112051"/>
                  <a:pt x="1684254" y="110050"/>
                </a:cubicBezTo>
                <a:cubicBezTo>
                  <a:pt x="1688245" y="110050"/>
                  <a:pt x="1688245" y="110050"/>
                  <a:pt x="1692236" y="108049"/>
                </a:cubicBezTo>
                <a:cubicBezTo>
                  <a:pt x="1698223" y="106048"/>
                  <a:pt x="1696227" y="108049"/>
                  <a:pt x="1698223" y="108049"/>
                </a:cubicBezTo>
                <a:cubicBezTo>
                  <a:pt x="1700219" y="108049"/>
                  <a:pt x="1706205" y="104047"/>
                  <a:pt x="1706205" y="104047"/>
                </a:cubicBezTo>
                <a:cubicBezTo>
                  <a:pt x="1706205" y="104047"/>
                  <a:pt x="1706205" y="102046"/>
                  <a:pt x="1704210" y="102046"/>
                </a:cubicBezTo>
                <a:cubicBezTo>
                  <a:pt x="1702214" y="102046"/>
                  <a:pt x="1700219" y="104047"/>
                  <a:pt x="1696227" y="104047"/>
                </a:cubicBezTo>
                <a:cubicBezTo>
                  <a:pt x="1694232" y="104047"/>
                  <a:pt x="1690241" y="108049"/>
                  <a:pt x="1684254" y="108049"/>
                </a:cubicBezTo>
                <a:cubicBezTo>
                  <a:pt x="1680263" y="108049"/>
                  <a:pt x="1676271" y="112051"/>
                  <a:pt x="1672280" y="116053"/>
                </a:cubicBezTo>
                <a:cubicBezTo>
                  <a:pt x="1668289" y="118054"/>
                  <a:pt x="1662302" y="120055"/>
                  <a:pt x="1660307" y="116053"/>
                </a:cubicBezTo>
                <a:cubicBezTo>
                  <a:pt x="1658311" y="114052"/>
                  <a:pt x="1656316" y="126057"/>
                  <a:pt x="1654320" y="126057"/>
                </a:cubicBezTo>
                <a:cubicBezTo>
                  <a:pt x="1650329" y="126057"/>
                  <a:pt x="1654320" y="130059"/>
                  <a:pt x="1654320" y="130059"/>
                </a:cubicBezTo>
                <a:cubicBezTo>
                  <a:pt x="1654320" y="130059"/>
                  <a:pt x="1654320" y="130059"/>
                  <a:pt x="1656316" y="134061"/>
                </a:cubicBezTo>
                <a:cubicBezTo>
                  <a:pt x="1656316" y="138063"/>
                  <a:pt x="1656316" y="138063"/>
                  <a:pt x="1654320" y="138063"/>
                </a:cubicBezTo>
                <a:cubicBezTo>
                  <a:pt x="1652324" y="140064"/>
                  <a:pt x="1648333" y="142065"/>
                  <a:pt x="1644342" y="142065"/>
                </a:cubicBezTo>
                <a:cubicBezTo>
                  <a:pt x="1642346" y="144066"/>
                  <a:pt x="1638355" y="144066"/>
                  <a:pt x="1636360" y="146066"/>
                </a:cubicBezTo>
                <a:cubicBezTo>
                  <a:pt x="1634364" y="146066"/>
                  <a:pt x="1634364" y="148067"/>
                  <a:pt x="1630373" y="150068"/>
                </a:cubicBezTo>
                <a:cubicBezTo>
                  <a:pt x="1624386" y="152069"/>
                  <a:pt x="1626382" y="152069"/>
                  <a:pt x="1622391" y="154070"/>
                </a:cubicBezTo>
                <a:cubicBezTo>
                  <a:pt x="1620395" y="156071"/>
                  <a:pt x="1616404" y="156071"/>
                  <a:pt x="1612413" y="158072"/>
                </a:cubicBezTo>
                <a:cubicBezTo>
                  <a:pt x="1610417" y="158072"/>
                  <a:pt x="1608421" y="158072"/>
                  <a:pt x="1604430" y="160073"/>
                </a:cubicBezTo>
                <a:cubicBezTo>
                  <a:pt x="1598444" y="160073"/>
                  <a:pt x="1598444" y="160073"/>
                  <a:pt x="1592457" y="158072"/>
                </a:cubicBezTo>
                <a:cubicBezTo>
                  <a:pt x="1586470" y="158072"/>
                  <a:pt x="1590461" y="158072"/>
                  <a:pt x="1588466" y="160073"/>
                </a:cubicBezTo>
                <a:cubicBezTo>
                  <a:pt x="1586470" y="160073"/>
                  <a:pt x="1584474" y="160073"/>
                  <a:pt x="1578488" y="160073"/>
                </a:cubicBezTo>
                <a:cubicBezTo>
                  <a:pt x="1572501" y="162074"/>
                  <a:pt x="1576492" y="160073"/>
                  <a:pt x="1574496" y="158072"/>
                </a:cubicBezTo>
                <a:cubicBezTo>
                  <a:pt x="1570505" y="156071"/>
                  <a:pt x="1574496" y="154070"/>
                  <a:pt x="1574496" y="154070"/>
                </a:cubicBezTo>
                <a:cubicBezTo>
                  <a:pt x="1574496" y="154070"/>
                  <a:pt x="1574496" y="154070"/>
                  <a:pt x="1584474" y="152069"/>
                </a:cubicBezTo>
                <a:cubicBezTo>
                  <a:pt x="1584474" y="152069"/>
                  <a:pt x="1584474" y="152069"/>
                  <a:pt x="1588466" y="150068"/>
                </a:cubicBezTo>
                <a:cubicBezTo>
                  <a:pt x="1588466" y="150068"/>
                  <a:pt x="1588466" y="150068"/>
                  <a:pt x="1596448" y="148067"/>
                </a:cubicBezTo>
                <a:cubicBezTo>
                  <a:pt x="1596448" y="148067"/>
                  <a:pt x="1600439" y="146066"/>
                  <a:pt x="1598444" y="144066"/>
                </a:cubicBezTo>
                <a:cubicBezTo>
                  <a:pt x="1594452" y="142065"/>
                  <a:pt x="1592457" y="146066"/>
                  <a:pt x="1592457" y="146066"/>
                </a:cubicBezTo>
                <a:cubicBezTo>
                  <a:pt x="1592457" y="146066"/>
                  <a:pt x="1586470" y="148067"/>
                  <a:pt x="1584474" y="148067"/>
                </a:cubicBezTo>
                <a:cubicBezTo>
                  <a:pt x="1582479" y="148067"/>
                  <a:pt x="1582479" y="148067"/>
                  <a:pt x="1582479" y="148067"/>
                </a:cubicBezTo>
                <a:cubicBezTo>
                  <a:pt x="1582479" y="148067"/>
                  <a:pt x="1578488" y="148067"/>
                  <a:pt x="1574496" y="148067"/>
                </a:cubicBezTo>
                <a:cubicBezTo>
                  <a:pt x="1572501" y="150068"/>
                  <a:pt x="1570505" y="148067"/>
                  <a:pt x="1570505" y="148067"/>
                </a:cubicBezTo>
                <a:cubicBezTo>
                  <a:pt x="1570505" y="148067"/>
                  <a:pt x="1570505" y="148067"/>
                  <a:pt x="1568510" y="148067"/>
                </a:cubicBezTo>
                <a:cubicBezTo>
                  <a:pt x="1566514" y="146066"/>
                  <a:pt x="1566514" y="150068"/>
                  <a:pt x="1564519" y="154070"/>
                </a:cubicBezTo>
                <a:cubicBezTo>
                  <a:pt x="1562523" y="156071"/>
                  <a:pt x="1562523" y="156071"/>
                  <a:pt x="1558532" y="158072"/>
                </a:cubicBezTo>
                <a:cubicBezTo>
                  <a:pt x="1554541" y="162074"/>
                  <a:pt x="1556536" y="158072"/>
                  <a:pt x="1554541" y="158072"/>
                </a:cubicBezTo>
                <a:cubicBezTo>
                  <a:pt x="1550549" y="158072"/>
                  <a:pt x="1552545" y="158072"/>
                  <a:pt x="1548554" y="156071"/>
                </a:cubicBezTo>
                <a:cubicBezTo>
                  <a:pt x="1542567" y="156071"/>
                  <a:pt x="1544563" y="156071"/>
                  <a:pt x="1540571" y="156071"/>
                </a:cubicBezTo>
                <a:cubicBezTo>
                  <a:pt x="1536580" y="156071"/>
                  <a:pt x="1536580" y="158072"/>
                  <a:pt x="1532589" y="158072"/>
                </a:cubicBezTo>
                <a:cubicBezTo>
                  <a:pt x="1526602" y="158072"/>
                  <a:pt x="1528598" y="158072"/>
                  <a:pt x="1522611" y="156071"/>
                </a:cubicBezTo>
                <a:cubicBezTo>
                  <a:pt x="1516624" y="154070"/>
                  <a:pt x="1518620" y="152069"/>
                  <a:pt x="1518620" y="148067"/>
                </a:cubicBezTo>
                <a:cubicBezTo>
                  <a:pt x="1518620" y="146066"/>
                  <a:pt x="1520616" y="146066"/>
                  <a:pt x="1522611" y="142065"/>
                </a:cubicBezTo>
                <a:cubicBezTo>
                  <a:pt x="1526602" y="140064"/>
                  <a:pt x="1524607" y="140064"/>
                  <a:pt x="1526602" y="138063"/>
                </a:cubicBezTo>
                <a:cubicBezTo>
                  <a:pt x="1528598" y="136062"/>
                  <a:pt x="1528598" y="134061"/>
                  <a:pt x="1528598" y="134061"/>
                </a:cubicBezTo>
                <a:cubicBezTo>
                  <a:pt x="1528598" y="134061"/>
                  <a:pt x="1528598" y="134061"/>
                  <a:pt x="1530594" y="132060"/>
                </a:cubicBezTo>
                <a:cubicBezTo>
                  <a:pt x="1534585" y="130059"/>
                  <a:pt x="1536580" y="130059"/>
                  <a:pt x="1540571" y="130059"/>
                </a:cubicBezTo>
                <a:cubicBezTo>
                  <a:pt x="1544563" y="130059"/>
                  <a:pt x="1546558" y="128058"/>
                  <a:pt x="1546558" y="128058"/>
                </a:cubicBezTo>
                <a:cubicBezTo>
                  <a:pt x="1546558" y="128058"/>
                  <a:pt x="1546558" y="128058"/>
                  <a:pt x="1550549" y="126057"/>
                </a:cubicBezTo>
                <a:cubicBezTo>
                  <a:pt x="1550549" y="126057"/>
                  <a:pt x="1556536" y="126057"/>
                  <a:pt x="1558532" y="126057"/>
                </a:cubicBezTo>
                <a:cubicBezTo>
                  <a:pt x="1560527" y="126057"/>
                  <a:pt x="1564519" y="128058"/>
                  <a:pt x="1564519" y="128058"/>
                </a:cubicBezTo>
                <a:cubicBezTo>
                  <a:pt x="1564519" y="128058"/>
                  <a:pt x="1570505" y="128058"/>
                  <a:pt x="1574496" y="128058"/>
                </a:cubicBezTo>
                <a:cubicBezTo>
                  <a:pt x="1580483" y="126057"/>
                  <a:pt x="1592457" y="124056"/>
                  <a:pt x="1592457" y="124056"/>
                </a:cubicBezTo>
                <a:cubicBezTo>
                  <a:pt x="1592457" y="124056"/>
                  <a:pt x="1592457" y="124056"/>
                  <a:pt x="1604430" y="122056"/>
                </a:cubicBezTo>
                <a:cubicBezTo>
                  <a:pt x="1604430" y="122056"/>
                  <a:pt x="1604430" y="122056"/>
                  <a:pt x="1598444" y="122056"/>
                </a:cubicBezTo>
                <a:cubicBezTo>
                  <a:pt x="1598444" y="122056"/>
                  <a:pt x="1580483" y="120055"/>
                  <a:pt x="1576492" y="120055"/>
                </a:cubicBezTo>
                <a:cubicBezTo>
                  <a:pt x="1574496" y="118054"/>
                  <a:pt x="1570505" y="120055"/>
                  <a:pt x="1566514" y="120055"/>
                </a:cubicBezTo>
                <a:cubicBezTo>
                  <a:pt x="1564519" y="120055"/>
                  <a:pt x="1564519" y="122056"/>
                  <a:pt x="1560527" y="122056"/>
                </a:cubicBezTo>
                <a:cubicBezTo>
                  <a:pt x="1558532" y="122056"/>
                  <a:pt x="1548554" y="124056"/>
                  <a:pt x="1546558" y="124056"/>
                </a:cubicBezTo>
                <a:cubicBezTo>
                  <a:pt x="1542567" y="124056"/>
                  <a:pt x="1536580" y="126057"/>
                  <a:pt x="1528598" y="130059"/>
                </a:cubicBezTo>
                <a:cubicBezTo>
                  <a:pt x="1522611" y="134061"/>
                  <a:pt x="1512633" y="146066"/>
                  <a:pt x="1512633" y="146066"/>
                </a:cubicBezTo>
                <a:cubicBezTo>
                  <a:pt x="1512633" y="146066"/>
                  <a:pt x="1504651" y="152069"/>
                  <a:pt x="1498664" y="152069"/>
                </a:cubicBezTo>
                <a:cubicBezTo>
                  <a:pt x="1492677" y="152069"/>
                  <a:pt x="1488686" y="150068"/>
                  <a:pt x="1484695" y="150068"/>
                </a:cubicBezTo>
                <a:cubicBezTo>
                  <a:pt x="1482699" y="150068"/>
                  <a:pt x="1470726" y="146066"/>
                  <a:pt x="1466735" y="142065"/>
                </a:cubicBezTo>
                <a:cubicBezTo>
                  <a:pt x="1460748" y="138063"/>
                  <a:pt x="1454761" y="130059"/>
                  <a:pt x="1456757" y="130059"/>
                </a:cubicBezTo>
                <a:cubicBezTo>
                  <a:pt x="1458752" y="128058"/>
                  <a:pt x="1480704" y="130059"/>
                  <a:pt x="1480704" y="130059"/>
                </a:cubicBezTo>
                <a:cubicBezTo>
                  <a:pt x="1480704" y="130059"/>
                  <a:pt x="1480704" y="130059"/>
                  <a:pt x="1498664" y="130059"/>
                </a:cubicBezTo>
                <a:cubicBezTo>
                  <a:pt x="1498664" y="130059"/>
                  <a:pt x="1510638" y="130059"/>
                  <a:pt x="1518620" y="130059"/>
                </a:cubicBezTo>
                <a:cubicBezTo>
                  <a:pt x="1526602" y="128058"/>
                  <a:pt x="1526602" y="122056"/>
                  <a:pt x="1526602" y="122056"/>
                </a:cubicBezTo>
                <a:cubicBezTo>
                  <a:pt x="1526602" y="122056"/>
                  <a:pt x="1528598" y="122056"/>
                  <a:pt x="1536580" y="118054"/>
                </a:cubicBezTo>
                <a:cubicBezTo>
                  <a:pt x="1544563" y="114052"/>
                  <a:pt x="1542567" y="114052"/>
                  <a:pt x="1542567" y="114052"/>
                </a:cubicBezTo>
                <a:cubicBezTo>
                  <a:pt x="1542567" y="114052"/>
                  <a:pt x="1544563" y="112051"/>
                  <a:pt x="1548554" y="112051"/>
                </a:cubicBezTo>
                <a:cubicBezTo>
                  <a:pt x="1554541" y="110050"/>
                  <a:pt x="1552545" y="112051"/>
                  <a:pt x="1550549" y="108049"/>
                </a:cubicBezTo>
                <a:cubicBezTo>
                  <a:pt x="1548554" y="106048"/>
                  <a:pt x="1544563" y="112051"/>
                  <a:pt x="1540571" y="112051"/>
                </a:cubicBezTo>
                <a:cubicBezTo>
                  <a:pt x="1536580" y="112051"/>
                  <a:pt x="1522611" y="120055"/>
                  <a:pt x="1522611" y="120055"/>
                </a:cubicBezTo>
                <a:cubicBezTo>
                  <a:pt x="1522611" y="120055"/>
                  <a:pt x="1508642" y="124056"/>
                  <a:pt x="1496669" y="124056"/>
                </a:cubicBezTo>
                <a:cubicBezTo>
                  <a:pt x="1484695" y="124056"/>
                  <a:pt x="1472722" y="112051"/>
                  <a:pt x="1474717" y="102046"/>
                </a:cubicBezTo>
                <a:cubicBezTo>
                  <a:pt x="1474717" y="92042"/>
                  <a:pt x="1494673" y="102046"/>
                  <a:pt x="1502655" y="100046"/>
                </a:cubicBezTo>
                <a:cubicBezTo>
                  <a:pt x="1508642" y="98045"/>
                  <a:pt x="1494673" y="92042"/>
                  <a:pt x="1488686" y="90041"/>
                </a:cubicBezTo>
                <a:cubicBezTo>
                  <a:pt x="1482699" y="88040"/>
                  <a:pt x="1476713" y="76035"/>
                  <a:pt x="1480704" y="70032"/>
                </a:cubicBezTo>
                <a:cubicBezTo>
                  <a:pt x="1482699" y="64029"/>
                  <a:pt x="1508642" y="72033"/>
                  <a:pt x="1508642" y="72033"/>
                </a:cubicBezTo>
                <a:cubicBezTo>
                  <a:pt x="1508642" y="72033"/>
                  <a:pt x="1508642" y="72033"/>
                  <a:pt x="1512633" y="70032"/>
                </a:cubicBezTo>
                <a:cubicBezTo>
                  <a:pt x="1512633" y="70032"/>
                  <a:pt x="1514629" y="66030"/>
                  <a:pt x="1518620" y="68031"/>
                </a:cubicBezTo>
                <a:cubicBezTo>
                  <a:pt x="1522611" y="68031"/>
                  <a:pt x="1528598" y="70032"/>
                  <a:pt x="1534585" y="74034"/>
                </a:cubicBezTo>
                <a:cubicBezTo>
                  <a:pt x="1538576" y="76035"/>
                  <a:pt x="1538576" y="74034"/>
                  <a:pt x="1540571" y="74034"/>
                </a:cubicBezTo>
                <a:cubicBezTo>
                  <a:pt x="1542567" y="74034"/>
                  <a:pt x="1546558" y="74034"/>
                  <a:pt x="1546558" y="72033"/>
                </a:cubicBezTo>
                <a:cubicBezTo>
                  <a:pt x="1546558" y="70032"/>
                  <a:pt x="1550549" y="70032"/>
                  <a:pt x="1552545" y="68031"/>
                </a:cubicBezTo>
                <a:cubicBezTo>
                  <a:pt x="1554541" y="66030"/>
                  <a:pt x="1548554" y="66030"/>
                  <a:pt x="1546558" y="66030"/>
                </a:cubicBezTo>
                <a:cubicBezTo>
                  <a:pt x="1546558" y="66030"/>
                  <a:pt x="1540571" y="66030"/>
                  <a:pt x="1536580" y="66030"/>
                </a:cubicBezTo>
                <a:cubicBezTo>
                  <a:pt x="1534585" y="66030"/>
                  <a:pt x="1532589" y="66030"/>
                  <a:pt x="1532589" y="66030"/>
                </a:cubicBezTo>
                <a:cubicBezTo>
                  <a:pt x="1532589" y="66030"/>
                  <a:pt x="1528598" y="66030"/>
                  <a:pt x="1528598" y="64029"/>
                </a:cubicBezTo>
                <a:cubicBezTo>
                  <a:pt x="1526602" y="62028"/>
                  <a:pt x="1524607" y="62028"/>
                  <a:pt x="1524607" y="62028"/>
                </a:cubicBezTo>
                <a:cubicBezTo>
                  <a:pt x="1524607" y="62028"/>
                  <a:pt x="1518620" y="62028"/>
                  <a:pt x="1518620" y="60027"/>
                </a:cubicBezTo>
                <a:cubicBezTo>
                  <a:pt x="1518620" y="56025"/>
                  <a:pt x="1520616" y="58026"/>
                  <a:pt x="1524607" y="58026"/>
                </a:cubicBezTo>
                <a:cubicBezTo>
                  <a:pt x="1526602" y="58026"/>
                  <a:pt x="1530594" y="58026"/>
                  <a:pt x="1534585" y="58026"/>
                </a:cubicBezTo>
                <a:cubicBezTo>
                  <a:pt x="1538576" y="58026"/>
                  <a:pt x="1536580" y="52024"/>
                  <a:pt x="1536580" y="52024"/>
                </a:cubicBezTo>
                <a:cubicBezTo>
                  <a:pt x="1536580" y="52024"/>
                  <a:pt x="1532589" y="50023"/>
                  <a:pt x="1532589" y="48022"/>
                </a:cubicBezTo>
                <a:cubicBezTo>
                  <a:pt x="1532589" y="46021"/>
                  <a:pt x="1538576" y="46021"/>
                  <a:pt x="1540571" y="46021"/>
                </a:cubicBezTo>
                <a:cubicBezTo>
                  <a:pt x="1542567" y="48022"/>
                  <a:pt x="1544563" y="44020"/>
                  <a:pt x="1548554" y="44020"/>
                </a:cubicBezTo>
                <a:cubicBezTo>
                  <a:pt x="1550549" y="42019"/>
                  <a:pt x="1554541" y="44020"/>
                  <a:pt x="1554541" y="48022"/>
                </a:cubicBezTo>
                <a:cubicBezTo>
                  <a:pt x="1556536" y="50023"/>
                  <a:pt x="1558532" y="50023"/>
                  <a:pt x="1560527" y="50023"/>
                </a:cubicBezTo>
                <a:cubicBezTo>
                  <a:pt x="1562523" y="50023"/>
                  <a:pt x="1566514" y="50023"/>
                  <a:pt x="1566514" y="50023"/>
                </a:cubicBezTo>
                <a:cubicBezTo>
                  <a:pt x="1566514" y="50023"/>
                  <a:pt x="1568510" y="50023"/>
                  <a:pt x="1570505" y="50023"/>
                </a:cubicBezTo>
                <a:cubicBezTo>
                  <a:pt x="1574496" y="50023"/>
                  <a:pt x="1578488" y="52024"/>
                  <a:pt x="1578488" y="54025"/>
                </a:cubicBezTo>
                <a:cubicBezTo>
                  <a:pt x="1578488" y="56025"/>
                  <a:pt x="1580483" y="56025"/>
                  <a:pt x="1584474" y="58026"/>
                </a:cubicBezTo>
                <a:cubicBezTo>
                  <a:pt x="1590461" y="60027"/>
                  <a:pt x="1588466" y="62028"/>
                  <a:pt x="1584474" y="66030"/>
                </a:cubicBezTo>
                <a:cubicBezTo>
                  <a:pt x="1582479" y="68031"/>
                  <a:pt x="1588466" y="66030"/>
                  <a:pt x="1592457" y="66030"/>
                </a:cubicBezTo>
                <a:cubicBezTo>
                  <a:pt x="1594452" y="66030"/>
                  <a:pt x="1598444" y="68031"/>
                  <a:pt x="1598444" y="68031"/>
                </a:cubicBezTo>
                <a:cubicBezTo>
                  <a:pt x="1598444" y="68031"/>
                  <a:pt x="1606426" y="68031"/>
                  <a:pt x="1606426" y="66030"/>
                </a:cubicBezTo>
                <a:cubicBezTo>
                  <a:pt x="1606426" y="66030"/>
                  <a:pt x="1600439" y="64029"/>
                  <a:pt x="1598444" y="64029"/>
                </a:cubicBezTo>
                <a:cubicBezTo>
                  <a:pt x="1594452" y="62028"/>
                  <a:pt x="1594452" y="60027"/>
                  <a:pt x="1596448" y="58026"/>
                </a:cubicBezTo>
                <a:cubicBezTo>
                  <a:pt x="1600439" y="56025"/>
                  <a:pt x="1602435" y="60027"/>
                  <a:pt x="1606426" y="60027"/>
                </a:cubicBezTo>
                <a:cubicBezTo>
                  <a:pt x="1610417" y="60027"/>
                  <a:pt x="1610417" y="62028"/>
                  <a:pt x="1612413" y="64029"/>
                </a:cubicBezTo>
                <a:cubicBezTo>
                  <a:pt x="1612413" y="66030"/>
                  <a:pt x="1616404" y="66030"/>
                  <a:pt x="1620395" y="66030"/>
                </a:cubicBezTo>
                <a:cubicBezTo>
                  <a:pt x="1622391" y="66030"/>
                  <a:pt x="1630373" y="70032"/>
                  <a:pt x="1634364" y="72033"/>
                </a:cubicBezTo>
                <a:cubicBezTo>
                  <a:pt x="1638355" y="74034"/>
                  <a:pt x="1640351" y="74034"/>
                  <a:pt x="1642346" y="72033"/>
                </a:cubicBezTo>
                <a:cubicBezTo>
                  <a:pt x="1644342" y="72033"/>
                  <a:pt x="1648333" y="72033"/>
                  <a:pt x="1648333" y="72033"/>
                </a:cubicBezTo>
                <a:cubicBezTo>
                  <a:pt x="1648333" y="72033"/>
                  <a:pt x="1652324" y="72033"/>
                  <a:pt x="1650329" y="70032"/>
                </a:cubicBezTo>
                <a:cubicBezTo>
                  <a:pt x="1650329" y="68031"/>
                  <a:pt x="1642346" y="66030"/>
                  <a:pt x="1640351" y="66030"/>
                </a:cubicBezTo>
                <a:cubicBezTo>
                  <a:pt x="1638355" y="66030"/>
                  <a:pt x="1634364" y="62028"/>
                  <a:pt x="1628377" y="62028"/>
                </a:cubicBezTo>
                <a:cubicBezTo>
                  <a:pt x="1624386" y="62028"/>
                  <a:pt x="1622391" y="62028"/>
                  <a:pt x="1618399" y="60027"/>
                </a:cubicBezTo>
                <a:cubicBezTo>
                  <a:pt x="1614408" y="58026"/>
                  <a:pt x="1614408" y="58026"/>
                  <a:pt x="1610417" y="58026"/>
                </a:cubicBezTo>
                <a:cubicBezTo>
                  <a:pt x="1604430" y="58026"/>
                  <a:pt x="1604430" y="56025"/>
                  <a:pt x="1602435" y="54025"/>
                </a:cubicBezTo>
                <a:cubicBezTo>
                  <a:pt x="1600439" y="52024"/>
                  <a:pt x="1600439" y="50023"/>
                  <a:pt x="1604430" y="48022"/>
                </a:cubicBezTo>
                <a:cubicBezTo>
                  <a:pt x="1608421" y="46021"/>
                  <a:pt x="1610417" y="48022"/>
                  <a:pt x="1614408" y="46021"/>
                </a:cubicBezTo>
                <a:cubicBezTo>
                  <a:pt x="1618399" y="46021"/>
                  <a:pt x="1614408" y="44020"/>
                  <a:pt x="1614408" y="44020"/>
                </a:cubicBezTo>
                <a:cubicBezTo>
                  <a:pt x="1614408" y="44020"/>
                  <a:pt x="1610417" y="42019"/>
                  <a:pt x="1610417" y="40018"/>
                </a:cubicBezTo>
                <a:cubicBezTo>
                  <a:pt x="1608421" y="38017"/>
                  <a:pt x="1612413" y="36016"/>
                  <a:pt x="1616404" y="36016"/>
                </a:cubicBezTo>
                <a:cubicBezTo>
                  <a:pt x="1622391" y="36016"/>
                  <a:pt x="1622391" y="38017"/>
                  <a:pt x="1626382" y="40018"/>
                </a:cubicBezTo>
                <a:cubicBezTo>
                  <a:pt x="1632369" y="42019"/>
                  <a:pt x="1628377" y="40018"/>
                  <a:pt x="1630373" y="40018"/>
                </a:cubicBezTo>
                <a:cubicBezTo>
                  <a:pt x="1632369" y="38017"/>
                  <a:pt x="1636360" y="42019"/>
                  <a:pt x="1636360" y="42019"/>
                </a:cubicBezTo>
                <a:cubicBezTo>
                  <a:pt x="1638355" y="42019"/>
                  <a:pt x="1640351" y="44020"/>
                  <a:pt x="1640351" y="42019"/>
                </a:cubicBezTo>
                <a:cubicBezTo>
                  <a:pt x="1642346" y="40018"/>
                  <a:pt x="1640351" y="40018"/>
                  <a:pt x="1640351" y="38017"/>
                </a:cubicBezTo>
                <a:cubicBezTo>
                  <a:pt x="1638355" y="38017"/>
                  <a:pt x="1634364" y="34015"/>
                  <a:pt x="1634364" y="34015"/>
                </a:cubicBezTo>
                <a:cubicBezTo>
                  <a:pt x="1634364" y="34015"/>
                  <a:pt x="1632369" y="32015"/>
                  <a:pt x="1632369" y="28013"/>
                </a:cubicBezTo>
                <a:cubicBezTo>
                  <a:pt x="1632369" y="24011"/>
                  <a:pt x="1640351" y="22010"/>
                  <a:pt x="1642346" y="24011"/>
                </a:cubicBezTo>
                <a:cubicBezTo>
                  <a:pt x="1644342" y="24011"/>
                  <a:pt x="1652324" y="36016"/>
                  <a:pt x="1654320" y="38017"/>
                </a:cubicBezTo>
                <a:cubicBezTo>
                  <a:pt x="1654320" y="40018"/>
                  <a:pt x="1656316" y="40018"/>
                  <a:pt x="1658311" y="38017"/>
                </a:cubicBezTo>
                <a:cubicBezTo>
                  <a:pt x="1660307" y="38017"/>
                  <a:pt x="1662302" y="40018"/>
                  <a:pt x="1664298" y="40018"/>
                </a:cubicBezTo>
                <a:cubicBezTo>
                  <a:pt x="1666294" y="40018"/>
                  <a:pt x="1666294" y="36016"/>
                  <a:pt x="1666294" y="36016"/>
                </a:cubicBezTo>
                <a:cubicBezTo>
                  <a:pt x="1666294" y="36016"/>
                  <a:pt x="1660307" y="36016"/>
                  <a:pt x="1660307" y="34015"/>
                </a:cubicBezTo>
                <a:cubicBezTo>
                  <a:pt x="1660307" y="32015"/>
                  <a:pt x="1656316" y="32015"/>
                  <a:pt x="1656316" y="30014"/>
                </a:cubicBezTo>
                <a:cubicBezTo>
                  <a:pt x="1654320" y="28013"/>
                  <a:pt x="1654320" y="26012"/>
                  <a:pt x="1654320" y="24011"/>
                </a:cubicBezTo>
                <a:cubicBezTo>
                  <a:pt x="1654320" y="22010"/>
                  <a:pt x="1652324" y="22010"/>
                  <a:pt x="1652324" y="20009"/>
                </a:cubicBezTo>
                <a:cubicBezTo>
                  <a:pt x="1652324" y="16007"/>
                  <a:pt x="1660307" y="16007"/>
                  <a:pt x="1660307" y="16007"/>
                </a:cubicBezTo>
                <a:cubicBezTo>
                  <a:pt x="1660307" y="16007"/>
                  <a:pt x="1662302" y="14006"/>
                  <a:pt x="1666294" y="14006"/>
                </a:cubicBezTo>
                <a:cubicBezTo>
                  <a:pt x="1670285" y="14006"/>
                  <a:pt x="1672280" y="18008"/>
                  <a:pt x="1672280" y="20009"/>
                </a:cubicBezTo>
                <a:cubicBezTo>
                  <a:pt x="1672280" y="24011"/>
                  <a:pt x="1672280" y="20009"/>
                  <a:pt x="1676271" y="20009"/>
                </a:cubicBezTo>
                <a:cubicBezTo>
                  <a:pt x="1680263" y="18008"/>
                  <a:pt x="1684254" y="26012"/>
                  <a:pt x="1684254" y="26012"/>
                </a:cubicBezTo>
                <a:cubicBezTo>
                  <a:pt x="1684254" y="26012"/>
                  <a:pt x="1688245" y="24011"/>
                  <a:pt x="1692236" y="24011"/>
                </a:cubicBezTo>
                <a:cubicBezTo>
                  <a:pt x="1696227" y="24011"/>
                  <a:pt x="1694232" y="24011"/>
                  <a:pt x="1698223" y="20009"/>
                </a:cubicBezTo>
                <a:cubicBezTo>
                  <a:pt x="1704210" y="18008"/>
                  <a:pt x="1706205" y="22010"/>
                  <a:pt x="1706205" y="22010"/>
                </a:cubicBezTo>
                <a:cubicBezTo>
                  <a:pt x="1708201" y="22010"/>
                  <a:pt x="1710196" y="22010"/>
                  <a:pt x="1712192" y="24011"/>
                </a:cubicBezTo>
                <a:cubicBezTo>
                  <a:pt x="1716183" y="28013"/>
                  <a:pt x="1714188" y="26012"/>
                  <a:pt x="1718179" y="26012"/>
                </a:cubicBezTo>
                <a:cubicBezTo>
                  <a:pt x="1720174" y="28013"/>
                  <a:pt x="1724166" y="30014"/>
                  <a:pt x="1728157" y="32015"/>
                </a:cubicBezTo>
                <a:cubicBezTo>
                  <a:pt x="1730152" y="36016"/>
                  <a:pt x="1732148" y="36016"/>
                  <a:pt x="1736139" y="38017"/>
                </a:cubicBezTo>
                <a:cubicBezTo>
                  <a:pt x="1740130" y="40018"/>
                  <a:pt x="1742126" y="40018"/>
                  <a:pt x="1746117" y="40018"/>
                </a:cubicBezTo>
                <a:cubicBezTo>
                  <a:pt x="1750108" y="42019"/>
                  <a:pt x="1752104" y="42019"/>
                  <a:pt x="1752104" y="40018"/>
                </a:cubicBezTo>
                <a:cubicBezTo>
                  <a:pt x="1754099" y="38017"/>
                  <a:pt x="1750108" y="36016"/>
                  <a:pt x="1746117" y="34015"/>
                </a:cubicBezTo>
                <a:cubicBezTo>
                  <a:pt x="1742126" y="32015"/>
                  <a:pt x="1736139" y="30014"/>
                  <a:pt x="1734143" y="28013"/>
                </a:cubicBezTo>
                <a:cubicBezTo>
                  <a:pt x="1732148" y="28013"/>
                  <a:pt x="1732148" y="28013"/>
                  <a:pt x="1732148" y="24011"/>
                </a:cubicBezTo>
                <a:cubicBezTo>
                  <a:pt x="1734143" y="24011"/>
                  <a:pt x="1732148" y="24011"/>
                  <a:pt x="1730152" y="24011"/>
                </a:cubicBezTo>
                <a:cubicBezTo>
                  <a:pt x="1728157" y="24011"/>
                  <a:pt x="1728157" y="22010"/>
                  <a:pt x="1722170" y="20009"/>
                </a:cubicBezTo>
                <a:cubicBezTo>
                  <a:pt x="1718179" y="18008"/>
                  <a:pt x="1716183" y="22010"/>
                  <a:pt x="1712192" y="18008"/>
                </a:cubicBezTo>
                <a:cubicBezTo>
                  <a:pt x="1710196" y="14006"/>
                  <a:pt x="1710196" y="12005"/>
                  <a:pt x="1716183" y="12005"/>
                </a:cubicBezTo>
                <a:cubicBezTo>
                  <a:pt x="1720174" y="12005"/>
                  <a:pt x="1728157" y="14006"/>
                  <a:pt x="1728157" y="12005"/>
                </a:cubicBezTo>
                <a:cubicBezTo>
                  <a:pt x="1730152" y="8004"/>
                  <a:pt x="1734143" y="8004"/>
                  <a:pt x="1738135" y="8004"/>
                </a:cubicBezTo>
                <a:cubicBezTo>
                  <a:pt x="1742126" y="10004"/>
                  <a:pt x="1742126" y="8004"/>
                  <a:pt x="1746117" y="8004"/>
                </a:cubicBezTo>
                <a:cubicBezTo>
                  <a:pt x="1750108" y="8004"/>
                  <a:pt x="1752104" y="12005"/>
                  <a:pt x="1756095" y="12005"/>
                </a:cubicBezTo>
                <a:cubicBezTo>
                  <a:pt x="1758091" y="14006"/>
                  <a:pt x="1762082" y="10004"/>
                  <a:pt x="1762082" y="10004"/>
                </a:cubicBezTo>
                <a:cubicBezTo>
                  <a:pt x="1762082" y="10004"/>
                  <a:pt x="1764077" y="8004"/>
                  <a:pt x="1770064" y="10004"/>
                </a:cubicBezTo>
                <a:cubicBezTo>
                  <a:pt x="1778046" y="12005"/>
                  <a:pt x="1780042" y="16007"/>
                  <a:pt x="1780042" y="20009"/>
                </a:cubicBezTo>
                <a:cubicBezTo>
                  <a:pt x="1782038" y="22010"/>
                  <a:pt x="1788024" y="24011"/>
                  <a:pt x="1788024" y="28013"/>
                </a:cubicBezTo>
                <a:cubicBezTo>
                  <a:pt x="1786029" y="30014"/>
                  <a:pt x="1788024" y="30014"/>
                  <a:pt x="1788024" y="30014"/>
                </a:cubicBezTo>
                <a:cubicBezTo>
                  <a:pt x="1788024" y="30014"/>
                  <a:pt x="1790020" y="28013"/>
                  <a:pt x="1792016" y="32015"/>
                </a:cubicBezTo>
                <a:cubicBezTo>
                  <a:pt x="1792016" y="32015"/>
                  <a:pt x="1794011" y="32015"/>
                  <a:pt x="1794011" y="32015"/>
                </a:cubicBezTo>
                <a:cubicBezTo>
                  <a:pt x="1794011" y="32015"/>
                  <a:pt x="1796007" y="30014"/>
                  <a:pt x="1796007" y="32015"/>
                </a:cubicBezTo>
                <a:cubicBezTo>
                  <a:pt x="1798002" y="34015"/>
                  <a:pt x="1801993" y="34015"/>
                  <a:pt x="1803989" y="32015"/>
                </a:cubicBezTo>
                <a:cubicBezTo>
                  <a:pt x="1805985" y="32015"/>
                  <a:pt x="1803989" y="30014"/>
                  <a:pt x="1801993" y="30014"/>
                </a:cubicBezTo>
                <a:cubicBezTo>
                  <a:pt x="1799998" y="28013"/>
                  <a:pt x="1796007" y="26012"/>
                  <a:pt x="1794011" y="22010"/>
                </a:cubicBezTo>
                <a:cubicBezTo>
                  <a:pt x="1792016" y="18008"/>
                  <a:pt x="1792016" y="16007"/>
                  <a:pt x="1794011" y="16007"/>
                </a:cubicBezTo>
                <a:cubicBezTo>
                  <a:pt x="1794011" y="16007"/>
                  <a:pt x="1798002" y="16007"/>
                  <a:pt x="1801993" y="14006"/>
                </a:cubicBezTo>
                <a:cubicBezTo>
                  <a:pt x="1805985" y="14006"/>
                  <a:pt x="1803989" y="14006"/>
                  <a:pt x="1807980" y="10004"/>
                </a:cubicBezTo>
                <a:cubicBezTo>
                  <a:pt x="1811971" y="8004"/>
                  <a:pt x="1819954" y="8004"/>
                  <a:pt x="1821949" y="10004"/>
                </a:cubicBezTo>
                <a:cubicBezTo>
                  <a:pt x="1823945" y="12005"/>
                  <a:pt x="1827936" y="10004"/>
                  <a:pt x="1831927" y="10004"/>
                </a:cubicBezTo>
                <a:cubicBezTo>
                  <a:pt x="1835918" y="10004"/>
                  <a:pt x="1833923" y="14006"/>
                  <a:pt x="1837914" y="16007"/>
                </a:cubicBezTo>
                <a:cubicBezTo>
                  <a:pt x="1839910" y="16007"/>
                  <a:pt x="1843901" y="16007"/>
                  <a:pt x="1849888" y="16007"/>
                </a:cubicBezTo>
                <a:cubicBezTo>
                  <a:pt x="1853879" y="16007"/>
                  <a:pt x="1855874" y="14006"/>
                  <a:pt x="1857870" y="12005"/>
                </a:cubicBezTo>
                <a:cubicBezTo>
                  <a:pt x="1857870" y="12005"/>
                  <a:pt x="1855874" y="10004"/>
                  <a:pt x="1853879" y="10004"/>
                </a:cubicBezTo>
                <a:cubicBezTo>
                  <a:pt x="1851883" y="8004"/>
                  <a:pt x="1849888" y="2001"/>
                  <a:pt x="1851883" y="4002"/>
                </a:cubicBezTo>
                <a:cubicBezTo>
                  <a:pt x="1853879" y="4002"/>
                  <a:pt x="1859866" y="4002"/>
                  <a:pt x="1859866" y="4002"/>
                </a:cubicBezTo>
                <a:cubicBezTo>
                  <a:pt x="1859866" y="4002"/>
                  <a:pt x="1863857" y="2001"/>
                  <a:pt x="1865852" y="4002"/>
                </a:cubicBezTo>
                <a:cubicBezTo>
                  <a:pt x="1869843" y="6003"/>
                  <a:pt x="1869843" y="4002"/>
                  <a:pt x="1869843" y="2001"/>
                </a:cubicBezTo>
                <a:cubicBezTo>
                  <a:pt x="1871839" y="0"/>
                  <a:pt x="1873835" y="0"/>
                  <a:pt x="1877826"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89" name="USA"/>
          <p:cNvSpPr>
            <a:spLocks/>
          </p:cNvSpPr>
          <p:nvPr/>
        </p:nvSpPr>
        <p:spPr bwMode="auto">
          <a:xfrm>
            <a:off x="1663661" y="1439470"/>
            <a:ext cx="2801344" cy="1819374"/>
          </a:xfrm>
          <a:custGeom>
            <a:avLst/>
            <a:gdLst>
              <a:gd name="connsiteX0" fmla="*/ 1374581 w 2722973"/>
              <a:gd name="connsiteY0" fmla="*/ 917984 h 1768474"/>
              <a:gd name="connsiteX1" fmla="*/ 1386549 w 2722973"/>
              <a:gd name="connsiteY1" fmla="*/ 927966 h 1768474"/>
              <a:gd name="connsiteX2" fmla="*/ 1416469 w 2722973"/>
              <a:gd name="connsiteY2" fmla="*/ 925969 h 1768474"/>
              <a:gd name="connsiteX3" fmla="*/ 1494261 w 2722973"/>
              <a:gd name="connsiteY3" fmla="*/ 927966 h 1768474"/>
              <a:gd name="connsiteX4" fmla="*/ 1582026 w 2722973"/>
              <a:gd name="connsiteY4" fmla="*/ 927966 h 1768474"/>
              <a:gd name="connsiteX5" fmla="*/ 1639871 w 2722973"/>
              <a:gd name="connsiteY5" fmla="*/ 929962 h 1768474"/>
              <a:gd name="connsiteX6" fmla="*/ 1711679 w 2722973"/>
              <a:gd name="connsiteY6" fmla="*/ 929962 h 1768474"/>
              <a:gd name="connsiteX7" fmla="*/ 1801439 w 2722973"/>
              <a:gd name="connsiteY7" fmla="*/ 929962 h 1768474"/>
              <a:gd name="connsiteX8" fmla="*/ 1889204 w 2722973"/>
              <a:gd name="connsiteY8" fmla="*/ 929962 h 1768474"/>
              <a:gd name="connsiteX9" fmla="*/ 1941065 w 2722973"/>
              <a:gd name="connsiteY9" fmla="*/ 929962 h 1768474"/>
              <a:gd name="connsiteX10" fmla="*/ 1986942 w 2722973"/>
              <a:gd name="connsiteY10" fmla="*/ 929962 h 1768474"/>
              <a:gd name="connsiteX11" fmla="*/ 2040798 w 2722973"/>
              <a:gd name="connsiteY11" fmla="*/ 931959 h 1768474"/>
              <a:gd name="connsiteX12" fmla="*/ 2056756 w 2722973"/>
              <a:gd name="connsiteY12" fmla="*/ 925969 h 1768474"/>
              <a:gd name="connsiteX13" fmla="*/ 2114601 w 2722973"/>
              <a:gd name="connsiteY13" fmla="*/ 925969 h 1768474"/>
              <a:gd name="connsiteX14" fmla="*/ 2138537 w 2722973"/>
              <a:gd name="connsiteY14" fmla="*/ 935952 h 1768474"/>
              <a:gd name="connsiteX15" fmla="*/ 2162473 w 2722973"/>
              <a:gd name="connsiteY15" fmla="*/ 951923 h 1768474"/>
              <a:gd name="connsiteX16" fmla="*/ 2190398 w 2722973"/>
              <a:gd name="connsiteY16" fmla="*/ 955916 h 1768474"/>
              <a:gd name="connsiteX17" fmla="*/ 2244254 w 2722973"/>
              <a:gd name="connsiteY17" fmla="*/ 957913 h 1768474"/>
              <a:gd name="connsiteX18" fmla="*/ 2268190 w 2722973"/>
              <a:gd name="connsiteY18" fmla="*/ 975881 h 1768474"/>
              <a:gd name="connsiteX19" fmla="*/ 2292126 w 2722973"/>
              <a:gd name="connsiteY19" fmla="*/ 1013814 h 1768474"/>
              <a:gd name="connsiteX20" fmla="*/ 2314067 w 2722973"/>
              <a:gd name="connsiteY20" fmla="*/ 1033778 h 1768474"/>
              <a:gd name="connsiteX21" fmla="*/ 2332019 w 2722973"/>
              <a:gd name="connsiteY21" fmla="*/ 1059732 h 1768474"/>
              <a:gd name="connsiteX22" fmla="*/ 2338003 w 2722973"/>
              <a:gd name="connsiteY22" fmla="*/ 1089679 h 1768474"/>
              <a:gd name="connsiteX23" fmla="*/ 2324041 w 2722973"/>
              <a:gd name="connsiteY23" fmla="*/ 1111640 h 1768474"/>
              <a:gd name="connsiteX24" fmla="*/ 2330025 w 2722973"/>
              <a:gd name="connsiteY24" fmla="*/ 1123619 h 1768474"/>
              <a:gd name="connsiteX25" fmla="*/ 2341993 w 2722973"/>
              <a:gd name="connsiteY25" fmla="*/ 1135597 h 1768474"/>
              <a:gd name="connsiteX26" fmla="*/ 2328030 w 2722973"/>
              <a:gd name="connsiteY26" fmla="*/ 1151569 h 1768474"/>
              <a:gd name="connsiteX27" fmla="*/ 2318057 w 2722973"/>
              <a:gd name="connsiteY27" fmla="*/ 1159555 h 1768474"/>
              <a:gd name="connsiteX28" fmla="*/ 2320051 w 2722973"/>
              <a:gd name="connsiteY28" fmla="*/ 1175527 h 1768474"/>
              <a:gd name="connsiteX29" fmla="*/ 2332019 w 2722973"/>
              <a:gd name="connsiteY29" fmla="*/ 1179519 h 1768474"/>
              <a:gd name="connsiteX30" fmla="*/ 2339998 w 2722973"/>
              <a:gd name="connsiteY30" fmla="*/ 1175527 h 1768474"/>
              <a:gd name="connsiteX31" fmla="*/ 2349971 w 2722973"/>
              <a:gd name="connsiteY31" fmla="*/ 1165544 h 1768474"/>
              <a:gd name="connsiteX32" fmla="*/ 2357950 w 2722973"/>
              <a:gd name="connsiteY32" fmla="*/ 1163548 h 1768474"/>
              <a:gd name="connsiteX33" fmla="*/ 2379891 w 2722973"/>
              <a:gd name="connsiteY33" fmla="*/ 1163548 h 1768474"/>
              <a:gd name="connsiteX34" fmla="*/ 2393854 w 2722973"/>
              <a:gd name="connsiteY34" fmla="*/ 1163548 h 1768474"/>
              <a:gd name="connsiteX35" fmla="*/ 2403827 w 2722973"/>
              <a:gd name="connsiteY35" fmla="*/ 1159555 h 1768474"/>
              <a:gd name="connsiteX36" fmla="*/ 2419784 w 2722973"/>
              <a:gd name="connsiteY36" fmla="*/ 1147576 h 1768474"/>
              <a:gd name="connsiteX37" fmla="*/ 2421779 w 2722973"/>
              <a:gd name="connsiteY37" fmla="*/ 1135597 h 1768474"/>
              <a:gd name="connsiteX38" fmla="*/ 2433747 w 2722973"/>
              <a:gd name="connsiteY38" fmla="*/ 1127612 h 1768474"/>
              <a:gd name="connsiteX39" fmla="*/ 2457683 w 2722973"/>
              <a:gd name="connsiteY39" fmla="*/ 1123619 h 1768474"/>
              <a:gd name="connsiteX40" fmla="*/ 2487603 w 2722973"/>
              <a:gd name="connsiteY40" fmla="*/ 1113636 h 1768474"/>
              <a:gd name="connsiteX41" fmla="*/ 2501566 w 2722973"/>
              <a:gd name="connsiteY41" fmla="*/ 1105651 h 1768474"/>
              <a:gd name="connsiteX42" fmla="*/ 2515528 w 2722973"/>
              <a:gd name="connsiteY42" fmla="*/ 1085686 h 1768474"/>
              <a:gd name="connsiteX43" fmla="*/ 2517523 w 2722973"/>
              <a:gd name="connsiteY43" fmla="*/ 1081693 h 1768474"/>
              <a:gd name="connsiteX44" fmla="*/ 2537470 w 2722973"/>
              <a:gd name="connsiteY44" fmla="*/ 1067718 h 1768474"/>
              <a:gd name="connsiteX45" fmla="*/ 2551432 w 2722973"/>
              <a:gd name="connsiteY45" fmla="*/ 1065721 h 1768474"/>
              <a:gd name="connsiteX46" fmla="*/ 2555421 w 2722973"/>
              <a:gd name="connsiteY46" fmla="*/ 1065721 h 1768474"/>
              <a:gd name="connsiteX47" fmla="*/ 2551432 w 2722973"/>
              <a:gd name="connsiteY47" fmla="*/ 1069714 h 1768474"/>
              <a:gd name="connsiteX48" fmla="*/ 2545448 w 2722973"/>
              <a:gd name="connsiteY48" fmla="*/ 1073707 h 1768474"/>
              <a:gd name="connsiteX49" fmla="*/ 2531486 w 2722973"/>
              <a:gd name="connsiteY49" fmla="*/ 1081693 h 1768474"/>
              <a:gd name="connsiteX50" fmla="*/ 2543454 w 2722973"/>
              <a:gd name="connsiteY50" fmla="*/ 1079697 h 1768474"/>
              <a:gd name="connsiteX51" fmla="*/ 2559411 w 2722973"/>
              <a:gd name="connsiteY51" fmla="*/ 1069714 h 1768474"/>
              <a:gd name="connsiteX52" fmla="*/ 2563400 w 2722973"/>
              <a:gd name="connsiteY52" fmla="*/ 1077700 h 1768474"/>
              <a:gd name="connsiteX53" fmla="*/ 2571379 w 2722973"/>
              <a:gd name="connsiteY53" fmla="*/ 1081693 h 1768474"/>
              <a:gd name="connsiteX54" fmla="*/ 2595315 w 2722973"/>
              <a:gd name="connsiteY54" fmla="*/ 1081693 h 1768474"/>
              <a:gd name="connsiteX55" fmla="*/ 2603293 w 2722973"/>
              <a:gd name="connsiteY55" fmla="*/ 1079697 h 1768474"/>
              <a:gd name="connsiteX56" fmla="*/ 2617256 w 2722973"/>
              <a:gd name="connsiteY56" fmla="*/ 1069714 h 1768474"/>
              <a:gd name="connsiteX57" fmla="*/ 2627229 w 2722973"/>
              <a:gd name="connsiteY57" fmla="*/ 1065721 h 1768474"/>
              <a:gd name="connsiteX58" fmla="*/ 2635208 w 2722973"/>
              <a:gd name="connsiteY58" fmla="*/ 1061728 h 1768474"/>
              <a:gd name="connsiteX59" fmla="*/ 2645181 w 2722973"/>
              <a:gd name="connsiteY59" fmla="*/ 1035775 h 1768474"/>
              <a:gd name="connsiteX60" fmla="*/ 2655155 w 2722973"/>
              <a:gd name="connsiteY60" fmla="*/ 1019803 h 1768474"/>
              <a:gd name="connsiteX61" fmla="*/ 2667123 w 2722973"/>
              <a:gd name="connsiteY61" fmla="*/ 1005828 h 1768474"/>
              <a:gd name="connsiteX62" fmla="*/ 2689064 w 2722973"/>
              <a:gd name="connsiteY62" fmla="*/ 991852 h 1768474"/>
              <a:gd name="connsiteX63" fmla="*/ 2709011 w 2722973"/>
              <a:gd name="connsiteY63" fmla="*/ 1003831 h 1768474"/>
              <a:gd name="connsiteX64" fmla="*/ 2705021 w 2722973"/>
              <a:gd name="connsiteY64" fmla="*/ 1029785 h 1768474"/>
              <a:gd name="connsiteX65" fmla="*/ 2699037 w 2722973"/>
              <a:gd name="connsiteY65" fmla="*/ 1063725 h 1768474"/>
              <a:gd name="connsiteX66" fmla="*/ 2707016 w 2722973"/>
              <a:gd name="connsiteY66" fmla="*/ 1085686 h 1768474"/>
              <a:gd name="connsiteX67" fmla="*/ 2718984 w 2722973"/>
              <a:gd name="connsiteY67" fmla="*/ 1085686 h 1768474"/>
              <a:gd name="connsiteX68" fmla="*/ 2718984 w 2722973"/>
              <a:gd name="connsiteY68" fmla="*/ 1091675 h 1768474"/>
              <a:gd name="connsiteX69" fmla="*/ 2722973 w 2722973"/>
              <a:gd name="connsiteY69" fmla="*/ 1093672 h 1768474"/>
              <a:gd name="connsiteX70" fmla="*/ 2716989 w 2722973"/>
              <a:gd name="connsiteY70" fmla="*/ 1099661 h 1768474"/>
              <a:gd name="connsiteX71" fmla="*/ 2711005 w 2722973"/>
              <a:gd name="connsiteY71" fmla="*/ 1101658 h 1768474"/>
              <a:gd name="connsiteX72" fmla="*/ 2705021 w 2722973"/>
              <a:gd name="connsiteY72" fmla="*/ 1101658 h 1768474"/>
              <a:gd name="connsiteX73" fmla="*/ 2699037 w 2722973"/>
              <a:gd name="connsiteY73" fmla="*/ 1109643 h 1768474"/>
              <a:gd name="connsiteX74" fmla="*/ 2695048 w 2722973"/>
              <a:gd name="connsiteY74" fmla="*/ 1109643 h 1768474"/>
              <a:gd name="connsiteX75" fmla="*/ 2689064 w 2722973"/>
              <a:gd name="connsiteY75" fmla="*/ 1109643 h 1768474"/>
              <a:gd name="connsiteX76" fmla="*/ 2685075 w 2722973"/>
              <a:gd name="connsiteY76" fmla="*/ 1109643 h 1768474"/>
              <a:gd name="connsiteX77" fmla="*/ 2681085 w 2722973"/>
              <a:gd name="connsiteY77" fmla="*/ 1113636 h 1768474"/>
              <a:gd name="connsiteX78" fmla="*/ 2679091 w 2722973"/>
              <a:gd name="connsiteY78" fmla="*/ 1107647 h 1768474"/>
              <a:gd name="connsiteX79" fmla="*/ 2677096 w 2722973"/>
              <a:gd name="connsiteY79" fmla="*/ 1107647 h 1768474"/>
              <a:gd name="connsiteX80" fmla="*/ 2673107 w 2722973"/>
              <a:gd name="connsiteY80" fmla="*/ 1113636 h 1768474"/>
              <a:gd name="connsiteX81" fmla="*/ 2667123 w 2722973"/>
              <a:gd name="connsiteY81" fmla="*/ 1117629 h 1768474"/>
              <a:gd name="connsiteX82" fmla="*/ 2659144 w 2722973"/>
              <a:gd name="connsiteY82" fmla="*/ 1119626 h 1768474"/>
              <a:gd name="connsiteX83" fmla="*/ 2655155 w 2722973"/>
              <a:gd name="connsiteY83" fmla="*/ 1123619 h 1768474"/>
              <a:gd name="connsiteX84" fmla="*/ 2647176 w 2722973"/>
              <a:gd name="connsiteY84" fmla="*/ 1123619 h 1768474"/>
              <a:gd name="connsiteX85" fmla="*/ 2641192 w 2722973"/>
              <a:gd name="connsiteY85" fmla="*/ 1129608 h 1768474"/>
              <a:gd name="connsiteX86" fmla="*/ 2637203 w 2722973"/>
              <a:gd name="connsiteY86" fmla="*/ 1129608 h 1768474"/>
              <a:gd name="connsiteX87" fmla="*/ 2637203 w 2722973"/>
              <a:gd name="connsiteY87" fmla="*/ 1135597 h 1768474"/>
              <a:gd name="connsiteX88" fmla="*/ 2633213 w 2722973"/>
              <a:gd name="connsiteY88" fmla="*/ 1137594 h 1768474"/>
              <a:gd name="connsiteX89" fmla="*/ 2627229 w 2722973"/>
              <a:gd name="connsiteY89" fmla="*/ 1149573 h 1768474"/>
              <a:gd name="connsiteX90" fmla="*/ 2625235 w 2722973"/>
              <a:gd name="connsiteY90" fmla="*/ 1157558 h 1768474"/>
              <a:gd name="connsiteX91" fmla="*/ 2623240 w 2722973"/>
              <a:gd name="connsiteY91" fmla="*/ 1165544 h 1768474"/>
              <a:gd name="connsiteX92" fmla="*/ 2621245 w 2722973"/>
              <a:gd name="connsiteY92" fmla="*/ 1171534 h 1768474"/>
              <a:gd name="connsiteX93" fmla="*/ 2625235 w 2722973"/>
              <a:gd name="connsiteY93" fmla="*/ 1179519 h 1768474"/>
              <a:gd name="connsiteX94" fmla="*/ 2627229 w 2722973"/>
              <a:gd name="connsiteY94" fmla="*/ 1189502 h 1768474"/>
              <a:gd name="connsiteX95" fmla="*/ 2633213 w 2722973"/>
              <a:gd name="connsiteY95" fmla="*/ 1193495 h 1768474"/>
              <a:gd name="connsiteX96" fmla="*/ 2639197 w 2722973"/>
              <a:gd name="connsiteY96" fmla="*/ 1195491 h 1768474"/>
              <a:gd name="connsiteX97" fmla="*/ 2641192 w 2722973"/>
              <a:gd name="connsiteY97" fmla="*/ 1191498 h 1768474"/>
              <a:gd name="connsiteX98" fmla="*/ 2639197 w 2722973"/>
              <a:gd name="connsiteY98" fmla="*/ 1183512 h 1768474"/>
              <a:gd name="connsiteX99" fmla="*/ 2643187 w 2722973"/>
              <a:gd name="connsiteY99" fmla="*/ 1183512 h 1768474"/>
              <a:gd name="connsiteX100" fmla="*/ 2647176 w 2722973"/>
              <a:gd name="connsiteY100" fmla="*/ 1193495 h 1768474"/>
              <a:gd name="connsiteX101" fmla="*/ 2643187 w 2722973"/>
              <a:gd name="connsiteY101" fmla="*/ 1201480 h 1768474"/>
              <a:gd name="connsiteX102" fmla="*/ 2637203 w 2722973"/>
              <a:gd name="connsiteY102" fmla="*/ 1201480 h 1768474"/>
              <a:gd name="connsiteX103" fmla="*/ 2635208 w 2722973"/>
              <a:gd name="connsiteY103" fmla="*/ 1199484 h 1768474"/>
              <a:gd name="connsiteX104" fmla="*/ 2629224 w 2722973"/>
              <a:gd name="connsiteY104" fmla="*/ 1205473 h 1768474"/>
              <a:gd name="connsiteX105" fmla="*/ 2625235 w 2722973"/>
              <a:gd name="connsiteY105" fmla="*/ 1203477 h 1768474"/>
              <a:gd name="connsiteX106" fmla="*/ 2621245 w 2722973"/>
              <a:gd name="connsiteY106" fmla="*/ 1201480 h 1768474"/>
              <a:gd name="connsiteX107" fmla="*/ 2617256 w 2722973"/>
              <a:gd name="connsiteY107" fmla="*/ 1205473 h 1768474"/>
              <a:gd name="connsiteX108" fmla="*/ 2611272 w 2722973"/>
              <a:gd name="connsiteY108" fmla="*/ 1207470 h 1768474"/>
              <a:gd name="connsiteX109" fmla="*/ 2605288 w 2722973"/>
              <a:gd name="connsiteY109" fmla="*/ 1209466 h 1768474"/>
              <a:gd name="connsiteX110" fmla="*/ 2599304 w 2722973"/>
              <a:gd name="connsiteY110" fmla="*/ 1213459 h 1768474"/>
              <a:gd name="connsiteX111" fmla="*/ 2593320 w 2722973"/>
              <a:gd name="connsiteY111" fmla="*/ 1213459 h 1768474"/>
              <a:gd name="connsiteX112" fmla="*/ 2589331 w 2722973"/>
              <a:gd name="connsiteY112" fmla="*/ 1209466 h 1768474"/>
              <a:gd name="connsiteX113" fmla="*/ 2581352 w 2722973"/>
              <a:gd name="connsiteY113" fmla="*/ 1213459 h 1768474"/>
              <a:gd name="connsiteX114" fmla="*/ 2575368 w 2722973"/>
              <a:gd name="connsiteY114" fmla="*/ 1211463 h 1768474"/>
              <a:gd name="connsiteX115" fmla="*/ 2563400 w 2722973"/>
              <a:gd name="connsiteY115" fmla="*/ 1213459 h 1768474"/>
              <a:gd name="connsiteX116" fmla="*/ 2557416 w 2722973"/>
              <a:gd name="connsiteY116" fmla="*/ 1219449 h 1768474"/>
              <a:gd name="connsiteX117" fmla="*/ 2565395 w 2722973"/>
              <a:gd name="connsiteY117" fmla="*/ 1223441 h 1768474"/>
              <a:gd name="connsiteX118" fmla="*/ 2575368 w 2722973"/>
              <a:gd name="connsiteY118" fmla="*/ 1221445 h 1768474"/>
              <a:gd name="connsiteX119" fmla="*/ 2585341 w 2722973"/>
              <a:gd name="connsiteY119" fmla="*/ 1217452 h 1768474"/>
              <a:gd name="connsiteX120" fmla="*/ 2583347 w 2722973"/>
              <a:gd name="connsiteY120" fmla="*/ 1221445 h 1768474"/>
              <a:gd name="connsiteX121" fmla="*/ 2593320 w 2722973"/>
              <a:gd name="connsiteY121" fmla="*/ 1219449 h 1768474"/>
              <a:gd name="connsiteX122" fmla="*/ 2589331 w 2722973"/>
              <a:gd name="connsiteY122" fmla="*/ 1223441 h 1768474"/>
              <a:gd name="connsiteX123" fmla="*/ 2577363 w 2722973"/>
              <a:gd name="connsiteY123" fmla="*/ 1227434 h 1768474"/>
              <a:gd name="connsiteX124" fmla="*/ 2559411 w 2722973"/>
              <a:gd name="connsiteY124" fmla="*/ 1233424 h 1768474"/>
              <a:gd name="connsiteX125" fmla="*/ 2551432 w 2722973"/>
              <a:gd name="connsiteY125" fmla="*/ 1237417 h 1768474"/>
              <a:gd name="connsiteX126" fmla="*/ 2545448 w 2722973"/>
              <a:gd name="connsiteY126" fmla="*/ 1235420 h 1768474"/>
              <a:gd name="connsiteX127" fmla="*/ 2545448 w 2722973"/>
              <a:gd name="connsiteY127" fmla="*/ 1229431 h 1768474"/>
              <a:gd name="connsiteX128" fmla="*/ 2545448 w 2722973"/>
              <a:gd name="connsiteY128" fmla="*/ 1225438 h 1768474"/>
              <a:gd name="connsiteX129" fmla="*/ 2545448 w 2722973"/>
              <a:gd name="connsiteY129" fmla="*/ 1217452 h 1768474"/>
              <a:gd name="connsiteX130" fmla="*/ 2541459 w 2722973"/>
              <a:gd name="connsiteY130" fmla="*/ 1217452 h 1768474"/>
              <a:gd name="connsiteX131" fmla="*/ 2537470 w 2722973"/>
              <a:gd name="connsiteY131" fmla="*/ 1227434 h 1768474"/>
              <a:gd name="connsiteX132" fmla="*/ 2537470 w 2722973"/>
              <a:gd name="connsiteY132" fmla="*/ 1235420 h 1768474"/>
              <a:gd name="connsiteX133" fmla="*/ 2539464 w 2722973"/>
              <a:gd name="connsiteY133" fmla="*/ 1249395 h 1768474"/>
              <a:gd name="connsiteX134" fmla="*/ 2535475 w 2722973"/>
              <a:gd name="connsiteY134" fmla="*/ 1255385 h 1768474"/>
              <a:gd name="connsiteX135" fmla="*/ 2531486 w 2722973"/>
              <a:gd name="connsiteY135" fmla="*/ 1261374 h 1768474"/>
              <a:gd name="connsiteX136" fmla="*/ 2529491 w 2722973"/>
              <a:gd name="connsiteY136" fmla="*/ 1267364 h 1768474"/>
              <a:gd name="connsiteX137" fmla="*/ 2527496 w 2722973"/>
              <a:gd name="connsiteY137" fmla="*/ 1271356 h 1768474"/>
              <a:gd name="connsiteX138" fmla="*/ 2531486 w 2722973"/>
              <a:gd name="connsiteY138" fmla="*/ 1273353 h 1768474"/>
              <a:gd name="connsiteX139" fmla="*/ 2525502 w 2722973"/>
              <a:gd name="connsiteY139" fmla="*/ 1279342 h 1768474"/>
              <a:gd name="connsiteX140" fmla="*/ 2517523 w 2722973"/>
              <a:gd name="connsiteY140" fmla="*/ 1279342 h 1768474"/>
              <a:gd name="connsiteX141" fmla="*/ 2515528 w 2722973"/>
              <a:gd name="connsiteY141" fmla="*/ 1287328 h 1768474"/>
              <a:gd name="connsiteX142" fmla="*/ 2507550 w 2722973"/>
              <a:gd name="connsiteY142" fmla="*/ 1291321 h 1768474"/>
              <a:gd name="connsiteX143" fmla="*/ 2501566 w 2722973"/>
              <a:gd name="connsiteY143" fmla="*/ 1289325 h 1768474"/>
              <a:gd name="connsiteX144" fmla="*/ 2495582 w 2722973"/>
              <a:gd name="connsiteY144" fmla="*/ 1285332 h 1768474"/>
              <a:gd name="connsiteX145" fmla="*/ 2493587 w 2722973"/>
              <a:gd name="connsiteY145" fmla="*/ 1289325 h 1768474"/>
              <a:gd name="connsiteX146" fmla="*/ 2501566 w 2722973"/>
              <a:gd name="connsiteY146" fmla="*/ 1303300 h 1768474"/>
              <a:gd name="connsiteX147" fmla="*/ 2499571 w 2722973"/>
              <a:gd name="connsiteY147" fmla="*/ 1313282 h 1768474"/>
              <a:gd name="connsiteX148" fmla="*/ 2497576 w 2722973"/>
              <a:gd name="connsiteY148" fmla="*/ 1325261 h 1768474"/>
              <a:gd name="connsiteX149" fmla="*/ 2491592 w 2722973"/>
              <a:gd name="connsiteY149" fmla="*/ 1335243 h 1768474"/>
              <a:gd name="connsiteX150" fmla="*/ 2485608 w 2722973"/>
              <a:gd name="connsiteY150" fmla="*/ 1333247 h 1768474"/>
              <a:gd name="connsiteX151" fmla="*/ 2479624 w 2722973"/>
              <a:gd name="connsiteY151" fmla="*/ 1335243 h 1768474"/>
              <a:gd name="connsiteX152" fmla="*/ 2477630 w 2722973"/>
              <a:gd name="connsiteY152" fmla="*/ 1329254 h 1768474"/>
              <a:gd name="connsiteX153" fmla="*/ 2477630 w 2722973"/>
              <a:gd name="connsiteY153" fmla="*/ 1325261 h 1768474"/>
              <a:gd name="connsiteX154" fmla="*/ 2471646 w 2722973"/>
              <a:gd name="connsiteY154" fmla="*/ 1325261 h 1768474"/>
              <a:gd name="connsiteX155" fmla="*/ 2473640 w 2722973"/>
              <a:gd name="connsiteY155" fmla="*/ 1313282 h 1768474"/>
              <a:gd name="connsiteX156" fmla="*/ 2473640 w 2722973"/>
              <a:gd name="connsiteY156" fmla="*/ 1307293 h 1768474"/>
              <a:gd name="connsiteX157" fmla="*/ 2469651 w 2722973"/>
              <a:gd name="connsiteY157" fmla="*/ 1305296 h 1768474"/>
              <a:gd name="connsiteX158" fmla="*/ 2471646 w 2722973"/>
              <a:gd name="connsiteY158" fmla="*/ 1297310 h 1768474"/>
              <a:gd name="connsiteX159" fmla="*/ 2477630 w 2722973"/>
              <a:gd name="connsiteY159" fmla="*/ 1293317 h 1768474"/>
              <a:gd name="connsiteX160" fmla="*/ 2481619 w 2722973"/>
              <a:gd name="connsiteY160" fmla="*/ 1287328 h 1768474"/>
              <a:gd name="connsiteX161" fmla="*/ 2483614 w 2722973"/>
              <a:gd name="connsiteY161" fmla="*/ 1279342 h 1768474"/>
              <a:gd name="connsiteX162" fmla="*/ 2477630 w 2722973"/>
              <a:gd name="connsiteY162" fmla="*/ 1277346 h 1768474"/>
              <a:gd name="connsiteX163" fmla="*/ 2473640 w 2722973"/>
              <a:gd name="connsiteY163" fmla="*/ 1281339 h 1768474"/>
              <a:gd name="connsiteX164" fmla="*/ 2469651 w 2722973"/>
              <a:gd name="connsiteY164" fmla="*/ 1287328 h 1768474"/>
              <a:gd name="connsiteX165" fmla="*/ 2465662 w 2722973"/>
              <a:gd name="connsiteY165" fmla="*/ 1297310 h 1768474"/>
              <a:gd name="connsiteX166" fmla="*/ 2463667 w 2722973"/>
              <a:gd name="connsiteY166" fmla="*/ 1303300 h 1768474"/>
              <a:gd name="connsiteX167" fmla="*/ 2461672 w 2722973"/>
              <a:gd name="connsiteY167" fmla="*/ 1315278 h 1768474"/>
              <a:gd name="connsiteX168" fmla="*/ 2465662 w 2722973"/>
              <a:gd name="connsiteY168" fmla="*/ 1323264 h 1768474"/>
              <a:gd name="connsiteX169" fmla="*/ 2463667 w 2722973"/>
              <a:gd name="connsiteY169" fmla="*/ 1327257 h 1768474"/>
              <a:gd name="connsiteX170" fmla="*/ 2459678 w 2722973"/>
              <a:gd name="connsiteY170" fmla="*/ 1325261 h 1768474"/>
              <a:gd name="connsiteX171" fmla="*/ 2455688 w 2722973"/>
              <a:gd name="connsiteY171" fmla="*/ 1325261 h 1768474"/>
              <a:gd name="connsiteX172" fmla="*/ 2449704 w 2722973"/>
              <a:gd name="connsiteY172" fmla="*/ 1325261 h 1768474"/>
              <a:gd name="connsiteX173" fmla="*/ 2443720 w 2722973"/>
              <a:gd name="connsiteY173" fmla="*/ 1323264 h 1768474"/>
              <a:gd name="connsiteX174" fmla="*/ 2439731 w 2722973"/>
              <a:gd name="connsiteY174" fmla="*/ 1325261 h 1768474"/>
              <a:gd name="connsiteX175" fmla="*/ 2445715 w 2722973"/>
              <a:gd name="connsiteY175" fmla="*/ 1327257 h 1768474"/>
              <a:gd name="connsiteX176" fmla="*/ 2451699 w 2722973"/>
              <a:gd name="connsiteY176" fmla="*/ 1329254 h 1768474"/>
              <a:gd name="connsiteX177" fmla="*/ 2453694 w 2722973"/>
              <a:gd name="connsiteY177" fmla="*/ 1329254 h 1768474"/>
              <a:gd name="connsiteX178" fmla="*/ 2459678 w 2722973"/>
              <a:gd name="connsiteY178" fmla="*/ 1331250 h 1768474"/>
              <a:gd name="connsiteX179" fmla="*/ 2463667 w 2722973"/>
              <a:gd name="connsiteY179" fmla="*/ 1337239 h 1768474"/>
              <a:gd name="connsiteX180" fmla="*/ 2461672 w 2722973"/>
              <a:gd name="connsiteY180" fmla="*/ 1341232 h 1768474"/>
              <a:gd name="connsiteX181" fmla="*/ 2459678 w 2722973"/>
              <a:gd name="connsiteY181" fmla="*/ 1343229 h 1768474"/>
              <a:gd name="connsiteX182" fmla="*/ 2461672 w 2722973"/>
              <a:gd name="connsiteY182" fmla="*/ 1347222 h 1768474"/>
              <a:gd name="connsiteX183" fmla="*/ 2465662 w 2722973"/>
              <a:gd name="connsiteY183" fmla="*/ 1353211 h 1768474"/>
              <a:gd name="connsiteX184" fmla="*/ 2461672 w 2722973"/>
              <a:gd name="connsiteY184" fmla="*/ 1357204 h 1768474"/>
              <a:gd name="connsiteX185" fmla="*/ 2457683 w 2722973"/>
              <a:gd name="connsiteY185" fmla="*/ 1355208 h 1768474"/>
              <a:gd name="connsiteX186" fmla="*/ 2451699 w 2722973"/>
              <a:gd name="connsiteY186" fmla="*/ 1351215 h 1768474"/>
              <a:gd name="connsiteX187" fmla="*/ 2455688 w 2722973"/>
              <a:gd name="connsiteY187" fmla="*/ 1357204 h 1768474"/>
              <a:gd name="connsiteX188" fmla="*/ 2459678 w 2722973"/>
              <a:gd name="connsiteY188" fmla="*/ 1361197 h 1768474"/>
              <a:gd name="connsiteX189" fmla="*/ 2461672 w 2722973"/>
              <a:gd name="connsiteY189" fmla="*/ 1365190 h 1768474"/>
              <a:gd name="connsiteX190" fmla="*/ 2459678 w 2722973"/>
              <a:gd name="connsiteY190" fmla="*/ 1367186 h 1768474"/>
              <a:gd name="connsiteX191" fmla="*/ 2453694 w 2722973"/>
              <a:gd name="connsiteY191" fmla="*/ 1365190 h 1768474"/>
              <a:gd name="connsiteX192" fmla="*/ 2455688 w 2722973"/>
              <a:gd name="connsiteY192" fmla="*/ 1371179 h 1768474"/>
              <a:gd name="connsiteX193" fmla="*/ 2463667 w 2722973"/>
              <a:gd name="connsiteY193" fmla="*/ 1373176 h 1768474"/>
              <a:gd name="connsiteX194" fmla="*/ 2473640 w 2722973"/>
              <a:gd name="connsiteY194" fmla="*/ 1379165 h 1768474"/>
              <a:gd name="connsiteX195" fmla="*/ 2475635 w 2722973"/>
              <a:gd name="connsiteY195" fmla="*/ 1387151 h 1768474"/>
              <a:gd name="connsiteX196" fmla="*/ 2475635 w 2722973"/>
              <a:gd name="connsiteY196" fmla="*/ 1395137 h 1768474"/>
              <a:gd name="connsiteX197" fmla="*/ 2477630 w 2722973"/>
              <a:gd name="connsiteY197" fmla="*/ 1403123 h 1768474"/>
              <a:gd name="connsiteX198" fmla="*/ 2469651 w 2722973"/>
              <a:gd name="connsiteY198" fmla="*/ 1399130 h 1768474"/>
              <a:gd name="connsiteX199" fmla="*/ 2465662 w 2722973"/>
              <a:gd name="connsiteY199" fmla="*/ 1395137 h 1768474"/>
              <a:gd name="connsiteX200" fmla="*/ 2461672 w 2722973"/>
              <a:gd name="connsiteY200" fmla="*/ 1399130 h 1768474"/>
              <a:gd name="connsiteX201" fmla="*/ 2455688 w 2722973"/>
              <a:gd name="connsiteY201" fmla="*/ 1399130 h 1768474"/>
              <a:gd name="connsiteX202" fmla="*/ 2451699 w 2722973"/>
              <a:gd name="connsiteY202" fmla="*/ 1399130 h 1768474"/>
              <a:gd name="connsiteX203" fmla="*/ 2449704 w 2722973"/>
              <a:gd name="connsiteY203" fmla="*/ 1405119 h 1768474"/>
              <a:gd name="connsiteX204" fmla="*/ 2459678 w 2722973"/>
              <a:gd name="connsiteY204" fmla="*/ 1403123 h 1768474"/>
              <a:gd name="connsiteX205" fmla="*/ 2471646 w 2722973"/>
              <a:gd name="connsiteY205" fmla="*/ 1407115 h 1768474"/>
              <a:gd name="connsiteX206" fmla="*/ 2475635 w 2722973"/>
              <a:gd name="connsiteY206" fmla="*/ 1413105 h 1768474"/>
              <a:gd name="connsiteX207" fmla="*/ 2469651 w 2722973"/>
              <a:gd name="connsiteY207" fmla="*/ 1419094 h 1768474"/>
              <a:gd name="connsiteX208" fmla="*/ 2459678 w 2722973"/>
              <a:gd name="connsiteY208" fmla="*/ 1421091 h 1768474"/>
              <a:gd name="connsiteX209" fmla="*/ 2457683 w 2722973"/>
              <a:gd name="connsiteY209" fmla="*/ 1421091 h 1768474"/>
              <a:gd name="connsiteX210" fmla="*/ 2451699 w 2722973"/>
              <a:gd name="connsiteY210" fmla="*/ 1417098 h 1768474"/>
              <a:gd name="connsiteX211" fmla="*/ 2451699 w 2722973"/>
              <a:gd name="connsiteY211" fmla="*/ 1421091 h 1768474"/>
              <a:gd name="connsiteX212" fmla="*/ 2451699 w 2722973"/>
              <a:gd name="connsiteY212" fmla="*/ 1427080 h 1768474"/>
              <a:gd name="connsiteX213" fmla="*/ 2449704 w 2722973"/>
              <a:gd name="connsiteY213" fmla="*/ 1431073 h 1768474"/>
              <a:gd name="connsiteX214" fmla="*/ 2455688 w 2722973"/>
              <a:gd name="connsiteY214" fmla="*/ 1433069 h 1768474"/>
              <a:gd name="connsiteX215" fmla="*/ 2459678 w 2722973"/>
              <a:gd name="connsiteY215" fmla="*/ 1435066 h 1768474"/>
              <a:gd name="connsiteX216" fmla="*/ 2455688 w 2722973"/>
              <a:gd name="connsiteY216" fmla="*/ 1445048 h 1768474"/>
              <a:gd name="connsiteX217" fmla="*/ 2451699 w 2722973"/>
              <a:gd name="connsiteY217" fmla="*/ 1447045 h 1768474"/>
              <a:gd name="connsiteX218" fmla="*/ 2451699 w 2722973"/>
              <a:gd name="connsiteY218" fmla="*/ 1443052 h 1768474"/>
              <a:gd name="connsiteX219" fmla="*/ 2447710 w 2722973"/>
              <a:gd name="connsiteY219" fmla="*/ 1443052 h 1768474"/>
              <a:gd name="connsiteX220" fmla="*/ 2435742 w 2722973"/>
              <a:gd name="connsiteY220" fmla="*/ 1445048 h 1768474"/>
              <a:gd name="connsiteX221" fmla="*/ 2429758 w 2722973"/>
              <a:gd name="connsiteY221" fmla="*/ 1451038 h 1768474"/>
              <a:gd name="connsiteX222" fmla="*/ 2425768 w 2722973"/>
              <a:gd name="connsiteY222" fmla="*/ 1445048 h 1768474"/>
              <a:gd name="connsiteX223" fmla="*/ 2423774 w 2722973"/>
              <a:gd name="connsiteY223" fmla="*/ 1445048 h 1768474"/>
              <a:gd name="connsiteX224" fmla="*/ 2423774 w 2722973"/>
              <a:gd name="connsiteY224" fmla="*/ 1453034 h 1768474"/>
              <a:gd name="connsiteX225" fmla="*/ 2421779 w 2722973"/>
              <a:gd name="connsiteY225" fmla="*/ 1457027 h 1768474"/>
              <a:gd name="connsiteX226" fmla="*/ 2415795 w 2722973"/>
              <a:gd name="connsiteY226" fmla="*/ 1463016 h 1768474"/>
              <a:gd name="connsiteX227" fmla="*/ 2411806 w 2722973"/>
              <a:gd name="connsiteY227" fmla="*/ 1471002 h 1768474"/>
              <a:gd name="connsiteX228" fmla="*/ 2405822 w 2722973"/>
              <a:gd name="connsiteY228" fmla="*/ 1471002 h 1768474"/>
              <a:gd name="connsiteX229" fmla="*/ 2401832 w 2722973"/>
              <a:gd name="connsiteY229" fmla="*/ 1471002 h 1768474"/>
              <a:gd name="connsiteX230" fmla="*/ 2397843 w 2722973"/>
              <a:gd name="connsiteY230" fmla="*/ 1471002 h 1768474"/>
              <a:gd name="connsiteX231" fmla="*/ 2389864 w 2722973"/>
              <a:gd name="connsiteY231" fmla="*/ 1471002 h 1768474"/>
              <a:gd name="connsiteX232" fmla="*/ 2385875 w 2722973"/>
              <a:gd name="connsiteY232" fmla="*/ 1474995 h 1768474"/>
              <a:gd name="connsiteX233" fmla="*/ 2379891 w 2722973"/>
              <a:gd name="connsiteY233" fmla="*/ 1488970 h 1768474"/>
              <a:gd name="connsiteX234" fmla="*/ 2375902 w 2722973"/>
              <a:gd name="connsiteY234" fmla="*/ 1498953 h 1768474"/>
              <a:gd name="connsiteX235" fmla="*/ 2369918 w 2722973"/>
              <a:gd name="connsiteY235" fmla="*/ 1502945 h 1768474"/>
              <a:gd name="connsiteX236" fmla="*/ 2363934 w 2722973"/>
              <a:gd name="connsiteY236" fmla="*/ 1504942 h 1768474"/>
              <a:gd name="connsiteX237" fmla="*/ 2359945 w 2722973"/>
              <a:gd name="connsiteY237" fmla="*/ 1512928 h 1768474"/>
              <a:gd name="connsiteX238" fmla="*/ 2349971 w 2722973"/>
              <a:gd name="connsiteY238" fmla="*/ 1512928 h 1768474"/>
              <a:gd name="connsiteX239" fmla="*/ 2345982 w 2722973"/>
              <a:gd name="connsiteY239" fmla="*/ 1516921 h 1768474"/>
              <a:gd name="connsiteX240" fmla="*/ 2341993 w 2722973"/>
              <a:gd name="connsiteY240" fmla="*/ 1522910 h 1768474"/>
              <a:gd name="connsiteX241" fmla="*/ 2334014 w 2722973"/>
              <a:gd name="connsiteY241" fmla="*/ 1520914 h 1768474"/>
              <a:gd name="connsiteX242" fmla="*/ 2332019 w 2722973"/>
              <a:gd name="connsiteY242" fmla="*/ 1526903 h 1768474"/>
              <a:gd name="connsiteX243" fmla="*/ 2334014 w 2722973"/>
              <a:gd name="connsiteY243" fmla="*/ 1534889 h 1768474"/>
              <a:gd name="connsiteX244" fmla="*/ 2328030 w 2722973"/>
              <a:gd name="connsiteY244" fmla="*/ 1536885 h 1768474"/>
              <a:gd name="connsiteX245" fmla="*/ 2326035 w 2722973"/>
              <a:gd name="connsiteY245" fmla="*/ 1534889 h 1768474"/>
              <a:gd name="connsiteX246" fmla="*/ 2322046 w 2722973"/>
              <a:gd name="connsiteY246" fmla="*/ 1542875 h 1768474"/>
              <a:gd name="connsiteX247" fmla="*/ 2320051 w 2722973"/>
              <a:gd name="connsiteY247" fmla="*/ 1550860 h 1768474"/>
              <a:gd name="connsiteX248" fmla="*/ 2320051 w 2722973"/>
              <a:gd name="connsiteY248" fmla="*/ 1556850 h 1768474"/>
              <a:gd name="connsiteX249" fmla="*/ 2316062 w 2722973"/>
              <a:gd name="connsiteY249" fmla="*/ 1566832 h 1768474"/>
              <a:gd name="connsiteX250" fmla="*/ 2316062 w 2722973"/>
              <a:gd name="connsiteY250" fmla="*/ 1570825 h 1768474"/>
              <a:gd name="connsiteX251" fmla="*/ 2312073 w 2722973"/>
              <a:gd name="connsiteY251" fmla="*/ 1572821 h 1768474"/>
              <a:gd name="connsiteX252" fmla="*/ 2310078 w 2722973"/>
              <a:gd name="connsiteY252" fmla="*/ 1578811 h 1768474"/>
              <a:gd name="connsiteX253" fmla="*/ 2310078 w 2722973"/>
              <a:gd name="connsiteY253" fmla="*/ 1584800 h 1768474"/>
              <a:gd name="connsiteX254" fmla="*/ 2308083 w 2722973"/>
              <a:gd name="connsiteY254" fmla="*/ 1588793 h 1768474"/>
              <a:gd name="connsiteX255" fmla="*/ 2310078 w 2722973"/>
              <a:gd name="connsiteY255" fmla="*/ 1596779 h 1768474"/>
              <a:gd name="connsiteX256" fmla="*/ 2308083 w 2722973"/>
              <a:gd name="connsiteY256" fmla="*/ 1602768 h 1768474"/>
              <a:gd name="connsiteX257" fmla="*/ 2306089 w 2722973"/>
              <a:gd name="connsiteY257" fmla="*/ 1608758 h 1768474"/>
              <a:gd name="connsiteX258" fmla="*/ 2308083 w 2722973"/>
              <a:gd name="connsiteY258" fmla="*/ 1614747 h 1768474"/>
              <a:gd name="connsiteX259" fmla="*/ 2314067 w 2722973"/>
              <a:gd name="connsiteY259" fmla="*/ 1622733 h 1768474"/>
              <a:gd name="connsiteX260" fmla="*/ 2318057 w 2722973"/>
              <a:gd name="connsiteY260" fmla="*/ 1634712 h 1768474"/>
              <a:gd name="connsiteX261" fmla="*/ 2322046 w 2722973"/>
              <a:gd name="connsiteY261" fmla="*/ 1646690 h 1768474"/>
              <a:gd name="connsiteX262" fmla="*/ 2322046 w 2722973"/>
              <a:gd name="connsiteY262" fmla="*/ 1656673 h 1768474"/>
              <a:gd name="connsiteX263" fmla="*/ 2320051 w 2722973"/>
              <a:gd name="connsiteY263" fmla="*/ 1654676 h 1768474"/>
              <a:gd name="connsiteX264" fmla="*/ 2316062 w 2722973"/>
              <a:gd name="connsiteY264" fmla="*/ 1656673 h 1768474"/>
              <a:gd name="connsiteX265" fmla="*/ 2320051 w 2722973"/>
              <a:gd name="connsiteY265" fmla="*/ 1662662 h 1768474"/>
              <a:gd name="connsiteX266" fmla="*/ 2324041 w 2722973"/>
              <a:gd name="connsiteY266" fmla="*/ 1660665 h 1768474"/>
              <a:gd name="connsiteX267" fmla="*/ 2328030 w 2722973"/>
              <a:gd name="connsiteY267" fmla="*/ 1666655 h 1768474"/>
              <a:gd name="connsiteX268" fmla="*/ 2328030 w 2722973"/>
              <a:gd name="connsiteY268" fmla="*/ 1670648 h 1768474"/>
              <a:gd name="connsiteX269" fmla="*/ 2322046 w 2722973"/>
              <a:gd name="connsiteY269" fmla="*/ 1672644 h 1768474"/>
              <a:gd name="connsiteX270" fmla="*/ 2326035 w 2722973"/>
              <a:gd name="connsiteY270" fmla="*/ 1678634 h 1768474"/>
              <a:gd name="connsiteX271" fmla="*/ 2330025 w 2722973"/>
              <a:gd name="connsiteY271" fmla="*/ 1678634 h 1768474"/>
              <a:gd name="connsiteX272" fmla="*/ 2332019 w 2722973"/>
              <a:gd name="connsiteY272" fmla="*/ 1684623 h 1768474"/>
              <a:gd name="connsiteX273" fmla="*/ 2332019 w 2722973"/>
              <a:gd name="connsiteY273" fmla="*/ 1692609 h 1768474"/>
              <a:gd name="connsiteX274" fmla="*/ 2338003 w 2722973"/>
              <a:gd name="connsiteY274" fmla="*/ 1710577 h 1768474"/>
              <a:gd name="connsiteX275" fmla="*/ 2338003 w 2722973"/>
              <a:gd name="connsiteY275" fmla="*/ 1724552 h 1768474"/>
              <a:gd name="connsiteX276" fmla="*/ 2332019 w 2722973"/>
              <a:gd name="connsiteY276" fmla="*/ 1740524 h 1768474"/>
              <a:gd name="connsiteX277" fmla="*/ 2326035 w 2722973"/>
              <a:gd name="connsiteY277" fmla="*/ 1754499 h 1768474"/>
              <a:gd name="connsiteX278" fmla="*/ 2320051 w 2722973"/>
              <a:gd name="connsiteY278" fmla="*/ 1762485 h 1768474"/>
              <a:gd name="connsiteX279" fmla="*/ 2316062 w 2722973"/>
              <a:gd name="connsiteY279" fmla="*/ 1766478 h 1768474"/>
              <a:gd name="connsiteX280" fmla="*/ 2308083 w 2722973"/>
              <a:gd name="connsiteY280" fmla="*/ 1766478 h 1768474"/>
              <a:gd name="connsiteX281" fmla="*/ 2300105 w 2722973"/>
              <a:gd name="connsiteY281" fmla="*/ 1768474 h 1768474"/>
              <a:gd name="connsiteX282" fmla="*/ 2298110 w 2722973"/>
              <a:gd name="connsiteY282" fmla="*/ 1762485 h 1768474"/>
              <a:gd name="connsiteX283" fmla="*/ 2302099 w 2722973"/>
              <a:gd name="connsiteY283" fmla="*/ 1760488 h 1768474"/>
              <a:gd name="connsiteX284" fmla="*/ 2302099 w 2722973"/>
              <a:gd name="connsiteY284" fmla="*/ 1756495 h 1768474"/>
              <a:gd name="connsiteX285" fmla="*/ 2298110 w 2722973"/>
              <a:gd name="connsiteY285" fmla="*/ 1756495 h 1768474"/>
              <a:gd name="connsiteX286" fmla="*/ 2294121 w 2722973"/>
              <a:gd name="connsiteY286" fmla="*/ 1756495 h 1768474"/>
              <a:gd name="connsiteX287" fmla="*/ 2292126 w 2722973"/>
              <a:gd name="connsiteY287" fmla="*/ 1748510 h 1768474"/>
              <a:gd name="connsiteX288" fmla="*/ 2278163 w 2722973"/>
              <a:gd name="connsiteY288" fmla="*/ 1726549 h 1768474"/>
              <a:gd name="connsiteX289" fmla="*/ 2270185 w 2722973"/>
              <a:gd name="connsiteY289" fmla="*/ 1704588 h 1768474"/>
              <a:gd name="connsiteX290" fmla="*/ 2270185 w 2722973"/>
              <a:gd name="connsiteY290" fmla="*/ 1698598 h 1768474"/>
              <a:gd name="connsiteX291" fmla="*/ 2274174 w 2722973"/>
              <a:gd name="connsiteY291" fmla="*/ 1678634 h 1768474"/>
              <a:gd name="connsiteX292" fmla="*/ 2272179 w 2722973"/>
              <a:gd name="connsiteY292" fmla="*/ 1668651 h 1768474"/>
              <a:gd name="connsiteX293" fmla="*/ 2270185 w 2722973"/>
              <a:gd name="connsiteY293" fmla="*/ 1670648 h 1768474"/>
              <a:gd name="connsiteX294" fmla="*/ 2270185 w 2722973"/>
              <a:gd name="connsiteY294" fmla="*/ 1678634 h 1768474"/>
              <a:gd name="connsiteX295" fmla="*/ 2264201 w 2722973"/>
              <a:gd name="connsiteY295" fmla="*/ 1676637 h 1768474"/>
              <a:gd name="connsiteX296" fmla="*/ 2264201 w 2722973"/>
              <a:gd name="connsiteY296" fmla="*/ 1670648 h 1768474"/>
              <a:gd name="connsiteX297" fmla="*/ 2266195 w 2722973"/>
              <a:gd name="connsiteY297" fmla="*/ 1654676 h 1768474"/>
              <a:gd name="connsiteX298" fmla="*/ 2270185 w 2722973"/>
              <a:gd name="connsiteY298" fmla="*/ 1644694 h 1768474"/>
              <a:gd name="connsiteX299" fmla="*/ 2268190 w 2722973"/>
              <a:gd name="connsiteY299" fmla="*/ 1632715 h 1768474"/>
              <a:gd name="connsiteX300" fmla="*/ 2254227 w 2722973"/>
              <a:gd name="connsiteY300" fmla="*/ 1618740 h 1768474"/>
              <a:gd name="connsiteX301" fmla="*/ 2250238 w 2722973"/>
              <a:gd name="connsiteY301" fmla="*/ 1614747 h 1768474"/>
              <a:gd name="connsiteX302" fmla="*/ 2244254 w 2722973"/>
              <a:gd name="connsiteY302" fmla="*/ 1608758 h 1768474"/>
              <a:gd name="connsiteX303" fmla="*/ 2240265 w 2722973"/>
              <a:gd name="connsiteY303" fmla="*/ 1604765 h 1768474"/>
              <a:gd name="connsiteX304" fmla="*/ 2236275 w 2722973"/>
              <a:gd name="connsiteY304" fmla="*/ 1602768 h 1768474"/>
              <a:gd name="connsiteX305" fmla="*/ 2236275 w 2722973"/>
              <a:gd name="connsiteY305" fmla="*/ 1598775 h 1768474"/>
              <a:gd name="connsiteX306" fmla="*/ 2232286 w 2722973"/>
              <a:gd name="connsiteY306" fmla="*/ 1600772 h 1768474"/>
              <a:gd name="connsiteX307" fmla="*/ 2228297 w 2722973"/>
              <a:gd name="connsiteY307" fmla="*/ 1602768 h 1768474"/>
              <a:gd name="connsiteX308" fmla="*/ 2226302 w 2722973"/>
              <a:gd name="connsiteY308" fmla="*/ 1608758 h 1768474"/>
              <a:gd name="connsiteX309" fmla="*/ 2220318 w 2722973"/>
              <a:gd name="connsiteY309" fmla="*/ 1612751 h 1768474"/>
              <a:gd name="connsiteX310" fmla="*/ 2214334 w 2722973"/>
              <a:gd name="connsiteY310" fmla="*/ 1612751 h 1768474"/>
              <a:gd name="connsiteX311" fmla="*/ 2208350 w 2722973"/>
              <a:gd name="connsiteY311" fmla="*/ 1612751 h 1768474"/>
              <a:gd name="connsiteX312" fmla="*/ 2206355 w 2722973"/>
              <a:gd name="connsiteY312" fmla="*/ 1616743 h 1768474"/>
              <a:gd name="connsiteX313" fmla="*/ 2202366 w 2722973"/>
              <a:gd name="connsiteY313" fmla="*/ 1612751 h 1768474"/>
              <a:gd name="connsiteX314" fmla="*/ 2202366 w 2722973"/>
              <a:gd name="connsiteY314" fmla="*/ 1602768 h 1768474"/>
              <a:gd name="connsiteX315" fmla="*/ 2202366 w 2722973"/>
              <a:gd name="connsiteY315" fmla="*/ 1598775 h 1768474"/>
              <a:gd name="connsiteX316" fmla="*/ 2198377 w 2722973"/>
              <a:gd name="connsiteY316" fmla="*/ 1596779 h 1768474"/>
              <a:gd name="connsiteX317" fmla="*/ 2196382 w 2722973"/>
              <a:gd name="connsiteY317" fmla="*/ 1600772 h 1768474"/>
              <a:gd name="connsiteX318" fmla="*/ 2192393 w 2722973"/>
              <a:gd name="connsiteY318" fmla="*/ 1602768 h 1768474"/>
              <a:gd name="connsiteX319" fmla="*/ 2188403 w 2722973"/>
              <a:gd name="connsiteY319" fmla="*/ 1598775 h 1768474"/>
              <a:gd name="connsiteX320" fmla="*/ 2184414 w 2722973"/>
              <a:gd name="connsiteY320" fmla="*/ 1598775 h 1768474"/>
              <a:gd name="connsiteX321" fmla="*/ 2182419 w 2722973"/>
              <a:gd name="connsiteY321" fmla="*/ 1594782 h 1768474"/>
              <a:gd name="connsiteX322" fmla="*/ 2180425 w 2722973"/>
              <a:gd name="connsiteY322" fmla="*/ 1590790 h 1768474"/>
              <a:gd name="connsiteX323" fmla="*/ 2178430 w 2722973"/>
              <a:gd name="connsiteY323" fmla="*/ 1590790 h 1768474"/>
              <a:gd name="connsiteX324" fmla="*/ 2174441 w 2722973"/>
              <a:gd name="connsiteY324" fmla="*/ 1594782 h 1768474"/>
              <a:gd name="connsiteX325" fmla="*/ 2172446 w 2722973"/>
              <a:gd name="connsiteY325" fmla="*/ 1596779 h 1768474"/>
              <a:gd name="connsiteX326" fmla="*/ 2168457 w 2722973"/>
              <a:gd name="connsiteY326" fmla="*/ 1596779 h 1768474"/>
              <a:gd name="connsiteX327" fmla="*/ 2166462 w 2722973"/>
              <a:gd name="connsiteY327" fmla="*/ 1596779 h 1768474"/>
              <a:gd name="connsiteX328" fmla="*/ 2166462 w 2722973"/>
              <a:gd name="connsiteY328" fmla="*/ 1590790 h 1768474"/>
              <a:gd name="connsiteX329" fmla="*/ 2164468 w 2722973"/>
              <a:gd name="connsiteY329" fmla="*/ 1588793 h 1768474"/>
              <a:gd name="connsiteX330" fmla="*/ 2160478 w 2722973"/>
              <a:gd name="connsiteY330" fmla="*/ 1594782 h 1768474"/>
              <a:gd name="connsiteX331" fmla="*/ 2158484 w 2722973"/>
              <a:gd name="connsiteY331" fmla="*/ 1592786 h 1768474"/>
              <a:gd name="connsiteX332" fmla="*/ 2154494 w 2722973"/>
              <a:gd name="connsiteY332" fmla="*/ 1590790 h 1768474"/>
              <a:gd name="connsiteX333" fmla="*/ 2152500 w 2722973"/>
              <a:gd name="connsiteY333" fmla="*/ 1594782 h 1768474"/>
              <a:gd name="connsiteX334" fmla="*/ 2148510 w 2722973"/>
              <a:gd name="connsiteY334" fmla="*/ 1598775 h 1768474"/>
              <a:gd name="connsiteX335" fmla="*/ 2144521 w 2722973"/>
              <a:gd name="connsiteY335" fmla="*/ 1596779 h 1768474"/>
              <a:gd name="connsiteX336" fmla="*/ 2148510 w 2722973"/>
              <a:gd name="connsiteY336" fmla="*/ 1592786 h 1768474"/>
              <a:gd name="connsiteX337" fmla="*/ 2148510 w 2722973"/>
              <a:gd name="connsiteY337" fmla="*/ 1588793 h 1768474"/>
              <a:gd name="connsiteX338" fmla="*/ 2144521 w 2722973"/>
              <a:gd name="connsiteY338" fmla="*/ 1586797 h 1768474"/>
              <a:gd name="connsiteX339" fmla="*/ 2140532 w 2722973"/>
              <a:gd name="connsiteY339" fmla="*/ 1588793 h 1768474"/>
              <a:gd name="connsiteX340" fmla="*/ 2138537 w 2722973"/>
              <a:gd name="connsiteY340" fmla="*/ 1592786 h 1768474"/>
              <a:gd name="connsiteX341" fmla="*/ 2130558 w 2722973"/>
              <a:gd name="connsiteY341" fmla="*/ 1590790 h 1768474"/>
              <a:gd name="connsiteX342" fmla="*/ 2124574 w 2722973"/>
              <a:gd name="connsiteY342" fmla="*/ 1588793 h 1768474"/>
              <a:gd name="connsiteX343" fmla="*/ 2118590 w 2722973"/>
              <a:gd name="connsiteY343" fmla="*/ 1588793 h 1768474"/>
              <a:gd name="connsiteX344" fmla="*/ 2112606 w 2722973"/>
              <a:gd name="connsiteY344" fmla="*/ 1592786 h 1768474"/>
              <a:gd name="connsiteX345" fmla="*/ 2108617 w 2722973"/>
              <a:gd name="connsiteY345" fmla="*/ 1592786 h 1768474"/>
              <a:gd name="connsiteX346" fmla="*/ 2104628 w 2722973"/>
              <a:gd name="connsiteY346" fmla="*/ 1598775 h 1768474"/>
              <a:gd name="connsiteX347" fmla="*/ 2104628 w 2722973"/>
              <a:gd name="connsiteY347" fmla="*/ 1606761 h 1768474"/>
              <a:gd name="connsiteX348" fmla="*/ 2100638 w 2722973"/>
              <a:gd name="connsiteY348" fmla="*/ 1610754 h 1768474"/>
              <a:gd name="connsiteX349" fmla="*/ 2098644 w 2722973"/>
              <a:gd name="connsiteY349" fmla="*/ 1616743 h 1768474"/>
              <a:gd name="connsiteX350" fmla="*/ 2094654 w 2722973"/>
              <a:gd name="connsiteY350" fmla="*/ 1622733 h 1768474"/>
              <a:gd name="connsiteX351" fmla="*/ 2092660 w 2722973"/>
              <a:gd name="connsiteY351" fmla="*/ 1626726 h 1768474"/>
              <a:gd name="connsiteX352" fmla="*/ 2088670 w 2722973"/>
              <a:gd name="connsiteY352" fmla="*/ 1628722 h 1768474"/>
              <a:gd name="connsiteX353" fmla="*/ 2082686 w 2722973"/>
              <a:gd name="connsiteY353" fmla="*/ 1630719 h 1768474"/>
              <a:gd name="connsiteX354" fmla="*/ 2078697 w 2722973"/>
              <a:gd name="connsiteY354" fmla="*/ 1632715 h 1768474"/>
              <a:gd name="connsiteX355" fmla="*/ 2074708 w 2722973"/>
              <a:gd name="connsiteY355" fmla="*/ 1626726 h 1768474"/>
              <a:gd name="connsiteX356" fmla="*/ 2070718 w 2722973"/>
              <a:gd name="connsiteY356" fmla="*/ 1626726 h 1768474"/>
              <a:gd name="connsiteX357" fmla="*/ 2066729 w 2722973"/>
              <a:gd name="connsiteY357" fmla="*/ 1628722 h 1768474"/>
              <a:gd name="connsiteX358" fmla="*/ 2058750 w 2722973"/>
              <a:gd name="connsiteY358" fmla="*/ 1628722 h 1768474"/>
              <a:gd name="connsiteX359" fmla="*/ 2054761 w 2722973"/>
              <a:gd name="connsiteY359" fmla="*/ 1624729 h 1768474"/>
              <a:gd name="connsiteX360" fmla="*/ 2052766 w 2722973"/>
              <a:gd name="connsiteY360" fmla="*/ 1620736 h 1768474"/>
              <a:gd name="connsiteX361" fmla="*/ 2046782 w 2722973"/>
              <a:gd name="connsiteY361" fmla="*/ 1618740 h 1768474"/>
              <a:gd name="connsiteX362" fmla="*/ 2046782 w 2722973"/>
              <a:gd name="connsiteY362" fmla="*/ 1616743 h 1768474"/>
              <a:gd name="connsiteX363" fmla="*/ 2044788 w 2722973"/>
              <a:gd name="connsiteY363" fmla="*/ 1612751 h 1768474"/>
              <a:gd name="connsiteX364" fmla="*/ 2040798 w 2722973"/>
              <a:gd name="connsiteY364" fmla="*/ 1612751 h 1768474"/>
              <a:gd name="connsiteX365" fmla="*/ 2040798 w 2722973"/>
              <a:gd name="connsiteY365" fmla="*/ 1610754 h 1768474"/>
              <a:gd name="connsiteX366" fmla="*/ 2034814 w 2722973"/>
              <a:gd name="connsiteY366" fmla="*/ 1610754 h 1768474"/>
              <a:gd name="connsiteX367" fmla="*/ 2032820 w 2722973"/>
              <a:gd name="connsiteY367" fmla="*/ 1610754 h 1768474"/>
              <a:gd name="connsiteX368" fmla="*/ 2030825 w 2722973"/>
              <a:gd name="connsiteY368" fmla="*/ 1614747 h 1768474"/>
              <a:gd name="connsiteX369" fmla="*/ 2028830 w 2722973"/>
              <a:gd name="connsiteY369" fmla="*/ 1618740 h 1768474"/>
              <a:gd name="connsiteX370" fmla="*/ 2024841 w 2722973"/>
              <a:gd name="connsiteY370" fmla="*/ 1618740 h 1768474"/>
              <a:gd name="connsiteX371" fmla="*/ 2020852 w 2722973"/>
              <a:gd name="connsiteY371" fmla="*/ 1618740 h 1768474"/>
              <a:gd name="connsiteX372" fmla="*/ 2016862 w 2722973"/>
              <a:gd name="connsiteY372" fmla="*/ 1616743 h 1768474"/>
              <a:gd name="connsiteX373" fmla="*/ 2014868 w 2722973"/>
              <a:gd name="connsiteY373" fmla="*/ 1612751 h 1768474"/>
              <a:gd name="connsiteX374" fmla="*/ 2010878 w 2722973"/>
              <a:gd name="connsiteY374" fmla="*/ 1610754 h 1768474"/>
              <a:gd name="connsiteX375" fmla="*/ 2006889 w 2722973"/>
              <a:gd name="connsiteY375" fmla="*/ 1610754 h 1768474"/>
              <a:gd name="connsiteX376" fmla="*/ 1998910 w 2722973"/>
              <a:gd name="connsiteY376" fmla="*/ 1610754 h 1768474"/>
              <a:gd name="connsiteX377" fmla="*/ 1988937 w 2722973"/>
              <a:gd name="connsiteY377" fmla="*/ 1612751 h 1768474"/>
              <a:gd name="connsiteX378" fmla="*/ 1980958 w 2722973"/>
              <a:gd name="connsiteY378" fmla="*/ 1614747 h 1768474"/>
              <a:gd name="connsiteX379" fmla="*/ 1974974 w 2722973"/>
              <a:gd name="connsiteY379" fmla="*/ 1614747 h 1768474"/>
              <a:gd name="connsiteX380" fmla="*/ 1970985 w 2722973"/>
              <a:gd name="connsiteY380" fmla="*/ 1616743 h 1768474"/>
              <a:gd name="connsiteX381" fmla="*/ 1968990 w 2722973"/>
              <a:gd name="connsiteY381" fmla="*/ 1618740 h 1768474"/>
              <a:gd name="connsiteX382" fmla="*/ 1966996 w 2722973"/>
              <a:gd name="connsiteY382" fmla="*/ 1616743 h 1768474"/>
              <a:gd name="connsiteX383" fmla="*/ 1965001 w 2722973"/>
              <a:gd name="connsiteY383" fmla="*/ 1614747 h 1768474"/>
              <a:gd name="connsiteX384" fmla="*/ 1963006 w 2722973"/>
              <a:gd name="connsiteY384" fmla="*/ 1614747 h 1768474"/>
              <a:gd name="connsiteX385" fmla="*/ 1959017 w 2722973"/>
              <a:gd name="connsiteY385" fmla="*/ 1614747 h 1768474"/>
              <a:gd name="connsiteX386" fmla="*/ 1957022 w 2722973"/>
              <a:gd name="connsiteY386" fmla="*/ 1616743 h 1768474"/>
              <a:gd name="connsiteX387" fmla="*/ 1957022 w 2722973"/>
              <a:gd name="connsiteY387" fmla="*/ 1620736 h 1768474"/>
              <a:gd name="connsiteX388" fmla="*/ 1957022 w 2722973"/>
              <a:gd name="connsiteY388" fmla="*/ 1626726 h 1768474"/>
              <a:gd name="connsiteX389" fmla="*/ 1953033 w 2722973"/>
              <a:gd name="connsiteY389" fmla="*/ 1628722 h 1768474"/>
              <a:gd name="connsiteX390" fmla="*/ 1951039 w 2722973"/>
              <a:gd name="connsiteY390" fmla="*/ 1632715 h 1768474"/>
              <a:gd name="connsiteX391" fmla="*/ 1957022 w 2722973"/>
              <a:gd name="connsiteY391" fmla="*/ 1630719 h 1768474"/>
              <a:gd name="connsiteX392" fmla="*/ 1961012 w 2722973"/>
              <a:gd name="connsiteY392" fmla="*/ 1626726 h 1768474"/>
              <a:gd name="connsiteX393" fmla="*/ 1959017 w 2722973"/>
              <a:gd name="connsiteY393" fmla="*/ 1632715 h 1768474"/>
              <a:gd name="connsiteX394" fmla="*/ 1953033 w 2722973"/>
              <a:gd name="connsiteY394" fmla="*/ 1636708 h 1768474"/>
              <a:gd name="connsiteX395" fmla="*/ 1947049 w 2722973"/>
              <a:gd name="connsiteY395" fmla="*/ 1636708 h 1768474"/>
              <a:gd name="connsiteX396" fmla="*/ 1945055 w 2722973"/>
              <a:gd name="connsiteY396" fmla="*/ 1642697 h 1768474"/>
              <a:gd name="connsiteX397" fmla="*/ 1939071 w 2722973"/>
              <a:gd name="connsiteY397" fmla="*/ 1648687 h 1768474"/>
              <a:gd name="connsiteX398" fmla="*/ 1937076 w 2722973"/>
              <a:gd name="connsiteY398" fmla="*/ 1650683 h 1768474"/>
              <a:gd name="connsiteX399" fmla="*/ 1933087 w 2722973"/>
              <a:gd name="connsiteY399" fmla="*/ 1652680 h 1768474"/>
              <a:gd name="connsiteX400" fmla="*/ 1931092 w 2722973"/>
              <a:gd name="connsiteY400" fmla="*/ 1650683 h 1768474"/>
              <a:gd name="connsiteX401" fmla="*/ 1927103 w 2722973"/>
              <a:gd name="connsiteY401" fmla="*/ 1650683 h 1768474"/>
              <a:gd name="connsiteX402" fmla="*/ 1923113 w 2722973"/>
              <a:gd name="connsiteY402" fmla="*/ 1652680 h 1768474"/>
              <a:gd name="connsiteX403" fmla="*/ 1917129 w 2722973"/>
              <a:gd name="connsiteY403" fmla="*/ 1652680 h 1768474"/>
              <a:gd name="connsiteX404" fmla="*/ 1915135 w 2722973"/>
              <a:gd name="connsiteY404" fmla="*/ 1660665 h 1768474"/>
              <a:gd name="connsiteX405" fmla="*/ 1911145 w 2722973"/>
              <a:gd name="connsiteY405" fmla="*/ 1660665 h 1768474"/>
              <a:gd name="connsiteX406" fmla="*/ 1907156 w 2722973"/>
              <a:gd name="connsiteY406" fmla="*/ 1660665 h 1768474"/>
              <a:gd name="connsiteX407" fmla="*/ 1903167 w 2722973"/>
              <a:gd name="connsiteY407" fmla="*/ 1664658 h 1768474"/>
              <a:gd name="connsiteX408" fmla="*/ 1899177 w 2722973"/>
              <a:gd name="connsiteY408" fmla="*/ 1664658 h 1768474"/>
              <a:gd name="connsiteX409" fmla="*/ 1903167 w 2722973"/>
              <a:gd name="connsiteY409" fmla="*/ 1668651 h 1768474"/>
              <a:gd name="connsiteX410" fmla="*/ 1907156 w 2722973"/>
              <a:gd name="connsiteY410" fmla="*/ 1670648 h 1768474"/>
              <a:gd name="connsiteX411" fmla="*/ 1907156 w 2722973"/>
              <a:gd name="connsiteY411" fmla="*/ 1674641 h 1768474"/>
              <a:gd name="connsiteX412" fmla="*/ 1899177 w 2722973"/>
              <a:gd name="connsiteY412" fmla="*/ 1674641 h 1768474"/>
              <a:gd name="connsiteX413" fmla="*/ 1893193 w 2722973"/>
              <a:gd name="connsiteY413" fmla="*/ 1674641 h 1768474"/>
              <a:gd name="connsiteX414" fmla="*/ 1887209 w 2722973"/>
              <a:gd name="connsiteY414" fmla="*/ 1678634 h 1768474"/>
              <a:gd name="connsiteX415" fmla="*/ 1887209 w 2722973"/>
              <a:gd name="connsiteY415" fmla="*/ 1684623 h 1768474"/>
              <a:gd name="connsiteX416" fmla="*/ 1879231 w 2722973"/>
              <a:gd name="connsiteY416" fmla="*/ 1690612 h 1768474"/>
              <a:gd name="connsiteX417" fmla="*/ 1883220 w 2722973"/>
              <a:gd name="connsiteY417" fmla="*/ 1694605 h 1768474"/>
              <a:gd name="connsiteX418" fmla="*/ 1889204 w 2722973"/>
              <a:gd name="connsiteY418" fmla="*/ 1686619 h 1768474"/>
              <a:gd name="connsiteX419" fmla="*/ 1891199 w 2722973"/>
              <a:gd name="connsiteY419" fmla="*/ 1688616 h 1768474"/>
              <a:gd name="connsiteX420" fmla="*/ 1889204 w 2722973"/>
              <a:gd name="connsiteY420" fmla="*/ 1694605 h 1768474"/>
              <a:gd name="connsiteX421" fmla="*/ 1885215 w 2722973"/>
              <a:gd name="connsiteY421" fmla="*/ 1704588 h 1768474"/>
              <a:gd name="connsiteX422" fmla="*/ 1885215 w 2722973"/>
              <a:gd name="connsiteY422" fmla="*/ 1710577 h 1768474"/>
              <a:gd name="connsiteX423" fmla="*/ 1889204 w 2722973"/>
              <a:gd name="connsiteY423" fmla="*/ 1714570 h 1768474"/>
              <a:gd name="connsiteX424" fmla="*/ 1867263 w 2722973"/>
              <a:gd name="connsiteY424" fmla="*/ 1720559 h 1768474"/>
              <a:gd name="connsiteX425" fmla="*/ 1853300 w 2722973"/>
              <a:gd name="connsiteY425" fmla="*/ 1712573 h 1768474"/>
              <a:gd name="connsiteX426" fmla="*/ 1847316 w 2722973"/>
              <a:gd name="connsiteY426" fmla="*/ 1692609 h 1768474"/>
              <a:gd name="connsiteX427" fmla="*/ 1839337 w 2722973"/>
              <a:gd name="connsiteY427" fmla="*/ 1674641 h 1768474"/>
              <a:gd name="connsiteX428" fmla="*/ 1827369 w 2722973"/>
              <a:gd name="connsiteY428" fmla="*/ 1650683 h 1768474"/>
              <a:gd name="connsiteX429" fmla="*/ 1817396 w 2722973"/>
              <a:gd name="connsiteY429" fmla="*/ 1610754 h 1768474"/>
              <a:gd name="connsiteX430" fmla="*/ 1813407 w 2722973"/>
              <a:gd name="connsiteY430" fmla="*/ 1602768 h 1768474"/>
              <a:gd name="connsiteX431" fmla="*/ 1799444 w 2722973"/>
              <a:gd name="connsiteY431" fmla="*/ 1602768 h 1768474"/>
              <a:gd name="connsiteX432" fmla="*/ 1783487 w 2722973"/>
              <a:gd name="connsiteY432" fmla="*/ 1602768 h 1768474"/>
              <a:gd name="connsiteX433" fmla="*/ 1775508 w 2722973"/>
              <a:gd name="connsiteY433" fmla="*/ 1600772 h 1768474"/>
              <a:gd name="connsiteX434" fmla="*/ 1769524 w 2722973"/>
              <a:gd name="connsiteY434" fmla="*/ 1600772 h 1768474"/>
              <a:gd name="connsiteX435" fmla="*/ 1767529 w 2722973"/>
              <a:gd name="connsiteY435" fmla="*/ 1606761 h 1768474"/>
              <a:gd name="connsiteX436" fmla="*/ 1767529 w 2722973"/>
              <a:gd name="connsiteY436" fmla="*/ 1622733 h 1768474"/>
              <a:gd name="connsiteX437" fmla="*/ 1755562 w 2722973"/>
              <a:gd name="connsiteY437" fmla="*/ 1624729 h 1768474"/>
              <a:gd name="connsiteX438" fmla="*/ 1729631 w 2722973"/>
              <a:gd name="connsiteY438" fmla="*/ 1610754 h 1768474"/>
              <a:gd name="connsiteX439" fmla="*/ 1719658 w 2722973"/>
              <a:gd name="connsiteY439" fmla="*/ 1586797 h 1768474"/>
              <a:gd name="connsiteX440" fmla="*/ 1703700 w 2722973"/>
              <a:gd name="connsiteY440" fmla="*/ 1560843 h 1768474"/>
              <a:gd name="connsiteX441" fmla="*/ 1695722 w 2722973"/>
              <a:gd name="connsiteY441" fmla="*/ 1544871 h 1768474"/>
              <a:gd name="connsiteX442" fmla="*/ 1689738 w 2722973"/>
              <a:gd name="connsiteY442" fmla="*/ 1540878 h 1768474"/>
              <a:gd name="connsiteX443" fmla="*/ 1679764 w 2722973"/>
              <a:gd name="connsiteY443" fmla="*/ 1536885 h 1768474"/>
              <a:gd name="connsiteX444" fmla="*/ 1653834 w 2722973"/>
              <a:gd name="connsiteY444" fmla="*/ 1538882 h 1768474"/>
              <a:gd name="connsiteX445" fmla="*/ 1643860 w 2722973"/>
              <a:gd name="connsiteY445" fmla="*/ 1546867 h 1768474"/>
              <a:gd name="connsiteX446" fmla="*/ 1625908 w 2722973"/>
              <a:gd name="connsiteY446" fmla="*/ 1550860 h 1768474"/>
              <a:gd name="connsiteX447" fmla="*/ 1593994 w 2722973"/>
              <a:gd name="connsiteY447" fmla="*/ 1550860 h 1768474"/>
              <a:gd name="connsiteX448" fmla="*/ 1546122 w 2722973"/>
              <a:gd name="connsiteY448" fmla="*/ 1538882 h 1768474"/>
              <a:gd name="connsiteX449" fmla="*/ 1492266 w 2722973"/>
              <a:gd name="connsiteY449" fmla="*/ 1514924 h 1768474"/>
              <a:gd name="connsiteX450" fmla="*/ 1460351 w 2722973"/>
              <a:gd name="connsiteY450" fmla="*/ 1504942 h 1768474"/>
              <a:gd name="connsiteX451" fmla="*/ 1422453 w 2722973"/>
              <a:gd name="connsiteY451" fmla="*/ 1498953 h 1768474"/>
              <a:gd name="connsiteX452" fmla="*/ 1396522 w 2722973"/>
              <a:gd name="connsiteY452" fmla="*/ 1500949 h 1768474"/>
              <a:gd name="connsiteX453" fmla="*/ 1396522 w 2722973"/>
              <a:gd name="connsiteY453" fmla="*/ 1490967 h 1768474"/>
              <a:gd name="connsiteX454" fmla="*/ 1392533 w 2722973"/>
              <a:gd name="connsiteY454" fmla="*/ 1484977 h 1768474"/>
              <a:gd name="connsiteX455" fmla="*/ 1386549 w 2722973"/>
              <a:gd name="connsiteY455" fmla="*/ 1480984 h 1768474"/>
              <a:gd name="connsiteX456" fmla="*/ 1386549 w 2722973"/>
              <a:gd name="connsiteY456" fmla="*/ 1474995 h 1768474"/>
              <a:gd name="connsiteX457" fmla="*/ 1382560 w 2722973"/>
              <a:gd name="connsiteY457" fmla="*/ 1471002 h 1768474"/>
              <a:gd name="connsiteX458" fmla="*/ 1376576 w 2722973"/>
              <a:gd name="connsiteY458" fmla="*/ 1471002 h 1768474"/>
              <a:gd name="connsiteX459" fmla="*/ 1376576 w 2722973"/>
              <a:gd name="connsiteY459" fmla="*/ 1463016 h 1768474"/>
              <a:gd name="connsiteX460" fmla="*/ 1374581 w 2722973"/>
              <a:gd name="connsiteY460" fmla="*/ 1461020 h 1768474"/>
              <a:gd name="connsiteX461" fmla="*/ 1366602 w 2722973"/>
              <a:gd name="connsiteY461" fmla="*/ 1459023 h 1768474"/>
              <a:gd name="connsiteX462" fmla="*/ 1362613 w 2722973"/>
              <a:gd name="connsiteY462" fmla="*/ 1463016 h 1768474"/>
              <a:gd name="connsiteX463" fmla="*/ 1348650 w 2722973"/>
              <a:gd name="connsiteY463" fmla="*/ 1457027 h 1768474"/>
              <a:gd name="connsiteX464" fmla="*/ 1340672 w 2722973"/>
              <a:gd name="connsiteY464" fmla="*/ 1453034 h 1768474"/>
              <a:gd name="connsiteX465" fmla="*/ 1336682 w 2722973"/>
              <a:gd name="connsiteY465" fmla="*/ 1449041 h 1768474"/>
              <a:gd name="connsiteX466" fmla="*/ 1330698 w 2722973"/>
              <a:gd name="connsiteY466" fmla="*/ 1447045 h 1768474"/>
              <a:gd name="connsiteX467" fmla="*/ 1324714 w 2722973"/>
              <a:gd name="connsiteY467" fmla="*/ 1447045 h 1768474"/>
              <a:gd name="connsiteX468" fmla="*/ 1322720 w 2722973"/>
              <a:gd name="connsiteY468" fmla="*/ 1443052 h 1768474"/>
              <a:gd name="connsiteX469" fmla="*/ 1324714 w 2722973"/>
              <a:gd name="connsiteY469" fmla="*/ 1439059 h 1768474"/>
              <a:gd name="connsiteX470" fmla="*/ 1324714 w 2722973"/>
              <a:gd name="connsiteY470" fmla="*/ 1431073 h 1768474"/>
              <a:gd name="connsiteX471" fmla="*/ 1320725 w 2722973"/>
              <a:gd name="connsiteY471" fmla="*/ 1425084 h 1768474"/>
              <a:gd name="connsiteX472" fmla="*/ 1320725 w 2722973"/>
              <a:gd name="connsiteY472" fmla="*/ 1421091 h 1768474"/>
              <a:gd name="connsiteX473" fmla="*/ 1320725 w 2722973"/>
              <a:gd name="connsiteY473" fmla="*/ 1417098 h 1768474"/>
              <a:gd name="connsiteX474" fmla="*/ 1316736 w 2722973"/>
              <a:gd name="connsiteY474" fmla="*/ 1417098 h 1768474"/>
              <a:gd name="connsiteX475" fmla="*/ 1310752 w 2722973"/>
              <a:gd name="connsiteY475" fmla="*/ 1403123 h 1768474"/>
              <a:gd name="connsiteX476" fmla="*/ 1308757 w 2722973"/>
              <a:gd name="connsiteY476" fmla="*/ 1395137 h 1768474"/>
              <a:gd name="connsiteX477" fmla="*/ 1304768 w 2722973"/>
              <a:gd name="connsiteY477" fmla="*/ 1391144 h 1768474"/>
              <a:gd name="connsiteX478" fmla="*/ 1302773 w 2722973"/>
              <a:gd name="connsiteY478" fmla="*/ 1379165 h 1768474"/>
              <a:gd name="connsiteX479" fmla="*/ 1304768 w 2722973"/>
              <a:gd name="connsiteY479" fmla="*/ 1369183 h 1768474"/>
              <a:gd name="connsiteX480" fmla="*/ 1306762 w 2722973"/>
              <a:gd name="connsiteY480" fmla="*/ 1365190 h 1768474"/>
              <a:gd name="connsiteX481" fmla="*/ 1302773 w 2722973"/>
              <a:gd name="connsiteY481" fmla="*/ 1359201 h 1768474"/>
              <a:gd name="connsiteX482" fmla="*/ 1296789 w 2722973"/>
              <a:gd name="connsiteY482" fmla="*/ 1355208 h 1768474"/>
              <a:gd name="connsiteX483" fmla="*/ 1296789 w 2722973"/>
              <a:gd name="connsiteY483" fmla="*/ 1345225 h 1768474"/>
              <a:gd name="connsiteX484" fmla="*/ 1294794 w 2722973"/>
              <a:gd name="connsiteY484" fmla="*/ 1335243 h 1768474"/>
              <a:gd name="connsiteX485" fmla="*/ 1298784 w 2722973"/>
              <a:gd name="connsiteY485" fmla="*/ 1329254 h 1768474"/>
              <a:gd name="connsiteX486" fmla="*/ 1302773 w 2722973"/>
              <a:gd name="connsiteY486" fmla="*/ 1319271 h 1768474"/>
              <a:gd name="connsiteX487" fmla="*/ 1298784 w 2722973"/>
              <a:gd name="connsiteY487" fmla="*/ 1315278 h 1768474"/>
              <a:gd name="connsiteX488" fmla="*/ 1290805 w 2722973"/>
              <a:gd name="connsiteY488" fmla="*/ 1309289 h 1768474"/>
              <a:gd name="connsiteX489" fmla="*/ 1284821 w 2722973"/>
              <a:gd name="connsiteY489" fmla="*/ 1307293 h 1768474"/>
              <a:gd name="connsiteX490" fmla="*/ 1278837 w 2722973"/>
              <a:gd name="connsiteY490" fmla="*/ 1307293 h 1768474"/>
              <a:gd name="connsiteX491" fmla="*/ 1272853 w 2722973"/>
              <a:gd name="connsiteY491" fmla="*/ 1303300 h 1768474"/>
              <a:gd name="connsiteX492" fmla="*/ 1274848 w 2722973"/>
              <a:gd name="connsiteY492" fmla="*/ 1301303 h 1768474"/>
              <a:gd name="connsiteX493" fmla="*/ 1272853 w 2722973"/>
              <a:gd name="connsiteY493" fmla="*/ 1297310 h 1768474"/>
              <a:gd name="connsiteX494" fmla="*/ 1268864 w 2722973"/>
              <a:gd name="connsiteY494" fmla="*/ 1293317 h 1768474"/>
              <a:gd name="connsiteX495" fmla="*/ 1268864 w 2722973"/>
              <a:gd name="connsiteY495" fmla="*/ 1281339 h 1768474"/>
              <a:gd name="connsiteX496" fmla="*/ 1268864 w 2722973"/>
              <a:gd name="connsiteY496" fmla="*/ 1271356 h 1768474"/>
              <a:gd name="connsiteX497" fmla="*/ 1266869 w 2722973"/>
              <a:gd name="connsiteY497" fmla="*/ 1261374 h 1768474"/>
              <a:gd name="connsiteX498" fmla="*/ 1262880 w 2722973"/>
              <a:gd name="connsiteY498" fmla="*/ 1255385 h 1768474"/>
              <a:gd name="connsiteX499" fmla="*/ 1262880 w 2722973"/>
              <a:gd name="connsiteY499" fmla="*/ 1247399 h 1768474"/>
              <a:gd name="connsiteX500" fmla="*/ 1262880 w 2722973"/>
              <a:gd name="connsiteY500" fmla="*/ 1239413 h 1768474"/>
              <a:gd name="connsiteX501" fmla="*/ 1268864 w 2722973"/>
              <a:gd name="connsiteY501" fmla="*/ 1239413 h 1768474"/>
              <a:gd name="connsiteX502" fmla="*/ 1268864 w 2722973"/>
              <a:gd name="connsiteY502" fmla="*/ 1227434 h 1768474"/>
              <a:gd name="connsiteX503" fmla="*/ 1270858 w 2722973"/>
              <a:gd name="connsiteY503" fmla="*/ 1221445 h 1768474"/>
              <a:gd name="connsiteX504" fmla="*/ 1272853 w 2722973"/>
              <a:gd name="connsiteY504" fmla="*/ 1213459 h 1768474"/>
              <a:gd name="connsiteX505" fmla="*/ 1272853 w 2722973"/>
              <a:gd name="connsiteY505" fmla="*/ 1201480 h 1768474"/>
              <a:gd name="connsiteX506" fmla="*/ 1274848 w 2722973"/>
              <a:gd name="connsiteY506" fmla="*/ 1185509 h 1768474"/>
              <a:gd name="connsiteX507" fmla="*/ 1274848 w 2722973"/>
              <a:gd name="connsiteY507" fmla="*/ 1175527 h 1768474"/>
              <a:gd name="connsiteX508" fmla="*/ 1272853 w 2722973"/>
              <a:gd name="connsiteY508" fmla="*/ 1165544 h 1768474"/>
              <a:gd name="connsiteX509" fmla="*/ 1272853 w 2722973"/>
              <a:gd name="connsiteY509" fmla="*/ 1157558 h 1768474"/>
              <a:gd name="connsiteX510" fmla="*/ 1280832 w 2722973"/>
              <a:gd name="connsiteY510" fmla="*/ 1143583 h 1768474"/>
              <a:gd name="connsiteX511" fmla="*/ 1282826 w 2722973"/>
              <a:gd name="connsiteY511" fmla="*/ 1139590 h 1768474"/>
              <a:gd name="connsiteX512" fmla="*/ 1282826 w 2722973"/>
              <a:gd name="connsiteY512" fmla="*/ 1127612 h 1768474"/>
              <a:gd name="connsiteX513" fmla="*/ 1286816 w 2722973"/>
              <a:gd name="connsiteY513" fmla="*/ 1125615 h 1768474"/>
              <a:gd name="connsiteX514" fmla="*/ 1288810 w 2722973"/>
              <a:gd name="connsiteY514" fmla="*/ 1121622 h 1768474"/>
              <a:gd name="connsiteX515" fmla="*/ 1290805 w 2722973"/>
              <a:gd name="connsiteY515" fmla="*/ 1113636 h 1768474"/>
              <a:gd name="connsiteX516" fmla="*/ 1296789 w 2722973"/>
              <a:gd name="connsiteY516" fmla="*/ 1095668 h 1768474"/>
              <a:gd name="connsiteX517" fmla="*/ 1294794 w 2722973"/>
              <a:gd name="connsiteY517" fmla="*/ 1087682 h 1768474"/>
              <a:gd name="connsiteX518" fmla="*/ 1294794 w 2722973"/>
              <a:gd name="connsiteY518" fmla="*/ 1081693 h 1768474"/>
              <a:gd name="connsiteX519" fmla="*/ 1298784 w 2722973"/>
              <a:gd name="connsiteY519" fmla="*/ 1079697 h 1768474"/>
              <a:gd name="connsiteX520" fmla="*/ 1302773 w 2722973"/>
              <a:gd name="connsiteY520" fmla="*/ 1069714 h 1768474"/>
              <a:gd name="connsiteX521" fmla="*/ 1306762 w 2722973"/>
              <a:gd name="connsiteY521" fmla="*/ 1063725 h 1768474"/>
              <a:gd name="connsiteX522" fmla="*/ 1308757 w 2722973"/>
              <a:gd name="connsiteY522" fmla="*/ 1051746 h 1768474"/>
              <a:gd name="connsiteX523" fmla="*/ 1310752 w 2722973"/>
              <a:gd name="connsiteY523" fmla="*/ 1041764 h 1768474"/>
              <a:gd name="connsiteX524" fmla="*/ 1312746 w 2722973"/>
              <a:gd name="connsiteY524" fmla="*/ 1037771 h 1768474"/>
              <a:gd name="connsiteX525" fmla="*/ 1318730 w 2722973"/>
              <a:gd name="connsiteY525" fmla="*/ 1039767 h 1768474"/>
              <a:gd name="connsiteX526" fmla="*/ 1316736 w 2722973"/>
              <a:gd name="connsiteY526" fmla="*/ 1035775 h 1768474"/>
              <a:gd name="connsiteX527" fmla="*/ 1310752 w 2722973"/>
              <a:gd name="connsiteY527" fmla="*/ 1031782 h 1768474"/>
              <a:gd name="connsiteX528" fmla="*/ 1310752 w 2722973"/>
              <a:gd name="connsiteY528" fmla="*/ 1025792 h 1768474"/>
              <a:gd name="connsiteX529" fmla="*/ 1314741 w 2722973"/>
              <a:gd name="connsiteY529" fmla="*/ 1023796 h 1768474"/>
              <a:gd name="connsiteX530" fmla="*/ 1316736 w 2722973"/>
              <a:gd name="connsiteY530" fmla="*/ 1019803 h 1768474"/>
              <a:gd name="connsiteX531" fmla="*/ 1314741 w 2722973"/>
              <a:gd name="connsiteY531" fmla="*/ 1015810 h 1768474"/>
              <a:gd name="connsiteX532" fmla="*/ 1314741 w 2722973"/>
              <a:gd name="connsiteY532" fmla="*/ 1009821 h 1768474"/>
              <a:gd name="connsiteX533" fmla="*/ 1316736 w 2722973"/>
              <a:gd name="connsiteY533" fmla="*/ 1007824 h 1768474"/>
              <a:gd name="connsiteX534" fmla="*/ 1314741 w 2722973"/>
              <a:gd name="connsiteY534" fmla="*/ 1005828 h 1768474"/>
              <a:gd name="connsiteX535" fmla="*/ 1312746 w 2722973"/>
              <a:gd name="connsiteY535" fmla="*/ 1003831 h 1768474"/>
              <a:gd name="connsiteX536" fmla="*/ 1308757 w 2722973"/>
              <a:gd name="connsiteY536" fmla="*/ 989856 h 1768474"/>
              <a:gd name="connsiteX537" fmla="*/ 1312746 w 2722973"/>
              <a:gd name="connsiteY537" fmla="*/ 983867 h 1768474"/>
              <a:gd name="connsiteX538" fmla="*/ 1310752 w 2722973"/>
              <a:gd name="connsiteY538" fmla="*/ 979874 h 1768474"/>
              <a:gd name="connsiteX539" fmla="*/ 1308757 w 2722973"/>
              <a:gd name="connsiteY539" fmla="*/ 977877 h 1768474"/>
              <a:gd name="connsiteX540" fmla="*/ 1308757 w 2722973"/>
              <a:gd name="connsiteY540" fmla="*/ 963902 h 1768474"/>
              <a:gd name="connsiteX541" fmla="*/ 1306762 w 2722973"/>
              <a:gd name="connsiteY541" fmla="*/ 957913 h 1768474"/>
              <a:gd name="connsiteX542" fmla="*/ 1312746 w 2722973"/>
              <a:gd name="connsiteY542" fmla="*/ 955916 h 1768474"/>
              <a:gd name="connsiteX543" fmla="*/ 1316736 w 2722973"/>
              <a:gd name="connsiteY543" fmla="*/ 955916 h 1768474"/>
              <a:gd name="connsiteX544" fmla="*/ 1318730 w 2722973"/>
              <a:gd name="connsiteY544" fmla="*/ 955916 h 1768474"/>
              <a:gd name="connsiteX545" fmla="*/ 1328704 w 2722973"/>
              <a:gd name="connsiteY545" fmla="*/ 959909 h 1768474"/>
              <a:gd name="connsiteX546" fmla="*/ 1328704 w 2722973"/>
              <a:gd name="connsiteY546" fmla="*/ 963902 h 1768474"/>
              <a:gd name="connsiteX547" fmla="*/ 1338677 w 2722973"/>
              <a:gd name="connsiteY547" fmla="*/ 963902 h 1768474"/>
              <a:gd name="connsiteX548" fmla="*/ 1344661 w 2722973"/>
              <a:gd name="connsiteY548" fmla="*/ 963902 h 1768474"/>
              <a:gd name="connsiteX549" fmla="*/ 1352640 w 2722973"/>
              <a:gd name="connsiteY549" fmla="*/ 963902 h 1768474"/>
              <a:gd name="connsiteX550" fmla="*/ 1358624 w 2722973"/>
              <a:gd name="connsiteY550" fmla="*/ 965899 h 1768474"/>
              <a:gd name="connsiteX551" fmla="*/ 1356629 w 2722973"/>
              <a:gd name="connsiteY551" fmla="*/ 971888 h 1768474"/>
              <a:gd name="connsiteX552" fmla="*/ 1356629 w 2722973"/>
              <a:gd name="connsiteY552" fmla="*/ 977877 h 1768474"/>
              <a:gd name="connsiteX553" fmla="*/ 1360618 w 2722973"/>
              <a:gd name="connsiteY553" fmla="*/ 977877 h 1768474"/>
              <a:gd name="connsiteX554" fmla="*/ 1358624 w 2722973"/>
              <a:gd name="connsiteY554" fmla="*/ 985863 h 1768474"/>
              <a:gd name="connsiteX555" fmla="*/ 1352640 w 2722973"/>
              <a:gd name="connsiteY555" fmla="*/ 991852 h 1768474"/>
              <a:gd name="connsiteX556" fmla="*/ 1346656 w 2722973"/>
              <a:gd name="connsiteY556" fmla="*/ 997842 h 1768474"/>
              <a:gd name="connsiteX557" fmla="*/ 1354634 w 2722973"/>
              <a:gd name="connsiteY557" fmla="*/ 995845 h 1768474"/>
              <a:gd name="connsiteX558" fmla="*/ 1360618 w 2722973"/>
              <a:gd name="connsiteY558" fmla="*/ 989856 h 1768474"/>
              <a:gd name="connsiteX559" fmla="*/ 1362613 w 2722973"/>
              <a:gd name="connsiteY559" fmla="*/ 981870 h 1768474"/>
              <a:gd name="connsiteX560" fmla="*/ 1362613 w 2722973"/>
              <a:gd name="connsiteY560" fmla="*/ 975881 h 1768474"/>
              <a:gd name="connsiteX561" fmla="*/ 1364608 w 2722973"/>
              <a:gd name="connsiteY561" fmla="*/ 965899 h 1768474"/>
              <a:gd name="connsiteX562" fmla="*/ 1366602 w 2722973"/>
              <a:gd name="connsiteY562" fmla="*/ 959909 h 1768474"/>
              <a:gd name="connsiteX563" fmla="*/ 1362613 w 2722973"/>
              <a:gd name="connsiteY563" fmla="*/ 955916 h 1768474"/>
              <a:gd name="connsiteX564" fmla="*/ 1364608 w 2722973"/>
              <a:gd name="connsiteY564" fmla="*/ 947930 h 1768474"/>
              <a:gd name="connsiteX565" fmla="*/ 1366602 w 2722973"/>
              <a:gd name="connsiteY565" fmla="*/ 945934 h 1768474"/>
              <a:gd name="connsiteX566" fmla="*/ 1364608 w 2722973"/>
              <a:gd name="connsiteY566" fmla="*/ 941941 h 1768474"/>
              <a:gd name="connsiteX567" fmla="*/ 1358624 w 2722973"/>
              <a:gd name="connsiteY567" fmla="*/ 939945 h 1768474"/>
              <a:gd name="connsiteX568" fmla="*/ 1356629 w 2722973"/>
              <a:gd name="connsiteY568" fmla="*/ 931959 h 1768474"/>
              <a:gd name="connsiteX569" fmla="*/ 1358624 w 2722973"/>
              <a:gd name="connsiteY569" fmla="*/ 925969 h 1768474"/>
              <a:gd name="connsiteX570" fmla="*/ 1362613 w 2722973"/>
              <a:gd name="connsiteY570" fmla="*/ 921976 h 1768474"/>
              <a:gd name="connsiteX571" fmla="*/ 1362613 w 2722973"/>
              <a:gd name="connsiteY571" fmla="*/ 919980 h 1768474"/>
              <a:gd name="connsiteX572" fmla="*/ 1374581 w 2722973"/>
              <a:gd name="connsiteY572" fmla="*/ 917984 h 1768474"/>
              <a:gd name="connsiteX573" fmla="*/ 940 w 2722973"/>
              <a:gd name="connsiteY573" fmla="*/ 844549 h 1768474"/>
              <a:gd name="connsiteX574" fmla="*/ 5173 w 2722973"/>
              <a:gd name="connsiteY574" fmla="*/ 846666 h 1768474"/>
              <a:gd name="connsiteX575" fmla="*/ 940 w 2722973"/>
              <a:gd name="connsiteY575" fmla="*/ 848782 h 1768474"/>
              <a:gd name="connsiteX576" fmla="*/ 940 w 2722973"/>
              <a:gd name="connsiteY576" fmla="*/ 844549 h 1768474"/>
              <a:gd name="connsiteX577" fmla="*/ 10466 w 2722973"/>
              <a:gd name="connsiteY577" fmla="*/ 839787 h 1768474"/>
              <a:gd name="connsiteX578" fmla="*/ 8613 w 2722973"/>
              <a:gd name="connsiteY578" fmla="*/ 844020 h 1768474"/>
              <a:gd name="connsiteX579" fmla="*/ 10466 w 2722973"/>
              <a:gd name="connsiteY579" fmla="*/ 839787 h 1768474"/>
              <a:gd name="connsiteX580" fmla="*/ 14699 w 2722973"/>
              <a:gd name="connsiteY580" fmla="*/ 837008 h 1768474"/>
              <a:gd name="connsiteX581" fmla="*/ 13111 w 2722973"/>
              <a:gd name="connsiteY581" fmla="*/ 838992 h 1768474"/>
              <a:gd name="connsiteX582" fmla="*/ 14699 w 2722973"/>
              <a:gd name="connsiteY582" fmla="*/ 837008 h 1768474"/>
              <a:gd name="connsiteX583" fmla="*/ 28306 w 2722973"/>
              <a:gd name="connsiteY583" fmla="*/ 830262 h 1768474"/>
              <a:gd name="connsiteX584" fmla="*/ 32388 w 2722973"/>
              <a:gd name="connsiteY584" fmla="*/ 830262 h 1768474"/>
              <a:gd name="connsiteX585" fmla="*/ 36470 w 2722973"/>
              <a:gd name="connsiteY585" fmla="*/ 832246 h 1768474"/>
              <a:gd name="connsiteX586" fmla="*/ 34429 w 2722973"/>
              <a:gd name="connsiteY586" fmla="*/ 836215 h 1768474"/>
              <a:gd name="connsiteX587" fmla="*/ 26265 w 2722973"/>
              <a:gd name="connsiteY587" fmla="*/ 834230 h 1768474"/>
              <a:gd name="connsiteX588" fmla="*/ 28306 w 2722973"/>
              <a:gd name="connsiteY588" fmla="*/ 830262 h 1768474"/>
              <a:gd name="connsiteX589" fmla="*/ 68560 w 2722973"/>
              <a:gd name="connsiteY589" fmla="*/ 814740 h 1768474"/>
              <a:gd name="connsiteX590" fmla="*/ 70488 w 2722973"/>
              <a:gd name="connsiteY590" fmla="*/ 814740 h 1768474"/>
              <a:gd name="connsiteX591" fmla="*/ 68560 w 2722973"/>
              <a:gd name="connsiteY591" fmla="*/ 818621 h 1768474"/>
              <a:gd name="connsiteX592" fmla="*/ 66632 w 2722973"/>
              <a:gd name="connsiteY592" fmla="*/ 820561 h 1768474"/>
              <a:gd name="connsiteX593" fmla="*/ 70488 w 2722973"/>
              <a:gd name="connsiteY593" fmla="*/ 822501 h 1768474"/>
              <a:gd name="connsiteX594" fmla="*/ 76271 w 2722973"/>
              <a:gd name="connsiteY594" fmla="*/ 822501 h 1768474"/>
              <a:gd name="connsiteX595" fmla="*/ 76271 w 2722973"/>
              <a:gd name="connsiteY595" fmla="*/ 824441 h 1768474"/>
              <a:gd name="connsiteX596" fmla="*/ 74343 w 2722973"/>
              <a:gd name="connsiteY596" fmla="*/ 824441 h 1768474"/>
              <a:gd name="connsiteX597" fmla="*/ 70488 w 2722973"/>
              <a:gd name="connsiteY597" fmla="*/ 826381 h 1768474"/>
              <a:gd name="connsiteX598" fmla="*/ 64704 w 2722973"/>
              <a:gd name="connsiteY598" fmla="*/ 828322 h 1768474"/>
              <a:gd name="connsiteX599" fmla="*/ 60849 w 2722973"/>
              <a:gd name="connsiteY599" fmla="*/ 828322 h 1768474"/>
              <a:gd name="connsiteX600" fmla="*/ 56994 w 2722973"/>
              <a:gd name="connsiteY600" fmla="*/ 828322 h 1768474"/>
              <a:gd name="connsiteX601" fmla="*/ 53138 w 2722973"/>
              <a:gd name="connsiteY601" fmla="*/ 828322 h 1768474"/>
              <a:gd name="connsiteX602" fmla="*/ 53138 w 2722973"/>
              <a:gd name="connsiteY602" fmla="*/ 822501 h 1768474"/>
              <a:gd name="connsiteX603" fmla="*/ 56994 w 2722973"/>
              <a:gd name="connsiteY603" fmla="*/ 824441 h 1768474"/>
              <a:gd name="connsiteX604" fmla="*/ 58921 w 2722973"/>
              <a:gd name="connsiteY604" fmla="*/ 818621 h 1768474"/>
              <a:gd name="connsiteX605" fmla="*/ 62777 w 2722973"/>
              <a:gd name="connsiteY605" fmla="*/ 816680 h 1768474"/>
              <a:gd name="connsiteX606" fmla="*/ 66632 w 2722973"/>
              <a:gd name="connsiteY606" fmla="*/ 816680 h 1768474"/>
              <a:gd name="connsiteX607" fmla="*/ 68560 w 2722973"/>
              <a:gd name="connsiteY607" fmla="*/ 814740 h 1768474"/>
              <a:gd name="connsiteX608" fmla="*/ 79786 w 2722973"/>
              <a:gd name="connsiteY608" fmla="*/ 804862 h 1768474"/>
              <a:gd name="connsiteX609" fmla="*/ 83755 w 2722973"/>
              <a:gd name="connsiteY609" fmla="*/ 808566 h 1768474"/>
              <a:gd name="connsiteX610" fmla="*/ 81770 w 2722973"/>
              <a:gd name="connsiteY610" fmla="*/ 812270 h 1768474"/>
              <a:gd name="connsiteX611" fmla="*/ 79786 w 2722973"/>
              <a:gd name="connsiteY611" fmla="*/ 812270 h 1768474"/>
              <a:gd name="connsiteX612" fmla="*/ 73833 w 2722973"/>
              <a:gd name="connsiteY612" fmla="*/ 812270 h 1768474"/>
              <a:gd name="connsiteX613" fmla="*/ 77802 w 2722973"/>
              <a:gd name="connsiteY613" fmla="*/ 806714 h 1768474"/>
              <a:gd name="connsiteX614" fmla="*/ 79786 w 2722973"/>
              <a:gd name="connsiteY614" fmla="*/ 804862 h 1768474"/>
              <a:gd name="connsiteX615" fmla="*/ 142564 w 2722973"/>
              <a:gd name="connsiteY615" fmla="*/ 803275 h 1768474"/>
              <a:gd name="connsiteX616" fmla="*/ 146316 w 2722973"/>
              <a:gd name="connsiteY616" fmla="*/ 805259 h 1768474"/>
              <a:gd name="connsiteX617" fmla="*/ 150069 w 2722973"/>
              <a:gd name="connsiteY617" fmla="*/ 805259 h 1768474"/>
              <a:gd name="connsiteX618" fmla="*/ 153821 w 2722973"/>
              <a:gd name="connsiteY618" fmla="*/ 805259 h 1768474"/>
              <a:gd name="connsiteX619" fmla="*/ 155697 w 2722973"/>
              <a:gd name="connsiteY619" fmla="*/ 807243 h 1768474"/>
              <a:gd name="connsiteX620" fmla="*/ 151945 w 2722973"/>
              <a:gd name="connsiteY620" fmla="*/ 809228 h 1768474"/>
              <a:gd name="connsiteX621" fmla="*/ 148193 w 2722973"/>
              <a:gd name="connsiteY621" fmla="*/ 809228 h 1768474"/>
              <a:gd name="connsiteX622" fmla="*/ 142564 w 2722973"/>
              <a:gd name="connsiteY622" fmla="*/ 809228 h 1768474"/>
              <a:gd name="connsiteX623" fmla="*/ 138812 w 2722973"/>
              <a:gd name="connsiteY623" fmla="*/ 807243 h 1768474"/>
              <a:gd name="connsiteX624" fmla="*/ 142564 w 2722973"/>
              <a:gd name="connsiteY624" fmla="*/ 803275 h 1768474"/>
              <a:gd name="connsiteX625" fmla="*/ 127745 w 2722973"/>
              <a:gd name="connsiteY625" fmla="*/ 797242 h 1768474"/>
              <a:gd name="connsiteX626" fmla="*/ 133761 w 2722973"/>
              <a:gd name="connsiteY626" fmla="*/ 802957 h 1768474"/>
              <a:gd name="connsiteX627" fmla="*/ 127745 w 2722973"/>
              <a:gd name="connsiteY627" fmla="*/ 804862 h 1768474"/>
              <a:gd name="connsiteX628" fmla="*/ 123734 w 2722973"/>
              <a:gd name="connsiteY628" fmla="*/ 808672 h 1768474"/>
              <a:gd name="connsiteX629" fmla="*/ 117718 w 2722973"/>
              <a:gd name="connsiteY629" fmla="*/ 808672 h 1768474"/>
              <a:gd name="connsiteX630" fmla="*/ 111703 w 2722973"/>
              <a:gd name="connsiteY630" fmla="*/ 810577 h 1768474"/>
              <a:gd name="connsiteX631" fmla="*/ 107692 w 2722973"/>
              <a:gd name="connsiteY631" fmla="*/ 810577 h 1768474"/>
              <a:gd name="connsiteX632" fmla="*/ 103682 w 2722973"/>
              <a:gd name="connsiteY632" fmla="*/ 812482 h 1768474"/>
              <a:gd name="connsiteX633" fmla="*/ 101676 w 2722973"/>
              <a:gd name="connsiteY633" fmla="*/ 812482 h 1768474"/>
              <a:gd name="connsiteX634" fmla="*/ 99671 w 2722973"/>
              <a:gd name="connsiteY634" fmla="*/ 812482 h 1768474"/>
              <a:gd name="connsiteX635" fmla="*/ 97666 w 2722973"/>
              <a:gd name="connsiteY635" fmla="*/ 810577 h 1768474"/>
              <a:gd name="connsiteX636" fmla="*/ 105687 w 2722973"/>
              <a:gd name="connsiteY636" fmla="*/ 808672 h 1768474"/>
              <a:gd name="connsiteX637" fmla="*/ 107692 w 2722973"/>
              <a:gd name="connsiteY637" fmla="*/ 806767 h 1768474"/>
              <a:gd name="connsiteX638" fmla="*/ 113708 w 2722973"/>
              <a:gd name="connsiteY638" fmla="*/ 806767 h 1768474"/>
              <a:gd name="connsiteX639" fmla="*/ 117718 w 2722973"/>
              <a:gd name="connsiteY639" fmla="*/ 804862 h 1768474"/>
              <a:gd name="connsiteX640" fmla="*/ 123734 w 2722973"/>
              <a:gd name="connsiteY640" fmla="*/ 801052 h 1768474"/>
              <a:gd name="connsiteX641" fmla="*/ 127745 w 2722973"/>
              <a:gd name="connsiteY641" fmla="*/ 797242 h 1768474"/>
              <a:gd name="connsiteX642" fmla="*/ 171861 w 2722973"/>
              <a:gd name="connsiteY642" fmla="*/ 796925 h 1768474"/>
              <a:gd name="connsiteX643" fmla="*/ 178211 w 2722973"/>
              <a:gd name="connsiteY643" fmla="*/ 800893 h 1768474"/>
              <a:gd name="connsiteX644" fmla="*/ 167627 w 2722973"/>
              <a:gd name="connsiteY644" fmla="*/ 800893 h 1768474"/>
              <a:gd name="connsiteX645" fmla="*/ 171861 w 2722973"/>
              <a:gd name="connsiteY645" fmla="*/ 796925 h 1768474"/>
              <a:gd name="connsiteX646" fmla="*/ 202552 w 2722973"/>
              <a:gd name="connsiteY646" fmla="*/ 794146 h 1768474"/>
              <a:gd name="connsiteX647" fmla="*/ 204669 w 2722973"/>
              <a:gd name="connsiteY647" fmla="*/ 796130 h 1768474"/>
              <a:gd name="connsiteX648" fmla="*/ 202552 w 2722973"/>
              <a:gd name="connsiteY648" fmla="*/ 798115 h 1768474"/>
              <a:gd name="connsiteX649" fmla="*/ 202552 w 2722973"/>
              <a:gd name="connsiteY649" fmla="*/ 794146 h 1768474"/>
              <a:gd name="connsiteX650" fmla="*/ 231393 w 2722973"/>
              <a:gd name="connsiteY650" fmla="*/ 785713 h 1768474"/>
              <a:gd name="connsiteX651" fmla="*/ 233377 w 2722973"/>
              <a:gd name="connsiteY651" fmla="*/ 788193 h 1768474"/>
              <a:gd name="connsiteX652" fmla="*/ 229408 w 2722973"/>
              <a:gd name="connsiteY652" fmla="*/ 790178 h 1768474"/>
              <a:gd name="connsiteX653" fmla="*/ 229408 w 2722973"/>
              <a:gd name="connsiteY653" fmla="*/ 786209 h 1768474"/>
              <a:gd name="connsiteX654" fmla="*/ 231393 w 2722973"/>
              <a:gd name="connsiteY654" fmla="*/ 785713 h 1768474"/>
              <a:gd name="connsiteX655" fmla="*/ 219883 w 2722973"/>
              <a:gd name="connsiteY655" fmla="*/ 784373 h 1768474"/>
              <a:gd name="connsiteX656" fmla="*/ 220439 w 2722973"/>
              <a:gd name="connsiteY656" fmla="*/ 786605 h 1768474"/>
              <a:gd name="connsiteX657" fmla="*/ 213771 w 2722973"/>
              <a:gd name="connsiteY657" fmla="*/ 788590 h 1768474"/>
              <a:gd name="connsiteX658" fmla="*/ 215994 w 2722973"/>
              <a:gd name="connsiteY658" fmla="*/ 786605 h 1768474"/>
              <a:gd name="connsiteX659" fmla="*/ 219883 w 2722973"/>
              <a:gd name="connsiteY659" fmla="*/ 784373 h 1768474"/>
              <a:gd name="connsiteX660" fmla="*/ 239806 w 2722973"/>
              <a:gd name="connsiteY660" fmla="*/ 781050 h 1768474"/>
              <a:gd name="connsiteX661" fmla="*/ 237583 w 2722973"/>
              <a:gd name="connsiteY661" fmla="*/ 785283 h 1768474"/>
              <a:gd name="connsiteX662" fmla="*/ 239806 w 2722973"/>
              <a:gd name="connsiteY662" fmla="*/ 781050 h 1768474"/>
              <a:gd name="connsiteX663" fmla="*/ 299655 w 2722973"/>
              <a:gd name="connsiteY663" fmla="*/ 750887 h 1768474"/>
              <a:gd name="connsiteX664" fmla="*/ 303624 w 2722973"/>
              <a:gd name="connsiteY664" fmla="*/ 752898 h 1768474"/>
              <a:gd name="connsiteX665" fmla="*/ 297671 w 2722973"/>
              <a:gd name="connsiteY665" fmla="*/ 756919 h 1768474"/>
              <a:gd name="connsiteX666" fmla="*/ 293702 w 2722973"/>
              <a:gd name="connsiteY666" fmla="*/ 758930 h 1768474"/>
              <a:gd name="connsiteX667" fmla="*/ 289733 w 2722973"/>
              <a:gd name="connsiteY667" fmla="*/ 762952 h 1768474"/>
              <a:gd name="connsiteX668" fmla="*/ 285764 w 2722973"/>
              <a:gd name="connsiteY668" fmla="*/ 764962 h 1768474"/>
              <a:gd name="connsiteX669" fmla="*/ 279811 w 2722973"/>
              <a:gd name="connsiteY669" fmla="*/ 770995 h 1768474"/>
              <a:gd name="connsiteX670" fmla="*/ 273858 w 2722973"/>
              <a:gd name="connsiteY670" fmla="*/ 777027 h 1768474"/>
              <a:gd name="connsiteX671" fmla="*/ 265920 w 2722973"/>
              <a:gd name="connsiteY671" fmla="*/ 779038 h 1768474"/>
              <a:gd name="connsiteX672" fmla="*/ 269889 w 2722973"/>
              <a:gd name="connsiteY672" fmla="*/ 773006 h 1768474"/>
              <a:gd name="connsiteX673" fmla="*/ 271873 w 2722973"/>
              <a:gd name="connsiteY673" fmla="*/ 764962 h 1768474"/>
              <a:gd name="connsiteX674" fmla="*/ 279811 w 2722973"/>
              <a:gd name="connsiteY674" fmla="*/ 760941 h 1768474"/>
              <a:gd name="connsiteX675" fmla="*/ 283780 w 2722973"/>
              <a:gd name="connsiteY675" fmla="*/ 760941 h 1768474"/>
              <a:gd name="connsiteX676" fmla="*/ 287749 w 2722973"/>
              <a:gd name="connsiteY676" fmla="*/ 756919 h 1768474"/>
              <a:gd name="connsiteX677" fmla="*/ 293702 w 2722973"/>
              <a:gd name="connsiteY677" fmla="*/ 752898 h 1768474"/>
              <a:gd name="connsiteX678" fmla="*/ 299655 w 2722973"/>
              <a:gd name="connsiteY678" fmla="*/ 750887 h 1768474"/>
              <a:gd name="connsiteX679" fmla="*/ 337999 w 2722973"/>
              <a:gd name="connsiteY679" fmla="*/ 735365 h 1768474"/>
              <a:gd name="connsiteX680" fmla="*/ 340014 w 2722973"/>
              <a:gd name="connsiteY680" fmla="*/ 735365 h 1768474"/>
              <a:gd name="connsiteX681" fmla="*/ 344044 w 2722973"/>
              <a:gd name="connsiteY681" fmla="*/ 737305 h 1768474"/>
              <a:gd name="connsiteX682" fmla="*/ 344044 w 2722973"/>
              <a:gd name="connsiteY682" fmla="*/ 743126 h 1768474"/>
              <a:gd name="connsiteX683" fmla="*/ 340014 w 2722973"/>
              <a:gd name="connsiteY683" fmla="*/ 747007 h 1768474"/>
              <a:gd name="connsiteX684" fmla="*/ 335984 w 2722973"/>
              <a:gd name="connsiteY684" fmla="*/ 750887 h 1768474"/>
              <a:gd name="connsiteX685" fmla="*/ 327925 w 2722973"/>
              <a:gd name="connsiteY685" fmla="*/ 754768 h 1768474"/>
              <a:gd name="connsiteX686" fmla="*/ 323895 w 2722973"/>
              <a:gd name="connsiteY686" fmla="*/ 756708 h 1768474"/>
              <a:gd name="connsiteX687" fmla="*/ 315835 w 2722973"/>
              <a:gd name="connsiteY687" fmla="*/ 760589 h 1768474"/>
              <a:gd name="connsiteX688" fmla="*/ 309790 w 2722973"/>
              <a:gd name="connsiteY688" fmla="*/ 762529 h 1768474"/>
              <a:gd name="connsiteX689" fmla="*/ 305760 w 2722973"/>
              <a:gd name="connsiteY689" fmla="*/ 762529 h 1768474"/>
              <a:gd name="connsiteX690" fmla="*/ 299716 w 2722973"/>
              <a:gd name="connsiteY690" fmla="*/ 764469 h 1768474"/>
              <a:gd name="connsiteX691" fmla="*/ 295686 w 2722973"/>
              <a:gd name="connsiteY691" fmla="*/ 764469 h 1768474"/>
              <a:gd name="connsiteX692" fmla="*/ 301731 w 2722973"/>
              <a:gd name="connsiteY692" fmla="*/ 758648 h 1768474"/>
              <a:gd name="connsiteX693" fmla="*/ 309790 w 2722973"/>
              <a:gd name="connsiteY693" fmla="*/ 756708 h 1768474"/>
              <a:gd name="connsiteX694" fmla="*/ 319865 w 2722973"/>
              <a:gd name="connsiteY694" fmla="*/ 754768 h 1768474"/>
              <a:gd name="connsiteX695" fmla="*/ 323895 w 2722973"/>
              <a:gd name="connsiteY695" fmla="*/ 747007 h 1768474"/>
              <a:gd name="connsiteX696" fmla="*/ 329940 w 2722973"/>
              <a:gd name="connsiteY696" fmla="*/ 745067 h 1768474"/>
              <a:gd name="connsiteX697" fmla="*/ 321880 w 2722973"/>
              <a:gd name="connsiteY697" fmla="*/ 743126 h 1768474"/>
              <a:gd name="connsiteX698" fmla="*/ 327925 w 2722973"/>
              <a:gd name="connsiteY698" fmla="*/ 737305 h 1768474"/>
              <a:gd name="connsiteX699" fmla="*/ 331954 w 2722973"/>
              <a:gd name="connsiteY699" fmla="*/ 737305 h 1768474"/>
              <a:gd name="connsiteX700" fmla="*/ 337999 w 2722973"/>
              <a:gd name="connsiteY700" fmla="*/ 735365 h 1768474"/>
              <a:gd name="connsiteX701" fmla="*/ 362134 w 2722973"/>
              <a:gd name="connsiteY701" fmla="*/ 722842 h 1768474"/>
              <a:gd name="connsiteX702" fmla="*/ 364175 w 2722973"/>
              <a:gd name="connsiteY702" fmla="*/ 731308 h 1768474"/>
              <a:gd name="connsiteX703" fmla="*/ 356011 w 2722973"/>
              <a:gd name="connsiteY703" fmla="*/ 729192 h 1768474"/>
              <a:gd name="connsiteX704" fmla="*/ 362134 w 2722973"/>
              <a:gd name="connsiteY704" fmla="*/ 722842 h 1768474"/>
              <a:gd name="connsiteX705" fmla="*/ 371569 w 2722973"/>
              <a:gd name="connsiteY705" fmla="*/ 720725 h 1768474"/>
              <a:gd name="connsiteX706" fmla="*/ 378237 w 2722973"/>
              <a:gd name="connsiteY706" fmla="*/ 724958 h 1768474"/>
              <a:gd name="connsiteX707" fmla="*/ 369346 w 2722973"/>
              <a:gd name="connsiteY707" fmla="*/ 724958 h 1768474"/>
              <a:gd name="connsiteX708" fmla="*/ 371569 w 2722973"/>
              <a:gd name="connsiteY708" fmla="*/ 720725 h 1768474"/>
              <a:gd name="connsiteX709" fmla="*/ 1221119 w 2722973"/>
              <a:gd name="connsiteY709" fmla="*/ 709810 h 1768474"/>
              <a:gd name="connsiteX710" fmla="*/ 1223738 w 2722973"/>
              <a:gd name="connsiteY710" fmla="*/ 710405 h 1768474"/>
              <a:gd name="connsiteX711" fmla="*/ 1223738 w 2722973"/>
              <a:gd name="connsiteY711" fmla="*/ 712786 h 1768474"/>
              <a:gd name="connsiteX712" fmla="*/ 1219928 w 2722973"/>
              <a:gd name="connsiteY712" fmla="*/ 712786 h 1768474"/>
              <a:gd name="connsiteX713" fmla="*/ 1221119 w 2722973"/>
              <a:gd name="connsiteY713" fmla="*/ 709810 h 1768474"/>
              <a:gd name="connsiteX714" fmla="*/ 1172780 w 2722973"/>
              <a:gd name="connsiteY714" fmla="*/ 704849 h 1768474"/>
              <a:gd name="connsiteX715" fmla="*/ 1176749 w 2722973"/>
              <a:gd name="connsiteY715" fmla="*/ 706966 h 1768474"/>
              <a:gd name="connsiteX716" fmla="*/ 1170795 w 2722973"/>
              <a:gd name="connsiteY716" fmla="*/ 706966 h 1768474"/>
              <a:gd name="connsiteX717" fmla="*/ 1172780 w 2722973"/>
              <a:gd name="connsiteY717" fmla="*/ 704849 h 1768474"/>
              <a:gd name="connsiteX718" fmla="*/ 1171192 w 2722973"/>
              <a:gd name="connsiteY718" fmla="*/ 696912 h 1768474"/>
              <a:gd name="connsiteX719" fmla="*/ 1175161 w 2722973"/>
              <a:gd name="connsiteY719" fmla="*/ 701145 h 1768474"/>
              <a:gd name="connsiteX720" fmla="*/ 1169207 w 2722973"/>
              <a:gd name="connsiteY720" fmla="*/ 699029 h 1768474"/>
              <a:gd name="connsiteX721" fmla="*/ 1171192 w 2722973"/>
              <a:gd name="connsiteY721" fmla="*/ 696912 h 1768474"/>
              <a:gd name="connsiteX722" fmla="*/ 459834 w 2722973"/>
              <a:gd name="connsiteY722" fmla="*/ 695325 h 1768474"/>
              <a:gd name="connsiteX723" fmla="*/ 463644 w 2722973"/>
              <a:gd name="connsiteY723" fmla="*/ 704585 h 1768474"/>
              <a:gd name="connsiteX724" fmla="*/ 457929 w 2722973"/>
              <a:gd name="connsiteY724" fmla="*/ 699029 h 1768474"/>
              <a:gd name="connsiteX725" fmla="*/ 459834 w 2722973"/>
              <a:gd name="connsiteY725" fmla="*/ 695325 h 1768474"/>
              <a:gd name="connsiteX726" fmla="*/ 1211356 w 2722973"/>
              <a:gd name="connsiteY726" fmla="*/ 692679 h 1768474"/>
              <a:gd name="connsiteX727" fmla="*/ 1215801 w 2722973"/>
              <a:gd name="connsiteY727" fmla="*/ 696912 h 1768474"/>
              <a:gd name="connsiteX728" fmla="*/ 1209134 w 2722973"/>
              <a:gd name="connsiteY728" fmla="*/ 699029 h 1768474"/>
              <a:gd name="connsiteX729" fmla="*/ 1211356 w 2722973"/>
              <a:gd name="connsiteY729" fmla="*/ 692679 h 1768474"/>
              <a:gd name="connsiteX730" fmla="*/ 513174 w 2722973"/>
              <a:gd name="connsiteY730" fmla="*/ 691016 h 1768474"/>
              <a:gd name="connsiteX731" fmla="*/ 519524 w 2722973"/>
              <a:gd name="connsiteY731" fmla="*/ 691016 h 1768474"/>
              <a:gd name="connsiteX732" fmla="*/ 517408 w 2722973"/>
              <a:gd name="connsiteY732" fmla="*/ 695098 h 1768474"/>
              <a:gd name="connsiteX733" fmla="*/ 511057 w 2722973"/>
              <a:gd name="connsiteY733" fmla="*/ 701221 h 1768474"/>
              <a:gd name="connsiteX734" fmla="*/ 506824 w 2722973"/>
              <a:gd name="connsiteY734" fmla="*/ 699180 h 1768474"/>
              <a:gd name="connsiteX735" fmla="*/ 513174 w 2722973"/>
              <a:gd name="connsiteY735" fmla="*/ 691016 h 1768474"/>
              <a:gd name="connsiteX736" fmla="*/ 430191 w 2722973"/>
              <a:gd name="connsiteY736" fmla="*/ 690562 h 1768474"/>
              <a:gd name="connsiteX737" fmla="*/ 430191 w 2722973"/>
              <a:gd name="connsiteY737" fmla="*/ 696515 h 1768474"/>
              <a:gd name="connsiteX738" fmla="*/ 430191 w 2722973"/>
              <a:gd name="connsiteY738" fmla="*/ 704452 h 1768474"/>
              <a:gd name="connsiteX739" fmla="*/ 418068 w 2722973"/>
              <a:gd name="connsiteY739" fmla="*/ 706437 h 1768474"/>
              <a:gd name="connsiteX740" fmla="*/ 407966 w 2722973"/>
              <a:gd name="connsiteY740" fmla="*/ 708421 h 1768474"/>
              <a:gd name="connsiteX741" fmla="*/ 395843 w 2722973"/>
              <a:gd name="connsiteY741" fmla="*/ 718343 h 1768474"/>
              <a:gd name="connsiteX742" fmla="*/ 387761 w 2722973"/>
              <a:gd name="connsiteY742" fmla="*/ 714374 h 1768474"/>
              <a:gd name="connsiteX743" fmla="*/ 387761 w 2722973"/>
              <a:gd name="connsiteY743" fmla="*/ 712390 h 1768474"/>
              <a:gd name="connsiteX744" fmla="*/ 401904 w 2722973"/>
              <a:gd name="connsiteY744" fmla="*/ 704452 h 1768474"/>
              <a:gd name="connsiteX745" fmla="*/ 397863 w 2722973"/>
              <a:gd name="connsiteY745" fmla="*/ 702468 h 1768474"/>
              <a:gd name="connsiteX746" fmla="*/ 399884 w 2722973"/>
              <a:gd name="connsiteY746" fmla="*/ 698499 h 1768474"/>
              <a:gd name="connsiteX747" fmla="*/ 405945 w 2722973"/>
              <a:gd name="connsiteY747" fmla="*/ 698499 h 1768474"/>
              <a:gd name="connsiteX748" fmla="*/ 409986 w 2722973"/>
              <a:gd name="connsiteY748" fmla="*/ 696515 h 1768474"/>
              <a:gd name="connsiteX749" fmla="*/ 412006 w 2722973"/>
              <a:gd name="connsiteY749" fmla="*/ 696515 h 1768474"/>
              <a:gd name="connsiteX750" fmla="*/ 416047 w 2722973"/>
              <a:gd name="connsiteY750" fmla="*/ 694531 h 1768474"/>
              <a:gd name="connsiteX751" fmla="*/ 420088 w 2722973"/>
              <a:gd name="connsiteY751" fmla="*/ 696515 h 1768474"/>
              <a:gd name="connsiteX752" fmla="*/ 424129 w 2722973"/>
              <a:gd name="connsiteY752" fmla="*/ 694531 h 1768474"/>
              <a:gd name="connsiteX753" fmla="*/ 430191 w 2722973"/>
              <a:gd name="connsiteY753" fmla="*/ 690562 h 1768474"/>
              <a:gd name="connsiteX754" fmla="*/ 1157698 w 2722973"/>
              <a:gd name="connsiteY754" fmla="*/ 685799 h 1768474"/>
              <a:gd name="connsiteX755" fmla="*/ 1161403 w 2722973"/>
              <a:gd name="connsiteY755" fmla="*/ 686329 h 1768474"/>
              <a:gd name="connsiteX756" fmla="*/ 1171986 w 2722973"/>
              <a:gd name="connsiteY756" fmla="*/ 690562 h 1768474"/>
              <a:gd name="connsiteX757" fmla="*/ 1167753 w 2722973"/>
              <a:gd name="connsiteY757" fmla="*/ 696912 h 1768474"/>
              <a:gd name="connsiteX758" fmla="*/ 1161403 w 2722973"/>
              <a:gd name="connsiteY758" fmla="*/ 692679 h 1768474"/>
              <a:gd name="connsiteX759" fmla="*/ 1157169 w 2722973"/>
              <a:gd name="connsiteY759" fmla="*/ 688445 h 1768474"/>
              <a:gd name="connsiteX760" fmla="*/ 1157698 w 2722973"/>
              <a:gd name="connsiteY760" fmla="*/ 685799 h 1768474"/>
              <a:gd name="connsiteX761" fmla="*/ 1159603 w 2722973"/>
              <a:gd name="connsiteY761" fmla="*/ 667146 h 1768474"/>
              <a:gd name="connsiteX762" fmla="*/ 1167223 w 2722973"/>
              <a:gd name="connsiteY762" fmla="*/ 669130 h 1768474"/>
              <a:gd name="connsiteX763" fmla="*/ 1163413 w 2722973"/>
              <a:gd name="connsiteY763" fmla="*/ 673099 h 1768474"/>
              <a:gd name="connsiteX764" fmla="*/ 1159603 w 2722973"/>
              <a:gd name="connsiteY764" fmla="*/ 671115 h 1768474"/>
              <a:gd name="connsiteX765" fmla="*/ 1159603 w 2722973"/>
              <a:gd name="connsiteY765" fmla="*/ 667146 h 1768474"/>
              <a:gd name="connsiteX766" fmla="*/ 1223421 w 2722973"/>
              <a:gd name="connsiteY766" fmla="*/ 665162 h 1768474"/>
              <a:gd name="connsiteX767" fmla="*/ 1227549 w 2722973"/>
              <a:gd name="connsiteY767" fmla="*/ 671115 h 1768474"/>
              <a:gd name="connsiteX768" fmla="*/ 1227549 w 2722973"/>
              <a:gd name="connsiteY768" fmla="*/ 677068 h 1768474"/>
              <a:gd name="connsiteX769" fmla="*/ 1225485 w 2722973"/>
              <a:gd name="connsiteY769" fmla="*/ 683021 h 1768474"/>
              <a:gd name="connsiteX770" fmla="*/ 1221358 w 2722973"/>
              <a:gd name="connsiteY770" fmla="*/ 688974 h 1768474"/>
              <a:gd name="connsiteX771" fmla="*/ 1215166 w 2722973"/>
              <a:gd name="connsiteY771" fmla="*/ 683021 h 1768474"/>
              <a:gd name="connsiteX772" fmla="*/ 1213102 w 2722973"/>
              <a:gd name="connsiteY772" fmla="*/ 683021 h 1768474"/>
              <a:gd name="connsiteX773" fmla="*/ 1208975 w 2722973"/>
              <a:gd name="connsiteY773" fmla="*/ 683021 h 1768474"/>
              <a:gd name="connsiteX774" fmla="*/ 1208975 w 2722973"/>
              <a:gd name="connsiteY774" fmla="*/ 675084 h 1768474"/>
              <a:gd name="connsiteX775" fmla="*/ 1215166 w 2722973"/>
              <a:gd name="connsiteY775" fmla="*/ 671115 h 1768474"/>
              <a:gd name="connsiteX776" fmla="*/ 1215166 w 2722973"/>
              <a:gd name="connsiteY776" fmla="*/ 667146 h 1768474"/>
              <a:gd name="connsiteX777" fmla="*/ 1223421 w 2722973"/>
              <a:gd name="connsiteY777" fmla="*/ 665162 h 1768474"/>
              <a:gd name="connsiteX778" fmla="*/ 633030 w 2722973"/>
              <a:gd name="connsiteY778" fmla="*/ 665162 h 1768474"/>
              <a:gd name="connsiteX779" fmla="*/ 636999 w 2722973"/>
              <a:gd name="connsiteY779" fmla="*/ 665162 h 1768474"/>
              <a:gd name="connsiteX780" fmla="*/ 635015 w 2722973"/>
              <a:gd name="connsiteY780" fmla="*/ 669395 h 1768474"/>
              <a:gd name="connsiteX781" fmla="*/ 631046 w 2722973"/>
              <a:gd name="connsiteY781" fmla="*/ 669395 h 1768474"/>
              <a:gd name="connsiteX782" fmla="*/ 633030 w 2722973"/>
              <a:gd name="connsiteY782" fmla="*/ 665162 h 1768474"/>
              <a:gd name="connsiteX783" fmla="*/ 1178283 w 2722973"/>
              <a:gd name="connsiteY783" fmla="*/ 660288 h 1768474"/>
              <a:gd name="connsiteX784" fmla="*/ 1179288 w 2722973"/>
              <a:gd name="connsiteY784" fmla="*/ 660780 h 1768474"/>
              <a:gd name="connsiteX785" fmla="*/ 1187332 w 2722973"/>
              <a:gd name="connsiteY785" fmla="*/ 664717 h 1768474"/>
              <a:gd name="connsiteX786" fmla="*/ 1193364 w 2722973"/>
              <a:gd name="connsiteY786" fmla="*/ 672591 h 1768474"/>
              <a:gd name="connsiteX787" fmla="*/ 1187332 w 2722973"/>
              <a:gd name="connsiteY787" fmla="*/ 676528 h 1768474"/>
              <a:gd name="connsiteX788" fmla="*/ 1189342 w 2722973"/>
              <a:gd name="connsiteY788" fmla="*/ 680465 h 1768474"/>
              <a:gd name="connsiteX789" fmla="*/ 1193364 w 2722973"/>
              <a:gd name="connsiteY789" fmla="*/ 680465 h 1768474"/>
              <a:gd name="connsiteX790" fmla="*/ 1195375 w 2722973"/>
              <a:gd name="connsiteY790" fmla="*/ 682434 h 1768474"/>
              <a:gd name="connsiteX791" fmla="*/ 1195375 w 2722973"/>
              <a:gd name="connsiteY791" fmla="*/ 694245 h 1768474"/>
              <a:gd name="connsiteX792" fmla="*/ 1193364 w 2722973"/>
              <a:gd name="connsiteY792" fmla="*/ 702118 h 1768474"/>
              <a:gd name="connsiteX793" fmla="*/ 1189342 w 2722973"/>
              <a:gd name="connsiteY793" fmla="*/ 706055 h 1768474"/>
              <a:gd name="connsiteX794" fmla="*/ 1187332 w 2722973"/>
              <a:gd name="connsiteY794" fmla="*/ 700150 h 1768474"/>
              <a:gd name="connsiteX795" fmla="*/ 1183310 w 2722973"/>
              <a:gd name="connsiteY795" fmla="*/ 696213 h 1768474"/>
              <a:gd name="connsiteX796" fmla="*/ 1183310 w 2722973"/>
              <a:gd name="connsiteY796" fmla="*/ 692276 h 1768474"/>
              <a:gd name="connsiteX797" fmla="*/ 1181299 w 2722973"/>
              <a:gd name="connsiteY797" fmla="*/ 690308 h 1768474"/>
              <a:gd name="connsiteX798" fmla="*/ 1175266 w 2722973"/>
              <a:gd name="connsiteY798" fmla="*/ 692276 h 1768474"/>
              <a:gd name="connsiteX799" fmla="*/ 1175266 w 2722973"/>
              <a:gd name="connsiteY799" fmla="*/ 684402 h 1768474"/>
              <a:gd name="connsiteX800" fmla="*/ 1175266 w 2722973"/>
              <a:gd name="connsiteY800" fmla="*/ 678497 h 1768474"/>
              <a:gd name="connsiteX801" fmla="*/ 1169234 w 2722973"/>
              <a:gd name="connsiteY801" fmla="*/ 676528 h 1768474"/>
              <a:gd name="connsiteX802" fmla="*/ 1171245 w 2722973"/>
              <a:gd name="connsiteY802" fmla="*/ 672591 h 1768474"/>
              <a:gd name="connsiteX803" fmla="*/ 1171245 w 2722973"/>
              <a:gd name="connsiteY803" fmla="*/ 670623 h 1768474"/>
              <a:gd name="connsiteX804" fmla="*/ 1175266 w 2722973"/>
              <a:gd name="connsiteY804" fmla="*/ 668654 h 1768474"/>
              <a:gd name="connsiteX805" fmla="*/ 1177277 w 2722973"/>
              <a:gd name="connsiteY805" fmla="*/ 662749 h 1768474"/>
              <a:gd name="connsiteX806" fmla="*/ 1178283 w 2722973"/>
              <a:gd name="connsiteY806" fmla="*/ 660288 h 1768474"/>
              <a:gd name="connsiteX807" fmla="*/ 1190771 w 2722973"/>
              <a:gd name="connsiteY807" fmla="*/ 649551 h 1768474"/>
              <a:gd name="connsiteX808" fmla="*/ 1191036 w 2722973"/>
              <a:gd name="connsiteY808" fmla="*/ 652991 h 1768474"/>
              <a:gd name="connsiteX809" fmla="*/ 1186803 w 2722973"/>
              <a:gd name="connsiteY809" fmla="*/ 655107 h 1768474"/>
              <a:gd name="connsiteX810" fmla="*/ 1188919 w 2722973"/>
              <a:gd name="connsiteY810" fmla="*/ 650874 h 1768474"/>
              <a:gd name="connsiteX811" fmla="*/ 1190771 w 2722973"/>
              <a:gd name="connsiteY811" fmla="*/ 649551 h 1768474"/>
              <a:gd name="connsiteX812" fmla="*/ 1169421 w 2722973"/>
              <a:gd name="connsiteY812" fmla="*/ 649287 h 1768474"/>
              <a:gd name="connsiteX813" fmla="*/ 1177236 w 2722973"/>
              <a:gd name="connsiteY813" fmla="*/ 651328 h 1768474"/>
              <a:gd name="connsiteX814" fmla="*/ 1181144 w 2722973"/>
              <a:gd name="connsiteY814" fmla="*/ 655410 h 1768474"/>
              <a:gd name="connsiteX815" fmla="*/ 1171375 w 2722973"/>
              <a:gd name="connsiteY815" fmla="*/ 659492 h 1768474"/>
              <a:gd name="connsiteX816" fmla="*/ 1167467 w 2722973"/>
              <a:gd name="connsiteY816" fmla="*/ 661533 h 1768474"/>
              <a:gd name="connsiteX817" fmla="*/ 1159652 w 2722973"/>
              <a:gd name="connsiteY817" fmla="*/ 661533 h 1768474"/>
              <a:gd name="connsiteX818" fmla="*/ 1163559 w 2722973"/>
              <a:gd name="connsiteY818" fmla="*/ 657451 h 1768474"/>
              <a:gd name="connsiteX819" fmla="*/ 1167467 w 2722973"/>
              <a:gd name="connsiteY819" fmla="*/ 653369 h 1768474"/>
              <a:gd name="connsiteX820" fmla="*/ 1169421 w 2722973"/>
              <a:gd name="connsiteY820" fmla="*/ 649287 h 1768474"/>
              <a:gd name="connsiteX821" fmla="*/ 1195799 w 2722973"/>
              <a:gd name="connsiteY821" fmla="*/ 646817 h 1768474"/>
              <a:gd name="connsiteX822" fmla="*/ 1198974 w 2722973"/>
              <a:gd name="connsiteY822" fmla="*/ 654578 h 1768474"/>
              <a:gd name="connsiteX823" fmla="*/ 1194211 w 2722973"/>
              <a:gd name="connsiteY823" fmla="*/ 660399 h 1768474"/>
              <a:gd name="connsiteX824" fmla="*/ 1194211 w 2722973"/>
              <a:gd name="connsiteY824" fmla="*/ 654578 h 1768474"/>
              <a:gd name="connsiteX825" fmla="*/ 1195799 w 2722973"/>
              <a:gd name="connsiteY825" fmla="*/ 646817 h 1768474"/>
              <a:gd name="connsiteX826" fmla="*/ 652874 w 2722973"/>
              <a:gd name="connsiteY826" fmla="*/ 643334 h 1768474"/>
              <a:gd name="connsiteX827" fmla="*/ 657107 w 2722973"/>
              <a:gd name="connsiteY827" fmla="*/ 643334 h 1768474"/>
              <a:gd name="connsiteX828" fmla="*/ 657107 w 2722973"/>
              <a:gd name="connsiteY828" fmla="*/ 647303 h 1768474"/>
              <a:gd name="connsiteX829" fmla="*/ 654991 w 2722973"/>
              <a:gd name="connsiteY829" fmla="*/ 649287 h 1768474"/>
              <a:gd name="connsiteX830" fmla="*/ 652874 w 2722973"/>
              <a:gd name="connsiteY830" fmla="*/ 643334 h 1768474"/>
              <a:gd name="connsiteX831" fmla="*/ 674464 w 2722973"/>
              <a:gd name="connsiteY831" fmla="*/ 638175 h 1768474"/>
              <a:gd name="connsiteX832" fmla="*/ 678274 w 2722973"/>
              <a:gd name="connsiteY832" fmla="*/ 642620 h 1768474"/>
              <a:gd name="connsiteX833" fmla="*/ 672559 w 2722973"/>
              <a:gd name="connsiteY833" fmla="*/ 642620 h 1768474"/>
              <a:gd name="connsiteX834" fmla="*/ 666844 w 2722973"/>
              <a:gd name="connsiteY834" fmla="*/ 644842 h 1768474"/>
              <a:gd name="connsiteX835" fmla="*/ 663034 w 2722973"/>
              <a:gd name="connsiteY835" fmla="*/ 647064 h 1768474"/>
              <a:gd name="connsiteX836" fmla="*/ 659224 w 2722973"/>
              <a:gd name="connsiteY836" fmla="*/ 647064 h 1768474"/>
              <a:gd name="connsiteX837" fmla="*/ 661129 w 2722973"/>
              <a:gd name="connsiteY837" fmla="*/ 642620 h 1768474"/>
              <a:gd name="connsiteX838" fmla="*/ 664939 w 2722973"/>
              <a:gd name="connsiteY838" fmla="*/ 640397 h 1768474"/>
              <a:gd name="connsiteX839" fmla="*/ 674464 w 2722973"/>
              <a:gd name="connsiteY839" fmla="*/ 638175 h 1768474"/>
              <a:gd name="connsiteX840" fmla="*/ 296214 w 2722973"/>
              <a:gd name="connsiteY840" fmla="*/ 630766 h 1768474"/>
              <a:gd name="connsiteX841" fmla="*/ 300447 w 2722973"/>
              <a:gd name="connsiteY841" fmla="*/ 632882 h 1768474"/>
              <a:gd name="connsiteX842" fmla="*/ 294097 w 2722973"/>
              <a:gd name="connsiteY842" fmla="*/ 632882 h 1768474"/>
              <a:gd name="connsiteX843" fmla="*/ 296214 w 2722973"/>
              <a:gd name="connsiteY843" fmla="*/ 630766 h 1768474"/>
              <a:gd name="connsiteX844" fmla="*/ 1161050 w 2722973"/>
              <a:gd name="connsiteY844" fmla="*/ 625474 h 1768474"/>
              <a:gd name="connsiteX845" fmla="*/ 1164930 w 2722973"/>
              <a:gd name="connsiteY845" fmla="*/ 625474 h 1768474"/>
              <a:gd name="connsiteX846" fmla="*/ 1166871 w 2722973"/>
              <a:gd name="connsiteY846" fmla="*/ 631295 h 1768474"/>
              <a:gd name="connsiteX847" fmla="*/ 1164930 w 2722973"/>
              <a:gd name="connsiteY847" fmla="*/ 635175 h 1768474"/>
              <a:gd name="connsiteX848" fmla="*/ 1161050 w 2722973"/>
              <a:gd name="connsiteY848" fmla="*/ 640996 h 1768474"/>
              <a:gd name="connsiteX849" fmla="*/ 1162990 w 2722973"/>
              <a:gd name="connsiteY849" fmla="*/ 646817 h 1768474"/>
              <a:gd name="connsiteX850" fmla="*/ 1157169 w 2722973"/>
              <a:gd name="connsiteY850" fmla="*/ 654578 h 1768474"/>
              <a:gd name="connsiteX851" fmla="*/ 1151348 w 2722973"/>
              <a:gd name="connsiteY851" fmla="*/ 654578 h 1768474"/>
              <a:gd name="connsiteX852" fmla="*/ 1157169 w 2722973"/>
              <a:gd name="connsiteY852" fmla="*/ 642936 h 1768474"/>
              <a:gd name="connsiteX853" fmla="*/ 1155229 w 2722973"/>
              <a:gd name="connsiteY853" fmla="*/ 635175 h 1768474"/>
              <a:gd name="connsiteX854" fmla="*/ 1157169 w 2722973"/>
              <a:gd name="connsiteY854" fmla="*/ 629354 h 1768474"/>
              <a:gd name="connsiteX855" fmla="*/ 1161050 w 2722973"/>
              <a:gd name="connsiteY855" fmla="*/ 625474 h 1768474"/>
              <a:gd name="connsiteX856" fmla="*/ 1173176 w 2722973"/>
              <a:gd name="connsiteY856" fmla="*/ 620712 h 1768474"/>
              <a:gd name="connsiteX857" fmla="*/ 1175160 w 2722973"/>
              <a:gd name="connsiteY857" fmla="*/ 622696 h 1768474"/>
              <a:gd name="connsiteX858" fmla="*/ 1177145 w 2722973"/>
              <a:gd name="connsiteY858" fmla="*/ 624681 h 1768474"/>
              <a:gd name="connsiteX859" fmla="*/ 1187067 w 2722973"/>
              <a:gd name="connsiteY859" fmla="*/ 626665 h 1768474"/>
              <a:gd name="connsiteX860" fmla="*/ 1193020 w 2722973"/>
              <a:gd name="connsiteY860" fmla="*/ 628649 h 1768474"/>
              <a:gd name="connsiteX861" fmla="*/ 1198973 w 2722973"/>
              <a:gd name="connsiteY861" fmla="*/ 634602 h 1768474"/>
              <a:gd name="connsiteX862" fmla="*/ 1191035 w 2722973"/>
              <a:gd name="connsiteY862" fmla="*/ 638571 h 1768474"/>
              <a:gd name="connsiteX863" fmla="*/ 1189051 w 2722973"/>
              <a:gd name="connsiteY863" fmla="*/ 634602 h 1768474"/>
              <a:gd name="connsiteX864" fmla="*/ 1185082 w 2722973"/>
              <a:gd name="connsiteY864" fmla="*/ 630634 h 1768474"/>
              <a:gd name="connsiteX865" fmla="*/ 1179129 w 2722973"/>
              <a:gd name="connsiteY865" fmla="*/ 630634 h 1768474"/>
              <a:gd name="connsiteX866" fmla="*/ 1181114 w 2722973"/>
              <a:gd name="connsiteY866" fmla="*/ 634602 h 1768474"/>
              <a:gd name="connsiteX867" fmla="*/ 1183098 w 2722973"/>
              <a:gd name="connsiteY867" fmla="*/ 638571 h 1768474"/>
              <a:gd name="connsiteX868" fmla="*/ 1179129 w 2722973"/>
              <a:gd name="connsiteY868" fmla="*/ 642540 h 1768474"/>
              <a:gd name="connsiteX869" fmla="*/ 1175160 w 2722973"/>
              <a:gd name="connsiteY869" fmla="*/ 642540 h 1768474"/>
              <a:gd name="connsiteX870" fmla="*/ 1171192 w 2722973"/>
              <a:gd name="connsiteY870" fmla="*/ 640555 h 1768474"/>
              <a:gd name="connsiteX871" fmla="*/ 1177145 w 2722973"/>
              <a:gd name="connsiteY871" fmla="*/ 634602 h 1768474"/>
              <a:gd name="connsiteX872" fmla="*/ 1175160 w 2722973"/>
              <a:gd name="connsiteY872" fmla="*/ 626665 h 1768474"/>
              <a:gd name="connsiteX873" fmla="*/ 1167223 w 2722973"/>
              <a:gd name="connsiteY873" fmla="*/ 624681 h 1768474"/>
              <a:gd name="connsiteX874" fmla="*/ 1173176 w 2722973"/>
              <a:gd name="connsiteY874" fmla="*/ 620712 h 1768474"/>
              <a:gd name="connsiteX875" fmla="*/ 1130632 w 2722973"/>
              <a:gd name="connsiteY875" fmla="*/ 613171 h 1768474"/>
              <a:gd name="connsiteX876" fmla="*/ 1132299 w 2722973"/>
              <a:gd name="connsiteY876" fmla="*/ 617140 h 1768474"/>
              <a:gd name="connsiteX877" fmla="*/ 1127854 w 2722973"/>
              <a:gd name="connsiteY877" fmla="*/ 621109 h 1768474"/>
              <a:gd name="connsiteX878" fmla="*/ 1125631 w 2722973"/>
              <a:gd name="connsiteY878" fmla="*/ 627062 h 1768474"/>
              <a:gd name="connsiteX879" fmla="*/ 1121186 w 2722973"/>
              <a:gd name="connsiteY879" fmla="*/ 621109 h 1768474"/>
              <a:gd name="connsiteX880" fmla="*/ 1125631 w 2722973"/>
              <a:gd name="connsiteY880" fmla="*/ 615156 h 1768474"/>
              <a:gd name="connsiteX881" fmla="*/ 1130632 w 2722973"/>
              <a:gd name="connsiteY881" fmla="*/ 613171 h 1768474"/>
              <a:gd name="connsiteX882" fmla="*/ 290129 w 2722973"/>
              <a:gd name="connsiteY882" fmla="*/ 604836 h 1768474"/>
              <a:gd name="connsiteX883" fmla="*/ 293833 w 2722973"/>
              <a:gd name="connsiteY883" fmla="*/ 604836 h 1768474"/>
              <a:gd name="connsiteX884" fmla="*/ 293833 w 2722973"/>
              <a:gd name="connsiteY884" fmla="*/ 606820 h 1768474"/>
              <a:gd name="connsiteX885" fmla="*/ 290129 w 2722973"/>
              <a:gd name="connsiteY885" fmla="*/ 608804 h 1768474"/>
              <a:gd name="connsiteX886" fmla="*/ 284572 w 2722973"/>
              <a:gd name="connsiteY886" fmla="*/ 608804 h 1768474"/>
              <a:gd name="connsiteX887" fmla="*/ 290129 w 2722973"/>
              <a:gd name="connsiteY887" fmla="*/ 604836 h 1768474"/>
              <a:gd name="connsiteX888" fmla="*/ 1137927 w 2722973"/>
              <a:gd name="connsiteY888" fmla="*/ 603696 h 1768474"/>
              <a:gd name="connsiteX889" fmla="*/ 1139803 w 2722973"/>
              <a:gd name="connsiteY889" fmla="*/ 606424 h 1768474"/>
              <a:gd name="connsiteX890" fmla="*/ 1143555 w 2722973"/>
              <a:gd name="connsiteY890" fmla="*/ 608409 h 1768474"/>
              <a:gd name="connsiteX891" fmla="*/ 1149184 w 2722973"/>
              <a:gd name="connsiteY891" fmla="*/ 608409 h 1768474"/>
              <a:gd name="connsiteX892" fmla="*/ 1151060 w 2722973"/>
              <a:gd name="connsiteY892" fmla="*/ 614362 h 1768474"/>
              <a:gd name="connsiteX893" fmla="*/ 1149184 w 2722973"/>
              <a:gd name="connsiteY893" fmla="*/ 622299 h 1768474"/>
              <a:gd name="connsiteX894" fmla="*/ 1151060 w 2722973"/>
              <a:gd name="connsiteY894" fmla="*/ 632221 h 1768474"/>
              <a:gd name="connsiteX895" fmla="*/ 1143555 w 2722973"/>
              <a:gd name="connsiteY895" fmla="*/ 638174 h 1768474"/>
              <a:gd name="connsiteX896" fmla="*/ 1137926 w 2722973"/>
              <a:gd name="connsiteY896" fmla="*/ 634205 h 1768474"/>
              <a:gd name="connsiteX897" fmla="*/ 1134174 w 2722973"/>
              <a:gd name="connsiteY897" fmla="*/ 628252 h 1768474"/>
              <a:gd name="connsiteX898" fmla="*/ 1137926 w 2722973"/>
              <a:gd name="connsiteY898" fmla="*/ 622299 h 1768474"/>
              <a:gd name="connsiteX899" fmla="*/ 1137926 w 2722973"/>
              <a:gd name="connsiteY899" fmla="*/ 618330 h 1768474"/>
              <a:gd name="connsiteX900" fmla="*/ 1136050 w 2722973"/>
              <a:gd name="connsiteY900" fmla="*/ 608409 h 1768474"/>
              <a:gd name="connsiteX901" fmla="*/ 1137927 w 2722973"/>
              <a:gd name="connsiteY901" fmla="*/ 603696 h 1768474"/>
              <a:gd name="connsiteX902" fmla="*/ 1175557 w 2722973"/>
              <a:gd name="connsiteY902" fmla="*/ 589415 h 1768474"/>
              <a:gd name="connsiteX903" fmla="*/ 1181511 w 2722973"/>
              <a:gd name="connsiteY903" fmla="*/ 594858 h 1768474"/>
              <a:gd name="connsiteX904" fmla="*/ 1175557 w 2722973"/>
              <a:gd name="connsiteY904" fmla="*/ 594858 h 1768474"/>
              <a:gd name="connsiteX905" fmla="*/ 1175557 w 2722973"/>
              <a:gd name="connsiteY905" fmla="*/ 589415 h 1768474"/>
              <a:gd name="connsiteX906" fmla="*/ 1137061 w 2722973"/>
              <a:gd name="connsiteY906" fmla="*/ 577849 h 1768474"/>
              <a:gd name="connsiteX907" fmla="*/ 1141030 w 2722973"/>
              <a:gd name="connsiteY907" fmla="*/ 579833 h 1768474"/>
              <a:gd name="connsiteX908" fmla="*/ 1143014 w 2722973"/>
              <a:gd name="connsiteY908" fmla="*/ 581818 h 1768474"/>
              <a:gd name="connsiteX909" fmla="*/ 1148967 w 2722973"/>
              <a:gd name="connsiteY909" fmla="*/ 583802 h 1768474"/>
              <a:gd name="connsiteX910" fmla="*/ 1152936 w 2722973"/>
              <a:gd name="connsiteY910" fmla="*/ 589755 h 1768474"/>
              <a:gd name="connsiteX911" fmla="*/ 1150952 w 2722973"/>
              <a:gd name="connsiteY911" fmla="*/ 595708 h 1768474"/>
              <a:gd name="connsiteX912" fmla="*/ 1148967 w 2722973"/>
              <a:gd name="connsiteY912" fmla="*/ 603646 h 1768474"/>
              <a:gd name="connsiteX913" fmla="*/ 1144998 w 2722973"/>
              <a:gd name="connsiteY913" fmla="*/ 605630 h 1768474"/>
              <a:gd name="connsiteX914" fmla="*/ 1141030 w 2722973"/>
              <a:gd name="connsiteY914" fmla="*/ 603646 h 1768474"/>
              <a:gd name="connsiteX915" fmla="*/ 1139045 w 2722973"/>
              <a:gd name="connsiteY915" fmla="*/ 601661 h 1768474"/>
              <a:gd name="connsiteX916" fmla="*/ 1139045 w 2722973"/>
              <a:gd name="connsiteY916" fmla="*/ 599677 h 1768474"/>
              <a:gd name="connsiteX917" fmla="*/ 1137061 w 2722973"/>
              <a:gd name="connsiteY917" fmla="*/ 597693 h 1768474"/>
              <a:gd name="connsiteX918" fmla="*/ 1133092 w 2722973"/>
              <a:gd name="connsiteY918" fmla="*/ 597693 h 1768474"/>
              <a:gd name="connsiteX919" fmla="*/ 1131108 w 2722973"/>
              <a:gd name="connsiteY919" fmla="*/ 599677 h 1768474"/>
              <a:gd name="connsiteX920" fmla="*/ 1133092 w 2722973"/>
              <a:gd name="connsiteY920" fmla="*/ 605630 h 1768474"/>
              <a:gd name="connsiteX921" fmla="*/ 1129123 w 2722973"/>
              <a:gd name="connsiteY921" fmla="*/ 609599 h 1768474"/>
              <a:gd name="connsiteX922" fmla="*/ 1125154 w 2722973"/>
              <a:gd name="connsiteY922" fmla="*/ 609599 h 1768474"/>
              <a:gd name="connsiteX923" fmla="*/ 1123170 w 2722973"/>
              <a:gd name="connsiteY923" fmla="*/ 607614 h 1768474"/>
              <a:gd name="connsiteX924" fmla="*/ 1125154 w 2722973"/>
              <a:gd name="connsiteY924" fmla="*/ 603646 h 1768474"/>
              <a:gd name="connsiteX925" fmla="*/ 1125154 w 2722973"/>
              <a:gd name="connsiteY925" fmla="*/ 601661 h 1768474"/>
              <a:gd name="connsiteX926" fmla="*/ 1127139 w 2722973"/>
              <a:gd name="connsiteY926" fmla="*/ 599677 h 1768474"/>
              <a:gd name="connsiteX927" fmla="*/ 1123170 w 2722973"/>
              <a:gd name="connsiteY927" fmla="*/ 597693 h 1768474"/>
              <a:gd name="connsiteX928" fmla="*/ 1121186 w 2722973"/>
              <a:gd name="connsiteY928" fmla="*/ 595708 h 1768474"/>
              <a:gd name="connsiteX929" fmla="*/ 1119201 w 2722973"/>
              <a:gd name="connsiteY929" fmla="*/ 595708 h 1768474"/>
              <a:gd name="connsiteX930" fmla="*/ 1117217 w 2722973"/>
              <a:gd name="connsiteY930" fmla="*/ 593724 h 1768474"/>
              <a:gd name="connsiteX931" fmla="*/ 1113248 w 2722973"/>
              <a:gd name="connsiteY931" fmla="*/ 585786 h 1768474"/>
              <a:gd name="connsiteX932" fmla="*/ 1119201 w 2722973"/>
              <a:gd name="connsiteY932" fmla="*/ 585786 h 1768474"/>
              <a:gd name="connsiteX933" fmla="*/ 1123170 w 2722973"/>
              <a:gd name="connsiteY933" fmla="*/ 585786 h 1768474"/>
              <a:gd name="connsiteX934" fmla="*/ 1121186 w 2722973"/>
              <a:gd name="connsiteY934" fmla="*/ 583802 h 1768474"/>
              <a:gd name="connsiteX935" fmla="*/ 1121186 w 2722973"/>
              <a:gd name="connsiteY935" fmla="*/ 581818 h 1768474"/>
              <a:gd name="connsiteX936" fmla="*/ 1123170 w 2722973"/>
              <a:gd name="connsiteY936" fmla="*/ 581818 h 1768474"/>
              <a:gd name="connsiteX937" fmla="*/ 1125154 w 2722973"/>
              <a:gd name="connsiteY937" fmla="*/ 581818 h 1768474"/>
              <a:gd name="connsiteX938" fmla="*/ 1129123 w 2722973"/>
              <a:gd name="connsiteY938" fmla="*/ 579833 h 1768474"/>
              <a:gd name="connsiteX939" fmla="*/ 1131108 w 2722973"/>
              <a:gd name="connsiteY939" fmla="*/ 581818 h 1768474"/>
              <a:gd name="connsiteX940" fmla="*/ 1133092 w 2722973"/>
              <a:gd name="connsiteY940" fmla="*/ 579833 h 1768474"/>
              <a:gd name="connsiteX941" fmla="*/ 1135076 w 2722973"/>
              <a:gd name="connsiteY941" fmla="*/ 579833 h 1768474"/>
              <a:gd name="connsiteX942" fmla="*/ 1137061 w 2722973"/>
              <a:gd name="connsiteY942" fmla="*/ 577849 h 1768474"/>
              <a:gd name="connsiteX943" fmla="*/ 1159512 w 2722973"/>
              <a:gd name="connsiteY943" fmla="*/ 572690 h 1768474"/>
              <a:gd name="connsiteX944" fmla="*/ 1167677 w 2722973"/>
              <a:gd name="connsiteY944" fmla="*/ 578643 h 1768474"/>
              <a:gd name="connsiteX945" fmla="*/ 1171759 w 2722973"/>
              <a:gd name="connsiteY945" fmla="*/ 580627 h 1768474"/>
              <a:gd name="connsiteX946" fmla="*/ 1177882 w 2722973"/>
              <a:gd name="connsiteY946" fmla="*/ 586580 h 1768474"/>
              <a:gd name="connsiteX947" fmla="*/ 1171759 w 2722973"/>
              <a:gd name="connsiteY947" fmla="*/ 588565 h 1768474"/>
              <a:gd name="connsiteX948" fmla="*/ 1173800 w 2722973"/>
              <a:gd name="connsiteY948" fmla="*/ 596502 h 1768474"/>
              <a:gd name="connsiteX949" fmla="*/ 1175841 w 2722973"/>
              <a:gd name="connsiteY949" fmla="*/ 602455 h 1768474"/>
              <a:gd name="connsiteX950" fmla="*/ 1173800 w 2722973"/>
              <a:gd name="connsiteY950" fmla="*/ 608408 h 1768474"/>
              <a:gd name="connsiteX951" fmla="*/ 1171759 w 2722973"/>
              <a:gd name="connsiteY951" fmla="*/ 612377 h 1768474"/>
              <a:gd name="connsiteX952" fmla="*/ 1167677 w 2722973"/>
              <a:gd name="connsiteY952" fmla="*/ 608408 h 1768474"/>
              <a:gd name="connsiteX953" fmla="*/ 1165635 w 2722973"/>
              <a:gd name="connsiteY953" fmla="*/ 612377 h 1768474"/>
              <a:gd name="connsiteX954" fmla="*/ 1161553 w 2722973"/>
              <a:gd name="connsiteY954" fmla="*/ 616346 h 1768474"/>
              <a:gd name="connsiteX955" fmla="*/ 1159512 w 2722973"/>
              <a:gd name="connsiteY955" fmla="*/ 618330 h 1768474"/>
              <a:gd name="connsiteX956" fmla="*/ 1153389 w 2722973"/>
              <a:gd name="connsiteY956" fmla="*/ 620315 h 1768474"/>
              <a:gd name="connsiteX957" fmla="*/ 1153389 w 2722973"/>
              <a:gd name="connsiteY957" fmla="*/ 616346 h 1768474"/>
              <a:gd name="connsiteX958" fmla="*/ 1155430 w 2722973"/>
              <a:gd name="connsiteY958" fmla="*/ 612377 h 1768474"/>
              <a:gd name="connsiteX959" fmla="*/ 1155430 w 2722973"/>
              <a:gd name="connsiteY959" fmla="*/ 610393 h 1768474"/>
              <a:gd name="connsiteX960" fmla="*/ 1159512 w 2722973"/>
              <a:gd name="connsiteY960" fmla="*/ 608408 h 1768474"/>
              <a:gd name="connsiteX961" fmla="*/ 1161553 w 2722973"/>
              <a:gd name="connsiteY961" fmla="*/ 608408 h 1768474"/>
              <a:gd name="connsiteX962" fmla="*/ 1159512 w 2722973"/>
              <a:gd name="connsiteY962" fmla="*/ 604440 h 1768474"/>
              <a:gd name="connsiteX963" fmla="*/ 1157471 w 2722973"/>
              <a:gd name="connsiteY963" fmla="*/ 596502 h 1768474"/>
              <a:gd name="connsiteX964" fmla="*/ 1157471 w 2722973"/>
              <a:gd name="connsiteY964" fmla="*/ 588565 h 1768474"/>
              <a:gd name="connsiteX965" fmla="*/ 1155430 w 2722973"/>
              <a:gd name="connsiteY965" fmla="*/ 582612 h 1768474"/>
              <a:gd name="connsiteX966" fmla="*/ 1155430 w 2722973"/>
              <a:gd name="connsiteY966" fmla="*/ 578643 h 1768474"/>
              <a:gd name="connsiteX967" fmla="*/ 1159512 w 2722973"/>
              <a:gd name="connsiteY967" fmla="*/ 572690 h 1768474"/>
              <a:gd name="connsiteX968" fmla="*/ 744137 w 2722973"/>
              <a:gd name="connsiteY968" fmla="*/ 563562 h 1768474"/>
              <a:gd name="connsiteX969" fmla="*/ 744137 w 2722973"/>
              <a:gd name="connsiteY969" fmla="*/ 567509 h 1768474"/>
              <a:gd name="connsiteX970" fmla="*/ 742143 w 2722973"/>
              <a:gd name="connsiteY970" fmla="*/ 573430 h 1768474"/>
              <a:gd name="connsiteX971" fmla="*/ 746130 w 2722973"/>
              <a:gd name="connsiteY971" fmla="*/ 579351 h 1768474"/>
              <a:gd name="connsiteX972" fmla="*/ 742143 w 2722973"/>
              <a:gd name="connsiteY972" fmla="*/ 581325 h 1768474"/>
              <a:gd name="connsiteX973" fmla="*/ 738156 w 2722973"/>
              <a:gd name="connsiteY973" fmla="*/ 581325 h 1768474"/>
              <a:gd name="connsiteX974" fmla="*/ 736163 w 2722973"/>
              <a:gd name="connsiteY974" fmla="*/ 585272 h 1768474"/>
              <a:gd name="connsiteX975" fmla="*/ 732175 w 2722973"/>
              <a:gd name="connsiteY975" fmla="*/ 585272 h 1768474"/>
              <a:gd name="connsiteX976" fmla="*/ 730182 w 2722973"/>
              <a:gd name="connsiteY976" fmla="*/ 587246 h 1768474"/>
              <a:gd name="connsiteX977" fmla="*/ 728188 w 2722973"/>
              <a:gd name="connsiteY977" fmla="*/ 589219 h 1768474"/>
              <a:gd name="connsiteX978" fmla="*/ 720214 w 2722973"/>
              <a:gd name="connsiteY978" fmla="*/ 593167 h 1768474"/>
              <a:gd name="connsiteX979" fmla="*/ 724201 w 2722973"/>
              <a:gd name="connsiteY979" fmla="*/ 595140 h 1768474"/>
              <a:gd name="connsiteX980" fmla="*/ 732175 w 2722973"/>
              <a:gd name="connsiteY980" fmla="*/ 591193 h 1768474"/>
              <a:gd name="connsiteX981" fmla="*/ 734169 w 2722973"/>
              <a:gd name="connsiteY981" fmla="*/ 597114 h 1768474"/>
              <a:gd name="connsiteX982" fmla="*/ 730182 w 2722973"/>
              <a:gd name="connsiteY982" fmla="*/ 599088 h 1768474"/>
              <a:gd name="connsiteX983" fmla="*/ 736163 w 2722973"/>
              <a:gd name="connsiteY983" fmla="*/ 601061 h 1768474"/>
              <a:gd name="connsiteX984" fmla="*/ 732175 w 2722973"/>
              <a:gd name="connsiteY984" fmla="*/ 605008 h 1768474"/>
              <a:gd name="connsiteX985" fmla="*/ 730182 w 2722973"/>
              <a:gd name="connsiteY985" fmla="*/ 608956 h 1768474"/>
              <a:gd name="connsiteX986" fmla="*/ 720214 w 2722973"/>
              <a:gd name="connsiteY986" fmla="*/ 614877 h 1768474"/>
              <a:gd name="connsiteX987" fmla="*/ 714233 w 2722973"/>
              <a:gd name="connsiteY987" fmla="*/ 614877 h 1768474"/>
              <a:gd name="connsiteX988" fmla="*/ 710246 w 2722973"/>
              <a:gd name="connsiteY988" fmla="*/ 614877 h 1768474"/>
              <a:gd name="connsiteX989" fmla="*/ 700278 w 2722973"/>
              <a:gd name="connsiteY989" fmla="*/ 622771 h 1768474"/>
              <a:gd name="connsiteX990" fmla="*/ 694297 w 2722973"/>
              <a:gd name="connsiteY990" fmla="*/ 630666 h 1768474"/>
              <a:gd name="connsiteX991" fmla="*/ 684329 w 2722973"/>
              <a:gd name="connsiteY991" fmla="*/ 634613 h 1768474"/>
              <a:gd name="connsiteX992" fmla="*/ 680342 w 2722973"/>
              <a:gd name="connsiteY992" fmla="*/ 632640 h 1768474"/>
              <a:gd name="connsiteX993" fmla="*/ 684329 w 2722973"/>
              <a:gd name="connsiteY993" fmla="*/ 624745 h 1768474"/>
              <a:gd name="connsiteX994" fmla="*/ 680342 w 2722973"/>
              <a:gd name="connsiteY994" fmla="*/ 626719 h 1768474"/>
              <a:gd name="connsiteX995" fmla="*/ 670373 w 2722973"/>
              <a:gd name="connsiteY995" fmla="*/ 632640 h 1768474"/>
              <a:gd name="connsiteX996" fmla="*/ 668380 w 2722973"/>
              <a:gd name="connsiteY996" fmla="*/ 624745 h 1768474"/>
              <a:gd name="connsiteX997" fmla="*/ 666386 w 2722973"/>
              <a:gd name="connsiteY997" fmla="*/ 616850 h 1768474"/>
              <a:gd name="connsiteX998" fmla="*/ 666386 w 2722973"/>
              <a:gd name="connsiteY998" fmla="*/ 610929 h 1768474"/>
              <a:gd name="connsiteX999" fmla="*/ 670373 w 2722973"/>
              <a:gd name="connsiteY999" fmla="*/ 605008 h 1768474"/>
              <a:gd name="connsiteX1000" fmla="*/ 672367 w 2722973"/>
              <a:gd name="connsiteY1000" fmla="*/ 601061 h 1768474"/>
              <a:gd name="connsiteX1001" fmla="*/ 678348 w 2722973"/>
              <a:gd name="connsiteY1001" fmla="*/ 601061 h 1768474"/>
              <a:gd name="connsiteX1002" fmla="*/ 684329 w 2722973"/>
              <a:gd name="connsiteY1002" fmla="*/ 599088 h 1768474"/>
              <a:gd name="connsiteX1003" fmla="*/ 690310 w 2722973"/>
              <a:gd name="connsiteY1003" fmla="*/ 599088 h 1768474"/>
              <a:gd name="connsiteX1004" fmla="*/ 690310 w 2722973"/>
              <a:gd name="connsiteY1004" fmla="*/ 605008 h 1768474"/>
              <a:gd name="connsiteX1005" fmla="*/ 694297 w 2722973"/>
              <a:gd name="connsiteY1005" fmla="*/ 605008 h 1768474"/>
              <a:gd name="connsiteX1006" fmla="*/ 696291 w 2722973"/>
              <a:gd name="connsiteY1006" fmla="*/ 599088 h 1768474"/>
              <a:gd name="connsiteX1007" fmla="*/ 694297 w 2722973"/>
              <a:gd name="connsiteY1007" fmla="*/ 593167 h 1768474"/>
              <a:gd name="connsiteX1008" fmla="*/ 702271 w 2722973"/>
              <a:gd name="connsiteY1008" fmla="*/ 595140 h 1768474"/>
              <a:gd name="connsiteX1009" fmla="*/ 706259 w 2722973"/>
              <a:gd name="connsiteY1009" fmla="*/ 597114 h 1768474"/>
              <a:gd name="connsiteX1010" fmla="*/ 710246 w 2722973"/>
              <a:gd name="connsiteY1010" fmla="*/ 595140 h 1768474"/>
              <a:gd name="connsiteX1011" fmla="*/ 706259 w 2722973"/>
              <a:gd name="connsiteY1011" fmla="*/ 591193 h 1768474"/>
              <a:gd name="connsiteX1012" fmla="*/ 708252 w 2722973"/>
              <a:gd name="connsiteY1012" fmla="*/ 587246 h 1768474"/>
              <a:gd name="connsiteX1013" fmla="*/ 712240 w 2722973"/>
              <a:gd name="connsiteY1013" fmla="*/ 589219 h 1768474"/>
              <a:gd name="connsiteX1014" fmla="*/ 716227 w 2722973"/>
              <a:gd name="connsiteY1014" fmla="*/ 591193 h 1768474"/>
              <a:gd name="connsiteX1015" fmla="*/ 712240 w 2722973"/>
              <a:gd name="connsiteY1015" fmla="*/ 585272 h 1768474"/>
              <a:gd name="connsiteX1016" fmla="*/ 718220 w 2722973"/>
              <a:gd name="connsiteY1016" fmla="*/ 583298 h 1768474"/>
              <a:gd name="connsiteX1017" fmla="*/ 720214 w 2722973"/>
              <a:gd name="connsiteY1017" fmla="*/ 581325 h 1768474"/>
              <a:gd name="connsiteX1018" fmla="*/ 724201 w 2722973"/>
              <a:gd name="connsiteY1018" fmla="*/ 575404 h 1768474"/>
              <a:gd name="connsiteX1019" fmla="*/ 736163 w 2722973"/>
              <a:gd name="connsiteY1019" fmla="*/ 571456 h 1768474"/>
              <a:gd name="connsiteX1020" fmla="*/ 736163 w 2722973"/>
              <a:gd name="connsiteY1020" fmla="*/ 565536 h 1768474"/>
              <a:gd name="connsiteX1021" fmla="*/ 744137 w 2722973"/>
              <a:gd name="connsiteY1021" fmla="*/ 563562 h 1768474"/>
              <a:gd name="connsiteX1022" fmla="*/ 545083 w 2722973"/>
              <a:gd name="connsiteY1022" fmla="*/ 551259 h 1768474"/>
              <a:gd name="connsiteX1023" fmla="*/ 549210 w 2722973"/>
              <a:gd name="connsiteY1023" fmla="*/ 553244 h 1768474"/>
              <a:gd name="connsiteX1024" fmla="*/ 538891 w 2722973"/>
              <a:gd name="connsiteY1024" fmla="*/ 563165 h 1768474"/>
              <a:gd name="connsiteX1025" fmla="*/ 530636 w 2722973"/>
              <a:gd name="connsiteY1025" fmla="*/ 559197 h 1768474"/>
              <a:gd name="connsiteX1026" fmla="*/ 538891 w 2722973"/>
              <a:gd name="connsiteY1026" fmla="*/ 555228 h 1768474"/>
              <a:gd name="connsiteX1027" fmla="*/ 545083 w 2722973"/>
              <a:gd name="connsiteY1027" fmla="*/ 551259 h 1768474"/>
              <a:gd name="connsiteX1028" fmla="*/ 866392 w 2722973"/>
              <a:gd name="connsiteY1028" fmla="*/ 507999 h 1768474"/>
              <a:gd name="connsiteX1029" fmla="*/ 864408 w 2722973"/>
              <a:gd name="connsiteY1029" fmla="*/ 511174 h 1768474"/>
              <a:gd name="connsiteX1030" fmla="*/ 866392 w 2722973"/>
              <a:gd name="connsiteY1030" fmla="*/ 507999 h 1768474"/>
              <a:gd name="connsiteX1031" fmla="*/ 892586 w 2722973"/>
              <a:gd name="connsiteY1031" fmla="*/ 483023 h 1768474"/>
              <a:gd name="connsiteX1032" fmla="*/ 900523 w 2722973"/>
              <a:gd name="connsiteY1032" fmla="*/ 485033 h 1768474"/>
              <a:gd name="connsiteX1033" fmla="*/ 894570 w 2722973"/>
              <a:gd name="connsiteY1033" fmla="*/ 489055 h 1768474"/>
              <a:gd name="connsiteX1034" fmla="*/ 884648 w 2722973"/>
              <a:gd name="connsiteY1034" fmla="*/ 495087 h 1768474"/>
              <a:gd name="connsiteX1035" fmla="*/ 882664 w 2722973"/>
              <a:gd name="connsiteY1035" fmla="*/ 501120 h 1768474"/>
              <a:gd name="connsiteX1036" fmla="*/ 876711 w 2722973"/>
              <a:gd name="connsiteY1036" fmla="*/ 507152 h 1768474"/>
              <a:gd name="connsiteX1037" fmla="*/ 868773 w 2722973"/>
              <a:gd name="connsiteY1037" fmla="*/ 505141 h 1768474"/>
              <a:gd name="connsiteX1038" fmla="*/ 874726 w 2722973"/>
              <a:gd name="connsiteY1038" fmla="*/ 501120 h 1768474"/>
              <a:gd name="connsiteX1039" fmla="*/ 876711 w 2722973"/>
              <a:gd name="connsiteY1039" fmla="*/ 499109 h 1768474"/>
              <a:gd name="connsiteX1040" fmla="*/ 882664 w 2722973"/>
              <a:gd name="connsiteY1040" fmla="*/ 493077 h 1768474"/>
              <a:gd name="connsiteX1041" fmla="*/ 888617 w 2722973"/>
              <a:gd name="connsiteY1041" fmla="*/ 489055 h 1768474"/>
              <a:gd name="connsiteX1042" fmla="*/ 892586 w 2722973"/>
              <a:gd name="connsiteY1042" fmla="*/ 483023 h 1768474"/>
              <a:gd name="connsiteX1043" fmla="*/ 440901 w 2722973"/>
              <a:gd name="connsiteY1043" fmla="*/ 477837 h 1768474"/>
              <a:gd name="connsiteX1044" fmla="*/ 444911 w 2722973"/>
              <a:gd name="connsiteY1044" fmla="*/ 483790 h 1768474"/>
              <a:gd name="connsiteX1045" fmla="*/ 440901 w 2722973"/>
              <a:gd name="connsiteY1045" fmla="*/ 491727 h 1768474"/>
              <a:gd name="connsiteX1046" fmla="*/ 442906 w 2722973"/>
              <a:gd name="connsiteY1046" fmla="*/ 499665 h 1768474"/>
              <a:gd name="connsiteX1047" fmla="*/ 436890 w 2722973"/>
              <a:gd name="connsiteY1047" fmla="*/ 501649 h 1768474"/>
              <a:gd name="connsiteX1048" fmla="*/ 432880 w 2722973"/>
              <a:gd name="connsiteY1048" fmla="*/ 501649 h 1768474"/>
              <a:gd name="connsiteX1049" fmla="*/ 430874 w 2722973"/>
              <a:gd name="connsiteY1049" fmla="*/ 503634 h 1768474"/>
              <a:gd name="connsiteX1050" fmla="*/ 426864 w 2722973"/>
              <a:gd name="connsiteY1050" fmla="*/ 503634 h 1768474"/>
              <a:gd name="connsiteX1051" fmla="*/ 422853 w 2722973"/>
              <a:gd name="connsiteY1051" fmla="*/ 505618 h 1768474"/>
              <a:gd name="connsiteX1052" fmla="*/ 418843 w 2722973"/>
              <a:gd name="connsiteY1052" fmla="*/ 501649 h 1768474"/>
              <a:gd name="connsiteX1053" fmla="*/ 410822 w 2722973"/>
              <a:gd name="connsiteY1053" fmla="*/ 501649 h 1768474"/>
              <a:gd name="connsiteX1054" fmla="*/ 406811 w 2722973"/>
              <a:gd name="connsiteY1054" fmla="*/ 495696 h 1768474"/>
              <a:gd name="connsiteX1055" fmla="*/ 408817 w 2722973"/>
              <a:gd name="connsiteY1055" fmla="*/ 485774 h 1768474"/>
              <a:gd name="connsiteX1056" fmla="*/ 414832 w 2722973"/>
              <a:gd name="connsiteY1056" fmla="*/ 485774 h 1768474"/>
              <a:gd name="connsiteX1057" fmla="*/ 420848 w 2722973"/>
              <a:gd name="connsiteY1057" fmla="*/ 487759 h 1768474"/>
              <a:gd name="connsiteX1058" fmla="*/ 424859 w 2722973"/>
              <a:gd name="connsiteY1058" fmla="*/ 487759 h 1768474"/>
              <a:gd name="connsiteX1059" fmla="*/ 428869 w 2722973"/>
              <a:gd name="connsiteY1059" fmla="*/ 483790 h 1768474"/>
              <a:gd name="connsiteX1060" fmla="*/ 436890 w 2722973"/>
              <a:gd name="connsiteY1060" fmla="*/ 481806 h 1768474"/>
              <a:gd name="connsiteX1061" fmla="*/ 440901 w 2722973"/>
              <a:gd name="connsiteY1061" fmla="*/ 477837 h 1768474"/>
              <a:gd name="connsiteX1062" fmla="*/ 883742 w 2722973"/>
              <a:gd name="connsiteY1062" fmla="*/ 475014 h 1768474"/>
              <a:gd name="connsiteX1063" fmla="*/ 883742 w 2722973"/>
              <a:gd name="connsiteY1063" fmla="*/ 478895 h 1768474"/>
              <a:gd name="connsiteX1064" fmla="*/ 879660 w 2722973"/>
              <a:gd name="connsiteY1064" fmla="*/ 482775 h 1768474"/>
              <a:gd name="connsiteX1065" fmla="*/ 873536 w 2722973"/>
              <a:gd name="connsiteY1065" fmla="*/ 484715 h 1768474"/>
              <a:gd name="connsiteX1066" fmla="*/ 879660 w 2722973"/>
              <a:gd name="connsiteY1066" fmla="*/ 480835 h 1768474"/>
              <a:gd name="connsiteX1067" fmla="*/ 881701 w 2722973"/>
              <a:gd name="connsiteY1067" fmla="*/ 476954 h 1768474"/>
              <a:gd name="connsiteX1068" fmla="*/ 883742 w 2722973"/>
              <a:gd name="connsiteY1068" fmla="*/ 475014 h 1768474"/>
              <a:gd name="connsiteX1069" fmla="*/ 909651 w 2722973"/>
              <a:gd name="connsiteY1069" fmla="*/ 473074 h 1768474"/>
              <a:gd name="connsiteX1070" fmla="*/ 917589 w 2722973"/>
              <a:gd name="connsiteY1070" fmla="*/ 477156 h 1768474"/>
              <a:gd name="connsiteX1071" fmla="*/ 909651 w 2722973"/>
              <a:gd name="connsiteY1071" fmla="*/ 487361 h 1768474"/>
              <a:gd name="connsiteX1072" fmla="*/ 907667 w 2722973"/>
              <a:gd name="connsiteY1072" fmla="*/ 481238 h 1768474"/>
              <a:gd name="connsiteX1073" fmla="*/ 905683 w 2722973"/>
              <a:gd name="connsiteY1073" fmla="*/ 477156 h 1768474"/>
              <a:gd name="connsiteX1074" fmla="*/ 909651 w 2722973"/>
              <a:gd name="connsiteY1074" fmla="*/ 473074 h 1768474"/>
              <a:gd name="connsiteX1075" fmla="*/ 281715 w 2722973"/>
              <a:gd name="connsiteY1075" fmla="*/ 471713 h 1768474"/>
              <a:gd name="connsiteX1076" fmla="*/ 285525 w 2722973"/>
              <a:gd name="connsiteY1076" fmla="*/ 473527 h 1768474"/>
              <a:gd name="connsiteX1077" fmla="*/ 287430 w 2722973"/>
              <a:gd name="connsiteY1077" fmla="*/ 475342 h 1768474"/>
              <a:gd name="connsiteX1078" fmla="*/ 289335 w 2722973"/>
              <a:gd name="connsiteY1078" fmla="*/ 480785 h 1768474"/>
              <a:gd name="connsiteX1079" fmla="*/ 285525 w 2722973"/>
              <a:gd name="connsiteY1079" fmla="*/ 482599 h 1768474"/>
              <a:gd name="connsiteX1080" fmla="*/ 281715 w 2722973"/>
              <a:gd name="connsiteY1080" fmla="*/ 480785 h 1768474"/>
              <a:gd name="connsiteX1081" fmla="*/ 281715 w 2722973"/>
              <a:gd name="connsiteY1081" fmla="*/ 475342 h 1768474"/>
              <a:gd name="connsiteX1082" fmla="*/ 281715 w 2722973"/>
              <a:gd name="connsiteY1082" fmla="*/ 471713 h 1768474"/>
              <a:gd name="connsiteX1083" fmla="*/ 918115 w 2722973"/>
              <a:gd name="connsiteY1083" fmla="*/ 469507 h 1768474"/>
              <a:gd name="connsiteX1084" fmla="*/ 924094 w 2722973"/>
              <a:gd name="connsiteY1084" fmla="*/ 469507 h 1768474"/>
              <a:gd name="connsiteX1085" fmla="*/ 920107 w 2722973"/>
              <a:gd name="connsiteY1085" fmla="*/ 473503 h 1768474"/>
              <a:gd name="connsiteX1086" fmla="*/ 916121 w 2722973"/>
              <a:gd name="connsiteY1086" fmla="*/ 475501 h 1768474"/>
              <a:gd name="connsiteX1087" fmla="*/ 918115 w 2722973"/>
              <a:gd name="connsiteY1087" fmla="*/ 469507 h 1768474"/>
              <a:gd name="connsiteX1088" fmla="*/ 883855 w 2722973"/>
              <a:gd name="connsiteY1088" fmla="*/ 461962 h 1768474"/>
              <a:gd name="connsiteX1089" fmla="*/ 881871 w 2722973"/>
              <a:gd name="connsiteY1089" fmla="*/ 463549 h 1768474"/>
              <a:gd name="connsiteX1090" fmla="*/ 883855 w 2722973"/>
              <a:gd name="connsiteY1090" fmla="*/ 461962 h 1768474"/>
              <a:gd name="connsiteX1091" fmla="*/ 850350 w 2722973"/>
              <a:gd name="connsiteY1091" fmla="*/ 0 h 1768474"/>
              <a:gd name="connsiteX1092" fmla="*/ 854337 w 2722973"/>
              <a:gd name="connsiteY1092" fmla="*/ 3996 h 1768474"/>
              <a:gd name="connsiteX1093" fmla="*/ 858322 w 2722973"/>
              <a:gd name="connsiteY1093" fmla="*/ 7992 h 1768474"/>
              <a:gd name="connsiteX1094" fmla="*/ 854337 w 2722973"/>
              <a:gd name="connsiteY1094" fmla="*/ 15983 h 1768474"/>
              <a:gd name="connsiteX1095" fmla="*/ 846364 w 2722973"/>
              <a:gd name="connsiteY1095" fmla="*/ 19979 h 1768474"/>
              <a:gd name="connsiteX1096" fmla="*/ 844371 w 2722973"/>
              <a:gd name="connsiteY1096" fmla="*/ 27971 h 1768474"/>
              <a:gd name="connsiteX1097" fmla="*/ 844371 w 2722973"/>
              <a:gd name="connsiteY1097" fmla="*/ 33964 h 1768474"/>
              <a:gd name="connsiteX1098" fmla="*/ 850350 w 2722973"/>
              <a:gd name="connsiteY1098" fmla="*/ 31966 h 1768474"/>
              <a:gd name="connsiteX1099" fmla="*/ 852343 w 2722973"/>
              <a:gd name="connsiteY1099" fmla="*/ 25973 h 1768474"/>
              <a:gd name="connsiteX1100" fmla="*/ 858322 w 2722973"/>
              <a:gd name="connsiteY1100" fmla="*/ 25973 h 1768474"/>
              <a:gd name="connsiteX1101" fmla="*/ 854337 w 2722973"/>
              <a:gd name="connsiteY1101" fmla="*/ 33964 h 1768474"/>
              <a:gd name="connsiteX1102" fmla="*/ 852343 w 2722973"/>
              <a:gd name="connsiteY1102" fmla="*/ 37960 h 1768474"/>
              <a:gd name="connsiteX1103" fmla="*/ 860316 w 2722973"/>
              <a:gd name="connsiteY1103" fmla="*/ 35962 h 1768474"/>
              <a:gd name="connsiteX1104" fmla="*/ 864302 w 2722973"/>
              <a:gd name="connsiteY1104" fmla="*/ 29968 h 1768474"/>
              <a:gd name="connsiteX1105" fmla="*/ 862308 w 2722973"/>
              <a:gd name="connsiteY1105" fmla="*/ 21977 h 1768474"/>
              <a:gd name="connsiteX1106" fmla="*/ 860316 w 2722973"/>
              <a:gd name="connsiteY1106" fmla="*/ 17981 h 1768474"/>
              <a:gd name="connsiteX1107" fmla="*/ 866295 w 2722973"/>
              <a:gd name="connsiteY1107" fmla="*/ 15983 h 1768474"/>
              <a:gd name="connsiteX1108" fmla="*/ 868288 w 2722973"/>
              <a:gd name="connsiteY1108" fmla="*/ 7992 h 1768474"/>
              <a:gd name="connsiteX1109" fmla="*/ 876260 w 2722973"/>
              <a:gd name="connsiteY1109" fmla="*/ 11987 h 1768474"/>
              <a:gd name="connsiteX1110" fmla="*/ 880246 w 2722973"/>
              <a:gd name="connsiteY1110" fmla="*/ 19979 h 1768474"/>
              <a:gd name="connsiteX1111" fmla="*/ 876260 w 2722973"/>
              <a:gd name="connsiteY1111" fmla="*/ 21977 h 1768474"/>
              <a:gd name="connsiteX1112" fmla="*/ 876260 w 2722973"/>
              <a:gd name="connsiteY1112" fmla="*/ 27971 h 1768474"/>
              <a:gd name="connsiteX1113" fmla="*/ 868288 w 2722973"/>
              <a:gd name="connsiteY1113" fmla="*/ 33964 h 1768474"/>
              <a:gd name="connsiteX1114" fmla="*/ 860316 w 2722973"/>
              <a:gd name="connsiteY1114" fmla="*/ 43954 h 1768474"/>
              <a:gd name="connsiteX1115" fmla="*/ 866295 w 2722973"/>
              <a:gd name="connsiteY1115" fmla="*/ 41956 h 1768474"/>
              <a:gd name="connsiteX1116" fmla="*/ 874267 w 2722973"/>
              <a:gd name="connsiteY1116" fmla="*/ 33964 h 1768474"/>
              <a:gd name="connsiteX1117" fmla="*/ 880246 w 2722973"/>
              <a:gd name="connsiteY1117" fmla="*/ 25973 h 1768474"/>
              <a:gd name="connsiteX1118" fmla="*/ 890212 w 2722973"/>
              <a:gd name="connsiteY1118" fmla="*/ 23975 h 1768474"/>
              <a:gd name="connsiteX1119" fmla="*/ 892205 w 2722973"/>
              <a:gd name="connsiteY1119" fmla="*/ 23975 h 1768474"/>
              <a:gd name="connsiteX1120" fmla="*/ 896191 w 2722973"/>
              <a:gd name="connsiteY1120" fmla="*/ 19979 h 1768474"/>
              <a:gd name="connsiteX1121" fmla="*/ 900177 w 2722973"/>
              <a:gd name="connsiteY1121" fmla="*/ 19979 h 1768474"/>
              <a:gd name="connsiteX1122" fmla="*/ 904163 w 2722973"/>
              <a:gd name="connsiteY1122" fmla="*/ 19979 h 1768474"/>
              <a:gd name="connsiteX1123" fmla="*/ 910142 w 2722973"/>
              <a:gd name="connsiteY1123" fmla="*/ 19979 h 1768474"/>
              <a:gd name="connsiteX1124" fmla="*/ 918115 w 2722973"/>
              <a:gd name="connsiteY1124" fmla="*/ 19979 h 1768474"/>
              <a:gd name="connsiteX1125" fmla="*/ 924094 w 2722973"/>
              <a:gd name="connsiteY1125" fmla="*/ 21977 h 1768474"/>
              <a:gd name="connsiteX1126" fmla="*/ 932066 w 2722973"/>
              <a:gd name="connsiteY1126" fmla="*/ 21977 h 1768474"/>
              <a:gd name="connsiteX1127" fmla="*/ 934059 w 2722973"/>
              <a:gd name="connsiteY1127" fmla="*/ 25973 h 1768474"/>
              <a:gd name="connsiteX1128" fmla="*/ 926087 w 2722973"/>
              <a:gd name="connsiteY1128" fmla="*/ 29968 h 1768474"/>
              <a:gd name="connsiteX1129" fmla="*/ 926087 w 2722973"/>
              <a:gd name="connsiteY1129" fmla="*/ 33964 h 1768474"/>
              <a:gd name="connsiteX1130" fmla="*/ 932066 w 2722973"/>
              <a:gd name="connsiteY1130" fmla="*/ 33964 h 1768474"/>
              <a:gd name="connsiteX1131" fmla="*/ 938045 w 2722973"/>
              <a:gd name="connsiteY1131" fmla="*/ 37960 h 1768474"/>
              <a:gd name="connsiteX1132" fmla="*/ 948011 w 2722973"/>
              <a:gd name="connsiteY1132" fmla="*/ 45952 h 1768474"/>
              <a:gd name="connsiteX1133" fmla="*/ 950004 w 2722973"/>
              <a:gd name="connsiteY1133" fmla="*/ 51945 h 1768474"/>
              <a:gd name="connsiteX1134" fmla="*/ 948011 w 2722973"/>
              <a:gd name="connsiteY1134" fmla="*/ 55941 h 1768474"/>
              <a:gd name="connsiteX1135" fmla="*/ 953990 w 2722973"/>
              <a:gd name="connsiteY1135" fmla="*/ 55941 h 1768474"/>
              <a:gd name="connsiteX1136" fmla="*/ 957976 w 2722973"/>
              <a:gd name="connsiteY1136" fmla="*/ 51945 h 1768474"/>
              <a:gd name="connsiteX1137" fmla="*/ 963955 w 2722973"/>
              <a:gd name="connsiteY1137" fmla="*/ 39958 h 1768474"/>
              <a:gd name="connsiteX1138" fmla="*/ 969934 w 2722973"/>
              <a:gd name="connsiteY1138" fmla="*/ 39958 h 1768474"/>
              <a:gd name="connsiteX1139" fmla="*/ 973920 w 2722973"/>
              <a:gd name="connsiteY1139" fmla="*/ 33964 h 1768474"/>
              <a:gd name="connsiteX1140" fmla="*/ 989865 w 2722973"/>
              <a:gd name="connsiteY1140" fmla="*/ 33964 h 1768474"/>
              <a:gd name="connsiteX1141" fmla="*/ 999830 w 2722973"/>
              <a:gd name="connsiteY1141" fmla="*/ 39958 h 1768474"/>
              <a:gd name="connsiteX1142" fmla="*/ 995844 w 2722973"/>
              <a:gd name="connsiteY1142" fmla="*/ 47950 h 1768474"/>
              <a:gd name="connsiteX1143" fmla="*/ 999830 w 2722973"/>
              <a:gd name="connsiteY1143" fmla="*/ 45952 h 1768474"/>
              <a:gd name="connsiteX1144" fmla="*/ 1005810 w 2722973"/>
              <a:gd name="connsiteY1144" fmla="*/ 39958 h 1768474"/>
              <a:gd name="connsiteX1145" fmla="*/ 1011789 w 2722973"/>
              <a:gd name="connsiteY1145" fmla="*/ 43954 h 1768474"/>
              <a:gd name="connsiteX1146" fmla="*/ 1017768 w 2722973"/>
              <a:gd name="connsiteY1146" fmla="*/ 45952 h 1768474"/>
              <a:gd name="connsiteX1147" fmla="*/ 1019761 w 2722973"/>
              <a:gd name="connsiteY1147" fmla="*/ 49948 h 1768474"/>
              <a:gd name="connsiteX1148" fmla="*/ 1019761 w 2722973"/>
              <a:gd name="connsiteY1148" fmla="*/ 53943 h 1768474"/>
              <a:gd name="connsiteX1149" fmla="*/ 1033711 w 2722973"/>
              <a:gd name="connsiteY1149" fmla="*/ 55941 h 1768474"/>
              <a:gd name="connsiteX1150" fmla="*/ 1055634 w 2722973"/>
              <a:gd name="connsiteY1150" fmla="*/ 55941 h 1768474"/>
              <a:gd name="connsiteX1151" fmla="*/ 1067593 w 2722973"/>
              <a:gd name="connsiteY1151" fmla="*/ 57939 h 1768474"/>
              <a:gd name="connsiteX1152" fmla="*/ 1073572 w 2722973"/>
              <a:gd name="connsiteY1152" fmla="*/ 61935 h 1768474"/>
              <a:gd name="connsiteX1153" fmla="*/ 1077558 w 2722973"/>
              <a:gd name="connsiteY1153" fmla="*/ 61935 h 1768474"/>
              <a:gd name="connsiteX1154" fmla="*/ 1079551 w 2722973"/>
              <a:gd name="connsiteY1154" fmla="*/ 63933 h 1768474"/>
              <a:gd name="connsiteX1155" fmla="*/ 1081544 w 2722973"/>
              <a:gd name="connsiteY1155" fmla="*/ 67929 h 1768474"/>
              <a:gd name="connsiteX1156" fmla="*/ 1087523 w 2722973"/>
              <a:gd name="connsiteY1156" fmla="*/ 65931 h 1768474"/>
              <a:gd name="connsiteX1157" fmla="*/ 1105461 w 2722973"/>
              <a:gd name="connsiteY1157" fmla="*/ 59937 h 1768474"/>
              <a:gd name="connsiteX1158" fmla="*/ 1117419 w 2722973"/>
              <a:gd name="connsiteY1158" fmla="*/ 55941 h 1768474"/>
              <a:gd name="connsiteX1159" fmla="*/ 1137350 w 2722973"/>
              <a:gd name="connsiteY1159" fmla="*/ 63933 h 1768474"/>
              <a:gd name="connsiteX1160" fmla="*/ 1149308 w 2722973"/>
              <a:gd name="connsiteY1160" fmla="*/ 67929 h 1768474"/>
              <a:gd name="connsiteX1161" fmla="*/ 1159274 w 2722973"/>
              <a:gd name="connsiteY1161" fmla="*/ 69927 h 1768474"/>
              <a:gd name="connsiteX1162" fmla="*/ 1159274 w 2722973"/>
              <a:gd name="connsiteY1162" fmla="*/ 71924 h 1768474"/>
              <a:gd name="connsiteX1163" fmla="*/ 1153295 w 2722973"/>
              <a:gd name="connsiteY1163" fmla="*/ 91903 h 1768474"/>
              <a:gd name="connsiteX1164" fmla="*/ 1133364 w 2722973"/>
              <a:gd name="connsiteY1164" fmla="*/ 155836 h 1768474"/>
              <a:gd name="connsiteX1165" fmla="*/ 1119413 w 2722973"/>
              <a:gd name="connsiteY1165" fmla="*/ 199790 h 1768474"/>
              <a:gd name="connsiteX1166" fmla="*/ 1101475 w 2722973"/>
              <a:gd name="connsiteY1166" fmla="*/ 253734 h 1768474"/>
              <a:gd name="connsiteX1167" fmla="*/ 1087523 w 2722973"/>
              <a:gd name="connsiteY1167" fmla="*/ 297687 h 1768474"/>
              <a:gd name="connsiteX1168" fmla="*/ 1073572 w 2722973"/>
              <a:gd name="connsiteY1168" fmla="*/ 343639 h 1768474"/>
              <a:gd name="connsiteX1169" fmla="*/ 1061614 w 2722973"/>
              <a:gd name="connsiteY1169" fmla="*/ 387593 h 1768474"/>
              <a:gd name="connsiteX1170" fmla="*/ 1041683 w 2722973"/>
              <a:gd name="connsiteY1170" fmla="*/ 447530 h 1768474"/>
              <a:gd name="connsiteX1171" fmla="*/ 1029726 w 2722973"/>
              <a:gd name="connsiteY1171" fmla="*/ 481495 h 1768474"/>
              <a:gd name="connsiteX1172" fmla="*/ 1037697 w 2722973"/>
              <a:gd name="connsiteY1172" fmla="*/ 483492 h 1768474"/>
              <a:gd name="connsiteX1173" fmla="*/ 1055634 w 2722973"/>
              <a:gd name="connsiteY1173" fmla="*/ 479497 h 1768474"/>
              <a:gd name="connsiteX1174" fmla="*/ 1061614 w 2722973"/>
              <a:gd name="connsiteY1174" fmla="*/ 481495 h 1768474"/>
              <a:gd name="connsiteX1175" fmla="*/ 1067593 w 2722973"/>
              <a:gd name="connsiteY1175" fmla="*/ 485490 h 1768474"/>
              <a:gd name="connsiteX1176" fmla="*/ 1075565 w 2722973"/>
              <a:gd name="connsiteY1176" fmla="*/ 499476 h 1768474"/>
              <a:gd name="connsiteX1177" fmla="*/ 1089517 w 2722973"/>
              <a:gd name="connsiteY1177" fmla="*/ 517457 h 1768474"/>
              <a:gd name="connsiteX1178" fmla="*/ 1095496 w 2722973"/>
              <a:gd name="connsiteY1178" fmla="*/ 535438 h 1768474"/>
              <a:gd name="connsiteX1179" fmla="*/ 1099482 w 2722973"/>
              <a:gd name="connsiteY1179" fmla="*/ 537436 h 1768474"/>
              <a:gd name="connsiteX1180" fmla="*/ 1107454 w 2722973"/>
              <a:gd name="connsiteY1180" fmla="*/ 535438 h 1768474"/>
              <a:gd name="connsiteX1181" fmla="*/ 1115426 w 2722973"/>
              <a:gd name="connsiteY1181" fmla="*/ 533440 h 1768474"/>
              <a:gd name="connsiteX1182" fmla="*/ 1127385 w 2722973"/>
              <a:gd name="connsiteY1182" fmla="*/ 521453 h 1768474"/>
              <a:gd name="connsiteX1183" fmla="*/ 1141336 w 2722973"/>
              <a:gd name="connsiteY1183" fmla="*/ 507467 h 1768474"/>
              <a:gd name="connsiteX1184" fmla="*/ 1157281 w 2722973"/>
              <a:gd name="connsiteY1184" fmla="*/ 509465 h 1768474"/>
              <a:gd name="connsiteX1185" fmla="*/ 1167246 w 2722973"/>
              <a:gd name="connsiteY1185" fmla="*/ 513461 h 1768474"/>
              <a:gd name="connsiteX1186" fmla="*/ 1175218 w 2722973"/>
              <a:gd name="connsiteY1186" fmla="*/ 515459 h 1768474"/>
              <a:gd name="connsiteX1187" fmla="*/ 1175218 w 2722973"/>
              <a:gd name="connsiteY1187" fmla="*/ 531442 h 1768474"/>
              <a:gd name="connsiteX1188" fmla="*/ 1181198 w 2722973"/>
              <a:gd name="connsiteY1188" fmla="*/ 537436 h 1768474"/>
              <a:gd name="connsiteX1189" fmla="*/ 1189170 w 2722973"/>
              <a:gd name="connsiteY1189" fmla="*/ 547425 h 1768474"/>
              <a:gd name="connsiteX1190" fmla="*/ 1193156 w 2722973"/>
              <a:gd name="connsiteY1190" fmla="*/ 559413 h 1768474"/>
              <a:gd name="connsiteX1191" fmla="*/ 1203121 w 2722973"/>
              <a:gd name="connsiteY1191" fmla="*/ 569402 h 1768474"/>
              <a:gd name="connsiteX1192" fmla="*/ 1205114 w 2722973"/>
              <a:gd name="connsiteY1192" fmla="*/ 573398 h 1768474"/>
              <a:gd name="connsiteX1193" fmla="*/ 1205114 w 2722973"/>
              <a:gd name="connsiteY1193" fmla="*/ 593377 h 1768474"/>
              <a:gd name="connsiteX1194" fmla="*/ 1211094 w 2722973"/>
              <a:gd name="connsiteY1194" fmla="*/ 605365 h 1768474"/>
              <a:gd name="connsiteX1195" fmla="*/ 1217073 w 2722973"/>
              <a:gd name="connsiteY1195" fmla="*/ 625344 h 1768474"/>
              <a:gd name="connsiteX1196" fmla="*/ 1237003 w 2722973"/>
              <a:gd name="connsiteY1196" fmla="*/ 641327 h 1768474"/>
              <a:gd name="connsiteX1197" fmla="*/ 1248962 w 2722973"/>
              <a:gd name="connsiteY1197" fmla="*/ 655312 h 1768474"/>
              <a:gd name="connsiteX1198" fmla="*/ 1248962 w 2722973"/>
              <a:gd name="connsiteY1198" fmla="*/ 665302 h 1768474"/>
              <a:gd name="connsiteX1199" fmla="*/ 1244976 w 2722973"/>
              <a:gd name="connsiteY1199" fmla="*/ 685281 h 1768474"/>
              <a:gd name="connsiteX1200" fmla="*/ 1242983 w 2722973"/>
              <a:gd name="connsiteY1200" fmla="*/ 693272 h 1768474"/>
              <a:gd name="connsiteX1201" fmla="*/ 1238996 w 2722973"/>
              <a:gd name="connsiteY1201" fmla="*/ 693272 h 1768474"/>
              <a:gd name="connsiteX1202" fmla="*/ 1235010 w 2722973"/>
              <a:gd name="connsiteY1202" fmla="*/ 701264 h 1768474"/>
              <a:gd name="connsiteX1203" fmla="*/ 1227038 w 2722973"/>
              <a:gd name="connsiteY1203" fmla="*/ 703262 h 1768474"/>
              <a:gd name="connsiteX1204" fmla="*/ 1225045 w 2722973"/>
              <a:gd name="connsiteY1204" fmla="*/ 695270 h 1768474"/>
              <a:gd name="connsiteX1205" fmla="*/ 1231024 w 2722973"/>
              <a:gd name="connsiteY1205" fmla="*/ 681285 h 1768474"/>
              <a:gd name="connsiteX1206" fmla="*/ 1231024 w 2722973"/>
              <a:gd name="connsiteY1206" fmla="*/ 665302 h 1768474"/>
              <a:gd name="connsiteX1207" fmla="*/ 1227038 w 2722973"/>
              <a:gd name="connsiteY1207" fmla="*/ 661306 h 1768474"/>
              <a:gd name="connsiteX1208" fmla="*/ 1227038 w 2722973"/>
              <a:gd name="connsiteY1208" fmla="*/ 657310 h 1768474"/>
              <a:gd name="connsiteX1209" fmla="*/ 1223052 w 2722973"/>
              <a:gd name="connsiteY1209" fmla="*/ 657310 h 1768474"/>
              <a:gd name="connsiteX1210" fmla="*/ 1215080 w 2722973"/>
              <a:gd name="connsiteY1210" fmla="*/ 661306 h 1768474"/>
              <a:gd name="connsiteX1211" fmla="*/ 1211094 w 2722973"/>
              <a:gd name="connsiteY1211" fmla="*/ 663304 h 1768474"/>
              <a:gd name="connsiteX1212" fmla="*/ 1207107 w 2722973"/>
              <a:gd name="connsiteY1212" fmla="*/ 669297 h 1768474"/>
              <a:gd name="connsiteX1213" fmla="*/ 1203121 w 2722973"/>
              <a:gd name="connsiteY1213" fmla="*/ 667300 h 1768474"/>
              <a:gd name="connsiteX1214" fmla="*/ 1205114 w 2722973"/>
              <a:gd name="connsiteY1214" fmla="*/ 661306 h 1768474"/>
              <a:gd name="connsiteX1215" fmla="*/ 1207107 w 2722973"/>
              <a:gd name="connsiteY1215" fmla="*/ 657310 h 1768474"/>
              <a:gd name="connsiteX1216" fmla="*/ 1213087 w 2722973"/>
              <a:gd name="connsiteY1216" fmla="*/ 655312 h 1768474"/>
              <a:gd name="connsiteX1217" fmla="*/ 1213087 w 2722973"/>
              <a:gd name="connsiteY1217" fmla="*/ 651316 h 1768474"/>
              <a:gd name="connsiteX1218" fmla="*/ 1205114 w 2722973"/>
              <a:gd name="connsiteY1218" fmla="*/ 649318 h 1768474"/>
              <a:gd name="connsiteX1219" fmla="*/ 1201128 w 2722973"/>
              <a:gd name="connsiteY1219" fmla="*/ 645323 h 1768474"/>
              <a:gd name="connsiteX1220" fmla="*/ 1203121 w 2722973"/>
              <a:gd name="connsiteY1220" fmla="*/ 633335 h 1768474"/>
              <a:gd name="connsiteX1221" fmla="*/ 1193156 w 2722973"/>
              <a:gd name="connsiteY1221" fmla="*/ 623346 h 1768474"/>
              <a:gd name="connsiteX1222" fmla="*/ 1189170 w 2722973"/>
              <a:gd name="connsiteY1222" fmla="*/ 617352 h 1768474"/>
              <a:gd name="connsiteX1223" fmla="*/ 1185184 w 2722973"/>
              <a:gd name="connsiteY1223" fmla="*/ 615354 h 1768474"/>
              <a:gd name="connsiteX1224" fmla="*/ 1183191 w 2722973"/>
              <a:gd name="connsiteY1224" fmla="*/ 607362 h 1768474"/>
              <a:gd name="connsiteX1225" fmla="*/ 1183191 w 2722973"/>
              <a:gd name="connsiteY1225" fmla="*/ 601369 h 1768474"/>
              <a:gd name="connsiteX1226" fmla="*/ 1187177 w 2722973"/>
              <a:gd name="connsiteY1226" fmla="*/ 595375 h 1768474"/>
              <a:gd name="connsiteX1227" fmla="*/ 1185184 w 2722973"/>
              <a:gd name="connsiteY1227" fmla="*/ 593377 h 1768474"/>
              <a:gd name="connsiteX1228" fmla="*/ 1183191 w 2722973"/>
              <a:gd name="connsiteY1228" fmla="*/ 587383 h 1768474"/>
              <a:gd name="connsiteX1229" fmla="*/ 1181198 w 2722973"/>
              <a:gd name="connsiteY1229" fmla="*/ 585386 h 1768474"/>
              <a:gd name="connsiteX1230" fmla="*/ 1179204 w 2722973"/>
              <a:gd name="connsiteY1230" fmla="*/ 583388 h 1768474"/>
              <a:gd name="connsiteX1231" fmla="*/ 1181198 w 2722973"/>
              <a:gd name="connsiteY1231" fmla="*/ 579392 h 1768474"/>
              <a:gd name="connsiteX1232" fmla="*/ 1179204 w 2722973"/>
              <a:gd name="connsiteY1232" fmla="*/ 569402 h 1768474"/>
              <a:gd name="connsiteX1233" fmla="*/ 1181198 w 2722973"/>
              <a:gd name="connsiteY1233" fmla="*/ 559413 h 1768474"/>
              <a:gd name="connsiteX1234" fmla="*/ 1185184 w 2722973"/>
              <a:gd name="connsiteY1234" fmla="*/ 553419 h 1768474"/>
              <a:gd name="connsiteX1235" fmla="*/ 1183191 w 2722973"/>
              <a:gd name="connsiteY1235" fmla="*/ 549423 h 1768474"/>
              <a:gd name="connsiteX1236" fmla="*/ 1179204 w 2722973"/>
              <a:gd name="connsiteY1236" fmla="*/ 549423 h 1768474"/>
              <a:gd name="connsiteX1237" fmla="*/ 1175218 w 2722973"/>
              <a:gd name="connsiteY1237" fmla="*/ 551421 h 1768474"/>
              <a:gd name="connsiteX1238" fmla="*/ 1171232 w 2722973"/>
              <a:gd name="connsiteY1238" fmla="*/ 547425 h 1768474"/>
              <a:gd name="connsiteX1239" fmla="*/ 1169239 w 2722973"/>
              <a:gd name="connsiteY1239" fmla="*/ 543430 h 1768474"/>
              <a:gd name="connsiteX1240" fmla="*/ 1169239 w 2722973"/>
              <a:gd name="connsiteY1240" fmla="*/ 525448 h 1768474"/>
              <a:gd name="connsiteX1241" fmla="*/ 1167246 w 2722973"/>
              <a:gd name="connsiteY1241" fmla="*/ 517457 h 1768474"/>
              <a:gd name="connsiteX1242" fmla="*/ 1163260 w 2722973"/>
              <a:gd name="connsiteY1242" fmla="*/ 517457 h 1768474"/>
              <a:gd name="connsiteX1243" fmla="*/ 1161267 w 2722973"/>
              <a:gd name="connsiteY1243" fmla="*/ 523451 h 1768474"/>
              <a:gd name="connsiteX1244" fmla="*/ 1163260 w 2722973"/>
              <a:gd name="connsiteY1244" fmla="*/ 535438 h 1768474"/>
              <a:gd name="connsiteX1245" fmla="*/ 1163260 w 2722973"/>
              <a:gd name="connsiteY1245" fmla="*/ 545427 h 1768474"/>
              <a:gd name="connsiteX1246" fmla="*/ 1161267 w 2722973"/>
              <a:gd name="connsiteY1246" fmla="*/ 561411 h 1768474"/>
              <a:gd name="connsiteX1247" fmla="*/ 1159274 w 2722973"/>
              <a:gd name="connsiteY1247" fmla="*/ 567404 h 1768474"/>
              <a:gd name="connsiteX1248" fmla="*/ 1157281 w 2722973"/>
              <a:gd name="connsiteY1248" fmla="*/ 561411 h 1768474"/>
              <a:gd name="connsiteX1249" fmla="*/ 1155288 w 2722973"/>
              <a:gd name="connsiteY1249" fmla="*/ 559413 h 1768474"/>
              <a:gd name="connsiteX1250" fmla="*/ 1151302 w 2722973"/>
              <a:gd name="connsiteY1250" fmla="*/ 557415 h 1768474"/>
              <a:gd name="connsiteX1251" fmla="*/ 1149308 w 2722973"/>
              <a:gd name="connsiteY1251" fmla="*/ 555417 h 1768474"/>
              <a:gd name="connsiteX1252" fmla="*/ 1149308 w 2722973"/>
              <a:gd name="connsiteY1252" fmla="*/ 549423 h 1768474"/>
              <a:gd name="connsiteX1253" fmla="*/ 1145322 w 2722973"/>
              <a:gd name="connsiteY1253" fmla="*/ 549423 h 1768474"/>
              <a:gd name="connsiteX1254" fmla="*/ 1141336 w 2722973"/>
              <a:gd name="connsiteY1254" fmla="*/ 553419 h 1768474"/>
              <a:gd name="connsiteX1255" fmla="*/ 1139343 w 2722973"/>
              <a:gd name="connsiteY1255" fmla="*/ 555417 h 1768474"/>
              <a:gd name="connsiteX1256" fmla="*/ 1139343 w 2722973"/>
              <a:gd name="connsiteY1256" fmla="*/ 549423 h 1768474"/>
              <a:gd name="connsiteX1257" fmla="*/ 1135357 w 2722973"/>
              <a:gd name="connsiteY1257" fmla="*/ 551421 h 1768474"/>
              <a:gd name="connsiteX1258" fmla="*/ 1131371 w 2722973"/>
              <a:gd name="connsiteY1258" fmla="*/ 555417 h 1768474"/>
              <a:gd name="connsiteX1259" fmla="*/ 1127385 w 2722973"/>
              <a:gd name="connsiteY1259" fmla="*/ 551421 h 1768474"/>
              <a:gd name="connsiteX1260" fmla="*/ 1121406 w 2722973"/>
              <a:gd name="connsiteY1260" fmla="*/ 549423 h 1768474"/>
              <a:gd name="connsiteX1261" fmla="*/ 1117419 w 2722973"/>
              <a:gd name="connsiteY1261" fmla="*/ 553419 h 1768474"/>
              <a:gd name="connsiteX1262" fmla="*/ 1119413 w 2722973"/>
              <a:gd name="connsiteY1262" fmla="*/ 559413 h 1768474"/>
              <a:gd name="connsiteX1263" fmla="*/ 1131371 w 2722973"/>
              <a:gd name="connsiteY1263" fmla="*/ 559413 h 1768474"/>
              <a:gd name="connsiteX1264" fmla="*/ 1129378 w 2722973"/>
              <a:gd name="connsiteY1264" fmla="*/ 571400 h 1768474"/>
              <a:gd name="connsiteX1265" fmla="*/ 1123399 w 2722973"/>
              <a:gd name="connsiteY1265" fmla="*/ 571400 h 1768474"/>
              <a:gd name="connsiteX1266" fmla="*/ 1119413 w 2722973"/>
              <a:gd name="connsiteY1266" fmla="*/ 573398 h 1768474"/>
              <a:gd name="connsiteX1267" fmla="*/ 1117419 w 2722973"/>
              <a:gd name="connsiteY1267" fmla="*/ 577394 h 1768474"/>
              <a:gd name="connsiteX1268" fmla="*/ 1113433 w 2722973"/>
              <a:gd name="connsiteY1268" fmla="*/ 573398 h 1768474"/>
              <a:gd name="connsiteX1269" fmla="*/ 1103468 w 2722973"/>
              <a:gd name="connsiteY1269" fmla="*/ 571400 h 1768474"/>
              <a:gd name="connsiteX1270" fmla="*/ 1093503 w 2722973"/>
              <a:gd name="connsiteY1270" fmla="*/ 565407 h 1768474"/>
              <a:gd name="connsiteX1271" fmla="*/ 1089517 w 2722973"/>
              <a:gd name="connsiteY1271" fmla="*/ 553419 h 1768474"/>
              <a:gd name="connsiteX1272" fmla="*/ 1083537 w 2722973"/>
              <a:gd name="connsiteY1272" fmla="*/ 549423 h 1768474"/>
              <a:gd name="connsiteX1273" fmla="*/ 1077558 w 2722973"/>
              <a:gd name="connsiteY1273" fmla="*/ 545427 h 1768474"/>
              <a:gd name="connsiteX1274" fmla="*/ 1071579 w 2722973"/>
              <a:gd name="connsiteY1274" fmla="*/ 543430 h 1768474"/>
              <a:gd name="connsiteX1275" fmla="*/ 1067593 w 2722973"/>
              <a:gd name="connsiteY1275" fmla="*/ 537436 h 1768474"/>
              <a:gd name="connsiteX1276" fmla="*/ 1059621 w 2722973"/>
              <a:gd name="connsiteY1276" fmla="*/ 539434 h 1768474"/>
              <a:gd name="connsiteX1277" fmla="*/ 1053641 w 2722973"/>
              <a:gd name="connsiteY1277" fmla="*/ 533440 h 1768474"/>
              <a:gd name="connsiteX1278" fmla="*/ 1061614 w 2722973"/>
              <a:gd name="connsiteY1278" fmla="*/ 517457 h 1768474"/>
              <a:gd name="connsiteX1279" fmla="*/ 1067593 w 2722973"/>
              <a:gd name="connsiteY1279" fmla="*/ 507467 h 1768474"/>
              <a:gd name="connsiteX1280" fmla="*/ 1067593 w 2722973"/>
              <a:gd name="connsiteY1280" fmla="*/ 503472 h 1768474"/>
              <a:gd name="connsiteX1281" fmla="*/ 1061614 w 2722973"/>
              <a:gd name="connsiteY1281" fmla="*/ 503472 h 1768474"/>
              <a:gd name="connsiteX1282" fmla="*/ 1057627 w 2722973"/>
              <a:gd name="connsiteY1282" fmla="*/ 509465 h 1768474"/>
              <a:gd name="connsiteX1283" fmla="*/ 1053641 w 2722973"/>
              <a:gd name="connsiteY1283" fmla="*/ 511463 h 1768474"/>
              <a:gd name="connsiteX1284" fmla="*/ 1049655 w 2722973"/>
              <a:gd name="connsiteY1284" fmla="*/ 513461 h 1768474"/>
              <a:gd name="connsiteX1285" fmla="*/ 1045669 w 2722973"/>
              <a:gd name="connsiteY1285" fmla="*/ 517457 h 1768474"/>
              <a:gd name="connsiteX1286" fmla="*/ 1037697 w 2722973"/>
              <a:gd name="connsiteY1286" fmla="*/ 515459 h 1768474"/>
              <a:gd name="connsiteX1287" fmla="*/ 1027733 w 2722973"/>
              <a:gd name="connsiteY1287" fmla="*/ 509465 h 1768474"/>
              <a:gd name="connsiteX1288" fmla="*/ 1023747 w 2722973"/>
              <a:gd name="connsiteY1288" fmla="*/ 505469 h 1768474"/>
              <a:gd name="connsiteX1289" fmla="*/ 1021754 w 2722973"/>
              <a:gd name="connsiteY1289" fmla="*/ 503472 h 1768474"/>
              <a:gd name="connsiteX1290" fmla="*/ 1017768 w 2722973"/>
              <a:gd name="connsiteY1290" fmla="*/ 503472 h 1768474"/>
              <a:gd name="connsiteX1291" fmla="*/ 1011789 w 2722973"/>
              <a:gd name="connsiteY1291" fmla="*/ 499476 h 1768474"/>
              <a:gd name="connsiteX1292" fmla="*/ 1005810 w 2722973"/>
              <a:gd name="connsiteY1292" fmla="*/ 497478 h 1768474"/>
              <a:gd name="connsiteX1293" fmla="*/ 989865 w 2722973"/>
              <a:gd name="connsiteY1293" fmla="*/ 495480 h 1768474"/>
              <a:gd name="connsiteX1294" fmla="*/ 975913 w 2722973"/>
              <a:gd name="connsiteY1294" fmla="*/ 495480 h 1768474"/>
              <a:gd name="connsiteX1295" fmla="*/ 969934 w 2722973"/>
              <a:gd name="connsiteY1295" fmla="*/ 499476 h 1768474"/>
              <a:gd name="connsiteX1296" fmla="*/ 961962 w 2722973"/>
              <a:gd name="connsiteY1296" fmla="*/ 499476 h 1768474"/>
              <a:gd name="connsiteX1297" fmla="*/ 957976 w 2722973"/>
              <a:gd name="connsiteY1297" fmla="*/ 495480 h 1768474"/>
              <a:gd name="connsiteX1298" fmla="*/ 955983 w 2722973"/>
              <a:gd name="connsiteY1298" fmla="*/ 491484 h 1768474"/>
              <a:gd name="connsiteX1299" fmla="*/ 951997 w 2722973"/>
              <a:gd name="connsiteY1299" fmla="*/ 489486 h 1768474"/>
              <a:gd name="connsiteX1300" fmla="*/ 948011 w 2722973"/>
              <a:gd name="connsiteY1300" fmla="*/ 487488 h 1768474"/>
              <a:gd name="connsiteX1301" fmla="*/ 950004 w 2722973"/>
              <a:gd name="connsiteY1301" fmla="*/ 481495 h 1768474"/>
              <a:gd name="connsiteX1302" fmla="*/ 948011 w 2722973"/>
              <a:gd name="connsiteY1302" fmla="*/ 477499 h 1768474"/>
              <a:gd name="connsiteX1303" fmla="*/ 938045 w 2722973"/>
              <a:gd name="connsiteY1303" fmla="*/ 475501 h 1768474"/>
              <a:gd name="connsiteX1304" fmla="*/ 934059 w 2722973"/>
              <a:gd name="connsiteY1304" fmla="*/ 469507 h 1768474"/>
              <a:gd name="connsiteX1305" fmla="*/ 930073 w 2722973"/>
              <a:gd name="connsiteY1305" fmla="*/ 465511 h 1768474"/>
              <a:gd name="connsiteX1306" fmla="*/ 924094 w 2722973"/>
              <a:gd name="connsiteY1306" fmla="*/ 469507 h 1768474"/>
              <a:gd name="connsiteX1307" fmla="*/ 924094 w 2722973"/>
              <a:gd name="connsiteY1307" fmla="*/ 463513 h 1768474"/>
              <a:gd name="connsiteX1308" fmla="*/ 920107 w 2722973"/>
              <a:gd name="connsiteY1308" fmla="*/ 461516 h 1768474"/>
              <a:gd name="connsiteX1309" fmla="*/ 914128 w 2722973"/>
              <a:gd name="connsiteY1309" fmla="*/ 463513 h 1768474"/>
              <a:gd name="connsiteX1310" fmla="*/ 910142 w 2722973"/>
              <a:gd name="connsiteY1310" fmla="*/ 463513 h 1768474"/>
              <a:gd name="connsiteX1311" fmla="*/ 914128 w 2722973"/>
              <a:gd name="connsiteY1311" fmla="*/ 459518 h 1768474"/>
              <a:gd name="connsiteX1312" fmla="*/ 918115 w 2722973"/>
              <a:gd name="connsiteY1312" fmla="*/ 455522 h 1768474"/>
              <a:gd name="connsiteX1313" fmla="*/ 918115 w 2722973"/>
              <a:gd name="connsiteY1313" fmla="*/ 451526 h 1768474"/>
              <a:gd name="connsiteX1314" fmla="*/ 916121 w 2722973"/>
              <a:gd name="connsiteY1314" fmla="*/ 449528 h 1768474"/>
              <a:gd name="connsiteX1315" fmla="*/ 922101 w 2722973"/>
              <a:gd name="connsiteY1315" fmla="*/ 449528 h 1768474"/>
              <a:gd name="connsiteX1316" fmla="*/ 926087 w 2722973"/>
              <a:gd name="connsiteY1316" fmla="*/ 445532 h 1768474"/>
              <a:gd name="connsiteX1317" fmla="*/ 924094 w 2722973"/>
              <a:gd name="connsiteY1317" fmla="*/ 441537 h 1768474"/>
              <a:gd name="connsiteX1318" fmla="*/ 918115 w 2722973"/>
              <a:gd name="connsiteY1318" fmla="*/ 443534 h 1768474"/>
              <a:gd name="connsiteX1319" fmla="*/ 914128 w 2722973"/>
              <a:gd name="connsiteY1319" fmla="*/ 447530 h 1768474"/>
              <a:gd name="connsiteX1320" fmla="*/ 904163 w 2722973"/>
              <a:gd name="connsiteY1320" fmla="*/ 449528 h 1768474"/>
              <a:gd name="connsiteX1321" fmla="*/ 898184 w 2722973"/>
              <a:gd name="connsiteY1321" fmla="*/ 449528 h 1768474"/>
              <a:gd name="connsiteX1322" fmla="*/ 892205 w 2722973"/>
              <a:gd name="connsiteY1322" fmla="*/ 449528 h 1768474"/>
              <a:gd name="connsiteX1323" fmla="*/ 890212 w 2722973"/>
              <a:gd name="connsiteY1323" fmla="*/ 451526 h 1768474"/>
              <a:gd name="connsiteX1324" fmla="*/ 882239 w 2722973"/>
              <a:gd name="connsiteY1324" fmla="*/ 449528 h 1768474"/>
              <a:gd name="connsiteX1325" fmla="*/ 876260 w 2722973"/>
              <a:gd name="connsiteY1325" fmla="*/ 449528 h 1768474"/>
              <a:gd name="connsiteX1326" fmla="*/ 876260 w 2722973"/>
              <a:gd name="connsiteY1326" fmla="*/ 453524 h 1768474"/>
              <a:gd name="connsiteX1327" fmla="*/ 868288 w 2722973"/>
              <a:gd name="connsiteY1327" fmla="*/ 455522 h 1768474"/>
              <a:gd name="connsiteX1328" fmla="*/ 868288 w 2722973"/>
              <a:gd name="connsiteY1328" fmla="*/ 457520 h 1768474"/>
              <a:gd name="connsiteX1329" fmla="*/ 874267 w 2722973"/>
              <a:gd name="connsiteY1329" fmla="*/ 461516 h 1768474"/>
              <a:gd name="connsiteX1330" fmla="*/ 876260 w 2722973"/>
              <a:gd name="connsiteY1330" fmla="*/ 463513 h 1768474"/>
              <a:gd name="connsiteX1331" fmla="*/ 870281 w 2722973"/>
              <a:gd name="connsiteY1331" fmla="*/ 467509 h 1768474"/>
              <a:gd name="connsiteX1332" fmla="*/ 868288 w 2722973"/>
              <a:gd name="connsiteY1332" fmla="*/ 471505 h 1768474"/>
              <a:gd name="connsiteX1333" fmla="*/ 872274 w 2722973"/>
              <a:gd name="connsiteY1333" fmla="*/ 473503 h 1768474"/>
              <a:gd name="connsiteX1334" fmla="*/ 874267 w 2722973"/>
              <a:gd name="connsiteY1334" fmla="*/ 471505 h 1768474"/>
              <a:gd name="connsiteX1335" fmla="*/ 876260 w 2722973"/>
              <a:gd name="connsiteY1335" fmla="*/ 473503 h 1768474"/>
              <a:gd name="connsiteX1336" fmla="*/ 876260 w 2722973"/>
              <a:gd name="connsiteY1336" fmla="*/ 477499 h 1768474"/>
              <a:gd name="connsiteX1337" fmla="*/ 872274 w 2722973"/>
              <a:gd name="connsiteY1337" fmla="*/ 479497 h 1768474"/>
              <a:gd name="connsiteX1338" fmla="*/ 868288 w 2722973"/>
              <a:gd name="connsiteY1338" fmla="*/ 483492 h 1768474"/>
              <a:gd name="connsiteX1339" fmla="*/ 864302 w 2722973"/>
              <a:gd name="connsiteY1339" fmla="*/ 487488 h 1768474"/>
              <a:gd name="connsiteX1340" fmla="*/ 862308 w 2722973"/>
              <a:gd name="connsiteY1340" fmla="*/ 493482 h 1768474"/>
              <a:gd name="connsiteX1341" fmla="*/ 860316 w 2722973"/>
              <a:gd name="connsiteY1341" fmla="*/ 501474 h 1768474"/>
              <a:gd name="connsiteX1342" fmla="*/ 850350 w 2722973"/>
              <a:gd name="connsiteY1342" fmla="*/ 501474 h 1768474"/>
              <a:gd name="connsiteX1343" fmla="*/ 842378 w 2722973"/>
              <a:gd name="connsiteY1343" fmla="*/ 501474 h 1768474"/>
              <a:gd name="connsiteX1344" fmla="*/ 838392 w 2722973"/>
              <a:gd name="connsiteY1344" fmla="*/ 505469 h 1768474"/>
              <a:gd name="connsiteX1345" fmla="*/ 832413 w 2722973"/>
              <a:gd name="connsiteY1345" fmla="*/ 503472 h 1768474"/>
              <a:gd name="connsiteX1346" fmla="*/ 830420 w 2722973"/>
              <a:gd name="connsiteY1346" fmla="*/ 503472 h 1768474"/>
              <a:gd name="connsiteX1347" fmla="*/ 830420 w 2722973"/>
              <a:gd name="connsiteY1347" fmla="*/ 511463 h 1768474"/>
              <a:gd name="connsiteX1348" fmla="*/ 822447 w 2722973"/>
              <a:gd name="connsiteY1348" fmla="*/ 513461 h 1768474"/>
              <a:gd name="connsiteX1349" fmla="*/ 816468 w 2722973"/>
              <a:gd name="connsiteY1349" fmla="*/ 515459 h 1768474"/>
              <a:gd name="connsiteX1350" fmla="*/ 810489 w 2722973"/>
              <a:gd name="connsiteY1350" fmla="*/ 523451 h 1768474"/>
              <a:gd name="connsiteX1351" fmla="*/ 804510 w 2722973"/>
              <a:gd name="connsiteY1351" fmla="*/ 527446 h 1768474"/>
              <a:gd name="connsiteX1352" fmla="*/ 798531 w 2722973"/>
              <a:gd name="connsiteY1352" fmla="*/ 529444 h 1768474"/>
              <a:gd name="connsiteX1353" fmla="*/ 796538 w 2722973"/>
              <a:gd name="connsiteY1353" fmla="*/ 533440 h 1768474"/>
              <a:gd name="connsiteX1354" fmla="*/ 788565 w 2722973"/>
              <a:gd name="connsiteY1354" fmla="*/ 533440 h 1768474"/>
              <a:gd name="connsiteX1355" fmla="*/ 788565 w 2722973"/>
              <a:gd name="connsiteY1355" fmla="*/ 539434 h 1768474"/>
              <a:gd name="connsiteX1356" fmla="*/ 782586 w 2722973"/>
              <a:gd name="connsiteY1356" fmla="*/ 541432 h 1768474"/>
              <a:gd name="connsiteX1357" fmla="*/ 780593 w 2722973"/>
              <a:gd name="connsiteY1357" fmla="*/ 539434 h 1768474"/>
              <a:gd name="connsiteX1358" fmla="*/ 774614 w 2722973"/>
              <a:gd name="connsiteY1358" fmla="*/ 539434 h 1768474"/>
              <a:gd name="connsiteX1359" fmla="*/ 770628 w 2722973"/>
              <a:gd name="connsiteY1359" fmla="*/ 539434 h 1768474"/>
              <a:gd name="connsiteX1360" fmla="*/ 762655 w 2722973"/>
              <a:gd name="connsiteY1360" fmla="*/ 541432 h 1768474"/>
              <a:gd name="connsiteX1361" fmla="*/ 760662 w 2722973"/>
              <a:gd name="connsiteY1361" fmla="*/ 533440 h 1768474"/>
              <a:gd name="connsiteX1362" fmla="*/ 766642 w 2722973"/>
              <a:gd name="connsiteY1362" fmla="*/ 527446 h 1768474"/>
              <a:gd name="connsiteX1363" fmla="*/ 772621 w 2722973"/>
              <a:gd name="connsiteY1363" fmla="*/ 525448 h 1768474"/>
              <a:gd name="connsiteX1364" fmla="*/ 774614 w 2722973"/>
              <a:gd name="connsiteY1364" fmla="*/ 523451 h 1768474"/>
              <a:gd name="connsiteX1365" fmla="*/ 780593 w 2722973"/>
              <a:gd name="connsiteY1365" fmla="*/ 523451 h 1768474"/>
              <a:gd name="connsiteX1366" fmla="*/ 780593 w 2722973"/>
              <a:gd name="connsiteY1366" fmla="*/ 519455 h 1768474"/>
              <a:gd name="connsiteX1367" fmla="*/ 790558 w 2722973"/>
              <a:gd name="connsiteY1367" fmla="*/ 513461 h 1768474"/>
              <a:gd name="connsiteX1368" fmla="*/ 790558 w 2722973"/>
              <a:gd name="connsiteY1368" fmla="*/ 511463 h 1768474"/>
              <a:gd name="connsiteX1369" fmla="*/ 784579 w 2722973"/>
              <a:gd name="connsiteY1369" fmla="*/ 511463 h 1768474"/>
              <a:gd name="connsiteX1370" fmla="*/ 774614 w 2722973"/>
              <a:gd name="connsiteY1370" fmla="*/ 513461 h 1768474"/>
              <a:gd name="connsiteX1371" fmla="*/ 776607 w 2722973"/>
              <a:gd name="connsiteY1371" fmla="*/ 501474 h 1768474"/>
              <a:gd name="connsiteX1372" fmla="*/ 780593 w 2722973"/>
              <a:gd name="connsiteY1372" fmla="*/ 495480 h 1768474"/>
              <a:gd name="connsiteX1373" fmla="*/ 784579 w 2722973"/>
              <a:gd name="connsiteY1373" fmla="*/ 489486 h 1768474"/>
              <a:gd name="connsiteX1374" fmla="*/ 788565 w 2722973"/>
              <a:gd name="connsiteY1374" fmla="*/ 481495 h 1768474"/>
              <a:gd name="connsiteX1375" fmla="*/ 792551 w 2722973"/>
              <a:gd name="connsiteY1375" fmla="*/ 477499 h 1768474"/>
              <a:gd name="connsiteX1376" fmla="*/ 796538 w 2722973"/>
              <a:gd name="connsiteY1376" fmla="*/ 473503 h 1768474"/>
              <a:gd name="connsiteX1377" fmla="*/ 796538 w 2722973"/>
              <a:gd name="connsiteY1377" fmla="*/ 467509 h 1768474"/>
              <a:gd name="connsiteX1378" fmla="*/ 798531 w 2722973"/>
              <a:gd name="connsiteY1378" fmla="*/ 459518 h 1768474"/>
              <a:gd name="connsiteX1379" fmla="*/ 804510 w 2722973"/>
              <a:gd name="connsiteY1379" fmla="*/ 455522 h 1768474"/>
              <a:gd name="connsiteX1380" fmla="*/ 808496 w 2722973"/>
              <a:gd name="connsiteY1380" fmla="*/ 455522 h 1768474"/>
              <a:gd name="connsiteX1381" fmla="*/ 812482 w 2722973"/>
              <a:gd name="connsiteY1381" fmla="*/ 449528 h 1768474"/>
              <a:gd name="connsiteX1382" fmla="*/ 816468 w 2722973"/>
              <a:gd name="connsiteY1382" fmla="*/ 447530 h 1768474"/>
              <a:gd name="connsiteX1383" fmla="*/ 822447 w 2722973"/>
              <a:gd name="connsiteY1383" fmla="*/ 447530 h 1768474"/>
              <a:gd name="connsiteX1384" fmla="*/ 828426 w 2722973"/>
              <a:gd name="connsiteY1384" fmla="*/ 445532 h 1768474"/>
              <a:gd name="connsiteX1385" fmla="*/ 834406 w 2722973"/>
              <a:gd name="connsiteY1385" fmla="*/ 447530 h 1768474"/>
              <a:gd name="connsiteX1386" fmla="*/ 832413 w 2722973"/>
              <a:gd name="connsiteY1386" fmla="*/ 453524 h 1768474"/>
              <a:gd name="connsiteX1387" fmla="*/ 836399 w 2722973"/>
              <a:gd name="connsiteY1387" fmla="*/ 453524 h 1768474"/>
              <a:gd name="connsiteX1388" fmla="*/ 838392 w 2722973"/>
              <a:gd name="connsiteY1388" fmla="*/ 449528 h 1768474"/>
              <a:gd name="connsiteX1389" fmla="*/ 844371 w 2722973"/>
              <a:gd name="connsiteY1389" fmla="*/ 449528 h 1768474"/>
              <a:gd name="connsiteX1390" fmla="*/ 848357 w 2722973"/>
              <a:gd name="connsiteY1390" fmla="*/ 451526 h 1768474"/>
              <a:gd name="connsiteX1391" fmla="*/ 852343 w 2722973"/>
              <a:gd name="connsiteY1391" fmla="*/ 453524 h 1768474"/>
              <a:gd name="connsiteX1392" fmla="*/ 852343 w 2722973"/>
              <a:gd name="connsiteY1392" fmla="*/ 449528 h 1768474"/>
              <a:gd name="connsiteX1393" fmla="*/ 850350 w 2722973"/>
              <a:gd name="connsiteY1393" fmla="*/ 447530 h 1768474"/>
              <a:gd name="connsiteX1394" fmla="*/ 846364 w 2722973"/>
              <a:gd name="connsiteY1394" fmla="*/ 439539 h 1768474"/>
              <a:gd name="connsiteX1395" fmla="*/ 850350 w 2722973"/>
              <a:gd name="connsiteY1395" fmla="*/ 433545 h 1768474"/>
              <a:gd name="connsiteX1396" fmla="*/ 852343 w 2722973"/>
              <a:gd name="connsiteY1396" fmla="*/ 431547 h 1768474"/>
              <a:gd name="connsiteX1397" fmla="*/ 846364 w 2722973"/>
              <a:gd name="connsiteY1397" fmla="*/ 431547 h 1768474"/>
              <a:gd name="connsiteX1398" fmla="*/ 836399 w 2722973"/>
              <a:gd name="connsiteY1398" fmla="*/ 433545 h 1768474"/>
              <a:gd name="connsiteX1399" fmla="*/ 826434 w 2722973"/>
              <a:gd name="connsiteY1399" fmla="*/ 435543 h 1768474"/>
              <a:gd name="connsiteX1400" fmla="*/ 818461 w 2722973"/>
              <a:gd name="connsiteY1400" fmla="*/ 439539 h 1768474"/>
              <a:gd name="connsiteX1401" fmla="*/ 806503 w 2722973"/>
              <a:gd name="connsiteY1401" fmla="*/ 447530 h 1768474"/>
              <a:gd name="connsiteX1402" fmla="*/ 800523 w 2722973"/>
              <a:gd name="connsiteY1402" fmla="*/ 451526 h 1768474"/>
              <a:gd name="connsiteX1403" fmla="*/ 794544 w 2722973"/>
              <a:gd name="connsiteY1403" fmla="*/ 453524 h 1768474"/>
              <a:gd name="connsiteX1404" fmla="*/ 790558 w 2722973"/>
              <a:gd name="connsiteY1404" fmla="*/ 453524 h 1768474"/>
              <a:gd name="connsiteX1405" fmla="*/ 790558 w 2722973"/>
              <a:gd name="connsiteY1405" fmla="*/ 459518 h 1768474"/>
              <a:gd name="connsiteX1406" fmla="*/ 786572 w 2722973"/>
              <a:gd name="connsiteY1406" fmla="*/ 463513 h 1768474"/>
              <a:gd name="connsiteX1407" fmla="*/ 778600 w 2722973"/>
              <a:gd name="connsiteY1407" fmla="*/ 467509 h 1768474"/>
              <a:gd name="connsiteX1408" fmla="*/ 774614 w 2722973"/>
              <a:gd name="connsiteY1408" fmla="*/ 473503 h 1768474"/>
              <a:gd name="connsiteX1409" fmla="*/ 770628 w 2722973"/>
              <a:gd name="connsiteY1409" fmla="*/ 483492 h 1768474"/>
              <a:gd name="connsiteX1410" fmla="*/ 764648 w 2722973"/>
              <a:gd name="connsiteY1410" fmla="*/ 487488 h 1768474"/>
              <a:gd name="connsiteX1411" fmla="*/ 758670 w 2722973"/>
              <a:gd name="connsiteY1411" fmla="*/ 489486 h 1768474"/>
              <a:gd name="connsiteX1412" fmla="*/ 754683 w 2722973"/>
              <a:gd name="connsiteY1412" fmla="*/ 487488 h 1768474"/>
              <a:gd name="connsiteX1413" fmla="*/ 758670 w 2722973"/>
              <a:gd name="connsiteY1413" fmla="*/ 491484 h 1768474"/>
              <a:gd name="connsiteX1414" fmla="*/ 758670 w 2722973"/>
              <a:gd name="connsiteY1414" fmla="*/ 497478 h 1768474"/>
              <a:gd name="connsiteX1415" fmla="*/ 750697 w 2722973"/>
              <a:gd name="connsiteY1415" fmla="*/ 503472 h 1768474"/>
              <a:gd name="connsiteX1416" fmla="*/ 744718 w 2722973"/>
              <a:gd name="connsiteY1416" fmla="*/ 509465 h 1768474"/>
              <a:gd name="connsiteX1417" fmla="*/ 740731 w 2722973"/>
              <a:gd name="connsiteY1417" fmla="*/ 511463 h 1768474"/>
              <a:gd name="connsiteX1418" fmla="*/ 732760 w 2722973"/>
              <a:gd name="connsiteY1418" fmla="*/ 513461 h 1768474"/>
              <a:gd name="connsiteX1419" fmla="*/ 726780 w 2722973"/>
              <a:gd name="connsiteY1419" fmla="*/ 517457 h 1768474"/>
              <a:gd name="connsiteX1420" fmla="*/ 726780 w 2722973"/>
              <a:gd name="connsiteY1420" fmla="*/ 521453 h 1768474"/>
              <a:gd name="connsiteX1421" fmla="*/ 724787 w 2722973"/>
              <a:gd name="connsiteY1421" fmla="*/ 523451 h 1768474"/>
              <a:gd name="connsiteX1422" fmla="*/ 722794 w 2722973"/>
              <a:gd name="connsiteY1422" fmla="*/ 523451 h 1768474"/>
              <a:gd name="connsiteX1423" fmla="*/ 720801 w 2722973"/>
              <a:gd name="connsiteY1423" fmla="*/ 527446 h 1768474"/>
              <a:gd name="connsiteX1424" fmla="*/ 718808 w 2722973"/>
              <a:gd name="connsiteY1424" fmla="*/ 529444 h 1768474"/>
              <a:gd name="connsiteX1425" fmla="*/ 716815 w 2722973"/>
              <a:gd name="connsiteY1425" fmla="*/ 533440 h 1768474"/>
              <a:gd name="connsiteX1426" fmla="*/ 710836 w 2722973"/>
              <a:gd name="connsiteY1426" fmla="*/ 535438 h 1768474"/>
              <a:gd name="connsiteX1427" fmla="*/ 708843 w 2722973"/>
              <a:gd name="connsiteY1427" fmla="*/ 539434 h 1768474"/>
              <a:gd name="connsiteX1428" fmla="*/ 714822 w 2722973"/>
              <a:gd name="connsiteY1428" fmla="*/ 543430 h 1768474"/>
              <a:gd name="connsiteX1429" fmla="*/ 722794 w 2722973"/>
              <a:gd name="connsiteY1429" fmla="*/ 547425 h 1768474"/>
              <a:gd name="connsiteX1430" fmla="*/ 726780 w 2722973"/>
              <a:gd name="connsiteY1430" fmla="*/ 555417 h 1768474"/>
              <a:gd name="connsiteX1431" fmla="*/ 718808 w 2722973"/>
              <a:gd name="connsiteY1431" fmla="*/ 559413 h 1768474"/>
              <a:gd name="connsiteX1432" fmla="*/ 712829 w 2722973"/>
              <a:gd name="connsiteY1432" fmla="*/ 563409 h 1768474"/>
              <a:gd name="connsiteX1433" fmla="*/ 702863 w 2722973"/>
              <a:gd name="connsiteY1433" fmla="*/ 565407 h 1768474"/>
              <a:gd name="connsiteX1434" fmla="*/ 698877 w 2722973"/>
              <a:gd name="connsiteY1434" fmla="*/ 571400 h 1768474"/>
              <a:gd name="connsiteX1435" fmla="*/ 694891 w 2722973"/>
              <a:gd name="connsiteY1435" fmla="*/ 575396 h 1768474"/>
              <a:gd name="connsiteX1436" fmla="*/ 692898 w 2722973"/>
              <a:gd name="connsiteY1436" fmla="*/ 579392 h 1768474"/>
              <a:gd name="connsiteX1437" fmla="*/ 686919 w 2722973"/>
              <a:gd name="connsiteY1437" fmla="*/ 581390 h 1768474"/>
              <a:gd name="connsiteX1438" fmla="*/ 682933 w 2722973"/>
              <a:gd name="connsiteY1438" fmla="*/ 585386 h 1768474"/>
              <a:gd name="connsiteX1439" fmla="*/ 676953 w 2722973"/>
              <a:gd name="connsiteY1439" fmla="*/ 587383 h 1768474"/>
              <a:gd name="connsiteX1440" fmla="*/ 672967 w 2722973"/>
              <a:gd name="connsiteY1440" fmla="*/ 587383 h 1768474"/>
              <a:gd name="connsiteX1441" fmla="*/ 668981 w 2722973"/>
              <a:gd name="connsiteY1441" fmla="*/ 591379 h 1768474"/>
              <a:gd name="connsiteX1442" fmla="*/ 664995 w 2722973"/>
              <a:gd name="connsiteY1442" fmla="*/ 595375 h 1768474"/>
              <a:gd name="connsiteX1443" fmla="*/ 657023 w 2722973"/>
              <a:gd name="connsiteY1443" fmla="*/ 595375 h 1768474"/>
              <a:gd name="connsiteX1444" fmla="*/ 653036 w 2722973"/>
              <a:gd name="connsiteY1444" fmla="*/ 599371 h 1768474"/>
              <a:gd name="connsiteX1445" fmla="*/ 649051 w 2722973"/>
              <a:gd name="connsiteY1445" fmla="*/ 603367 h 1768474"/>
              <a:gd name="connsiteX1446" fmla="*/ 643071 w 2722973"/>
              <a:gd name="connsiteY1446" fmla="*/ 603367 h 1768474"/>
              <a:gd name="connsiteX1447" fmla="*/ 641078 w 2722973"/>
              <a:gd name="connsiteY1447" fmla="*/ 607362 h 1768474"/>
              <a:gd name="connsiteX1448" fmla="*/ 635099 w 2722973"/>
              <a:gd name="connsiteY1448" fmla="*/ 609360 h 1768474"/>
              <a:gd name="connsiteX1449" fmla="*/ 631113 w 2722973"/>
              <a:gd name="connsiteY1449" fmla="*/ 613356 h 1768474"/>
              <a:gd name="connsiteX1450" fmla="*/ 631113 w 2722973"/>
              <a:gd name="connsiteY1450" fmla="*/ 621348 h 1768474"/>
              <a:gd name="connsiteX1451" fmla="*/ 627127 w 2722973"/>
              <a:gd name="connsiteY1451" fmla="*/ 625344 h 1768474"/>
              <a:gd name="connsiteX1452" fmla="*/ 623140 w 2722973"/>
              <a:gd name="connsiteY1452" fmla="*/ 627342 h 1768474"/>
              <a:gd name="connsiteX1453" fmla="*/ 621147 w 2722973"/>
              <a:gd name="connsiteY1453" fmla="*/ 629339 h 1768474"/>
              <a:gd name="connsiteX1454" fmla="*/ 615169 w 2722973"/>
              <a:gd name="connsiteY1454" fmla="*/ 629339 h 1768474"/>
              <a:gd name="connsiteX1455" fmla="*/ 611182 w 2722973"/>
              <a:gd name="connsiteY1455" fmla="*/ 631337 h 1768474"/>
              <a:gd name="connsiteX1456" fmla="*/ 609189 w 2722973"/>
              <a:gd name="connsiteY1456" fmla="*/ 635333 h 1768474"/>
              <a:gd name="connsiteX1457" fmla="*/ 603210 w 2722973"/>
              <a:gd name="connsiteY1457" fmla="*/ 633335 h 1768474"/>
              <a:gd name="connsiteX1458" fmla="*/ 601217 w 2722973"/>
              <a:gd name="connsiteY1458" fmla="*/ 633335 h 1768474"/>
              <a:gd name="connsiteX1459" fmla="*/ 597231 w 2722973"/>
              <a:gd name="connsiteY1459" fmla="*/ 635333 h 1768474"/>
              <a:gd name="connsiteX1460" fmla="*/ 595237 w 2722973"/>
              <a:gd name="connsiteY1460" fmla="*/ 637331 h 1768474"/>
              <a:gd name="connsiteX1461" fmla="*/ 593245 w 2722973"/>
              <a:gd name="connsiteY1461" fmla="*/ 641327 h 1768474"/>
              <a:gd name="connsiteX1462" fmla="*/ 589259 w 2722973"/>
              <a:gd name="connsiteY1462" fmla="*/ 641327 h 1768474"/>
              <a:gd name="connsiteX1463" fmla="*/ 585272 w 2722973"/>
              <a:gd name="connsiteY1463" fmla="*/ 639329 h 1768474"/>
              <a:gd name="connsiteX1464" fmla="*/ 583279 w 2722973"/>
              <a:gd name="connsiteY1464" fmla="*/ 643325 h 1768474"/>
              <a:gd name="connsiteX1465" fmla="*/ 579293 w 2722973"/>
              <a:gd name="connsiteY1465" fmla="*/ 645323 h 1768474"/>
              <a:gd name="connsiteX1466" fmla="*/ 575307 w 2722973"/>
              <a:gd name="connsiteY1466" fmla="*/ 643325 h 1768474"/>
              <a:gd name="connsiteX1467" fmla="*/ 571321 w 2722973"/>
              <a:gd name="connsiteY1467" fmla="*/ 645323 h 1768474"/>
              <a:gd name="connsiteX1468" fmla="*/ 573314 w 2722973"/>
              <a:gd name="connsiteY1468" fmla="*/ 651316 h 1768474"/>
              <a:gd name="connsiteX1469" fmla="*/ 569328 w 2722973"/>
              <a:gd name="connsiteY1469" fmla="*/ 655312 h 1768474"/>
              <a:gd name="connsiteX1470" fmla="*/ 563349 w 2722973"/>
              <a:gd name="connsiteY1470" fmla="*/ 655312 h 1768474"/>
              <a:gd name="connsiteX1471" fmla="*/ 561355 w 2722973"/>
              <a:gd name="connsiteY1471" fmla="*/ 661306 h 1768474"/>
              <a:gd name="connsiteX1472" fmla="*/ 557370 w 2722973"/>
              <a:gd name="connsiteY1472" fmla="*/ 663304 h 1768474"/>
              <a:gd name="connsiteX1473" fmla="*/ 553383 w 2722973"/>
              <a:gd name="connsiteY1473" fmla="*/ 661306 h 1768474"/>
              <a:gd name="connsiteX1474" fmla="*/ 549397 w 2722973"/>
              <a:gd name="connsiteY1474" fmla="*/ 663304 h 1768474"/>
              <a:gd name="connsiteX1475" fmla="*/ 545411 w 2722973"/>
              <a:gd name="connsiteY1475" fmla="*/ 665302 h 1768474"/>
              <a:gd name="connsiteX1476" fmla="*/ 537439 w 2722973"/>
              <a:gd name="connsiteY1476" fmla="*/ 669297 h 1768474"/>
              <a:gd name="connsiteX1477" fmla="*/ 535446 w 2722973"/>
              <a:gd name="connsiteY1477" fmla="*/ 673293 h 1768474"/>
              <a:gd name="connsiteX1478" fmla="*/ 533453 w 2722973"/>
              <a:gd name="connsiteY1478" fmla="*/ 675291 h 1768474"/>
              <a:gd name="connsiteX1479" fmla="*/ 531460 w 2722973"/>
              <a:gd name="connsiteY1479" fmla="*/ 673293 h 1768474"/>
              <a:gd name="connsiteX1480" fmla="*/ 533453 w 2722973"/>
              <a:gd name="connsiteY1480" fmla="*/ 667300 h 1768474"/>
              <a:gd name="connsiteX1481" fmla="*/ 529467 w 2722973"/>
              <a:gd name="connsiteY1481" fmla="*/ 667300 h 1768474"/>
              <a:gd name="connsiteX1482" fmla="*/ 523487 w 2722973"/>
              <a:gd name="connsiteY1482" fmla="*/ 669297 h 1768474"/>
              <a:gd name="connsiteX1483" fmla="*/ 517508 w 2722973"/>
              <a:gd name="connsiteY1483" fmla="*/ 673293 h 1768474"/>
              <a:gd name="connsiteX1484" fmla="*/ 513522 w 2722973"/>
              <a:gd name="connsiteY1484" fmla="*/ 673293 h 1768474"/>
              <a:gd name="connsiteX1485" fmla="*/ 511529 w 2722973"/>
              <a:gd name="connsiteY1485" fmla="*/ 677289 h 1768474"/>
              <a:gd name="connsiteX1486" fmla="*/ 505550 w 2722973"/>
              <a:gd name="connsiteY1486" fmla="*/ 679287 h 1768474"/>
              <a:gd name="connsiteX1487" fmla="*/ 505550 w 2722973"/>
              <a:gd name="connsiteY1487" fmla="*/ 685281 h 1768474"/>
              <a:gd name="connsiteX1488" fmla="*/ 505550 w 2722973"/>
              <a:gd name="connsiteY1488" fmla="*/ 693272 h 1768474"/>
              <a:gd name="connsiteX1489" fmla="*/ 499571 w 2722973"/>
              <a:gd name="connsiteY1489" fmla="*/ 693272 h 1768474"/>
              <a:gd name="connsiteX1490" fmla="*/ 497577 w 2722973"/>
              <a:gd name="connsiteY1490" fmla="*/ 685281 h 1768474"/>
              <a:gd name="connsiteX1491" fmla="*/ 499571 w 2722973"/>
              <a:gd name="connsiteY1491" fmla="*/ 681285 h 1768474"/>
              <a:gd name="connsiteX1492" fmla="*/ 493591 w 2722973"/>
              <a:gd name="connsiteY1492" fmla="*/ 681285 h 1768474"/>
              <a:gd name="connsiteX1493" fmla="*/ 489605 w 2722973"/>
              <a:gd name="connsiteY1493" fmla="*/ 683283 h 1768474"/>
              <a:gd name="connsiteX1494" fmla="*/ 483626 w 2722973"/>
              <a:gd name="connsiteY1494" fmla="*/ 681285 h 1768474"/>
              <a:gd name="connsiteX1495" fmla="*/ 483626 w 2722973"/>
              <a:gd name="connsiteY1495" fmla="*/ 677289 h 1768474"/>
              <a:gd name="connsiteX1496" fmla="*/ 481633 w 2722973"/>
              <a:gd name="connsiteY1496" fmla="*/ 675291 h 1768474"/>
              <a:gd name="connsiteX1497" fmla="*/ 475654 w 2722973"/>
              <a:gd name="connsiteY1497" fmla="*/ 679287 h 1768474"/>
              <a:gd name="connsiteX1498" fmla="*/ 471668 w 2722973"/>
              <a:gd name="connsiteY1498" fmla="*/ 685281 h 1768474"/>
              <a:gd name="connsiteX1499" fmla="*/ 467682 w 2722973"/>
              <a:gd name="connsiteY1499" fmla="*/ 689277 h 1768474"/>
              <a:gd name="connsiteX1500" fmla="*/ 459709 w 2722973"/>
              <a:gd name="connsiteY1500" fmla="*/ 691274 h 1768474"/>
              <a:gd name="connsiteX1501" fmla="*/ 455723 w 2722973"/>
              <a:gd name="connsiteY1501" fmla="*/ 689277 h 1768474"/>
              <a:gd name="connsiteX1502" fmla="*/ 455723 w 2722973"/>
              <a:gd name="connsiteY1502" fmla="*/ 685281 h 1768474"/>
              <a:gd name="connsiteX1503" fmla="*/ 449744 w 2722973"/>
              <a:gd name="connsiteY1503" fmla="*/ 689277 h 1768474"/>
              <a:gd name="connsiteX1504" fmla="*/ 447751 w 2722973"/>
              <a:gd name="connsiteY1504" fmla="*/ 695270 h 1768474"/>
              <a:gd name="connsiteX1505" fmla="*/ 443765 w 2722973"/>
              <a:gd name="connsiteY1505" fmla="*/ 693272 h 1768474"/>
              <a:gd name="connsiteX1506" fmla="*/ 439779 w 2722973"/>
              <a:gd name="connsiteY1506" fmla="*/ 695270 h 1768474"/>
              <a:gd name="connsiteX1507" fmla="*/ 439779 w 2722973"/>
              <a:gd name="connsiteY1507" fmla="*/ 703262 h 1768474"/>
              <a:gd name="connsiteX1508" fmla="*/ 433799 w 2722973"/>
              <a:gd name="connsiteY1508" fmla="*/ 699266 h 1768474"/>
              <a:gd name="connsiteX1509" fmla="*/ 437785 w 2722973"/>
              <a:gd name="connsiteY1509" fmla="*/ 689277 h 1768474"/>
              <a:gd name="connsiteX1510" fmla="*/ 443765 w 2722973"/>
              <a:gd name="connsiteY1510" fmla="*/ 685281 h 1768474"/>
              <a:gd name="connsiteX1511" fmla="*/ 449744 w 2722973"/>
              <a:gd name="connsiteY1511" fmla="*/ 685281 h 1768474"/>
              <a:gd name="connsiteX1512" fmla="*/ 451737 w 2722973"/>
              <a:gd name="connsiteY1512" fmla="*/ 679287 h 1768474"/>
              <a:gd name="connsiteX1513" fmla="*/ 457716 w 2722973"/>
              <a:gd name="connsiteY1513" fmla="*/ 679287 h 1768474"/>
              <a:gd name="connsiteX1514" fmla="*/ 461702 w 2722973"/>
              <a:gd name="connsiteY1514" fmla="*/ 673293 h 1768474"/>
              <a:gd name="connsiteX1515" fmla="*/ 471668 w 2722973"/>
              <a:gd name="connsiteY1515" fmla="*/ 669297 h 1768474"/>
              <a:gd name="connsiteX1516" fmla="*/ 481633 w 2722973"/>
              <a:gd name="connsiteY1516" fmla="*/ 661306 h 1768474"/>
              <a:gd name="connsiteX1517" fmla="*/ 491598 w 2722973"/>
              <a:gd name="connsiteY1517" fmla="*/ 659308 h 1768474"/>
              <a:gd name="connsiteX1518" fmla="*/ 497577 w 2722973"/>
              <a:gd name="connsiteY1518" fmla="*/ 661306 h 1768474"/>
              <a:gd name="connsiteX1519" fmla="*/ 503557 w 2722973"/>
              <a:gd name="connsiteY1519" fmla="*/ 665302 h 1768474"/>
              <a:gd name="connsiteX1520" fmla="*/ 509536 w 2722973"/>
              <a:gd name="connsiteY1520" fmla="*/ 663304 h 1768474"/>
              <a:gd name="connsiteX1521" fmla="*/ 515515 w 2722973"/>
              <a:gd name="connsiteY1521" fmla="*/ 657310 h 1768474"/>
              <a:gd name="connsiteX1522" fmla="*/ 525480 w 2722973"/>
              <a:gd name="connsiteY1522" fmla="*/ 651316 h 1768474"/>
              <a:gd name="connsiteX1523" fmla="*/ 535446 w 2722973"/>
              <a:gd name="connsiteY1523" fmla="*/ 639329 h 1768474"/>
              <a:gd name="connsiteX1524" fmla="*/ 549397 w 2722973"/>
              <a:gd name="connsiteY1524" fmla="*/ 635333 h 1768474"/>
              <a:gd name="connsiteX1525" fmla="*/ 555376 w 2722973"/>
              <a:gd name="connsiteY1525" fmla="*/ 631337 h 1768474"/>
              <a:gd name="connsiteX1526" fmla="*/ 563349 w 2722973"/>
              <a:gd name="connsiteY1526" fmla="*/ 629339 h 1768474"/>
              <a:gd name="connsiteX1527" fmla="*/ 569328 w 2722973"/>
              <a:gd name="connsiteY1527" fmla="*/ 631337 h 1768474"/>
              <a:gd name="connsiteX1528" fmla="*/ 575307 w 2722973"/>
              <a:gd name="connsiteY1528" fmla="*/ 621348 h 1768474"/>
              <a:gd name="connsiteX1529" fmla="*/ 581286 w 2722973"/>
              <a:gd name="connsiteY1529" fmla="*/ 617352 h 1768474"/>
              <a:gd name="connsiteX1530" fmla="*/ 583279 w 2722973"/>
              <a:gd name="connsiteY1530" fmla="*/ 613356 h 1768474"/>
              <a:gd name="connsiteX1531" fmla="*/ 587265 w 2722973"/>
              <a:gd name="connsiteY1531" fmla="*/ 611358 h 1768474"/>
              <a:gd name="connsiteX1532" fmla="*/ 591252 w 2722973"/>
              <a:gd name="connsiteY1532" fmla="*/ 605365 h 1768474"/>
              <a:gd name="connsiteX1533" fmla="*/ 599224 w 2722973"/>
              <a:gd name="connsiteY1533" fmla="*/ 603367 h 1768474"/>
              <a:gd name="connsiteX1534" fmla="*/ 603210 w 2722973"/>
              <a:gd name="connsiteY1534" fmla="*/ 605365 h 1768474"/>
              <a:gd name="connsiteX1535" fmla="*/ 605203 w 2722973"/>
              <a:gd name="connsiteY1535" fmla="*/ 601369 h 1768474"/>
              <a:gd name="connsiteX1536" fmla="*/ 603210 w 2722973"/>
              <a:gd name="connsiteY1536" fmla="*/ 591379 h 1768474"/>
              <a:gd name="connsiteX1537" fmla="*/ 611182 w 2722973"/>
              <a:gd name="connsiteY1537" fmla="*/ 579392 h 1768474"/>
              <a:gd name="connsiteX1538" fmla="*/ 615169 w 2722973"/>
              <a:gd name="connsiteY1538" fmla="*/ 575396 h 1768474"/>
              <a:gd name="connsiteX1539" fmla="*/ 617161 w 2722973"/>
              <a:gd name="connsiteY1539" fmla="*/ 567404 h 1768474"/>
              <a:gd name="connsiteX1540" fmla="*/ 619155 w 2722973"/>
              <a:gd name="connsiteY1540" fmla="*/ 561411 h 1768474"/>
              <a:gd name="connsiteX1541" fmla="*/ 629120 w 2722973"/>
              <a:gd name="connsiteY1541" fmla="*/ 553419 h 1768474"/>
              <a:gd name="connsiteX1542" fmla="*/ 635099 w 2722973"/>
              <a:gd name="connsiteY1542" fmla="*/ 547425 h 1768474"/>
              <a:gd name="connsiteX1543" fmla="*/ 637092 w 2722973"/>
              <a:gd name="connsiteY1543" fmla="*/ 545427 h 1768474"/>
              <a:gd name="connsiteX1544" fmla="*/ 633106 w 2722973"/>
              <a:gd name="connsiteY1544" fmla="*/ 545427 h 1768474"/>
              <a:gd name="connsiteX1545" fmla="*/ 627127 w 2722973"/>
              <a:gd name="connsiteY1545" fmla="*/ 547425 h 1768474"/>
              <a:gd name="connsiteX1546" fmla="*/ 621147 w 2722973"/>
              <a:gd name="connsiteY1546" fmla="*/ 551421 h 1768474"/>
              <a:gd name="connsiteX1547" fmla="*/ 613175 w 2722973"/>
              <a:gd name="connsiteY1547" fmla="*/ 555417 h 1768474"/>
              <a:gd name="connsiteX1548" fmla="*/ 607196 w 2722973"/>
              <a:gd name="connsiteY1548" fmla="*/ 559413 h 1768474"/>
              <a:gd name="connsiteX1549" fmla="*/ 601217 w 2722973"/>
              <a:gd name="connsiteY1549" fmla="*/ 555417 h 1768474"/>
              <a:gd name="connsiteX1550" fmla="*/ 601217 w 2722973"/>
              <a:gd name="connsiteY1550" fmla="*/ 547425 h 1768474"/>
              <a:gd name="connsiteX1551" fmla="*/ 605203 w 2722973"/>
              <a:gd name="connsiteY1551" fmla="*/ 547425 h 1768474"/>
              <a:gd name="connsiteX1552" fmla="*/ 611182 w 2722973"/>
              <a:gd name="connsiteY1552" fmla="*/ 549423 h 1768474"/>
              <a:gd name="connsiteX1553" fmla="*/ 615169 w 2722973"/>
              <a:gd name="connsiteY1553" fmla="*/ 547425 h 1768474"/>
              <a:gd name="connsiteX1554" fmla="*/ 611182 w 2722973"/>
              <a:gd name="connsiteY1554" fmla="*/ 545427 h 1768474"/>
              <a:gd name="connsiteX1555" fmla="*/ 605203 w 2722973"/>
              <a:gd name="connsiteY1555" fmla="*/ 543430 h 1768474"/>
              <a:gd name="connsiteX1556" fmla="*/ 603210 w 2722973"/>
              <a:gd name="connsiteY1556" fmla="*/ 541432 h 1768474"/>
              <a:gd name="connsiteX1557" fmla="*/ 597231 w 2722973"/>
              <a:gd name="connsiteY1557" fmla="*/ 545427 h 1768474"/>
              <a:gd name="connsiteX1558" fmla="*/ 593245 w 2722973"/>
              <a:gd name="connsiteY1558" fmla="*/ 549423 h 1768474"/>
              <a:gd name="connsiteX1559" fmla="*/ 589259 w 2722973"/>
              <a:gd name="connsiteY1559" fmla="*/ 553419 h 1768474"/>
              <a:gd name="connsiteX1560" fmla="*/ 587265 w 2722973"/>
              <a:gd name="connsiteY1560" fmla="*/ 559413 h 1768474"/>
              <a:gd name="connsiteX1561" fmla="*/ 585272 w 2722973"/>
              <a:gd name="connsiteY1561" fmla="*/ 569402 h 1768474"/>
              <a:gd name="connsiteX1562" fmla="*/ 581286 w 2722973"/>
              <a:gd name="connsiteY1562" fmla="*/ 569402 h 1768474"/>
              <a:gd name="connsiteX1563" fmla="*/ 577300 w 2722973"/>
              <a:gd name="connsiteY1563" fmla="*/ 563409 h 1768474"/>
              <a:gd name="connsiteX1564" fmla="*/ 575307 w 2722973"/>
              <a:gd name="connsiteY1564" fmla="*/ 555417 h 1768474"/>
              <a:gd name="connsiteX1565" fmla="*/ 571321 w 2722973"/>
              <a:gd name="connsiteY1565" fmla="*/ 549423 h 1768474"/>
              <a:gd name="connsiteX1566" fmla="*/ 569328 w 2722973"/>
              <a:gd name="connsiteY1566" fmla="*/ 545427 h 1768474"/>
              <a:gd name="connsiteX1567" fmla="*/ 567335 w 2722973"/>
              <a:gd name="connsiteY1567" fmla="*/ 547425 h 1768474"/>
              <a:gd name="connsiteX1568" fmla="*/ 559363 w 2722973"/>
              <a:gd name="connsiteY1568" fmla="*/ 549423 h 1768474"/>
              <a:gd name="connsiteX1569" fmla="*/ 559363 w 2722973"/>
              <a:gd name="connsiteY1569" fmla="*/ 543430 h 1768474"/>
              <a:gd name="connsiteX1570" fmla="*/ 557370 w 2722973"/>
              <a:gd name="connsiteY1570" fmla="*/ 539434 h 1768474"/>
              <a:gd name="connsiteX1571" fmla="*/ 547404 w 2722973"/>
              <a:gd name="connsiteY1571" fmla="*/ 543430 h 1768474"/>
              <a:gd name="connsiteX1572" fmla="*/ 537439 w 2722973"/>
              <a:gd name="connsiteY1572" fmla="*/ 549423 h 1768474"/>
              <a:gd name="connsiteX1573" fmla="*/ 531460 w 2722973"/>
              <a:gd name="connsiteY1573" fmla="*/ 551421 h 1768474"/>
              <a:gd name="connsiteX1574" fmla="*/ 521494 w 2722973"/>
              <a:gd name="connsiteY1574" fmla="*/ 559413 h 1768474"/>
              <a:gd name="connsiteX1575" fmla="*/ 513522 w 2722973"/>
              <a:gd name="connsiteY1575" fmla="*/ 561411 h 1768474"/>
              <a:gd name="connsiteX1576" fmla="*/ 511529 w 2722973"/>
              <a:gd name="connsiteY1576" fmla="*/ 559413 h 1768474"/>
              <a:gd name="connsiteX1577" fmla="*/ 513522 w 2722973"/>
              <a:gd name="connsiteY1577" fmla="*/ 555417 h 1768474"/>
              <a:gd name="connsiteX1578" fmla="*/ 517508 w 2722973"/>
              <a:gd name="connsiteY1578" fmla="*/ 549423 h 1768474"/>
              <a:gd name="connsiteX1579" fmla="*/ 515515 w 2722973"/>
              <a:gd name="connsiteY1579" fmla="*/ 543430 h 1768474"/>
              <a:gd name="connsiteX1580" fmla="*/ 519501 w 2722973"/>
              <a:gd name="connsiteY1580" fmla="*/ 539434 h 1768474"/>
              <a:gd name="connsiteX1581" fmla="*/ 521494 w 2722973"/>
              <a:gd name="connsiteY1581" fmla="*/ 533440 h 1768474"/>
              <a:gd name="connsiteX1582" fmla="*/ 517508 w 2722973"/>
              <a:gd name="connsiteY1582" fmla="*/ 531442 h 1768474"/>
              <a:gd name="connsiteX1583" fmla="*/ 517508 w 2722973"/>
              <a:gd name="connsiteY1583" fmla="*/ 527446 h 1768474"/>
              <a:gd name="connsiteX1584" fmla="*/ 521494 w 2722973"/>
              <a:gd name="connsiteY1584" fmla="*/ 527446 h 1768474"/>
              <a:gd name="connsiteX1585" fmla="*/ 523487 w 2722973"/>
              <a:gd name="connsiteY1585" fmla="*/ 523451 h 1768474"/>
              <a:gd name="connsiteX1586" fmla="*/ 525480 w 2722973"/>
              <a:gd name="connsiteY1586" fmla="*/ 521453 h 1768474"/>
              <a:gd name="connsiteX1587" fmla="*/ 529467 w 2722973"/>
              <a:gd name="connsiteY1587" fmla="*/ 519455 h 1768474"/>
              <a:gd name="connsiteX1588" fmla="*/ 529467 w 2722973"/>
              <a:gd name="connsiteY1588" fmla="*/ 511463 h 1768474"/>
              <a:gd name="connsiteX1589" fmla="*/ 529467 w 2722973"/>
              <a:gd name="connsiteY1589" fmla="*/ 503472 h 1768474"/>
              <a:gd name="connsiteX1590" fmla="*/ 527474 w 2722973"/>
              <a:gd name="connsiteY1590" fmla="*/ 495480 h 1768474"/>
              <a:gd name="connsiteX1591" fmla="*/ 527474 w 2722973"/>
              <a:gd name="connsiteY1591" fmla="*/ 485490 h 1768474"/>
              <a:gd name="connsiteX1592" fmla="*/ 537439 w 2722973"/>
              <a:gd name="connsiteY1592" fmla="*/ 477499 h 1768474"/>
              <a:gd name="connsiteX1593" fmla="*/ 539432 w 2722973"/>
              <a:gd name="connsiteY1593" fmla="*/ 473503 h 1768474"/>
              <a:gd name="connsiteX1594" fmla="*/ 545411 w 2722973"/>
              <a:gd name="connsiteY1594" fmla="*/ 469507 h 1768474"/>
              <a:gd name="connsiteX1595" fmla="*/ 547404 w 2722973"/>
              <a:gd name="connsiteY1595" fmla="*/ 465511 h 1768474"/>
              <a:gd name="connsiteX1596" fmla="*/ 541425 w 2722973"/>
              <a:gd name="connsiteY1596" fmla="*/ 465511 h 1768474"/>
              <a:gd name="connsiteX1597" fmla="*/ 535446 w 2722973"/>
              <a:gd name="connsiteY1597" fmla="*/ 471505 h 1768474"/>
              <a:gd name="connsiteX1598" fmla="*/ 531460 w 2722973"/>
              <a:gd name="connsiteY1598" fmla="*/ 477499 h 1768474"/>
              <a:gd name="connsiteX1599" fmla="*/ 523487 w 2722973"/>
              <a:gd name="connsiteY1599" fmla="*/ 483492 h 1768474"/>
              <a:gd name="connsiteX1600" fmla="*/ 519501 w 2722973"/>
              <a:gd name="connsiteY1600" fmla="*/ 493482 h 1768474"/>
              <a:gd name="connsiteX1601" fmla="*/ 517508 w 2722973"/>
              <a:gd name="connsiteY1601" fmla="*/ 497478 h 1768474"/>
              <a:gd name="connsiteX1602" fmla="*/ 509536 w 2722973"/>
              <a:gd name="connsiteY1602" fmla="*/ 499476 h 1768474"/>
              <a:gd name="connsiteX1603" fmla="*/ 503557 w 2722973"/>
              <a:gd name="connsiteY1603" fmla="*/ 501474 h 1768474"/>
              <a:gd name="connsiteX1604" fmla="*/ 497577 w 2722973"/>
              <a:gd name="connsiteY1604" fmla="*/ 507467 h 1768474"/>
              <a:gd name="connsiteX1605" fmla="*/ 493591 w 2722973"/>
              <a:gd name="connsiteY1605" fmla="*/ 509465 h 1768474"/>
              <a:gd name="connsiteX1606" fmla="*/ 481633 w 2722973"/>
              <a:gd name="connsiteY1606" fmla="*/ 507467 h 1768474"/>
              <a:gd name="connsiteX1607" fmla="*/ 477647 w 2722973"/>
              <a:gd name="connsiteY1607" fmla="*/ 505469 h 1768474"/>
              <a:gd name="connsiteX1608" fmla="*/ 479640 w 2722973"/>
              <a:gd name="connsiteY1608" fmla="*/ 495480 h 1768474"/>
              <a:gd name="connsiteX1609" fmla="*/ 471668 w 2722973"/>
              <a:gd name="connsiteY1609" fmla="*/ 485490 h 1768474"/>
              <a:gd name="connsiteX1610" fmla="*/ 465688 w 2722973"/>
              <a:gd name="connsiteY1610" fmla="*/ 483492 h 1768474"/>
              <a:gd name="connsiteX1611" fmla="*/ 467682 w 2722973"/>
              <a:gd name="connsiteY1611" fmla="*/ 477499 h 1768474"/>
              <a:gd name="connsiteX1612" fmla="*/ 465688 w 2722973"/>
              <a:gd name="connsiteY1612" fmla="*/ 473503 h 1768474"/>
              <a:gd name="connsiteX1613" fmla="*/ 461702 w 2722973"/>
              <a:gd name="connsiteY1613" fmla="*/ 469507 h 1768474"/>
              <a:gd name="connsiteX1614" fmla="*/ 465688 w 2722973"/>
              <a:gd name="connsiteY1614" fmla="*/ 465511 h 1768474"/>
              <a:gd name="connsiteX1615" fmla="*/ 471668 w 2722973"/>
              <a:gd name="connsiteY1615" fmla="*/ 463513 h 1768474"/>
              <a:gd name="connsiteX1616" fmla="*/ 473661 w 2722973"/>
              <a:gd name="connsiteY1616" fmla="*/ 457520 h 1768474"/>
              <a:gd name="connsiteX1617" fmla="*/ 479640 w 2722973"/>
              <a:gd name="connsiteY1617" fmla="*/ 459518 h 1768474"/>
              <a:gd name="connsiteX1618" fmla="*/ 487612 w 2722973"/>
              <a:gd name="connsiteY1618" fmla="*/ 463513 h 1768474"/>
              <a:gd name="connsiteX1619" fmla="*/ 487612 w 2722973"/>
              <a:gd name="connsiteY1619" fmla="*/ 467509 h 1768474"/>
              <a:gd name="connsiteX1620" fmla="*/ 491598 w 2722973"/>
              <a:gd name="connsiteY1620" fmla="*/ 467509 h 1768474"/>
              <a:gd name="connsiteX1621" fmla="*/ 495584 w 2722973"/>
              <a:gd name="connsiteY1621" fmla="*/ 461516 h 1768474"/>
              <a:gd name="connsiteX1622" fmla="*/ 497577 w 2722973"/>
              <a:gd name="connsiteY1622" fmla="*/ 465511 h 1768474"/>
              <a:gd name="connsiteX1623" fmla="*/ 495584 w 2722973"/>
              <a:gd name="connsiteY1623" fmla="*/ 471505 h 1768474"/>
              <a:gd name="connsiteX1624" fmla="*/ 501564 w 2722973"/>
              <a:gd name="connsiteY1624" fmla="*/ 471505 h 1768474"/>
              <a:gd name="connsiteX1625" fmla="*/ 505550 w 2722973"/>
              <a:gd name="connsiteY1625" fmla="*/ 469507 h 1768474"/>
              <a:gd name="connsiteX1626" fmla="*/ 507543 w 2722973"/>
              <a:gd name="connsiteY1626" fmla="*/ 465511 h 1768474"/>
              <a:gd name="connsiteX1627" fmla="*/ 505550 w 2722973"/>
              <a:gd name="connsiteY1627" fmla="*/ 461516 h 1768474"/>
              <a:gd name="connsiteX1628" fmla="*/ 505550 w 2722973"/>
              <a:gd name="connsiteY1628" fmla="*/ 457520 h 1768474"/>
              <a:gd name="connsiteX1629" fmla="*/ 509536 w 2722973"/>
              <a:gd name="connsiteY1629" fmla="*/ 453524 h 1768474"/>
              <a:gd name="connsiteX1630" fmla="*/ 509536 w 2722973"/>
              <a:gd name="connsiteY1630" fmla="*/ 451526 h 1768474"/>
              <a:gd name="connsiteX1631" fmla="*/ 503557 w 2722973"/>
              <a:gd name="connsiteY1631" fmla="*/ 453524 h 1768474"/>
              <a:gd name="connsiteX1632" fmla="*/ 491598 w 2722973"/>
              <a:gd name="connsiteY1632" fmla="*/ 457520 h 1768474"/>
              <a:gd name="connsiteX1633" fmla="*/ 483626 w 2722973"/>
              <a:gd name="connsiteY1633" fmla="*/ 457520 h 1768474"/>
              <a:gd name="connsiteX1634" fmla="*/ 479640 w 2722973"/>
              <a:gd name="connsiteY1634" fmla="*/ 453524 h 1768474"/>
              <a:gd name="connsiteX1635" fmla="*/ 473661 w 2722973"/>
              <a:gd name="connsiteY1635" fmla="*/ 453524 h 1768474"/>
              <a:gd name="connsiteX1636" fmla="*/ 475654 w 2722973"/>
              <a:gd name="connsiteY1636" fmla="*/ 445532 h 1768474"/>
              <a:gd name="connsiteX1637" fmla="*/ 471668 w 2722973"/>
              <a:gd name="connsiteY1637" fmla="*/ 445532 h 1768474"/>
              <a:gd name="connsiteX1638" fmla="*/ 469675 w 2722973"/>
              <a:gd name="connsiteY1638" fmla="*/ 447530 h 1768474"/>
              <a:gd name="connsiteX1639" fmla="*/ 467682 w 2722973"/>
              <a:gd name="connsiteY1639" fmla="*/ 447530 h 1768474"/>
              <a:gd name="connsiteX1640" fmla="*/ 463695 w 2722973"/>
              <a:gd name="connsiteY1640" fmla="*/ 447530 h 1768474"/>
              <a:gd name="connsiteX1641" fmla="*/ 463695 w 2722973"/>
              <a:gd name="connsiteY1641" fmla="*/ 441537 h 1768474"/>
              <a:gd name="connsiteX1642" fmla="*/ 459709 w 2722973"/>
              <a:gd name="connsiteY1642" fmla="*/ 437541 h 1768474"/>
              <a:gd name="connsiteX1643" fmla="*/ 457716 w 2722973"/>
              <a:gd name="connsiteY1643" fmla="*/ 435543 h 1768474"/>
              <a:gd name="connsiteX1644" fmla="*/ 463695 w 2722973"/>
              <a:gd name="connsiteY1644" fmla="*/ 427551 h 1768474"/>
              <a:gd name="connsiteX1645" fmla="*/ 461702 w 2722973"/>
              <a:gd name="connsiteY1645" fmla="*/ 417562 h 1768474"/>
              <a:gd name="connsiteX1646" fmla="*/ 467682 w 2722973"/>
              <a:gd name="connsiteY1646" fmla="*/ 417562 h 1768474"/>
              <a:gd name="connsiteX1647" fmla="*/ 471668 w 2722973"/>
              <a:gd name="connsiteY1647" fmla="*/ 413566 h 1768474"/>
              <a:gd name="connsiteX1648" fmla="*/ 479640 w 2722973"/>
              <a:gd name="connsiteY1648" fmla="*/ 405574 h 1768474"/>
              <a:gd name="connsiteX1649" fmla="*/ 487612 w 2722973"/>
              <a:gd name="connsiteY1649" fmla="*/ 399581 h 1768474"/>
              <a:gd name="connsiteX1650" fmla="*/ 495584 w 2722973"/>
              <a:gd name="connsiteY1650" fmla="*/ 387593 h 1768474"/>
              <a:gd name="connsiteX1651" fmla="*/ 503557 w 2722973"/>
              <a:gd name="connsiteY1651" fmla="*/ 381599 h 1768474"/>
              <a:gd name="connsiteX1652" fmla="*/ 509536 w 2722973"/>
              <a:gd name="connsiteY1652" fmla="*/ 373608 h 1768474"/>
              <a:gd name="connsiteX1653" fmla="*/ 517508 w 2722973"/>
              <a:gd name="connsiteY1653" fmla="*/ 371610 h 1768474"/>
              <a:gd name="connsiteX1654" fmla="*/ 521494 w 2722973"/>
              <a:gd name="connsiteY1654" fmla="*/ 363618 h 1768474"/>
              <a:gd name="connsiteX1655" fmla="*/ 531460 w 2722973"/>
              <a:gd name="connsiteY1655" fmla="*/ 361620 h 1768474"/>
              <a:gd name="connsiteX1656" fmla="*/ 539432 w 2722973"/>
              <a:gd name="connsiteY1656" fmla="*/ 367614 h 1768474"/>
              <a:gd name="connsiteX1657" fmla="*/ 549397 w 2722973"/>
              <a:gd name="connsiteY1657" fmla="*/ 367614 h 1768474"/>
              <a:gd name="connsiteX1658" fmla="*/ 555376 w 2722973"/>
              <a:gd name="connsiteY1658" fmla="*/ 367614 h 1768474"/>
              <a:gd name="connsiteX1659" fmla="*/ 563349 w 2722973"/>
              <a:gd name="connsiteY1659" fmla="*/ 361620 h 1768474"/>
              <a:gd name="connsiteX1660" fmla="*/ 573314 w 2722973"/>
              <a:gd name="connsiteY1660" fmla="*/ 357625 h 1768474"/>
              <a:gd name="connsiteX1661" fmla="*/ 577300 w 2722973"/>
              <a:gd name="connsiteY1661" fmla="*/ 351631 h 1768474"/>
              <a:gd name="connsiteX1662" fmla="*/ 581286 w 2722973"/>
              <a:gd name="connsiteY1662" fmla="*/ 351631 h 1768474"/>
              <a:gd name="connsiteX1663" fmla="*/ 583279 w 2722973"/>
              <a:gd name="connsiteY1663" fmla="*/ 357625 h 1768474"/>
              <a:gd name="connsiteX1664" fmla="*/ 587265 w 2722973"/>
              <a:gd name="connsiteY1664" fmla="*/ 355627 h 1768474"/>
              <a:gd name="connsiteX1665" fmla="*/ 591252 w 2722973"/>
              <a:gd name="connsiteY1665" fmla="*/ 351631 h 1768474"/>
              <a:gd name="connsiteX1666" fmla="*/ 595237 w 2722973"/>
              <a:gd name="connsiteY1666" fmla="*/ 351631 h 1768474"/>
              <a:gd name="connsiteX1667" fmla="*/ 605203 w 2722973"/>
              <a:gd name="connsiteY1667" fmla="*/ 349633 h 1768474"/>
              <a:gd name="connsiteX1668" fmla="*/ 607196 w 2722973"/>
              <a:gd name="connsiteY1668" fmla="*/ 347635 h 1768474"/>
              <a:gd name="connsiteX1669" fmla="*/ 611182 w 2722973"/>
              <a:gd name="connsiteY1669" fmla="*/ 341641 h 1768474"/>
              <a:gd name="connsiteX1670" fmla="*/ 613175 w 2722973"/>
              <a:gd name="connsiteY1670" fmla="*/ 337646 h 1768474"/>
              <a:gd name="connsiteX1671" fmla="*/ 613175 w 2722973"/>
              <a:gd name="connsiteY1671" fmla="*/ 331652 h 1768474"/>
              <a:gd name="connsiteX1672" fmla="*/ 611182 w 2722973"/>
              <a:gd name="connsiteY1672" fmla="*/ 325658 h 1768474"/>
              <a:gd name="connsiteX1673" fmla="*/ 613175 w 2722973"/>
              <a:gd name="connsiteY1673" fmla="*/ 321662 h 1768474"/>
              <a:gd name="connsiteX1674" fmla="*/ 607196 w 2722973"/>
              <a:gd name="connsiteY1674" fmla="*/ 315669 h 1768474"/>
              <a:gd name="connsiteX1675" fmla="*/ 611182 w 2722973"/>
              <a:gd name="connsiteY1675" fmla="*/ 311673 h 1768474"/>
              <a:gd name="connsiteX1676" fmla="*/ 615169 w 2722973"/>
              <a:gd name="connsiteY1676" fmla="*/ 311673 h 1768474"/>
              <a:gd name="connsiteX1677" fmla="*/ 619155 w 2722973"/>
              <a:gd name="connsiteY1677" fmla="*/ 309675 h 1768474"/>
              <a:gd name="connsiteX1678" fmla="*/ 623140 w 2722973"/>
              <a:gd name="connsiteY1678" fmla="*/ 307677 h 1768474"/>
              <a:gd name="connsiteX1679" fmla="*/ 623140 w 2722973"/>
              <a:gd name="connsiteY1679" fmla="*/ 299685 h 1768474"/>
              <a:gd name="connsiteX1680" fmla="*/ 621147 w 2722973"/>
              <a:gd name="connsiteY1680" fmla="*/ 295690 h 1768474"/>
              <a:gd name="connsiteX1681" fmla="*/ 617161 w 2722973"/>
              <a:gd name="connsiteY1681" fmla="*/ 297687 h 1768474"/>
              <a:gd name="connsiteX1682" fmla="*/ 613175 w 2722973"/>
              <a:gd name="connsiteY1682" fmla="*/ 299685 h 1768474"/>
              <a:gd name="connsiteX1683" fmla="*/ 607196 w 2722973"/>
              <a:gd name="connsiteY1683" fmla="*/ 297687 h 1768474"/>
              <a:gd name="connsiteX1684" fmla="*/ 601217 w 2722973"/>
              <a:gd name="connsiteY1684" fmla="*/ 303681 h 1768474"/>
              <a:gd name="connsiteX1685" fmla="*/ 595237 w 2722973"/>
              <a:gd name="connsiteY1685" fmla="*/ 309675 h 1768474"/>
              <a:gd name="connsiteX1686" fmla="*/ 585272 w 2722973"/>
              <a:gd name="connsiteY1686" fmla="*/ 311673 h 1768474"/>
              <a:gd name="connsiteX1687" fmla="*/ 579293 w 2722973"/>
              <a:gd name="connsiteY1687" fmla="*/ 317667 h 1768474"/>
              <a:gd name="connsiteX1688" fmla="*/ 575307 w 2722973"/>
              <a:gd name="connsiteY1688" fmla="*/ 319664 h 1768474"/>
              <a:gd name="connsiteX1689" fmla="*/ 573314 w 2722973"/>
              <a:gd name="connsiteY1689" fmla="*/ 307677 h 1768474"/>
              <a:gd name="connsiteX1690" fmla="*/ 569328 w 2722973"/>
              <a:gd name="connsiteY1690" fmla="*/ 307677 h 1768474"/>
              <a:gd name="connsiteX1691" fmla="*/ 565342 w 2722973"/>
              <a:gd name="connsiteY1691" fmla="*/ 313671 h 1768474"/>
              <a:gd name="connsiteX1692" fmla="*/ 559363 w 2722973"/>
              <a:gd name="connsiteY1692" fmla="*/ 311673 h 1768474"/>
              <a:gd name="connsiteX1693" fmla="*/ 553383 w 2722973"/>
              <a:gd name="connsiteY1693" fmla="*/ 309675 h 1768474"/>
              <a:gd name="connsiteX1694" fmla="*/ 547404 w 2722973"/>
              <a:gd name="connsiteY1694" fmla="*/ 309675 h 1768474"/>
              <a:gd name="connsiteX1695" fmla="*/ 543418 w 2722973"/>
              <a:gd name="connsiteY1695" fmla="*/ 307677 h 1768474"/>
              <a:gd name="connsiteX1696" fmla="*/ 535446 w 2722973"/>
              <a:gd name="connsiteY1696" fmla="*/ 309675 h 1768474"/>
              <a:gd name="connsiteX1697" fmla="*/ 529467 w 2722973"/>
              <a:gd name="connsiteY1697" fmla="*/ 311673 h 1768474"/>
              <a:gd name="connsiteX1698" fmla="*/ 521494 w 2722973"/>
              <a:gd name="connsiteY1698" fmla="*/ 311673 h 1768474"/>
              <a:gd name="connsiteX1699" fmla="*/ 515515 w 2722973"/>
              <a:gd name="connsiteY1699" fmla="*/ 309675 h 1768474"/>
              <a:gd name="connsiteX1700" fmla="*/ 509536 w 2722973"/>
              <a:gd name="connsiteY1700" fmla="*/ 307677 h 1768474"/>
              <a:gd name="connsiteX1701" fmla="*/ 499571 w 2722973"/>
              <a:gd name="connsiteY1701" fmla="*/ 307677 h 1768474"/>
              <a:gd name="connsiteX1702" fmla="*/ 497577 w 2722973"/>
              <a:gd name="connsiteY1702" fmla="*/ 303681 h 1768474"/>
              <a:gd name="connsiteX1703" fmla="*/ 501564 w 2722973"/>
              <a:gd name="connsiteY1703" fmla="*/ 295690 h 1768474"/>
              <a:gd name="connsiteX1704" fmla="*/ 499571 w 2722973"/>
              <a:gd name="connsiteY1704" fmla="*/ 285700 h 1768474"/>
              <a:gd name="connsiteX1705" fmla="*/ 497577 w 2722973"/>
              <a:gd name="connsiteY1705" fmla="*/ 279706 h 1768474"/>
              <a:gd name="connsiteX1706" fmla="*/ 497577 w 2722973"/>
              <a:gd name="connsiteY1706" fmla="*/ 275711 h 1768474"/>
              <a:gd name="connsiteX1707" fmla="*/ 501564 w 2722973"/>
              <a:gd name="connsiteY1707" fmla="*/ 279706 h 1768474"/>
              <a:gd name="connsiteX1708" fmla="*/ 507543 w 2722973"/>
              <a:gd name="connsiteY1708" fmla="*/ 277708 h 1768474"/>
              <a:gd name="connsiteX1709" fmla="*/ 509536 w 2722973"/>
              <a:gd name="connsiteY1709" fmla="*/ 275711 h 1768474"/>
              <a:gd name="connsiteX1710" fmla="*/ 509536 w 2722973"/>
              <a:gd name="connsiteY1710" fmla="*/ 271715 h 1768474"/>
              <a:gd name="connsiteX1711" fmla="*/ 499571 w 2722973"/>
              <a:gd name="connsiteY1711" fmla="*/ 267719 h 1768474"/>
              <a:gd name="connsiteX1712" fmla="*/ 485619 w 2722973"/>
              <a:gd name="connsiteY1712" fmla="*/ 261725 h 1768474"/>
              <a:gd name="connsiteX1713" fmla="*/ 477647 w 2722973"/>
              <a:gd name="connsiteY1713" fmla="*/ 257729 h 1768474"/>
              <a:gd name="connsiteX1714" fmla="*/ 481633 w 2722973"/>
              <a:gd name="connsiteY1714" fmla="*/ 253734 h 1768474"/>
              <a:gd name="connsiteX1715" fmla="*/ 491598 w 2722973"/>
              <a:gd name="connsiteY1715" fmla="*/ 249738 h 1768474"/>
              <a:gd name="connsiteX1716" fmla="*/ 495584 w 2722973"/>
              <a:gd name="connsiteY1716" fmla="*/ 247740 h 1768474"/>
              <a:gd name="connsiteX1717" fmla="*/ 501564 w 2722973"/>
              <a:gd name="connsiteY1717" fmla="*/ 245742 h 1768474"/>
              <a:gd name="connsiteX1718" fmla="*/ 507543 w 2722973"/>
              <a:gd name="connsiteY1718" fmla="*/ 243744 h 1768474"/>
              <a:gd name="connsiteX1719" fmla="*/ 515515 w 2722973"/>
              <a:gd name="connsiteY1719" fmla="*/ 237750 h 1768474"/>
              <a:gd name="connsiteX1720" fmla="*/ 525480 w 2722973"/>
              <a:gd name="connsiteY1720" fmla="*/ 235752 h 1768474"/>
              <a:gd name="connsiteX1721" fmla="*/ 533453 w 2722973"/>
              <a:gd name="connsiteY1721" fmla="*/ 233755 h 1768474"/>
              <a:gd name="connsiteX1722" fmla="*/ 539432 w 2722973"/>
              <a:gd name="connsiteY1722" fmla="*/ 237750 h 1768474"/>
              <a:gd name="connsiteX1723" fmla="*/ 543418 w 2722973"/>
              <a:gd name="connsiteY1723" fmla="*/ 235752 h 1768474"/>
              <a:gd name="connsiteX1724" fmla="*/ 541425 w 2722973"/>
              <a:gd name="connsiteY1724" fmla="*/ 231757 h 1768474"/>
              <a:gd name="connsiteX1725" fmla="*/ 541425 w 2722973"/>
              <a:gd name="connsiteY1725" fmla="*/ 227761 h 1768474"/>
              <a:gd name="connsiteX1726" fmla="*/ 547404 w 2722973"/>
              <a:gd name="connsiteY1726" fmla="*/ 229759 h 1768474"/>
              <a:gd name="connsiteX1727" fmla="*/ 547404 w 2722973"/>
              <a:gd name="connsiteY1727" fmla="*/ 227761 h 1768474"/>
              <a:gd name="connsiteX1728" fmla="*/ 543418 w 2722973"/>
              <a:gd name="connsiteY1728" fmla="*/ 223765 h 1768474"/>
              <a:gd name="connsiteX1729" fmla="*/ 547404 w 2722973"/>
              <a:gd name="connsiteY1729" fmla="*/ 223765 h 1768474"/>
              <a:gd name="connsiteX1730" fmla="*/ 557370 w 2722973"/>
              <a:gd name="connsiteY1730" fmla="*/ 225763 h 1768474"/>
              <a:gd name="connsiteX1731" fmla="*/ 565342 w 2722973"/>
              <a:gd name="connsiteY1731" fmla="*/ 221767 h 1768474"/>
              <a:gd name="connsiteX1732" fmla="*/ 571321 w 2722973"/>
              <a:gd name="connsiteY1732" fmla="*/ 221767 h 1768474"/>
              <a:gd name="connsiteX1733" fmla="*/ 577300 w 2722973"/>
              <a:gd name="connsiteY1733" fmla="*/ 217771 h 1768474"/>
              <a:gd name="connsiteX1734" fmla="*/ 587265 w 2722973"/>
              <a:gd name="connsiteY1734" fmla="*/ 215773 h 1768474"/>
              <a:gd name="connsiteX1735" fmla="*/ 587265 w 2722973"/>
              <a:gd name="connsiteY1735" fmla="*/ 219769 h 1768474"/>
              <a:gd name="connsiteX1736" fmla="*/ 583279 w 2722973"/>
              <a:gd name="connsiteY1736" fmla="*/ 223765 h 1768474"/>
              <a:gd name="connsiteX1737" fmla="*/ 581286 w 2722973"/>
              <a:gd name="connsiteY1737" fmla="*/ 229759 h 1768474"/>
              <a:gd name="connsiteX1738" fmla="*/ 579293 w 2722973"/>
              <a:gd name="connsiteY1738" fmla="*/ 233755 h 1768474"/>
              <a:gd name="connsiteX1739" fmla="*/ 583279 w 2722973"/>
              <a:gd name="connsiteY1739" fmla="*/ 235752 h 1768474"/>
              <a:gd name="connsiteX1740" fmla="*/ 591252 w 2722973"/>
              <a:gd name="connsiteY1740" fmla="*/ 237750 h 1768474"/>
              <a:gd name="connsiteX1741" fmla="*/ 595237 w 2722973"/>
              <a:gd name="connsiteY1741" fmla="*/ 237750 h 1768474"/>
              <a:gd name="connsiteX1742" fmla="*/ 597231 w 2722973"/>
              <a:gd name="connsiteY1742" fmla="*/ 235752 h 1768474"/>
              <a:gd name="connsiteX1743" fmla="*/ 609189 w 2722973"/>
              <a:gd name="connsiteY1743" fmla="*/ 237750 h 1768474"/>
              <a:gd name="connsiteX1744" fmla="*/ 619155 w 2722973"/>
              <a:gd name="connsiteY1744" fmla="*/ 237750 h 1768474"/>
              <a:gd name="connsiteX1745" fmla="*/ 627127 w 2722973"/>
              <a:gd name="connsiteY1745" fmla="*/ 239748 h 1768474"/>
              <a:gd name="connsiteX1746" fmla="*/ 629120 w 2722973"/>
              <a:gd name="connsiteY1746" fmla="*/ 233755 h 1768474"/>
              <a:gd name="connsiteX1747" fmla="*/ 635099 w 2722973"/>
              <a:gd name="connsiteY1747" fmla="*/ 231757 h 1768474"/>
              <a:gd name="connsiteX1748" fmla="*/ 641078 w 2722973"/>
              <a:gd name="connsiteY1748" fmla="*/ 229759 h 1768474"/>
              <a:gd name="connsiteX1749" fmla="*/ 643071 w 2722973"/>
              <a:gd name="connsiteY1749" fmla="*/ 235752 h 1768474"/>
              <a:gd name="connsiteX1750" fmla="*/ 647057 w 2722973"/>
              <a:gd name="connsiteY1750" fmla="*/ 233755 h 1768474"/>
              <a:gd name="connsiteX1751" fmla="*/ 645064 w 2722973"/>
              <a:gd name="connsiteY1751" fmla="*/ 227761 h 1768474"/>
              <a:gd name="connsiteX1752" fmla="*/ 639085 w 2722973"/>
              <a:gd name="connsiteY1752" fmla="*/ 223765 h 1768474"/>
              <a:gd name="connsiteX1753" fmla="*/ 629120 w 2722973"/>
              <a:gd name="connsiteY1753" fmla="*/ 227761 h 1768474"/>
              <a:gd name="connsiteX1754" fmla="*/ 633106 w 2722973"/>
              <a:gd name="connsiteY1754" fmla="*/ 215773 h 1768474"/>
              <a:gd name="connsiteX1755" fmla="*/ 637092 w 2722973"/>
              <a:gd name="connsiteY1755" fmla="*/ 217771 h 1768474"/>
              <a:gd name="connsiteX1756" fmla="*/ 645064 w 2722973"/>
              <a:gd name="connsiteY1756" fmla="*/ 217771 h 1768474"/>
              <a:gd name="connsiteX1757" fmla="*/ 651044 w 2722973"/>
              <a:gd name="connsiteY1757" fmla="*/ 219769 h 1768474"/>
              <a:gd name="connsiteX1758" fmla="*/ 657023 w 2722973"/>
              <a:gd name="connsiteY1758" fmla="*/ 223765 h 1768474"/>
              <a:gd name="connsiteX1759" fmla="*/ 661009 w 2722973"/>
              <a:gd name="connsiteY1759" fmla="*/ 227761 h 1768474"/>
              <a:gd name="connsiteX1760" fmla="*/ 666988 w 2722973"/>
              <a:gd name="connsiteY1760" fmla="*/ 227761 h 1768474"/>
              <a:gd name="connsiteX1761" fmla="*/ 674960 w 2722973"/>
              <a:gd name="connsiteY1761" fmla="*/ 225763 h 1768474"/>
              <a:gd name="connsiteX1762" fmla="*/ 682933 w 2722973"/>
              <a:gd name="connsiteY1762" fmla="*/ 225763 h 1768474"/>
              <a:gd name="connsiteX1763" fmla="*/ 680939 w 2722973"/>
              <a:gd name="connsiteY1763" fmla="*/ 221767 h 1768474"/>
              <a:gd name="connsiteX1764" fmla="*/ 676953 w 2722973"/>
              <a:gd name="connsiteY1764" fmla="*/ 219769 h 1768474"/>
              <a:gd name="connsiteX1765" fmla="*/ 680939 w 2722973"/>
              <a:gd name="connsiteY1765" fmla="*/ 215773 h 1768474"/>
              <a:gd name="connsiteX1766" fmla="*/ 680939 w 2722973"/>
              <a:gd name="connsiteY1766" fmla="*/ 211778 h 1768474"/>
              <a:gd name="connsiteX1767" fmla="*/ 674960 w 2722973"/>
              <a:gd name="connsiteY1767" fmla="*/ 213776 h 1768474"/>
              <a:gd name="connsiteX1768" fmla="*/ 666988 w 2722973"/>
              <a:gd name="connsiteY1768" fmla="*/ 217771 h 1768474"/>
              <a:gd name="connsiteX1769" fmla="*/ 653036 w 2722973"/>
              <a:gd name="connsiteY1769" fmla="*/ 211778 h 1768474"/>
              <a:gd name="connsiteX1770" fmla="*/ 643071 w 2722973"/>
              <a:gd name="connsiteY1770" fmla="*/ 211778 h 1768474"/>
              <a:gd name="connsiteX1771" fmla="*/ 637092 w 2722973"/>
              <a:gd name="connsiteY1771" fmla="*/ 207782 h 1768474"/>
              <a:gd name="connsiteX1772" fmla="*/ 641078 w 2722973"/>
              <a:gd name="connsiteY1772" fmla="*/ 199790 h 1768474"/>
              <a:gd name="connsiteX1773" fmla="*/ 637092 w 2722973"/>
              <a:gd name="connsiteY1773" fmla="*/ 199790 h 1768474"/>
              <a:gd name="connsiteX1774" fmla="*/ 629120 w 2722973"/>
              <a:gd name="connsiteY1774" fmla="*/ 197792 h 1768474"/>
              <a:gd name="connsiteX1775" fmla="*/ 625134 w 2722973"/>
              <a:gd name="connsiteY1775" fmla="*/ 187803 h 1768474"/>
              <a:gd name="connsiteX1776" fmla="*/ 631113 w 2722973"/>
              <a:gd name="connsiteY1776" fmla="*/ 179811 h 1768474"/>
              <a:gd name="connsiteX1777" fmla="*/ 635099 w 2722973"/>
              <a:gd name="connsiteY1777" fmla="*/ 173818 h 1768474"/>
              <a:gd name="connsiteX1778" fmla="*/ 641078 w 2722973"/>
              <a:gd name="connsiteY1778" fmla="*/ 167824 h 1768474"/>
              <a:gd name="connsiteX1779" fmla="*/ 651044 w 2722973"/>
              <a:gd name="connsiteY1779" fmla="*/ 157834 h 1768474"/>
              <a:gd name="connsiteX1780" fmla="*/ 651044 w 2722973"/>
              <a:gd name="connsiteY1780" fmla="*/ 153838 h 1768474"/>
              <a:gd name="connsiteX1781" fmla="*/ 641078 w 2722973"/>
              <a:gd name="connsiteY1781" fmla="*/ 157834 h 1768474"/>
              <a:gd name="connsiteX1782" fmla="*/ 631113 w 2722973"/>
              <a:gd name="connsiteY1782" fmla="*/ 169822 h 1768474"/>
              <a:gd name="connsiteX1783" fmla="*/ 629120 w 2722973"/>
              <a:gd name="connsiteY1783" fmla="*/ 175815 h 1768474"/>
              <a:gd name="connsiteX1784" fmla="*/ 623140 w 2722973"/>
              <a:gd name="connsiteY1784" fmla="*/ 183807 h 1768474"/>
              <a:gd name="connsiteX1785" fmla="*/ 623140 w 2722973"/>
              <a:gd name="connsiteY1785" fmla="*/ 191799 h 1768474"/>
              <a:gd name="connsiteX1786" fmla="*/ 627127 w 2722973"/>
              <a:gd name="connsiteY1786" fmla="*/ 199790 h 1768474"/>
              <a:gd name="connsiteX1787" fmla="*/ 623140 w 2722973"/>
              <a:gd name="connsiteY1787" fmla="*/ 201788 h 1768474"/>
              <a:gd name="connsiteX1788" fmla="*/ 609189 w 2722973"/>
              <a:gd name="connsiteY1788" fmla="*/ 199790 h 1768474"/>
              <a:gd name="connsiteX1789" fmla="*/ 599224 w 2722973"/>
              <a:gd name="connsiteY1789" fmla="*/ 197792 h 1768474"/>
              <a:gd name="connsiteX1790" fmla="*/ 597231 w 2722973"/>
              <a:gd name="connsiteY1790" fmla="*/ 185805 h 1768474"/>
              <a:gd name="connsiteX1791" fmla="*/ 595237 w 2722973"/>
              <a:gd name="connsiteY1791" fmla="*/ 175815 h 1768474"/>
              <a:gd name="connsiteX1792" fmla="*/ 587265 w 2722973"/>
              <a:gd name="connsiteY1792" fmla="*/ 165826 h 1768474"/>
              <a:gd name="connsiteX1793" fmla="*/ 583279 w 2722973"/>
              <a:gd name="connsiteY1793" fmla="*/ 159832 h 1768474"/>
              <a:gd name="connsiteX1794" fmla="*/ 581286 w 2722973"/>
              <a:gd name="connsiteY1794" fmla="*/ 153838 h 1768474"/>
              <a:gd name="connsiteX1795" fmla="*/ 573314 w 2722973"/>
              <a:gd name="connsiteY1795" fmla="*/ 149843 h 1768474"/>
              <a:gd name="connsiteX1796" fmla="*/ 565342 w 2722973"/>
              <a:gd name="connsiteY1796" fmla="*/ 143849 h 1768474"/>
              <a:gd name="connsiteX1797" fmla="*/ 563349 w 2722973"/>
              <a:gd name="connsiteY1797" fmla="*/ 129864 h 1768474"/>
              <a:gd name="connsiteX1798" fmla="*/ 569328 w 2722973"/>
              <a:gd name="connsiteY1798" fmla="*/ 123870 h 1768474"/>
              <a:gd name="connsiteX1799" fmla="*/ 575307 w 2722973"/>
              <a:gd name="connsiteY1799" fmla="*/ 113880 h 1768474"/>
              <a:gd name="connsiteX1800" fmla="*/ 585272 w 2722973"/>
              <a:gd name="connsiteY1800" fmla="*/ 115878 h 1768474"/>
              <a:gd name="connsiteX1801" fmla="*/ 597231 w 2722973"/>
              <a:gd name="connsiteY1801" fmla="*/ 113880 h 1768474"/>
              <a:gd name="connsiteX1802" fmla="*/ 605203 w 2722973"/>
              <a:gd name="connsiteY1802" fmla="*/ 111883 h 1768474"/>
              <a:gd name="connsiteX1803" fmla="*/ 613175 w 2722973"/>
              <a:gd name="connsiteY1803" fmla="*/ 111883 h 1768474"/>
              <a:gd name="connsiteX1804" fmla="*/ 623140 w 2722973"/>
              <a:gd name="connsiteY1804" fmla="*/ 107887 h 1768474"/>
              <a:gd name="connsiteX1805" fmla="*/ 633106 w 2722973"/>
              <a:gd name="connsiteY1805" fmla="*/ 105889 h 1768474"/>
              <a:gd name="connsiteX1806" fmla="*/ 639085 w 2722973"/>
              <a:gd name="connsiteY1806" fmla="*/ 103891 h 1768474"/>
              <a:gd name="connsiteX1807" fmla="*/ 645064 w 2722973"/>
              <a:gd name="connsiteY1807" fmla="*/ 99895 h 1768474"/>
              <a:gd name="connsiteX1808" fmla="*/ 647057 w 2722973"/>
              <a:gd name="connsiteY1808" fmla="*/ 97897 h 1768474"/>
              <a:gd name="connsiteX1809" fmla="*/ 651044 w 2722973"/>
              <a:gd name="connsiteY1809" fmla="*/ 95899 h 1768474"/>
              <a:gd name="connsiteX1810" fmla="*/ 668981 w 2722973"/>
              <a:gd name="connsiteY1810" fmla="*/ 71924 h 1768474"/>
              <a:gd name="connsiteX1811" fmla="*/ 678946 w 2722973"/>
              <a:gd name="connsiteY1811" fmla="*/ 63933 h 1768474"/>
              <a:gd name="connsiteX1812" fmla="*/ 688912 w 2722973"/>
              <a:gd name="connsiteY1812" fmla="*/ 59937 h 1768474"/>
              <a:gd name="connsiteX1813" fmla="*/ 690905 w 2722973"/>
              <a:gd name="connsiteY1813" fmla="*/ 51945 h 1768474"/>
              <a:gd name="connsiteX1814" fmla="*/ 694891 w 2722973"/>
              <a:gd name="connsiteY1814" fmla="*/ 47950 h 1768474"/>
              <a:gd name="connsiteX1815" fmla="*/ 696884 w 2722973"/>
              <a:gd name="connsiteY1815" fmla="*/ 45952 h 1768474"/>
              <a:gd name="connsiteX1816" fmla="*/ 698877 w 2722973"/>
              <a:gd name="connsiteY1816" fmla="*/ 49948 h 1768474"/>
              <a:gd name="connsiteX1817" fmla="*/ 700870 w 2722973"/>
              <a:gd name="connsiteY1817" fmla="*/ 53943 h 1768474"/>
              <a:gd name="connsiteX1818" fmla="*/ 714822 w 2722973"/>
              <a:gd name="connsiteY1818" fmla="*/ 47950 h 1768474"/>
              <a:gd name="connsiteX1819" fmla="*/ 730766 w 2722973"/>
              <a:gd name="connsiteY1819" fmla="*/ 39958 h 1768474"/>
              <a:gd name="connsiteX1820" fmla="*/ 738738 w 2722973"/>
              <a:gd name="connsiteY1820" fmla="*/ 35962 h 1768474"/>
              <a:gd name="connsiteX1821" fmla="*/ 742725 w 2722973"/>
              <a:gd name="connsiteY1821" fmla="*/ 29968 h 1768474"/>
              <a:gd name="connsiteX1822" fmla="*/ 746711 w 2722973"/>
              <a:gd name="connsiteY1822" fmla="*/ 29968 h 1768474"/>
              <a:gd name="connsiteX1823" fmla="*/ 744718 w 2722973"/>
              <a:gd name="connsiteY1823" fmla="*/ 37960 h 1768474"/>
              <a:gd name="connsiteX1824" fmla="*/ 746711 w 2722973"/>
              <a:gd name="connsiteY1824" fmla="*/ 41956 h 1768474"/>
              <a:gd name="connsiteX1825" fmla="*/ 750697 w 2722973"/>
              <a:gd name="connsiteY1825" fmla="*/ 37960 h 1768474"/>
              <a:gd name="connsiteX1826" fmla="*/ 758670 w 2722973"/>
              <a:gd name="connsiteY1826" fmla="*/ 37960 h 1768474"/>
              <a:gd name="connsiteX1827" fmla="*/ 760662 w 2722973"/>
              <a:gd name="connsiteY1827" fmla="*/ 37960 h 1768474"/>
              <a:gd name="connsiteX1828" fmla="*/ 760662 w 2722973"/>
              <a:gd name="connsiteY1828" fmla="*/ 33964 h 1768474"/>
              <a:gd name="connsiteX1829" fmla="*/ 754683 w 2722973"/>
              <a:gd name="connsiteY1829" fmla="*/ 29968 h 1768474"/>
              <a:gd name="connsiteX1830" fmla="*/ 760662 w 2722973"/>
              <a:gd name="connsiteY1830" fmla="*/ 19979 h 1768474"/>
              <a:gd name="connsiteX1831" fmla="*/ 766642 w 2722973"/>
              <a:gd name="connsiteY1831" fmla="*/ 15983 h 1768474"/>
              <a:gd name="connsiteX1832" fmla="*/ 772621 w 2722973"/>
              <a:gd name="connsiteY1832" fmla="*/ 15983 h 1768474"/>
              <a:gd name="connsiteX1833" fmla="*/ 768634 w 2722973"/>
              <a:gd name="connsiteY1833" fmla="*/ 21977 h 1768474"/>
              <a:gd name="connsiteX1834" fmla="*/ 770628 w 2722973"/>
              <a:gd name="connsiteY1834" fmla="*/ 25973 h 1768474"/>
              <a:gd name="connsiteX1835" fmla="*/ 774614 w 2722973"/>
              <a:gd name="connsiteY1835" fmla="*/ 21977 h 1768474"/>
              <a:gd name="connsiteX1836" fmla="*/ 786572 w 2722973"/>
              <a:gd name="connsiteY1836" fmla="*/ 19979 h 1768474"/>
              <a:gd name="connsiteX1837" fmla="*/ 798531 w 2722973"/>
              <a:gd name="connsiteY1837" fmla="*/ 19979 h 1768474"/>
              <a:gd name="connsiteX1838" fmla="*/ 804510 w 2722973"/>
              <a:gd name="connsiteY1838" fmla="*/ 17981 h 1768474"/>
              <a:gd name="connsiteX1839" fmla="*/ 814475 w 2722973"/>
              <a:gd name="connsiteY1839" fmla="*/ 15983 h 1768474"/>
              <a:gd name="connsiteX1840" fmla="*/ 824440 w 2722973"/>
              <a:gd name="connsiteY1840" fmla="*/ 9989 h 1768474"/>
              <a:gd name="connsiteX1841" fmla="*/ 834406 w 2722973"/>
              <a:gd name="connsiteY1841" fmla="*/ 3996 h 1768474"/>
              <a:gd name="connsiteX1842" fmla="*/ 850350 w 2722973"/>
              <a:gd name="connsiteY1842" fmla="*/ 0 h 176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Lst>
            <a:rect l="l" t="t" r="r" b="b"/>
            <a:pathLst>
              <a:path w="2722973" h="1768474">
                <a:moveTo>
                  <a:pt x="1374581" y="917984"/>
                </a:moveTo>
                <a:cubicBezTo>
                  <a:pt x="1376576" y="919980"/>
                  <a:pt x="1384554" y="927966"/>
                  <a:pt x="1386549" y="927966"/>
                </a:cubicBezTo>
                <a:cubicBezTo>
                  <a:pt x="1392533" y="925969"/>
                  <a:pt x="1416469" y="925969"/>
                  <a:pt x="1416469" y="925969"/>
                </a:cubicBezTo>
                <a:cubicBezTo>
                  <a:pt x="1416469" y="925969"/>
                  <a:pt x="1416469" y="925969"/>
                  <a:pt x="1494261" y="927966"/>
                </a:cubicBezTo>
                <a:cubicBezTo>
                  <a:pt x="1494261" y="927966"/>
                  <a:pt x="1494261" y="927966"/>
                  <a:pt x="1582026" y="927966"/>
                </a:cubicBezTo>
                <a:cubicBezTo>
                  <a:pt x="1582026" y="927966"/>
                  <a:pt x="1633887" y="927966"/>
                  <a:pt x="1639871" y="929962"/>
                </a:cubicBezTo>
                <a:cubicBezTo>
                  <a:pt x="1645855" y="929962"/>
                  <a:pt x="1711679" y="929962"/>
                  <a:pt x="1711679" y="929962"/>
                </a:cubicBezTo>
                <a:cubicBezTo>
                  <a:pt x="1711679" y="929962"/>
                  <a:pt x="1711679" y="929962"/>
                  <a:pt x="1801439" y="929962"/>
                </a:cubicBezTo>
                <a:cubicBezTo>
                  <a:pt x="1801439" y="929962"/>
                  <a:pt x="1801439" y="929962"/>
                  <a:pt x="1889204" y="929962"/>
                </a:cubicBezTo>
                <a:cubicBezTo>
                  <a:pt x="1889204" y="929962"/>
                  <a:pt x="1925108" y="929962"/>
                  <a:pt x="1941065" y="929962"/>
                </a:cubicBezTo>
                <a:cubicBezTo>
                  <a:pt x="1957022" y="927966"/>
                  <a:pt x="1974974" y="927966"/>
                  <a:pt x="1986942" y="929962"/>
                </a:cubicBezTo>
                <a:cubicBezTo>
                  <a:pt x="2000905" y="931959"/>
                  <a:pt x="2032820" y="931959"/>
                  <a:pt x="2040798" y="931959"/>
                </a:cubicBezTo>
                <a:cubicBezTo>
                  <a:pt x="2046782" y="931959"/>
                  <a:pt x="2046782" y="927966"/>
                  <a:pt x="2056756" y="925969"/>
                </a:cubicBezTo>
                <a:cubicBezTo>
                  <a:pt x="2066729" y="925969"/>
                  <a:pt x="2092660" y="923973"/>
                  <a:pt x="2114601" y="925969"/>
                </a:cubicBezTo>
                <a:cubicBezTo>
                  <a:pt x="2134548" y="927966"/>
                  <a:pt x="2134548" y="931959"/>
                  <a:pt x="2138537" y="935952"/>
                </a:cubicBezTo>
                <a:cubicBezTo>
                  <a:pt x="2144521" y="939945"/>
                  <a:pt x="2152500" y="945934"/>
                  <a:pt x="2162473" y="951923"/>
                </a:cubicBezTo>
                <a:cubicBezTo>
                  <a:pt x="2172446" y="955916"/>
                  <a:pt x="2176435" y="953920"/>
                  <a:pt x="2190398" y="955916"/>
                </a:cubicBezTo>
                <a:cubicBezTo>
                  <a:pt x="2206355" y="957913"/>
                  <a:pt x="2238270" y="955916"/>
                  <a:pt x="2244254" y="957913"/>
                </a:cubicBezTo>
                <a:cubicBezTo>
                  <a:pt x="2250238" y="959909"/>
                  <a:pt x="2264201" y="967895"/>
                  <a:pt x="2268190" y="975881"/>
                </a:cubicBezTo>
                <a:cubicBezTo>
                  <a:pt x="2274174" y="981870"/>
                  <a:pt x="2288137" y="1009821"/>
                  <a:pt x="2292126" y="1013814"/>
                </a:cubicBezTo>
                <a:cubicBezTo>
                  <a:pt x="2298110" y="1019803"/>
                  <a:pt x="2308083" y="1023796"/>
                  <a:pt x="2314067" y="1033778"/>
                </a:cubicBezTo>
                <a:cubicBezTo>
                  <a:pt x="2320051" y="1043760"/>
                  <a:pt x="2326035" y="1051746"/>
                  <a:pt x="2332019" y="1059732"/>
                </a:cubicBezTo>
                <a:cubicBezTo>
                  <a:pt x="2336009" y="1067718"/>
                  <a:pt x="2341993" y="1081693"/>
                  <a:pt x="2338003" y="1089679"/>
                </a:cubicBezTo>
                <a:cubicBezTo>
                  <a:pt x="2332019" y="1097665"/>
                  <a:pt x="2322046" y="1105651"/>
                  <a:pt x="2324041" y="1111640"/>
                </a:cubicBezTo>
                <a:cubicBezTo>
                  <a:pt x="2326035" y="1115633"/>
                  <a:pt x="2326035" y="1121622"/>
                  <a:pt x="2330025" y="1123619"/>
                </a:cubicBezTo>
                <a:cubicBezTo>
                  <a:pt x="2336009" y="1123619"/>
                  <a:pt x="2343987" y="1127612"/>
                  <a:pt x="2341993" y="1135597"/>
                </a:cubicBezTo>
                <a:cubicBezTo>
                  <a:pt x="2341993" y="1143583"/>
                  <a:pt x="2336009" y="1147576"/>
                  <a:pt x="2328030" y="1151569"/>
                </a:cubicBezTo>
                <a:cubicBezTo>
                  <a:pt x="2320051" y="1155562"/>
                  <a:pt x="2318057" y="1155562"/>
                  <a:pt x="2318057" y="1159555"/>
                </a:cubicBezTo>
                <a:cubicBezTo>
                  <a:pt x="2320051" y="1163548"/>
                  <a:pt x="2318057" y="1171534"/>
                  <a:pt x="2320051" y="1175527"/>
                </a:cubicBezTo>
                <a:cubicBezTo>
                  <a:pt x="2320051" y="1177523"/>
                  <a:pt x="2330025" y="1181516"/>
                  <a:pt x="2332019" y="1179519"/>
                </a:cubicBezTo>
                <a:cubicBezTo>
                  <a:pt x="2334014" y="1179519"/>
                  <a:pt x="2336009" y="1175527"/>
                  <a:pt x="2339998" y="1175527"/>
                </a:cubicBezTo>
                <a:cubicBezTo>
                  <a:pt x="2343987" y="1175527"/>
                  <a:pt x="2345982" y="1167541"/>
                  <a:pt x="2349971" y="1165544"/>
                </a:cubicBezTo>
                <a:cubicBezTo>
                  <a:pt x="2349971" y="1163548"/>
                  <a:pt x="2351966" y="1161551"/>
                  <a:pt x="2357950" y="1163548"/>
                </a:cubicBezTo>
                <a:cubicBezTo>
                  <a:pt x="2361939" y="1165544"/>
                  <a:pt x="2367923" y="1167541"/>
                  <a:pt x="2379891" y="1163548"/>
                </a:cubicBezTo>
                <a:cubicBezTo>
                  <a:pt x="2391859" y="1161551"/>
                  <a:pt x="2391859" y="1163548"/>
                  <a:pt x="2393854" y="1163548"/>
                </a:cubicBezTo>
                <a:cubicBezTo>
                  <a:pt x="2397843" y="1163548"/>
                  <a:pt x="2399838" y="1161551"/>
                  <a:pt x="2403827" y="1159555"/>
                </a:cubicBezTo>
                <a:cubicBezTo>
                  <a:pt x="2409811" y="1157558"/>
                  <a:pt x="2417790" y="1149573"/>
                  <a:pt x="2419784" y="1147576"/>
                </a:cubicBezTo>
                <a:cubicBezTo>
                  <a:pt x="2421779" y="1143583"/>
                  <a:pt x="2419784" y="1139590"/>
                  <a:pt x="2421779" y="1135597"/>
                </a:cubicBezTo>
                <a:cubicBezTo>
                  <a:pt x="2425768" y="1129608"/>
                  <a:pt x="2425768" y="1129608"/>
                  <a:pt x="2433747" y="1127612"/>
                </a:cubicBezTo>
                <a:cubicBezTo>
                  <a:pt x="2441726" y="1127612"/>
                  <a:pt x="2451699" y="1125615"/>
                  <a:pt x="2457683" y="1123619"/>
                </a:cubicBezTo>
                <a:cubicBezTo>
                  <a:pt x="2463667" y="1121622"/>
                  <a:pt x="2481619" y="1117629"/>
                  <a:pt x="2487603" y="1113636"/>
                </a:cubicBezTo>
                <a:cubicBezTo>
                  <a:pt x="2493587" y="1109643"/>
                  <a:pt x="2499571" y="1109643"/>
                  <a:pt x="2501566" y="1105651"/>
                </a:cubicBezTo>
                <a:cubicBezTo>
                  <a:pt x="2503560" y="1099661"/>
                  <a:pt x="2515528" y="1085686"/>
                  <a:pt x="2515528" y="1085686"/>
                </a:cubicBezTo>
                <a:cubicBezTo>
                  <a:pt x="2515528" y="1085686"/>
                  <a:pt x="2517523" y="1083689"/>
                  <a:pt x="2517523" y="1081693"/>
                </a:cubicBezTo>
                <a:cubicBezTo>
                  <a:pt x="2519518" y="1079697"/>
                  <a:pt x="2535475" y="1071711"/>
                  <a:pt x="2537470" y="1067718"/>
                </a:cubicBezTo>
                <a:cubicBezTo>
                  <a:pt x="2541459" y="1065721"/>
                  <a:pt x="2549438" y="1065721"/>
                  <a:pt x="2551432" y="1065721"/>
                </a:cubicBezTo>
                <a:cubicBezTo>
                  <a:pt x="2553427" y="1065721"/>
                  <a:pt x="2555421" y="1065721"/>
                  <a:pt x="2555421" y="1065721"/>
                </a:cubicBezTo>
                <a:cubicBezTo>
                  <a:pt x="2553427" y="1067718"/>
                  <a:pt x="2553427" y="1069714"/>
                  <a:pt x="2551432" y="1069714"/>
                </a:cubicBezTo>
                <a:cubicBezTo>
                  <a:pt x="2551432" y="1071711"/>
                  <a:pt x="2547443" y="1073707"/>
                  <a:pt x="2545448" y="1073707"/>
                </a:cubicBezTo>
                <a:cubicBezTo>
                  <a:pt x="2543454" y="1075704"/>
                  <a:pt x="2531486" y="1079697"/>
                  <a:pt x="2531486" y="1081693"/>
                </a:cubicBezTo>
                <a:cubicBezTo>
                  <a:pt x="2533480" y="1083689"/>
                  <a:pt x="2541459" y="1079697"/>
                  <a:pt x="2543454" y="1079697"/>
                </a:cubicBezTo>
                <a:cubicBezTo>
                  <a:pt x="2545448" y="1077700"/>
                  <a:pt x="2555421" y="1073707"/>
                  <a:pt x="2559411" y="1069714"/>
                </a:cubicBezTo>
                <a:cubicBezTo>
                  <a:pt x="2559411" y="1069714"/>
                  <a:pt x="2563400" y="1077700"/>
                  <a:pt x="2563400" y="1077700"/>
                </a:cubicBezTo>
                <a:cubicBezTo>
                  <a:pt x="2563400" y="1081693"/>
                  <a:pt x="2565395" y="1081693"/>
                  <a:pt x="2571379" y="1081693"/>
                </a:cubicBezTo>
                <a:cubicBezTo>
                  <a:pt x="2575368" y="1083689"/>
                  <a:pt x="2587336" y="1081693"/>
                  <a:pt x="2595315" y="1081693"/>
                </a:cubicBezTo>
                <a:cubicBezTo>
                  <a:pt x="2603293" y="1079697"/>
                  <a:pt x="2603293" y="1079697"/>
                  <a:pt x="2603293" y="1079697"/>
                </a:cubicBezTo>
                <a:cubicBezTo>
                  <a:pt x="2603293" y="1079697"/>
                  <a:pt x="2611272" y="1073707"/>
                  <a:pt x="2617256" y="1069714"/>
                </a:cubicBezTo>
                <a:cubicBezTo>
                  <a:pt x="2621245" y="1067718"/>
                  <a:pt x="2625235" y="1065721"/>
                  <a:pt x="2627229" y="1065721"/>
                </a:cubicBezTo>
                <a:cubicBezTo>
                  <a:pt x="2629224" y="1065721"/>
                  <a:pt x="2633213" y="1065721"/>
                  <a:pt x="2635208" y="1061728"/>
                </a:cubicBezTo>
                <a:cubicBezTo>
                  <a:pt x="2637203" y="1057736"/>
                  <a:pt x="2643187" y="1043760"/>
                  <a:pt x="2645181" y="1035775"/>
                </a:cubicBezTo>
                <a:cubicBezTo>
                  <a:pt x="2647176" y="1029785"/>
                  <a:pt x="2649171" y="1025792"/>
                  <a:pt x="2655155" y="1019803"/>
                </a:cubicBezTo>
                <a:cubicBezTo>
                  <a:pt x="2661139" y="1011817"/>
                  <a:pt x="2663133" y="1011817"/>
                  <a:pt x="2667123" y="1005828"/>
                </a:cubicBezTo>
                <a:cubicBezTo>
                  <a:pt x="2673107" y="1001835"/>
                  <a:pt x="2677096" y="993849"/>
                  <a:pt x="2689064" y="991852"/>
                </a:cubicBezTo>
                <a:cubicBezTo>
                  <a:pt x="2701032" y="989856"/>
                  <a:pt x="2709011" y="993849"/>
                  <a:pt x="2709011" y="1003831"/>
                </a:cubicBezTo>
                <a:cubicBezTo>
                  <a:pt x="2709011" y="1013814"/>
                  <a:pt x="2705021" y="1017806"/>
                  <a:pt x="2705021" y="1029785"/>
                </a:cubicBezTo>
                <a:cubicBezTo>
                  <a:pt x="2703027" y="1041764"/>
                  <a:pt x="2699037" y="1055739"/>
                  <a:pt x="2699037" y="1063725"/>
                </a:cubicBezTo>
                <a:cubicBezTo>
                  <a:pt x="2699037" y="1069714"/>
                  <a:pt x="2699037" y="1081693"/>
                  <a:pt x="2707016" y="1085686"/>
                </a:cubicBezTo>
                <a:cubicBezTo>
                  <a:pt x="2714995" y="1089679"/>
                  <a:pt x="2718984" y="1085686"/>
                  <a:pt x="2718984" y="1085686"/>
                </a:cubicBezTo>
                <a:cubicBezTo>
                  <a:pt x="2716989" y="1087682"/>
                  <a:pt x="2716989" y="1091675"/>
                  <a:pt x="2718984" y="1091675"/>
                </a:cubicBezTo>
                <a:cubicBezTo>
                  <a:pt x="2718984" y="1091675"/>
                  <a:pt x="2722973" y="1091675"/>
                  <a:pt x="2722973" y="1093672"/>
                </a:cubicBezTo>
                <a:cubicBezTo>
                  <a:pt x="2720979" y="1095668"/>
                  <a:pt x="2716989" y="1097665"/>
                  <a:pt x="2716989" y="1099661"/>
                </a:cubicBezTo>
                <a:cubicBezTo>
                  <a:pt x="2714995" y="1101658"/>
                  <a:pt x="2713000" y="1101658"/>
                  <a:pt x="2711005" y="1101658"/>
                </a:cubicBezTo>
                <a:cubicBezTo>
                  <a:pt x="2709011" y="1101658"/>
                  <a:pt x="2705021" y="1101658"/>
                  <a:pt x="2705021" y="1101658"/>
                </a:cubicBezTo>
                <a:cubicBezTo>
                  <a:pt x="2703027" y="1103654"/>
                  <a:pt x="2701032" y="1109643"/>
                  <a:pt x="2699037" y="1109643"/>
                </a:cubicBezTo>
                <a:cubicBezTo>
                  <a:pt x="2697043" y="1109643"/>
                  <a:pt x="2695048" y="1109643"/>
                  <a:pt x="2695048" y="1109643"/>
                </a:cubicBezTo>
                <a:cubicBezTo>
                  <a:pt x="2695048" y="1109643"/>
                  <a:pt x="2691059" y="1111640"/>
                  <a:pt x="2689064" y="1109643"/>
                </a:cubicBezTo>
                <a:cubicBezTo>
                  <a:pt x="2685075" y="1109643"/>
                  <a:pt x="2687069" y="1107647"/>
                  <a:pt x="2685075" y="1109643"/>
                </a:cubicBezTo>
                <a:cubicBezTo>
                  <a:pt x="2683080" y="1111640"/>
                  <a:pt x="2683080" y="1115633"/>
                  <a:pt x="2681085" y="1113636"/>
                </a:cubicBezTo>
                <a:cubicBezTo>
                  <a:pt x="2679091" y="1113636"/>
                  <a:pt x="2679091" y="1109643"/>
                  <a:pt x="2679091" y="1107647"/>
                </a:cubicBezTo>
                <a:cubicBezTo>
                  <a:pt x="2679091" y="1107647"/>
                  <a:pt x="2677096" y="1105651"/>
                  <a:pt x="2677096" y="1107647"/>
                </a:cubicBezTo>
                <a:cubicBezTo>
                  <a:pt x="2675101" y="1109643"/>
                  <a:pt x="2675101" y="1111640"/>
                  <a:pt x="2673107" y="1113636"/>
                </a:cubicBezTo>
                <a:cubicBezTo>
                  <a:pt x="2671112" y="1115633"/>
                  <a:pt x="2671112" y="1115633"/>
                  <a:pt x="2667123" y="1117629"/>
                </a:cubicBezTo>
                <a:cubicBezTo>
                  <a:pt x="2665128" y="1119626"/>
                  <a:pt x="2661139" y="1119626"/>
                  <a:pt x="2659144" y="1119626"/>
                </a:cubicBezTo>
                <a:cubicBezTo>
                  <a:pt x="2659144" y="1121622"/>
                  <a:pt x="2657149" y="1123619"/>
                  <a:pt x="2655155" y="1123619"/>
                </a:cubicBezTo>
                <a:cubicBezTo>
                  <a:pt x="2651165" y="1125615"/>
                  <a:pt x="2649171" y="1123619"/>
                  <a:pt x="2647176" y="1123619"/>
                </a:cubicBezTo>
                <a:cubicBezTo>
                  <a:pt x="2645181" y="1123619"/>
                  <a:pt x="2645181" y="1127612"/>
                  <a:pt x="2641192" y="1129608"/>
                </a:cubicBezTo>
                <a:cubicBezTo>
                  <a:pt x="2639197" y="1129608"/>
                  <a:pt x="2639197" y="1129608"/>
                  <a:pt x="2637203" y="1129608"/>
                </a:cubicBezTo>
                <a:cubicBezTo>
                  <a:pt x="2637203" y="1131604"/>
                  <a:pt x="2637203" y="1135597"/>
                  <a:pt x="2637203" y="1135597"/>
                </a:cubicBezTo>
                <a:cubicBezTo>
                  <a:pt x="2637203" y="1135597"/>
                  <a:pt x="2633213" y="1137594"/>
                  <a:pt x="2633213" y="1137594"/>
                </a:cubicBezTo>
                <a:cubicBezTo>
                  <a:pt x="2631219" y="1139590"/>
                  <a:pt x="2627229" y="1149573"/>
                  <a:pt x="2627229" y="1149573"/>
                </a:cubicBezTo>
                <a:cubicBezTo>
                  <a:pt x="2627229" y="1151569"/>
                  <a:pt x="2623240" y="1155562"/>
                  <a:pt x="2625235" y="1157558"/>
                </a:cubicBezTo>
                <a:cubicBezTo>
                  <a:pt x="2625235" y="1161551"/>
                  <a:pt x="2623240" y="1165544"/>
                  <a:pt x="2623240" y="1165544"/>
                </a:cubicBezTo>
                <a:cubicBezTo>
                  <a:pt x="2623240" y="1167541"/>
                  <a:pt x="2621245" y="1169537"/>
                  <a:pt x="2621245" y="1171534"/>
                </a:cubicBezTo>
                <a:cubicBezTo>
                  <a:pt x="2623240" y="1173530"/>
                  <a:pt x="2625235" y="1177523"/>
                  <a:pt x="2625235" y="1179519"/>
                </a:cubicBezTo>
                <a:cubicBezTo>
                  <a:pt x="2625235" y="1179519"/>
                  <a:pt x="2627229" y="1187505"/>
                  <a:pt x="2627229" y="1189502"/>
                </a:cubicBezTo>
                <a:cubicBezTo>
                  <a:pt x="2629224" y="1191498"/>
                  <a:pt x="2633213" y="1193495"/>
                  <a:pt x="2633213" y="1193495"/>
                </a:cubicBezTo>
                <a:cubicBezTo>
                  <a:pt x="2633213" y="1193495"/>
                  <a:pt x="2637203" y="1195491"/>
                  <a:pt x="2639197" y="1195491"/>
                </a:cubicBezTo>
                <a:cubicBezTo>
                  <a:pt x="2639197" y="1193495"/>
                  <a:pt x="2641192" y="1195491"/>
                  <a:pt x="2641192" y="1191498"/>
                </a:cubicBezTo>
                <a:cubicBezTo>
                  <a:pt x="2639197" y="1187505"/>
                  <a:pt x="2637203" y="1187505"/>
                  <a:pt x="2639197" y="1183512"/>
                </a:cubicBezTo>
                <a:cubicBezTo>
                  <a:pt x="2639197" y="1181516"/>
                  <a:pt x="2641192" y="1183512"/>
                  <a:pt x="2643187" y="1183512"/>
                </a:cubicBezTo>
                <a:cubicBezTo>
                  <a:pt x="2645181" y="1185509"/>
                  <a:pt x="2647176" y="1191498"/>
                  <a:pt x="2647176" y="1193495"/>
                </a:cubicBezTo>
                <a:cubicBezTo>
                  <a:pt x="2645181" y="1195491"/>
                  <a:pt x="2643187" y="1199484"/>
                  <a:pt x="2643187" y="1201480"/>
                </a:cubicBezTo>
                <a:cubicBezTo>
                  <a:pt x="2643187" y="1201480"/>
                  <a:pt x="2639197" y="1203477"/>
                  <a:pt x="2637203" y="1201480"/>
                </a:cubicBezTo>
                <a:cubicBezTo>
                  <a:pt x="2637203" y="1201480"/>
                  <a:pt x="2637203" y="1199484"/>
                  <a:pt x="2635208" y="1199484"/>
                </a:cubicBezTo>
                <a:cubicBezTo>
                  <a:pt x="2633213" y="1201480"/>
                  <a:pt x="2631219" y="1203477"/>
                  <a:pt x="2629224" y="1205473"/>
                </a:cubicBezTo>
                <a:cubicBezTo>
                  <a:pt x="2627229" y="1205473"/>
                  <a:pt x="2625235" y="1205473"/>
                  <a:pt x="2625235" y="1203477"/>
                </a:cubicBezTo>
                <a:cubicBezTo>
                  <a:pt x="2623240" y="1201480"/>
                  <a:pt x="2625235" y="1201480"/>
                  <a:pt x="2621245" y="1201480"/>
                </a:cubicBezTo>
                <a:cubicBezTo>
                  <a:pt x="2619251" y="1201480"/>
                  <a:pt x="2617256" y="1205473"/>
                  <a:pt x="2617256" y="1205473"/>
                </a:cubicBezTo>
                <a:cubicBezTo>
                  <a:pt x="2615261" y="1207470"/>
                  <a:pt x="2613267" y="1207470"/>
                  <a:pt x="2611272" y="1207470"/>
                </a:cubicBezTo>
                <a:cubicBezTo>
                  <a:pt x="2609277" y="1209466"/>
                  <a:pt x="2607283" y="1209466"/>
                  <a:pt x="2605288" y="1209466"/>
                </a:cubicBezTo>
                <a:cubicBezTo>
                  <a:pt x="2605288" y="1211463"/>
                  <a:pt x="2601299" y="1213459"/>
                  <a:pt x="2599304" y="1213459"/>
                </a:cubicBezTo>
                <a:cubicBezTo>
                  <a:pt x="2597309" y="1213459"/>
                  <a:pt x="2593320" y="1213459"/>
                  <a:pt x="2593320" y="1213459"/>
                </a:cubicBezTo>
                <a:cubicBezTo>
                  <a:pt x="2591325" y="1211463"/>
                  <a:pt x="2591325" y="1209466"/>
                  <a:pt x="2589331" y="1209466"/>
                </a:cubicBezTo>
                <a:cubicBezTo>
                  <a:pt x="2587336" y="1209466"/>
                  <a:pt x="2583347" y="1213459"/>
                  <a:pt x="2581352" y="1213459"/>
                </a:cubicBezTo>
                <a:cubicBezTo>
                  <a:pt x="2579357" y="1213459"/>
                  <a:pt x="2577363" y="1211463"/>
                  <a:pt x="2575368" y="1211463"/>
                </a:cubicBezTo>
                <a:cubicBezTo>
                  <a:pt x="2571379" y="1211463"/>
                  <a:pt x="2565395" y="1211463"/>
                  <a:pt x="2563400" y="1213459"/>
                </a:cubicBezTo>
                <a:cubicBezTo>
                  <a:pt x="2561405" y="1215456"/>
                  <a:pt x="2557416" y="1215456"/>
                  <a:pt x="2557416" y="1219449"/>
                </a:cubicBezTo>
                <a:cubicBezTo>
                  <a:pt x="2557416" y="1221445"/>
                  <a:pt x="2563400" y="1223441"/>
                  <a:pt x="2565395" y="1223441"/>
                </a:cubicBezTo>
                <a:cubicBezTo>
                  <a:pt x="2565395" y="1221445"/>
                  <a:pt x="2571379" y="1221445"/>
                  <a:pt x="2575368" y="1221445"/>
                </a:cubicBezTo>
                <a:cubicBezTo>
                  <a:pt x="2577363" y="1219449"/>
                  <a:pt x="2585341" y="1217452"/>
                  <a:pt x="2585341" y="1217452"/>
                </a:cubicBezTo>
                <a:cubicBezTo>
                  <a:pt x="2585341" y="1217452"/>
                  <a:pt x="2583347" y="1221445"/>
                  <a:pt x="2583347" y="1221445"/>
                </a:cubicBezTo>
                <a:cubicBezTo>
                  <a:pt x="2585341" y="1221445"/>
                  <a:pt x="2591325" y="1217452"/>
                  <a:pt x="2593320" y="1219449"/>
                </a:cubicBezTo>
                <a:cubicBezTo>
                  <a:pt x="2595315" y="1221445"/>
                  <a:pt x="2591325" y="1223441"/>
                  <a:pt x="2589331" y="1223441"/>
                </a:cubicBezTo>
                <a:cubicBezTo>
                  <a:pt x="2589331" y="1225438"/>
                  <a:pt x="2579357" y="1227434"/>
                  <a:pt x="2577363" y="1227434"/>
                </a:cubicBezTo>
                <a:cubicBezTo>
                  <a:pt x="2573373" y="1227434"/>
                  <a:pt x="2561405" y="1233424"/>
                  <a:pt x="2559411" y="1233424"/>
                </a:cubicBezTo>
                <a:cubicBezTo>
                  <a:pt x="2557416" y="1235420"/>
                  <a:pt x="2553427" y="1237417"/>
                  <a:pt x="2551432" y="1237417"/>
                </a:cubicBezTo>
                <a:cubicBezTo>
                  <a:pt x="2547443" y="1237417"/>
                  <a:pt x="2545448" y="1237417"/>
                  <a:pt x="2545448" y="1235420"/>
                </a:cubicBezTo>
                <a:cubicBezTo>
                  <a:pt x="2543454" y="1233424"/>
                  <a:pt x="2545448" y="1229431"/>
                  <a:pt x="2545448" y="1229431"/>
                </a:cubicBezTo>
                <a:cubicBezTo>
                  <a:pt x="2545448" y="1229431"/>
                  <a:pt x="2545448" y="1227434"/>
                  <a:pt x="2545448" y="1225438"/>
                </a:cubicBezTo>
                <a:cubicBezTo>
                  <a:pt x="2545448" y="1225438"/>
                  <a:pt x="2547443" y="1217452"/>
                  <a:pt x="2545448" y="1217452"/>
                </a:cubicBezTo>
                <a:cubicBezTo>
                  <a:pt x="2545448" y="1215456"/>
                  <a:pt x="2541459" y="1215456"/>
                  <a:pt x="2541459" y="1217452"/>
                </a:cubicBezTo>
                <a:cubicBezTo>
                  <a:pt x="2539464" y="1219449"/>
                  <a:pt x="2537470" y="1225438"/>
                  <a:pt x="2537470" y="1227434"/>
                </a:cubicBezTo>
                <a:cubicBezTo>
                  <a:pt x="2537470" y="1229431"/>
                  <a:pt x="2537470" y="1233424"/>
                  <a:pt x="2537470" y="1235420"/>
                </a:cubicBezTo>
                <a:cubicBezTo>
                  <a:pt x="2537470" y="1237417"/>
                  <a:pt x="2539464" y="1247399"/>
                  <a:pt x="2539464" y="1249395"/>
                </a:cubicBezTo>
                <a:cubicBezTo>
                  <a:pt x="2537470" y="1251392"/>
                  <a:pt x="2535475" y="1255385"/>
                  <a:pt x="2535475" y="1255385"/>
                </a:cubicBezTo>
                <a:cubicBezTo>
                  <a:pt x="2533480" y="1257381"/>
                  <a:pt x="2533480" y="1259378"/>
                  <a:pt x="2531486" y="1261374"/>
                </a:cubicBezTo>
                <a:cubicBezTo>
                  <a:pt x="2531486" y="1263371"/>
                  <a:pt x="2529491" y="1265367"/>
                  <a:pt x="2529491" y="1267364"/>
                </a:cubicBezTo>
                <a:cubicBezTo>
                  <a:pt x="2527496" y="1269360"/>
                  <a:pt x="2527496" y="1269360"/>
                  <a:pt x="2527496" y="1271356"/>
                </a:cubicBezTo>
                <a:cubicBezTo>
                  <a:pt x="2529491" y="1273353"/>
                  <a:pt x="2531486" y="1273353"/>
                  <a:pt x="2531486" y="1273353"/>
                </a:cubicBezTo>
                <a:cubicBezTo>
                  <a:pt x="2531486" y="1275349"/>
                  <a:pt x="2527496" y="1279342"/>
                  <a:pt x="2525502" y="1279342"/>
                </a:cubicBezTo>
                <a:cubicBezTo>
                  <a:pt x="2523507" y="1279342"/>
                  <a:pt x="2519518" y="1277346"/>
                  <a:pt x="2517523" y="1279342"/>
                </a:cubicBezTo>
                <a:cubicBezTo>
                  <a:pt x="2515528" y="1281339"/>
                  <a:pt x="2515528" y="1285332"/>
                  <a:pt x="2515528" y="1287328"/>
                </a:cubicBezTo>
                <a:cubicBezTo>
                  <a:pt x="2513534" y="1289325"/>
                  <a:pt x="2509544" y="1291321"/>
                  <a:pt x="2507550" y="1291321"/>
                </a:cubicBezTo>
                <a:cubicBezTo>
                  <a:pt x="2503560" y="1289325"/>
                  <a:pt x="2503560" y="1289325"/>
                  <a:pt x="2501566" y="1289325"/>
                </a:cubicBezTo>
                <a:cubicBezTo>
                  <a:pt x="2497576" y="1289325"/>
                  <a:pt x="2497576" y="1285332"/>
                  <a:pt x="2495582" y="1285332"/>
                </a:cubicBezTo>
                <a:cubicBezTo>
                  <a:pt x="2493587" y="1285332"/>
                  <a:pt x="2493587" y="1287328"/>
                  <a:pt x="2493587" y="1289325"/>
                </a:cubicBezTo>
                <a:cubicBezTo>
                  <a:pt x="2495582" y="1291321"/>
                  <a:pt x="2499571" y="1299307"/>
                  <a:pt x="2501566" y="1303300"/>
                </a:cubicBezTo>
                <a:cubicBezTo>
                  <a:pt x="2501566" y="1305296"/>
                  <a:pt x="2499571" y="1309289"/>
                  <a:pt x="2499571" y="1313282"/>
                </a:cubicBezTo>
                <a:cubicBezTo>
                  <a:pt x="2499571" y="1315278"/>
                  <a:pt x="2497576" y="1323264"/>
                  <a:pt x="2497576" y="1325261"/>
                </a:cubicBezTo>
                <a:cubicBezTo>
                  <a:pt x="2497576" y="1327257"/>
                  <a:pt x="2493587" y="1335243"/>
                  <a:pt x="2491592" y="1335243"/>
                </a:cubicBezTo>
                <a:cubicBezTo>
                  <a:pt x="2489598" y="1335243"/>
                  <a:pt x="2487603" y="1333247"/>
                  <a:pt x="2485608" y="1333247"/>
                </a:cubicBezTo>
                <a:cubicBezTo>
                  <a:pt x="2483614" y="1333247"/>
                  <a:pt x="2481619" y="1335243"/>
                  <a:pt x="2479624" y="1335243"/>
                </a:cubicBezTo>
                <a:cubicBezTo>
                  <a:pt x="2477630" y="1335243"/>
                  <a:pt x="2477630" y="1331250"/>
                  <a:pt x="2477630" y="1329254"/>
                </a:cubicBezTo>
                <a:cubicBezTo>
                  <a:pt x="2477630" y="1329254"/>
                  <a:pt x="2479624" y="1325261"/>
                  <a:pt x="2477630" y="1325261"/>
                </a:cubicBezTo>
                <a:cubicBezTo>
                  <a:pt x="2475635" y="1325261"/>
                  <a:pt x="2473640" y="1327257"/>
                  <a:pt x="2471646" y="1325261"/>
                </a:cubicBezTo>
                <a:cubicBezTo>
                  <a:pt x="2471646" y="1321268"/>
                  <a:pt x="2471646" y="1315278"/>
                  <a:pt x="2473640" y="1313282"/>
                </a:cubicBezTo>
                <a:cubicBezTo>
                  <a:pt x="2473640" y="1311286"/>
                  <a:pt x="2473640" y="1309289"/>
                  <a:pt x="2473640" y="1307293"/>
                </a:cubicBezTo>
                <a:cubicBezTo>
                  <a:pt x="2473640" y="1305296"/>
                  <a:pt x="2469651" y="1305296"/>
                  <a:pt x="2469651" y="1305296"/>
                </a:cubicBezTo>
                <a:cubicBezTo>
                  <a:pt x="2469651" y="1303300"/>
                  <a:pt x="2469651" y="1299307"/>
                  <a:pt x="2471646" y="1297310"/>
                </a:cubicBezTo>
                <a:cubicBezTo>
                  <a:pt x="2473640" y="1295314"/>
                  <a:pt x="2477630" y="1293317"/>
                  <a:pt x="2477630" y="1293317"/>
                </a:cubicBezTo>
                <a:cubicBezTo>
                  <a:pt x="2479624" y="1291321"/>
                  <a:pt x="2479624" y="1289325"/>
                  <a:pt x="2481619" y="1287328"/>
                </a:cubicBezTo>
                <a:cubicBezTo>
                  <a:pt x="2481619" y="1285332"/>
                  <a:pt x="2483614" y="1279342"/>
                  <a:pt x="2483614" y="1279342"/>
                </a:cubicBezTo>
                <a:cubicBezTo>
                  <a:pt x="2481619" y="1277346"/>
                  <a:pt x="2479624" y="1275349"/>
                  <a:pt x="2477630" y="1277346"/>
                </a:cubicBezTo>
                <a:cubicBezTo>
                  <a:pt x="2477630" y="1277346"/>
                  <a:pt x="2473640" y="1281339"/>
                  <a:pt x="2473640" y="1281339"/>
                </a:cubicBezTo>
                <a:cubicBezTo>
                  <a:pt x="2473640" y="1283335"/>
                  <a:pt x="2471646" y="1285332"/>
                  <a:pt x="2469651" y="1287328"/>
                </a:cubicBezTo>
                <a:cubicBezTo>
                  <a:pt x="2469651" y="1289325"/>
                  <a:pt x="2465662" y="1295314"/>
                  <a:pt x="2465662" y="1297310"/>
                </a:cubicBezTo>
                <a:cubicBezTo>
                  <a:pt x="2465662" y="1297310"/>
                  <a:pt x="2465662" y="1301303"/>
                  <a:pt x="2463667" y="1303300"/>
                </a:cubicBezTo>
                <a:cubicBezTo>
                  <a:pt x="2463667" y="1307293"/>
                  <a:pt x="2461672" y="1313282"/>
                  <a:pt x="2461672" y="1315278"/>
                </a:cubicBezTo>
                <a:cubicBezTo>
                  <a:pt x="2463667" y="1319271"/>
                  <a:pt x="2465662" y="1321268"/>
                  <a:pt x="2465662" y="1323264"/>
                </a:cubicBezTo>
                <a:cubicBezTo>
                  <a:pt x="2465662" y="1327257"/>
                  <a:pt x="2463667" y="1327257"/>
                  <a:pt x="2463667" y="1327257"/>
                </a:cubicBezTo>
                <a:cubicBezTo>
                  <a:pt x="2463667" y="1327257"/>
                  <a:pt x="2459678" y="1327257"/>
                  <a:pt x="2459678" y="1325261"/>
                </a:cubicBezTo>
                <a:cubicBezTo>
                  <a:pt x="2457683" y="1325261"/>
                  <a:pt x="2455688" y="1325261"/>
                  <a:pt x="2455688" y="1325261"/>
                </a:cubicBezTo>
                <a:cubicBezTo>
                  <a:pt x="2453694" y="1325261"/>
                  <a:pt x="2449704" y="1325261"/>
                  <a:pt x="2449704" y="1325261"/>
                </a:cubicBezTo>
                <a:cubicBezTo>
                  <a:pt x="2449704" y="1325261"/>
                  <a:pt x="2445715" y="1323264"/>
                  <a:pt x="2443720" y="1323264"/>
                </a:cubicBezTo>
                <a:cubicBezTo>
                  <a:pt x="2441726" y="1323264"/>
                  <a:pt x="2439731" y="1325261"/>
                  <a:pt x="2439731" y="1325261"/>
                </a:cubicBezTo>
                <a:cubicBezTo>
                  <a:pt x="2439731" y="1327257"/>
                  <a:pt x="2443720" y="1327257"/>
                  <a:pt x="2445715" y="1327257"/>
                </a:cubicBezTo>
                <a:cubicBezTo>
                  <a:pt x="2447710" y="1327257"/>
                  <a:pt x="2451699" y="1329254"/>
                  <a:pt x="2451699" y="1329254"/>
                </a:cubicBezTo>
                <a:cubicBezTo>
                  <a:pt x="2451699" y="1329254"/>
                  <a:pt x="2453694" y="1329254"/>
                  <a:pt x="2453694" y="1329254"/>
                </a:cubicBezTo>
                <a:cubicBezTo>
                  <a:pt x="2455688" y="1329254"/>
                  <a:pt x="2457683" y="1329254"/>
                  <a:pt x="2459678" y="1331250"/>
                </a:cubicBezTo>
                <a:cubicBezTo>
                  <a:pt x="2459678" y="1331250"/>
                  <a:pt x="2463667" y="1335243"/>
                  <a:pt x="2463667" y="1337239"/>
                </a:cubicBezTo>
                <a:cubicBezTo>
                  <a:pt x="2463667" y="1339236"/>
                  <a:pt x="2461672" y="1341232"/>
                  <a:pt x="2461672" y="1341232"/>
                </a:cubicBezTo>
                <a:cubicBezTo>
                  <a:pt x="2461672" y="1341232"/>
                  <a:pt x="2459678" y="1339236"/>
                  <a:pt x="2459678" y="1343229"/>
                </a:cubicBezTo>
                <a:cubicBezTo>
                  <a:pt x="2457683" y="1345225"/>
                  <a:pt x="2459678" y="1345225"/>
                  <a:pt x="2461672" y="1347222"/>
                </a:cubicBezTo>
                <a:cubicBezTo>
                  <a:pt x="2463667" y="1349218"/>
                  <a:pt x="2467656" y="1349218"/>
                  <a:pt x="2465662" y="1353211"/>
                </a:cubicBezTo>
                <a:cubicBezTo>
                  <a:pt x="2463667" y="1355208"/>
                  <a:pt x="2463667" y="1357204"/>
                  <a:pt x="2461672" y="1357204"/>
                </a:cubicBezTo>
                <a:cubicBezTo>
                  <a:pt x="2459678" y="1357204"/>
                  <a:pt x="2457683" y="1355208"/>
                  <a:pt x="2457683" y="1355208"/>
                </a:cubicBezTo>
                <a:cubicBezTo>
                  <a:pt x="2457683" y="1355208"/>
                  <a:pt x="2453694" y="1349218"/>
                  <a:pt x="2451699" y="1351215"/>
                </a:cubicBezTo>
                <a:cubicBezTo>
                  <a:pt x="2451699" y="1353211"/>
                  <a:pt x="2453694" y="1357204"/>
                  <a:pt x="2455688" y="1357204"/>
                </a:cubicBezTo>
                <a:cubicBezTo>
                  <a:pt x="2455688" y="1357204"/>
                  <a:pt x="2459678" y="1361197"/>
                  <a:pt x="2459678" y="1361197"/>
                </a:cubicBezTo>
                <a:cubicBezTo>
                  <a:pt x="2459678" y="1361197"/>
                  <a:pt x="2461672" y="1363193"/>
                  <a:pt x="2461672" y="1365190"/>
                </a:cubicBezTo>
                <a:cubicBezTo>
                  <a:pt x="2461672" y="1365190"/>
                  <a:pt x="2459678" y="1367186"/>
                  <a:pt x="2459678" y="1367186"/>
                </a:cubicBezTo>
                <a:cubicBezTo>
                  <a:pt x="2459678" y="1367186"/>
                  <a:pt x="2453694" y="1365190"/>
                  <a:pt x="2453694" y="1365190"/>
                </a:cubicBezTo>
                <a:cubicBezTo>
                  <a:pt x="2453694" y="1367186"/>
                  <a:pt x="2453694" y="1369183"/>
                  <a:pt x="2455688" y="1371179"/>
                </a:cubicBezTo>
                <a:cubicBezTo>
                  <a:pt x="2457683" y="1373176"/>
                  <a:pt x="2459678" y="1373176"/>
                  <a:pt x="2463667" y="1373176"/>
                </a:cubicBezTo>
                <a:cubicBezTo>
                  <a:pt x="2463667" y="1373176"/>
                  <a:pt x="2471646" y="1377169"/>
                  <a:pt x="2473640" y="1379165"/>
                </a:cubicBezTo>
                <a:cubicBezTo>
                  <a:pt x="2473640" y="1381162"/>
                  <a:pt x="2475635" y="1385154"/>
                  <a:pt x="2475635" y="1387151"/>
                </a:cubicBezTo>
                <a:cubicBezTo>
                  <a:pt x="2475635" y="1391144"/>
                  <a:pt x="2475635" y="1393140"/>
                  <a:pt x="2475635" y="1395137"/>
                </a:cubicBezTo>
                <a:cubicBezTo>
                  <a:pt x="2475635" y="1399130"/>
                  <a:pt x="2477630" y="1403123"/>
                  <a:pt x="2477630" y="1403123"/>
                </a:cubicBezTo>
                <a:cubicBezTo>
                  <a:pt x="2475635" y="1403123"/>
                  <a:pt x="2471646" y="1401126"/>
                  <a:pt x="2469651" y="1399130"/>
                </a:cubicBezTo>
                <a:cubicBezTo>
                  <a:pt x="2469651" y="1399130"/>
                  <a:pt x="2465662" y="1395137"/>
                  <a:pt x="2465662" y="1395137"/>
                </a:cubicBezTo>
                <a:cubicBezTo>
                  <a:pt x="2465662" y="1395137"/>
                  <a:pt x="2463667" y="1397133"/>
                  <a:pt x="2461672" y="1399130"/>
                </a:cubicBezTo>
                <a:cubicBezTo>
                  <a:pt x="2459678" y="1399130"/>
                  <a:pt x="2459678" y="1399130"/>
                  <a:pt x="2455688" y="1399130"/>
                </a:cubicBezTo>
                <a:cubicBezTo>
                  <a:pt x="2453694" y="1399130"/>
                  <a:pt x="2451699" y="1397133"/>
                  <a:pt x="2451699" y="1399130"/>
                </a:cubicBezTo>
                <a:cubicBezTo>
                  <a:pt x="2449704" y="1399130"/>
                  <a:pt x="2449704" y="1403123"/>
                  <a:pt x="2449704" y="1405119"/>
                </a:cubicBezTo>
                <a:cubicBezTo>
                  <a:pt x="2449704" y="1405119"/>
                  <a:pt x="2457683" y="1403123"/>
                  <a:pt x="2459678" y="1403123"/>
                </a:cubicBezTo>
                <a:cubicBezTo>
                  <a:pt x="2463667" y="1403123"/>
                  <a:pt x="2469651" y="1405119"/>
                  <a:pt x="2471646" y="1407115"/>
                </a:cubicBezTo>
                <a:cubicBezTo>
                  <a:pt x="2473640" y="1407115"/>
                  <a:pt x="2475635" y="1409112"/>
                  <a:pt x="2475635" y="1413105"/>
                </a:cubicBezTo>
                <a:cubicBezTo>
                  <a:pt x="2475635" y="1415101"/>
                  <a:pt x="2471646" y="1419094"/>
                  <a:pt x="2469651" y="1419094"/>
                </a:cubicBezTo>
                <a:cubicBezTo>
                  <a:pt x="2469651" y="1419094"/>
                  <a:pt x="2461672" y="1421091"/>
                  <a:pt x="2459678" y="1421091"/>
                </a:cubicBezTo>
                <a:cubicBezTo>
                  <a:pt x="2459678" y="1421091"/>
                  <a:pt x="2457683" y="1421091"/>
                  <a:pt x="2457683" y="1421091"/>
                </a:cubicBezTo>
                <a:cubicBezTo>
                  <a:pt x="2455688" y="1419094"/>
                  <a:pt x="2453694" y="1417098"/>
                  <a:pt x="2451699" y="1417098"/>
                </a:cubicBezTo>
                <a:cubicBezTo>
                  <a:pt x="2451699" y="1419094"/>
                  <a:pt x="2451699" y="1421091"/>
                  <a:pt x="2451699" y="1421091"/>
                </a:cubicBezTo>
                <a:cubicBezTo>
                  <a:pt x="2451699" y="1423087"/>
                  <a:pt x="2451699" y="1427080"/>
                  <a:pt x="2451699" y="1427080"/>
                </a:cubicBezTo>
                <a:cubicBezTo>
                  <a:pt x="2451699" y="1427080"/>
                  <a:pt x="2447710" y="1429077"/>
                  <a:pt x="2449704" y="1431073"/>
                </a:cubicBezTo>
                <a:cubicBezTo>
                  <a:pt x="2451699" y="1433069"/>
                  <a:pt x="2453694" y="1433069"/>
                  <a:pt x="2455688" y="1433069"/>
                </a:cubicBezTo>
                <a:cubicBezTo>
                  <a:pt x="2455688" y="1433069"/>
                  <a:pt x="2459678" y="1431073"/>
                  <a:pt x="2459678" y="1435066"/>
                </a:cubicBezTo>
                <a:cubicBezTo>
                  <a:pt x="2459678" y="1439059"/>
                  <a:pt x="2457683" y="1443052"/>
                  <a:pt x="2455688" y="1445048"/>
                </a:cubicBezTo>
                <a:cubicBezTo>
                  <a:pt x="2455688" y="1447045"/>
                  <a:pt x="2451699" y="1449041"/>
                  <a:pt x="2451699" y="1447045"/>
                </a:cubicBezTo>
                <a:cubicBezTo>
                  <a:pt x="2449704" y="1447045"/>
                  <a:pt x="2451699" y="1443052"/>
                  <a:pt x="2451699" y="1443052"/>
                </a:cubicBezTo>
                <a:cubicBezTo>
                  <a:pt x="2451699" y="1443052"/>
                  <a:pt x="2449704" y="1441055"/>
                  <a:pt x="2447710" y="1443052"/>
                </a:cubicBezTo>
                <a:cubicBezTo>
                  <a:pt x="2445715" y="1445048"/>
                  <a:pt x="2437736" y="1445048"/>
                  <a:pt x="2435742" y="1445048"/>
                </a:cubicBezTo>
                <a:cubicBezTo>
                  <a:pt x="2435742" y="1447045"/>
                  <a:pt x="2431752" y="1451038"/>
                  <a:pt x="2429758" y="1451038"/>
                </a:cubicBezTo>
                <a:cubicBezTo>
                  <a:pt x="2427763" y="1451038"/>
                  <a:pt x="2425768" y="1445048"/>
                  <a:pt x="2425768" y="1445048"/>
                </a:cubicBezTo>
                <a:cubicBezTo>
                  <a:pt x="2425768" y="1445048"/>
                  <a:pt x="2425768" y="1443052"/>
                  <a:pt x="2423774" y="1445048"/>
                </a:cubicBezTo>
                <a:cubicBezTo>
                  <a:pt x="2423774" y="1449041"/>
                  <a:pt x="2423774" y="1451038"/>
                  <a:pt x="2423774" y="1453034"/>
                </a:cubicBezTo>
                <a:cubicBezTo>
                  <a:pt x="2423774" y="1455030"/>
                  <a:pt x="2421779" y="1455030"/>
                  <a:pt x="2421779" y="1457027"/>
                </a:cubicBezTo>
                <a:cubicBezTo>
                  <a:pt x="2421779" y="1459023"/>
                  <a:pt x="2417790" y="1461020"/>
                  <a:pt x="2415795" y="1463016"/>
                </a:cubicBezTo>
                <a:cubicBezTo>
                  <a:pt x="2413800" y="1465013"/>
                  <a:pt x="2413800" y="1471002"/>
                  <a:pt x="2411806" y="1471002"/>
                </a:cubicBezTo>
                <a:cubicBezTo>
                  <a:pt x="2409811" y="1471002"/>
                  <a:pt x="2407816" y="1471002"/>
                  <a:pt x="2405822" y="1471002"/>
                </a:cubicBezTo>
                <a:cubicBezTo>
                  <a:pt x="2403827" y="1471002"/>
                  <a:pt x="2401832" y="1471002"/>
                  <a:pt x="2401832" y="1471002"/>
                </a:cubicBezTo>
                <a:cubicBezTo>
                  <a:pt x="2399838" y="1471002"/>
                  <a:pt x="2397843" y="1472999"/>
                  <a:pt x="2397843" y="1471002"/>
                </a:cubicBezTo>
                <a:cubicBezTo>
                  <a:pt x="2395848" y="1471002"/>
                  <a:pt x="2391859" y="1469006"/>
                  <a:pt x="2389864" y="1471002"/>
                </a:cubicBezTo>
                <a:cubicBezTo>
                  <a:pt x="2387870" y="1471002"/>
                  <a:pt x="2387870" y="1472999"/>
                  <a:pt x="2385875" y="1474995"/>
                </a:cubicBezTo>
                <a:cubicBezTo>
                  <a:pt x="2385875" y="1476991"/>
                  <a:pt x="2379891" y="1486974"/>
                  <a:pt x="2379891" y="1488970"/>
                </a:cubicBezTo>
                <a:cubicBezTo>
                  <a:pt x="2379891" y="1488970"/>
                  <a:pt x="2375902" y="1496956"/>
                  <a:pt x="2375902" y="1498953"/>
                </a:cubicBezTo>
                <a:cubicBezTo>
                  <a:pt x="2373907" y="1500949"/>
                  <a:pt x="2369918" y="1502945"/>
                  <a:pt x="2369918" y="1502945"/>
                </a:cubicBezTo>
                <a:cubicBezTo>
                  <a:pt x="2369918" y="1502945"/>
                  <a:pt x="2365929" y="1504942"/>
                  <a:pt x="2363934" y="1504942"/>
                </a:cubicBezTo>
                <a:cubicBezTo>
                  <a:pt x="2361939" y="1508935"/>
                  <a:pt x="2361939" y="1510931"/>
                  <a:pt x="2359945" y="1512928"/>
                </a:cubicBezTo>
                <a:cubicBezTo>
                  <a:pt x="2355955" y="1512928"/>
                  <a:pt x="2351966" y="1512928"/>
                  <a:pt x="2349971" y="1512928"/>
                </a:cubicBezTo>
                <a:cubicBezTo>
                  <a:pt x="2349971" y="1512928"/>
                  <a:pt x="2345982" y="1514924"/>
                  <a:pt x="2345982" y="1516921"/>
                </a:cubicBezTo>
                <a:cubicBezTo>
                  <a:pt x="2343987" y="1516921"/>
                  <a:pt x="2345982" y="1522910"/>
                  <a:pt x="2341993" y="1522910"/>
                </a:cubicBezTo>
                <a:cubicBezTo>
                  <a:pt x="2338003" y="1522910"/>
                  <a:pt x="2336009" y="1520914"/>
                  <a:pt x="2334014" y="1520914"/>
                </a:cubicBezTo>
                <a:cubicBezTo>
                  <a:pt x="2332019" y="1522910"/>
                  <a:pt x="2332019" y="1522910"/>
                  <a:pt x="2332019" y="1526903"/>
                </a:cubicBezTo>
                <a:cubicBezTo>
                  <a:pt x="2332019" y="1528899"/>
                  <a:pt x="2334014" y="1534889"/>
                  <a:pt x="2334014" y="1534889"/>
                </a:cubicBezTo>
                <a:cubicBezTo>
                  <a:pt x="2334014" y="1536885"/>
                  <a:pt x="2330025" y="1536885"/>
                  <a:pt x="2328030" y="1536885"/>
                </a:cubicBezTo>
                <a:cubicBezTo>
                  <a:pt x="2326035" y="1536885"/>
                  <a:pt x="2326035" y="1534889"/>
                  <a:pt x="2326035" y="1534889"/>
                </a:cubicBezTo>
                <a:cubicBezTo>
                  <a:pt x="2324041" y="1536885"/>
                  <a:pt x="2322046" y="1540878"/>
                  <a:pt x="2322046" y="1542875"/>
                </a:cubicBezTo>
                <a:cubicBezTo>
                  <a:pt x="2320051" y="1544871"/>
                  <a:pt x="2320051" y="1548864"/>
                  <a:pt x="2320051" y="1550860"/>
                </a:cubicBezTo>
                <a:cubicBezTo>
                  <a:pt x="2320051" y="1552857"/>
                  <a:pt x="2320051" y="1554853"/>
                  <a:pt x="2320051" y="1556850"/>
                </a:cubicBezTo>
                <a:cubicBezTo>
                  <a:pt x="2320051" y="1560843"/>
                  <a:pt x="2316062" y="1564836"/>
                  <a:pt x="2316062" y="1566832"/>
                </a:cubicBezTo>
                <a:cubicBezTo>
                  <a:pt x="2316062" y="1568828"/>
                  <a:pt x="2316062" y="1570825"/>
                  <a:pt x="2316062" y="1570825"/>
                </a:cubicBezTo>
                <a:cubicBezTo>
                  <a:pt x="2316062" y="1570825"/>
                  <a:pt x="2312073" y="1570825"/>
                  <a:pt x="2312073" y="1572821"/>
                </a:cubicBezTo>
                <a:cubicBezTo>
                  <a:pt x="2312073" y="1572821"/>
                  <a:pt x="2310078" y="1576814"/>
                  <a:pt x="2310078" y="1578811"/>
                </a:cubicBezTo>
                <a:cubicBezTo>
                  <a:pt x="2310078" y="1580807"/>
                  <a:pt x="2312073" y="1582804"/>
                  <a:pt x="2310078" y="1584800"/>
                </a:cubicBezTo>
                <a:cubicBezTo>
                  <a:pt x="2310078" y="1586797"/>
                  <a:pt x="2308083" y="1586797"/>
                  <a:pt x="2308083" y="1588793"/>
                </a:cubicBezTo>
                <a:cubicBezTo>
                  <a:pt x="2308083" y="1590790"/>
                  <a:pt x="2310078" y="1594782"/>
                  <a:pt x="2310078" y="1596779"/>
                </a:cubicBezTo>
                <a:cubicBezTo>
                  <a:pt x="2310078" y="1598775"/>
                  <a:pt x="2310078" y="1602768"/>
                  <a:pt x="2308083" y="1602768"/>
                </a:cubicBezTo>
                <a:cubicBezTo>
                  <a:pt x="2308083" y="1604765"/>
                  <a:pt x="2306089" y="1606761"/>
                  <a:pt x="2306089" y="1608758"/>
                </a:cubicBezTo>
                <a:cubicBezTo>
                  <a:pt x="2306089" y="1610754"/>
                  <a:pt x="2308083" y="1614747"/>
                  <a:pt x="2308083" y="1614747"/>
                </a:cubicBezTo>
                <a:cubicBezTo>
                  <a:pt x="2310078" y="1616743"/>
                  <a:pt x="2312073" y="1620736"/>
                  <a:pt x="2314067" y="1622733"/>
                </a:cubicBezTo>
                <a:cubicBezTo>
                  <a:pt x="2316062" y="1624729"/>
                  <a:pt x="2316062" y="1632715"/>
                  <a:pt x="2318057" y="1634712"/>
                </a:cubicBezTo>
                <a:cubicBezTo>
                  <a:pt x="2320051" y="1636708"/>
                  <a:pt x="2322046" y="1644694"/>
                  <a:pt x="2322046" y="1646690"/>
                </a:cubicBezTo>
                <a:cubicBezTo>
                  <a:pt x="2322046" y="1648687"/>
                  <a:pt x="2322046" y="1656673"/>
                  <a:pt x="2322046" y="1656673"/>
                </a:cubicBezTo>
                <a:cubicBezTo>
                  <a:pt x="2320051" y="1656673"/>
                  <a:pt x="2320051" y="1652680"/>
                  <a:pt x="2320051" y="1654676"/>
                </a:cubicBezTo>
                <a:cubicBezTo>
                  <a:pt x="2318057" y="1654676"/>
                  <a:pt x="2316062" y="1652680"/>
                  <a:pt x="2316062" y="1656673"/>
                </a:cubicBezTo>
                <a:cubicBezTo>
                  <a:pt x="2316062" y="1658669"/>
                  <a:pt x="2320051" y="1662662"/>
                  <a:pt x="2320051" y="1662662"/>
                </a:cubicBezTo>
                <a:cubicBezTo>
                  <a:pt x="2320051" y="1662662"/>
                  <a:pt x="2322046" y="1660665"/>
                  <a:pt x="2324041" y="1660665"/>
                </a:cubicBezTo>
                <a:cubicBezTo>
                  <a:pt x="2326035" y="1662662"/>
                  <a:pt x="2326035" y="1664658"/>
                  <a:pt x="2328030" y="1666655"/>
                </a:cubicBezTo>
                <a:cubicBezTo>
                  <a:pt x="2330025" y="1668651"/>
                  <a:pt x="2330025" y="1670648"/>
                  <a:pt x="2328030" y="1670648"/>
                </a:cubicBezTo>
                <a:cubicBezTo>
                  <a:pt x="2326035" y="1672644"/>
                  <a:pt x="2324041" y="1668651"/>
                  <a:pt x="2322046" y="1672644"/>
                </a:cubicBezTo>
                <a:cubicBezTo>
                  <a:pt x="2322046" y="1676637"/>
                  <a:pt x="2324041" y="1678634"/>
                  <a:pt x="2326035" y="1678634"/>
                </a:cubicBezTo>
                <a:cubicBezTo>
                  <a:pt x="2328030" y="1678634"/>
                  <a:pt x="2330025" y="1678634"/>
                  <a:pt x="2330025" y="1678634"/>
                </a:cubicBezTo>
                <a:cubicBezTo>
                  <a:pt x="2330025" y="1678634"/>
                  <a:pt x="2332019" y="1682627"/>
                  <a:pt x="2332019" y="1684623"/>
                </a:cubicBezTo>
                <a:cubicBezTo>
                  <a:pt x="2332019" y="1686619"/>
                  <a:pt x="2332019" y="1690612"/>
                  <a:pt x="2332019" y="1692609"/>
                </a:cubicBezTo>
                <a:cubicBezTo>
                  <a:pt x="2334014" y="1694605"/>
                  <a:pt x="2338003" y="1706584"/>
                  <a:pt x="2338003" y="1710577"/>
                </a:cubicBezTo>
                <a:cubicBezTo>
                  <a:pt x="2338003" y="1714570"/>
                  <a:pt x="2338003" y="1720559"/>
                  <a:pt x="2338003" y="1724552"/>
                </a:cubicBezTo>
                <a:cubicBezTo>
                  <a:pt x="2338003" y="1726549"/>
                  <a:pt x="2332019" y="1740524"/>
                  <a:pt x="2332019" y="1740524"/>
                </a:cubicBezTo>
                <a:cubicBezTo>
                  <a:pt x="2332019" y="1742520"/>
                  <a:pt x="2328030" y="1752503"/>
                  <a:pt x="2326035" y="1754499"/>
                </a:cubicBezTo>
                <a:cubicBezTo>
                  <a:pt x="2326035" y="1758492"/>
                  <a:pt x="2322046" y="1762485"/>
                  <a:pt x="2320051" y="1762485"/>
                </a:cubicBezTo>
                <a:cubicBezTo>
                  <a:pt x="2318057" y="1764481"/>
                  <a:pt x="2316062" y="1766478"/>
                  <a:pt x="2316062" y="1766478"/>
                </a:cubicBezTo>
                <a:cubicBezTo>
                  <a:pt x="2314067" y="1766478"/>
                  <a:pt x="2310078" y="1766478"/>
                  <a:pt x="2308083" y="1766478"/>
                </a:cubicBezTo>
                <a:cubicBezTo>
                  <a:pt x="2306089" y="1766478"/>
                  <a:pt x="2304094" y="1768474"/>
                  <a:pt x="2300105" y="1768474"/>
                </a:cubicBezTo>
                <a:cubicBezTo>
                  <a:pt x="2296115" y="1766478"/>
                  <a:pt x="2296115" y="1764481"/>
                  <a:pt x="2298110" y="1762485"/>
                </a:cubicBezTo>
                <a:cubicBezTo>
                  <a:pt x="2300105" y="1762485"/>
                  <a:pt x="2302099" y="1760488"/>
                  <a:pt x="2302099" y="1760488"/>
                </a:cubicBezTo>
                <a:cubicBezTo>
                  <a:pt x="2302099" y="1758492"/>
                  <a:pt x="2304094" y="1756495"/>
                  <a:pt x="2302099" y="1756495"/>
                </a:cubicBezTo>
                <a:cubicBezTo>
                  <a:pt x="2300105" y="1754499"/>
                  <a:pt x="2300105" y="1756495"/>
                  <a:pt x="2298110" y="1756495"/>
                </a:cubicBezTo>
                <a:cubicBezTo>
                  <a:pt x="2296115" y="1756495"/>
                  <a:pt x="2294121" y="1758492"/>
                  <a:pt x="2294121" y="1756495"/>
                </a:cubicBezTo>
                <a:cubicBezTo>
                  <a:pt x="2292126" y="1754499"/>
                  <a:pt x="2294121" y="1748510"/>
                  <a:pt x="2292126" y="1748510"/>
                </a:cubicBezTo>
                <a:cubicBezTo>
                  <a:pt x="2292126" y="1746513"/>
                  <a:pt x="2278163" y="1726549"/>
                  <a:pt x="2278163" y="1726549"/>
                </a:cubicBezTo>
                <a:cubicBezTo>
                  <a:pt x="2278163" y="1726549"/>
                  <a:pt x="2272179" y="1708580"/>
                  <a:pt x="2270185" y="1704588"/>
                </a:cubicBezTo>
                <a:cubicBezTo>
                  <a:pt x="2270185" y="1702591"/>
                  <a:pt x="2268190" y="1702591"/>
                  <a:pt x="2270185" y="1698598"/>
                </a:cubicBezTo>
                <a:cubicBezTo>
                  <a:pt x="2270185" y="1696602"/>
                  <a:pt x="2274174" y="1680630"/>
                  <a:pt x="2274174" y="1678634"/>
                </a:cubicBezTo>
                <a:cubicBezTo>
                  <a:pt x="2274174" y="1676637"/>
                  <a:pt x="2274174" y="1670648"/>
                  <a:pt x="2272179" y="1668651"/>
                </a:cubicBezTo>
                <a:cubicBezTo>
                  <a:pt x="2270185" y="1668651"/>
                  <a:pt x="2270185" y="1668651"/>
                  <a:pt x="2270185" y="1670648"/>
                </a:cubicBezTo>
                <a:cubicBezTo>
                  <a:pt x="2270185" y="1674641"/>
                  <a:pt x="2270185" y="1678634"/>
                  <a:pt x="2270185" y="1678634"/>
                </a:cubicBezTo>
                <a:cubicBezTo>
                  <a:pt x="2270185" y="1678634"/>
                  <a:pt x="2266195" y="1678634"/>
                  <a:pt x="2264201" y="1676637"/>
                </a:cubicBezTo>
                <a:cubicBezTo>
                  <a:pt x="2262206" y="1674641"/>
                  <a:pt x="2264201" y="1672644"/>
                  <a:pt x="2264201" y="1670648"/>
                </a:cubicBezTo>
                <a:cubicBezTo>
                  <a:pt x="2264201" y="1666655"/>
                  <a:pt x="2266195" y="1656673"/>
                  <a:pt x="2266195" y="1654676"/>
                </a:cubicBezTo>
                <a:cubicBezTo>
                  <a:pt x="2268190" y="1652680"/>
                  <a:pt x="2270185" y="1648687"/>
                  <a:pt x="2270185" y="1644694"/>
                </a:cubicBezTo>
                <a:cubicBezTo>
                  <a:pt x="2272179" y="1642697"/>
                  <a:pt x="2272179" y="1634712"/>
                  <a:pt x="2268190" y="1632715"/>
                </a:cubicBezTo>
                <a:cubicBezTo>
                  <a:pt x="2264201" y="1632715"/>
                  <a:pt x="2254227" y="1618740"/>
                  <a:pt x="2254227" y="1618740"/>
                </a:cubicBezTo>
                <a:cubicBezTo>
                  <a:pt x="2254227" y="1618740"/>
                  <a:pt x="2252233" y="1616743"/>
                  <a:pt x="2250238" y="1614747"/>
                </a:cubicBezTo>
                <a:cubicBezTo>
                  <a:pt x="2248243" y="1612751"/>
                  <a:pt x="2246249" y="1610754"/>
                  <a:pt x="2244254" y="1608758"/>
                </a:cubicBezTo>
                <a:cubicBezTo>
                  <a:pt x="2242259" y="1606761"/>
                  <a:pt x="2240265" y="1604765"/>
                  <a:pt x="2240265" y="1604765"/>
                </a:cubicBezTo>
                <a:cubicBezTo>
                  <a:pt x="2238270" y="1604765"/>
                  <a:pt x="2238270" y="1606761"/>
                  <a:pt x="2236275" y="1602768"/>
                </a:cubicBezTo>
                <a:cubicBezTo>
                  <a:pt x="2236275" y="1600772"/>
                  <a:pt x="2236275" y="1598775"/>
                  <a:pt x="2236275" y="1598775"/>
                </a:cubicBezTo>
                <a:cubicBezTo>
                  <a:pt x="2236275" y="1598775"/>
                  <a:pt x="2232286" y="1598775"/>
                  <a:pt x="2232286" y="1600772"/>
                </a:cubicBezTo>
                <a:cubicBezTo>
                  <a:pt x="2232286" y="1600772"/>
                  <a:pt x="2228297" y="1602768"/>
                  <a:pt x="2228297" y="1602768"/>
                </a:cubicBezTo>
                <a:cubicBezTo>
                  <a:pt x="2226302" y="1604765"/>
                  <a:pt x="2226302" y="1606761"/>
                  <a:pt x="2226302" y="1608758"/>
                </a:cubicBezTo>
                <a:cubicBezTo>
                  <a:pt x="2226302" y="1610754"/>
                  <a:pt x="2222313" y="1612751"/>
                  <a:pt x="2220318" y="1612751"/>
                </a:cubicBezTo>
                <a:cubicBezTo>
                  <a:pt x="2218323" y="1612751"/>
                  <a:pt x="2216329" y="1612751"/>
                  <a:pt x="2214334" y="1612751"/>
                </a:cubicBezTo>
                <a:cubicBezTo>
                  <a:pt x="2212339" y="1612751"/>
                  <a:pt x="2210345" y="1612751"/>
                  <a:pt x="2208350" y="1612751"/>
                </a:cubicBezTo>
                <a:cubicBezTo>
                  <a:pt x="2208350" y="1614747"/>
                  <a:pt x="2208350" y="1618740"/>
                  <a:pt x="2206355" y="1616743"/>
                </a:cubicBezTo>
                <a:cubicBezTo>
                  <a:pt x="2204361" y="1616743"/>
                  <a:pt x="2204361" y="1614747"/>
                  <a:pt x="2202366" y="1612751"/>
                </a:cubicBezTo>
                <a:cubicBezTo>
                  <a:pt x="2202366" y="1610754"/>
                  <a:pt x="2202366" y="1604765"/>
                  <a:pt x="2202366" y="1602768"/>
                </a:cubicBezTo>
                <a:cubicBezTo>
                  <a:pt x="2202366" y="1600772"/>
                  <a:pt x="2202366" y="1598775"/>
                  <a:pt x="2202366" y="1598775"/>
                </a:cubicBezTo>
                <a:cubicBezTo>
                  <a:pt x="2200371" y="1598775"/>
                  <a:pt x="2198377" y="1596779"/>
                  <a:pt x="2198377" y="1596779"/>
                </a:cubicBezTo>
                <a:cubicBezTo>
                  <a:pt x="2198377" y="1598775"/>
                  <a:pt x="2196382" y="1600772"/>
                  <a:pt x="2196382" y="1600772"/>
                </a:cubicBezTo>
                <a:cubicBezTo>
                  <a:pt x="2196382" y="1602768"/>
                  <a:pt x="2194387" y="1602768"/>
                  <a:pt x="2192393" y="1602768"/>
                </a:cubicBezTo>
                <a:cubicBezTo>
                  <a:pt x="2190398" y="1600772"/>
                  <a:pt x="2188403" y="1598775"/>
                  <a:pt x="2188403" y="1598775"/>
                </a:cubicBezTo>
                <a:cubicBezTo>
                  <a:pt x="2186409" y="1598775"/>
                  <a:pt x="2186409" y="1598775"/>
                  <a:pt x="2184414" y="1598775"/>
                </a:cubicBezTo>
                <a:cubicBezTo>
                  <a:pt x="2184414" y="1598775"/>
                  <a:pt x="2184414" y="1596779"/>
                  <a:pt x="2182419" y="1594782"/>
                </a:cubicBezTo>
                <a:cubicBezTo>
                  <a:pt x="2182419" y="1594782"/>
                  <a:pt x="2180425" y="1590790"/>
                  <a:pt x="2180425" y="1590790"/>
                </a:cubicBezTo>
                <a:cubicBezTo>
                  <a:pt x="2180425" y="1590790"/>
                  <a:pt x="2178430" y="1590790"/>
                  <a:pt x="2178430" y="1590790"/>
                </a:cubicBezTo>
                <a:cubicBezTo>
                  <a:pt x="2176435" y="1592786"/>
                  <a:pt x="2176435" y="1594782"/>
                  <a:pt x="2174441" y="1594782"/>
                </a:cubicBezTo>
                <a:cubicBezTo>
                  <a:pt x="2174441" y="1594782"/>
                  <a:pt x="2174441" y="1596779"/>
                  <a:pt x="2172446" y="1596779"/>
                </a:cubicBezTo>
                <a:cubicBezTo>
                  <a:pt x="2172446" y="1596779"/>
                  <a:pt x="2168457" y="1596779"/>
                  <a:pt x="2168457" y="1596779"/>
                </a:cubicBezTo>
                <a:cubicBezTo>
                  <a:pt x="2168457" y="1596779"/>
                  <a:pt x="2166462" y="1598775"/>
                  <a:pt x="2166462" y="1596779"/>
                </a:cubicBezTo>
                <a:cubicBezTo>
                  <a:pt x="2166462" y="1594782"/>
                  <a:pt x="2166462" y="1590790"/>
                  <a:pt x="2166462" y="1590790"/>
                </a:cubicBezTo>
                <a:cubicBezTo>
                  <a:pt x="2166462" y="1590790"/>
                  <a:pt x="2164468" y="1588793"/>
                  <a:pt x="2164468" y="1588793"/>
                </a:cubicBezTo>
                <a:cubicBezTo>
                  <a:pt x="2162473" y="1590790"/>
                  <a:pt x="2160478" y="1594782"/>
                  <a:pt x="2160478" y="1594782"/>
                </a:cubicBezTo>
                <a:cubicBezTo>
                  <a:pt x="2160478" y="1594782"/>
                  <a:pt x="2158484" y="1594782"/>
                  <a:pt x="2158484" y="1592786"/>
                </a:cubicBezTo>
                <a:cubicBezTo>
                  <a:pt x="2156489" y="1592786"/>
                  <a:pt x="2156489" y="1588793"/>
                  <a:pt x="2154494" y="1590790"/>
                </a:cubicBezTo>
                <a:cubicBezTo>
                  <a:pt x="2152500" y="1590790"/>
                  <a:pt x="2152500" y="1592786"/>
                  <a:pt x="2152500" y="1594782"/>
                </a:cubicBezTo>
                <a:cubicBezTo>
                  <a:pt x="2152500" y="1594782"/>
                  <a:pt x="2150505" y="1598775"/>
                  <a:pt x="2148510" y="1598775"/>
                </a:cubicBezTo>
                <a:cubicBezTo>
                  <a:pt x="2146516" y="1598775"/>
                  <a:pt x="2144521" y="1598775"/>
                  <a:pt x="2144521" y="1596779"/>
                </a:cubicBezTo>
                <a:cubicBezTo>
                  <a:pt x="2144521" y="1594782"/>
                  <a:pt x="2148510" y="1594782"/>
                  <a:pt x="2148510" y="1592786"/>
                </a:cubicBezTo>
                <a:cubicBezTo>
                  <a:pt x="2148510" y="1592786"/>
                  <a:pt x="2148510" y="1588793"/>
                  <a:pt x="2148510" y="1588793"/>
                </a:cubicBezTo>
                <a:cubicBezTo>
                  <a:pt x="2148510" y="1586797"/>
                  <a:pt x="2146516" y="1586797"/>
                  <a:pt x="2144521" y="1586797"/>
                </a:cubicBezTo>
                <a:cubicBezTo>
                  <a:pt x="2144521" y="1586797"/>
                  <a:pt x="2142526" y="1588793"/>
                  <a:pt x="2140532" y="1588793"/>
                </a:cubicBezTo>
                <a:cubicBezTo>
                  <a:pt x="2140532" y="1592786"/>
                  <a:pt x="2140532" y="1592786"/>
                  <a:pt x="2138537" y="1592786"/>
                </a:cubicBezTo>
                <a:cubicBezTo>
                  <a:pt x="2136542" y="1592786"/>
                  <a:pt x="2132553" y="1592786"/>
                  <a:pt x="2130558" y="1590790"/>
                </a:cubicBezTo>
                <a:cubicBezTo>
                  <a:pt x="2130558" y="1590790"/>
                  <a:pt x="2126569" y="1590790"/>
                  <a:pt x="2124574" y="1588793"/>
                </a:cubicBezTo>
                <a:cubicBezTo>
                  <a:pt x="2124574" y="1588793"/>
                  <a:pt x="2120585" y="1588793"/>
                  <a:pt x="2118590" y="1588793"/>
                </a:cubicBezTo>
                <a:cubicBezTo>
                  <a:pt x="2116596" y="1588793"/>
                  <a:pt x="2112606" y="1592786"/>
                  <a:pt x="2112606" y="1592786"/>
                </a:cubicBezTo>
                <a:cubicBezTo>
                  <a:pt x="2110612" y="1592786"/>
                  <a:pt x="2110612" y="1592786"/>
                  <a:pt x="2108617" y="1592786"/>
                </a:cubicBezTo>
                <a:cubicBezTo>
                  <a:pt x="2106622" y="1594782"/>
                  <a:pt x="2104628" y="1598775"/>
                  <a:pt x="2104628" y="1598775"/>
                </a:cubicBezTo>
                <a:cubicBezTo>
                  <a:pt x="2104628" y="1600772"/>
                  <a:pt x="2104628" y="1606761"/>
                  <a:pt x="2104628" y="1606761"/>
                </a:cubicBezTo>
                <a:cubicBezTo>
                  <a:pt x="2102633" y="1608758"/>
                  <a:pt x="2102633" y="1610754"/>
                  <a:pt x="2100638" y="1610754"/>
                </a:cubicBezTo>
                <a:cubicBezTo>
                  <a:pt x="2100638" y="1612751"/>
                  <a:pt x="2098644" y="1614747"/>
                  <a:pt x="2098644" y="1616743"/>
                </a:cubicBezTo>
                <a:cubicBezTo>
                  <a:pt x="2096649" y="1618740"/>
                  <a:pt x="2096649" y="1620736"/>
                  <a:pt x="2094654" y="1622733"/>
                </a:cubicBezTo>
                <a:cubicBezTo>
                  <a:pt x="2094654" y="1622733"/>
                  <a:pt x="2092660" y="1624729"/>
                  <a:pt x="2092660" y="1626726"/>
                </a:cubicBezTo>
                <a:cubicBezTo>
                  <a:pt x="2092660" y="1626726"/>
                  <a:pt x="2088670" y="1626726"/>
                  <a:pt x="2088670" y="1628722"/>
                </a:cubicBezTo>
                <a:cubicBezTo>
                  <a:pt x="2086676" y="1628722"/>
                  <a:pt x="2084681" y="1630719"/>
                  <a:pt x="2082686" y="1630719"/>
                </a:cubicBezTo>
                <a:cubicBezTo>
                  <a:pt x="2082686" y="1632715"/>
                  <a:pt x="2080692" y="1632715"/>
                  <a:pt x="2078697" y="1632715"/>
                </a:cubicBezTo>
                <a:cubicBezTo>
                  <a:pt x="2076702" y="1630719"/>
                  <a:pt x="2074708" y="1628722"/>
                  <a:pt x="2074708" y="1626726"/>
                </a:cubicBezTo>
                <a:cubicBezTo>
                  <a:pt x="2072713" y="1626726"/>
                  <a:pt x="2072713" y="1626726"/>
                  <a:pt x="2070718" y="1626726"/>
                </a:cubicBezTo>
                <a:cubicBezTo>
                  <a:pt x="2068724" y="1626726"/>
                  <a:pt x="2066729" y="1628722"/>
                  <a:pt x="2066729" y="1628722"/>
                </a:cubicBezTo>
                <a:cubicBezTo>
                  <a:pt x="2066729" y="1630719"/>
                  <a:pt x="2058750" y="1630719"/>
                  <a:pt x="2058750" y="1628722"/>
                </a:cubicBezTo>
                <a:cubicBezTo>
                  <a:pt x="2056756" y="1628722"/>
                  <a:pt x="2054761" y="1626726"/>
                  <a:pt x="2054761" y="1624729"/>
                </a:cubicBezTo>
                <a:cubicBezTo>
                  <a:pt x="2054761" y="1624729"/>
                  <a:pt x="2054761" y="1622733"/>
                  <a:pt x="2052766" y="1620736"/>
                </a:cubicBezTo>
                <a:cubicBezTo>
                  <a:pt x="2050772" y="1620736"/>
                  <a:pt x="2046782" y="1618740"/>
                  <a:pt x="2046782" y="1618740"/>
                </a:cubicBezTo>
                <a:cubicBezTo>
                  <a:pt x="2046782" y="1618740"/>
                  <a:pt x="2046782" y="1616743"/>
                  <a:pt x="2046782" y="1616743"/>
                </a:cubicBezTo>
                <a:cubicBezTo>
                  <a:pt x="2046782" y="1614747"/>
                  <a:pt x="2044788" y="1612751"/>
                  <a:pt x="2044788" y="1612751"/>
                </a:cubicBezTo>
                <a:cubicBezTo>
                  <a:pt x="2042793" y="1612751"/>
                  <a:pt x="2040798" y="1612751"/>
                  <a:pt x="2040798" y="1612751"/>
                </a:cubicBezTo>
                <a:cubicBezTo>
                  <a:pt x="2040798" y="1612751"/>
                  <a:pt x="2042793" y="1610754"/>
                  <a:pt x="2040798" y="1610754"/>
                </a:cubicBezTo>
                <a:cubicBezTo>
                  <a:pt x="2038804" y="1610754"/>
                  <a:pt x="2036809" y="1610754"/>
                  <a:pt x="2034814" y="1610754"/>
                </a:cubicBezTo>
                <a:cubicBezTo>
                  <a:pt x="2034814" y="1610754"/>
                  <a:pt x="2032820" y="1610754"/>
                  <a:pt x="2032820" y="1610754"/>
                </a:cubicBezTo>
                <a:cubicBezTo>
                  <a:pt x="2032820" y="1612751"/>
                  <a:pt x="2030825" y="1614747"/>
                  <a:pt x="2030825" y="1614747"/>
                </a:cubicBezTo>
                <a:cubicBezTo>
                  <a:pt x="2030825" y="1616743"/>
                  <a:pt x="2028830" y="1618740"/>
                  <a:pt x="2028830" y="1618740"/>
                </a:cubicBezTo>
                <a:cubicBezTo>
                  <a:pt x="2026836" y="1618740"/>
                  <a:pt x="2026836" y="1618740"/>
                  <a:pt x="2024841" y="1618740"/>
                </a:cubicBezTo>
                <a:cubicBezTo>
                  <a:pt x="2024841" y="1618740"/>
                  <a:pt x="2022846" y="1618740"/>
                  <a:pt x="2020852" y="1618740"/>
                </a:cubicBezTo>
                <a:cubicBezTo>
                  <a:pt x="2020852" y="1618740"/>
                  <a:pt x="2016862" y="1616743"/>
                  <a:pt x="2016862" y="1616743"/>
                </a:cubicBezTo>
                <a:cubicBezTo>
                  <a:pt x="2016862" y="1616743"/>
                  <a:pt x="2014868" y="1612751"/>
                  <a:pt x="2014868" y="1612751"/>
                </a:cubicBezTo>
                <a:cubicBezTo>
                  <a:pt x="2012873" y="1612751"/>
                  <a:pt x="2010878" y="1610754"/>
                  <a:pt x="2010878" y="1610754"/>
                </a:cubicBezTo>
                <a:cubicBezTo>
                  <a:pt x="2008884" y="1610754"/>
                  <a:pt x="2008884" y="1610754"/>
                  <a:pt x="2006889" y="1610754"/>
                </a:cubicBezTo>
                <a:cubicBezTo>
                  <a:pt x="2004894" y="1612751"/>
                  <a:pt x="2000905" y="1610754"/>
                  <a:pt x="1998910" y="1610754"/>
                </a:cubicBezTo>
                <a:cubicBezTo>
                  <a:pt x="1996916" y="1612751"/>
                  <a:pt x="1990932" y="1612751"/>
                  <a:pt x="1988937" y="1612751"/>
                </a:cubicBezTo>
                <a:cubicBezTo>
                  <a:pt x="1986942" y="1614747"/>
                  <a:pt x="1982953" y="1614747"/>
                  <a:pt x="1980958" y="1614747"/>
                </a:cubicBezTo>
                <a:cubicBezTo>
                  <a:pt x="1978964" y="1614747"/>
                  <a:pt x="1976969" y="1614747"/>
                  <a:pt x="1974974" y="1614747"/>
                </a:cubicBezTo>
                <a:cubicBezTo>
                  <a:pt x="1974974" y="1614747"/>
                  <a:pt x="1972980" y="1614747"/>
                  <a:pt x="1970985" y="1616743"/>
                </a:cubicBezTo>
                <a:cubicBezTo>
                  <a:pt x="1970985" y="1616743"/>
                  <a:pt x="1970985" y="1616743"/>
                  <a:pt x="1968990" y="1618740"/>
                </a:cubicBezTo>
                <a:cubicBezTo>
                  <a:pt x="1966996" y="1618740"/>
                  <a:pt x="1966996" y="1618740"/>
                  <a:pt x="1966996" y="1616743"/>
                </a:cubicBezTo>
                <a:cubicBezTo>
                  <a:pt x="1966996" y="1614747"/>
                  <a:pt x="1965001" y="1614747"/>
                  <a:pt x="1965001" y="1614747"/>
                </a:cubicBezTo>
                <a:cubicBezTo>
                  <a:pt x="1965001" y="1614747"/>
                  <a:pt x="1965001" y="1614747"/>
                  <a:pt x="1963006" y="1614747"/>
                </a:cubicBezTo>
                <a:cubicBezTo>
                  <a:pt x="1963006" y="1614747"/>
                  <a:pt x="1959017" y="1614747"/>
                  <a:pt x="1959017" y="1614747"/>
                </a:cubicBezTo>
                <a:cubicBezTo>
                  <a:pt x="1959017" y="1614747"/>
                  <a:pt x="1957022" y="1614747"/>
                  <a:pt x="1957022" y="1616743"/>
                </a:cubicBezTo>
                <a:cubicBezTo>
                  <a:pt x="1957022" y="1618740"/>
                  <a:pt x="1959017" y="1620736"/>
                  <a:pt x="1957022" y="1620736"/>
                </a:cubicBezTo>
                <a:cubicBezTo>
                  <a:pt x="1957022" y="1622733"/>
                  <a:pt x="1959017" y="1624729"/>
                  <a:pt x="1957022" y="1626726"/>
                </a:cubicBezTo>
                <a:cubicBezTo>
                  <a:pt x="1955028" y="1626726"/>
                  <a:pt x="1953033" y="1626726"/>
                  <a:pt x="1953033" y="1628722"/>
                </a:cubicBezTo>
                <a:cubicBezTo>
                  <a:pt x="1951039" y="1630719"/>
                  <a:pt x="1951039" y="1632715"/>
                  <a:pt x="1951039" y="1632715"/>
                </a:cubicBezTo>
                <a:cubicBezTo>
                  <a:pt x="1951039" y="1632715"/>
                  <a:pt x="1955028" y="1630719"/>
                  <a:pt x="1957022" y="1630719"/>
                </a:cubicBezTo>
                <a:cubicBezTo>
                  <a:pt x="1957022" y="1630719"/>
                  <a:pt x="1961012" y="1626726"/>
                  <a:pt x="1961012" y="1626726"/>
                </a:cubicBezTo>
                <a:cubicBezTo>
                  <a:pt x="1961012" y="1626726"/>
                  <a:pt x="1959017" y="1632715"/>
                  <a:pt x="1959017" y="1632715"/>
                </a:cubicBezTo>
                <a:cubicBezTo>
                  <a:pt x="1957022" y="1634712"/>
                  <a:pt x="1955028" y="1636708"/>
                  <a:pt x="1953033" y="1636708"/>
                </a:cubicBezTo>
                <a:cubicBezTo>
                  <a:pt x="1951039" y="1636708"/>
                  <a:pt x="1947049" y="1636708"/>
                  <a:pt x="1947049" y="1636708"/>
                </a:cubicBezTo>
                <a:cubicBezTo>
                  <a:pt x="1947049" y="1638704"/>
                  <a:pt x="1945055" y="1642697"/>
                  <a:pt x="1945055" y="1642697"/>
                </a:cubicBezTo>
                <a:cubicBezTo>
                  <a:pt x="1945055" y="1642697"/>
                  <a:pt x="1941065" y="1646690"/>
                  <a:pt x="1939071" y="1648687"/>
                </a:cubicBezTo>
                <a:cubicBezTo>
                  <a:pt x="1939071" y="1648687"/>
                  <a:pt x="1937076" y="1650683"/>
                  <a:pt x="1937076" y="1650683"/>
                </a:cubicBezTo>
                <a:cubicBezTo>
                  <a:pt x="1935081" y="1652680"/>
                  <a:pt x="1933087" y="1652680"/>
                  <a:pt x="1933087" y="1652680"/>
                </a:cubicBezTo>
                <a:cubicBezTo>
                  <a:pt x="1933087" y="1652680"/>
                  <a:pt x="1933087" y="1652680"/>
                  <a:pt x="1931092" y="1650683"/>
                </a:cubicBezTo>
                <a:cubicBezTo>
                  <a:pt x="1931092" y="1650683"/>
                  <a:pt x="1931092" y="1650683"/>
                  <a:pt x="1927103" y="1650683"/>
                </a:cubicBezTo>
                <a:cubicBezTo>
                  <a:pt x="1927103" y="1650683"/>
                  <a:pt x="1923113" y="1652680"/>
                  <a:pt x="1923113" y="1652680"/>
                </a:cubicBezTo>
                <a:cubicBezTo>
                  <a:pt x="1923113" y="1652680"/>
                  <a:pt x="1919124" y="1652680"/>
                  <a:pt x="1917129" y="1652680"/>
                </a:cubicBezTo>
                <a:cubicBezTo>
                  <a:pt x="1917129" y="1654676"/>
                  <a:pt x="1917129" y="1658669"/>
                  <a:pt x="1915135" y="1660665"/>
                </a:cubicBezTo>
                <a:cubicBezTo>
                  <a:pt x="1915135" y="1660665"/>
                  <a:pt x="1911145" y="1660665"/>
                  <a:pt x="1911145" y="1660665"/>
                </a:cubicBezTo>
                <a:cubicBezTo>
                  <a:pt x="1911145" y="1660665"/>
                  <a:pt x="1907156" y="1660665"/>
                  <a:pt x="1907156" y="1660665"/>
                </a:cubicBezTo>
                <a:cubicBezTo>
                  <a:pt x="1905161" y="1662662"/>
                  <a:pt x="1903167" y="1664658"/>
                  <a:pt x="1903167" y="1664658"/>
                </a:cubicBezTo>
                <a:cubicBezTo>
                  <a:pt x="1901172" y="1664658"/>
                  <a:pt x="1899177" y="1662662"/>
                  <a:pt x="1899177" y="1664658"/>
                </a:cubicBezTo>
                <a:cubicBezTo>
                  <a:pt x="1899177" y="1666655"/>
                  <a:pt x="1899177" y="1666655"/>
                  <a:pt x="1903167" y="1668651"/>
                </a:cubicBezTo>
                <a:cubicBezTo>
                  <a:pt x="1907156" y="1670648"/>
                  <a:pt x="1907156" y="1668651"/>
                  <a:pt x="1907156" y="1670648"/>
                </a:cubicBezTo>
                <a:cubicBezTo>
                  <a:pt x="1907156" y="1672644"/>
                  <a:pt x="1909151" y="1674641"/>
                  <a:pt x="1907156" y="1674641"/>
                </a:cubicBezTo>
                <a:cubicBezTo>
                  <a:pt x="1903167" y="1674641"/>
                  <a:pt x="1899177" y="1672644"/>
                  <a:pt x="1899177" y="1674641"/>
                </a:cubicBezTo>
                <a:cubicBezTo>
                  <a:pt x="1897183" y="1674641"/>
                  <a:pt x="1895188" y="1674641"/>
                  <a:pt x="1893193" y="1674641"/>
                </a:cubicBezTo>
                <a:cubicBezTo>
                  <a:pt x="1893193" y="1676637"/>
                  <a:pt x="1887209" y="1676637"/>
                  <a:pt x="1887209" y="1678634"/>
                </a:cubicBezTo>
                <a:cubicBezTo>
                  <a:pt x="1887209" y="1680630"/>
                  <a:pt x="1887209" y="1684623"/>
                  <a:pt x="1887209" y="1684623"/>
                </a:cubicBezTo>
                <a:cubicBezTo>
                  <a:pt x="1887209" y="1684623"/>
                  <a:pt x="1879231" y="1686619"/>
                  <a:pt x="1879231" y="1690612"/>
                </a:cubicBezTo>
                <a:cubicBezTo>
                  <a:pt x="1879231" y="1692609"/>
                  <a:pt x="1883220" y="1694605"/>
                  <a:pt x="1883220" y="1694605"/>
                </a:cubicBezTo>
                <a:cubicBezTo>
                  <a:pt x="1885215" y="1694605"/>
                  <a:pt x="1887209" y="1690612"/>
                  <a:pt x="1889204" y="1686619"/>
                </a:cubicBezTo>
                <a:cubicBezTo>
                  <a:pt x="1889204" y="1686619"/>
                  <a:pt x="1891199" y="1686619"/>
                  <a:pt x="1891199" y="1688616"/>
                </a:cubicBezTo>
                <a:cubicBezTo>
                  <a:pt x="1891199" y="1690612"/>
                  <a:pt x="1889204" y="1694605"/>
                  <a:pt x="1889204" y="1694605"/>
                </a:cubicBezTo>
                <a:cubicBezTo>
                  <a:pt x="1889204" y="1696602"/>
                  <a:pt x="1885215" y="1702591"/>
                  <a:pt x="1885215" y="1704588"/>
                </a:cubicBezTo>
                <a:cubicBezTo>
                  <a:pt x="1885215" y="1706584"/>
                  <a:pt x="1885215" y="1706584"/>
                  <a:pt x="1885215" y="1710577"/>
                </a:cubicBezTo>
                <a:cubicBezTo>
                  <a:pt x="1887209" y="1712573"/>
                  <a:pt x="1887209" y="1714570"/>
                  <a:pt x="1889204" y="1714570"/>
                </a:cubicBezTo>
                <a:cubicBezTo>
                  <a:pt x="1883220" y="1728545"/>
                  <a:pt x="1869257" y="1722556"/>
                  <a:pt x="1867263" y="1720559"/>
                </a:cubicBezTo>
                <a:cubicBezTo>
                  <a:pt x="1867263" y="1720559"/>
                  <a:pt x="1857289" y="1716566"/>
                  <a:pt x="1853300" y="1712573"/>
                </a:cubicBezTo>
                <a:cubicBezTo>
                  <a:pt x="1849311" y="1710577"/>
                  <a:pt x="1845321" y="1698598"/>
                  <a:pt x="1847316" y="1692609"/>
                </a:cubicBezTo>
                <a:cubicBezTo>
                  <a:pt x="1847316" y="1686619"/>
                  <a:pt x="1841332" y="1678634"/>
                  <a:pt x="1839337" y="1674641"/>
                </a:cubicBezTo>
                <a:cubicBezTo>
                  <a:pt x="1837343" y="1670648"/>
                  <a:pt x="1833353" y="1668651"/>
                  <a:pt x="1827369" y="1650683"/>
                </a:cubicBezTo>
                <a:cubicBezTo>
                  <a:pt x="1821385" y="1632715"/>
                  <a:pt x="1817396" y="1612751"/>
                  <a:pt x="1817396" y="1610754"/>
                </a:cubicBezTo>
                <a:cubicBezTo>
                  <a:pt x="1817396" y="1606761"/>
                  <a:pt x="1817396" y="1602768"/>
                  <a:pt x="1813407" y="1602768"/>
                </a:cubicBezTo>
                <a:cubicBezTo>
                  <a:pt x="1809417" y="1602768"/>
                  <a:pt x="1803433" y="1602768"/>
                  <a:pt x="1799444" y="1602768"/>
                </a:cubicBezTo>
                <a:cubicBezTo>
                  <a:pt x="1793460" y="1604765"/>
                  <a:pt x="1787476" y="1604765"/>
                  <a:pt x="1783487" y="1602768"/>
                </a:cubicBezTo>
                <a:cubicBezTo>
                  <a:pt x="1779497" y="1600772"/>
                  <a:pt x="1777503" y="1602768"/>
                  <a:pt x="1775508" y="1600772"/>
                </a:cubicBezTo>
                <a:cubicBezTo>
                  <a:pt x="1771519" y="1598775"/>
                  <a:pt x="1771519" y="1600772"/>
                  <a:pt x="1769524" y="1600772"/>
                </a:cubicBezTo>
                <a:cubicBezTo>
                  <a:pt x="1767529" y="1600772"/>
                  <a:pt x="1767529" y="1602768"/>
                  <a:pt x="1767529" y="1606761"/>
                </a:cubicBezTo>
                <a:cubicBezTo>
                  <a:pt x="1769524" y="1608758"/>
                  <a:pt x="1767529" y="1620736"/>
                  <a:pt x="1767529" y="1622733"/>
                </a:cubicBezTo>
                <a:cubicBezTo>
                  <a:pt x="1769524" y="1626726"/>
                  <a:pt x="1765535" y="1628722"/>
                  <a:pt x="1755562" y="1624729"/>
                </a:cubicBezTo>
                <a:cubicBezTo>
                  <a:pt x="1745588" y="1620736"/>
                  <a:pt x="1737610" y="1618740"/>
                  <a:pt x="1729631" y="1610754"/>
                </a:cubicBezTo>
                <a:cubicBezTo>
                  <a:pt x="1721652" y="1602768"/>
                  <a:pt x="1721652" y="1598775"/>
                  <a:pt x="1719658" y="1586797"/>
                </a:cubicBezTo>
                <a:cubicBezTo>
                  <a:pt x="1717663" y="1574818"/>
                  <a:pt x="1709684" y="1566832"/>
                  <a:pt x="1703700" y="1560843"/>
                </a:cubicBezTo>
                <a:cubicBezTo>
                  <a:pt x="1697716" y="1554853"/>
                  <a:pt x="1695722" y="1548864"/>
                  <a:pt x="1695722" y="1544871"/>
                </a:cubicBezTo>
                <a:cubicBezTo>
                  <a:pt x="1693727" y="1540878"/>
                  <a:pt x="1693727" y="1542875"/>
                  <a:pt x="1689738" y="1540878"/>
                </a:cubicBezTo>
                <a:cubicBezTo>
                  <a:pt x="1685748" y="1538882"/>
                  <a:pt x="1685748" y="1534889"/>
                  <a:pt x="1679764" y="1536885"/>
                </a:cubicBezTo>
                <a:cubicBezTo>
                  <a:pt x="1671786" y="1538882"/>
                  <a:pt x="1661812" y="1538882"/>
                  <a:pt x="1653834" y="1538882"/>
                </a:cubicBezTo>
                <a:cubicBezTo>
                  <a:pt x="1645855" y="1538882"/>
                  <a:pt x="1643860" y="1540878"/>
                  <a:pt x="1643860" y="1546867"/>
                </a:cubicBezTo>
                <a:cubicBezTo>
                  <a:pt x="1641866" y="1550860"/>
                  <a:pt x="1631892" y="1552857"/>
                  <a:pt x="1625908" y="1550860"/>
                </a:cubicBezTo>
                <a:cubicBezTo>
                  <a:pt x="1619924" y="1550860"/>
                  <a:pt x="1607956" y="1550860"/>
                  <a:pt x="1593994" y="1550860"/>
                </a:cubicBezTo>
                <a:cubicBezTo>
                  <a:pt x="1578036" y="1550860"/>
                  <a:pt x="1560085" y="1546867"/>
                  <a:pt x="1546122" y="1538882"/>
                </a:cubicBezTo>
                <a:cubicBezTo>
                  <a:pt x="1530165" y="1532892"/>
                  <a:pt x="1492266" y="1514924"/>
                  <a:pt x="1492266" y="1514924"/>
                </a:cubicBezTo>
                <a:cubicBezTo>
                  <a:pt x="1492266" y="1514924"/>
                  <a:pt x="1472319" y="1506938"/>
                  <a:pt x="1460351" y="1504942"/>
                </a:cubicBezTo>
                <a:cubicBezTo>
                  <a:pt x="1450378" y="1500949"/>
                  <a:pt x="1438410" y="1498953"/>
                  <a:pt x="1422453" y="1498953"/>
                </a:cubicBezTo>
                <a:cubicBezTo>
                  <a:pt x="1408490" y="1498953"/>
                  <a:pt x="1396522" y="1500949"/>
                  <a:pt x="1396522" y="1500949"/>
                </a:cubicBezTo>
                <a:cubicBezTo>
                  <a:pt x="1396522" y="1496956"/>
                  <a:pt x="1396522" y="1492963"/>
                  <a:pt x="1396522" y="1490967"/>
                </a:cubicBezTo>
                <a:cubicBezTo>
                  <a:pt x="1396522" y="1488970"/>
                  <a:pt x="1394527" y="1484977"/>
                  <a:pt x="1392533" y="1484977"/>
                </a:cubicBezTo>
                <a:cubicBezTo>
                  <a:pt x="1392533" y="1482981"/>
                  <a:pt x="1388544" y="1482981"/>
                  <a:pt x="1386549" y="1480984"/>
                </a:cubicBezTo>
                <a:cubicBezTo>
                  <a:pt x="1386549" y="1478988"/>
                  <a:pt x="1386549" y="1474995"/>
                  <a:pt x="1386549" y="1474995"/>
                </a:cubicBezTo>
                <a:cubicBezTo>
                  <a:pt x="1384554" y="1472999"/>
                  <a:pt x="1384554" y="1471002"/>
                  <a:pt x="1382560" y="1471002"/>
                </a:cubicBezTo>
                <a:cubicBezTo>
                  <a:pt x="1380565" y="1471002"/>
                  <a:pt x="1378570" y="1471002"/>
                  <a:pt x="1376576" y="1471002"/>
                </a:cubicBezTo>
                <a:cubicBezTo>
                  <a:pt x="1376576" y="1469006"/>
                  <a:pt x="1376576" y="1465013"/>
                  <a:pt x="1376576" y="1463016"/>
                </a:cubicBezTo>
                <a:cubicBezTo>
                  <a:pt x="1376576" y="1463016"/>
                  <a:pt x="1376576" y="1461020"/>
                  <a:pt x="1374581" y="1461020"/>
                </a:cubicBezTo>
                <a:cubicBezTo>
                  <a:pt x="1374581" y="1459023"/>
                  <a:pt x="1368597" y="1459023"/>
                  <a:pt x="1366602" y="1459023"/>
                </a:cubicBezTo>
                <a:cubicBezTo>
                  <a:pt x="1364608" y="1459023"/>
                  <a:pt x="1362613" y="1463016"/>
                  <a:pt x="1362613" y="1463016"/>
                </a:cubicBezTo>
                <a:cubicBezTo>
                  <a:pt x="1358624" y="1463016"/>
                  <a:pt x="1348650" y="1459023"/>
                  <a:pt x="1348650" y="1457027"/>
                </a:cubicBezTo>
                <a:cubicBezTo>
                  <a:pt x="1346656" y="1457027"/>
                  <a:pt x="1340672" y="1453034"/>
                  <a:pt x="1340672" y="1453034"/>
                </a:cubicBezTo>
                <a:cubicBezTo>
                  <a:pt x="1338677" y="1451038"/>
                  <a:pt x="1336682" y="1449041"/>
                  <a:pt x="1336682" y="1449041"/>
                </a:cubicBezTo>
                <a:cubicBezTo>
                  <a:pt x="1334688" y="1449041"/>
                  <a:pt x="1332693" y="1447045"/>
                  <a:pt x="1330698" y="1447045"/>
                </a:cubicBezTo>
                <a:cubicBezTo>
                  <a:pt x="1328704" y="1447045"/>
                  <a:pt x="1326709" y="1449041"/>
                  <a:pt x="1324714" y="1447045"/>
                </a:cubicBezTo>
                <a:cubicBezTo>
                  <a:pt x="1322720" y="1447045"/>
                  <a:pt x="1322720" y="1445048"/>
                  <a:pt x="1322720" y="1443052"/>
                </a:cubicBezTo>
                <a:cubicBezTo>
                  <a:pt x="1320725" y="1441055"/>
                  <a:pt x="1324714" y="1439059"/>
                  <a:pt x="1324714" y="1439059"/>
                </a:cubicBezTo>
                <a:cubicBezTo>
                  <a:pt x="1324714" y="1437062"/>
                  <a:pt x="1324714" y="1433069"/>
                  <a:pt x="1324714" y="1431073"/>
                </a:cubicBezTo>
                <a:cubicBezTo>
                  <a:pt x="1324714" y="1429077"/>
                  <a:pt x="1322720" y="1427080"/>
                  <a:pt x="1320725" y="1425084"/>
                </a:cubicBezTo>
                <a:cubicBezTo>
                  <a:pt x="1320725" y="1425084"/>
                  <a:pt x="1320725" y="1423087"/>
                  <a:pt x="1320725" y="1421091"/>
                </a:cubicBezTo>
                <a:cubicBezTo>
                  <a:pt x="1320725" y="1421091"/>
                  <a:pt x="1320725" y="1419094"/>
                  <a:pt x="1320725" y="1417098"/>
                </a:cubicBezTo>
                <a:cubicBezTo>
                  <a:pt x="1320725" y="1417098"/>
                  <a:pt x="1316736" y="1417098"/>
                  <a:pt x="1316736" y="1417098"/>
                </a:cubicBezTo>
                <a:cubicBezTo>
                  <a:pt x="1314741" y="1415101"/>
                  <a:pt x="1310752" y="1405119"/>
                  <a:pt x="1310752" y="1403123"/>
                </a:cubicBezTo>
                <a:cubicBezTo>
                  <a:pt x="1310752" y="1403123"/>
                  <a:pt x="1310752" y="1399130"/>
                  <a:pt x="1308757" y="1395137"/>
                </a:cubicBezTo>
                <a:cubicBezTo>
                  <a:pt x="1308757" y="1393140"/>
                  <a:pt x="1306762" y="1393140"/>
                  <a:pt x="1304768" y="1391144"/>
                </a:cubicBezTo>
                <a:cubicBezTo>
                  <a:pt x="1304768" y="1389147"/>
                  <a:pt x="1302773" y="1383158"/>
                  <a:pt x="1302773" y="1379165"/>
                </a:cubicBezTo>
                <a:cubicBezTo>
                  <a:pt x="1302773" y="1375172"/>
                  <a:pt x="1302773" y="1373176"/>
                  <a:pt x="1304768" y="1369183"/>
                </a:cubicBezTo>
                <a:cubicBezTo>
                  <a:pt x="1306762" y="1367186"/>
                  <a:pt x="1306762" y="1365190"/>
                  <a:pt x="1306762" y="1365190"/>
                </a:cubicBezTo>
                <a:cubicBezTo>
                  <a:pt x="1306762" y="1363193"/>
                  <a:pt x="1302773" y="1359201"/>
                  <a:pt x="1302773" y="1359201"/>
                </a:cubicBezTo>
                <a:cubicBezTo>
                  <a:pt x="1300778" y="1357204"/>
                  <a:pt x="1296789" y="1357204"/>
                  <a:pt x="1296789" y="1355208"/>
                </a:cubicBezTo>
                <a:cubicBezTo>
                  <a:pt x="1296789" y="1353211"/>
                  <a:pt x="1296789" y="1347222"/>
                  <a:pt x="1296789" y="1345225"/>
                </a:cubicBezTo>
                <a:cubicBezTo>
                  <a:pt x="1296789" y="1345225"/>
                  <a:pt x="1294794" y="1339236"/>
                  <a:pt x="1294794" y="1335243"/>
                </a:cubicBezTo>
                <a:cubicBezTo>
                  <a:pt x="1294794" y="1333247"/>
                  <a:pt x="1296789" y="1331250"/>
                  <a:pt x="1298784" y="1329254"/>
                </a:cubicBezTo>
                <a:cubicBezTo>
                  <a:pt x="1300778" y="1327257"/>
                  <a:pt x="1302773" y="1321268"/>
                  <a:pt x="1302773" y="1319271"/>
                </a:cubicBezTo>
                <a:cubicBezTo>
                  <a:pt x="1304768" y="1319271"/>
                  <a:pt x="1300778" y="1317275"/>
                  <a:pt x="1298784" y="1315278"/>
                </a:cubicBezTo>
                <a:cubicBezTo>
                  <a:pt x="1298784" y="1313282"/>
                  <a:pt x="1292800" y="1311286"/>
                  <a:pt x="1290805" y="1309289"/>
                </a:cubicBezTo>
                <a:cubicBezTo>
                  <a:pt x="1288810" y="1307293"/>
                  <a:pt x="1286816" y="1307293"/>
                  <a:pt x="1284821" y="1307293"/>
                </a:cubicBezTo>
                <a:cubicBezTo>
                  <a:pt x="1282826" y="1307293"/>
                  <a:pt x="1280832" y="1307293"/>
                  <a:pt x="1278837" y="1307293"/>
                </a:cubicBezTo>
                <a:cubicBezTo>
                  <a:pt x="1276842" y="1307293"/>
                  <a:pt x="1272853" y="1305296"/>
                  <a:pt x="1272853" y="1303300"/>
                </a:cubicBezTo>
                <a:cubicBezTo>
                  <a:pt x="1272853" y="1303300"/>
                  <a:pt x="1274848" y="1303300"/>
                  <a:pt x="1274848" y="1301303"/>
                </a:cubicBezTo>
                <a:cubicBezTo>
                  <a:pt x="1272853" y="1299307"/>
                  <a:pt x="1272853" y="1299307"/>
                  <a:pt x="1272853" y="1297310"/>
                </a:cubicBezTo>
                <a:cubicBezTo>
                  <a:pt x="1270858" y="1297310"/>
                  <a:pt x="1268864" y="1295314"/>
                  <a:pt x="1268864" y="1293317"/>
                </a:cubicBezTo>
                <a:cubicBezTo>
                  <a:pt x="1268864" y="1291321"/>
                  <a:pt x="1268864" y="1281339"/>
                  <a:pt x="1268864" y="1281339"/>
                </a:cubicBezTo>
                <a:cubicBezTo>
                  <a:pt x="1268864" y="1279342"/>
                  <a:pt x="1270858" y="1273353"/>
                  <a:pt x="1268864" y="1271356"/>
                </a:cubicBezTo>
                <a:cubicBezTo>
                  <a:pt x="1268864" y="1269360"/>
                  <a:pt x="1266869" y="1263371"/>
                  <a:pt x="1266869" y="1261374"/>
                </a:cubicBezTo>
                <a:cubicBezTo>
                  <a:pt x="1264874" y="1259378"/>
                  <a:pt x="1264874" y="1257381"/>
                  <a:pt x="1262880" y="1255385"/>
                </a:cubicBezTo>
                <a:cubicBezTo>
                  <a:pt x="1262880" y="1253388"/>
                  <a:pt x="1262880" y="1247399"/>
                  <a:pt x="1262880" y="1247399"/>
                </a:cubicBezTo>
                <a:cubicBezTo>
                  <a:pt x="1262880" y="1243406"/>
                  <a:pt x="1260885" y="1241410"/>
                  <a:pt x="1262880" y="1239413"/>
                </a:cubicBezTo>
                <a:cubicBezTo>
                  <a:pt x="1262880" y="1239413"/>
                  <a:pt x="1266869" y="1241410"/>
                  <a:pt x="1268864" y="1239413"/>
                </a:cubicBezTo>
                <a:cubicBezTo>
                  <a:pt x="1268864" y="1237417"/>
                  <a:pt x="1268864" y="1229431"/>
                  <a:pt x="1268864" y="1227434"/>
                </a:cubicBezTo>
                <a:cubicBezTo>
                  <a:pt x="1268864" y="1225438"/>
                  <a:pt x="1270858" y="1223441"/>
                  <a:pt x="1270858" y="1221445"/>
                </a:cubicBezTo>
                <a:cubicBezTo>
                  <a:pt x="1272853" y="1217452"/>
                  <a:pt x="1272853" y="1215456"/>
                  <a:pt x="1272853" y="1213459"/>
                </a:cubicBezTo>
                <a:cubicBezTo>
                  <a:pt x="1272853" y="1211463"/>
                  <a:pt x="1272853" y="1205473"/>
                  <a:pt x="1272853" y="1201480"/>
                </a:cubicBezTo>
                <a:cubicBezTo>
                  <a:pt x="1272853" y="1199484"/>
                  <a:pt x="1274848" y="1187505"/>
                  <a:pt x="1274848" y="1185509"/>
                </a:cubicBezTo>
                <a:cubicBezTo>
                  <a:pt x="1272853" y="1183512"/>
                  <a:pt x="1274848" y="1175527"/>
                  <a:pt x="1274848" y="1175527"/>
                </a:cubicBezTo>
                <a:cubicBezTo>
                  <a:pt x="1272853" y="1171534"/>
                  <a:pt x="1272853" y="1167541"/>
                  <a:pt x="1272853" y="1165544"/>
                </a:cubicBezTo>
                <a:cubicBezTo>
                  <a:pt x="1270858" y="1163548"/>
                  <a:pt x="1272853" y="1159555"/>
                  <a:pt x="1272853" y="1157558"/>
                </a:cubicBezTo>
                <a:cubicBezTo>
                  <a:pt x="1274848" y="1155562"/>
                  <a:pt x="1278837" y="1145580"/>
                  <a:pt x="1280832" y="1143583"/>
                </a:cubicBezTo>
                <a:cubicBezTo>
                  <a:pt x="1282826" y="1141587"/>
                  <a:pt x="1282826" y="1141587"/>
                  <a:pt x="1282826" y="1139590"/>
                </a:cubicBezTo>
                <a:cubicBezTo>
                  <a:pt x="1284821" y="1137594"/>
                  <a:pt x="1282826" y="1129608"/>
                  <a:pt x="1282826" y="1127612"/>
                </a:cubicBezTo>
                <a:cubicBezTo>
                  <a:pt x="1284821" y="1125615"/>
                  <a:pt x="1284821" y="1127612"/>
                  <a:pt x="1286816" y="1125615"/>
                </a:cubicBezTo>
                <a:cubicBezTo>
                  <a:pt x="1288810" y="1123619"/>
                  <a:pt x="1288810" y="1123619"/>
                  <a:pt x="1288810" y="1121622"/>
                </a:cubicBezTo>
                <a:cubicBezTo>
                  <a:pt x="1290805" y="1119626"/>
                  <a:pt x="1290805" y="1115633"/>
                  <a:pt x="1290805" y="1113636"/>
                </a:cubicBezTo>
                <a:cubicBezTo>
                  <a:pt x="1290805" y="1111640"/>
                  <a:pt x="1296789" y="1099661"/>
                  <a:pt x="1296789" y="1095668"/>
                </a:cubicBezTo>
                <a:cubicBezTo>
                  <a:pt x="1296789" y="1093672"/>
                  <a:pt x="1294794" y="1089679"/>
                  <a:pt x="1294794" y="1087682"/>
                </a:cubicBezTo>
                <a:cubicBezTo>
                  <a:pt x="1294794" y="1085686"/>
                  <a:pt x="1294794" y="1083689"/>
                  <a:pt x="1294794" y="1081693"/>
                </a:cubicBezTo>
                <a:cubicBezTo>
                  <a:pt x="1294794" y="1081693"/>
                  <a:pt x="1296789" y="1081693"/>
                  <a:pt x="1298784" y="1079697"/>
                </a:cubicBezTo>
                <a:cubicBezTo>
                  <a:pt x="1300778" y="1077700"/>
                  <a:pt x="1300778" y="1071711"/>
                  <a:pt x="1302773" y="1069714"/>
                </a:cubicBezTo>
                <a:cubicBezTo>
                  <a:pt x="1304768" y="1065721"/>
                  <a:pt x="1304768" y="1065721"/>
                  <a:pt x="1306762" y="1063725"/>
                </a:cubicBezTo>
                <a:cubicBezTo>
                  <a:pt x="1306762" y="1061728"/>
                  <a:pt x="1308757" y="1053743"/>
                  <a:pt x="1308757" y="1051746"/>
                </a:cubicBezTo>
                <a:cubicBezTo>
                  <a:pt x="1308757" y="1047753"/>
                  <a:pt x="1310752" y="1045757"/>
                  <a:pt x="1310752" y="1041764"/>
                </a:cubicBezTo>
                <a:cubicBezTo>
                  <a:pt x="1308757" y="1039767"/>
                  <a:pt x="1310752" y="1037771"/>
                  <a:pt x="1312746" y="1037771"/>
                </a:cubicBezTo>
                <a:cubicBezTo>
                  <a:pt x="1314741" y="1037771"/>
                  <a:pt x="1316736" y="1039767"/>
                  <a:pt x="1318730" y="1039767"/>
                </a:cubicBezTo>
                <a:cubicBezTo>
                  <a:pt x="1318730" y="1037771"/>
                  <a:pt x="1318730" y="1035775"/>
                  <a:pt x="1316736" y="1035775"/>
                </a:cubicBezTo>
                <a:cubicBezTo>
                  <a:pt x="1316736" y="1035775"/>
                  <a:pt x="1310752" y="1033778"/>
                  <a:pt x="1310752" y="1031782"/>
                </a:cubicBezTo>
                <a:cubicBezTo>
                  <a:pt x="1308757" y="1031782"/>
                  <a:pt x="1308757" y="1027789"/>
                  <a:pt x="1310752" y="1025792"/>
                </a:cubicBezTo>
                <a:cubicBezTo>
                  <a:pt x="1312746" y="1023796"/>
                  <a:pt x="1314741" y="1023796"/>
                  <a:pt x="1314741" y="1023796"/>
                </a:cubicBezTo>
                <a:cubicBezTo>
                  <a:pt x="1316736" y="1023796"/>
                  <a:pt x="1316736" y="1023796"/>
                  <a:pt x="1316736" y="1019803"/>
                </a:cubicBezTo>
                <a:cubicBezTo>
                  <a:pt x="1314741" y="1019803"/>
                  <a:pt x="1314741" y="1017806"/>
                  <a:pt x="1314741" y="1015810"/>
                </a:cubicBezTo>
                <a:cubicBezTo>
                  <a:pt x="1314741" y="1013814"/>
                  <a:pt x="1314741" y="1009821"/>
                  <a:pt x="1314741" y="1009821"/>
                </a:cubicBezTo>
                <a:cubicBezTo>
                  <a:pt x="1316736" y="1009821"/>
                  <a:pt x="1314741" y="1009821"/>
                  <a:pt x="1316736" y="1007824"/>
                </a:cubicBezTo>
                <a:cubicBezTo>
                  <a:pt x="1318730" y="1007824"/>
                  <a:pt x="1316736" y="1005828"/>
                  <a:pt x="1314741" y="1005828"/>
                </a:cubicBezTo>
                <a:cubicBezTo>
                  <a:pt x="1314741" y="1005828"/>
                  <a:pt x="1312746" y="1005828"/>
                  <a:pt x="1312746" y="1003831"/>
                </a:cubicBezTo>
                <a:cubicBezTo>
                  <a:pt x="1310752" y="1001835"/>
                  <a:pt x="1308757" y="991852"/>
                  <a:pt x="1308757" y="989856"/>
                </a:cubicBezTo>
                <a:cubicBezTo>
                  <a:pt x="1310752" y="987860"/>
                  <a:pt x="1312746" y="985863"/>
                  <a:pt x="1312746" y="983867"/>
                </a:cubicBezTo>
                <a:cubicBezTo>
                  <a:pt x="1312746" y="981870"/>
                  <a:pt x="1312746" y="979874"/>
                  <a:pt x="1310752" y="979874"/>
                </a:cubicBezTo>
                <a:cubicBezTo>
                  <a:pt x="1308757" y="977877"/>
                  <a:pt x="1308757" y="979874"/>
                  <a:pt x="1308757" y="977877"/>
                </a:cubicBezTo>
                <a:cubicBezTo>
                  <a:pt x="1308757" y="975881"/>
                  <a:pt x="1308757" y="967895"/>
                  <a:pt x="1308757" y="963902"/>
                </a:cubicBezTo>
                <a:cubicBezTo>
                  <a:pt x="1306762" y="961906"/>
                  <a:pt x="1306762" y="959909"/>
                  <a:pt x="1306762" y="957913"/>
                </a:cubicBezTo>
                <a:cubicBezTo>
                  <a:pt x="1308757" y="955916"/>
                  <a:pt x="1310752" y="955916"/>
                  <a:pt x="1312746" y="955916"/>
                </a:cubicBezTo>
                <a:cubicBezTo>
                  <a:pt x="1312746" y="955916"/>
                  <a:pt x="1316736" y="955916"/>
                  <a:pt x="1316736" y="955916"/>
                </a:cubicBezTo>
                <a:cubicBezTo>
                  <a:pt x="1316736" y="955916"/>
                  <a:pt x="1316736" y="955916"/>
                  <a:pt x="1318730" y="955916"/>
                </a:cubicBezTo>
                <a:cubicBezTo>
                  <a:pt x="1318730" y="955916"/>
                  <a:pt x="1324714" y="959909"/>
                  <a:pt x="1328704" y="959909"/>
                </a:cubicBezTo>
                <a:cubicBezTo>
                  <a:pt x="1328704" y="959909"/>
                  <a:pt x="1328704" y="961906"/>
                  <a:pt x="1328704" y="963902"/>
                </a:cubicBezTo>
                <a:cubicBezTo>
                  <a:pt x="1332693" y="965899"/>
                  <a:pt x="1336682" y="963902"/>
                  <a:pt x="1338677" y="963902"/>
                </a:cubicBezTo>
                <a:cubicBezTo>
                  <a:pt x="1340672" y="963902"/>
                  <a:pt x="1344661" y="963902"/>
                  <a:pt x="1344661" y="963902"/>
                </a:cubicBezTo>
                <a:cubicBezTo>
                  <a:pt x="1344661" y="963902"/>
                  <a:pt x="1350645" y="963902"/>
                  <a:pt x="1352640" y="963902"/>
                </a:cubicBezTo>
                <a:cubicBezTo>
                  <a:pt x="1352640" y="963902"/>
                  <a:pt x="1356629" y="963902"/>
                  <a:pt x="1358624" y="965899"/>
                </a:cubicBezTo>
                <a:cubicBezTo>
                  <a:pt x="1358624" y="967895"/>
                  <a:pt x="1358624" y="969891"/>
                  <a:pt x="1356629" y="971888"/>
                </a:cubicBezTo>
                <a:cubicBezTo>
                  <a:pt x="1356629" y="973884"/>
                  <a:pt x="1354634" y="975881"/>
                  <a:pt x="1356629" y="977877"/>
                </a:cubicBezTo>
                <a:cubicBezTo>
                  <a:pt x="1356629" y="977877"/>
                  <a:pt x="1360618" y="975881"/>
                  <a:pt x="1360618" y="977877"/>
                </a:cubicBezTo>
                <a:cubicBezTo>
                  <a:pt x="1360618" y="977877"/>
                  <a:pt x="1358624" y="983867"/>
                  <a:pt x="1358624" y="985863"/>
                </a:cubicBezTo>
                <a:cubicBezTo>
                  <a:pt x="1358624" y="985863"/>
                  <a:pt x="1354634" y="991852"/>
                  <a:pt x="1352640" y="991852"/>
                </a:cubicBezTo>
                <a:cubicBezTo>
                  <a:pt x="1350645" y="993849"/>
                  <a:pt x="1348650" y="995845"/>
                  <a:pt x="1346656" y="997842"/>
                </a:cubicBezTo>
                <a:cubicBezTo>
                  <a:pt x="1350645" y="997842"/>
                  <a:pt x="1352640" y="997842"/>
                  <a:pt x="1354634" y="995845"/>
                </a:cubicBezTo>
                <a:cubicBezTo>
                  <a:pt x="1354634" y="995845"/>
                  <a:pt x="1360618" y="989856"/>
                  <a:pt x="1360618" y="989856"/>
                </a:cubicBezTo>
                <a:cubicBezTo>
                  <a:pt x="1362613" y="987860"/>
                  <a:pt x="1364608" y="981870"/>
                  <a:pt x="1362613" y="981870"/>
                </a:cubicBezTo>
                <a:cubicBezTo>
                  <a:pt x="1362613" y="979874"/>
                  <a:pt x="1362613" y="975881"/>
                  <a:pt x="1362613" y="975881"/>
                </a:cubicBezTo>
                <a:cubicBezTo>
                  <a:pt x="1362613" y="971888"/>
                  <a:pt x="1362613" y="967895"/>
                  <a:pt x="1364608" y="965899"/>
                </a:cubicBezTo>
                <a:cubicBezTo>
                  <a:pt x="1366602" y="965899"/>
                  <a:pt x="1366602" y="961906"/>
                  <a:pt x="1366602" y="959909"/>
                </a:cubicBezTo>
                <a:cubicBezTo>
                  <a:pt x="1364608" y="959909"/>
                  <a:pt x="1362613" y="955916"/>
                  <a:pt x="1362613" y="955916"/>
                </a:cubicBezTo>
                <a:cubicBezTo>
                  <a:pt x="1362613" y="951923"/>
                  <a:pt x="1362613" y="949927"/>
                  <a:pt x="1364608" y="947930"/>
                </a:cubicBezTo>
                <a:cubicBezTo>
                  <a:pt x="1364608" y="947930"/>
                  <a:pt x="1366602" y="947930"/>
                  <a:pt x="1366602" y="945934"/>
                </a:cubicBezTo>
                <a:cubicBezTo>
                  <a:pt x="1366602" y="943938"/>
                  <a:pt x="1366602" y="941941"/>
                  <a:pt x="1364608" y="941941"/>
                </a:cubicBezTo>
                <a:cubicBezTo>
                  <a:pt x="1362613" y="941941"/>
                  <a:pt x="1360618" y="941941"/>
                  <a:pt x="1358624" y="939945"/>
                </a:cubicBezTo>
                <a:cubicBezTo>
                  <a:pt x="1358624" y="937948"/>
                  <a:pt x="1356629" y="933955"/>
                  <a:pt x="1356629" y="931959"/>
                </a:cubicBezTo>
                <a:cubicBezTo>
                  <a:pt x="1356629" y="929962"/>
                  <a:pt x="1356629" y="927966"/>
                  <a:pt x="1358624" y="925969"/>
                </a:cubicBezTo>
                <a:cubicBezTo>
                  <a:pt x="1360618" y="923973"/>
                  <a:pt x="1362613" y="923973"/>
                  <a:pt x="1362613" y="921976"/>
                </a:cubicBezTo>
                <a:cubicBezTo>
                  <a:pt x="1364608" y="921976"/>
                  <a:pt x="1362613" y="919980"/>
                  <a:pt x="1362613" y="919980"/>
                </a:cubicBezTo>
                <a:cubicBezTo>
                  <a:pt x="1362613" y="919980"/>
                  <a:pt x="1374581" y="915987"/>
                  <a:pt x="1374581" y="917984"/>
                </a:cubicBezTo>
                <a:close/>
                <a:moveTo>
                  <a:pt x="940" y="844549"/>
                </a:moveTo>
                <a:cubicBezTo>
                  <a:pt x="3057" y="844549"/>
                  <a:pt x="5173" y="844549"/>
                  <a:pt x="5173" y="846666"/>
                </a:cubicBezTo>
                <a:cubicBezTo>
                  <a:pt x="5173" y="848782"/>
                  <a:pt x="3057" y="850899"/>
                  <a:pt x="940" y="848782"/>
                </a:cubicBezTo>
                <a:cubicBezTo>
                  <a:pt x="-1177" y="846666"/>
                  <a:pt x="940" y="844549"/>
                  <a:pt x="940" y="844549"/>
                </a:cubicBezTo>
                <a:close/>
                <a:moveTo>
                  <a:pt x="10466" y="839787"/>
                </a:moveTo>
                <a:cubicBezTo>
                  <a:pt x="17874" y="841904"/>
                  <a:pt x="10466" y="846137"/>
                  <a:pt x="8613" y="844020"/>
                </a:cubicBezTo>
                <a:cubicBezTo>
                  <a:pt x="6761" y="839787"/>
                  <a:pt x="10466" y="839787"/>
                  <a:pt x="10466" y="839787"/>
                </a:cubicBezTo>
                <a:close/>
                <a:moveTo>
                  <a:pt x="14699" y="837008"/>
                </a:moveTo>
                <a:cubicBezTo>
                  <a:pt x="17874" y="837008"/>
                  <a:pt x="17874" y="842961"/>
                  <a:pt x="13111" y="838992"/>
                </a:cubicBezTo>
                <a:cubicBezTo>
                  <a:pt x="13111" y="838992"/>
                  <a:pt x="13111" y="835024"/>
                  <a:pt x="14699" y="837008"/>
                </a:cubicBezTo>
                <a:close/>
                <a:moveTo>
                  <a:pt x="28306" y="830262"/>
                </a:moveTo>
                <a:lnTo>
                  <a:pt x="32388" y="830262"/>
                </a:lnTo>
                <a:cubicBezTo>
                  <a:pt x="32388" y="830262"/>
                  <a:pt x="32388" y="830262"/>
                  <a:pt x="36470" y="832246"/>
                </a:cubicBezTo>
                <a:cubicBezTo>
                  <a:pt x="38511" y="832246"/>
                  <a:pt x="34429" y="836215"/>
                  <a:pt x="34429" y="836215"/>
                </a:cubicBezTo>
                <a:cubicBezTo>
                  <a:pt x="34429" y="836215"/>
                  <a:pt x="26265" y="838199"/>
                  <a:pt x="26265" y="834230"/>
                </a:cubicBezTo>
                <a:cubicBezTo>
                  <a:pt x="24223" y="830262"/>
                  <a:pt x="28306" y="830262"/>
                  <a:pt x="28306" y="830262"/>
                </a:cubicBezTo>
                <a:close/>
                <a:moveTo>
                  <a:pt x="68560" y="814740"/>
                </a:moveTo>
                <a:cubicBezTo>
                  <a:pt x="68560" y="814740"/>
                  <a:pt x="70488" y="812800"/>
                  <a:pt x="70488" y="814740"/>
                </a:cubicBezTo>
                <a:cubicBezTo>
                  <a:pt x="70488" y="816680"/>
                  <a:pt x="70488" y="818621"/>
                  <a:pt x="68560" y="818621"/>
                </a:cubicBezTo>
                <a:cubicBezTo>
                  <a:pt x="66632" y="818621"/>
                  <a:pt x="64704" y="818621"/>
                  <a:pt x="66632" y="820561"/>
                </a:cubicBezTo>
                <a:cubicBezTo>
                  <a:pt x="66632" y="822501"/>
                  <a:pt x="70488" y="822501"/>
                  <a:pt x="70488" y="822501"/>
                </a:cubicBezTo>
                <a:cubicBezTo>
                  <a:pt x="70488" y="822501"/>
                  <a:pt x="74343" y="818621"/>
                  <a:pt x="76271" y="822501"/>
                </a:cubicBezTo>
                <a:cubicBezTo>
                  <a:pt x="78198" y="824441"/>
                  <a:pt x="76271" y="824441"/>
                  <a:pt x="76271" y="824441"/>
                </a:cubicBezTo>
                <a:cubicBezTo>
                  <a:pt x="76271" y="824441"/>
                  <a:pt x="76271" y="826381"/>
                  <a:pt x="74343" y="824441"/>
                </a:cubicBezTo>
                <a:cubicBezTo>
                  <a:pt x="70488" y="824441"/>
                  <a:pt x="70488" y="826381"/>
                  <a:pt x="70488" y="826381"/>
                </a:cubicBezTo>
                <a:cubicBezTo>
                  <a:pt x="70488" y="826381"/>
                  <a:pt x="66632" y="828322"/>
                  <a:pt x="64704" y="828322"/>
                </a:cubicBezTo>
                <a:cubicBezTo>
                  <a:pt x="62777" y="828322"/>
                  <a:pt x="62777" y="826381"/>
                  <a:pt x="60849" y="828322"/>
                </a:cubicBezTo>
                <a:cubicBezTo>
                  <a:pt x="56994" y="828322"/>
                  <a:pt x="56994" y="828322"/>
                  <a:pt x="56994" y="828322"/>
                </a:cubicBezTo>
                <a:cubicBezTo>
                  <a:pt x="56994" y="828322"/>
                  <a:pt x="55066" y="830262"/>
                  <a:pt x="53138" y="828322"/>
                </a:cubicBezTo>
                <a:cubicBezTo>
                  <a:pt x="53138" y="824441"/>
                  <a:pt x="51210" y="822501"/>
                  <a:pt x="53138" y="822501"/>
                </a:cubicBezTo>
                <a:cubicBezTo>
                  <a:pt x="55066" y="822501"/>
                  <a:pt x="55066" y="820561"/>
                  <a:pt x="56994" y="824441"/>
                </a:cubicBezTo>
                <a:cubicBezTo>
                  <a:pt x="56994" y="824441"/>
                  <a:pt x="56994" y="820561"/>
                  <a:pt x="58921" y="818621"/>
                </a:cubicBezTo>
                <a:cubicBezTo>
                  <a:pt x="62777" y="818621"/>
                  <a:pt x="62777" y="816680"/>
                  <a:pt x="62777" y="816680"/>
                </a:cubicBezTo>
                <a:cubicBezTo>
                  <a:pt x="62777" y="816680"/>
                  <a:pt x="62777" y="814740"/>
                  <a:pt x="66632" y="816680"/>
                </a:cubicBezTo>
                <a:cubicBezTo>
                  <a:pt x="68560" y="816680"/>
                  <a:pt x="68560" y="814740"/>
                  <a:pt x="68560" y="814740"/>
                </a:cubicBezTo>
                <a:close/>
                <a:moveTo>
                  <a:pt x="79786" y="804862"/>
                </a:moveTo>
                <a:cubicBezTo>
                  <a:pt x="83755" y="804862"/>
                  <a:pt x="81770" y="808566"/>
                  <a:pt x="83755" y="808566"/>
                </a:cubicBezTo>
                <a:cubicBezTo>
                  <a:pt x="87724" y="810418"/>
                  <a:pt x="83755" y="812270"/>
                  <a:pt x="81770" y="812270"/>
                </a:cubicBezTo>
                <a:cubicBezTo>
                  <a:pt x="81770" y="810418"/>
                  <a:pt x="79786" y="812270"/>
                  <a:pt x="79786" y="812270"/>
                </a:cubicBezTo>
                <a:cubicBezTo>
                  <a:pt x="79786" y="812270"/>
                  <a:pt x="77802" y="815974"/>
                  <a:pt x="73833" y="812270"/>
                </a:cubicBezTo>
                <a:cubicBezTo>
                  <a:pt x="71848" y="810418"/>
                  <a:pt x="77802" y="806714"/>
                  <a:pt x="77802" y="806714"/>
                </a:cubicBezTo>
                <a:cubicBezTo>
                  <a:pt x="77802" y="806714"/>
                  <a:pt x="77802" y="804862"/>
                  <a:pt x="79786" y="804862"/>
                </a:cubicBezTo>
                <a:close/>
                <a:moveTo>
                  <a:pt x="142564" y="803275"/>
                </a:moveTo>
                <a:cubicBezTo>
                  <a:pt x="142564" y="803275"/>
                  <a:pt x="146316" y="805259"/>
                  <a:pt x="146316" y="805259"/>
                </a:cubicBezTo>
                <a:lnTo>
                  <a:pt x="150069" y="805259"/>
                </a:lnTo>
                <a:cubicBezTo>
                  <a:pt x="150069" y="805259"/>
                  <a:pt x="150069" y="805259"/>
                  <a:pt x="153821" y="805259"/>
                </a:cubicBezTo>
                <a:cubicBezTo>
                  <a:pt x="155697" y="805259"/>
                  <a:pt x="157574" y="807243"/>
                  <a:pt x="155697" y="807243"/>
                </a:cubicBezTo>
                <a:cubicBezTo>
                  <a:pt x="155697" y="809228"/>
                  <a:pt x="155697" y="811212"/>
                  <a:pt x="151945" y="809228"/>
                </a:cubicBezTo>
                <a:cubicBezTo>
                  <a:pt x="148193" y="807243"/>
                  <a:pt x="150069" y="809228"/>
                  <a:pt x="148193" y="809228"/>
                </a:cubicBezTo>
                <a:cubicBezTo>
                  <a:pt x="148193" y="811212"/>
                  <a:pt x="142564" y="809228"/>
                  <a:pt x="142564" y="809228"/>
                </a:cubicBezTo>
                <a:cubicBezTo>
                  <a:pt x="142564" y="809228"/>
                  <a:pt x="138812" y="809228"/>
                  <a:pt x="138812" y="807243"/>
                </a:cubicBezTo>
                <a:cubicBezTo>
                  <a:pt x="136936" y="805259"/>
                  <a:pt x="140688" y="805259"/>
                  <a:pt x="142564" y="803275"/>
                </a:cubicBezTo>
                <a:close/>
                <a:moveTo>
                  <a:pt x="127745" y="797242"/>
                </a:moveTo>
                <a:cubicBezTo>
                  <a:pt x="131755" y="797242"/>
                  <a:pt x="133761" y="799147"/>
                  <a:pt x="133761" y="802957"/>
                </a:cubicBezTo>
                <a:cubicBezTo>
                  <a:pt x="131755" y="806767"/>
                  <a:pt x="127745" y="804862"/>
                  <a:pt x="127745" y="804862"/>
                </a:cubicBezTo>
                <a:cubicBezTo>
                  <a:pt x="127745" y="806767"/>
                  <a:pt x="127745" y="810577"/>
                  <a:pt x="123734" y="808672"/>
                </a:cubicBezTo>
                <a:cubicBezTo>
                  <a:pt x="119724" y="808672"/>
                  <a:pt x="117718" y="806767"/>
                  <a:pt x="117718" y="808672"/>
                </a:cubicBezTo>
                <a:cubicBezTo>
                  <a:pt x="117718" y="810577"/>
                  <a:pt x="113708" y="812482"/>
                  <a:pt x="111703" y="810577"/>
                </a:cubicBezTo>
                <a:cubicBezTo>
                  <a:pt x="109697" y="808672"/>
                  <a:pt x="107692" y="810577"/>
                  <a:pt x="107692" y="810577"/>
                </a:cubicBezTo>
                <a:cubicBezTo>
                  <a:pt x="107692" y="812482"/>
                  <a:pt x="105687" y="814387"/>
                  <a:pt x="103682" y="812482"/>
                </a:cubicBezTo>
                <a:cubicBezTo>
                  <a:pt x="101676" y="810577"/>
                  <a:pt x="101676" y="812482"/>
                  <a:pt x="101676" y="812482"/>
                </a:cubicBezTo>
                <a:cubicBezTo>
                  <a:pt x="99671" y="812482"/>
                  <a:pt x="99671" y="812482"/>
                  <a:pt x="99671" y="812482"/>
                </a:cubicBezTo>
                <a:cubicBezTo>
                  <a:pt x="99671" y="812482"/>
                  <a:pt x="95661" y="814387"/>
                  <a:pt x="97666" y="810577"/>
                </a:cubicBezTo>
                <a:cubicBezTo>
                  <a:pt x="99671" y="808672"/>
                  <a:pt x="101676" y="806767"/>
                  <a:pt x="105687" y="808672"/>
                </a:cubicBezTo>
                <a:cubicBezTo>
                  <a:pt x="105687" y="808672"/>
                  <a:pt x="105687" y="806767"/>
                  <a:pt x="107692" y="806767"/>
                </a:cubicBezTo>
                <a:cubicBezTo>
                  <a:pt x="109697" y="806767"/>
                  <a:pt x="111703" y="808672"/>
                  <a:pt x="113708" y="806767"/>
                </a:cubicBezTo>
                <a:cubicBezTo>
                  <a:pt x="113708" y="804862"/>
                  <a:pt x="115713" y="804862"/>
                  <a:pt x="117718" y="804862"/>
                </a:cubicBezTo>
                <a:cubicBezTo>
                  <a:pt x="119724" y="804862"/>
                  <a:pt x="123734" y="804862"/>
                  <a:pt x="123734" y="801052"/>
                </a:cubicBezTo>
                <a:cubicBezTo>
                  <a:pt x="123734" y="797242"/>
                  <a:pt x="125739" y="795337"/>
                  <a:pt x="127745" y="797242"/>
                </a:cubicBezTo>
                <a:close/>
                <a:moveTo>
                  <a:pt x="171861" y="796925"/>
                </a:moveTo>
                <a:cubicBezTo>
                  <a:pt x="173977" y="796925"/>
                  <a:pt x="178211" y="798909"/>
                  <a:pt x="178211" y="800893"/>
                </a:cubicBezTo>
                <a:cubicBezTo>
                  <a:pt x="176094" y="800893"/>
                  <a:pt x="169744" y="804862"/>
                  <a:pt x="167627" y="800893"/>
                </a:cubicBezTo>
                <a:cubicBezTo>
                  <a:pt x="165511" y="798909"/>
                  <a:pt x="171861" y="796925"/>
                  <a:pt x="171861" y="796925"/>
                </a:cubicBezTo>
                <a:close/>
                <a:moveTo>
                  <a:pt x="202552" y="794146"/>
                </a:moveTo>
                <a:cubicBezTo>
                  <a:pt x="206786" y="792162"/>
                  <a:pt x="204669" y="796130"/>
                  <a:pt x="204669" y="796130"/>
                </a:cubicBezTo>
                <a:cubicBezTo>
                  <a:pt x="204669" y="796130"/>
                  <a:pt x="204669" y="800099"/>
                  <a:pt x="202552" y="798115"/>
                </a:cubicBezTo>
                <a:cubicBezTo>
                  <a:pt x="200436" y="798115"/>
                  <a:pt x="202552" y="794146"/>
                  <a:pt x="202552" y="794146"/>
                </a:cubicBezTo>
                <a:close/>
                <a:moveTo>
                  <a:pt x="231393" y="785713"/>
                </a:moveTo>
                <a:cubicBezTo>
                  <a:pt x="232385" y="785713"/>
                  <a:pt x="233377" y="786209"/>
                  <a:pt x="233377" y="788193"/>
                </a:cubicBezTo>
                <a:cubicBezTo>
                  <a:pt x="235362" y="790178"/>
                  <a:pt x="229408" y="792162"/>
                  <a:pt x="229408" y="790178"/>
                </a:cubicBezTo>
                <a:cubicBezTo>
                  <a:pt x="227424" y="788193"/>
                  <a:pt x="229408" y="786209"/>
                  <a:pt x="229408" y="786209"/>
                </a:cubicBezTo>
                <a:cubicBezTo>
                  <a:pt x="229408" y="786209"/>
                  <a:pt x="230401" y="785713"/>
                  <a:pt x="231393" y="785713"/>
                </a:cubicBezTo>
                <a:close/>
                <a:moveTo>
                  <a:pt x="219883" y="784373"/>
                </a:moveTo>
                <a:cubicBezTo>
                  <a:pt x="220995" y="784621"/>
                  <a:pt x="221550" y="785613"/>
                  <a:pt x="220439" y="786605"/>
                </a:cubicBezTo>
                <a:cubicBezTo>
                  <a:pt x="220439" y="788590"/>
                  <a:pt x="215994" y="790574"/>
                  <a:pt x="213771" y="788590"/>
                </a:cubicBezTo>
                <a:cubicBezTo>
                  <a:pt x="211549" y="786605"/>
                  <a:pt x="215994" y="786605"/>
                  <a:pt x="215994" y="786605"/>
                </a:cubicBezTo>
                <a:cubicBezTo>
                  <a:pt x="217105" y="784621"/>
                  <a:pt x="218772" y="784125"/>
                  <a:pt x="219883" y="784373"/>
                </a:cubicBezTo>
                <a:close/>
                <a:moveTo>
                  <a:pt x="239806" y="781050"/>
                </a:moveTo>
                <a:cubicBezTo>
                  <a:pt x="246474" y="783167"/>
                  <a:pt x="237583" y="787400"/>
                  <a:pt x="237583" y="785283"/>
                </a:cubicBezTo>
                <a:cubicBezTo>
                  <a:pt x="235361" y="783167"/>
                  <a:pt x="239806" y="781050"/>
                  <a:pt x="239806" y="781050"/>
                </a:cubicBezTo>
                <a:close/>
                <a:moveTo>
                  <a:pt x="299655" y="750887"/>
                </a:moveTo>
                <a:cubicBezTo>
                  <a:pt x="301639" y="750887"/>
                  <a:pt x="303624" y="750887"/>
                  <a:pt x="303624" y="752898"/>
                </a:cubicBezTo>
                <a:cubicBezTo>
                  <a:pt x="303624" y="754908"/>
                  <a:pt x="299655" y="756919"/>
                  <a:pt x="297671" y="756919"/>
                </a:cubicBezTo>
                <a:cubicBezTo>
                  <a:pt x="295686" y="756919"/>
                  <a:pt x="293702" y="756919"/>
                  <a:pt x="293702" y="758930"/>
                </a:cubicBezTo>
                <a:cubicBezTo>
                  <a:pt x="293702" y="760941"/>
                  <a:pt x="289733" y="762952"/>
                  <a:pt x="289733" y="762952"/>
                </a:cubicBezTo>
                <a:cubicBezTo>
                  <a:pt x="287749" y="762952"/>
                  <a:pt x="285764" y="764962"/>
                  <a:pt x="285764" y="764962"/>
                </a:cubicBezTo>
                <a:cubicBezTo>
                  <a:pt x="285764" y="764962"/>
                  <a:pt x="281795" y="770995"/>
                  <a:pt x="279811" y="770995"/>
                </a:cubicBezTo>
                <a:cubicBezTo>
                  <a:pt x="277827" y="770995"/>
                  <a:pt x="273858" y="777027"/>
                  <a:pt x="273858" y="777027"/>
                </a:cubicBezTo>
                <a:cubicBezTo>
                  <a:pt x="273858" y="777027"/>
                  <a:pt x="267905" y="781049"/>
                  <a:pt x="265920" y="779038"/>
                </a:cubicBezTo>
                <a:cubicBezTo>
                  <a:pt x="263936" y="779038"/>
                  <a:pt x="267905" y="775016"/>
                  <a:pt x="269889" y="773006"/>
                </a:cubicBezTo>
                <a:cubicBezTo>
                  <a:pt x="271873" y="770995"/>
                  <a:pt x="271873" y="768984"/>
                  <a:pt x="271873" y="764962"/>
                </a:cubicBezTo>
                <a:cubicBezTo>
                  <a:pt x="271873" y="760941"/>
                  <a:pt x="279811" y="760941"/>
                  <a:pt x="279811" y="760941"/>
                </a:cubicBezTo>
                <a:cubicBezTo>
                  <a:pt x="279811" y="760941"/>
                  <a:pt x="281795" y="760941"/>
                  <a:pt x="283780" y="760941"/>
                </a:cubicBezTo>
                <a:cubicBezTo>
                  <a:pt x="285764" y="760941"/>
                  <a:pt x="287749" y="758930"/>
                  <a:pt x="287749" y="756919"/>
                </a:cubicBezTo>
                <a:cubicBezTo>
                  <a:pt x="287749" y="752898"/>
                  <a:pt x="289733" y="752898"/>
                  <a:pt x="293702" y="752898"/>
                </a:cubicBezTo>
                <a:cubicBezTo>
                  <a:pt x="295686" y="752898"/>
                  <a:pt x="297671" y="750887"/>
                  <a:pt x="299655" y="750887"/>
                </a:cubicBezTo>
                <a:close/>
                <a:moveTo>
                  <a:pt x="337999" y="735365"/>
                </a:moveTo>
                <a:cubicBezTo>
                  <a:pt x="337999" y="735365"/>
                  <a:pt x="340014" y="733425"/>
                  <a:pt x="340014" y="735365"/>
                </a:cubicBezTo>
                <a:cubicBezTo>
                  <a:pt x="340014" y="737305"/>
                  <a:pt x="342029" y="737305"/>
                  <a:pt x="344044" y="737305"/>
                </a:cubicBezTo>
                <a:cubicBezTo>
                  <a:pt x="344044" y="739246"/>
                  <a:pt x="348074" y="741186"/>
                  <a:pt x="344044" y="743126"/>
                </a:cubicBezTo>
                <a:cubicBezTo>
                  <a:pt x="342029" y="745067"/>
                  <a:pt x="340014" y="745067"/>
                  <a:pt x="340014" y="747007"/>
                </a:cubicBezTo>
                <a:cubicBezTo>
                  <a:pt x="340014" y="748947"/>
                  <a:pt x="335984" y="750887"/>
                  <a:pt x="335984" y="750887"/>
                </a:cubicBezTo>
                <a:cubicBezTo>
                  <a:pt x="335984" y="750887"/>
                  <a:pt x="331954" y="754768"/>
                  <a:pt x="327925" y="754768"/>
                </a:cubicBezTo>
                <a:cubicBezTo>
                  <a:pt x="325910" y="754768"/>
                  <a:pt x="323895" y="752828"/>
                  <a:pt x="323895" y="756708"/>
                </a:cubicBezTo>
                <a:cubicBezTo>
                  <a:pt x="321880" y="760589"/>
                  <a:pt x="319865" y="760589"/>
                  <a:pt x="315835" y="760589"/>
                </a:cubicBezTo>
                <a:cubicBezTo>
                  <a:pt x="313820" y="760589"/>
                  <a:pt x="309790" y="762529"/>
                  <a:pt x="309790" y="762529"/>
                </a:cubicBezTo>
                <a:cubicBezTo>
                  <a:pt x="309790" y="762529"/>
                  <a:pt x="307775" y="764469"/>
                  <a:pt x="305760" y="762529"/>
                </a:cubicBezTo>
                <a:cubicBezTo>
                  <a:pt x="301731" y="762529"/>
                  <a:pt x="299716" y="762529"/>
                  <a:pt x="299716" y="764469"/>
                </a:cubicBezTo>
                <a:cubicBezTo>
                  <a:pt x="299716" y="766410"/>
                  <a:pt x="295686" y="768350"/>
                  <a:pt x="295686" y="764469"/>
                </a:cubicBezTo>
                <a:cubicBezTo>
                  <a:pt x="295686" y="760589"/>
                  <a:pt x="299716" y="758648"/>
                  <a:pt x="301731" y="758648"/>
                </a:cubicBezTo>
                <a:cubicBezTo>
                  <a:pt x="305760" y="758648"/>
                  <a:pt x="307775" y="756708"/>
                  <a:pt x="309790" y="756708"/>
                </a:cubicBezTo>
                <a:cubicBezTo>
                  <a:pt x="315835" y="756708"/>
                  <a:pt x="317850" y="756708"/>
                  <a:pt x="319865" y="754768"/>
                </a:cubicBezTo>
                <a:cubicBezTo>
                  <a:pt x="319865" y="752828"/>
                  <a:pt x="319865" y="745067"/>
                  <a:pt x="323895" y="747007"/>
                </a:cubicBezTo>
                <a:cubicBezTo>
                  <a:pt x="325910" y="747007"/>
                  <a:pt x="329940" y="748947"/>
                  <a:pt x="329940" y="745067"/>
                </a:cubicBezTo>
                <a:cubicBezTo>
                  <a:pt x="329940" y="743126"/>
                  <a:pt x="323895" y="745067"/>
                  <a:pt x="321880" y="743126"/>
                </a:cubicBezTo>
                <a:cubicBezTo>
                  <a:pt x="321880" y="741186"/>
                  <a:pt x="321880" y="735365"/>
                  <a:pt x="327925" y="737305"/>
                </a:cubicBezTo>
                <a:cubicBezTo>
                  <a:pt x="327925" y="737305"/>
                  <a:pt x="329940" y="739246"/>
                  <a:pt x="331954" y="737305"/>
                </a:cubicBezTo>
                <a:cubicBezTo>
                  <a:pt x="333969" y="735365"/>
                  <a:pt x="337999" y="735365"/>
                  <a:pt x="337999" y="735365"/>
                </a:cubicBezTo>
                <a:close/>
                <a:moveTo>
                  <a:pt x="362134" y="722842"/>
                </a:moveTo>
                <a:cubicBezTo>
                  <a:pt x="370299" y="720725"/>
                  <a:pt x="368258" y="727075"/>
                  <a:pt x="364175" y="731308"/>
                </a:cubicBezTo>
                <a:cubicBezTo>
                  <a:pt x="362134" y="733425"/>
                  <a:pt x="358052" y="733425"/>
                  <a:pt x="356011" y="729192"/>
                </a:cubicBezTo>
                <a:cubicBezTo>
                  <a:pt x="356011" y="724958"/>
                  <a:pt x="362134" y="722842"/>
                  <a:pt x="362134" y="722842"/>
                </a:cubicBezTo>
                <a:close/>
                <a:moveTo>
                  <a:pt x="371569" y="720725"/>
                </a:moveTo>
                <a:cubicBezTo>
                  <a:pt x="376014" y="720725"/>
                  <a:pt x="378237" y="722842"/>
                  <a:pt x="378237" y="724958"/>
                </a:cubicBezTo>
                <a:cubicBezTo>
                  <a:pt x="376014" y="727075"/>
                  <a:pt x="373792" y="727075"/>
                  <a:pt x="369346" y="724958"/>
                </a:cubicBezTo>
                <a:cubicBezTo>
                  <a:pt x="367124" y="722842"/>
                  <a:pt x="371569" y="720725"/>
                  <a:pt x="371569" y="720725"/>
                </a:cubicBezTo>
                <a:close/>
                <a:moveTo>
                  <a:pt x="1221119" y="709810"/>
                </a:moveTo>
                <a:cubicBezTo>
                  <a:pt x="1222309" y="709810"/>
                  <a:pt x="1223738" y="710405"/>
                  <a:pt x="1223738" y="710405"/>
                </a:cubicBezTo>
                <a:cubicBezTo>
                  <a:pt x="1223738" y="710405"/>
                  <a:pt x="1227548" y="710405"/>
                  <a:pt x="1223738" y="712786"/>
                </a:cubicBezTo>
                <a:cubicBezTo>
                  <a:pt x="1223738" y="717549"/>
                  <a:pt x="1221833" y="717549"/>
                  <a:pt x="1219928" y="712786"/>
                </a:cubicBezTo>
                <a:cubicBezTo>
                  <a:pt x="1218975" y="710405"/>
                  <a:pt x="1219928" y="709810"/>
                  <a:pt x="1221119" y="709810"/>
                </a:cubicBezTo>
                <a:close/>
                <a:moveTo>
                  <a:pt x="1172780" y="704849"/>
                </a:moveTo>
                <a:cubicBezTo>
                  <a:pt x="1172780" y="704849"/>
                  <a:pt x="1176749" y="704849"/>
                  <a:pt x="1176749" y="706966"/>
                </a:cubicBezTo>
                <a:cubicBezTo>
                  <a:pt x="1176749" y="711199"/>
                  <a:pt x="1172780" y="711199"/>
                  <a:pt x="1170795" y="706966"/>
                </a:cubicBezTo>
                <a:cubicBezTo>
                  <a:pt x="1168811" y="704849"/>
                  <a:pt x="1172780" y="704849"/>
                  <a:pt x="1172780" y="704849"/>
                </a:cubicBezTo>
                <a:close/>
                <a:moveTo>
                  <a:pt x="1171192" y="696912"/>
                </a:moveTo>
                <a:cubicBezTo>
                  <a:pt x="1171192" y="696912"/>
                  <a:pt x="1175161" y="699029"/>
                  <a:pt x="1175161" y="701145"/>
                </a:cubicBezTo>
                <a:cubicBezTo>
                  <a:pt x="1175161" y="703262"/>
                  <a:pt x="1169207" y="701145"/>
                  <a:pt x="1169207" y="699029"/>
                </a:cubicBezTo>
                <a:cubicBezTo>
                  <a:pt x="1167223" y="696912"/>
                  <a:pt x="1171192" y="696912"/>
                  <a:pt x="1171192" y="696912"/>
                </a:cubicBezTo>
                <a:close/>
                <a:moveTo>
                  <a:pt x="459834" y="695325"/>
                </a:moveTo>
                <a:cubicBezTo>
                  <a:pt x="463644" y="697177"/>
                  <a:pt x="465549" y="700881"/>
                  <a:pt x="463644" y="704585"/>
                </a:cubicBezTo>
                <a:cubicBezTo>
                  <a:pt x="459834" y="706437"/>
                  <a:pt x="457929" y="704585"/>
                  <a:pt x="457929" y="699029"/>
                </a:cubicBezTo>
                <a:cubicBezTo>
                  <a:pt x="456024" y="695325"/>
                  <a:pt x="459834" y="695325"/>
                  <a:pt x="459834" y="695325"/>
                </a:cubicBezTo>
                <a:close/>
                <a:moveTo>
                  <a:pt x="1211356" y="692679"/>
                </a:moveTo>
                <a:cubicBezTo>
                  <a:pt x="1213579" y="690562"/>
                  <a:pt x="1215801" y="694795"/>
                  <a:pt x="1215801" y="696912"/>
                </a:cubicBezTo>
                <a:cubicBezTo>
                  <a:pt x="1218024" y="699029"/>
                  <a:pt x="1211356" y="703262"/>
                  <a:pt x="1209134" y="699029"/>
                </a:cubicBezTo>
                <a:cubicBezTo>
                  <a:pt x="1206911" y="692679"/>
                  <a:pt x="1211356" y="692679"/>
                  <a:pt x="1211356" y="692679"/>
                </a:cubicBezTo>
                <a:close/>
                <a:moveTo>
                  <a:pt x="513174" y="691016"/>
                </a:moveTo>
                <a:cubicBezTo>
                  <a:pt x="513174" y="691016"/>
                  <a:pt x="519524" y="688975"/>
                  <a:pt x="519524" y="691016"/>
                </a:cubicBezTo>
                <a:cubicBezTo>
                  <a:pt x="519524" y="693057"/>
                  <a:pt x="517408" y="695098"/>
                  <a:pt x="517408" y="695098"/>
                </a:cubicBezTo>
                <a:cubicBezTo>
                  <a:pt x="515291" y="695098"/>
                  <a:pt x="513174" y="699180"/>
                  <a:pt x="511057" y="701221"/>
                </a:cubicBezTo>
                <a:cubicBezTo>
                  <a:pt x="508941" y="703262"/>
                  <a:pt x="506824" y="703262"/>
                  <a:pt x="506824" y="699180"/>
                </a:cubicBezTo>
                <a:cubicBezTo>
                  <a:pt x="506824" y="695098"/>
                  <a:pt x="513174" y="691016"/>
                  <a:pt x="513174" y="691016"/>
                </a:cubicBezTo>
                <a:close/>
                <a:moveTo>
                  <a:pt x="430191" y="690562"/>
                </a:moveTo>
                <a:cubicBezTo>
                  <a:pt x="430191" y="690562"/>
                  <a:pt x="432211" y="692546"/>
                  <a:pt x="430191" y="696515"/>
                </a:cubicBezTo>
                <a:cubicBezTo>
                  <a:pt x="430191" y="698499"/>
                  <a:pt x="430191" y="702468"/>
                  <a:pt x="430191" y="704452"/>
                </a:cubicBezTo>
                <a:cubicBezTo>
                  <a:pt x="430191" y="706437"/>
                  <a:pt x="420088" y="708421"/>
                  <a:pt x="418068" y="706437"/>
                </a:cubicBezTo>
                <a:cubicBezTo>
                  <a:pt x="416047" y="704452"/>
                  <a:pt x="414027" y="706437"/>
                  <a:pt x="407966" y="708421"/>
                </a:cubicBezTo>
                <a:cubicBezTo>
                  <a:pt x="399884" y="710406"/>
                  <a:pt x="403925" y="716359"/>
                  <a:pt x="395843" y="718343"/>
                </a:cubicBezTo>
                <a:cubicBezTo>
                  <a:pt x="389781" y="722312"/>
                  <a:pt x="389781" y="718343"/>
                  <a:pt x="387761" y="714374"/>
                </a:cubicBezTo>
                <a:cubicBezTo>
                  <a:pt x="387761" y="714374"/>
                  <a:pt x="387761" y="712390"/>
                  <a:pt x="387761" y="712390"/>
                </a:cubicBezTo>
                <a:cubicBezTo>
                  <a:pt x="389781" y="708421"/>
                  <a:pt x="399884" y="704452"/>
                  <a:pt x="401904" y="704452"/>
                </a:cubicBezTo>
                <a:cubicBezTo>
                  <a:pt x="401904" y="704452"/>
                  <a:pt x="401904" y="704452"/>
                  <a:pt x="397863" y="702468"/>
                </a:cubicBezTo>
                <a:cubicBezTo>
                  <a:pt x="393822" y="702468"/>
                  <a:pt x="399884" y="700484"/>
                  <a:pt x="399884" y="698499"/>
                </a:cubicBezTo>
                <a:cubicBezTo>
                  <a:pt x="401904" y="696515"/>
                  <a:pt x="405945" y="698499"/>
                  <a:pt x="405945" y="698499"/>
                </a:cubicBezTo>
                <a:cubicBezTo>
                  <a:pt x="405945" y="698499"/>
                  <a:pt x="407966" y="698499"/>
                  <a:pt x="409986" y="696515"/>
                </a:cubicBezTo>
                <a:cubicBezTo>
                  <a:pt x="409986" y="694531"/>
                  <a:pt x="412006" y="696515"/>
                  <a:pt x="412006" y="696515"/>
                </a:cubicBezTo>
                <a:cubicBezTo>
                  <a:pt x="412006" y="696515"/>
                  <a:pt x="416047" y="696515"/>
                  <a:pt x="416047" y="694531"/>
                </a:cubicBezTo>
                <a:cubicBezTo>
                  <a:pt x="416047" y="692546"/>
                  <a:pt x="420088" y="696515"/>
                  <a:pt x="420088" y="696515"/>
                </a:cubicBezTo>
                <a:cubicBezTo>
                  <a:pt x="420088" y="696515"/>
                  <a:pt x="424129" y="694531"/>
                  <a:pt x="424129" y="694531"/>
                </a:cubicBezTo>
                <a:cubicBezTo>
                  <a:pt x="424129" y="692546"/>
                  <a:pt x="428170" y="692546"/>
                  <a:pt x="430191" y="690562"/>
                </a:cubicBezTo>
                <a:close/>
                <a:moveTo>
                  <a:pt x="1157698" y="685799"/>
                </a:moveTo>
                <a:cubicBezTo>
                  <a:pt x="1159286" y="685799"/>
                  <a:pt x="1161403" y="686329"/>
                  <a:pt x="1161403" y="686329"/>
                </a:cubicBezTo>
                <a:cubicBezTo>
                  <a:pt x="1165636" y="686329"/>
                  <a:pt x="1171986" y="688445"/>
                  <a:pt x="1171986" y="690562"/>
                </a:cubicBezTo>
                <a:cubicBezTo>
                  <a:pt x="1169869" y="694795"/>
                  <a:pt x="1169869" y="696912"/>
                  <a:pt x="1167753" y="696912"/>
                </a:cubicBezTo>
                <a:cubicBezTo>
                  <a:pt x="1163519" y="696912"/>
                  <a:pt x="1161403" y="692679"/>
                  <a:pt x="1161403" y="692679"/>
                </a:cubicBezTo>
                <a:cubicBezTo>
                  <a:pt x="1161403" y="692679"/>
                  <a:pt x="1161403" y="692679"/>
                  <a:pt x="1157169" y="688445"/>
                </a:cubicBezTo>
                <a:cubicBezTo>
                  <a:pt x="1155053" y="686329"/>
                  <a:pt x="1156111" y="685799"/>
                  <a:pt x="1157698" y="685799"/>
                </a:cubicBezTo>
                <a:close/>
                <a:moveTo>
                  <a:pt x="1159603" y="667146"/>
                </a:moveTo>
                <a:cubicBezTo>
                  <a:pt x="1161508" y="665162"/>
                  <a:pt x="1167223" y="667146"/>
                  <a:pt x="1167223" y="669130"/>
                </a:cubicBezTo>
                <a:cubicBezTo>
                  <a:pt x="1167223" y="671115"/>
                  <a:pt x="1165318" y="673099"/>
                  <a:pt x="1163413" y="673099"/>
                </a:cubicBezTo>
                <a:cubicBezTo>
                  <a:pt x="1159603" y="673099"/>
                  <a:pt x="1161508" y="669130"/>
                  <a:pt x="1159603" y="671115"/>
                </a:cubicBezTo>
                <a:cubicBezTo>
                  <a:pt x="1159603" y="671115"/>
                  <a:pt x="1157698" y="671115"/>
                  <a:pt x="1159603" y="667146"/>
                </a:cubicBezTo>
                <a:close/>
                <a:moveTo>
                  <a:pt x="1223421" y="665162"/>
                </a:moveTo>
                <a:cubicBezTo>
                  <a:pt x="1227549" y="665162"/>
                  <a:pt x="1227549" y="669131"/>
                  <a:pt x="1227549" y="671115"/>
                </a:cubicBezTo>
                <a:cubicBezTo>
                  <a:pt x="1227549" y="673099"/>
                  <a:pt x="1227549" y="675084"/>
                  <a:pt x="1227549" y="677068"/>
                </a:cubicBezTo>
                <a:cubicBezTo>
                  <a:pt x="1225485" y="679052"/>
                  <a:pt x="1223421" y="681037"/>
                  <a:pt x="1225485" y="683021"/>
                </a:cubicBezTo>
                <a:cubicBezTo>
                  <a:pt x="1225485" y="685005"/>
                  <a:pt x="1223421" y="686990"/>
                  <a:pt x="1221358" y="688974"/>
                </a:cubicBezTo>
                <a:cubicBezTo>
                  <a:pt x="1217230" y="688974"/>
                  <a:pt x="1217230" y="686990"/>
                  <a:pt x="1215166" y="683021"/>
                </a:cubicBezTo>
                <a:cubicBezTo>
                  <a:pt x="1215166" y="679052"/>
                  <a:pt x="1213102" y="683021"/>
                  <a:pt x="1213102" y="683021"/>
                </a:cubicBezTo>
                <a:cubicBezTo>
                  <a:pt x="1213102" y="683021"/>
                  <a:pt x="1206911" y="686990"/>
                  <a:pt x="1208975" y="683021"/>
                </a:cubicBezTo>
                <a:cubicBezTo>
                  <a:pt x="1208975" y="679052"/>
                  <a:pt x="1211039" y="681037"/>
                  <a:pt x="1208975" y="675084"/>
                </a:cubicBezTo>
                <a:cubicBezTo>
                  <a:pt x="1208975" y="671115"/>
                  <a:pt x="1215166" y="671115"/>
                  <a:pt x="1215166" y="671115"/>
                </a:cubicBezTo>
                <a:cubicBezTo>
                  <a:pt x="1215166" y="671115"/>
                  <a:pt x="1215166" y="671115"/>
                  <a:pt x="1215166" y="667146"/>
                </a:cubicBezTo>
                <a:cubicBezTo>
                  <a:pt x="1215166" y="665162"/>
                  <a:pt x="1219294" y="665162"/>
                  <a:pt x="1223421" y="665162"/>
                </a:cubicBezTo>
                <a:close/>
                <a:moveTo>
                  <a:pt x="633030" y="665162"/>
                </a:moveTo>
                <a:cubicBezTo>
                  <a:pt x="633030" y="665162"/>
                  <a:pt x="636999" y="665162"/>
                  <a:pt x="636999" y="665162"/>
                </a:cubicBezTo>
                <a:cubicBezTo>
                  <a:pt x="636999" y="667279"/>
                  <a:pt x="635015" y="669395"/>
                  <a:pt x="635015" y="669395"/>
                </a:cubicBezTo>
                <a:cubicBezTo>
                  <a:pt x="635015" y="669395"/>
                  <a:pt x="631046" y="671512"/>
                  <a:pt x="631046" y="669395"/>
                </a:cubicBezTo>
                <a:cubicBezTo>
                  <a:pt x="629061" y="667279"/>
                  <a:pt x="633030" y="665162"/>
                  <a:pt x="633030" y="665162"/>
                </a:cubicBezTo>
                <a:close/>
                <a:moveTo>
                  <a:pt x="1178283" y="660288"/>
                </a:moveTo>
                <a:cubicBezTo>
                  <a:pt x="1178785" y="660288"/>
                  <a:pt x="1179288" y="660780"/>
                  <a:pt x="1179288" y="660780"/>
                </a:cubicBezTo>
                <a:cubicBezTo>
                  <a:pt x="1179288" y="660780"/>
                  <a:pt x="1185321" y="660780"/>
                  <a:pt x="1187332" y="664717"/>
                </a:cubicBezTo>
                <a:cubicBezTo>
                  <a:pt x="1189342" y="668654"/>
                  <a:pt x="1191353" y="668654"/>
                  <a:pt x="1193364" y="672591"/>
                </a:cubicBezTo>
                <a:cubicBezTo>
                  <a:pt x="1193364" y="674560"/>
                  <a:pt x="1189342" y="674560"/>
                  <a:pt x="1187332" y="676528"/>
                </a:cubicBezTo>
                <a:cubicBezTo>
                  <a:pt x="1185321" y="676528"/>
                  <a:pt x="1189342" y="680465"/>
                  <a:pt x="1189342" y="680465"/>
                </a:cubicBezTo>
                <a:cubicBezTo>
                  <a:pt x="1189342" y="680465"/>
                  <a:pt x="1191353" y="680465"/>
                  <a:pt x="1193364" y="680465"/>
                </a:cubicBezTo>
                <a:cubicBezTo>
                  <a:pt x="1193364" y="684402"/>
                  <a:pt x="1193364" y="682434"/>
                  <a:pt x="1195375" y="682434"/>
                </a:cubicBezTo>
                <a:cubicBezTo>
                  <a:pt x="1197386" y="682434"/>
                  <a:pt x="1195375" y="692276"/>
                  <a:pt x="1195375" y="694245"/>
                </a:cubicBezTo>
                <a:cubicBezTo>
                  <a:pt x="1195375" y="698181"/>
                  <a:pt x="1191353" y="698181"/>
                  <a:pt x="1193364" y="702118"/>
                </a:cubicBezTo>
                <a:cubicBezTo>
                  <a:pt x="1195375" y="706055"/>
                  <a:pt x="1191353" y="708024"/>
                  <a:pt x="1189342" y="706055"/>
                </a:cubicBezTo>
                <a:cubicBezTo>
                  <a:pt x="1187332" y="706055"/>
                  <a:pt x="1187332" y="704087"/>
                  <a:pt x="1187332" y="700150"/>
                </a:cubicBezTo>
                <a:cubicBezTo>
                  <a:pt x="1187332" y="694245"/>
                  <a:pt x="1187332" y="696213"/>
                  <a:pt x="1183310" y="696213"/>
                </a:cubicBezTo>
                <a:cubicBezTo>
                  <a:pt x="1181299" y="696213"/>
                  <a:pt x="1183310" y="694245"/>
                  <a:pt x="1183310" y="692276"/>
                </a:cubicBezTo>
                <a:cubicBezTo>
                  <a:pt x="1185321" y="688339"/>
                  <a:pt x="1181299" y="690308"/>
                  <a:pt x="1181299" y="690308"/>
                </a:cubicBezTo>
                <a:cubicBezTo>
                  <a:pt x="1181299" y="690308"/>
                  <a:pt x="1177277" y="692276"/>
                  <a:pt x="1175266" y="692276"/>
                </a:cubicBezTo>
                <a:cubicBezTo>
                  <a:pt x="1173256" y="690308"/>
                  <a:pt x="1173256" y="686371"/>
                  <a:pt x="1175266" y="684402"/>
                </a:cubicBezTo>
                <a:cubicBezTo>
                  <a:pt x="1177277" y="684402"/>
                  <a:pt x="1175266" y="682434"/>
                  <a:pt x="1175266" y="678497"/>
                </a:cubicBezTo>
                <a:cubicBezTo>
                  <a:pt x="1175266" y="676528"/>
                  <a:pt x="1171245" y="676528"/>
                  <a:pt x="1169234" y="676528"/>
                </a:cubicBezTo>
                <a:cubicBezTo>
                  <a:pt x="1167223" y="676528"/>
                  <a:pt x="1171245" y="672591"/>
                  <a:pt x="1171245" y="672591"/>
                </a:cubicBezTo>
                <a:cubicBezTo>
                  <a:pt x="1171245" y="672591"/>
                  <a:pt x="1169234" y="668654"/>
                  <a:pt x="1171245" y="670623"/>
                </a:cubicBezTo>
                <a:cubicBezTo>
                  <a:pt x="1173256" y="670623"/>
                  <a:pt x="1175266" y="668654"/>
                  <a:pt x="1175266" y="668654"/>
                </a:cubicBezTo>
                <a:cubicBezTo>
                  <a:pt x="1175266" y="668654"/>
                  <a:pt x="1177277" y="664717"/>
                  <a:pt x="1177277" y="662749"/>
                </a:cubicBezTo>
                <a:cubicBezTo>
                  <a:pt x="1177277" y="660780"/>
                  <a:pt x="1177780" y="660288"/>
                  <a:pt x="1178283" y="660288"/>
                </a:cubicBezTo>
                <a:close/>
                <a:moveTo>
                  <a:pt x="1190771" y="649551"/>
                </a:moveTo>
                <a:cubicBezTo>
                  <a:pt x="1191036" y="650874"/>
                  <a:pt x="1191036" y="652991"/>
                  <a:pt x="1191036" y="652991"/>
                </a:cubicBezTo>
                <a:cubicBezTo>
                  <a:pt x="1191036" y="652991"/>
                  <a:pt x="1188919" y="657224"/>
                  <a:pt x="1186803" y="655107"/>
                </a:cubicBezTo>
                <a:cubicBezTo>
                  <a:pt x="1184686" y="650874"/>
                  <a:pt x="1188919" y="650874"/>
                  <a:pt x="1188919" y="650874"/>
                </a:cubicBezTo>
                <a:cubicBezTo>
                  <a:pt x="1189978" y="647699"/>
                  <a:pt x="1190507" y="648228"/>
                  <a:pt x="1190771" y="649551"/>
                </a:cubicBezTo>
                <a:close/>
                <a:moveTo>
                  <a:pt x="1169421" y="649287"/>
                </a:moveTo>
                <a:cubicBezTo>
                  <a:pt x="1173329" y="649287"/>
                  <a:pt x="1177236" y="651328"/>
                  <a:pt x="1177236" y="651328"/>
                </a:cubicBezTo>
                <a:cubicBezTo>
                  <a:pt x="1179190" y="651328"/>
                  <a:pt x="1183098" y="651328"/>
                  <a:pt x="1181144" y="655410"/>
                </a:cubicBezTo>
                <a:cubicBezTo>
                  <a:pt x="1177236" y="659492"/>
                  <a:pt x="1173329" y="661533"/>
                  <a:pt x="1171375" y="659492"/>
                </a:cubicBezTo>
                <a:cubicBezTo>
                  <a:pt x="1169421" y="657451"/>
                  <a:pt x="1167467" y="661533"/>
                  <a:pt x="1167467" y="661533"/>
                </a:cubicBezTo>
                <a:cubicBezTo>
                  <a:pt x="1167467" y="661533"/>
                  <a:pt x="1161606" y="663574"/>
                  <a:pt x="1159652" y="661533"/>
                </a:cubicBezTo>
                <a:cubicBezTo>
                  <a:pt x="1157698" y="659492"/>
                  <a:pt x="1161606" y="655410"/>
                  <a:pt x="1163559" y="657451"/>
                </a:cubicBezTo>
                <a:cubicBezTo>
                  <a:pt x="1163559" y="657451"/>
                  <a:pt x="1165513" y="657451"/>
                  <a:pt x="1167467" y="653369"/>
                </a:cubicBezTo>
                <a:cubicBezTo>
                  <a:pt x="1167467" y="653369"/>
                  <a:pt x="1167467" y="649287"/>
                  <a:pt x="1169421" y="649287"/>
                </a:cubicBezTo>
                <a:close/>
                <a:moveTo>
                  <a:pt x="1195799" y="646817"/>
                </a:moveTo>
                <a:cubicBezTo>
                  <a:pt x="1198974" y="642937"/>
                  <a:pt x="1198974" y="652638"/>
                  <a:pt x="1198974" y="654578"/>
                </a:cubicBezTo>
                <a:cubicBezTo>
                  <a:pt x="1198974" y="658459"/>
                  <a:pt x="1195799" y="660399"/>
                  <a:pt x="1194211" y="660399"/>
                </a:cubicBezTo>
                <a:cubicBezTo>
                  <a:pt x="1194211" y="658459"/>
                  <a:pt x="1194211" y="658459"/>
                  <a:pt x="1194211" y="654578"/>
                </a:cubicBezTo>
                <a:cubicBezTo>
                  <a:pt x="1194211" y="650698"/>
                  <a:pt x="1195799" y="646817"/>
                  <a:pt x="1195799" y="646817"/>
                </a:cubicBezTo>
                <a:close/>
                <a:moveTo>
                  <a:pt x="652874" y="643334"/>
                </a:moveTo>
                <a:cubicBezTo>
                  <a:pt x="652874" y="641350"/>
                  <a:pt x="657107" y="643334"/>
                  <a:pt x="657107" y="643334"/>
                </a:cubicBezTo>
                <a:cubicBezTo>
                  <a:pt x="657107" y="643334"/>
                  <a:pt x="657107" y="643334"/>
                  <a:pt x="657107" y="647303"/>
                </a:cubicBezTo>
                <a:cubicBezTo>
                  <a:pt x="659224" y="649287"/>
                  <a:pt x="657107" y="649287"/>
                  <a:pt x="654991" y="649287"/>
                </a:cubicBezTo>
                <a:cubicBezTo>
                  <a:pt x="652874" y="649287"/>
                  <a:pt x="652874" y="647303"/>
                  <a:pt x="652874" y="643334"/>
                </a:cubicBezTo>
                <a:close/>
                <a:moveTo>
                  <a:pt x="674464" y="638175"/>
                </a:moveTo>
                <a:cubicBezTo>
                  <a:pt x="676369" y="638175"/>
                  <a:pt x="678274" y="640397"/>
                  <a:pt x="678274" y="642620"/>
                </a:cubicBezTo>
                <a:cubicBezTo>
                  <a:pt x="678274" y="644842"/>
                  <a:pt x="674464" y="644842"/>
                  <a:pt x="672559" y="642620"/>
                </a:cubicBezTo>
                <a:cubicBezTo>
                  <a:pt x="668749" y="642620"/>
                  <a:pt x="666844" y="642620"/>
                  <a:pt x="666844" y="644842"/>
                </a:cubicBezTo>
                <a:cubicBezTo>
                  <a:pt x="666844" y="647064"/>
                  <a:pt x="664939" y="647064"/>
                  <a:pt x="663034" y="647064"/>
                </a:cubicBezTo>
                <a:cubicBezTo>
                  <a:pt x="661129" y="649287"/>
                  <a:pt x="659224" y="647064"/>
                  <a:pt x="659224" y="647064"/>
                </a:cubicBezTo>
                <a:cubicBezTo>
                  <a:pt x="659224" y="644842"/>
                  <a:pt x="661129" y="642620"/>
                  <a:pt x="661129" y="642620"/>
                </a:cubicBezTo>
                <a:cubicBezTo>
                  <a:pt x="661129" y="642620"/>
                  <a:pt x="661129" y="642620"/>
                  <a:pt x="664939" y="640397"/>
                </a:cubicBezTo>
                <a:cubicBezTo>
                  <a:pt x="668749" y="638175"/>
                  <a:pt x="672559" y="638175"/>
                  <a:pt x="674464" y="638175"/>
                </a:cubicBezTo>
                <a:close/>
                <a:moveTo>
                  <a:pt x="296214" y="630766"/>
                </a:moveTo>
                <a:cubicBezTo>
                  <a:pt x="298330" y="628649"/>
                  <a:pt x="300447" y="630766"/>
                  <a:pt x="300447" y="632882"/>
                </a:cubicBezTo>
                <a:cubicBezTo>
                  <a:pt x="300447" y="634999"/>
                  <a:pt x="294097" y="634999"/>
                  <a:pt x="294097" y="632882"/>
                </a:cubicBezTo>
                <a:cubicBezTo>
                  <a:pt x="294097" y="630766"/>
                  <a:pt x="296214" y="630766"/>
                  <a:pt x="296214" y="630766"/>
                </a:cubicBezTo>
                <a:close/>
                <a:moveTo>
                  <a:pt x="1161050" y="625474"/>
                </a:moveTo>
                <a:cubicBezTo>
                  <a:pt x="1161050" y="625474"/>
                  <a:pt x="1161050" y="625474"/>
                  <a:pt x="1164930" y="625474"/>
                </a:cubicBezTo>
                <a:cubicBezTo>
                  <a:pt x="1166871" y="625474"/>
                  <a:pt x="1164930" y="631295"/>
                  <a:pt x="1166871" y="631295"/>
                </a:cubicBezTo>
                <a:cubicBezTo>
                  <a:pt x="1168811" y="631295"/>
                  <a:pt x="1166871" y="637116"/>
                  <a:pt x="1164930" y="635175"/>
                </a:cubicBezTo>
                <a:cubicBezTo>
                  <a:pt x="1162990" y="635175"/>
                  <a:pt x="1159109" y="639056"/>
                  <a:pt x="1161050" y="640996"/>
                </a:cubicBezTo>
                <a:cubicBezTo>
                  <a:pt x="1162990" y="642936"/>
                  <a:pt x="1162990" y="646817"/>
                  <a:pt x="1162990" y="646817"/>
                </a:cubicBezTo>
                <a:cubicBezTo>
                  <a:pt x="1161050" y="648757"/>
                  <a:pt x="1159109" y="650697"/>
                  <a:pt x="1157169" y="654578"/>
                </a:cubicBezTo>
                <a:cubicBezTo>
                  <a:pt x="1153288" y="660399"/>
                  <a:pt x="1151348" y="656518"/>
                  <a:pt x="1151348" y="654578"/>
                </a:cubicBezTo>
                <a:cubicBezTo>
                  <a:pt x="1151348" y="650697"/>
                  <a:pt x="1157169" y="646817"/>
                  <a:pt x="1157169" y="642936"/>
                </a:cubicBezTo>
                <a:cubicBezTo>
                  <a:pt x="1157169" y="639056"/>
                  <a:pt x="1155229" y="639056"/>
                  <a:pt x="1155229" y="635175"/>
                </a:cubicBezTo>
                <a:cubicBezTo>
                  <a:pt x="1155229" y="631295"/>
                  <a:pt x="1157169" y="631295"/>
                  <a:pt x="1157169" y="629354"/>
                </a:cubicBezTo>
                <a:cubicBezTo>
                  <a:pt x="1157169" y="627414"/>
                  <a:pt x="1161050" y="625474"/>
                  <a:pt x="1161050" y="625474"/>
                </a:cubicBezTo>
                <a:close/>
                <a:moveTo>
                  <a:pt x="1173176" y="620712"/>
                </a:moveTo>
                <a:cubicBezTo>
                  <a:pt x="1175160" y="620712"/>
                  <a:pt x="1175160" y="620712"/>
                  <a:pt x="1175160" y="622696"/>
                </a:cubicBezTo>
                <a:cubicBezTo>
                  <a:pt x="1175160" y="624681"/>
                  <a:pt x="1177145" y="624681"/>
                  <a:pt x="1177145" y="624681"/>
                </a:cubicBezTo>
                <a:cubicBezTo>
                  <a:pt x="1177145" y="624681"/>
                  <a:pt x="1183098" y="624681"/>
                  <a:pt x="1187067" y="626665"/>
                </a:cubicBezTo>
                <a:cubicBezTo>
                  <a:pt x="1191035" y="626665"/>
                  <a:pt x="1189051" y="626665"/>
                  <a:pt x="1193020" y="628649"/>
                </a:cubicBezTo>
                <a:cubicBezTo>
                  <a:pt x="1196989" y="630634"/>
                  <a:pt x="1198973" y="630634"/>
                  <a:pt x="1198973" y="634602"/>
                </a:cubicBezTo>
                <a:cubicBezTo>
                  <a:pt x="1196989" y="638571"/>
                  <a:pt x="1193020" y="638571"/>
                  <a:pt x="1191035" y="638571"/>
                </a:cubicBezTo>
                <a:cubicBezTo>
                  <a:pt x="1187067" y="638571"/>
                  <a:pt x="1189051" y="636587"/>
                  <a:pt x="1189051" y="634602"/>
                </a:cubicBezTo>
                <a:cubicBezTo>
                  <a:pt x="1189051" y="630634"/>
                  <a:pt x="1187067" y="630634"/>
                  <a:pt x="1185082" y="630634"/>
                </a:cubicBezTo>
                <a:cubicBezTo>
                  <a:pt x="1185082" y="630634"/>
                  <a:pt x="1181114" y="630634"/>
                  <a:pt x="1179129" y="630634"/>
                </a:cubicBezTo>
                <a:cubicBezTo>
                  <a:pt x="1177145" y="630634"/>
                  <a:pt x="1181114" y="634602"/>
                  <a:pt x="1181114" y="634602"/>
                </a:cubicBezTo>
                <a:cubicBezTo>
                  <a:pt x="1181114" y="634602"/>
                  <a:pt x="1183098" y="636587"/>
                  <a:pt x="1183098" y="638571"/>
                </a:cubicBezTo>
                <a:cubicBezTo>
                  <a:pt x="1183098" y="640555"/>
                  <a:pt x="1179129" y="642540"/>
                  <a:pt x="1179129" y="642540"/>
                </a:cubicBezTo>
                <a:cubicBezTo>
                  <a:pt x="1177145" y="640555"/>
                  <a:pt x="1175160" y="642540"/>
                  <a:pt x="1175160" y="642540"/>
                </a:cubicBezTo>
                <a:cubicBezTo>
                  <a:pt x="1175160" y="642540"/>
                  <a:pt x="1171192" y="644524"/>
                  <a:pt x="1171192" y="640555"/>
                </a:cubicBezTo>
                <a:cubicBezTo>
                  <a:pt x="1169207" y="636587"/>
                  <a:pt x="1175160" y="636587"/>
                  <a:pt x="1177145" y="634602"/>
                </a:cubicBezTo>
                <a:cubicBezTo>
                  <a:pt x="1177145" y="632618"/>
                  <a:pt x="1177145" y="630634"/>
                  <a:pt x="1175160" y="626665"/>
                </a:cubicBezTo>
                <a:cubicBezTo>
                  <a:pt x="1173176" y="624681"/>
                  <a:pt x="1169207" y="626665"/>
                  <a:pt x="1167223" y="624681"/>
                </a:cubicBezTo>
                <a:cubicBezTo>
                  <a:pt x="1167223" y="620712"/>
                  <a:pt x="1173176" y="620712"/>
                  <a:pt x="1173176" y="620712"/>
                </a:cubicBezTo>
                <a:close/>
                <a:moveTo>
                  <a:pt x="1130632" y="613171"/>
                </a:moveTo>
                <a:cubicBezTo>
                  <a:pt x="1131743" y="613667"/>
                  <a:pt x="1132299" y="615156"/>
                  <a:pt x="1132299" y="617140"/>
                </a:cubicBezTo>
                <a:cubicBezTo>
                  <a:pt x="1132299" y="619124"/>
                  <a:pt x="1130076" y="619124"/>
                  <a:pt x="1127854" y="621109"/>
                </a:cubicBezTo>
                <a:cubicBezTo>
                  <a:pt x="1127854" y="623093"/>
                  <a:pt x="1125631" y="625077"/>
                  <a:pt x="1125631" y="627062"/>
                </a:cubicBezTo>
                <a:cubicBezTo>
                  <a:pt x="1123409" y="627062"/>
                  <a:pt x="1121186" y="627062"/>
                  <a:pt x="1121186" y="621109"/>
                </a:cubicBezTo>
                <a:cubicBezTo>
                  <a:pt x="1121186" y="619124"/>
                  <a:pt x="1125631" y="615156"/>
                  <a:pt x="1125631" y="615156"/>
                </a:cubicBezTo>
                <a:cubicBezTo>
                  <a:pt x="1127854" y="613171"/>
                  <a:pt x="1129521" y="612675"/>
                  <a:pt x="1130632" y="613171"/>
                </a:cubicBezTo>
                <a:close/>
                <a:moveTo>
                  <a:pt x="290129" y="604836"/>
                </a:moveTo>
                <a:cubicBezTo>
                  <a:pt x="290129" y="604836"/>
                  <a:pt x="293833" y="604836"/>
                  <a:pt x="293833" y="604836"/>
                </a:cubicBezTo>
                <a:cubicBezTo>
                  <a:pt x="295685" y="604836"/>
                  <a:pt x="293833" y="606820"/>
                  <a:pt x="293833" y="606820"/>
                </a:cubicBezTo>
                <a:cubicBezTo>
                  <a:pt x="291981" y="606820"/>
                  <a:pt x="291981" y="606820"/>
                  <a:pt x="290129" y="608804"/>
                </a:cubicBezTo>
                <a:cubicBezTo>
                  <a:pt x="290129" y="610789"/>
                  <a:pt x="284572" y="612773"/>
                  <a:pt x="284572" y="608804"/>
                </a:cubicBezTo>
                <a:cubicBezTo>
                  <a:pt x="284572" y="604836"/>
                  <a:pt x="290129" y="604836"/>
                  <a:pt x="290129" y="604836"/>
                </a:cubicBezTo>
                <a:close/>
                <a:moveTo>
                  <a:pt x="1137927" y="603696"/>
                </a:moveTo>
                <a:cubicBezTo>
                  <a:pt x="1138865" y="604440"/>
                  <a:pt x="1139803" y="606424"/>
                  <a:pt x="1139803" y="606424"/>
                </a:cubicBezTo>
                <a:cubicBezTo>
                  <a:pt x="1139803" y="606424"/>
                  <a:pt x="1141679" y="608409"/>
                  <a:pt x="1143555" y="608409"/>
                </a:cubicBezTo>
                <a:cubicBezTo>
                  <a:pt x="1143555" y="608409"/>
                  <a:pt x="1147307" y="608409"/>
                  <a:pt x="1149184" y="608409"/>
                </a:cubicBezTo>
                <a:cubicBezTo>
                  <a:pt x="1151060" y="608409"/>
                  <a:pt x="1151060" y="614362"/>
                  <a:pt x="1151060" y="614362"/>
                </a:cubicBezTo>
                <a:cubicBezTo>
                  <a:pt x="1149184" y="614362"/>
                  <a:pt x="1149184" y="618330"/>
                  <a:pt x="1149184" y="622299"/>
                </a:cubicBezTo>
                <a:cubicBezTo>
                  <a:pt x="1147307" y="626268"/>
                  <a:pt x="1151060" y="630236"/>
                  <a:pt x="1151060" y="632221"/>
                </a:cubicBezTo>
                <a:cubicBezTo>
                  <a:pt x="1152936" y="636190"/>
                  <a:pt x="1147307" y="638174"/>
                  <a:pt x="1143555" y="638174"/>
                </a:cubicBezTo>
                <a:cubicBezTo>
                  <a:pt x="1141679" y="638174"/>
                  <a:pt x="1137926" y="636190"/>
                  <a:pt x="1137926" y="634205"/>
                </a:cubicBezTo>
                <a:cubicBezTo>
                  <a:pt x="1137926" y="630236"/>
                  <a:pt x="1136050" y="630236"/>
                  <a:pt x="1134174" y="628252"/>
                </a:cubicBezTo>
                <a:cubicBezTo>
                  <a:pt x="1132298" y="624283"/>
                  <a:pt x="1134174" y="622299"/>
                  <a:pt x="1137926" y="622299"/>
                </a:cubicBezTo>
                <a:cubicBezTo>
                  <a:pt x="1139803" y="624283"/>
                  <a:pt x="1137926" y="618330"/>
                  <a:pt x="1137926" y="618330"/>
                </a:cubicBezTo>
                <a:cubicBezTo>
                  <a:pt x="1137926" y="618330"/>
                  <a:pt x="1136050" y="618330"/>
                  <a:pt x="1136050" y="608409"/>
                </a:cubicBezTo>
                <a:cubicBezTo>
                  <a:pt x="1136050" y="603448"/>
                  <a:pt x="1136988" y="602952"/>
                  <a:pt x="1137927" y="603696"/>
                </a:cubicBezTo>
                <a:close/>
                <a:moveTo>
                  <a:pt x="1175557" y="589415"/>
                </a:moveTo>
                <a:cubicBezTo>
                  <a:pt x="1179526" y="585787"/>
                  <a:pt x="1179526" y="591230"/>
                  <a:pt x="1181511" y="594858"/>
                </a:cubicBezTo>
                <a:cubicBezTo>
                  <a:pt x="1181511" y="596673"/>
                  <a:pt x="1175557" y="598487"/>
                  <a:pt x="1175557" y="594858"/>
                </a:cubicBezTo>
                <a:cubicBezTo>
                  <a:pt x="1173573" y="591230"/>
                  <a:pt x="1175557" y="589415"/>
                  <a:pt x="1175557" y="589415"/>
                </a:cubicBezTo>
                <a:close/>
                <a:moveTo>
                  <a:pt x="1137061" y="577849"/>
                </a:moveTo>
                <a:cubicBezTo>
                  <a:pt x="1137061" y="577849"/>
                  <a:pt x="1139045" y="577849"/>
                  <a:pt x="1141030" y="579833"/>
                </a:cubicBezTo>
                <a:cubicBezTo>
                  <a:pt x="1143014" y="579833"/>
                  <a:pt x="1143014" y="581818"/>
                  <a:pt x="1143014" y="581818"/>
                </a:cubicBezTo>
                <a:cubicBezTo>
                  <a:pt x="1143014" y="581818"/>
                  <a:pt x="1144998" y="583802"/>
                  <a:pt x="1148967" y="583802"/>
                </a:cubicBezTo>
                <a:cubicBezTo>
                  <a:pt x="1152936" y="583802"/>
                  <a:pt x="1152936" y="589755"/>
                  <a:pt x="1152936" y="589755"/>
                </a:cubicBezTo>
                <a:cubicBezTo>
                  <a:pt x="1152936" y="589755"/>
                  <a:pt x="1150952" y="593724"/>
                  <a:pt x="1150952" y="595708"/>
                </a:cubicBezTo>
                <a:cubicBezTo>
                  <a:pt x="1148967" y="597693"/>
                  <a:pt x="1148967" y="603646"/>
                  <a:pt x="1148967" y="603646"/>
                </a:cubicBezTo>
                <a:cubicBezTo>
                  <a:pt x="1148967" y="603646"/>
                  <a:pt x="1146983" y="603646"/>
                  <a:pt x="1144998" y="605630"/>
                </a:cubicBezTo>
                <a:cubicBezTo>
                  <a:pt x="1143014" y="605630"/>
                  <a:pt x="1143014" y="605630"/>
                  <a:pt x="1141030" y="603646"/>
                </a:cubicBezTo>
                <a:cubicBezTo>
                  <a:pt x="1139045" y="601661"/>
                  <a:pt x="1139045" y="601661"/>
                  <a:pt x="1139045" y="601661"/>
                </a:cubicBezTo>
                <a:cubicBezTo>
                  <a:pt x="1139045" y="601661"/>
                  <a:pt x="1139045" y="601661"/>
                  <a:pt x="1139045" y="599677"/>
                </a:cubicBezTo>
                <a:cubicBezTo>
                  <a:pt x="1139045" y="599677"/>
                  <a:pt x="1139045" y="599677"/>
                  <a:pt x="1137061" y="597693"/>
                </a:cubicBezTo>
                <a:cubicBezTo>
                  <a:pt x="1137061" y="597693"/>
                  <a:pt x="1137061" y="597693"/>
                  <a:pt x="1133092" y="597693"/>
                </a:cubicBezTo>
                <a:cubicBezTo>
                  <a:pt x="1133092" y="597693"/>
                  <a:pt x="1133092" y="597693"/>
                  <a:pt x="1131108" y="599677"/>
                </a:cubicBezTo>
                <a:cubicBezTo>
                  <a:pt x="1131108" y="599677"/>
                  <a:pt x="1131108" y="599677"/>
                  <a:pt x="1133092" y="605630"/>
                </a:cubicBezTo>
                <a:cubicBezTo>
                  <a:pt x="1133092" y="605630"/>
                  <a:pt x="1131108" y="607614"/>
                  <a:pt x="1129123" y="609599"/>
                </a:cubicBezTo>
                <a:cubicBezTo>
                  <a:pt x="1129123" y="609599"/>
                  <a:pt x="1125154" y="609599"/>
                  <a:pt x="1125154" y="609599"/>
                </a:cubicBezTo>
                <a:cubicBezTo>
                  <a:pt x="1125154" y="609599"/>
                  <a:pt x="1125154" y="609599"/>
                  <a:pt x="1123170" y="607614"/>
                </a:cubicBezTo>
                <a:cubicBezTo>
                  <a:pt x="1123170" y="607614"/>
                  <a:pt x="1123170" y="607614"/>
                  <a:pt x="1125154" y="603646"/>
                </a:cubicBezTo>
                <a:cubicBezTo>
                  <a:pt x="1125154" y="603646"/>
                  <a:pt x="1125154" y="601661"/>
                  <a:pt x="1125154" y="601661"/>
                </a:cubicBezTo>
                <a:cubicBezTo>
                  <a:pt x="1125154" y="599677"/>
                  <a:pt x="1127139" y="599677"/>
                  <a:pt x="1127139" y="599677"/>
                </a:cubicBezTo>
                <a:cubicBezTo>
                  <a:pt x="1127139" y="599677"/>
                  <a:pt x="1127139" y="599677"/>
                  <a:pt x="1123170" y="597693"/>
                </a:cubicBezTo>
                <a:cubicBezTo>
                  <a:pt x="1123170" y="597693"/>
                  <a:pt x="1123170" y="597693"/>
                  <a:pt x="1121186" y="595708"/>
                </a:cubicBezTo>
                <a:cubicBezTo>
                  <a:pt x="1121186" y="595708"/>
                  <a:pt x="1121186" y="595708"/>
                  <a:pt x="1119201" y="595708"/>
                </a:cubicBezTo>
                <a:cubicBezTo>
                  <a:pt x="1119201" y="595708"/>
                  <a:pt x="1119201" y="595708"/>
                  <a:pt x="1117217" y="593724"/>
                </a:cubicBezTo>
                <a:cubicBezTo>
                  <a:pt x="1117217" y="593724"/>
                  <a:pt x="1113248" y="589755"/>
                  <a:pt x="1113248" y="585786"/>
                </a:cubicBezTo>
                <a:cubicBezTo>
                  <a:pt x="1113248" y="583802"/>
                  <a:pt x="1119201" y="585786"/>
                  <a:pt x="1119201" y="585786"/>
                </a:cubicBezTo>
                <a:cubicBezTo>
                  <a:pt x="1119201" y="585786"/>
                  <a:pt x="1121186" y="585786"/>
                  <a:pt x="1123170" y="585786"/>
                </a:cubicBezTo>
                <a:cubicBezTo>
                  <a:pt x="1123170" y="585786"/>
                  <a:pt x="1123170" y="585786"/>
                  <a:pt x="1121186" y="583802"/>
                </a:cubicBezTo>
                <a:cubicBezTo>
                  <a:pt x="1121186" y="581818"/>
                  <a:pt x="1121186" y="581818"/>
                  <a:pt x="1121186" y="581818"/>
                </a:cubicBezTo>
                <a:cubicBezTo>
                  <a:pt x="1121186" y="581818"/>
                  <a:pt x="1121186" y="581818"/>
                  <a:pt x="1123170" y="581818"/>
                </a:cubicBezTo>
                <a:cubicBezTo>
                  <a:pt x="1123170" y="581818"/>
                  <a:pt x="1123170" y="581818"/>
                  <a:pt x="1125154" y="581818"/>
                </a:cubicBezTo>
                <a:cubicBezTo>
                  <a:pt x="1125154" y="581818"/>
                  <a:pt x="1127139" y="581818"/>
                  <a:pt x="1129123" y="579833"/>
                </a:cubicBezTo>
                <a:cubicBezTo>
                  <a:pt x="1129123" y="579833"/>
                  <a:pt x="1131108" y="581818"/>
                  <a:pt x="1131108" y="581818"/>
                </a:cubicBezTo>
                <a:cubicBezTo>
                  <a:pt x="1131108" y="581818"/>
                  <a:pt x="1131108" y="581818"/>
                  <a:pt x="1133092" y="579833"/>
                </a:cubicBezTo>
                <a:cubicBezTo>
                  <a:pt x="1133092" y="579833"/>
                  <a:pt x="1133092" y="579833"/>
                  <a:pt x="1135076" y="579833"/>
                </a:cubicBezTo>
                <a:cubicBezTo>
                  <a:pt x="1135076" y="579833"/>
                  <a:pt x="1135076" y="579833"/>
                  <a:pt x="1137061" y="577849"/>
                </a:cubicBezTo>
                <a:close/>
                <a:moveTo>
                  <a:pt x="1159512" y="572690"/>
                </a:moveTo>
                <a:cubicBezTo>
                  <a:pt x="1161553" y="566737"/>
                  <a:pt x="1167677" y="576659"/>
                  <a:pt x="1167677" y="578643"/>
                </a:cubicBezTo>
                <a:cubicBezTo>
                  <a:pt x="1169718" y="580627"/>
                  <a:pt x="1171759" y="580627"/>
                  <a:pt x="1171759" y="580627"/>
                </a:cubicBezTo>
                <a:cubicBezTo>
                  <a:pt x="1171759" y="580627"/>
                  <a:pt x="1179923" y="582612"/>
                  <a:pt x="1177882" y="586580"/>
                </a:cubicBezTo>
                <a:cubicBezTo>
                  <a:pt x="1175841" y="588565"/>
                  <a:pt x="1171759" y="588565"/>
                  <a:pt x="1171759" y="588565"/>
                </a:cubicBezTo>
                <a:cubicBezTo>
                  <a:pt x="1169718" y="590549"/>
                  <a:pt x="1171759" y="596502"/>
                  <a:pt x="1173800" y="596502"/>
                </a:cubicBezTo>
                <a:cubicBezTo>
                  <a:pt x="1175841" y="596502"/>
                  <a:pt x="1175841" y="600471"/>
                  <a:pt x="1175841" y="602455"/>
                </a:cubicBezTo>
                <a:cubicBezTo>
                  <a:pt x="1175841" y="606424"/>
                  <a:pt x="1171759" y="604440"/>
                  <a:pt x="1173800" y="608408"/>
                </a:cubicBezTo>
                <a:cubicBezTo>
                  <a:pt x="1175841" y="612377"/>
                  <a:pt x="1173800" y="612377"/>
                  <a:pt x="1171759" y="612377"/>
                </a:cubicBezTo>
                <a:cubicBezTo>
                  <a:pt x="1171759" y="612377"/>
                  <a:pt x="1169718" y="608408"/>
                  <a:pt x="1167677" y="608408"/>
                </a:cubicBezTo>
                <a:cubicBezTo>
                  <a:pt x="1165635" y="606424"/>
                  <a:pt x="1163594" y="608408"/>
                  <a:pt x="1165635" y="612377"/>
                </a:cubicBezTo>
                <a:cubicBezTo>
                  <a:pt x="1165635" y="616346"/>
                  <a:pt x="1163594" y="616346"/>
                  <a:pt x="1161553" y="616346"/>
                </a:cubicBezTo>
                <a:cubicBezTo>
                  <a:pt x="1159512" y="616346"/>
                  <a:pt x="1159512" y="618330"/>
                  <a:pt x="1159512" y="618330"/>
                </a:cubicBezTo>
                <a:cubicBezTo>
                  <a:pt x="1159512" y="618330"/>
                  <a:pt x="1155430" y="622299"/>
                  <a:pt x="1153389" y="620315"/>
                </a:cubicBezTo>
                <a:cubicBezTo>
                  <a:pt x="1151348" y="618330"/>
                  <a:pt x="1153389" y="616346"/>
                  <a:pt x="1153389" y="616346"/>
                </a:cubicBezTo>
                <a:cubicBezTo>
                  <a:pt x="1153389" y="616346"/>
                  <a:pt x="1155430" y="616346"/>
                  <a:pt x="1155430" y="612377"/>
                </a:cubicBezTo>
                <a:cubicBezTo>
                  <a:pt x="1155430" y="610393"/>
                  <a:pt x="1155430" y="612377"/>
                  <a:pt x="1155430" y="610393"/>
                </a:cubicBezTo>
                <a:cubicBezTo>
                  <a:pt x="1155430" y="608408"/>
                  <a:pt x="1159512" y="608408"/>
                  <a:pt x="1159512" y="608408"/>
                </a:cubicBezTo>
                <a:cubicBezTo>
                  <a:pt x="1159512" y="608408"/>
                  <a:pt x="1159512" y="610393"/>
                  <a:pt x="1161553" y="608408"/>
                </a:cubicBezTo>
                <a:cubicBezTo>
                  <a:pt x="1161553" y="606424"/>
                  <a:pt x="1159512" y="606424"/>
                  <a:pt x="1159512" y="604440"/>
                </a:cubicBezTo>
                <a:cubicBezTo>
                  <a:pt x="1157471" y="600471"/>
                  <a:pt x="1157471" y="600471"/>
                  <a:pt x="1157471" y="596502"/>
                </a:cubicBezTo>
                <a:cubicBezTo>
                  <a:pt x="1157471" y="594518"/>
                  <a:pt x="1157471" y="588565"/>
                  <a:pt x="1157471" y="588565"/>
                </a:cubicBezTo>
                <a:cubicBezTo>
                  <a:pt x="1157471" y="588565"/>
                  <a:pt x="1159512" y="584596"/>
                  <a:pt x="1155430" y="582612"/>
                </a:cubicBezTo>
                <a:cubicBezTo>
                  <a:pt x="1153389" y="580627"/>
                  <a:pt x="1155430" y="578643"/>
                  <a:pt x="1155430" y="578643"/>
                </a:cubicBezTo>
                <a:cubicBezTo>
                  <a:pt x="1155430" y="578643"/>
                  <a:pt x="1159512" y="574674"/>
                  <a:pt x="1159512" y="572690"/>
                </a:cubicBezTo>
                <a:close/>
                <a:moveTo>
                  <a:pt x="744137" y="563562"/>
                </a:moveTo>
                <a:cubicBezTo>
                  <a:pt x="748124" y="563562"/>
                  <a:pt x="746130" y="565536"/>
                  <a:pt x="744137" y="567509"/>
                </a:cubicBezTo>
                <a:cubicBezTo>
                  <a:pt x="742143" y="569483"/>
                  <a:pt x="740150" y="571456"/>
                  <a:pt x="742143" y="573430"/>
                </a:cubicBezTo>
                <a:cubicBezTo>
                  <a:pt x="744137" y="575404"/>
                  <a:pt x="746130" y="577377"/>
                  <a:pt x="746130" y="579351"/>
                </a:cubicBezTo>
                <a:cubicBezTo>
                  <a:pt x="744137" y="581325"/>
                  <a:pt x="742143" y="581325"/>
                  <a:pt x="742143" y="581325"/>
                </a:cubicBezTo>
                <a:cubicBezTo>
                  <a:pt x="742143" y="581325"/>
                  <a:pt x="740150" y="579351"/>
                  <a:pt x="738156" y="581325"/>
                </a:cubicBezTo>
                <a:cubicBezTo>
                  <a:pt x="738156" y="583298"/>
                  <a:pt x="738156" y="585272"/>
                  <a:pt x="736163" y="585272"/>
                </a:cubicBezTo>
                <a:cubicBezTo>
                  <a:pt x="734169" y="583298"/>
                  <a:pt x="734169" y="583298"/>
                  <a:pt x="732175" y="585272"/>
                </a:cubicBezTo>
                <a:cubicBezTo>
                  <a:pt x="730182" y="587246"/>
                  <a:pt x="730182" y="587246"/>
                  <a:pt x="730182" y="587246"/>
                </a:cubicBezTo>
                <a:cubicBezTo>
                  <a:pt x="730182" y="587246"/>
                  <a:pt x="730182" y="589219"/>
                  <a:pt x="728188" y="589219"/>
                </a:cubicBezTo>
                <a:cubicBezTo>
                  <a:pt x="724201" y="587246"/>
                  <a:pt x="722208" y="589219"/>
                  <a:pt x="720214" y="593167"/>
                </a:cubicBezTo>
                <a:cubicBezTo>
                  <a:pt x="720214" y="595140"/>
                  <a:pt x="722208" y="597114"/>
                  <a:pt x="724201" y="595140"/>
                </a:cubicBezTo>
                <a:cubicBezTo>
                  <a:pt x="726195" y="593167"/>
                  <a:pt x="730182" y="589219"/>
                  <a:pt x="732175" y="591193"/>
                </a:cubicBezTo>
                <a:cubicBezTo>
                  <a:pt x="736163" y="593167"/>
                  <a:pt x="736163" y="593167"/>
                  <a:pt x="734169" y="597114"/>
                </a:cubicBezTo>
                <a:cubicBezTo>
                  <a:pt x="732175" y="597114"/>
                  <a:pt x="730182" y="597114"/>
                  <a:pt x="730182" y="599088"/>
                </a:cubicBezTo>
                <a:cubicBezTo>
                  <a:pt x="730182" y="601061"/>
                  <a:pt x="736163" y="599088"/>
                  <a:pt x="736163" y="601061"/>
                </a:cubicBezTo>
                <a:cubicBezTo>
                  <a:pt x="734169" y="605008"/>
                  <a:pt x="732175" y="605008"/>
                  <a:pt x="732175" y="605008"/>
                </a:cubicBezTo>
                <a:cubicBezTo>
                  <a:pt x="732175" y="605008"/>
                  <a:pt x="730182" y="606982"/>
                  <a:pt x="730182" y="608956"/>
                </a:cubicBezTo>
                <a:cubicBezTo>
                  <a:pt x="730182" y="610929"/>
                  <a:pt x="724201" y="614877"/>
                  <a:pt x="720214" y="614877"/>
                </a:cubicBezTo>
                <a:cubicBezTo>
                  <a:pt x="714233" y="616850"/>
                  <a:pt x="714233" y="614877"/>
                  <a:pt x="714233" y="614877"/>
                </a:cubicBezTo>
                <a:cubicBezTo>
                  <a:pt x="714233" y="614877"/>
                  <a:pt x="712240" y="612903"/>
                  <a:pt x="710246" y="614877"/>
                </a:cubicBezTo>
                <a:cubicBezTo>
                  <a:pt x="708252" y="616850"/>
                  <a:pt x="702271" y="620798"/>
                  <a:pt x="700278" y="622771"/>
                </a:cubicBezTo>
                <a:cubicBezTo>
                  <a:pt x="698284" y="624745"/>
                  <a:pt x="696291" y="630666"/>
                  <a:pt x="694297" y="630666"/>
                </a:cubicBezTo>
                <a:cubicBezTo>
                  <a:pt x="690310" y="630666"/>
                  <a:pt x="690310" y="634613"/>
                  <a:pt x="684329" y="634613"/>
                </a:cubicBezTo>
                <a:cubicBezTo>
                  <a:pt x="678348" y="634613"/>
                  <a:pt x="676355" y="634613"/>
                  <a:pt x="680342" y="632640"/>
                </a:cubicBezTo>
                <a:cubicBezTo>
                  <a:pt x="684329" y="628692"/>
                  <a:pt x="686323" y="628692"/>
                  <a:pt x="684329" y="624745"/>
                </a:cubicBezTo>
                <a:cubicBezTo>
                  <a:pt x="684329" y="620798"/>
                  <a:pt x="680342" y="624745"/>
                  <a:pt x="680342" y="626719"/>
                </a:cubicBezTo>
                <a:cubicBezTo>
                  <a:pt x="678348" y="628692"/>
                  <a:pt x="674361" y="636587"/>
                  <a:pt x="670373" y="632640"/>
                </a:cubicBezTo>
                <a:cubicBezTo>
                  <a:pt x="668380" y="628692"/>
                  <a:pt x="664393" y="626719"/>
                  <a:pt x="668380" y="624745"/>
                </a:cubicBezTo>
                <a:cubicBezTo>
                  <a:pt x="672367" y="620798"/>
                  <a:pt x="666386" y="616850"/>
                  <a:pt x="666386" y="616850"/>
                </a:cubicBezTo>
                <a:cubicBezTo>
                  <a:pt x="666386" y="616850"/>
                  <a:pt x="662399" y="614877"/>
                  <a:pt x="666386" y="610929"/>
                </a:cubicBezTo>
                <a:cubicBezTo>
                  <a:pt x="668380" y="606982"/>
                  <a:pt x="670373" y="608956"/>
                  <a:pt x="670373" y="605008"/>
                </a:cubicBezTo>
                <a:cubicBezTo>
                  <a:pt x="670373" y="605008"/>
                  <a:pt x="670373" y="601061"/>
                  <a:pt x="672367" y="601061"/>
                </a:cubicBezTo>
                <a:cubicBezTo>
                  <a:pt x="674361" y="601061"/>
                  <a:pt x="676355" y="601061"/>
                  <a:pt x="678348" y="601061"/>
                </a:cubicBezTo>
                <a:cubicBezTo>
                  <a:pt x="680342" y="599088"/>
                  <a:pt x="684329" y="599088"/>
                  <a:pt x="684329" y="599088"/>
                </a:cubicBezTo>
                <a:cubicBezTo>
                  <a:pt x="684329" y="599088"/>
                  <a:pt x="688316" y="597114"/>
                  <a:pt x="690310" y="599088"/>
                </a:cubicBezTo>
                <a:cubicBezTo>
                  <a:pt x="690310" y="601061"/>
                  <a:pt x="690310" y="605008"/>
                  <a:pt x="690310" y="605008"/>
                </a:cubicBezTo>
                <a:cubicBezTo>
                  <a:pt x="690310" y="605008"/>
                  <a:pt x="692304" y="606982"/>
                  <a:pt x="694297" y="605008"/>
                </a:cubicBezTo>
                <a:cubicBezTo>
                  <a:pt x="696291" y="601061"/>
                  <a:pt x="698284" y="601061"/>
                  <a:pt x="696291" y="599088"/>
                </a:cubicBezTo>
                <a:cubicBezTo>
                  <a:pt x="696291" y="599088"/>
                  <a:pt x="692304" y="595140"/>
                  <a:pt x="694297" y="593167"/>
                </a:cubicBezTo>
                <a:cubicBezTo>
                  <a:pt x="696291" y="591193"/>
                  <a:pt x="700278" y="593167"/>
                  <a:pt x="702271" y="595140"/>
                </a:cubicBezTo>
                <a:cubicBezTo>
                  <a:pt x="702271" y="597114"/>
                  <a:pt x="702271" y="597114"/>
                  <a:pt x="706259" y="597114"/>
                </a:cubicBezTo>
                <a:cubicBezTo>
                  <a:pt x="710246" y="597114"/>
                  <a:pt x="712240" y="595140"/>
                  <a:pt x="710246" y="595140"/>
                </a:cubicBezTo>
                <a:cubicBezTo>
                  <a:pt x="708252" y="593167"/>
                  <a:pt x="706259" y="593167"/>
                  <a:pt x="706259" y="591193"/>
                </a:cubicBezTo>
                <a:cubicBezTo>
                  <a:pt x="706259" y="589219"/>
                  <a:pt x="706259" y="587246"/>
                  <a:pt x="708252" y="587246"/>
                </a:cubicBezTo>
                <a:cubicBezTo>
                  <a:pt x="712240" y="587246"/>
                  <a:pt x="712240" y="589219"/>
                  <a:pt x="712240" y="589219"/>
                </a:cubicBezTo>
                <a:cubicBezTo>
                  <a:pt x="712240" y="589219"/>
                  <a:pt x="716227" y="591193"/>
                  <a:pt x="716227" y="591193"/>
                </a:cubicBezTo>
                <a:cubicBezTo>
                  <a:pt x="718220" y="589219"/>
                  <a:pt x="712240" y="587246"/>
                  <a:pt x="712240" y="585272"/>
                </a:cubicBezTo>
                <a:cubicBezTo>
                  <a:pt x="712240" y="581325"/>
                  <a:pt x="718220" y="583298"/>
                  <a:pt x="718220" y="583298"/>
                </a:cubicBezTo>
                <a:cubicBezTo>
                  <a:pt x="718220" y="583298"/>
                  <a:pt x="720214" y="583298"/>
                  <a:pt x="720214" y="581325"/>
                </a:cubicBezTo>
                <a:cubicBezTo>
                  <a:pt x="720214" y="579351"/>
                  <a:pt x="720214" y="577377"/>
                  <a:pt x="724201" y="575404"/>
                </a:cubicBezTo>
                <a:cubicBezTo>
                  <a:pt x="730182" y="575404"/>
                  <a:pt x="734169" y="573430"/>
                  <a:pt x="736163" y="571456"/>
                </a:cubicBezTo>
                <a:cubicBezTo>
                  <a:pt x="736163" y="569483"/>
                  <a:pt x="736163" y="565536"/>
                  <a:pt x="736163" y="565536"/>
                </a:cubicBezTo>
                <a:cubicBezTo>
                  <a:pt x="736163" y="565536"/>
                  <a:pt x="740150" y="563562"/>
                  <a:pt x="744137" y="563562"/>
                </a:cubicBezTo>
                <a:close/>
                <a:moveTo>
                  <a:pt x="545083" y="551259"/>
                </a:moveTo>
                <a:cubicBezTo>
                  <a:pt x="547147" y="549275"/>
                  <a:pt x="551274" y="551259"/>
                  <a:pt x="549210" y="553244"/>
                </a:cubicBezTo>
                <a:cubicBezTo>
                  <a:pt x="549210" y="553244"/>
                  <a:pt x="545083" y="559197"/>
                  <a:pt x="538891" y="563165"/>
                </a:cubicBezTo>
                <a:cubicBezTo>
                  <a:pt x="534764" y="565150"/>
                  <a:pt x="532700" y="563165"/>
                  <a:pt x="530636" y="559197"/>
                </a:cubicBezTo>
                <a:cubicBezTo>
                  <a:pt x="530636" y="557212"/>
                  <a:pt x="538891" y="555228"/>
                  <a:pt x="538891" y="555228"/>
                </a:cubicBezTo>
                <a:cubicBezTo>
                  <a:pt x="538891" y="555228"/>
                  <a:pt x="540955" y="553244"/>
                  <a:pt x="545083" y="551259"/>
                </a:cubicBezTo>
                <a:close/>
                <a:moveTo>
                  <a:pt x="866392" y="507999"/>
                </a:moveTo>
                <a:cubicBezTo>
                  <a:pt x="870361" y="507999"/>
                  <a:pt x="868377" y="512761"/>
                  <a:pt x="864408" y="511174"/>
                </a:cubicBezTo>
                <a:cubicBezTo>
                  <a:pt x="862423" y="509586"/>
                  <a:pt x="866392" y="507999"/>
                  <a:pt x="866392" y="507999"/>
                </a:cubicBezTo>
                <a:close/>
                <a:moveTo>
                  <a:pt x="892586" y="483023"/>
                </a:moveTo>
                <a:cubicBezTo>
                  <a:pt x="892586" y="481012"/>
                  <a:pt x="898539" y="483023"/>
                  <a:pt x="900523" y="485033"/>
                </a:cubicBezTo>
                <a:cubicBezTo>
                  <a:pt x="900523" y="487044"/>
                  <a:pt x="894570" y="489055"/>
                  <a:pt x="894570" y="489055"/>
                </a:cubicBezTo>
                <a:cubicBezTo>
                  <a:pt x="890601" y="491066"/>
                  <a:pt x="886633" y="495087"/>
                  <a:pt x="884648" y="495087"/>
                </a:cubicBezTo>
                <a:cubicBezTo>
                  <a:pt x="882664" y="495087"/>
                  <a:pt x="882664" y="501120"/>
                  <a:pt x="882664" y="501120"/>
                </a:cubicBezTo>
                <a:cubicBezTo>
                  <a:pt x="880679" y="503131"/>
                  <a:pt x="878695" y="505141"/>
                  <a:pt x="876711" y="507152"/>
                </a:cubicBezTo>
                <a:cubicBezTo>
                  <a:pt x="874726" y="511174"/>
                  <a:pt x="868773" y="509163"/>
                  <a:pt x="868773" y="505141"/>
                </a:cubicBezTo>
                <a:cubicBezTo>
                  <a:pt x="868773" y="501120"/>
                  <a:pt x="870758" y="501120"/>
                  <a:pt x="874726" y="501120"/>
                </a:cubicBezTo>
                <a:cubicBezTo>
                  <a:pt x="876711" y="501120"/>
                  <a:pt x="876711" y="499109"/>
                  <a:pt x="876711" y="499109"/>
                </a:cubicBezTo>
                <a:cubicBezTo>
                  <a:pt x="876711" y="497098"/>
                  <a:pt x="880679" y="495087"/>
                  <a:pt x="882664" y="493077"/>
                </a:cubicBezTo>
                <a:cubicBezTo>
                  <a:pt x="884648" y="491066"/>
                  <a:pt x="888617" y="489055"/>
                  <a:pt x="888617" y="489055"/>
                </a:cubicBezTo>
                <a:cubicBezTo>
                  <a:pt x="890601" y="489055"/>
                  <a:pt x="890601" y="485033"/>
                  <a:pt x="892586" y="483023"/>
                </a:cubicBezTo>
                <a:close/>
                <a:moveTo>
                  <a:pt x="440901" y="477837"/>
                </a:moveTo>
                <a:cubicBezTo>
                  <a:pt x="442906" y="479821"/>
                  <a:pt x="444911" y="479821"/>
                  <a:pt x="444911" y="483790"/>
                </a:cubicBezTo>
                <a:cubicBezTo>
                  <a:pt x="442906" y="489743"/>
                  <a:pt x="440901" y="491727"/>
                  <a:pt x="440901" y="491727"/>
                </a:cubicBezTo>
                <a:cubicBezTo>
                  <a:pt x="440901" y="495696"/>
                  <a:pt x="444911" y="497681"/>
                  <a:pt x="442906" y="499665"/>
                </a:cubicBezTo>
                <a:cubicBezTo>
                  <a:pt x="440901" y="501649"/>
                  <a:pt x="438895" y="503634"/>
                  <a:pt x="436890" y="501649"/>
                </a:cubicBezTo>
                <a:cubicBezTo>
                  <a:pt x="436890" y="501649"/>
                  <a:pt x="434885" y="499665"/>
                  <a:pt x="432880" y="501649"/>
                </a:cubicBezTo>
                <a:cubicBezTo>
                  <a:pt x="432880" y="503634"/>
                  <a:pt x="432880" y="503634"/>
                  <a:pt x="430874" y="503634"/>
                </a:cubicBezTo>
                <a:cubicBezTo>
                  <a:pt x="428869" y="501649"/>
                  <a:pt x="426864" y="501649"/>
                  <a:pt x="426864" y="503634"/>
                </a:cubicBezTo>
                <a:cubicBezTo>
                  <a:pt x="426864" y="505618"/>
                  <a:pt x="424859" y="509587"/>
                  <a:pt x="422853" y="505618"/>
                </a:cubicBezTo>
                <a:cubicBezTo>
                  <a:pt x="420848" y="503634"/>
                  <a:pt x="420848" y="501649"/>
                  <a:pt x="418843" y="501649"/>
                </a:cubicBezTo>
                <a:cubicBezTo>
                  <a:pt x="416838" y="499665"/>
                  <a:pt x="414832" y="503634"/>
                  <a:pt x="410822" y="501649"/>
                </a:cubicBezTo>
                <a:cubicBezTo>
                  <a:pt x="406811" y="499665"/>
                  <a:pt x="406811" y="499665"/>
                  <a:pt x="406811" y="495696"/>
                </a:cubicBezTo>
                <a:cubicBezTo>
                  <a:pt x="406811" y="495696"/>
                  <a:pt x="406811" y="485774"/>
                  <a:pt x="408817" y="485774"/>
                </a:cubicBezTo>
                <a:cubicBezTo>
                  <a:pt x="410822" y="485774"/>
                  <a:pt x="414832" y="485774"/>
                  <a:pt x="414832" y="485774"/>
                </a:cubicBezTo>
                <a:cubicBezTo>
                  <a:pt x="414832" y="485774"/>
                  <a:pt x="418843" y="485774"/>
                  <a:pt x="420848" y="487759"/>
                </a:cubicBezTo>
                <a:cubicBezTo>
                  <a:pt x="420848" y="487759"/>
                  <a:pt x="424859" y="489743"/>
                  <a:pt x="424859" y="487759"/>
                </a:cubicBezTo>
                <a:cubicBezTo>
                  <a:pt x="426864" y="485774"/>
                  <a:pt x="424859" y="483790"/>
                  <a:pt x="428869" y="483790"/>
                </a:cubicBezTo>
                <a:cubicBezTo>
                  <a:pt x="434885" y="483790"/>
                  <a:pt x="434885" y="483790"/>
                  <a:pt x="436890" y="481806"/>
                </a:cubicBezTo>
                <a:cubicBezTo>
                  <a:pt x="436890" y="479821"/>
                  <a:pt x="440901" y="477837"/>
                  <a:pt x="440901" y="477837"/>
                </a:cubicBezTo>
                <a:close/>
                <a:moveTo>
                  <a:pt x="883742" y="475014"/>
                </a:moveTo>
                <a:cubicBezTo>
                  <a:pt x="887824" y="473074"/>
                  <a:pt x="885783" y="478895"/>
                  <a:pt x="883742" y="478895"/>
                </a:cubicBezTo>
                <a:cubicBezTo>
                  <a:pt x="883742" y="480835"/>
                  <a:pt x="883742" y="480835"/>
                  <a:pt x="879660" y="482775"/>
                </a:cubicBezTo>
                <a:cubicBezTo>
                  <a:pt x="877619" y="486655"/>
                  <a:pt x="873536" y="490536"/>
                  <a:pt x="873536" y="484715"/>
                </a:cubicBezTo>
                <a:cubicBezTo>
                  <a:pt x="873536" y="480835"/>
                  <a:pt x="879660" y="480835"/>
                  <a:pt x="879660" y="480835"/>
                </a:cubicBezTo>
                <a:cubicBezTo>
                  <a:pt x="879660" y="480835"/>
                  <a:pt x="881701" y="478895"/>
                  <a:pt x="881701" y="476954"/>
                </a:cubicBezTo>
                <a:cubicBezTo>
                  <a:pt x="881701" y="475014"/>
                  <a:pt x="883742" y="475014"/>
                  <a:pt x="883742" y="475014"/>
                </a:cubicBezTo>
                <a:close/>
                <a:moveTo>
                  <a:pt x="909651" y="473074"/>
                </a:moveTo>
                <a:cubicBezTo>
                  <a:pt x="911636" y="473074"/>
                  <a:pt x="913620" y="473074"/>
                  <a:pt x="917589" y="477156"/>
                </a:cubicBezTo>
                <a:cubicBezTo>
                  <a:pt x="919573" y="481238"/>
                  <a:pt x="913620" y="487361"/>
                  <a:pt x="909651" y="487361"/>
                </a:cubicBezTo>
                <a:cubicBezTo>
                  <a:pt x="903698" y="485320"/>
                  <a:pt x="907667" y="483279"/>
                  <a:pt x="907667" y="481238"/>
                </a:cubicBezTo>
                <a:cubicBezTo>
                  <a:pt x="907667" y="479197"/>
                  <a:pt x="905683" y="481238"/>
                  <a:pt x="905683" y="477156"/>
                </a:cubicBezTo>
                <a:cubicBezTo>
                  <a:pt x="903698" y="475115"/>
                  <a:pt x="909651" y="473074"/>
                  <a:pt x="909651" y="473074"/>
                </a:cubicBezTo>
                <a:close/>
                <a:moveTo>
                  <a:pt x="281715" y="471713"/>
                </a:moveTo>
                <a:cubicBezTo>
                  <a:pt x="285525" y="469899"/>
                  <a:pt x="285525" y="471713"/>
                  <a:pt x="285525" y="473527"/>
                </a:cubicBezTo>
                <a:cubicBezTo>
                  <a:pt x="285525" y="473527"/>
                  <a:pt x="285525" y="475342"/>
                  <a:pt x="287430" y="475342"/>
                </a:cubicBezTo>
                <a:cubicBezTo>
                  <a:pt x="287430" y="475342"/>
                  <a:pt x="289335" y="477156"/>
                  <a:pt x="289335" y="480785"/>
                </a:cubicBezTo>
                <a:cubicBezTo>
                  <a:pt x="289335" y="482599"/>
                  <a:pt x="285525" y="482599"/>
                  <a:pt x="285525" y="482599"/>
                </a:cubicBezTo>
                <a:cubicBezTo>
                  <a:pt x="285525" y="482599"/>
                  <a:pt x="281715" y="482599"/>
                  <a:pt x="281715" y="480785"/>
                </a:cubicBezTo>
                <a:cubicBezTo>
                  <a:pt x="281715" y="477156"/>
                  <a:pt x="281715" y="475342"/>
                  <a:pt x="281715" y="475342"/>
                </a:cubicBezTo>
                <a:cubicBezTo>
                  <a:pt x="281715" y="475342"/>
                  <a:pt x="279810" y="471713"/>
                  <a:pt x="281715" y="471713"/>
                </a:cubicBezTo>
                <a:close/>
                <a:moveTo>
                  <a:pt x="918115" y="469507"/>
                </a:moveTo>
                <a:cubicBezTo>
                  <a:pt x="920107" y="469507"/>
                  <a:pt x="922101" y="469507"/>
                  <a:pt x="924094" y="469507"/>
                </a:cubicBezTo>
                <a:cubicBezTo>
                  <a:pt x="924094" y="471505"/>
                  <a:pt x="922101" y="473503"/>
                  <a:pt x="920107" y="473503"/>
                </a:cubicBezTo>
                <a:cubicBezTo>
                  <a:pt x="918115" y="473503"/>
                  <a:pt x="918115" y="477499"/>
                  <a:pt x="916121" y="475501"/>
                </a:cubicBezTo>
                <a:cubicBezTo>
                  <a:pt x="916121" y="473503"/>
                  <a:pt x="918115" y="471505"/>
                  <a:pt x="918115" y="469507"/>
                </a:cubicBezTo>
                <a:close/>
                <a:moveTo>
                  <a:pt x="883855" y="461962"/>
                </a:moveTo>
                <a:cubicBezTo>
                  <a:pt x="887824" y="461962"/>
                  <a:pt x="883855" y="465137"/>
                  <a:pt x="881871" y="463549"/>
                </a:cubicBezTo>
                <a:cubicBezTo>
                  <a:pt x="879886" y="461962"/>
                  <a:pt x="883855" y="461962"/>
                  <a:pt x="883855" y="461962"/>
                </a:cubicBezTo>
                <a:close/>
                <a:moveTo>
                  <a:pt x="850350" y="0"/>
                </a:moveTo>
                <a:cubicBezTo>
                  <a:pt x="852343" y="0"/>
                  <a:pt x="852343" y="3996"/>
                  <a:pt x="854337" y="3996"/>
                </a:cubicBezTo>
                <a:cubicBezTo>
                  <a:pt x="854337" y="5994"/>
                  <a:pt x="856330" y="5994"/>
                  <a:pt x="858322" y="7992"/>
                </a:cubicBezTo>
                <a:cubicBezTo>
                  <a:pt x="858322" y="11987"/>
                  <a:pt x="856330" y="13985"/>
                  <a:pt x="854337" y="15983"/>
                </a:cubicBezTo>
                <a:cubicBezTo>
                  <a:pt x="852343" y="17981"/>
                  <a:pt x="846364" y="19979"/>
                  <a:pt x="846364" y="19979"/>
                </a:cubicBezTo>
                <a:cubicBezTo>
                  <a:pt x="844371" y="21977"/>
                  <a:pt x="844371" y="27971"/>
                  <a:pt x="844371" y="27971"/>
                </a:cubicBezTo>
                <a:cubicBezTo>
                  <a:pt x="842378" y="29968"/>
                  <a:pt x="842378" y="31966"/>
                  <a:pt x="844371" y="33964"/>
                </a:cubicBezTo>
                <a:cubicBezTo>
                  <a:pt x="846364" y="33964"/>
                  <a:pt x="848357" y="33964"/>
                  <a:pt x="850350" y="31966"/>
                </a:cubicBezTo>
                <a:cubicBezTo>
                  <a:pt x="850350" y="29968"/>
                  <a:pt x="850350" y="25973"/>
                  <a:pt x="852343" y="25973"/>
                </a:cubicBezTo>
                <a:cubicBezTo>
                  <a:pt x="852343" y="23975"/>
                  <a:pt x="856330" y="25973"/>
                  <a:pt x="858322" y="25973"/>
                </a:cubicBezTo>
                <a:cubicBezTo>
                  <a:pt x="858322" y="27971"/>
                  <a:pt x="856330" y="31966"/>
                  <a:pt x="854337" y="33964"/>
                </a:cubicBezTo>
                <a:cubicBezTo>
                  <a:pt x="852343" y="33964"/>
                  <a:pt x="852343" y="35962"/>
                  <a:pt x="852343" y="37960"/>
                </a:cubicBezTo>
                <a:cubicBezTo>
                  <a:pt x="854337" y="37960"/>
                  <a:pt x="858322" y="37960"/>
                  <a:pt x="860316" y="35962"/>
                </a:cubicBezTo>
                <a:cubicBezTo>
                  <a:pt x="860316" y="33964"/>
                  <a:pt x="864302" y="31966"/>
                  <a:pt x="864302" y="29968"/>
                </a:cubicBezTo>
                <a:cubicBezTo>
                  <a:pt x="864302" y="25973"/>
                  <a:pt x="862308" y="23975"/>
                  <a:pt x="862308" y="21977"/>
                </a:cubicBezTo>
                <a:cubicBezTo>
                  <a:pt x="860316" y="19979"/>
                  <a:pt x="860316" y="17981"/>
                  <a:pt x="860316" y="17981"/>
                </a:cubicBezTo>
                <a:cubicBezTo>
                  <a:pt x="862308" y="15983"/>
                  <a:pt x="864302" y="17981"/>
                  <a:pt x="866295" y="15983"/>
                </a:cubicBezTo>
                <a:cubicBezTo>
                  <a:pt x="868288" y="13985"/>
                  <a:pt x="868288" y="9989"/>
                  <a:pt x="868288" y="7992"/>
                </a:cubicBezTo>
                <a:cubicBezTo>
                  <a:pt x="870281" y="7992"/>
                  <a:pt x="874267" y="9989"/>
                  <a:pt x="876260" y="11987"/>
                </a:cubicBezTo>
                <a:cubicBezTo>
                  <a:pt x="876260" y="11987"/>
                  <a:pt x="880246" y="17981"/>
                  <a:pt x="880246" y="19979"/>
                </a:cubicBezTo>
                <a:cubicBezTo>
                  <a:pt x="880246" y="21977"/>
                  <a:pt x="878253" y="19979"/>
                  <a:pt x="876260" y="21977"/>
                </a:cubicBezTo>
                <a:cubicBezTo>
                  <a:pt x="876260" y="25973"/>
                  <a:pt x="876260" y="25973"/>
                  <a:pt x="876260" y="27971"/>
                </a:cubicBezTo>
                <a:cubicBezTo>
                  <a:pt x="876260" y="29968"/>
                  <a:pt x="868288" y="33964"/>
                  <a:pt x="868288" y="33964"/>
                </a:cubicBezTo>
                <a:cubicBezTo>
                  <a:pt x="868288" y="35962"/>
                  <a:pt x="860316" y="39958"/>
                  <a:pt x="860316" y="43954"/>
                </a:cubicBezTo>
                <a:cubicBezTo>
                  <a:pt x="858322" y="45952"/>
                  <a:pt x="864302" y="41956"/>
                  <a:pt x="866295" y="41956"/>
                </a:cubicBezTo>
                <a:cubicBezTo>
                  <a:pt x="868288" y="39958"/>
                  <a:pt x="874267" y="33964"/>
                  <a:pt x="874267" y="33964"/>
                </a:cubicBezTo>
                <a:cubicBezTo>
                  <a:pt x="876260" y="31966"/>
                  <a:pt x="878253" y="27971"/>
                  <a:pt x="880246" y="25973"/>
                </a:cubicBezTo>
                <a:cubicBezTo>
                  <a:pt x="882239" y="25973"/>
                  <a:pt x="886225" y="23975"/>
                  <a:pt x="890212" y="23975"/>
                </a:cubicBezTo>
                <a:cubicBezTo>
                  <a:pt x="892205" y="21977"/>
                  <a:pt x="892205" y="25973"/>
                  <a:pt x="892205" y="23975"/>
                </a:cubicBezTo>
                <a:cubicBezTo>
                  <a:pt x="894198" y="21977"/>
                  <a:pt x="894198" y="19979"/>
                  <a:pt x="896191" y="19979"/>
                </a:cubicBezTo>
                <a:cubicBezTo>
                  <a:pt x="898184" y="17981"/>
                  <a:pt x="898184" y="19979"/>
                  <a:pt x="900177" y="19979"/>
                </a:cubicBezTo>
                <a:cubicBezTo>
                  <a:pt x="900177" y="21977"/>
                  <a:pt x="902170" y="19979"/>
                  <a:pt x="904163" y="19979"/>
                </a:cubicBezTo>
                <a:cubicBezTo>
                  <a:pt x="906156" y="19979"/>
                  <a:pt x="908149" y="19979"/>
                  <a:pt x="910142" y="19979"/>
                </a:cubicBezTo>
                <a:cubicBezTo>
                  <a:pt x="914128" y="19979"/>
                  <a:pt x="916121" y="19979"/>
                  <a:pt x="918115" y="19979"/>
                </a:cubicBezTo>
                <a:cubicBezTo>
                  <a:pt x="920107" y="19979"/>
                  <a:pt x="922101" y="21977"/>
                  <a:pt x="924094" y="21977"/>
                </a:cubicBezTo>
                <a:cubicBezTo>
                  <a:pt x="926087" y="23975"/>
                  <a:pt x="930073" y="21977"/>
                  <a:pt x="932066" y="21977"/>
                </a:cubicBezTo>
                <a:cubicBezTo>
                  <a:pt x="934059" y="23975"/>
                  <a:pt x="934059" y="25973"/>
                  <a:pt x="934059" y="25973"/>
                </a:cubicBezTo>
                <a:cubicBezTo>
                  <a:pt x="934059" y="27971"/>
                  <a:pt x="926087" y="27971"/>
                  <a:pt x="926087" y="29968"/>
                </a:cubicBezTo>
                <a:cubicBezTo>
                  <a:pt x="926087" y="31966"/>
                  <a:pt x="924094" y="31966"/>
                  <a:pt x="926087" y="33964"/>
                </a:cubicBezTo>
                <a:cubicBezTo>
                  <a:pt x="928080" y="35962"/>
                  <a:pt x="932066" y="33964"/>
                  <a:pt x="932066" y="33964"/>
                </a:cubicBezTo>
                <a:cubicBezTo>
                  <a:pt x="934059" y="33964"/>
                  <a:pt x="938045" y="35962"/>
                  <a:pt x="938045" y="37960"/>
                </a:cubicBezTo>
                <a:cubicBezTo>
                  <a:pt x="940038" y="39958"/>
                  <a:pt x="946017" y="45952"/>
                  <a:pt x="948011" y="45952"/>
                </a:cubicBezTo>
                <a:cubicBezTo>
                  <a:pt x="950004" y="49948"/>
                  <a:pt x="950004" y="49948"/>
                  <a:pt x="950004" y="51945"/>
                </a:cubicBezTo>
                <a:cubicBezTo>
                  <a:pt x="948011" y="53943"/>
                  <a:pt x="946017" y="55941"/>
                  <a:pt x="948011" y="55941"/>
                </a:cubicBezTo>
                <a:cubicBezTo>
                  <a:pt x="948011" y="57939"/>
                  <a:pt x="951997" y="55941"/>
                  <a:pt x="953990" y="55941"/>
                </a:cubicBezTo>
                <a:cubicBezTo>
                  <a:pt x="955983" y="53943"/>
                  <a:pt x="955983" y="55941"/>
                  <a:pt x="957976" y="51945"/>
                </a:cubicBezTo>
                <a:cubicBezTo>
                  <a:pt x="959969" y="49948"/>
                  <a:pt x="961962" y="41956"/>
                  <a:pt x="963955" y="39958"/>
                </a:cubicBezTo>
                <a:cubicBezTo>
                  <a:pt x="965948" y="37960"/>
                  <a:pt x="967941" y="39958"/>
                  <a:pt x="969934" y="39958"/>
                </a:cubicBezTo>
                <a:cubicBezTo>
                  <a:pt x="971927" y="37960"/>
                  <a:pt x="973920" y="37960"/>
                  <a:pt x="973920" y="33964"/>
                </a:cubicBezTo>
                <a:cubicBezTo>
                  <a:pt x="975913" y="33964"/>
                  <a:pt x="985879" y="33964"/>
                  <a:pt x="989865" y="33964"/>
                </a:cubicBezTo>
                <a:cubicBezTo>
                  <a:pt x="993851" y="35962"/>
                  <a:pt x="999830" y="35962"/>
                  <a:pt x="999830" y="39958"/>
                </a:cubicBezTo>
                <a:cubicBezTo>
                  <a:pt x="997837" y="41956"/>
                  <a:pt x="995844" y="47950"/>
                  <a:pt x="995844" y="47950"/>
                </a:cubicBezTo>
                <a:cubicBezTo>
                  <a:pt x="997837" y="47950"/>
                  <a:pt x="999830" y="47950"/>
                  <a:pt x="999830" y="45952"/>
                </a:cubicBezTo>
                <a:cubicBezTo>
                  <a:pt x="1001823" y="41956"/>
                  <a:pt x="1003816" y="39958"/>
                  <a:pt x="1005810" y="39958"/>
                </a:cubicBezTo>
                <a:cubicBezTo>
                  <a:pt x="1007802" y="39958"/>
                  <a:pt x="1009795" y="41956"/>
                  <a:pt x="1011789" y="43954"/>
                </a:cubicBezTo>
                <a:cubicBezTo>
                  <a:pt x="1013781" y="43954"/>
                  <a:pt x="1015775" y="43954"/>
                  <a:pt x="1017768" y="45952"/>
                </a:cubicBezTo>
                <a:cubicBezTo>
                  <a:pt x="1019761" y="47950"/>
                  <a:pt x="1019761" y="47950"/>
                  <a:pt x="1019761" y="49948"/>
                </a:cubicBezTo>
                <a:cubicBezTo>
                  <a:pt x="1019761" y="51945"/>
                  <a:pt x="1017768" y="53943"/>
                  <a:pt x="1019761" y="53943"/>
                </a:cubicBezTo>
                <a:cubicBezTo>
                  <a:pt x="1019761" y="53943"/>
                  <a:pt x="1033711" y="55941"/>
                  <a:pt x="1033711" y="55941"/>
                </a:cubicBezTo>
                <a:cubicBezTo>
                  <a:pt x="1037697" y="55941"/>
                  <a:pt x="1053641" y="55941"/>
                  <a:pt x="1055634" y="55941"/>
                </a:cubicBezTo>
                <a:cubicBezTo>
                  <a:pt x="1057627" y="55941"/>
                  <a:pt x="1067593" y="57939"/>
                  <a:pt x="1067593" y="57939"/>
                </a:cubicBezTo>
                <a:cubicBezTo>
                  <a:pt x="1071579" y="59937"/>
                  <a:pt x="1071579" y="59937"/>
                  <a:pt x="1073572" y="61935"/>
                </a:cubicBezTo>
                <a:cubicBezTo>
                  <a:pt x="1075565" y="61935"/>
                  <a:pt x="1075565" y="61935"/>
                  <a:pt x="1077558" y="61935"/>
                </a:cubicBezTo>
                <a:cubicBezTo>
                  <a:pt x="1079551" y="61935"/>
                  <a:pt x="1079551" y="61935"/>
                  <a:pt x="1079551" y="63933"/>
                </a:cubicBezTo>
                <a:cubicBezTo>
                  <a:pt x="1079551" y="65931"/>
                  <a:pt x="1079551" y="67929"/>
                  <a:pt x="1081544" y="67929"/>
                </a:cubicBezTo>
                <a:cubicBezTo>
                  <a:pt x="1083537" y="69927"/>
                  <a:pt x="1085530" y="67929"/>
                  <a:pt x="1087523" y="65931"/>
                </a:cubicBezTo>
                <a:cubicBezTo>
                  <a:pt x="1087523" y="63933"/>
                  <a:pt x="1103468" y="61935"/>
                  <a:pt x="1105461" y="59937"/>
                </a:cubicBezTo>
                <a:cubicBezTo>
                  <a:pt x="1107454" y="59937"/>
                  <a:pt x="1115426" y="55941"/>
                  <a:pt x="1117419" y="55941"/>
                </a:cubicBezTo>
                <a:cubicBezTo>
                  <a:pt x="1117419" y="55941"/>
                  <a:pt x="1135357" y="61935"/>
                  <a:pt x="1137350" y="63933"/>
                </a:cubicBezTo>
                <a:cubicBezTo>
                  <a:pt x="1139343" y="63933"/>
                  <a:pt x="1149308" y="67929"/>
                  <a:pt x="1149308" y="67929"/>
                </a:cubicBezTo>
                <a:cubicBezTo>
                  <a:pt x="1151302" y="67929"/>
                  <a:pt x="1157281" y="69927"/>
                  <a:pt x="1159274" y="69927"/>
                </a:cubicBezTo>
                <a:cubicBezTo>
                  <a:pt x="1159274" y="71924"/>
                  <a:pt x="1159274" y="71924"/>
                  <a:pt x="1159274" y="71924"/>
                </a:cubicBezTo>
                <a:cubicBezTo>
                  <a:pt x="1159274" y="71924"/>
                  <a:pt x="1155288" y="87908"/>
                  <a:pt x="1153295" y="91903"/>
                </a:cubicBezTo>
                <a:cubicBezTo>
                  <a:pt x="1151302" y="97897"/>
                  <a:pt x="1135357" y="149843"/>
                  <a:pt x="1133364" y="155836"/>
                </a:cubicBezTo>
                <a:cubicBezTo>
                  <a:pt x="1133364" y="163828"/>
                  <a:pt x="1121406" y="191799"/>
                  <a:pt x="1119413" y="199790"/>
                </a:cubicBezTo>
                <a:cubicBezTo>
                  <a:pt x="1117419" y="207782"/>
                  <a:pt x="1105461" y="239748"/>
                  <a:pt x="1101475" y="253734"/>
                </a:cubicBezTo>
                <a:cubicBezTo>
                  <a:pt x="1097489" y="265721"/>
                  <a:pt x="1087523" y="293692"/>
                  <a:pt x="1087523" y="297687"/>
                </a:cubicBezTo>
                <a:cubicBezTo>
                  <a:pt x="1085530" y="301683"/>
                  <a:pt x="1075565" y="335648"/>
                  <a:pt x="1073572" y="343639"/>
                </a:cubicBezTo>
                <a:cubicBezTo>
                  <a:pt x="1071579" y="351631"/>
                  <a:pt x="1061614" y="385595"/>
                  <a:pt x="1061614" y="387593"/>
                </a:cubicBezTo>
                <a:cubicBezTo>
                  <a:pt x="1059621" y="391589"/>
                  <a:pt x="1041683" y="447530"/>
                  <a:pt x="1041683" y="447530"/>
                </a:cubicBezTo>
                <a:cubicBezTo>
                  <a:pt x="1029726" y="481495"/>
                  <a:pt x="1029726" y="481495"/>
                  <a:pt x="1029726" y="481495"/>
                </a:cubicBezTo>
                <a:cubicBezTo>
                  <a:pt x="1029726" y="481495"/>
                  <a:pt x="1027733" y="481495"/>
                  <a:pt x="1037697" y="483492"/>
                </a:cubicBezTo>
                <a:cubicBezTo>
                  <a:pt x="1047662" y="487488"/>
                  <a:pt x="1051648" y="481495"/>
                  <a:pt x="1055634" y="479497"/>
                </a:cubicBezTo>
                <a:cubicBezTo>
                  <a:pt x="1059621" y="477499"/>
                  <a:pt x="1061614" y="481495"/>
                  <a:pt x="1061614" y="481495"/>
                </a:cubicBezTo>
                <a:cubicBezTo>
                  <a:pt x="1061614" y="481495"/>
                  <a:pt x="1067593" y="481495"/>
                  <a:pt x="1067593" y="485490"/>
                </a:cubicBezTo>
                <a:cubicBezTo>
                  <a:pt x="1069586" y="489486"/>
                  <a:pt x="1073572" y="495480"/>
                  <a:pt x="1075565" y="499476"/>
                </a:cubicBezTo>
                <a:cubicBezTo>
                  <a:pt x="1079551" y="503472"/>
                  <a:pt x="1087523" y="517457"/>
                  <a:pt x="1089517" y="517457"/>
                </a:cubicBezTo>
                <a:cubicBezTo>
                  <a:pt x="1091510" y="517457"/>
                  <a:pt x="1093503" y="533440"/>
                  <a:pt x="1095496" y="535438"/>
                </a:cubicBezTo>
                <a:cubicBezTo>
                  <a:pt x="1095496" y="537436"/>
                  <a:pt x="1095496" y="537436"/>
                  <a:pt x="1099482" y="537436"/>
                </a:cubicBezTo>
                <a:cubicBezTo>
                  <a:pt x="1101475" y="537436"/>
                  <a:pt x="1105461" y="537436"/>
                  <a:pt x="1107454" y="535438"/>
                </a:cubicBezTo>
                <a:cubicBezTo>
                  <a:pt x="1109447" y="533440"/>
                  <a:pt x="1109447" y="533440"/>
                  <a:pt x="1115426" y="533440"/>
                </a:cubicBezTo>
                <a:cubicBezTo>
                  <a:pt x="1121406" y="531442"/>
                  <a:pt x="1127385" y="521453"/>
                  <a:pt x="1127385" y="521453"/>
                </a:cubicBezTo>
                <a:cubicBezTo>
                  <a:pt x="1127385" y="521453"/>
                  <a:pt x="1135357" y="511463"/>
                  <a:pt x="1141336" y="507467"/>
                </a:cubicBezTo>
                <a:cubicBezTo>
                  <a:pt x="1145322" y="503472"/>
                  <a:pt x="1155288" y="507467"/>
                  <a:pt x="1157281" y="509465"/>
                </a:cubicBezTo>
                <a:cubicBezTo>
                  <a:pt x="1159274" y="511463"/>
                  <a:pt x="1165253" y="511463"/>
                  <a:pt x="1167246" y="513461"/>
                </a:cubicBezTo>
                <a:cubicBezTo>
                  <a:pt x="1167246" y="513461"/>
                  <a:pt x="1173225" y="515459"/>
                  <a:pt x="1175218" y="515459"/>
                </a:cubicBezTo>
                <a:cubicBezTo>
                  <a:pt x="1177211" y="517457"/>
                  <a:pt x="1175218" y="527446"/>
                  <a:pt x="1175218" y="531442"/>
                </a:cubicBezTo>
                <a:cubicBezTo>
                  <a:pt x="1175218" y="533440"/>
                  <a:pt x="1177211" y="537436"/>
                  <a:pt x="1181198" y="537436"/>
                </a:cubicBezTo>
                <a:cubicBezTo>
                  <a:pt x="1183191" y="539434"/>
                  <a:pt x="1183191" y="541432"/>
                  <a:pt x="1189170" y="547425"/>
                </a:cubicBezTo>
                <a:cubicBezTo>
                  <a:pt x="1193156" y="555417"/>
                  <a:pt x="1193156" y="559413"/>
                  <a:pt x="1193156" y="559413"/>
                </a:cubicBezTo>
                <a:cubicBezTo>
                  <a:pt x="1197142" y="559413"/>
                  <a:pt x="1201128" y="563409"/>
                  <a:pt x="1203121" y="569402"/>
                </a:cubicBezTo>
                <a:cubicBezTo>
                  <a:pt x="1207107" y="573398"/>
                  <a:pt x="1205114" y="573398"/>
                  <a:pt x="1205114" y="573398"/>
                </a:cubicBezTo>
                <a:cubicBezTo>
                  <a:pt x="1205114" y="573398"/>
                  <a:pt x="1205114" y="587383"/>
                  <a:pt x="1205114" y="593377"/>
                </a:cubicBezTo>
                <a:cubicBezTo>
                  <a:pt x="1205114" y="597373"/>
                  <a:pt x="1203121" y="597373"/>
                  <a:pt x="1211094" y="605365"/>
                </a:cubicBezTo>
                <a:cubicBezTo>
                  <a:pt x="1217073" y="613356"/>
                  <a:pt x="1215080" y="615354"/>
                  <a:pt x="1217073" y="625344"/>
                </a:cubicBezTo>
                <a:cubicBezTo>
                  <a:pt x="1219066" y="635333"/>
                  <a:pt x="1229031" y="635333"/>
                  <a:pt x="1237003" y="641327"/>
                </a:cubicBezTo>
                <a:cubicBezTo>
                  <a:pt x="1242983" y="647321"/>
                  <a:pt x="1244976" y="651316"/>
                  <a:pt x="1248962" y="655312"/>
                </a:cubicBezTo>
                <a:cubicBezTo>
                  <a:pt x="1252948" y="661306"/>
                  <a:pt x="1250955" y="663304"/>
                  <a:pt x="1248962" y="665302"/>
                </a:cubicBezTo>
                <a:cubicBezTo>
                  <a:pt x="1246969" y="669297"/>
                  <a:pt x="1244976" y="681285"/>
                  <a:pt x="1244976" y="685281"/>
                </a:cubicBezTo>
                <a:cubicBezTo>
                  <a:pt x="1244976" y="689277"/>
                  <a:pt x="1242983" y="693272"/>
                  <a:pt x="1242983" y="693272"/>
                </a:cubicBezTo>
                <a:cubicBezTo>
                  <a:pt x="1240990" y="693272"/>
                  <a:pt x="1238996" y="693272"/>
                  <a:pt x="1238996" y="693272"/>
                </a:cubicBezTo>
                <a:cubicBezTo>
                  <a:pt x="1238996" y="695270"/>
                  <a:pt x="1237003" y="699266"/>
                  <a:pt x="1235010" y="701264"/>
                </a:cubicBezTo>
                <a:cubicBezTo>
                  <a:pt x="1233017" y="703262"/>
                  <a:pt x="1227038" y="703262"/>
                  <a:pt x="1227038" y="703262"/>
                </a:cubicBezTo>
                <a:cubicBezTo>
                  <a:pt x="1223052" y="703262"/>
                  <a:pt x="1225045" y="697268"/>
                  <a:pt x="1225045" y="695270"/>
                </a:cubicBezTo>
                <a:cubicBezTo>
                  <a:pt x="1225045" y="693272"/>
                  <a:pt x="1231024" y="681285"/>
                  <a:pt x="1231024" y="681285"/>
                </a:cubicBezTo>
                <a:cubicBezTo>
                  <a:pt x="1231024" y="679287"/>
                  <a:pt x="1231024" y="667300"/>
                  <a:pt x="1231024" y="665302"/>
                </a:cubicBezTo>
                <a:cubicBezTo>
                  <a:pt x="1231024" y="665302"/>
                  <a:pt x="1227038" y="663304"/>
                  <a:pt x="1227038" y="661306"/>
                </a:cubicBezTo>
                <a:cubicBezTo>
                  <a:pt x="1227038" y="661306"/>
                  <a:pt x="1229031" y="659308"/>
                  <a:pt x="1227038" y="657310"/>
                </a:cubicBezTo>
                <a:cubicBezTo>
                  <a:pt x="1223052" y="657310"/>
                  <a:pt x="1223052" y="657310"/>
                  <a:pt x="1223052" y="657310"/>
                </a:cubicBezTo>
                <a:cubicBezTo>
                  <a:pt x="1221059" y="659308"/>
                  <a:pt x="1215080" y="659308"/>
                  <a:pt x="1215080" y="661306"/>
                </a:cubicBezTo>
                <a:cubicBezTo>
                  <a:pt x="1213087" y="661306"/>
                  <a:pt x="1211094" y="663304"/>
                  <a:pt x="1211094" y="663304"/>
                </a:cubicBezTo>
                <a:cubicBezTo>
                  <a:pt x="1209100" y="665302"/>
                  <a:pt x="1209100" y="667300"/>
                  <a:pt x="1207107" y="669297"/>
                </a:cubicBezTo>
                <a:cubicBezTo>
                  <a:pt x="1207107" y="669297"/>
                  <a:pt x="1203121" y="669297"/>
                  <a:pt x="1203121" y="667300"/>
                </a:cubicBezTo>
                <a:cubicBezTo>
                  <a:pt x="1203121" y="665302"/>
                  <a:pt x="1205114" y="663304"/>
                  <a:pt x="1205114" y="661306"/>
                </a:cubicBezTo>
                <a:cubicBezTo>
                  <a:pt x="1205114" y="659308"/>
                  <a:pt x="1205114" y="657310"/>
                  <a:pt x="1207107" y="657310"/>
                </a:cubicBezTo>
                <a:cubicBezTo>
                  <a:pt x="1209100" y="655312"/>
                  <a:pt x="1211094" y="655312"/>
                  <a:pt x="1213087" y="655312"/>
                </a:cubicBezTo>
                <a:cubicBezTo>
                  <a:pt x="1215080" y="653314"/>
                  <a:pt x="1213087" y="651316"/>
                  <a:pt x="1213087" y="651316"/>
                </a:cubicBezTo>
                <a:cubicBezTo>
                  <a:pt x="1211094" y="651316"/>
                  <a:pt x="1207107" y="649318"/>
                  <a:pt x="1205114" y="649318"/>
                </a:cubicBezTo>
                <a:cubicBezTo>
                  <a:pt x="1205114" y="647321"/>
                  <a:pt x="1201128" y="647321"/>
                  <a:pt x="1201128" y="645323"/>
                </a:cubicBezTo>
                <a:cubicBezTo>
                  <a:pt x="1201128" y="643325"/>
                  <a:pt x="1203121" y="635333"/>
                  <a:pt x="1203121" y="633335"/>
                </a:cubicBezTo>
                <a:cubicBezTo>
                  <a:pt x="1201128" y="631337"/>
                  <a:pt x="1195149" y="625344"/>
                  <a:pt x="1193156" y="623346"/>
                </a:cubicBezTo>
                <a:cubicBezTo>
                  <a:pt x="1193156" y="621348"/>
                  <a:pt x="1191163" y="619350"/>
                  <a:pt x="1189170" y="617352"/>
                </a:cubicBezTo>
                <a:cubicBezTo>
                  <a:pt x="1187177" y="617352"/>
                  <a:pt x="1185184" y="617352"/>
                  <a:pt x="1185184" y="615354"/>
                </a:cubicBezTo>
                <a:cubicBezTo>
                  <a:pt x="1185184" y="615354"/>
                  <a:pt x="1183191" y="609360"/>
                  <a:pt x="1183191" y="607362"/>
                </a:cubicBezTo>
                <a:cubicBezTo>
                  <a:pt x="1183191" y="605365"/>
                  <a:pt x="1181198" y="603367"/>
                  <a:pt x="1183191" y="601369"/>
                </a:cubicBezTo>
                <a:cubicBezTo>
                  <a:pt x="1185184" y="599371"/>
                  <a:pt x="1187177" y="597373"/>
                  <a:pt x="1187177" y="595375"/>
                </a:cubicBezTo>
                <a:cubicBezTo>
                  <a:pt x="1187177" y="593377"/>
                  <a:pt x="1185184" y="593377"/>
                  <a:pt x="1185184" y="593377"/>
                </a:cubicBezTo>
                <a:cubicBezTo>
                  <a:pt x="1185184" y="593377"/>
                  <a:pt x="1183191" y="589381"/>
                  <a:pt x="1183191" y="587383"/>
                </a:cubicBezTo>
                <a:cubicBezTo>
                  <a:pt x="1183191" y="585386"/>
                  <a:pt x="1183191" y="585386"/>
                  <a:pt x="1181198" y="585386"/>
                </a:cubicBezTo>
                <a:cubicBezTo>
                  <a:pt x="1181198" y="583388"/>
                  <a:pt x="1179204" y="585386"/>
                  <a:pt x="1179204" y="583388"/>
                </a:cubicBezTo>
                <a:cubicBezTo>
                  <a:pt x="1179204" y="579392"/>
                  <a:pt x="1179204" y="579392"/>
                  <a:pt x="1181198" y="579392"/>
                </a:cubicBezTo>
                <a:cubicBezTo>
                  <a:pt x="1181198" y="577394"/>
                  <a:pt x="1179204" y="571400"/>
                  <a:pt x="1179204" y="569402"/>
                </a:cubicBezTo>
                <a:cubicBezTo>
                  <a:pt x="1179204" y="567404"/>
                  <a:pt x="1179204" y="563409"/>
                  <a:pt x="1181198" y="559413"/>
                </a:cubicBezTo>
                <a:cubicBezTo>
                  <a:pt x="1181198" y="557415"/>
                  <a:pt x="1183191" y="555417"/>
                  <a:pt x="1185184" y="553419"/>
                </a:cubicBezTo>
                <a:cubicBezTo>
                  <a:pt x="1185184" y="551421"/>
                  <a:pt x="1185184" y="549423"/>
                  <a:pt x="1183191" y="549423"/>
                </a:cubicBezTo>
                <a:cubicBezTo>
                  <a:pt x="1181198" y="549423"/>
                  <a:pt x="1179204" y="549423"/>
                  <a:pt x="1179204" y="549423"/>
                </a:cubicBezTo>
                <a:cubicBezTo>
                  <a:pt x="1179204" y="549423"/>
                  <a:pt x="1177211" y="553419"/>
                  <a:pt x="1175218" y="551421"/>
                </a:cubicBezTo>
                <a:cubicBezTo>
                  <a:pt x="1173225" y="549423"/>
                  <a:pt x="1171232" y="549423"/>
                  <a:pt x="1171232" y="547425"/>
                </a:cubicBezTo>
                <a:cubicBezTo>
                  <a:pt x="1171232" y="545427"/>
                  <a:pt x="1169239" y="545427"/>
                  <a:pt x="1169239" y="543430"/>
                </a:cubicBezTo>
                <a:cubicBezTo>
                  <a:pt x="1167246" y="541432"/>
                  <a:pt x="1169239" y="527446"/>
                  <a:pt x="1169239" y="525448"/>
                </a:cubicBezTo>
                <a:cubicBezTo>
                  <a:pt x="1169239" y="523451"/>
                  <a:pt x="1169239" y="519455"/>
                  <a:pt x="1167246" y="517457"/>
                </a:cubicBezTo>
                <a:cubicBezTo>
                  <a:pt x="1167246" y="517457"/>
                  <a:pt x="1165253" y="515459"/>
                  <a:pt x="1163260" y="517457"/>
                </a:cubicBezTo>
                <a:cubicBezTo>
                  <a:pt x="1161267" y="517457"/>
                  <a:pt x="1161267" y="521453"/>
                  <a:pt x="1161267" y="523451"/>
                </a:cubicBezTo>
                <a:cubicBezTo>
                  <a:pt x="1161267" y="525448"/>
                  <a:pt x="1163260" y="533440"/>
                  <a:pt x="1163260" y="535438"/>
                </a:cubicBezTo>
                <a:cubicBezTo>
                  <a:pt x="1163260" y="539434"/>
                  <a:pt x="1163260" y="543430"/>
                  <a:pt x="1163260" y="545427"/>
                </a:cubicBezTo>
                <a:cubicBezTo>
                  <a:pt x="1163260" y="549423"/>
                  <a:pt x="1163260" y="559413"/>
                  <a:pt x="1161267" y="561411"/>
                </a:cubicBezTo>
                <a:cubicBezTo>
                  <a:pt x="1161267" y="563409"/>
                  <a:pt x="1161267" y="567404"/>
                  <a:pt x="1159274" y="567404"/>
                </a:cubicBezTo>
                <a:cubicBezTo>
                  <a:pt x="1159274" y="565407"/>
                  <a:pt x="1157281" y="563409"/>
                  <a:pt x="1157281" y="561411"/>
                </a:cubicBezTo>
                <a:cubicBezTo>
                  <a:pt x="1157281" y="559413"/>
                  <a:pt x="1155288" y="559413"/>
                  <a:pt x="1155288" y="559413"/>
                </a:cubicBezTo>
                <a:cubicBezTo>
                  <a:pt x="1153295" y="559413"/>
                  <a:pt x="1151302" y="559413"/>
                  <a:pt x="1151302" y="557415"/>
                </a:cubicBezTo>
                <a:cubicBezTo>
                  <a:pt x="1149308" y="557415"/>
                  <a:pt x="1147315" y="555417"/>
                  <a:pt x="1149308" y="555417"/>
                </a:cubicBezTo>
                <a:cubicBezTo>
                  <a:pt x="1149308" y="553419"/>
                  <a:pt x="1149308" y="551421"/>
                  <a:pt x="1149308" y="549423"/>
                </a:cubicBezTo>
                <a:cubicBezTo>
                  <a:pt x="1149308" y="549423"/>
                  <a:pt x="1147315" y="549423"/>
                  <a:pt x="1145322" y="549423"/>
                </a:cubicBezTo>
                <a:cubicBezTo>
                  <a:pt x="1143329" y="549423"/>
                  <a:pt x="1143329" y="551421"/>
                  <a:pt x="1141336" y="553419"/>
                </a:cubicBezTo>
                <a:cubicBezTo>
                  <a:pt x="1141336" y="555417"/>
                  <a:pt x="1139343" y="555417"/>
                  <a:pt x="1139343" y="555417"/>
                </a:cubicBezTo>
                <a:cubicBezTo>
                  <a:pt x="1139343" y="553419"/>
                  <a:pt x="1139343" y="549423"/>
                  <a:pt x="1139343" y="549423"/>
                </a:cubicBezTo>
                <a:cubicBezTo>
                  <a:pt x="1137350" y="549423"/>
                  <a:pt x="1135357" y="549423"/>
                  <a:pt x="1135357" y="551421"/>
                </a:cubicBezTo>
                <a:cubicBezTo>
                  <a:pt x="1135357" y="553419"/>
                  <a:pt x="1133364" y="555417"/>
                  <a:pt x="1131371" y="555417"/>
                </a:cubicBezTo>
                <a:cubicBezTo>
                  <a:pt x="1131371" y="555417"/>
                  <a:pt x="1129378" y="551421"/>
                  <a:pt x="1127385" y="551421"/>
                </a:cubicBezTo>
                <a:cubicBezTo>
                  <a:pt x="1125392" y="551421"/>
                  <a:pt x="1123399" y="549423"/>
                  <a:pt x="1121406" y="549423"/>
                </a:cubicBezTo>
                <a:cubicBezTo>
                  <a:pt x="1119413" y="549423"/>
                  <a:pt x="1117419" y="551421"/>
                  <a:pt x="1117419" y="553419"/>
                </a:cubicBezTo>
                <a:cubicBezTo>
                  <a:pt x="1115426" y="555417"/>
                  <a:pt x="1115426" y="557415"/>
                  <a:pt x="1119413" y="559413"/>
                </a:cubicBezTo>
                <a:cubicBezTo>
                  <a:pt x="1123399" y="559413"/>
                  <a:pt x="1131371" y="557415"/>
                  <a:pt x="1131371" y="559413"/>
                </a:cubicBezTo>
                <a:cubicBezTo>
                  <a:pt x="1131371" y="563409"/>
                  <a:pt x="1131371" y="569402"/>
                  <a:pt x="1129378" y="571400"/>
                </a:cubicBezTo>
                <a:cubicBezTo>
                  <a:pt x="1129378" y="571400"/>
                  <a:pt x="1125392" y="571400"/>
                  <a:pt x="1123399" y="571400"/>
                </a:cubicBezTo>
                <a:cubicBezTo>
                  <a:pt x="1121406" y="571400"/>
                  <a:pt x="1119413" y="571400"/>
                  <a:pt x="1119413" y="573398"/>
                </a:cubicBezTo>
                <a:cubicBezTo>
                  <a:pt x="1119413" y="575396"/>
                  <a:pt x="1119413" y="577394"/>
                  <a:pt x="1117419" y="577394"/>
                </a:cubicBezTo>
                <a:cubicBezTo>
                  <a:pt x="1115426" y="575396"/>
                  <a:pt x="1113433" y="573398"/>
                  <a:pt x="1113433" y="573398"/>
                </a:cubicBezTo>
                <a:cubicBezTo>
                  <a:pt x="1111440" y="571400"/>
                  <a:pt x="1105461" y="571400"/>
                  <a:pt x="1103468" y="571400"/>
                </a:cubicBezTo>
                <a:cubicBezTo>
                  <a:pt x="1101475" y="569402"/>
                  <a:pt x="1095496" y="569402"/>
                  <a:pt x="1093503" y="565407"/>
                </a:cubicBezTo>
                <a:cubicBezTo>
                  <a:pt x="1091510" y="561411"/>
                  <a:pt x="1091510" y="553419"/>
                  <a:pt x="1089517" y="553419"/>
                </a:cubicBezTo>
                <a:cubicBezTo>
                  <a:pt x="1089517" y="551421"/>
                  <a:pt x="1085530" y="549423"/>
                  <a:pt x="1083537" y="549423"/>
                </a:cubicBezTo>
                <a:cubicBezTo>
                  <a:pt x="1081544" y="547425"/>
                  <a:pt x="1079551" y="545427"/>
                  <a:pt x="1077558" y="545427"/>
                </a:cubicBezTo>
                <a:cubicBezTo>
                  <a:pt x="1077558" y="543430"/>
                  <a:pt x="1073572" y="545427"/>
                  <a:pt x="1071579" y="543430"/>
                </a:cubicBezTo>
                <a:cubicBezTo>
                  <a:pt x="1069586" y="541432"/>
                  <a:pt x="1067593" y="539434"/>
                  <a:pt x="1067593" y="537436"/>
                </a:cubicBezTo>
                <a:cubicBezTo>
                  <a:pt x="1067593" y="537436"/>
                  <a:pt x="1061614" y="539434"/>
                  <a:pt x="1059621" y="539434"/>
                </a:cubicBezTo>
                <a:cubicBezTo>
                  <a:pt x="1057627" y="537436"/>
                  <a:pt x="1055634" y="537436"/>
                  <a:pt x="1053641" y="533440"/>
                </a:cubicBezTo>
                <a:cubicBezTo>
                  <a:pt x="1053641" y="529444"/>
                  <a:pt x="1061614" y="521453"/>
                  <a:pt x="1061614" y="517457"/>
                </a:cubicBezTo>
                <a:cubicBezTo>
                  <a:pt x="1063607" y="515459"/>
                  <a:pt x="1067593" y="509465"/>
                  <a:pt x="1067593" y="507467"/>
                </a:cubicBezTo>
                <a:cubicBezTo>
                  <a:pt x="1067593" y="505469"/>
                  <a:pt x="1067593" y="505469"/>
                  <a:pt x="1067593" y="503472"/>
                </a:cubicBezTo>
                <a:cubicBezTo>
                  <a:pt x="1065600" y="503472"/>
                  <a:pt x="1063607" y="503472"/>
                  <a:pt x="1061614" y="503472"/>
                </a:cubicBezTo>
                <a:cubicBezTo>
                  <a:pt x="1061614" y="505469"/>
                  <a:pt x="1057627" y="507467"/>
                  <a:pt x="1057627" y="509465"/>
                </a:cubicBezTo>
                <a:cubicBezTo>
                  <a:pt x="1057627" y="511463"/>
                  <a:pt x="1055634" y="511463"/>
                  <a:pt x="1053641" y="511463"/>
                </a:cubicBezTo>
                <a:cubicBezTo>
                  <a:pt x="1053641" y="511463"/>
                  <a:pt x="1051648" y="511463"/>
                  <a:pt x="1049655" y="513461"/>
                </a:cubicBezTo>
                <a:cubicBezTo>
                  <a:pt x="1049655" y="515459"/>
                  <a:pt x="1049655" y="517457"/>
                  <a:pt x="1045669" y="517457"/>
                </a:cubicBezTo>
                <a:cubicBezTo>
                  <a:pt x="1043676" y="517457"/>
                  <a:pt x="1037697" y="515459"/>
                  <a:pt x="1037697" y="515459"/>
                </a:cubicBezTo>
                <a:cubicBezTo>
                  <a:pt x="1035704" y="513461"/>
                  <a:pt x="1029726" y="511463"/>
                  <a:pt x="1027733" y="509465"/>
                </a:cubicBezTo>
                <a:cubicBezTo>
                  <a:pt x="1027733" y="507467"/>
                  <a:pt x="1023747" y="507467"/>
                  <a:pt x="1023747" y="505469"/>
                </a:cubicBezTo>
                <a:cubicBezTo>
                  <a:pt x="1023747" y="503472"/>
                  <a:pt x="1023747" y="503472"/>
                  <a:pt x="1021754" y="503472"/>
                </a:cubicBezTo>
                <a:cubicBezTo>
                  <a:pt x="1019761" y="501474"/>
                  <a:pt x="1019761" y="503472"/>
                  <a:pt x="1017768" y="503472"/>
                </a:cubicBezTo>
                <a:cubicBezTo>
                  <a:pt x="1015775" y="503472"/>
                  <a:pt x="1011789" y="501474"/>
                  <a:pt x="1011789" y="499476"/>
                </a:cubicBezTo>
                <a:cubicBezTo>
                  <a:pt x="1009795" y="497478"/>
                  <a:pt x="1007802" y="497478"/>
                  <a:pt x="1005810" y="497478"/>
                </a:cubicBezTo>
                <a:cubicBezTo>
                  <a:pt x="1003816" y="495480"/>
                  <a:pt x="989865" y="495480"/>
                  <a:pt x="989865" y="495480"/>
                </a:cubicBezTo>
                <a:cubicBezTo>
                  <a:pt x="989865" y="495480"/>
                  <a:pt x="979899" y="495480"/>
                  <a:pt x="975913" y="495480"/>
                </a:cubicBezTo>
                <a:cubicBezTo>
                  <a:pt x="973920" y="497478"/>
                  <a:pt x="969934" y="497478"/>
                  <a:pt x="969934" y="499476"/>
                </a:cubicBezTo>
                <a:cubicBezTo>
                  <a:pt x="967941" y="499476"/>
                  <a:pt x="963955" y="499476"/>
                  <a:pt x="961962" y="499476"/>
                </a:cubicBezTo>
                <a:cubicBezTo>
                  <a:pt x="959969" y="497478"/>
                  <a:pt x="959969" y="497478"/>
                  <a:pt x="957976" y="495480"/>
                </a:cubicBezTo>
                <a:cubicBezTo>
                  <a:pt x="955983" y="495480"/>
                  <a:pt x="955983" y="491484"/>
                  <a:pt x="955983" y="491484"/>
                </a:cubicBezTo>
                <a:cubicBezTo>
                  <a:pt x="955983" y="491484"/>
                  <a:pt x="951997" y="489486"/>
                  <a:pt x="951997" y="489486"/>
                </a:cubicBezTo>
                <a:cubicBezTo>
                  <a:pt x="951997" y="489486"/>
                  <a:pt x="950004" y="489486"/>
                  <a:pt x="948011" y="487488"/>
                </a:cubicBezTo>
                <a:cubicBezTo>
                  <a:pt x="948011" y="485490"/>
                  <a:pt x="950004" y="483492"/>
                  <a:pt x="950004" y="481495"/>
                </a:cubicBezTo>
                <a:cubicBezTo>
                  <a:pt x="950004" y="479497"/>
                  <a:pt x="948011" y="477499"/>
                  <a:pt x="948011" y="477499"/>
                </a:cubicBezTo>
                <a:cubicBezTo>
                  <a:pt x="946017" y="477499"/>
                  <a:pt x="940038" y="477499"/>
                  <a:pt x="938045" y="475501"/>
                </a:cubicBezTo>
                <a:cubicBezTo>
                  <a:pt x="936052" y="473503"/>
                  <a:pt x="934059" y="471505"/>
                  <a:pt x="934059" y="469507"/>
                </a:cubicBezTo>
                <a:cubicBezTo>
                  <a:pt x="932066" y="465511"/>
                  <a:pt x="932066" y="465511"/>
                  <a:pt x="930073" y="465511"/>
                </a:cubicBezTo>
                <a:cubicBezTo>
                  <a:pt x="928080" y="465511"/>
                  <a:pt x="924094" y="469507"/>
                  <a:pt x="924094" y="469507"/>
                </a:cubicBezTo>
                <a:cubicBezTo>
                  <a:pt x="924094" y="467509"/>
                  <a:pt x="924094" y="465511"/>
                  <a:pt x="924094" y="463513"/>
                </a:cubicBezTo>
                <a:cubicBezTo>
                  <a:pt x="922101" y="461516"/>
                  <a:pt x="922101" y="461516"/>
                  <a:pt x="920107" y="461516"/>
                </a:cubicBezTo>
                <a:cubicBezTo>
                  <a:pt x="918115" y="461516"/>
                  <a:pt x="914128" y="465511"/>
                  <a:pt x="914128" y="463513"/>
                </a:cubicBezTo>
                <a:cubicBezTo>
                  <a:pt x="912135" y="463513"/>
                  <a:pt x="910142" y="463513"/>
                  <a:pt x="910142" y="463513"/>
                </a:cubicBezTo>
                <a:cubicBezTo>
                  <a:pt x="910142" y="461516"/>
                  <a:pt x="912135" y="461516"/>
                  <a:pt x="914128" y="459518"/>
                </a:cubicBezTo>
                <a:cubicBezTo>
                  <a:pt x="916121" y="457520"/>
                  <a:pt x="918115" y="457520"/>
                  <a:pt x="918115" y="455522"/>
                </a:cubicBezTo>
                <a:cubicBezTo>
                  <a:pt x="918115" y="453524"/>
                  <a:pt x="918115" y="453524"/>
                  <a:pt x="918115" y="451526"/>
                </a:cubicBezTo>
                <a:cubicBezTo>
                  <a:pt x="916121" y="451526"/>
                  <a:pt x="916121" y="451526"/>
                  <a:pt x="916121" y="449528"/>
                </a:cubicBezTo>
                <a:cubicBezTo>
                  <a:pt x="918115" y="449528"/>
                  <a:pt x="920107" y="449528"/>
                  <a:pt x="922101" y="449528"/>
                </a:cubicBezTo>
                <a:cubicBezTo>
                  <a:pt x="924094" y="449528"/>
                  <a:pt x="926087" y="447530"/>
                  <a:pt x="926087" y="445532"/>
                </a:cubicBezTo>
                <a:cubicBezTo>
                  <a:pt x="926087" y="445532"/>
                  <a:pt x="924094" y="443534"/>
                  <a:pt x="924094" y="441537"/>
                </a:cubicBezTo>
                <a:cubicBezTo>
                  <a:pt x="922101" y="441537"/>
                  <a:pt x="920107" y="441537"/>
                  <a:pt x="918115" y="443534"/>
                </a:cubicBezTo>
                <a:cubicBezTo>
                  <a:pt x="918115" y="443534"/>
                  <a:pt x="914128" y="445532"/>
                  <a:pt x="914128" y="447530"/>
                </a:cubicBezTo>
                <a:cubicBezTo>
                  <a:pt x="912135" y="447530"/>
                  <a:pt x="906156" y="449528"/>
                  <a:pt x="904163" y="449528"/>
                </a:cubicBezTo>
                <a:cubicBezTo>
                  <a:pt x="902170" y="449528"/>
                  <a:pt x="898184" y="449528"/>
                  <a:pt x="898184" y="449528"/>
                </a:cubicBezTo>
                <a:cubicBezTo>
                  <a:pt x="894198" y="449528"/>
                  <a:pt x="892205" y="449528"/>
                  <a:pt x="892205" y="449528"/>
                </a:cubicBezTo>
                <a:cubicBezTo>
                  <a:pt x="892205" y="451526"/>
                  <a:pt x="890212" y="451526"/>
                  <a:pt x="890212" y="451526"/>
                </a:cubicBezTo>
                <a:cubicBezTo>
                  <a:pt x="888218" y="451526"/>
                  <a:pt x="884232" y="449528"/>
                  <a:pt x="882239" y="449528"/>
                </a:cubicBezTo>
                <a:cubicBezTo>
                  <a:pt x="880246" y="449528"/>
                  <a:pt x="876260" y="449528"/>
                  <a:pt x="876260" y="449528"/>
                </a:cubicBezTo>
                <a:cubicBezTo>
                  <a:pt x="876260" y="449528"/>
                  <a:pt x="876260" y="453524"/>
                  <a:pt x="876260" y="453524"/>
                </a:cubicBezTo>
                <a:cubicBezTo>
                  <a:pt x="874267" y="455522"/>
                  <a:pt x="870281" y="455522"/>
                  <a:pt x="868288" y="455522"/>
                </a:cubicBezTo>
                <a:cubicBezTo>
                  <a:pt x="868288" y="457520"/>
                  <a:pt x="868288" y="457520"/>
                  <a:pt x="868288" y="457520"/>
                </a:cubicBezTo>
                <a:cubicBezTo>
                  <a:pt x="870281" y="459518"/>
                  <a:pt x="872274" y="459518"/>
                  <a:pt x="874267" y="461516"/>
                </a:cubicBezTo>
                <a:cubicBezTo>
                  <a:pt x="876260" y="461516"/>
                  <a:pt x="876260" y="461516"/>
                  <a:pt x="876260" y="463513"/>
                </a:cubicBezTo>
                <a:cubicBezTo>
                  <a:pt x="874267" y="465511"/>
                  <a:pt x="874267" y="465511"/>
                  <a:pt x="870281" y="467509"/>
                </a:cubicBezTo>
                <a:cubicBezTo>
                  <a:pt x="868288" y="469507"/>
                  <a:pt x="866295" y="469507"/>
                  <a:pt x="868288" y="471505"/>
                </a:cubicBezTo>
                <a:cubicBezTo>
                  <a:pt x="868288" y="473503"/>
                  <a:pt x="870281" y="473503"/>
                  <a:pt x="872274" y="473503"/>
                </a:cubicBezTo>
                <a:cubicBezTo>
                  <a:pt x="872274" y="471505"/>
                  <a:pt x="872274" y="471505"/>
                  <a:pt x="874267" y="471505"/>
                </a:cubicBezTo>
                <a:cubicBezTo>
                  <a:pt x="876260" y="471505"/>
                  <a:pt x="876260" y="469507"/>
                  <a:pt x="876260" y="473503"/>
                </a:cubicBezTo>
                <a:cubicBezTo>
                  <a:pt x="876260" y="475501"/>
                  <a:pt x="876260" y="477499"/>
                  <a:pt x="876260" y="477499"/>
                </a:cubicBezTo>
                <a:cubicBezTo>
                  <a:pt x="872274" y="479497"/>
                  <a:pt x="872274" y="479497"/>
                  <a:pt x="872274" y="479497"/>
                </a:cubicBezTo>
                <a:cubicBezTo>
                  <a:pt x="872274" y="479497"/>
                  <a:pt x="870281" y="483492"/>
                  <a:pt x="868288" y="483492"/>
                </a:cubicBezTo>
                <a:cubicBezTo>
                  <a:pt x="868288" y="485490"/>
                  <a:pt x="866295" y="487488"/>
                  <a:pt x="864302" y="487488"/>
                </a:cubicBezTo>
                <a:cubicBezTo>
                  <a:pt x="864302" y="489486"/>
                  <a:pt x="862308" y="491484"/>
                  <a:pt x="862308" y="493482"/>
                </a:cubicBezTo>
                <a:cubicBezTo>
                  <a:pt x="862308" y="495480"/>
                  <a:pt x="862308" y="499476"/>
                  <a:pt x="860316" y="501474"/>
                </a:cubicBezTo>
                <a:cubicBezTo>
                  <a:pt x="860316" y="503472"/>
                  <a:pt x="852343" y="501474"/>
                  <a:pt x="850350" y="501474"/>
                </a:cubicBezTo>
                <a:cubicBezTo>
                  <a:pt x="848357" y="501474"/>
                  <a:pt x="844371" y="499476"/>
                  <a:pt x="842378" y="501474"/>
                </a:cubicBezTo>
                <a:cubicBezTo>
                  <a:pt x="842378" y="501474"/>
                  <a:pt x="840385" y="505469"/>
                  <a:pt x="838392" y="505469"/>
                </a:cubicBezTo>
                <a:cubicBezTo>
                  <a:pt x="838392" y="505469"/>
                  <a:pt x="834406" y="505469"/>
                  <a:pt x="832413" y="503472"/>
                </a:cubicBezTo>
                <a:cubicBezTo>
                  <a:pt x="832413" y="503472"/>
                  <a:pt x="830420" y="501474"/>
                  <a:pt x="830420" y="503472"/>
                </a:cubicBezTo>
                <a:cubicBezTo>
                  <a:pt x="830420" y="505469"/>
                  <a:pt x="830420" y="509465"/>
                  <a:pt x="830420" y="511463"/>
                </a:cubicBezTo>
                <a:cubicBezTo>
                  <a:pt x="828426" y="513461"/>
                  <a:pt x="824440" y="513461"/>
                  <a:pt x="822447" y="513461"/>
                </a:cubicBezTo>
                <a:cubicBezTo>
                  <a:pt x="820454" y="513461"/>
                  <a:pt x="816468" y="513461"/>
                  <a:pt x="816468" y="515459"/>
                </a:cubicBezTo>
                <a:cubicBezTo>
                  <a:pt x="814475" y="517457"/>
                  <a:pt x="812482" y="521453"/>
                  <a:pt x="810489" y="523451"/>
                </a:cubicBezTo>
                <a:cubicBezTo>
                  <a:pt x="810489" y="525448"/>
                  <a:pt x="806503" y="527446"/>
                  <a:pt x="804510" y="527446"/>
                </a:cubicBezTo>
                <a:cubicBezTo>
                  <a:pt x="802516" y="529444"/>
                  <a:pt x="800523" y="527446"/>
                  <a:pt x="798531" y="529444"/>
                </a:cubicBezTo>
                <a:cubicBezTo>
                  <a:pt x="796538" y="529444"/>
                  <a:pt x="796538" y="531442"/>
                  <a:pt x="796538" y="533440"/>
                </a:cubicBezTo>
                <a:cubicBezTo>
                  <a:pt x="794544" y="533440"/>
                  <a:pt x="790558" y="533440"/>
                  <a:pt x="788565" y="533440"/>
                </a:cubicBezTo>
                <a:cubicBezTo>
                  <a:pt x="788565" y="535438"/>
                  <a:pt x="788565" y="537436"/>
                  <a:pt x="788565" y="539434"/>
                </a:cubicBezTo>
                <a:cubicBezTo>
                  <a:pt x="786572" y="539434"/>
                  <a:pt x="784579" y="541432"/>
                  <a:pt x="782586" y="541432"/>
                </a:cubicBezTo>
                <a:cubicBezTo>
                  <a:pt x="780593" y="541432"/>
                  <a:pt x="780593" y="539434"/>
                  <a:pt x="780593" y="539434"/>
                </a:cubicBezTo>
                <a:cubicBezTo>
                  <a:pt x="776607" y="539434"/>
                  <a:pt x="776607" y="539434"/>
                  <a:pt x="774614" y="539434"/>
                </a:cubicBezTo>
                <a:cubicBezTo>
                  <a:pt x="774614" y="539434"/>
                  <a:pt x="772621" y="537436"/>
                  <a:pt x="770628" y="539434"/>
                </a:cubicBezTo>
                <a:cubicBezTo>
                  <a:pt x="770628" y="539434"/>
                  <a:pt x="764648" y="541432"/>
                  <a:pt x="762655" y="541432"/>
                </a:cubicBezTo>
                <a:cubicBezTo>
                  <a:pt x="762655" y="539434"/>
                  <a:pt x="760662" y="537436"/>
                  <a:pt x="760662" y="533440"/>
                </a:cubicBezTo>
                <a:cubicBezTo>
                  <a:pt x="762655" y="531442"/>
                  <a:pt x="766642" y="527446"/>
                  <a:pt x="766642" y="527446"/>
                </a:cubicBezTo>
                <a:cubicBezTo>
                  <a:pt x="768634" y="527446"/>
                  <a:pt x="770628" y="527446"/>
                  <a:pt x="772621" y="525448"/>
                </a:cubicBezTo>
                <a:cubicBezTo>
                  <a:pt x="772621" y="525448"/>
                  <a:pt x="770628" y="523451"/>
                  <a:pt x="774614" y="523451"/>
                </a:cubicBezTo>
                <a:cubicBezTo>
                  <a:pt x="776607" y="523451"/>
                  <a:pt x="778600" y="525448"/>
                  <a:pt x="780593" y="523451"/>
                </a:cubicBezTo>
                <a:cubicBezTo>
                  <a:pt x="780593" y="521453"/>
                  <a:pt x="780593" y="521453"/>
                  <a:pt x="780593" y="519455"/>
                </a:cubicBezTo>
                <a:cubicBezTo>
                  <a:pt x="782586" y="517457"/>
                  <a:pt x="788565" y="515459"/>
                  <a:pt x="790558" y="513461"/>
                </a:cubicBezTo>
                <a:cubicBezTo>
                  <a:pt x="792551" y="513461"/>
                  <a:pt x="792551" y="511463"/>
                  <a:pt x="790558" y="511463"/>
                </a:cubicBezTo>
                <a:cubicBezTo>
                  <a:pt x="788565" y="511463"/>
                  <a:pt x="786572" y="511463"/>
                  <a:pt x="784579" y="511463"/>
                </a:cubicBezTo>
                <a:cubicBezTo>
                  <a:pt x="784579" y="513461"/>
                  <a:pt x="776607" y="515459"/>
                  <a:pt x="774614" y="513461"/>
                </a:cubicBezTo>
                <a:cubicBezTo>
                  <a:pt x="774614" y="511463"/>
                  <a:pt x="774614" y="503472"/>
                  <a:pt x="776607" y="501474"/>
                </a:cubicBezTo>
                <a:cubicBezTo>
                  <a:pt x="776607" y="499476"/>
                  <a:pt x="778600" y="495480"/>
                  <a:pt x="780593" y="495480"/>
                </a:cubicBezTo>
                <a:cubicBezTo>
                  <a:pt x="782586" y="493482"/>
                  <a:pt x="784579" y="491484"/>
                  <a:pt x="784579" y="489486"/>
                </a:cubicBezTo>
                <a:cubicBezTo>
                  <a:pt x="786572" y="487488"/>
                  <a:pt x="788565" y="483492"/>
                  <a:pt x="788565" y="481495"/>
                </a:cubicBezTo>
                <a:cubicBezTo>
                  <a:pt x="790558" y="479497"/>
                  <a:pt x="790558" y="477499"/>
                  <a:pt x="792551" y="477499"/>
                </a:cubicBezTo>
                <a:cubicBezTo>
                  <a:pt x="794544" y="475501"/>
                  <a:pt x="794544" y="477499"/>
                  <a:pt x="796538" y="473503"/>
                </a:cubicBezTo>
                <a:cubicBezTo>
                  <a:pt x="796538" y="471505"/>
                  <a:pt x="796538" y="469507"/>
                  <a:pt x="796538" y="467509"/>
                </a:cubicBezTo>
                <a:cubicBezTo>
                  <a:pt x="796538" y="465511"/>
                  <a:pt x="796538" y="461516"/>
                  <a:pt x="798531" y="459518"/>
                </a:cubicBezTo>
                <a:cubicBezTo>
                  <a:pt x="800523" y="457520"/>
                  <a:pt x="802516" y="457520"/>
                  <a:pt x="804510" y="455522"/>
                </a:cubicBezTo>
                <a:cubicBezTo>
                  <a:pt x="806503" y="455522"/>
                  <a:pt x="806503" y="457520"/>
                  <a:pt x="808496" y="455522"/>
                </a:cubicBezTo>
                <a:cubicBezTo>
                  <a:pt x="808496" y="453524"/>
                  <a:pt x="810489" y="451526"/>
                  <a:pt x="812482" y="449528"/>
                </a:cubicBezTo>
                <a:cubicBezTo>
                  <a:pt x="812482" y="449528"/>
                  <a:pt x="814475" y="447530"/>
                  <a:pt x="816468" y="447530"/>
                </a:cubicBezTo>
                <a:cubicBezTo>
                  <a:pt x="820454" y="447530"/>
                  <a:pt x="820454" y="449528"/>
                  <a:pt x="822447" y="447530"/>
                </a:cubicBezTo>
                <a:cubicBezTo>
                  <a:pt x="826434" y="447530"/>
                  <a:pt x="826434" y="445532"/>
                  <a:pt x="828426" y="445532"/>
                </a:cubicBezTo>
                <a:cubicBezTo>
                  <a:pt x="830420" y="445532"/>
                  <a:pt x="834406" y="445532"/>
                  <a:pt x="834406" y="447530"/>
                </a:cubicBezTo>
                <a:cubicBezTo>
                  <a:pt x="834406" y="447530"/>
                  <a:pt x="832413" y="451526"/>
                  <a:pt x="832413" y="453524"/>
                </a:cubicBezTo>
                <a:cubicBezTo>
                  <a:pt x="832413" y="453524"/>
                  <a:pt x="834406" y="455522"/>
                  <a:pt x="836399" y="453524"/>
                </a:cubicBezTo>
                <a:cubicBezTo>
                  <a:pt x="838392" y="453524"/>
                  <a:pt x="838392" y="449528"/>
                  <a:pt x="838392" y="449528"/>
                </a:cubicBezTo>
                <a:cubicBezTo>
                  <a:pt x="840385" y="449528"/>
                  <a:pt x="842378" y="449528"/>
                  <a:pt x="844371" y="449528"/>
                </a:cubicBezTo>
                <a:cubicBezTo>
                  <a:pt x="844371" y="449528"/>
                  <a:pt x="846364" y="449528"/>
                  <a:pt x="848357" y="451526"/>
                </a:cubicBezTo>
                <a:cubicBezTo>
                  <a:pt x="850350" y="453524"/>
                  <a:pt x="852343" y="455522"/>
                  <a:pt x="852343" y="453524"/>
                </a:cubicBezTo>
                <a:cubicBezTo>
                  <a:pt x="854337" y="453524"/>
                  <a:pt x="854337" y="449528"/>
                  <a:pt x="852343" y="449528"/>
                </a:cubicBezTo>
                <a:cubicBezTo>
                  <a:pt x="852343" y="449528"/>
                  <a:pt x="850350" y="447530"/>
                  <a:pt x="850350" y="447530"/>
                </a:cubicBezTo>
                <a:cubicBezTo>
                  <a:pt x="848357" y="445532"/>
                  <a:pt x="846364" y="443534"/>
                  <a:pt x="846364" y="439539"/>
                </a:cubicBezTo>
                <a:cubicBezTo>
                  <a:pt x="846364" y="437541"/>
                  <a:pt x="848357" y="435543"/>
                  <a:pt x="850350" y="433545"/>
                </a:cubicBezTo>
                <a:cubicBezTo>
                  <a:pt x="850350" y="433545"/>
                  <a:pt x="852343" y="431547"/>
                  <a:pt x="852343" y="431547"/>
                </a:cubicBezTo>
                <a:cubicBezTo>
                  <a:pt x="852343" y="431547"/>
                  <a:pt x="848357" y="431547"/>
                  <a:pt x="846364" y="431547"/>
                </a:cubicBezTo>
                <a:cubicBezTo>
                  <a:pt x="846364" y="431547"/>
                  <a:pt x="838392" y="433545"/>
                  <a:pt x="836399" y="433545"/>
                </a:cubicBezTo>
                <a:cubicBezTo>
                  <a:pt x="834406" y="433545"/>
                  <a:pt x="830420" y="435543"/>
                  <a:pt x="826434" y="435543"/>
                </a:cubicBezTo>
                <a:cubicBezTo>
                  <a:pt x="824440" y="435543"/>
                  <a:pt x="820454" y="437541"/>
                  <a:pt x="818461" y="439539"/>
                </a:cubicBezTo>
                <a:cubicBezTo>
                  <a:pt x="814475" y="439539"/>
                  <a:pt x="808496" y="445532"/>
                  <a:pt x="806503" y="447530"/>
                </a:cubicBezTo>
                <a:cubicBezTo>
                  <a:pt x="804510" y="447530"/>
                  <a:pt x="800523" y="451526"/>
                  <a:pt x="800523" y="451526"/>
                </a:cubicBezTo>
                <a:cubicBezTo>
                  <a:pt x="798531" y="453524"/>
                  <a:pt x="796538" y="453524"/>
                  <a:pt x="794544" y="453524"/>
                </a:cubicBezTo>
                <a:cubicBezTo>
                  <a:pt x="792551" y="451526"/>
                  <a:pt x="790558" y="453524"/>
                  <a:pt x="790558" y="453524"/>
                </a:cubicBezTo>
                <a:cubicBezTo>
                  <a:pt x="788565" y="453524"/>
                  <a:pt x="790558" y="457520"/>
                  <a:pt x="790558" y="459518"/>
                </a:cubicBezTo>
                <a:cubicBezTo>
                  <a:pt x="788565" y="461516"/>
                  <a:pt x="788565" y="463513"/>
                  <a:pt x="786572" y="463513"/>
                </a:cubicBezTo>
                <a:cubicBezTo>
                  <a:pt x="784579" y="465511"/>
                  <a:pt x="780593" y="465511"/>
                  <a:pt x="778600" y="467509"/>
                </a:cubicBezTo>
                <a:cubicBezTo>
                  <a:pt x="778600" y="469507"/>
                  <a:pt x="774614" y="471505"/>
                  <a:pt x="774614" y="473503"/>
                </a:cubicBezTo>
                <a:cubicBezTo>
                  <a:pt x="774614" y="477499"/>
                  <a:pt x="770628" y="483492"/>
                  <a:pt x="770628" y="483492"/>
                </a:cubicBezTo>
                <a:cubicBezTo>
                  <a:pt x="768634" y="485490"/>
                  <a:pt x="766642" y="487488"/>
                  <a:pt x="764648" y="487488"/>
                </a:cubicBezTo>
                <a:cubicBezTo>
                  <a:pt x="762655" y="487488"/>
                  <a:pt x="760662" y="489486"/>
                  <a:pt x="758670" y="489486"/>
                </a:cubicBezTo>
                <a:cubicBezTo>
                  <a:pt x="758670" y="487488"/>
                  <a:pt x="756676" y="485490"/>
                  <a:pt x="754683" y="487488"/>
                </a:cubicBezTo>
                <a:cubicBezTo>
                  <a:pt x="754683" y="489486"/>
                  <a:pt x="758670" y="491484"/>
                  <a:pt x="758670" y="491484"/>
                </a:cubicBezTo>
                <a:cubicBezTo>
                  <a:pt x="758670" y="493482"/>
                  <a:pt x="758670" y="495480"/>
                  <a:pt x="758670" y="497478"/>
                </a:cubicBezTo>
                <a:cubicBezTo>
                  <a:pt x="756676" y="499476"/>
                  <a:pt x="750697" y="501474"/>
                  <a:pt x="750697" y="503472"/>
                </a:cubicBezTo>
                <a:cubicBezTo>
                  <a:pt x="748704" y="503472"/>
                  <a:pt x="746711" y="507467"/>
                  <a:pt x="744718" y="509465"/>
                </a:cubicBezTo>
                <a:cubicBezTo>
                  <a:pt x="744718" y="509465"/>
                  <a:pt x="742725" y="511463"/>
                  <a:pt x="740731" y="511463"/>
                </a:cubicBezTo>
                <a:cubicBezTo>
                  <a:pt x="738738" y="511463"/>
                  <a:pt x="734752" y="511463"/>
                  <a:pt x="732760" y="513461"/>
                </a:cubicBezTo>
                <a:cubicBezTo>
                  <a:pt x="730766" y="513461"/>
                  <a:pt x="726780" y="515459"/>
                  <a:pt x="726780" y="517457"/>
                </a:cubicBezTo>
                <a:cubicBezTo>
                  <a:pt x="726780" y="519455"/>
                  <a:pt x="726780" y="521453"/>
                  <a:pt x="726780" y="521453"/>
                </a:cubicBezTo>
                <a:cubicBezTo>
                  <a:pt x="724787" y="521453"/>
                  <a:pt x="724787" y="521453"/>
                  <a:pt x="724787" y="523451"/>
                </a:cubicBezTo>
                <a:cubicBezTo>
                  <a:pt x="724787" y="523451"/>
                  <a:pt x="722794" y="523451"/>
                  <a:pt x="722794" y="523451"/>
                </a:cubicBezTo>
                <a:cubicBezTo>
                  <a:pt x="720801" y="527446"/>
                  <a:pt x="720801" y="527446"/>
                  <a:pt x="720801" y="527446"/>
                </a:cubicBezTo>
                <a:cubicBezTo>
                  <a:pt x="720801" y="527446"/>
                  <a:pt x="718808" y="527446"/>
                  <a:pt x="718808" y="529444"/>
                </a:cubicBezTo>
                <a:cubicBezTo>
                  <a:pt x="716815" y="529444"/>
                  <a:pt x="718808" y="531442"/>
                  <a:pt x="716815" y="533440"/>
                </a:cubicBezTo>
                <a:cubicBezTo>
                  <a:pt x="714822" y="533440"/>
                  <a:pt x="712829" y="535438"/>
                  <a:pt x="710836" y="535438"/>
                </a:cubicBezTo>
                <a:cubicBezTo>
                  <a:pt x="710836" y="537436"/>
                  <a:pt x="708843" y="537436"/>
                  <a:pt x="708843" y="539434"/>
                </a:cubicBezTo>
                <a:cubicBezTo>
                  <a:pt x="708843" y="541432"/>
                  <a:pt x="712829" y="541432"/>
                  <a:pt x="714822" y="543430"/>
                </a:cubicBezTo>
                <a:cubicBezTo>
                  <a:pt x="716815" y="543430"/>
                  <a:pt x="720801" y="545427"/>
                  <a:pt x="722794" y="547425"/>
                </a:cubicBezTo>
                <a:cubicBezTo>
                  <a:pt x="724787" y="549423"/>
                  <a:pt x="726780" y="553419"/>
                  <a:pt x="726780" y="555417"/>
                </a:cubicBezTo>
                <a:cubicBezTo>
                  <a:pt x="726780" y="557415"/>
                  <a:pt x="722794" y="559413"/>
                  <a:pt x="718808" y="559413"/>
                </a:cubicBezTo>
                <a:cubicBezTo>
                  <a:pt x="716815" y="559413"/>
                  <a:pt x="714822" y="563409"/>
                  <a:pt x="712829" y="563409"/>
                </a:cubicBezTo>
                <a:cubicBezTo>
                  <a:pt x="708843" y="563409"/>
                  <a:pt x="704857" y="563409"/>
                  <a:pt x="702863" y="565407"/>
                </a:cubicBezTo>
                <a:cubicBezTo>
                  <a:pt x="702863" y="567404"/>
                  <a:pt x="700870" y="569402"/>
                  <a:pt x="698877" y="571400"/>
                </a:cubicBezTo>
                <a:cubicBezTo>
                  <a:pt x="698877" y="571400"/>
                  <a:pt x="694891" y="571400"/>
                  <a:pt x="694891" y="575396"/>
                </a:cubicBezTo>
                <a:cubicBezTo>
                  <a:pt x="694891" y="579392"/>
                  <a:pt x="694891" y="579392"/>
                  <a:pt x="692898" y="579392"/>
                </a:cubicBezTo>
                <a:cubicBezTo>
                  <a:pt x="690905" y="581390"/>
                  <a:pt x="686919" y="579392"/>
                  <a:pt x="686919" y="581390"/>
                </a:cubicBezTo>
                <a:cubicBezTo>
                  <a:pt x="686919" y="581390"/>
                  <a:pt x="684926" y="583388"/>
                  <a:pt x="682933" y="585386"/>
                </a:cubicBezTo>
                <a:cubicBezTo>
                  <a:pt x="682933" y="587383"/>
                  <a:pt x="678946" y="587383"/>
                  <a:pt x="676953" y="587383"/>
                </a:cubicBezTo>
                <a:cubicBezTo>
                  <a:pt x="672967" y="587383"/>
                  <a:pt x="672967" y="587383"/>
                  <a:pt x="672967" y="587383"/>
                </a:cubicBezTo>
                <a:cubicBezTo>
                  <a:pt x="670974" y="589381"/>
                  <a:pt x="668981" y="589381"/>
                  <a:pt x="668981" y="591379"/>
                </a:cubicBezTo>
                <a:cubicBezTo>
                  <a:pt x="666988" y="593377"/>
                  <a:pt x="666988" y="595375"/>
                  <a:pt x="664995" y="595375"/>
                </a:cubicBezTo>
                <a:cubicBezTo>
                  <a:pt x="663002" y="597373"/>
                  <a:pt x="659016" y="595375"/>
                  <a:pt x="657023" y="595375"/>
                </a:cubicBezTo>
                <a:cubicBezTo>
                  <a:pt x="655030" y="597373"/>
                  <a:pt x="653036" y="599371"/>
                  <a:pt x="653036" y="599371"/>
                </a:cubicBezTo>
                <a:cubicBezTo>
                  <a:pt x="653036" y="601369"/>
                  <a:pt x="653036" y="603367"/>
                  <a:pt x="649051" y="603367"/>
                </a:cubicBezTo>
                <a:cubicBezTo>
                  <a:pt x="647057" y="603367"/>
                  <a:pt x="645064" y="603367"/>
                  <a:pt x="643071" y="603367"/>
                </a:cubicBezTo>
                <a:cubicBezTo>
                  <a:pt x="643071" y="605365"/>
                  <a:pt x="643071" y="605365"/>
                  <a:pt x="641078" y="607362"/>
                </a:cubicBezTo>
                <a:cubicBezTo>
                  <a:pt x="639085" y="607362"/>
                  <a:pt x="637092" y="609360"/>
                  <a:pt x="635099" y="609360"/>
                </a:cubicBezTo>
                <a:cubicBezTo>
                  <a:pt x="635099" y="611358"/>
                  <a:pt x="631113" y="611358"/>
                  <a:pt x="631113" y="613356"/>
                </a:cubicBezTo>
                <a:cubicBezTo>
                  <a:pt x="631113" y="617352"/>
                  <a:pt x="631113" y="621348"/>
                  <a:pt x="631113" y="621348"/>
                </a:cubicBezTo>
                <a:cubicBezTo>
                  <a:pt x="631113" y="623346"/>
                  <a:pt x="629120" y="623346"/>
                  <a:pt x="627127" y="625344"/>
                </a:cubicBezTo>
                <a:cubicBezTo>
                  <a:pt x="625134" y="625344"/>
                  <a:pt x="623140" y="625344"/>
                  <a:pt x="623140" y="627342"/>
                </a:cubicBezTo>
                <a:cubicBezTo>
                  <a:pt x="623140" y="629339"/>
                  <a:pt x="623140" y="629339"/>
                  <a:pt x="621147" y="629339"/>
                </a:cubicBezTo>
                <a:cubicBezTo>
                  <a:pt x="619155" y="629339"/>
                  <a:pt x="617161" y="627342"/>
                  <a:pt x="615169" y="629339"/>
                </a:cubicBezTo>
                <a:cubicBezTo>
                  <a:pt x="613175" y="629339"/>
                  <a:pt x="613175" y="631337"/>
                  <a:pt x="611182" y="631337"/>
                </a:cubicBezTo>
                <a:cubicBezTo>
                  <a:pt x="611182" y="633335"/>
                  <a:pt x="611182" y="635333"/>
                  <a:pt x="609189" y="635333"/>
                </a:cubicBezTo>
                <a:cubicBezTo>
                  <a:pt x="605203" y="635333"/>
                  <a:pt x="605203" y="635333"/>
                  <a:pt x="603210" y="633335"/>
                </a:cubicBezTo>
                <a:cubicBezTo>
                  <a:pt x="603210" y="631337"/>
                  <a:pt x="601217" y="631337"/>
                  <a:pt x="601217" y="633335"/>
                </a:cubicBezTo>
                <a:cubicBezTo>
                  <a:pt x="599224" y="633335"/>
                  <a:pt x="601217" y="635333"/>
                  <a:pt x="597231" y="635333"/>
                </a:cubicBezTo>
                <a:cubicBezTo>
                  <a:pt x="595237" y="635333"/>
                  <a:pt x="595237" y="635333"/>
                  <a:pt x="595237" y="637331"/>
                </a:cubicBezTo>
                <a:cubicBezTo>
                  <a:pt x="595237" y="637331"/>
                  <a:pt x="593245" y="641327"/>
                  <a:pt x="593245" y="641327"/>
                </a:cubicBezTo>
                <a:cubicBezTo>
                  <a:pt x="591252" y="643325"/>
                  <a:pt x="589259" y="641327"/>
                  <a:pt x="589259" y="641327"/>
                </a:cubicBezTo>
                <a:cubicBezTo>
                  <a:pt x="589259" y="641327"/>
                  <a:pt x="587265" y="639329"/>
                  <a:pt x="585272" y="639329"/>
                </a:cubicBezTo>
                <a:cubicBezTo>
                  <a:pt x="585272" y="639329"/>
                  <a:pt x="585272" y="641327"/>
                  <a:pt x="583279" y="643325"/>
                </a:cubicBezTo>
                <a:cubicBezTo>
                  <a:pt x="583279" y="643325"/>
                  <a:pt x="581286" y="645323"/>
                  <a:pt x="579293" y="645323"/>
                </a:cubicBezTo>
                <a:cubicBezTo>
                  <a:pt x="577300" y="645323"/>
                  <a:pt x="575307" y="645323"/>
                  <a:pt x="575307" y="643325"/>
                </a:cubicBezTo>
                <a:cubicBezTo>
                  <a:pt x="573314" y="643325"/>
                  <a:pt x="573314" y="643325"/>
                  <a:pt x="571321" y="645323"/>
                </a:cubicBezTo>
                <a:cubicBezTo>
                  <a:pt x="571321" y="647321"/>
                  <a:pt x="573314" y="649318"/>
                  <a:pt x="573314" y="651316"/>
                </a:cubicBezTo>
                <a:cubicBezTo>
                  <a:pt x="573314" y="653314"/>
                  <a:pt x="571321" y="655312"/>
                  <a:pt x="569328" y="655312"/>
                </a:cubicBezTo>
                <a:cubicBezTo>
                  <a:pt x="569328" y="655312"/>
                  <a:pt x="565342" y="655312"/>
                  <a:pt x="563349" y="655312"/>
                </a:cubicBezTo>
                <a:cubicBezTo>
                  <a:pt x="563349" y="657310"/>
                  <a:pt x="561355" y="659308"/>
                  <a:pt x="561355" y="661306"/>
                </a:cubicBezTo>
                <a:cubicBezTo>
                  <a:pt x="559363" y="663304"/>
                  <a:pt x="557370" y="665302"/>
                  <a:pt x="557370" y="663304"/>
                </a:cubicBezTo>
                <a:cubicBezTo>
                  <a:pt x="555376" y="663304"/>
                  <a:pt x="555376" y="661306"/>
                  <a:pt x="553383" y="661306"/>
                </a:cubicBezTo>
                <a:cubicBezTo>
                  <a:pt x="551390" y="661306"/>
                  <a:pt x="551390" y="663304"/>
                  <a:pt x="549397" y="663304"/>
                </a:cubicBezTo>
                <a:cubicBezTo>
                  <a:pt x="547404" y="665302"/>
                  <a:pt x="545411" y="665302"/>
                  <a:pt x="545411" y="665302"/>
                </a:cubicBezTo>
                <a:cubicBezTo>
                  <a:pt x="545411" y="665302"/>
                  <a:pt x="539432" y="667300"/>
                  <a:pt x="537439" y="669297"/>
                </a:cubicBezTo>
                <a:cubicBezTo>
                  <a:pt x="535446" y="669297"/>
                  <a:pt x="535446" y="669297"/>
                  <a:pt x="535446" y="673293"/>
                </a:cubicBezTo>
                <a:cubicBezTo>
                  <a:pt x="533453" y="673293"/>
                  <a:pt x="535446" y="675291"/>
                  <a:pt x="533453" y="675291"/>
                </a:cubicBezTo>
                <a:cubicBezTo>
                  <a:pt x="531460" y="675291"/>
                  <a:pt x="531460" y="675291"/>
                  <a:pt x="531460" y="673293"/>
                </a:cubicBezTo>
                <a:cubicBezTo>
                  <a:pt x="531460" y="671295"/>
                  <a:pt x="533453" y="669297"/>
                  <a:pt x="533453" y="667300"/>
                </a:cubicBezTo>
                <a:cubicBezTo>
                  <a:pt x="531460" y="665302"/>
                  <a:pt x="531460" y="665302"/>
                  <a:pt x="529467" y="667300"/>
                </a:cubicBezTo>
                <a:cubicBezTo>
                  <a:pt x="527474" y="667300"/>
                  <a:pt x="525480" y="669297"/>
                  <a:pt x="523487" y="669297"/>
                </a:cubicBezTo>
                <a:cubicBezTo>
                  <a:pt x="521494" y="671295"/>
                  <a:pt x="517508" y="673293"/>
                  <a:pt x="517508" y="673293"/>
                </a:cubicBezTo>
                <a:cubicBezTo>
                  <a:pt x="515515" y="673293"/>
                  <a:pt x="515515" y="673293"/>
                  <a:pt x="513522" y="673293"/>
                </a:cubicBezTo>
                <a:cubicBezTo>
                  <a:pt x="513522" y="675291"/>
                  <a:pt x="513522" y="677289"/>
                  <a:pt x="511529" y="677289"/>
                </a:cubicBezTo>
                <a:cubicBezTo>
                  <a:pt x="509536" y="677289"/>
                  <a:pt x="507543" y="677289"/>
                  <a:pt x="505550" y="679287"/>
                </a:cubicBezTo>
                <a:cubicBezTo>
                  <a:pt x="503557" y="681285"/>
                  <a:pt x="503557" y="681285"/>
                  <a:pt x="505550" y="685281"/>
                </a:cubicBezTo>
                <a:cubicBezTo>
                  <a:pt x="505550" y="687279"/>
                  <a:pt x="505550" y="693272"/>
                  <a:pt x="505550" y="693272"/>
                </a:cubicBezTo>
                <a:cubicBezTo>
                  <a:pt x="503557" y="695270"/>
                  <a:pt x="499571" y="693272"/>
                  <a:pt x="499571" y="693272"/>
                </a:cubicBezTo>
                <a:cubicBezTo>
                  <a:pt x="497577" y="691274"/>
                  <a:pt x="497577" y="687279"/>
                  <a:pt x="497577" y="685281"/>
                </a:cubicBezTo>
                <a:cubicBezTo>
                  <a:pt x="499571" y="683283"/>
                  <a:pt x="499571" y="681285"/>
                  <a:pt x="499571" y="681285"/>
                </a:cubicBezTo>
                <a:cubicBezTo>
                  <a:pt x="497577" y="679287"/>
                  <a:pt x="493591" y="681285"/>
                  <a:pt x="493591" y="681285"/>
                </a:cubicBezTo>
                <a:cubicBezTo>
                  <a:pt x="493591" y="681285"/>
                  <a:pt x="491598" y="683283"/>
                  <a:pt x="489605" y="683283"/>
                </a:cubicBezTo>
                <a:cubicBezTo>
                  <a:pt x="485619" y="683283"/>
                  <a:pt x="485619" y="681285"/>
                  <a:pt x="483626" y="681285"/>
                </a:cubicBezTo>
                <a:cubicBezTo>
                  <a:pt x="483626" y="681285"/>
                  <a:pt x="485619" y="677289"/>
                  <a:pt x="483626" y="677289"/>
                </a:cubicBezTo>
                <a:cubicBezTo>
                  <a:pt x="483626" y="675291"/>
                  <a:pt x="481633" y="673293"/>
                  <a:pt x="481633" y="675291"/>
                </a:cubicBezTo>
                <a:cubicBezTo>
                  <a:pt x="479640" y="675291"/>
                  <a:pt x="475654" y="679287"/>
                  <a:pt x="475654" y="679287"/>
                </a:cubicBezTo>
                <a:cubicBezTo>
                  <a:pt x="475654" y="681285"/>
                  <a:pt x="473661" y="683283"/>
                  <a:pt x="471668" y="685281"/>
                </a:cubicBezTo>
                <a:cubicBezTo>
                  <a:pt x="471668" y="685281"/>
                  <a:pt x="469675" y="687279"/>
                  <a:pt x="467682" y="689277"/>
                </a:cubicBezTo>
                <a:cubicBezTo>
                  <a:pt x="465688" y="689277"/>
                  <a:pt x="463695" y="691274"/>
                  <a:pt x="459709" y="691274"/>
                </a:cubicBezTo>
                <a:cubicBezTo>
                  <a:pt x="457716" y="691274"/>
                  <a:pt x="455723" y="693272"/>
                  <a:pt x="455723" y="689277"/>
                </a:cubicBezTo>
                <a:cubicBezTo>
                  <a:pt x="455723" y="687279"/>
                  <a:pt x="457716" y="685281"/>
                  <a:pt x="455723" y="685281"/>
                </a:cubicBezTo>
                <a:cubicBezTo>
                  <a:pt x="453730" y="685281"/>
                  <a:pt x="451737" y="687279"/>
                  <a:pt x="449744" y="689277"/>
                </a:cubicBezTo>
                <a:cubicBezTo>
                  <a:pt x="449744" y="689277"/>
                  <a:pt x="449744" y="695270"/>
                  <a:pt x="447751" y="695270"/>
                </a:cubicBezTo>
                <a:cubicBezTo>
                  <a:pt x="447751" y="697268"/>
                  <a:pt x="445758" y="695270"/>
                  <a:pt x="443765" y="693272"/>
                </a:cubicBezTo>
                <a:cubicBezTo>
                  <a:pt x="443765" y="693272"/>
                  <a:pt x="439779" y="693272"/>
                  <a:pt x="439779" y="695270"/>
                </a:cubicBezTo>
                <a:cubicBezTo>
                  <a:pt x="439779" y="697268"/>
                  <a:pt x="441772" y="701264"/>
                  <a:pt x="439779" y="703262"/>
                </a:cubicBezTo>
                <a:cubicBezTo>
                  <a:pt x="437785" y="703262"/>
                  <a:pt x="435792" y="703262"/>
                  <a:pt x="433799" y="699266"/>
                </a:cubicBezTo>
                <a:cubicBezTo>
                  <a:pt x="433799" y="697268"/>
                  <a:pt x="437785" y="689277"/>
                  <a:pt x="437785" y="689277"/>
                </a:cubicBezTo>
                <a:cubicBezTo>
                  <a:pt x="437785" y="687279"/>
                  <a:pt x="439779" y="685281"/>
                  <a:pt x="443765" y="685281"/>
                </a:cubicBezTo>
                <a:cubicBezTo>
                  <a:pt x="445758" y="685281"/>
                  <a:pt x="447751" y="685281"/>
                  <a:pt x="449744" y="685281"/>
                </a:cubicBezTo>
                <a:cubicBezTo>
                  <a:pt x="449744" y="683283"/>
                  <a:pt x="449744" y="679287"/>
                  <a:pt x="451737" y="679287"/>
                </a:cubicBezTo>
                <a:cubicBezTo>
                  <a:pt x="453730" y="679287"/>
                  <a:pt x="457716" y="681285"/>
                  <a:pt x="457716" y="679287"/>
                </a:cubicBezTo>
                <a:cubicBezTo>
                  <a:pt x="459709" y="677289"/>
                  <a:pt x="459709" y="673293"/>
                  <a:pt x="461702" y="673293"/>
                </a:cubicBezTo>
                <a:cubicBezTo>
                  <a:pt x="463695" y="671295"/>
                  <a:pt x="467682" y="669297"/>
                  <a:pt x="471668" y="669297"/>
                </a:cubicBezTo>
                <a:cubicBezTo>
                  <a:pt x="471668" y="669297"/>
                  <a:pt x="479640" y="663304"/>
                  <a:pt x="481633" y="661306"/>
                </a:cubicBezTo>
                <a:cubicBezTo>
                  <a:pt x="483626" y="661306"/>
                  <a:pt x="489605" y="659308"/>
                  <a:pt x="491598" y="659308"/>
                </a:cubicBezTo>
                <a:cubicBezTo>
                  <a:pt x="493591" y="659308"/>
                  <a:pt x="495584" y="659308"/>
                  <a:pt x="497577" y="661306"/>
                </a:cubicBezTo>
                <a:cubicBezTo>
                  <a:pt x="499571" y="663304"/>
                  <a:pt x="501564" y="665302"/>
                  <a:pt x="503557" y="665302"/>
                </a:cubicBezTo>
                <a:cubicBezTo>
                  <a:pt x="505550" y="667300"/>
                  <a:pt x="507543" y="665302"/>
                  <a:pt x="509536" y="663304"/>
                </a:cubicBezTo>
                <a:cubicBezTo>
                  <a:pt x="509536" y="661306"/>
                  <a:pt x="513522" y="659308"/>
                  <a:pt x="515515" y="657310"/>
                </a:cubicBezTo>
                <a:cubicBezTo>
                  <a:pt x="519501" y="655312"/>
                  <a:pt x="523487" y="651316"/>
                  <a:pt x="525480" y="651316"/>
                </a:cubicBezTo>
                <a:cubicBezTo>
                  <a:pt x="527474" y="649318"/>
                  <a:pt x="533453" y="641327"/>
                  <a:pt x="535446" y="639329"/>
                </a:cubicBezTo>
                <a:cubicBezTo>
                  <a:pt x="539432" y="637331"/>
                  <a:pt x="547404" y="635333"/>
                  <a:pt x="549397" y="635333"/>
                </a:cubicBezTo>
                <a:cubicBezTo>
                  <a:pt x="551390" y="633335"/>
                  <a:pt x="553383" y="633335"/>
                  <a:pt x="555376" y="631337"/>
                </a:cubicBezTo>
                <a:cubicBezTo>
                  <a:pt x="557370" y="629339"/>
                  <a:pt x="559363" y="629339"/>
                  <a:pt x="563349" y="629339"/>
                </a:cubicBezTo>
                <a:cubicBezTo>
                  <a:pt x="567335" y="629339"/>
                  <a:pt x="567335" y="631337"/>
                  <a:pt x="569328" y="631337"/>
                </a:cubicBezTo>
                <a:cubicBezTo>
                  <a:pt x="571321" y="629339"/>
                  <a:pt x="573314" y="623346"/>
                  <a:pt x="575307" y="621348"/>
                </a:cubicBezTo>
                <a:cubicBezTo>
                  <a:pt x="577300" y="621348"/>
                  <a:pt x="581286" y="619350"/>
                  <a:pt x="581286" y="617352"/>
                </a:cubicBezTo>
                <a:cubicBezTo>
                  <a:pt x="581286" y="615354"/>
                  <a:pt x="581286" y="613356"/>
                  <a:pt x="583279" y="613356"/>
                </a:cubicBezTo>
                <a:cubicBezTo>
                  <a:pt x="585272" y="611358"/>
                  <a:pt x="587265" y="613356"/>
                  <a:pt x="587265" y="611358"/>
                </a:cubicBezTo>
                <a:cubicBezTo>
                  <a:pt x="589259" y="611358"/>
                  <a:pt x="589259" y="607362"/>
                  <a:pt x="591252" y="605365"/>
                </a:cubicBezTo>
                <a:cubicBezTo>
                  <a:pt x="593245" y="605365"/>
                  <a:pt x="597231" y="603367"/>
                  <a:pt x="599224" y="603367"/>
                </a:cubicBezTo>
                <a:cubicBezTo>
                  <a:pt x="601217" y="603367"/>
                  <a:pt x="601217" y="605365"/>
                  <a:pt x="603210" y="605365"/>
                </a:cubicBezTo>
                <a:cubicBezTo>
                  <a:pt x="605203" y="605365"/>
                  <a:pt x="605203" y="605365"/>
                  <a:pt x="605203" y="601369"/>
                </a:cubicBezTo>
                <a:cubicBezTo>
                  <a:pt x="603210" y="599371"/>
                  <a:pt x="603210" y="597373"/>
                  <a:pt x="603210" y="591379"/>
                </a:cubicBezTo>
                <a:cubicBezTo>
                  <a:pt x="605203" y="585386"/>
                  <a:pt x="607196" y="579392"/>
                  <a:pt x="611182" y="579392"/>
                </a:cubicBezTo>
                <a:cubicBezTo>
                  <a:pt x="613175" y="577394"/>
                  <a:pt x="613175" y="575396"/>
                  <a:pt x="615169" y="575396"/>
                </a:cubicBezTo>
                <a:cubicBezTo>
                  <a:pt x="615169" y="573398"/>
                  <a:pt x="617161" y="569402"/>
                  <a:pt x="617161" y="567404"/>
                </a:cubicBezTo>
                <a:cubicBezTo>
                  <a:pt x="617161" y="563409"/>
                  <a:pt x="617161" y="563409"/>
                  <a:pt x="619155" y="561411"/>
                </a:cubicBezTo>
                <a:cubicBezTo>
                  <a:pt x="621147" y="561411"/>
                  <a:pt x="627127" y="555417"/>
                  <a:pt x="629120" y="553419"/>
                </a:cubicBezTo>
                <a:cubicBezTo>
                  <a:pt x="631113" y="553419"/>
                  <a:pt x="633106" y="549423"/>
                  <a:pt x="635099" y="547425"/>
                </a:cubicBezTo>
                <a:cubicBezTo>
                  <a:pt x="637092" y="545427"/>
                  <a:pt x="637092" y="545427"/>
                  <a:pt x="637092" y="545427"/>
                </a:cubicBezTo>
                <a:cubicBezTo>
                  <a:pt x="637092" y="543430"/>
                  <a:pt x="633106" y="543430"/>
                  <a:pt x="633106" y="545427"/>
                </a:cubicBezTo>
                <a:cubicBezTo>
                  <a:pt x="631113" y="545427"/>
                  <a:pt x="627127" y="545427"/>
                  <a:pt x="627127" y="547425"/>
                </a:cubicBezTo>
                <a:cubicBezTo>
                  <a:pt x="623140" y="547425"/>
                  <a:pt x="621147" y="549423"/>
                  <a:pt x="621147" y="551421"/>
                </a:cubicBezTo>
                <a:cubicBezTo>
                  <a:pt x="619155" y="555417"/>
                  <a:pt x="615169" y="555417"/>
                  <a:pt x="613175" y="555417"/>
                </a:cubicBezTo>
                <a:cubicBezTo>
                  <a:pt x="613175" y="555417"/>
                  <a:pt x="609189" y="559413"/>
                  <a:pt x="607196" y="559413"/>
                </a:cubicBezTo>
                <a:cubicBezTo>
                  <a:pt x="607196" y="559413"/>
                  <a:pt x="601217" y="557415"/>
                  <a:pt x="601217" y="555417"/>
                </a:cubicBezTo>
                <a:cubicBezTo>
                  <a:pt x="599224" y="553419"/>
                  <a:pt x="599224" y="549423"/>
                  <a:pt x="601217" y="547425"/>
                </a:cubicBezTo>
                <a:cubicBezTo>
                  <a:pt x="603210" y="545427"/>
                  <a:pt x="603210" y="545427"/>
                  <a:pt x="605203" y="547425"/>
                </a:cubicBezTo>
                <a:cubicBezTo>
                  <a:pt x="607196" y="547425"/>
                  <a:pt x="611182" y="549423"/>
                  <a:pt x="611182" y="549423"/>
                </a:cubicBezTo>
                <a:cubicBezTo>
                  <a:pt x="613175" y="549423"/>
                  <a:pt x="615169" y="549423"/>
                  <a:pt x="615169" y="547425"/>
                </a:cubicBezTo>
                <a:cubicBezTo>
                  <a:pt x="615169" y="545427"/>
                  <a:pt x="611182" y="545427"/>
                  <a:pt x="611182" y="545427"/>
                </a:cubicBezTo>
                <a:cubicBezTo>
                  <a:pt x="609189" y="545427"/>
                  <a:pt x="607196" y="543430"/>
                  <a:pt x="605203" y="543430"/>
                </a:cubicBezTo>
                <a:cubicBezTo>
                  <a:pt x="605203" y="541432"/>
                  <a:pt x="605203" y="541432"/>
                  <a:pt x="603210" y="541432"/>
                </a:cubicBezTo>
                <a:cubicBezTo>
                  <a:pt x="599224" y="541432"/>
                  <a:pt x="599224" y="543430"/>
                  <a:pt x="597231" y="545427"/>
                </a:cubicBezTo>
                <a:cubicBezTo>
                  <a:pt x="597231" y="545427"/>
                  <a:pt x="593245" y="549423"/>
                  <a:pt x="593245" y="549423"/>
                </a:cubicBezTo>
                <a:cubicBezTo>
                  <a:pt x="593245" y="549423"/>
                  <a:pt x="591252" y="551421"/>
                  <a:pt x="589259" y="553419"/>
                </a:cubicBezTo>
                <a:cubicBezTo>
                  <a:pt x="589259" y="553419"/>
                  <a:pt x="587265" y="557415"/>
                  <a:pt x="587265" y="559413"/>
                </a:cubicBezTo>
                <a:cubicBezTo>
                  <a:pt x="587265" y="561411"/>
                  <a:pt x="587265" y="567404"/>
                  <a:pt x="585272" y="569402"/>
                </a:cubicBezTo>
                <a:cubicBezTo>
                  <a:pt x="585272" y="569402"/>
                  <a:pt x="583279" y="571400"/>
                  <a:pt x="581286" y="569402"/>
                </a:cubicBezTo>
                <a:cubicBezTo>
                  <a:pt x="579293" y="567404"/>
                  <a:pt x="577300" y="565407"/>
                  <a:pt x="577300" y="563409"/>
                </a:cubicBezTo>
                <a:cubicBezTo>
                  <a:pt x="577300" y="563409"/>
                  <a:pt x="577300" y="555417"/>
                  <a:pt x="575307" y="555417"/>
                </a:cubicBezTo>
                <a:cubicBezTo>
                  <a:pt x="575307" y="553419"/>
                  <a:pt x="573314" y="549423"/>
                  <a:pt x="571321" y="549423"/>
                </a:cubicBezTo>
                <a:cubicBezTo>
                  <a:pt x="571321" y="547425"/>
                  <a:pt x="573314" y="545427"/>
                  <a:pt x="569328" y="545427"/>
                </a:cubicBezTo>
                <a:cubicBezTo>
                  <a:pt x="567335" y="545427"/>
                  <a:pt x="567335" y="547425"/>
                  <a:pt x="567335" y="547425"/>
                </a:cubicBezTo>
                <a:cubicBezTo>
                  <a:pt x="565342" y="549423"/>
                  <a:pt x="561355" y="549423"/>
                  <a:pt x="559363" y="549423"/>
                </a:cubicBezTo>
                <a:cubicBezTo>
                  <a:pt x="559363" y="547425"/>
                  <a:pt x="559363" y="545427"/>
                  <a:pt x="559363" y="543430"/>
                </a:cubicBezTo>
                <a:cubicBezTo>
                  <a:pt x="559363" y="541432"/>
                  <a:pt x="557370" y="539434"/>
                  <a:pt x="557370" y="539434"/>
                </a:cubicBezTo>
                <a:cubicBezTo>
                  <a:pt x="555376" y="539434"/>
                  <a:pt x="547404" y="541432"/>
                  <a:pt x="547404" y="543430"/>
                </a:cubicBezTo>
                <a:cubicBezTo>
                  <a:pt x="545411" y="543430"/>
                  <a:pt x="537439" y="547425"/>
                  <a:pt x="537439" y="549423"/>
                </a:cubicBezTo>
                <a:cubicBezTo>
                  <a:pt x="535446" y="549423"/>
                  <a:pt x="531460" y="551421"/>
                  <a:pt x="531460" y="551421"/>
                </a:cubicBezTo>
                <a:cubicBezTo>
                  <a:pt x="529467" y="553419"/>
                  <a:pt x="523487" y="557415"/>
                  <a:pt x="521494" y="559413"/>
                </a:cubicBezTo>
                <a:cubicBezTo>
                  <a:pt x="519501" y="561411"/>
                  <a:pt x="517508" y="561411"/>
                  <a:pt x="513522" y="561411"/>
                </a:cubicBezTo>
                <a:cubicBezTo>
                  <a:pt x="513522" y="561411"/>
                  <a:pt x="511529" y="561411"/>
                  <a:pt x="511529" y="559413"/>
                </a:cubicBezTo>
                <a:cubicBezTo>
                  <a:pt x="513522" y="555417"/>
                  <a:pt x="513522" y="557415"/>
                  <a:pt x="513522" y="555417"/>
                </a:cubicBezTo>
                <a:cubicBezTo>
                  <a:pt x="515515" y="553419"/>
                  <a:pt x="517508" y="551421"/>
                  <a:pt x="517508" y="549423"/>
                </a:cubicBezTo>
                <a:cubicBezTo>
                  <a:pt x="517508" y="547425"/>
                  <a:pt x="515515" y="545427"/>
                  <a:pt x="515515" y="543430"/>
                </a:cubicBezTo>
                <a:cubicBezTo>
                  <a:pt x="517508" y="541432"/>
                  <a:pt x="519501" y="541432"/>
                  <a:pt x="519501" y="539434"/>
                </a:cubicBezTo>
                <a:cubicBezTo>
                  <a:pt x="521494" y="539434"/>
                  <a:pt x="523487" y="533440"/>
                  <a:pt x="521494" y="533440"/>
                </a:cubicBezTo>
                <a:cubicBezTo>
                  <a:pt x="521494" y="531442"/>
                  <a:pt x="517508" y="533440"/>
                  <a:pt x="517508" y="531442"/>
                </a:cubicBezTo>
                <a:cubicBezTo>
                  <a:pt x="517508" y="529444"/>
                  <a:pt x="515515" y="529444"/>
                  <a:pt x="517508" y="527446"/>
                </a:cubicBezTo>
                <a:cubicBezTo>
                  <a:pt x="519501" y="527446"/>
                  <a:pt x="521494" y="529444"/>
                  <a:pt x="521494" y="527446"/>
                </a:cubicBezTo>
                <a:cubicBezTo>
                  <a:pt x="523487" y="527446"/>
                  <a:pt x="523487" y="525448"/>
                  <a:pt x="523487" y="523451"/>
                </a:cubicBezTo>
                <a:cubicBezTo>
                  <a:pt x="525480" y="521453"/>
                  <a:pt x="523487" y="521453"/>
                  <a:pt x="525480" y="521453"/>
                </a:cubicBezTo>
                <a:cubicBezTo>
                  <a:pt x="527474" y="519455"/>
                  <a:pt x="529467" y="521453"/>
                  <a:pt x="529467" y="519455"/>
                </a:cubicBezTo>
                <a:cubicBezTo>
                  <a:pt x="531460" y="517457"/>
                  <a:pt x="529467" y="515459"/>
                  <a:pt x="529467" y="511463"/>
                </a:cubicBezTo>
                <a:cubicBezTo>
                  <a:pt x="527474" y="509465"/>
                  <a:pt x="529467" y="505469"/>
                  <a:pt x="529467" y="503472"/>
                </a:cubicBezTo>
                <a:cubicBezTo>
                  <a:pt x="529467" y="499476"/>
                  <a:pt x="527474" y="497478"/>
                  <a:pt x="527474" y="495480"/>
                </a:cubicBezTo>
                <a:cubicBezTo>
                  <a:pt x="527474" y="493482"/>
                  <a:pt x="525480" y="489486"/>
                  <a:pt x="527474" y="485490"/>
                </a:cubicBezTo>
                <a:cubicBezTo>
                  <a:pt x="529467" y="483492"/>
                  <a:pt x="535446" y="479497"/>
                  <a:pt x="537439" y="477499"/>
                </a:cubicBezTo>
                <a:cubicBezTo>
                  <a:pt x="539432" y="477499"/>
                  <a:pt x="537439" y="473503"/>
                  <a:pt x="539432" y="473503"/>
                </a:cubicBezTo>
                <a:cubicBezTo>
                  <a:pt x="539432" y="471505"/>
                  <a:pt x="543418" y="469507"/>
                  <a:pt x="545411" y="469507"/>
                </a:cubicBezTo>
                <a:cubicBezTo>
                  <a:pt x="547404" y="469507"/>
                  <a:pt x="547404" y="467509"/>
                  <a:pt x="547404" y="465511"/>
                </a:cubicBezTo>
                <a:cubicBezTo>
                  <a:pt x="547404" y="463513"/>
                  <a:pt x="543418" y="463513"/>
                  <a:pt x="541425" y="465511"/>
                </a:cubicBezTo>
                <a:cubicBezTo>
                  <a:pt x="539432" y="465511"/>
                  <a:pt x="537439" y="469507"/>
                  <a:pt x="535446" y="471505"/>
                </a:cubicBezTo>
                <a:cubicBezTo>
                  <a:pt x="533453" y="473503"/>
                  <a:pt x="531460" y="477499"/>
                  <a:pt x="531460" y="477499"/>
                </a:cubicBezTo>
                <a:cubicBezTo>
                  <a:pt x="529467" y="479497"/>
                  <a:pt x="525480" y="481495"/>
                  <a:pt x="523487" y="483492"/>
                </a:cubicBezTo>
                <a:cubicBezTo>
                  <a:pt x="521494" y="485490"/>
                  <a:pt x="521494" y="491484"/>
                  <a:pt x="519501" y="493482"/>
                </a:cubicBezTo>
                <a:cubicBezTo>
                  <a:pt x="519501" y="495480"/>
                  <a:pt x="517508" y="497478"/>
                  <a:pt x="517508" y="497478"/>
                </a:cubicBezTo>
                <a:cubicBezTo>
                  <a:pt x="515515" y="499476"/>
                  <a:pt x="511529" y="499476"/>
                  <a:pt x="509536" y="499476"/>
                </a:cubicBezTo>
                <a:cubicBezTo>
                  <a:pt x="507543" y="499476"/>
                  <a:pt x="505550" y="499476"/>
                  <a:pt x="503557" y="501474"/>
                </a:cubicBezTo>
                <a:cubicBezTo>
                  <a:pt x="503557" y="503472"/>
                  <a:pt x="499571" y="507467"/>
                  <a:pt x="497577" y="507467"/>
                </a:cubicBezTo>
                <a:cubicBezTo>
                  <a:pt x="497577" y="509465"/>
                  <a:pt x="495584" y="509465"/>
                  <a:pt x="493591" y="509465"/>
                </a:cubicBezTo>
                <a:cubicBezTo>
                  <a:pt x="491598" y="509465"/>
                  <a:pt x="483626" y="507467"/>
                  <a:pt x="481633" y="507467"/>
                </a:cubicBezTo>
                <a:cubicBezTo>
                  <a:pt x="481633" y="507467"/>
                  <a:pt x="477647" y="507467"/>
                  <a:pt x="477647" y="505469"/>
                </a:cubicBezTo>
                <a:cubicBezTo>
                  <a:pt x="479640" y="503472"/>
                  <a:pt x="479640" y="497478"/>
                  <a:pt x="479640" y="495480"/>
                </a:cubicBezTo>
                <a:cubicBezTo>
                  <a:pt x="477647" y="491484"/>
                  <a:pt x="471668" y="485490"/>
                  <a:pt x="471668" y="485490"/>
                </a:cubicBezTo>
                <a:cubicBezTo>
                  <a:pt x="469675" y="483492"/>
                  <a:pt x="467682" y="485490"/>
                  <a:pt x="465688" y="483492"/>
                </a:cubicBezTo>
                <a:cubicBezTo>
                  <a:pt x="465688" y="483492"/>
                  <a:pt x="465688" y="481495"/>
                  <a:pt x="467682" y="477499"/>
                </a:cubicBezTo>
                <a:cubicBezTo>
                  <a:pt x="467682" y="475501"/>
                  <a:pt x="469675" y="475501"/>
                  <a:pt x="465688" y="473503"/>
                </a:cubicBezTo>
                <a:cubicBezTo>
                  <a:pt x="463695" y="473503"/>
                  <a:pt x="459709" y="471505"/>
                  <a:pt x="461702" y="469507"/>
                </a:cubicBezTo>
                <a:cubicBezTo>
                  <a:pt x="461702" y="467509"/>
                  <a:pt x="463695" y="465511"/>
                  <a:pt x="465688" y="465511"/>
                </a:cubicBezTo>
                <a:cubicBezTo>
                  <a:pt x="469675" y="465511"/>
                  <a:pt x="471668" y="465511"/>
                  <a:pt x="471668" y="463513"/>
                </a:cubicBezTo>
                <a:cubicBezTo>
                  <a:pt x="471668" y="461516"/>
                  <a:pt x="471668" y="459518"/>
                  <a:pt x="473661" y="457520"/>
                </a:cubicBezTo>
                <a:cubicBezTo>
                  <a:pt x="475654" y="457520"/>
                  <a:pt x="479640" y="457520"/>
                  <a:pt x="479640" y="459518"/>
                </a:cubicBezTo>
                <a:cubicBezTo>
                  <a:pt x="481633" y="459518"/>
                  <a:pt x="487612" y="461516"/>
                  <a:pt x="487612" y="463513"/>
                </a:cubicBezTo>
                <a:cubicBezTo>
                  <a:pt x="487612" y="465511"/>
                  <a:pt x="485619" y="465511"/>
                  <a:pt x="487612" y="467509"/>
                </a:cubicBezTo>
                <a:cubicBezTo>
                  <a:pt x="487612" y="469507"/>
                  <a:pt x="489605" y="469507"/>
                  <a:pt x="491598" y="467509"/>
                </a:cubicBezTo>
                <a:cubicBezTo>
                  <a:pt x="493591" y="465511"/>
                  <a:pt x="493591" y="461516"/>
                  <a:pt x="495584" y="461516"/>
                </a:cubicBezTo>
                <a:cubicBezTo>
                  <a:pt x="497577" y="461516"/>
                  <a:pt x="499571" y="461516"/>
                  <a:pt x="497577" y="465511"/>
                </a:cubicBezTo>
                <a:cubicBezTo>
                  <a:pt x="497577" y="465511"/>
                  <a:pt x="495584" y="469507"/>
                  <a:pt x="495584" y="471505"/>
                </a:cubicBezTo>
                <a:cubicBezTo>
                  <a:pt x="495584" y="473503"/>
                  <a:pt x="499571" y="471505"/>
                  <a:pt x="501564" y="471505"/>
                </a:cubicBezTo>
                <a:cubicBezTo>
                  <a:pt x="501564" y="469507"/>
                  <a:pt x="503557" y="469507"/>
                  <a:pt x="505550" y="469507"/>
                </a:cubicBezTo>
                <a:cubicBezTo>
                  <a:pt x="505550" y="467509"/>
                  <a:pt x="507543" y="469507"/>
                  <a:pt x="507543" y="465511"/>
                </a:cubicBezTo>
                <a:cubicBezTo>
                  <a:pt x="507543" y="463513"/>
                  <a:pt x="507543" y="463513"/>
                  <a:pt x="505550" y="461516"/>
                </a:cubicBezTo>
                <a:cubicBezTo>
                  <a:pt x="505550" y="459518"/>
                  <a:pt x="503557" y="459518"/>
                  <a:pt x="505550" y="457520"/>
                </a:cubicBezTo>
                <a:cubicBezTo>
                  <a:pt x="505550" y="457520"/>
                  <a:pt x="507543" y="455522"/>
                  <a:pt x="509536" y="453524"/>
                </a:cubicBezTo>
                <a:cubicBezTo>
                  <a:pt x="509536" y="453524"/>
                  <a:pt x="509536" y="451526"/>
                  <a:pt x="509536" y="451526"/>
                </a:cubicBezTo>
                <a:cubicBezTo>
                  <a:pt x="507543" y="451526"/>
                  <a:pt x="503557" y="453524"/>
                  <a:pt x="503557" y="453524"/>
                </a:cubicBezTo>
                <a:cubicBezTo>
                  <a:pt x="501564" y="455522"/>
                  <a:pt x="493591" y="457520"/>
                  <a:pt x="491598" y="457520"/>
                </a:cubicBezTo>
                <a:cubicBezTo>
                  <a:pt x="489605" y="457520"/>
                  <a:pt x="483626" y="457520"/>
                  <a:pt x="483626" y="457520"/>
                </a:cubicBezTo>
                <a:cubicBezTo>
                  <a:pt x="481633" y="457520"/>
                  <a:pt x="479640" y="455522"/>
                  <a:pt x="479640" y="453524"/>
                </a:cubicBezTo>
                <a:cubicBezTo>
                  <a:pt x="477647" y="453524"/>
                  <a:pt x="473661" y="453524"/>
                  <a:pt x="473661" y="453524"/>
                </a:cubicBezTo>
                <a:cubicBezTo>
                  <a:pt x="473661" y="451526"/>
                  <a:pt x="475654" y="447530"/>
                  <a:pt x="475654" y="445532"/>
                </a:cubicBezTo>
                <a:cubicBezTo>
                  <a:pt x="475654" y="443534"/>
                  <a:pt x="473661" y="443534"/>
                  <a:pt x="471668" y="445532"/>
                </a:cubicBezTo>
                <a:cubicBezTo>
                  <a:pt x="471668" y="445532"/>
                  <a:pt x="471668" y="447530"/>
                  <a:pt x="469675" y="447530"/>
                </a:cubicBezTo>
                <a:cubicBezTo>
                  <a:pt x="467682" y="447530"/>
                  <a:pt x="467682" y="447530"/>
                  <a:pt x="467682" y="447530"/>
                </a:cubicBezTo>
                <a:cubicBezTo>
                  <a:pt x="467682" y="447530"/>
                  <a:pt x="465688" y="449528"/>
                  <a:pt x="463695" y="447530"/>
                </a:cubicBezTo>
                <a:cubicBezTo>
                  <a:pt x="463695" y="445532"/>
                  <a:pt x="463695" y="443534"/>
                  <a:pt x="463695" y="441537"/>
                </a:cubicBezTo>
                <a:cubicBezTo>
                  <a:pt x="463695" y="439539"/>
                  <a:pt x="461702" y="439539"/>
                  <a:pt x="459709" y="437541"/>
                </a:cubicBezTo>
                <a:cubicBezTo>
                  <a:pt x="459709" y="437541"/>
                  <a:pt x="455723" y="437541"/>
                  <a:pt x="457716" y="435543"/>
                </a:cubicBezTo>
                <a:cubicBezTo>
                  <a:pt x="457716" y="433545"/>
                  <a:pt x="461702" y="431547"/>
                  <a:pt x="463695" y="427551"/>
                </a:cubicBezTo>
                <a:cubicBezTo>
                  <a:pt x="463695" y="425553"/>
                  <a:pt x="461702" y="419560"/>
                  <a:pt x="461702" y="417562"/>
                </a:cubicBezTo>
                <a:cubicBezTo>
                  <a:pt x="461702" y="415564"/>
                  <a:pt x="467682" y="417562"/>
                  <a:pt x="467682" y="417562"/>
                </a:cubicBezTo>
                <a:cubicBezTo>
                  <a:pt x="469675" y="417562"/>
                  <a:pt x="471668" y="415564"/>
                  <a:pt x="471668" y="413566"/>
                </a:cubicBezTo>
                <a:cubicBezTo>
                  <a:pt x="473661" y="411568"/>
                  <a:pt x="477647" y="405574"/>
                  <a:pt x="479640" y="405574"/>
                </a:cubicBezTo>
                <a:cubicBezTo>
                  <a:pt x="481633" y="403576"/>
                  <a:pt x="485619" y="401578"/>
                  <a:pt x="487612" y="399581"/>
                </a:cubicBezTo>
                <a:cubicBezTo>
                  <a:pt x="489605" y="397583"/>
                  <a:pt x="493591" y="389591"/>
                  <a:pt x="495584" y="387593"/>
                </a:cubicBezTo>
                <a:cubicBezTo>
                  <a:pt x="497577" y="385595"/>
                  <a:pt x="503557" y="385595"/>
                  <a:pt x="503557" y="381599"/>
                </a:cubicBezTo>
                <a:cubicBezTo>
                  <a:pt x="505550" y="379602"/>
                  <a:pt x="507543" y="373608"/>
                  <a:pt x="509536" y="373608"/>
                </a:cubicBezTo>
                <a:cubicBezTo>
                  <a:pt x="509536" y="371610"/>
                  <a:pt x="515515" y="373608"/>
                  <a:pt x="517508" y="371610"/>
                </a:cubicBezTo>
                <a:cubicBezTo>
                  <a:pt x="517508" y="369612"/>
                  <a:pt x="517508" y="365616"/>
                  <a:pt x="521494" y="363618"/>
                </a:cubicBezTo>
                <a:cubicBezTo>
                  <a:pt x="523487" y="363618"/>
                  <a:pt x="529467" y="359622"/>
                  <a:pt x="531460" y="361620"/>
                </a:cubicBezTo>
                <a:cubicBezTo>
                  <a:pt x="535446" y="361620"/>
                  <a:pt x="537439" y="367614"/>
                  <a:pt x="539432" y="367614"/>
                </a:cubicBezTo>
                <a:cubicBezTo>
                  <a:pt x="541425" y="367614"/>
                  <a:pt x="547404" y="365616"/>
                  <a:pt x="549397" y="367614"/>
                </a:cubicBezTo>
                <a:cubicBezTo>
                  <a:pt x="551390" y="367614"/>
                  <a:pt x="553383" y="369612"/>
                  <a:pt x="555376" y="367614"/>
                </a:cubicBezTo>
                <a:cubicBezTo>
                  <a:pt x="559363" y="367614"/>
                  <a:pt x="561355" y="363618"/>
                  <a:pt x="563349" y="361620"/>
                </a:cubicBezTo>
                <a:cubicBezTo>
                  <a:pt x="565342" y="359622"/>
                  <a:pt x="569328" y="357625"/>
                  <a:pt x="573314" y="357625"/>
                </a:cubicBezTo>
                <a:cubicBezTo>
                  <a:pt x="575307" y="355627"/>
                  <a:pt x="575307" y="353629"/>
                  <a:pt x="577300" y="351631"/>
                </a:cubicBezTo>
                <a:cubicBezTo>
                  <a:pt x="577300" y="349633"/>
                  <a:pt x="581286" y="351631"/>
                  <a:pt x="581286" y="351631"/>
                </a:cubicBezTo>
                <a:cubicBezTo>
                  <a:pt x="581286" y="351631"/>
                  <a:pt x="581286" y="355627"/>
                  <a:pt x="583279" y="357625"/>
                </a:cubicBezTo>
                <a:cubicBezTo>
                  <a:pt x="583279" y="357625"/>
                  <a:pt x="585272" y="355627"/>
                  <a:pt x="587265" y="355627"/>
                </a:cubicBezTo>
                <a:cubicBezTo>
                  <a:pt x="589259" y="353629"/>
                  <a:pt x="591252" y="351631"/>
                  <a:pt x="591252" y="351631"/>
                </a:cubicBezTo>
                <a:cubicBezTo>
                  <a:pt x="593245" y="351631"/>
                  <a:pt x="593245" y="353629"/>
                  <a:pt x="595237" y="351631"/>
                </a:cubicBezTo>
                <a:cubicBezTo>
                  <a:pt x="597231" y="351631"/>
                  <a:pt x="603210" y="349633"/>
                  <a:pt x="605203" y="349633"/>
                </a:cubicBezTo>
                <a:cubicBezTo>
                  <a:pt x="605203" y="347635"/>
                  <a:pt x="607196" y="347635"/>
                  <a:pt x="607196" y="347635"/>
                </a:cubicBezTo>
                <a:cubicBezTo>
                  <a:pt x="607196" y="347635"/>
                  <a:pt x="609189" y="343639"/>
                  <a:pt x="611182" y="341641"/>
                </a:cubicBezTo>
                <a:cubicBezTo>
                  <a:pt x="611182" y="339643"/>
                  <a:pt x="613175" y="339643"/>
                  <a:pt x="613175" y="337646"/>
                </a:cubicBezTo>
                <a:cubicBezTo>
                  <a:pt x="613175" y="335648"/>
                  <a:pt x="613175" y="333650"/>
                  <a:pt x="613175" y="331652"/>
                </a:cubicBezTo>
                <a:cubicBezTo>
                  <a:pt x="611182" y="329654"/>
                  <a:pt x="611182" y="327656"/>
                  <a:pt x="611182" y="325658"/>
                </a:cubicBezTo>
                <a:cubicBezTo>
                  <a:pt x="611182" y="325658"/>
                  <a:pt x="613175" y="323660"/>
                  <a:pt x="613175" y="321662"/>
                </a:cubicBezTo>
                <a:cubicBezTo>
                  <a:pt x="611182" y="319664"/>
                  <a:pt x="607196" y="317667"/>
                  <a:pt x="607196" y="315669"/>
                </a:cubicBezTo>
                <a:cubicBezTo>
                  <a:pt x="607196" y="313671"/>
                  <a:pt x="607196" y="311673"/>
                  <a:pt x="611182" y="311673"/>
                </a:cubicBezTo>
                <a:cubicBezTo>
                  <a:pt x="613175" y="311673"/>
                  <a:pt x="615169" y="313671"/>
                  <a:pt x="615169" y="311673"/>
                </a:cubicBezTo>
                <a:cubicBezTo>
                  <a:pt x="617161" y="309675"/>
                  <a:pt x="617161" y="309675"/>
                  <a:pt x="619155" y="309675"/>
                </a:cubicBezTo>
                <a:cubicBezTo>
                  <a:pt x="619155" y="307677"/>
                  <a:pt x="623140" y="309675"/>
                  <a:pt x="623140" y="307677"/>
                </a:cubicBezTo>
                <a:cubicBezTo>
                  <a:pt x="625134" y="305679"/>
                  <a:pt x="625134" y="301683"/>
                  <a:pt x="623140" y="299685"/>
                </a:cubicBezTo>
                <a:cubicBezTo>
                  <a:pt x="623140" y="297687"/>
                  <a:pt x="623140" y="295690"/>
                  <a:pt x="621147" y="295690"/>
                </a:cubicBezTo>
                <a:cubicBezTo>
                  <a:pt x="621147" y="295690"/>
                  <a:pt x="619155" y="297687"/>
                  <a:pt x="617161" y="297687"/>
                </a:cubicBezTo>
                <a:cubicBezTo>
                  <a:pt x="617161" y="299685"/>
                  <a:pt x="615169" y="299685"/>
                  <a:pt x="613175" y="299685"/>
                </a:cubicBezTo>
                <a:cubicBezTo>
                  <a:pt x="611182" y="299685"/>
                  <a:pt x="609189" y="297687"/>
                  <a:pt x="607196" y="297687"/>
                </a:cubicBezTo>
                <a:cubicBezTo>
                  <a:pt x="607196" y="299685"/>
                  <a:pt x="603210" y="303681"/>
                  <a:pt x="601217" y="303681"/>
                </a:cubicBezTo>
                <a:cubicBezTo>
                  <a:pt x="601217" y="305679"/>
                  <a:pt x="597231" y="307677"/>
                  <a:pt x="595237" y="309675"/>
                </a:cubicBezTo>
                <a:cubicBezTo>
                  <a:pt x="593245" y="309675"/>
                  <a:pt x="585272" y="311673"/>
                  <a:pt x="585272" y="311673"/>
                </a:cubicBezTo>
                <a:cubicBezTo>
                  <a:pt x="583279" y="313671"/>
                  <a:pt x="579293" y="315669"/>
                  <a:pt x="579293" y="317667"/>
                </a:cubicBezTo>
                <a:cubicBezTo>
                  <a:pt x="577300" y="319664"/>
                  <a:pt x="577300" y="321662"/>
                  <a:pt x="575307" y="319664"/>
                </a:cubicBezTo>
                <a:cubicBezTo>
                  <a:pt x="575307" y="317667"/>
                  <a:pt x="573314" y="309675"/>
                  <a:pt x="573314" y="307677"/>
                </a:cubicBezTo>
                <a:cubicBezTo>
                  <a:pt x="573314" y="307677"/>
                  <a:pt x="571321" y="307677"/>
                  <a:pt x="569328" y="307677"/>
                </a:cubicBezTo>
                <a:cubicBezTo>
                  <a:pt x="567335" y="309675"/>
                  <a:pt x="567335" y="313671"/>
                  <a:pt x="565342" y="313671"/>
                </a:cubicBezTo>
                <a:cubicBezTo>
                  <a:pt x="563349" y="313671"/>
                  <a:pt x="561355" y="311673"/>
                  <a:pt x="559363" y="311673"/>
                </a:cubicBezTo>
                <a:cubicBezTo>
                  <a:pt x="557370" y="309675"/>
                  <a:pt x="553383" y="309675"/>
                  <a:pt x="553383" y="309675"/>
                </a:cubicBezTo>
                <a:cubicBezTo>
                  <a:pt x="551390" y="309675"/>
                  <a:pt x="549397" y="311673"/>
                  <a:pt x="547404" y="309675"/>
                </a:cubicBezTo>
                <a:cubicBezTo>
                  <a:pt x="547404" y="309675"/>
                  <a:pt x="545411" y="307677"/>
                  <a:pt x="543418" y="307677"/>
                </a:cubicBezTo>
                <a:cubicBezTo>
                  <a:pt x="539432" y="307677"/>
                  <a:pt x="537439" y="307677"/>
                  <a:pt x="535446" y="309675"/>
                </a:cubicBezTo>
                <a:cubicBezTo>
                  <a:pt x="533453" y="309675"/>
                  <a:pt x="531460" y="311673"/>
                  <a:pt x="529467" y="311673"/>
                </a:cubicBezTo>
                <a:cubicBezTo>
                  <a:pt x="527474" y="311673"/>
                  <a:pt x="523487" y="311673"/>
                  <a:pt x="521494" y="311673"/>
                </a:cubicBezTo>
                <a:cubicBezTo>
                  <a:pt x="519501" y="311673"/>
                  <a:pt x="517508" y="311673"/>
                  <a:pt x="515515" y="309675"/>
                </a:cubicBezTo>
                <a:cubicBezTo>
                  <a:pt x="513522" y="309675"/>
                  <a:pt x="511529" y="307677"/>
                  <a:pt x="509536" y="307677"/>
                </a:cubicBezTo>
                <a:cubicBezTo>
                  <a:pt x="507543" y="307677"/>
                  <a:pt x="501564" y="309675"/>
                  <a:pt x="499571" y="307677"/>
                </a:cubicBezTo>
                <a:cubicBezTo>
                  <a:pt x="497577" y="305679"/>
                  <a:pt x="497577" y="305679"/>
                  <a:pt x="497577" y="303681"/>
                </a:cubicBezTo>
                <a:cubicBezTo>
                  <a:pt x="497577" y="301683"/>
                  <a:pt x="499571" y="295690"/>
                  <a:pt x="501564" y="295690"/>
                </a:cubicBezTo>
                <a:cubicBezTo>
                  <a:pt x="501564" y="291694"/>
                  <a:pt x="501564" y="287698"/>
                  <a:pt x="499571" y="285700"/>
                </a:cubicBezTo>
                <a:cubicBezTo>
                  <a:pt x="499571" y="285700"/>
                  <a:pt x="497577" y="281704"/>
                  <a:pt x="497577" y="279706"/>
                </a:cubicBezTo>
                <a:cubicBezTo>
                  <a:pt x="497577" y="277708"/>
                  <a:pt x="497577" y="275711"/>
                  <a:pt x="497577" y="275711"/>
                </a:cubicBezTo>
                <a:cubicBezTo>
                  <a:pt x="499571" y="275711"/>
                  <a:pt x="501564" y="279706"/>
                  <a:pt x="501564" y="279706"/>
                </a:cubicBezTo>
                <a:cubicBezTo>
                  <a:pt x="503557" y="279706"/>
                  <a:pt x="505550" y="279706"/>
                  <a:pt x="507543" y="277708"/>
                </a:cubicBezTo>
                <a:cubicBezTo>
                  <a:pt x="509536" y="277708"/>
                  <a:pt x="509536" y="277708"/>
                  <a:pt x="509536" y="275711"/>
                </a:cubicBezTo>
                <a:cubicBezTo>
                  <a:pt x="509536" y="273713"/>
                  <a:pt x="509536" y="271715"/>
                  <a:pt x="509536" y="271715"/>
                </a:cubicBezTo>
                <a:cubicBezTo>
                  <a:pt x="507543" y="269717"/>
                  <a:pt x="501564" y="267719"/>
                  <a:pt x="499571" y="267719"/>
                </a:cubicBezTo>
                <a:cubicBezTo>
                  <a:pt x="499571" y="267719"/>
                  <a:pt x="487612" y="263723"/>
                  <a:pt x="485619" y="261725"/>
                </a:cubicBezTo>
                <a:cubicBezTo>
                  <a:pt x="483626" y="261725"/>
                  <a:pt x="479640" y="259727"/>
                  <a:pt x="477647" y="257729"/>
                </a:cubicBezTo>
                <a:cubicBezTo>
                  <a:pt x="477647" y="255732"/>
                  <a:pt x="477647" y="253734"/>
                  <a:pt x="481633" y="253734"/>
                </a:cubicBezTo>
                <a:cubicBezTo>
                  <a:pt x="483626" y="253734"/>
                  <a:pt x="489605" y="249738"/>
                  <a:pt x="491598" y="249738"/>
                </a:cubicBezTo>
                <a:cubicBezTo>
                  <a:pt x="493591" y="249738"/>
                  <a:pt x="493591" y="249738"/>
                  <a:pt x="495584" y="247740"/>
                </a:cubicBezTo>
                <a:cubicBezTo>
                  <a:pt x="495584" y="245742"/>
                  <a:pt x="499571" y="245742"/>
                  <a:pt x="501564" y="245742"/>
                </a:cubicBezTo>
                <a:cubicBezTo>
                  <a:pt x="503557" y="245742"/>
                  <a:pt x="505550" y="245742"/>
                  <a:pt x="507543" y="243744"/>
                </a:cubicBezTo>
                <a:cubicBezTo>
                  <a:pt x="509536" y="241746"/>
                  <a:pt x="511529" y="239748"/>
                  <a:pt x="515515" y="237750"/>
                </a:cubicBezTo>
                <a:cubicBezTo>
                  <a:pt x="517508" y="237750"/>
                  <a:pt x="523487" y="235752"/>
                  <a:pt x="525480" y="235752"/>
                </a:cubicBezTo>
                <a:cubicBezTo>
                  <a:pt x="525480" y="235752"/>
                  <a:pt x="531460" y="233755"/>
                  <a:pt x="533453" y="233755"/>
                </a:cubicBezTo>
                <a:cubicBezTo>
                  <a:pt x="535446" y="235752"/>
                  <a:pt x="537439" y="237750"/>
                  <a:pt x="539432" y="237750"/>
                </a:cubicBezTo>
                <a:cubicBezTo>
                  <a:pt x="541425" y="237750"/>
                  <a:pt x="543418" y="237750"/>
                  <a:pt x="543418" y="235752"/>
                </a:cubicBezTo>
                <a:cubicBezTo>
                  <a:pt x="543418" y="233755"/>
                  <a:pt x="541425" y="233755"/>
                  <a:pt x="541425" y="231757"/>
                </a:cubicBezTo>
                <a:cubicBezTo>
                  <a:pt x="539432" y="229759"/>
                  <a:pt x="541425" y="227761"/>
                  <a:pt x="541425" y="227761"/>
                </a:cubicBezTo>
                <a:cubicBezTo>
                  <a:pt x="541425" y="227761"/>
                  <a:pt x="547404" y="229759"/>
                  <a:pt x="547404" y="229759"/>
                </a:cubicBezTo>
                <a:cubicBezTo>
                  <a:pt x="547404" y="227761"/>
                  <a:pt x="549397" y="227761"/>
                  <a:pt x="547404" y="227761"/>
                </a:cubicBezTo>
                <a:cubicBezTo>
                  <a:pt x="545411" y="225763"/>
                  <a:pt x="543418" y="223765"/>
                  <a:pt x="543418" y="223765"/>
                </a:cubicBezTo>
                <a:cubicBezTo>
                  <a:pt x="543418" y="223765"/>
                  <a:pt x="545411" y="221767"/>
                  <a:pt x="547404" y="223765"/>
                </a:cubicBezTo>
                <a:cubicBezTo>
                  <a:pt x="551390" y="223765"/>
                  <a:pt x="555376" y="225763"/>
                  <a:pt x="557370" y="225763"/>
                </a:cubicBezTo>
                <a:cubicBezTo>
                  <a:pt x="559363" y="225763"/>
                  <a:pt x="563349" y="223765"/>
                  <a:pt x="565342" y="221767"/>
                </a:cubicBezTo>
                <a:cubicBezTo>
                  <a:pt x="567335" y="219769"/>
                  <a:pt x="571321" y="221767"/>
                  <a:pt x="571321" y="221767"/>
                </a:cubicBezTo>
                <a:cubicBezTo>
                  <a:pt x="571321" y="221767"/>
                  <a:pt x="575307" y="219769"/>
                  <a:pt x="577300" y="217771"/>
                </a:cubicBezTo>
                <a:cubicBezTo>
                  <a:pt x="579293" y="215773"/>
                  <a:pt x="585272" y="215773"/>
                  <a:pt x="587265" y="215773"/>
                </a:cubicBezTo>
                <a:cubicBezTo>
                  <a:pt x="589259" y="215773"/>
                  <a:pt x="589259" y="219769"/>
                  <a:pt x="587265" y="219769"/>
                </a:cubicBezTo>
                <a:cubicBezTo>
                  <a:pt x="587265" y="221767"/>
                  <a:pt x="583279" y="223765"/>
                  <a:pt x="583279" y="223765"/>
                </a:cubicBezTo>
                <a:cubicBezTo>
                  <a:pt x="581286" y="223765"/>
                  <a:pt x="581286" y="227761"/>
                  <a:pt x="581286" y="229759"/>
                </a:cubicBezTo>
                <a:cubicBezTo>
                  <a:pt x="581286" y="229759"/>
                  <a:pt x="579293" y="231757"/>
                  <a:pt x="579293" y="233755"/>
                </a:cubicBezTo>
                <a:cubicBezTo>
                  <a:pt x="579293" y="235752"/>
                  <a:pt x="581286" y="235752"/>
                  <a:pt x="583279" y="235752"/>
                </a:cubicBezTo>
                <a:cubicBezTo>
                  <a:pt x="585272" y="235752"/>
                  <a:pt x="589259" y="237750"/>
                  <a:pt x="591252" y="237750"/>
                </a:cubicBezTo>
                <a:cubicBezTo>
                  <a:pt x="593245" y="237750"/>
                  <a:pt x="595237" y="237750"/>
                  <a:pt x="595237" y="237750"/>
                </a:cubicBezTo>
                <a:cubicBezTo>
                  <a:pt x="597231" y="235752"/>
                  <a:pt x="597231" y="235752"/>
                  <a:pt x="597231" y="235752"/>
                </a:cubicBezTo>
                <a:cubicBezTo>
                  <a:pt x="599224" y="235752"/>
                  <a:pt x="607196" y="235752"/>
                  <a:pt x="609189" y="237750"/>
                </a:cubicBezTo>
                <a:cubicBezTo>
                  <a:pt x="611182" y="237750"/>
                  <a:pt x="617161" y="237750"/>
                  <a:pt x="619155" y="237750"/>
                </a:cubicBezTo>
                <a:cubicBezTo>
                  <a:pt x="623140" y="239748"/>
                  <a:pt x="625134" y="241746"/>
                  <a:pt x="627127" y="239748"/>
                </a:cubicBezTo>
                <a:cubicBezTo>
                  <a:pt x="627127" y="239748"/>
                  <a:pt x="629120" y="235752"/>
                  <a:pt x="629120" y="233755"/>
                </a:cubicBezTo>
                <a:cubicBezTo>
                  <a:pt x="631113" y="231757"/>
                  <a:pt x="635099" y="231757"/>
                  <a:pt x="635099" y="231757"/>
                </a:cubicBezTo>
                <a:cubicBezTo>
                  <a:pt x="637092" y="229759"/>
                  <a:pt x="639085" y="229759"/>
                  <a:pt x="641078" y="229759"/>
                </a:cubicBezTo>
                <a:cubicBezTo>
                  <a:pt x="641078" y="229759"/>
                  <a:pt x="641078" y="233755"/>
                  <a:pt x="643071" y="235752"/>
                </a:cubicBezTo>
                <a:cubicBezTo>
                  <a:pt x="645064" y="237750"/>
                  <a:pt x="647057" y="237750"/>
                  <a:pt x="647057" y="233755"/>
                </a:cubicBezTo>
                <a:cubicBezTo>
                  <a:pt x="649051" y="231757"/>
                  <a:pt x="647057" y="227761"/>
                  <a:pt x="645064" y="227761"/>
                </a:cubicBezTo>
                <a:cubicBezTo>
                  <a:pt x="645064" y="225763"/>
                  <a:pt x="641078" y="223765"/>
                  <a:pt x="639085" y="223765"/>
                </a:cubicBezTo>
                <a:cubicBezTo>
                  <a:pt x="637092" y="223765"/>
                  <a:pt x="631113" y="227761"/>
                  <a:pt x="629120" y="227761"/>
                </a:cubicBezTo>
                <a:cubicBezTo>
                  <a:pt x="627127" y="227761"/>
                  <a:pt x="631113" y="217771"/>
                  <a:pt x="633106" y="215773"/>
                </a:cubicBezTo>
                <a:cubicBezTo>
                  <a:pt x="633106" y="215773"/>
                  <a:pt x="637092" y="215773"/>
                  <a:pt x="637092" y="217771"/>
                </a:cubicBezTo>
                <a:cubicBezTo>
                  <a:pt x="639085" y="217771"/>
                  <a:pt x="643071" y="217771"/>
                  <a:pt x="645064" y="217771"/>
                </a:cubicBezTo>
                <a:cubicBezTo>
                  <a:pt x="647057" y="217771"/>
                  <a:pt x="649051" y="217771"/>
                  <a:pt x="651044" y="219769"/>
                </a:cubicBezTo>
                <a:cubicBezTo>
                  <a:pt x="653036" y="219769"/>
                  <a:pt x="657023" y="223765"/>
                  <a:pt x="657023" y="223765"/>
                </a:cubicBezTo>
                <a:cubicBezTo>
                  <a:pt x="659016" y="225763"/>
                  <a:pt x="657023" y="225763"/>
                  <a:pt x="661009" y="227761"/>
                </a:cubicBezTo>
                <a:cubicBezTo>
                  <a:pt x="663002" y="229759"/>
                  <a:pt x="666988" y="229759"/>
                  <a:pt x="666988" y="227761"/>
                </a:cubicBezTo>
                <a:cubicBezTo>
                  <a:pt x="668981" y="225763"/>
                  <a:pt x="672967" y="225763"/>
                  <a:pt x="674960" y="225763"/>
                </a:cubicBezTo>
                <a:cubicBezTo>
                  <a:pt x="674960" y="225763"/>
                  <a:pt x="682933" y="225763"/>
                  <a:pt x="682933" y="225763"/>
                </a:cubicBezTo>
                <a:cubicBezTo>
                  <a:pt x="682933" y="225763"/>
                  <a:pt x="680939" y="223765"/>
                  <a:pt x="680939" y="221767"/>
                </a:cubicBezTo>
                <a:cubicBezTo>
                  <a:pt x="678946" y="221767"/>
                  <a:pt x="674960" y="221767"/>
                  <a:pt x="676953" y="219769"/>
                </a:cubicBezTo>
                <a:cubicBezTo>
                  <a:pt x="676953" y="217771"/>
                  <a:pt x="678946" y="215773"/>
                  <a:pt x="680939" y="215773"/>
                </a:cubicBezTo>
                <a:cubicBezTo>
                  <a:pt x="680939" y="213776"/>
                  <a:pt x="682933" y="213776"/>
                  <a:pt x="680939" y="211778"/>
                </a:cubicBezTo>
                <a:cubicBezTo>
                  <a:pt x="680939" y="211778"/>
                  <a:pt x="676953" y="211778"/>
                  <a:pt x="674960" y="213776"/>
                </a:cubicBezTo>
                <a:cubicBezTo>
                  <a:pt x="672967" y="215773"/>
                  <a:pt x="668981" y="217771"/>
                  <a:pt x="666988" y="217771"/>
                </a:cubicBezTo>
                <a:cubicBezTo>
                  <a:pt x="664995" y="215773"/>
                  <a:pt x="655030" y="211778"/>
                  <a:pt x="653036" y="211778"/>
                </a:cubicBezTo>
                <a:cubicBezTo>
                  <a:pt x="651044" y="211778"/>
                  <a:pt x="645064" y="213776"/>
                  <a:pt x="643071" y="211778"/>
                </a:cubicBezTo>
                <a:cubicBezTo>
                  <a:pt x="641078" y="211778"/>
                  <a:pt x="637092" y="211778"/>
                  <a:pt x="637092" y="207782"/>
                </a:cubicBezTo>
                <a:cubicBezTo>
                  <a:pt x="635099" y="207782"/>
                  <a:pt x="639085" y="201788"/>
                  <a:pt x="641078" y="199790"/>
                </a:cubicBezTo>
                <a:cubicBezTo>
                  <a:pt x="641078" y="199790"/>
                  <a:pt x="637092" y="197792"/>
                  <a:pt x="637092" y="199790"/>
                </a:cubicBezTo>
                <a:cubicBezTo>
                  <a:pt x="635099" y="199790"/>
                  <a:pt x="631113" y="199790"/>
                  <a:pt x="629120" y="197792"/>
                </a:cubicBezTo>
                <a:cubicBezTo>
                  <a:pt x="627127" y="195794"/>
                  <a:pt x="625134" y="189801"/>
                  <a:pt x="625134" y="187803"/>
                </a:cubicBezTo>
                <a:cubicBezTo>
                  <a:pt x="627127" y="185805"/>
                  <a:pt x="629120" y="181809"/>
                  <a:pt x="631113" y="179811"/>
                </a:cubicBezTo>
                <a:cubicBezTo>
                  <a:pt x="635099" y="177813"/>
                  <a:pt x="635099" y="177813"/>
                  <a:pt x="635099" y="173818"/>
                </a:cubicBezTo>
                <a:cubicBezTo>
                  <a:pt x="637092" y="169822"/>
                  <a:pt x="639085" y="167824"/>
                  <a:pt x="641078" y="167824"/>
                </a:cubicBezTo>
                <a:cubicBezTo>
                  <a:pt x="643071" y="165826"/>
                  <a:pt x="649051" y="159832"/>
                  <a:pt x="651044" y="157834"/>
                </a:cubicBezTo>
                <a:cubicBezTo>
                  <a:pt x="653036" y="155836"/>
                  <a:pt x="653036" y="155836"/>
                  <a:pt x="651044" y="153838"/>
                </a:cubicBezTo>
                <a:cubicBezTo>
                  <a:pt x="647057" y="153838"/>
                  <a:pt x="641078" y="155836"/>
                  <a:pt x="641078" y="157834"/>
                </a:cubicBezTo>
                <a:cubicBezTo>
                  <a:pt x="639085" y="157834"/>
                  <a:pt x="633106" y="167824"/>
                  <a:pt x="631113" y="169822"/>
                </a:cubicBezTo>
                <a:cubicBezTo>
                  <a:pt x="631113" y="171820"/>
                  <a:pt x="629120" y="173818"/>
                  <a:pt x="629120" y="175815"/>
                </a:cubicBezTo>
                <a:cubicBezTo>
                  <a:pt x="629120" y="177813"/>
                  <a:pt x="625134" y="181809"/>
                  <a:pt x="623140" y="183807"/>
                </a:cubicBezTo>
                <a:cubicBezTo>
                  <a:pt x="623140" y="185805"/>
                  <a:pt x="623140" y="189801"/>
                  <a:pt x="623140" y="191799"/>
                </a:cubicBezTo>
                <a:cubicBezTo>
                  <a:pt x="623140" y="193797"/>
                  <a:pt x="627127" y="197792"/>
                  <a:pt x="627127" y="199790"/>
                </a:cubicBezTo>
                <a:cubicBezTo>
                  <a:pt x="627127" y="201788"/>
                  <a:pt x="625134" y="201788"/>
                  <a:pt x="623140" y="201788"/>
                </a:cubicBezTo>
                <a:cubicBezTo>
                  <a:pt x="621147" y="201788"/>
                  <a:pt x="611182" y="199790"/>
                  <a:pt x="609189" y="199790"/>
                </a:cubicBezTo>
                <a:cubicBezTo>
                  <a:pt x="605203" y="199790"/>
                  <a:pt x="601217" y="199790"/>
                  <a:pt x="599224" y="197792"/>
                </a:cubicBezTo>
                <a:cubicBezTo>
                  <a:pt x="597231" y="195794"/>
                  <a:pt x="597231" y="187803"/>
                  <a:pt x="597231" y="185805"/>
                </a:cubicBezTo>
                <a:cubicBezTo>
                  <a:pt x="597231" y="181809"/>
                  <a:pt x="597231" y="179811"/>
                  <a:pt x="595237" y="175815"/>
                </a:cubicBezTo>
                <a:cubicBezTo>
                  <a:pt x="593245" y="173818"/>
                  <a:pt x="587265" y="165826"/>
                  <a:pt x="587265" y="165826"/>
                </a:cubicBezTo>
                <a:cubicBezTo>
                  <a:pt x="587265" y="165826"/>
                  <a:pt x="583279" y="161830"/>
                  <a:pt x="583279" y="159832"/>
                </a:cubicBezTo>
                <a:cubicBezTo>
                  <a:pt x="583279" y="159832"/>
                  <a:pt x="583279" y="155836"/>
                  <a:pt x="581286" y="153838"/>
                </a:cubicBezTo>
                <a:cubicBezTo>
                  <a:pt x="579293" y="153838"/>
                  <a:pt x="573314" y="151841"/>
                  <a:pt x="573314" y="149843"/>
                </a:cubicBezTo>
                <a:cubicBezTo>
                  <a:pt x="569328" y="147845"/>
                  <a:pt x="565342" y="145847"/>
                  <a:pt x="565342" y="143849"/>
                </a:cubicBezTo>
                <a:cubicBezTo>
                  <a:pt x="563349" y="141851"/>
                  <a:pt x="563349" y="131862"/>
                  <a:pt x="563349" y="129864"/>
                </a:cubicBezTo>
                <a:cubicBezTo>
                  <a:pt x="565342" y="127866"/>
                  <a:pt x="569328" y="125868"/>
                  <a:pt x="569328" y="123870"/>
                </a:cubicBezTo>
                <a:cubicBezTo>
                  <a:pt x="569328" y="119874"/>
                  <a:pt x="571321" y="113880"/>
                  <a:pt x="575307" y="113880"/>
                </a:cubicBezTo>
                <a:cubicBezTo>
                  <a:pt x="577300" y="111883"/>
                  <a:pt x="581286" y="113880"/>
                  <a:pt x="585272" y="115878"/>
                </a:cubicBezTo>
                <a:cubicBezTo>
                  <a:pt x="591252" y="115878"/>
                  <a:pt x="595237" y="115878"/>
                  <a:pt x="597231" y="113880"/>
                </a:cubicBezTo>
                <a:cubicBezTo>
                  <a:pt x="601217" y="113880"/>
                  <a:pt x="599224" y="111883"/>
                  <a:pt x="605203" y="111883"/>
                </a:cubicBezTo>
                <a:cubicBezTo>
                  <a:pt x="609189" y="111883"/>
                  <a:pt x="611182" y="113880"/>
                  <a:pt x="613175" y="111883"/>
                </a:cubicBezTo>
                <a:cubicBezTo>
                  <a:pt x="617161" y="109885"/>
                  <a:pt x="623140" y="107887"/>
                  <a:pt x="623140" y="107887"/>
                </a:cubicBezTo>
                <a:cubicBezTo>
                  <a:pt x="625134" y="107887"/>
                  <a:pt x="629120" y="105889"/>
                  <a:pt x="633106" y="105889"/>
                </a:cubicBezTo>
                <a:cubicBezTo>
                  <a:pt x="635099" y="103891"/>
                  <a:pt x="637092" y="103891"/>
                  <a:pt x="639085" y="103891"/>
                </a:cubicBezTo>
                <a:cubicBezTo>
                  <a:pt x="641078" y="103891"/>
                  <a:pt x="643071" y="101893"/>
                  <a:pt x="645064" y="99895"/>
                </a:cubicBezTo>
                <a:cubicBezTo>
                  <a:pt x="645064" y="97897"/>
                  <a:pt x="647057" y="97897"/>
                  <a:pt x="647057" y="97897"/>
                </a:cubicBezTo>
                <a:cubicBezTo>
                  <a:pt x="647057" y="97897"/>
                  <a:pt x="649051" y="97897"/>
                  <a:pt x="651044" y="95899"/>
                </a:cubicBezTo>
                <a:cubicBezTo>
                  <a:pt x="653036" y="93901"/>
                  <a:pt x="668981" y="73922"/>
                  <a:pt x="668981" y="71924"/>
                </a:cubicBezTo>
                <a:cubicBezTo>
                  <a:pt x="670974" y="67929"/>
                  <a:pt x="676953" y="65931"/>
                  <a:pt x="678946" y="63933"/>
                </a:cubicBezTo>
                <a:cubicBezTo>
                  <a:pt x="682933" y="63933"/>
                  <a:pt x="688912" y="61935"/>
                  <a:pt x="688912" y="59937"/>
                </a:cubicBezTo>
                <a:cubicBezTo>
                  <a:pt x="690905" y="57939"/>
                  <a:pt x="688912" y="53943"/>
                  <a:pt x="690905" y="51945"/>
                </a:cubicBezTo>
                <a:cubicBezTo>
                  <a:pt x="690905" y="49948"/>
                  <a:pt x="692898" y="49948"/>
                  <a:pt x="694891" y="47950"/>
                </a:cubicBezTo>
                <a:cubicBezTo>
                  <a:pt x="694891" y="45952"/>
                  <a:pt x="694891" y="43954"/>
                  <a:pt x="696884" y="45952"/>
                </a:cubicBezTo>
                <a:cubicBezTo>
                  <a:pt x="698877" y="45952"/>
                  <a:pt x="698877" y="47950"/>
                  <a:pt x="698877" y="49948"/>
                </a:cubicBezTo>
                <a:cubicBezTo>
                  <a:pt x="698877" y="51945"/>
                  <a:pt x="696884" y="53943"/>
                  <a:pt x="700870" y="53943"/>
                </a:cubicBezTo>
                <a:cubicBezTo>
                  <a:pt x="702863" y="51945"/>
                  <a:pt x="712829" y="49948"/>
                  <a:pt x="714822" y="47950"/>
                </a:cubicBezTo>
                <a:cubicBezTo>
                  <a:pt x="718808" y="45952"/>
                  <a:pt x="726780" y="41956"/>
                  <a:pt x="730766" y="39958"/>
                </a:cubicBezTo>
                <a:cubicBezTo>
                  <a:pt x="732760" y="37960"/>
                  <a:pt x="736746" y="37960"/>
                  <a:pt x="738738" y="35962"/>
                </a:cubicBezTo>
                <a:cubicBezTo>
                  <a:pt x="740731" y="33964"/>
                  <a:pt x="740731" y="31966"/>
                  <a:pt x="742725" y="29968"/>
                </a:cubicBezTo>
                <a:cubicBezTo>
                  <a:pt x="744718" y="27971"/>
                  <a:pt x="746711" y="27971"/>
                  <a:pt x="746711" y="29968"/>
                </a:cubicBezTo>
                <a:cubicBezTo>
                  <a:pt x="746711" y="31966"/>
                  <a:pt x="744718" y="35962"/>
                  <a:pt x="744718" y="37960"/>
                </a:cubicBezTo>
                <a:cubicBezTo>
                  <a:pt x="744718" y="39958"/>
                  <a:pt x="744718" y="41956"/>
                  <a:pt x="746711" y="41956"/>
                </a:cubicBezTo>
                <a:cubicBezTo>
                  <a:pt x="748704" y="41956"/>
                  <a:pt x="750697" y="37960"/>
                  <a:pt x="750697" y="37960"/>
                </a:cubicBezTo>
                <a:cubicBezTo>
                  <a:pt x="752690" y="37960"/>
                  <a:pt x="754683" y="35962"/>
                  <a:pt x="758670" y="37960"/>
                </a:cubicBezTo>
                <a:cubicBezTo>
                  <a:pt x="758670" y="37960"/>
                  <a:pt x="760662" y="37960"/>
                  <a:pt x="760662" y="37960"/>
                </a:cubicBezTo>
                <a:cubicBezTo>
                  <a:pt x="762655" y="35962"/>
                  <a:pt x="762655" y="33964"/>
                  <a:pt x="760662" y="33964"/>
                </a:cubicBezTo>
                <a:cubicBezTo>
                  <a:pt x="758670" y="31966"/>
                  <a:pt x="754683" y="31966"/>
                  <a:pt x="754683" y="29968"/>
                </a:cubicBezTo>
                <a:cubicBezTo>
                  <a:pt x="752690" y="25973"/>
                  <a:pt x="758670" y="21977"/>
                  <a:pt x="760662" y="19979"/>
                </a:cubicBezTo>
                <a:cubicBezTo>
                  <a:pt x="762655" y="17981"/>
                  <a:pt x="764648" y="15983"/>
                  <a:pt x="766642" y="15983"/>
                </a:cubicBezTo>
                <a:cubicBezTo>
                  <a:pt x="770628" y="15983"/>
                  <a:pt x="772621" y="13985"/>
                  <a:pt x="772621" y="15983"/>
                </a:cubicBezTo>
                <a:cubicBezTo>
                  <a:pt x="772621" y="17981"/>
                  <a:pt x="768634" y="19979"/>
                  <a:pt x="768634" y="21977"/>
                </a:cubicBezTo>
                <a:cubicBezTo>
                  <a:pt x="768634" y="23975"/>
                  <a:pt x="770628" y="25973"/>
                  <a:pt x="770628" y="25973"/>
                </a:cubicBezTo>
                <a:cubicBezTo>
                  <a:pt x="772621" y="25973"/>
                  <a:pt x="772621" y="21977"/>
                  <a:pt x="774614" y="21977"/>
                </a:cubicBezTo>
                <a:cubicBezTo>
                  <a:pt x="774614" y="19979"/>
                  <a:pt x="784579" y="19979"/>
                  <a:pt x="786572" y="19979"/>
                </a:cubicBezTo>
                <a:cubicBezTo>
                  <a:pt x="788565" y="19979"/>
                  <a:pt x="796538" y="19979"/>
                  <a:pt x="798531" y="19979"/>
                </a:cubicBezTo>
                <a:cubicBezTo>
                  <a:pt x="800523" y="19979"/>
                  <a:pt x="802516" y="17981"/>
                  <a:pt x="804510" y="17981"/>
                </a:cubicBezTo>
                <a:cubicBezTo>
                  <a:pt x="804510" y="17981"/>
                  <a:pt x="810489" y="15983"/>
                  <a:pt x="814475" y="15983"/>
                </a:cubicBezTo>
                <a:cubicBezTo>
                  <a:pt x="818461" y="13985"/>
                  <a:pt x="822447" y="11987"/>
                  <a:pt x="824440" y="9989"/>
                </a:cubicBezTo>
                <a:cubicBezTo>
                  <a:pt x="826434" y="7992"/>
                  <a:pt x="830420" y="5994"/>
                  <a:pt x="834406" y="3996"/>
                </a:cubicBezTo>
                <a:cubicBezTo>
                  <a:pt x="836399" y="3996"/>
                  <a:pt x="848357" y="0"/>
                  <a:pt x="850350" y="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90" name="Ecuador"/>
          <p:cNvSpPr>
            <a:spLocks/>
          </p:cNvSpPr>
          <p:nvPr/>
        </p:nvSpPr>
        <p:spPr bwMode="auto">
          <a:xfrm>
            <a:off x="3712104" y="4026959"/>
            <a:ext cx="455660" cy="203725"/>
          </a:xfrm>
          <a:custGeom>
            <a:avLst/>
            <a:gdLst>
              <a:gd name="connsiteX0" fmla="*/ 54504 w 442913"/>
              <a:gd name="connsiteY0" fmla="*/ 82578 h 198025"/>
              <a:gd name="connsiteX1" fmla="*/ 56620 w 442913"/>
              <a:gd name="connsiteY1" fmla="*/ 82578 h 198025"/>
              <a:gd name="connsiteX2" fmla="*/ 56620 w 442913"/>
              <a:gd name="connsiteY2" fmla="*/ 84695 h 198025"/>
              <a:gd name="connsiteX3" fmla="*/ 54504 w 442913"/>
              <a:gd name="connsiteY3" fmla="*/ 82578 h 198025"/>
              <a:gd name="connsiteX4" fmla="*/ 31750 w 442913"/>
              <a:gd name="connsiteY4" fmla="*/ 74641 h 198025"/>
              <a:gd name="connsiteX5" fmla="*/ 35983 w 442913"/>
              <a:gd name="connsiteY5" fmla="*/ 74641 h 198025"/>
              <a:gd name="connsiteX6" fmla="*/ 33867 w 442913"/>
              <a:gd name="connsiteY6" fmla="*/ 78874 h 198025"/>
              <a:gd name="connsiteX7" fmla="*/ 31750 w 442913"/>
              <a:gd name="connsiteY7" fmla="*/ 74641 h 198025"/>
              <a:gd name="connsiteX8" fmla="*/ 64029 w 442913"/>
              <a:gd name="connsiteY8" fmla="*/ 63316 h 198025"/>
              <a:gd name="connsiteX9" fmla="*/ 72495 w 442913"/>
              <a:gd name="connsiteY9" fmla="*/ 63316 h 198025"/>
              <a:gd name="connsiteX10" fmla="*/ 68262 w 442913"/>
              <a:gd name="connsiteY10" fmla="*/ 69031 h 198025"/>
              <a:gd name="connsiteX11" fmla="*/ 57679 w 442913"/>
              <a:gd name="connsiteY11" fmla="*/ 69031 h 198025"/>
              <a:gd name="connsiteX12" fmla="*/ 64029 w 442913"/>
              <a:gd name="connsiteY12" fmla="*/ 63316 h 198025"/>
              <a:gd name="connsiteX13" fmla="*/ 25876 w 442913"/>
              <a:gd name="connsiteY13" fmla="*/ 53474 h 198025"/>
              <a:gd name="connsiteX14" fmla="*/ 27940 w 442913"/>
              <a:gd name="connsiteY14" fmla="*/ 53474 h 198025"/>
              <a:gd name="connsiteX15" fmla="*/ 30003 w 442913"/>
              <a:gd name="connsiteY15" fmla="*/ 55379 h 198025"/>
              <a:gd name="connsiteX16" fmla="*/ 32067 w 442913"/>
              <a:gd name="connsiteY16" fmla="*/ 57284 h 198025"/>
              <a:gd name="connsiteX17" fmla="*/ 36195 w 442913"/>
              <a:gd name="connsiteY17" fmla="*/ 55379 h 198025"/>
              <a:gd name="connsiteX18" fmla="*/ 42386 w 442913"/>
              <a:gd name="connsiteY18" fmla="*/ 59189 h 198025"/>
              <a:gd name="connsiteX19" fmla="*/ 36195 w 442913"/>
              <a:gd name="connsiteY19" fmla="*/ 62999 h 198025"/>
              <a:gd name="connsiteX20" fmla="*/ 27940 w 442913"/>
              <a:gd name="connsiteY20" fmla="*/ 57284 h 198025"/>
              <a:gd name="connsiteX21" fmla="*/ 25876 w 442913"/>
              <a:gd name="connsiteY21" fmla="*/ 53474 h 198025"/>
              <a:gd name="connsiteX22" fmla="*/ 7620 w 442913"/>
              <a:gd name="connsiteY22" fmla="*/ 48711 h 198025"/>
              <a:gd name="connsiteX23" fmla="*/ 9525 w 442913"/>
              <a:gd name="connsiteY23" fmla="*/ 52680 h 198025"/>
              <a:gd name="connsiteX24" fmla="*/ 5715 w 442913"/>
              <a:gd name="connsiteY24" fmla="*/ 54664 h 198025"/>
              <a:gd name="connsiteX25" fmla="*/ 0 w 442913"/>
              <a:gd name="connsiteY25" fmla="*/ 50695 h 198025"/>
              <a:gd name="connsiteX26" fmla="*/ 7620 w 442913"/>
              <a:gd name="connsiteY26" fmla="*/ 48711 h 198025"/>
              <a:gd name="connsiteX27" fmla="*/ 8514 w 442913"/>
              <a:gd name="connsiteY27" fmla="*/ 37996 h 198025"/>
              <a:gd name="connsiteX28" fmla="*/ 14143 w 442913"/>
              <a:gd name="connsiteY28" fmla="*/ 41964 h 198025"/>
              <a:gd name="connsiteX29" fmla="*/ 17895 w 442913"/>
              <a:gd name="connsiteY29" fmla="*/ 45933 h 198025"/>
              <a:gd name="connsiteX30" fmla="*/ 19771 w 442913"/>
              <a:gd name="connsiteY30" fmla="*/ 51886 h 198025"/>
              <a:gd name="connsiteX31" fmla="*/ 21648 w 442913"/>
              <a:gd name="connsiteY31" fmla="*/ 55855 h 198025"/>
              <a:gd name="connsiteX32" fmla="*/ 23524 w 442913"/>
              <a:gd name="connsiteY32" fmla="*/ 59823 h 198025"/>
              <a:gd name="connsiteX33" fmla="*/ 25400 w 442913"/>
              <a:gd name="connsiteY33" fmla="*/ 63792 h 198025"/>
              <a:gd name="connsiteX34" fmla="*/ 23524 w 442913"/>
              <a:gd name="connsiteY34" fmla="*/ 69745 h 198025"/>
              <a:gd name="connsiteX35" fmla="*/ 14143 w 442913"/>
              <a:gd name="connsiteY35" fmla="*/ 75698 h 198025"/>
              <a:gd name="connsiteX36" fmla="*/ 8514 w 442913"/>
              <a:gd name="connsiteY36" fmla="*/ 67761 h 198025"/>
              <a:gd name="connsiteX37" fmla="*/ 10390 w 442913"/>
              <a:gd name="connsiteY37" fmla="*/ 65776 h 198025"/>
              <a:gd name="connsiteX38" fmla="*/ 16019 w 442913"/>
              <a:gd name="connsiteY38" fmla="*/ 63792 h 198025"/>
              <a:gd name="connsiteX39" fmla="*/ 14143 w 442913"/>
              <a:gd name="connsiteY39" fmla="*/ 55855 h 198025"/>
              <a:gd name="connsiteX40" fmla="*/ 10390 w 442913"/>
              <a:gd name="connsiteY40" fmla="*/ 51886 h 198025"/>
              <a:gd name="connsiteX41" fmla="*/ 6638 w 442913"/>
              <a:gd name="connsiteY41" fmla="*/ 43949 h 198025"/>
              <a:gd name="connsiteX42" fmla="*/ 8514 w 442913"/>
              <a:gd name="connsiteY42" fmla="*/ 37996 h 198025"/>
              <a:gd name="connsiteX43" fmla="*/ 341710 w 442913"/>
              <a:gd name="connsiteY43" fmla="*/ 1500 h 198025"/>
              <a:gd name="connsiteX44" fmla="*/ 349648 w 442913"/>
              <a:gd name="connsiteY44" fmla="*/ 1500 h 198025"/>
              <a:gd name="connsiteX45" fmla="*/ 353616 w 442913"/>
              <a:gd name="connsiteY45" fmla="*/ 3501 h 198025"/>
              <a:gd name="connsiteX46" fmla="*/ 359569 w 442913"/>
              <a:gd name="connsiteY46" fmla="*/ 5501 h 198025"/>
              <a:gd name="connsiteX47" fmla="*/ 365523 w 442913"/>
              <a:gd name="connsiteY47" fmla="*/ 9501 h 198025"/>
              <a:gd name="connsiteX48" fmla="*/ 375444 w 442913"/>
              <a:gd name="connsiteY48" fmla="*/ 15502 h 198025"/>
              <a:gd name="connsiteX49" fmla="*/ 383382 w 442913"/>
              <a:gd name="connsiteY49" fmla="*/ 21503 h 198025"/>
              <a:gd name="connsiteX50" fmla="*/ 391319 w 442913"/>
              <a:gd name="connsiteY50" fmla="*/ 29504 h 198025"/>
              <a:gd name="connsiteX51" fmla="*/ 399257 w 442913"/>
              <a:gd name="connsiteY51" fmla="*/ 33504 h 198025"/>
              <a:gd name="connsiteX52" fmla="*/ 409179 w 442913"/>
              <a:gd name="connsiteY52" fmla="*/ 33504 h 198025"/>
              <a:gd name="connsiteX53" fmla="*/ 415132 w 442913"/>
              <a:gd name="connsiteY53" fmla="*/ 31504 h 198025"/>
              <a:gd name="connsiteX54" fmla="*/ 427038 w 442913"/>
              <a:gd name="connsiteY54" fmla="*/ 35505 h 198025"/>
              <a:gd name="connsiteX55" fmla="*/ 431007 w 442913"/>
              <a:gd name="connsiteY55" fmla="*/ 39505 h 198025"/>
              <a:gd name="connsiteX56" fmla="*/ 436960 w 442913"/>
              <a:gd name="connsiteY56" fmla="*/ 43506 h 198025"/>
              <a:gd name="connsiteX57" fmla="*/ 442913 w 442913"/>
              <a:gd name="connsiteY57" fmla="*/ 51507 h 198025"/>
              <a:gd name="connsiteX58" fmla="*/ 438944 w 442913"/>
              <a:gd name="connsiteY58" fmla="*/ 67509 h 198025"/>
              <a:gd name="connsiteX59" fmla="*/ 434976 w 442913"/>
              <a:gd name="connsiteY59" fmla="*/ 85511 h 198025"/>
              <a:gd name="connsiteX60" fmla="*/ 427038 w 442913"/>
              <a:gd name="connsiteY60" fmla="*/ 105513 h 198025"/>
              <a:gd name="connsiteX61" fmla="*/ 411163 w 442913"/>
              <a:gd name="connsiteY61" fmla="*/ 123516 h 198025"/>
              <a:gd name="connsiteX62" fmla="*/ 399257 w 442913"/>
              <a:gd name="connsiteY62" fmla="*/ 125516 h 198025"/>
              <a:gd name="connsiteX63" fmla="*/ 391319 w 442913"/>
              <a:gd name="connsiteY63" fmla="*/ 127516 h 198025"/>
              <a:gd name="connsiteX64" fmla="*/ 381398 w 442913"/>
              <a:gd name="connsiteY64" fmla="*/ 133517 h 198025"/>
              <a:gd name="connsiteX65" fmla="*/ 375444 w 442913"/>
              <a:gd name="connsiteY65" fmla="*/ 137517 h 198025"/>
              <a:gd name="connsiteX66" fmla="*/ 363538 w 442913"/>
              <a:gd name="connsiteY66" fmla="*/ 147519 h 198025"/>
              <a:gd name="connsiteX67" fmla="*/ 359569 w 442913"/>
              <a:gd name="connsiteY67" fmla="*/ 161520 h 198025"/>
              <a:gd name="connsiteX68" fmla="*/ 359569 w 442913"/>
              <a:gd name="connsiteY68" fmla="*/ 175522 h 198025"/>
              <a:gd name="connsiteX69" fmla="*/ 357585 w 442913"/>
              <a:gd name="connsiteY69" fmla="*/ 183523 h 198025"/>
              <a:gd name="connsiteX70" fmla="*/ 351632 w 442913"/>
              <a:gd name="connsiteY70" fmla="*/ 185523 h 198025"/>
              <a:gd name="connsiteX71" fmla="*/ 351632 w 442913"/>
              <a:gd name="connsiteY71" fmla="*/ 189524 h 198025"/>
              <a:gd name="connsiteX72" fmla="*/ 349648 w 442913"/>
              <a:gd name="connsiteY72" fmla="*/ 193524 h 198025"/>
              <a:gd name="connsiteX73" fmla="*/ 347663 w 442913"/>
              <a:gd name="connsiteY73" fmla="*/ 197525 h 198025"/>
              <a:gd name="connsiteX74" fmla="*/ 343694 w 442913"/>
              <a:gd name="connsiteY74" fmla="*/ 195525 h 198025"/>
              <a:gd name="connsiteX75" fmla="*/ 341710 w 442913"/>
              <a:gd name="connsiteY75" fmla="*/ 185523 h 198025"/>
              <a:gd name="connsiteX76" fmla="*/ 337741 w 442913"/>
              <a:gd name="connsiteY76" fmla="*/ 179523 h 198025"/>
              <a:gd name="connsiteX77" fmla="*/ 333773 w 442913"/>
              <a:gd name="connsiteY77" fmla="*/ 177522 h 198025"/>
              <a:gd name="connsiteX78" fmla="*/ 325835 w 442913"/>
              <a:gd name="connsiteY78" fmla="*/ 177522 h 198025"/>
              <a:gd name="connsiteX79" fmla="*/ 321866 w 442913"/>
              <a:gd name="connsiteY79" fmla="*/ 177522 h 198025"/>
              <a:gd name="connsiteX80" fmla="*/ 317898 w 442913"/>
              <a:gd name="connsiteY80" fmla="*/ 181523 h 198025"/>
              <a:gd name="connsiteX81" fmla="*/ 313929 w 442913"/>
              <a:gd name="connsiteY81" fmla="*/ 179523 h 198025"/>
              <a:gd name="connsiteX82" fmla="*/ 311944 w 442913"/>
              <a:gd name="connsiteY82" fmla="*/ 173522 h 198025"/>
              <a:gd name="connsiteX83" fmla="*/ 315913 w 442913"/>
              <a:gd name="connsiteY83" fmla="*/ 167521 h 198025"/>
              <a:gd name="connsiteX84" fmla="*/ 323851 w 442913"/>
              <a:gd name="connsiteY84" fmla="*/ 163521 h 198025"/>
              <a:gd name="connsiteX85" fmla="*/ 323851 w 442913"/>
              <a:gd name="connsiteY85" fmla="*/ 159520 h 198025"/>
              <a:gd name="connsiteX86" fmla="*/ 321866 w 442913"/>
              <a:gd name="connsiteY86" fmla="*/ 155520 h 198025"/>
              <a:gd name="connsiteX87" fmla="*/ 315913 w 442913"/>
              <a:gd name="connsiteY87" fmla="*/ 147519 h 198025"/>
              <a:gd name="connsiteX88" fmla="*/ 311944 w 442913"/>
              <a:gd name="connsiteY88" fmla="*/ 141518 h 198025"/>
              <a:gd name="connsiteX89" fmla="*/ 315913 w 442913"/>
              <a:gd name="connsiteY89" fmla="*/ 137517 h 198025"/>
              <a:gd name="connsiteX90" fmla="*/ 321866 w 442913"/>
              <a:gd name="connsiteY90" fmla="*/ 127516 h 198025"/>
              <a:gd name="connsiteX91" fmla="*/ 317898 w 442913"/>
              <a:gd name="connsiteY91" fmla="*/ 117515 h 198025"/>
              <a:gd name="connsiteX92" fmla="*/ 311944 w 442913"/>
              <a:gd name="connsiteY92" fmla="*/ 113514 h 198025"/>
              <a:gd name="connsiteX93" fmla="*/ 305991 w 442913"/>
              <a:gd name="connsiteY93" fmla="*/ 115515 h 198025"/>
              <a:gd name="connsiteX94" fmla="*/ 304007 w 442913"/>
              <a:gd name="connsiteY94" fmla="*/ 123516 h 198025"/>
              <a:gd name="connsiteX95" fmla="*/ 298054 w 442913"/>
              <a:gd name="connsiteY95" fmla="*/ 123516 h 198025"/>
              <a:gd name="connsiteX96" fmla="*/ 292101 w 442913"/>
              <a:gd name="connsiteY96" fmla="*/ 117515 h 198025"/>
              <a:gd name="connsiteX97" fmla="*/ 288132 w 442913"/>
              <a:gd name="connsiteY97" fmla="*/ 115515 h 198025"/>
              <a:gd name="connsiteX98" fmla="*/ 286148 w 442913"/>
              <a:gd name="connsiteY98" fmla="*/ 109514 h 198025"/>
              <a:gd name="connsiteX99" fmla="*/ 288132 w 442913"/>
              <a:gd name="connsiteY99" fmla="*/ 105513 h 198025"/>
              <a:gd name="connsiteX100" fmla="*/ 292101 w 442913"/>
              <a:gd name="connsiteY100" fmla="*/ 101513 h 198025"/>
              <a:gd name="connsiteX101" fmla="*/ 290116 w 442913"/>
              <a:gd name="connsiteY101" fmla="*/ 93512 h 198025"/>
              <a:gd name="connsiteX102" fmla="*/ 288132 w 442913"/>
              <a:gd name="connsiteY102" fmla="*/ 89511 h 198025"/>
              <a:gd name="connsiteX103" fmla="*/ 288132 w 442913"/>
              <a:gd name="connsiteY103" fmla="*/ 83511 h 198025"/>
              <a:gd name="connsiteX104" fmla="*/ 286148 w 442913"/>
              <a:gd name="connsiteY104" fmla="*/ 75510 h 198025"/>
              <a:gd name="connsiteX105" fmla="*/ 288132 w 442913"/>
              <a:gd name="connsiteY105" fmla="*/ 73509 h 198025"/>
              <a:gd name="connsiteX106" fmla="*/ 294085 w 442913"/>
              <a:gd name="connsiteY106" fmla="*/ 71509 h 198025"/>
              <a:gd name="connsiteX107" fmla="*/ 294085 w 442913"/>
              <a:gd name="connsiteY107" fmla="*/ 63508 h 198025"/>
              <a:gd name="connsiteX108" fmla="*/ 294085 w 442913"/>
              <a:gd name="connsiteY108" fmla="*/ 55507 h 198025"/>
              <a:gd name="connsiteX109" fmla="*/ 302023 w 442913"/>
              <a:gd name="connsiteY109" fmla="*/ 51507 h 198025"/>
              <a:gd name="connsiteX110" fmla="*/ 302023 w 442913"/>
              <a:gd name="connsiteY110" fmla="*/ 43506 h 198025"/>
              <a:gd name="connsiteX111" fmla="*/ 305991 w 442913"/>
              <a:gd name="connsiteY111" fmla="*/ 37505 h 198025"/>
              <a:gd name="connsiteX112" fmla="*/ 309960 w 442913"/>
              <a:gd name="connsiteY112" fmla="*/ 33504 h 198025"/>
              <a:gd name="connsiteX113" fmla="*/ 305991 w 442913"/>
              <a:gd name="connsiteY113" fmla="*/ 29504 h 198025"/>
              <a:gd name="connsiteX114" fmla="*/ 304007 w 442913"/>
              <a:gd name="connsiteY114" fmla="*/ 23503 h 198025"/>
              <a:gd name="connsiteX115" fmla="*/ 311944 w 442913"/>
              <a:gd name="connsiteY115" fmla="*/ 17502 h 198025"/>
              <a:gd name="connsiteX116" fmla="*/ 325835 w 442913"/>
              <a:gd name="connsiteY116" fmla="*/ 9501 h 198025"/>
              <a:gd name="connsiteX117" fmla="*/ 335757 w 442913"/>
              <a:gd name="connsiteY117" fmla="*/ 5501 h 198025"/>
              <a:gd name="connsiteX118" fmla="*/ 341710 w 442913"/>
              <a:gd name="connsiteY118" fmla="*/ 1500 h 19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42913" h="198025">
                <a:moveTo>
                  <a:pt x="54504" y="82578"/>
                </a:moveTo>
                <a:cubicBezTo>
                  <a:pt x="52387" y="80461"/>
                  <a:pt x="56620" y="82578"/>
                  <a:pt x="56620" y="82578"/>
                </a:cubicBezTo>
                <a:cubicBezTo>
                  <a:pt x="56620" y="82578"/>
                  <a:pt x="58737" y="82578"/>
                  <a:pt x="56620" y="84695"/>
                </a:cubicBezTo>
                <a:cubicBezTo>
                  <a:pt x="56620" y="86811"/>
                  <a:pt x="54504" y="86811"/>
                  <a:pt x="54504" y="82578"/>
                </a:cubicBezTo>
                <a:close/>
                <a:moveTo>
                  <a:pt x="31750" y="74641"/>
                </a:moveTo>
                <a:cubicBezTo>
                  <a:pt x="31750" y="72524"/>
                  <a:pt x="35983" y="74641"/>
                  <a:pt x="35983" y="74641"/>
                </a:cubicBezTo>
                <a:cubicBezTo>
                  <a:pt x="38100" y="76758"/>
                  <a:pt x="35983" y="78874"/>
                  <a:pt x="33867" y="78874"/>
                </a:cubicBezTo>
                <a:cubicBezTo>
                  <a:pt x="31750" y="78874"/>
                  <a:pt x="31750" y="76758"/>
                  <a:pt x="31750" y="74641"/>
                </a:cubicBezTo>
                <a:close/>
                <a:moveTo>
                  <a:pt x="64029" y="63316"/>
                </a:moveTo>
                <a:cubicBezTo>
                  <a:pt x="66145" y="61411"/>
                  <a:pt x="70379" y="61411"/>
                  <a:pt x="72495" y="63316"/>
                </a:cubicBezTo>
                <a:cubicBezTo>
                  <a:pt x="74612" y="65221"/>
                  <a:pt x="72495" y="67126"/>
                  <a:pt x="68262" y="69031"/>
                </a:cubicBezTo>
                <a:cubicBezTo>
                  <a:pt x="66145" y="70936"/>
                  <a:pt x="59795" y="70936"/>
                  <a:pt x="57679" y="69031"/>
                </a:cubicBezTo>
                <a:cubicBezTo>
                  <a:pt x="55562" y="67126"/>
                  <a:pt x="64029" y="63316"/>
                  <a:pt x="64029" y="63316"/>
                </a:cubicBezTo>
                <a:close/>
                <a:moveTo>
                  <a:pt x="25876" y="53474"/>
                </a:moveTo>
                <a:cubicBezTo>
                  <a:pt x="25876" y="53474"/>
                  <a:pt x="27940" y="53474"/>
                  <a:pt x="27940" y="53474"/>
                </a:cubicBezTo>
                <a:cubicBezTo>
                  <a:pt x="30003" y="53474"/>
                  <a:pt x="30003" y="55379"/>
                  <a:pt x="30003" y="55379"/>
                </a:cubicBezTo>
                <a:cubicBezTo>
                  <a:pt x="30003" y="55379"/>
                  <a:pt x="32067" y="57284"/>
                  <a:pt x="32067" y="57284"/>
                </a:cubicBezTo>
                <a:cubicBezTo>
                  <a:pt x="32067" y="59189"/>
                  <a:pt x="34131" y="57284"/>
                  <a:pt x="36195" y="55379"/>
                </a:cubicBezTo>
                <a:cubicBezTo>
                  <a:pt x="38259" y="55379"/>
                  <a:pt x="42386" y="55379"/>
                  <a:pt x="42386" y="59189"/>
                </a:cubicBezTo>
                <a:cubicBezTo>
                  <a:pt x="44450" y="62999"/>
                  <a:pt x="38259" y="62999"/>
                  <a:pt x="36195" y="62999"/>
                </a:cubicBezTo>
                <a:cubicBezTo>
                  <a:pt x="34131" y="62999"/>
                  <a:pt x="30003" y="59189"/>
                  <a:pt x="27940" y="57284"/>
                </a:cubicBezTo>
                <a:cubicBezTo>
                  <a:pt x="25876" y="55379"/>
                  <a:pt x="23812" y="53474"/>
                  <a:pt x="25876" y="53474"/>
                </a:cubicBezTo>
                <a:close/>
                <a:moveTo>
                  <a:pt x="7620" y="48711"/>
                </a:moveTo>
                <a:lnTo>
                  <a:pt x="9525" y="52680"/>
                </a:lnTo>
                <a:cubicBezTo>
                  <a:pt x="9525" y="52680"/>
                  <a:pt x="7620" y="54664"/>
                  <a:pt x="5715" y="54664"/>
                </a:cubicBezTo>
                <a:cubicBezTo>
                  <a:pt x="1905" y="56648"/>
                  <a:pt x="0" y="54664"/>
                  <a:pt x="0" y="50695"/>
                </a:cubicBezTo>
                <a:cubicBezTo>
                  <a:pt x="1905" y="48711"/>
                  <a:pt x="7620" y="48711"/>
                  <a:pt x="7620" y="48711"/>
                </a:cubicBezTo>
                <a:close/>
                <a:moveTo>
                  <a:pt x="8514" y="37996"/>
                </a:moveTo>
                <a:cubicBezTo>
                  <a:pt x="10390" y="36011"/>
                  <a:pt x="14143" y="41964"/>
                  <a:pt x="14143" y="41964"/>
                </a:cubicBezTo>
                <a:cubicBezTo>
                  <a:pt x="14143" y="41964"/>
                  <a:pt x="16019" y="45933"/>
                  <a:pt x="17895" y="45933"/>
                </a:cubicBezTo>
                <a:cubicBezTo>
                  <a:pt x="17895" y="47917"/>
                  <a:pt x="21648" y="49902"/>
                  <a:pt x="19771" y="51886"/>
                </a:cubicBezTo>
                <a:cubicBezTo>
                  <a:pt x="19771" y="53870"/>
                  <a:pt x="21648" y="55855"/>
                  <a:pt x="21648" y="55855"/>
                </a:cubicBezTo>
                <a:cubicBezTo>
                  <a:pt x="23524" y="59823"/>
                  <a:pt x="23524" y="59823"/>
                  <a:pt x="23524" y="59823"/>
                </a:cubicBezTo>
                <a:cubicBezTo>
                  <a:pt x="23524" y="59823"/>
                  <a:pt x="25400" y="63792"/>
                  <a:pt x="25400" y="63792"/>
                </a:cubicBezTo>
                <a:cubicBezTo>
                  <a:pt x="25400" y="65776"/>
                  <a:pt x="25400" y="67761"/>
                  <a:pt x="23524" y="69745"/>
                </a:cubicBezTo>
                <a:cubicBezTo>
                  <a:pt x="21648" y="71730"/>
                  <a:pt x="17895" y="75698"/>
                  <a:pt x="14143" y="75698"/>
                </a:cubicBezTo>
                <a:cubicBezTo>
                  <a:pt x="10390" y="73714"/>
                  <a:pt x="8514" y="71730"/>
                  <a:pt x="8514" y="67761"/>
                </a:cubicBezTo>
                <a:cubicBezTo>
                  <a:pt x="6638" y="65776"/>
                  <a:pt x="10390" y="65776"/>
                  <a:pt x="10390" y="65776"/>
                </a:cubicBezTo>
                <a:cubicBezTo>
                  <a:pt x="12267" y="65776"/>
                  <a:pt x="16019" y="65776"/>
                  <a:pt x="16019" y="63792"/>
                </a:cubicBezTo>
                <a:cubicBezTo>
                  <a:pt x="16019" y="59823"/>
                  <a:pt x="14143" y="55855"/>
                  <a:pt x="14143" y="55855"/>
                </a:cubicBezTo>
                <a:cubicBezTo>
                  <a:pt x="14143" y="55855"/>
                  <a:pt x="10390" y="53870"/>
                  <a:pt x="10390" y="51886"/>
                </a:cubicBezTo>
                <a:cubicBezTo>
                  <a:pt x="8514" y="49902"/>
                  <a:pt x="6638" y="43949"/>
                  <a:pt x="6638" y="43949"/>
                </a:cubicBezTo>
                <a:cubicBezTo>
                  <a:pt x="6638" y="43949"/>
                  <a:pt x="4762" y="39980"/>
                  <a:pt x="8514" y="37996"/>
                </a:cubicBezTo>
                <a:close/>
                <a:moveTo>
                  <a:pt x="341710" y="1500"/>
                </a:moveTo>
                <a:cubicBezTo>
                  <a:pt x="341710" y="-500"/>
                  <a:pt x="347663" y="-500"/>
                  <a:pt x="349648" y="1500"/>
                </a:cubicBezTo>
                <a:cubicBezTo>
                  <a:pt x="351632" y="1500"/>
                  <a:pt x="351632" y="3501"/>
                  <a:pt x="353616" y="3501"/>
                </a:cubicBezTo>
                <a:cubicBezTo>
                  <a:pt x="355601" y="5501"/>
                  <a:pt x="357585" y="5501"/>
                  <a:pt x="359569" y="5501"/>
                </a:cubicBezTo>
                <a:cubicBezTo>
                  <a:pt x="361554" y="5501"/>
                  <a:pt x="365523" y="9501"/>
                  <a:pt x="365523" y="9501"/>
                </a:cubicBezTo>
                <a:cubicBezTo>
                  <a:pt x="365523" y="9501"/>
                  <a:pt x="375444" y="13502"/>
                  <a:pt x="375444" y="15502"/>
                </a:cubicBezTo>
                <a:cubicBezTo>
                  <a:pt x="375444" y="17502"/>
                  <a:pt x="381398" y="21503"/>
                  <a:pt x="383382" y="21503"/>
                </a:cubicBezTo>
                <a:cubicBezTo>
                  <a:pt x="383382" y="23503"/>
                  <a:pt x="389335" y="27504"/>
                  <a:pt x="391319" y="29504"/>
                </a:cubicBezTo>
                <a:cubicBezTo>
                  <a:pt x="391319" y="29504"/>
                  <a:pt x="397273" y="31504"/>
                  <a:pt x="399257" y="33504"/>
                </a:cubicBezTo>
                <a:cubicBezTo>
                  <a:pt x="401241" y="33504"/>
                  <a:pt x="407194" y="33504"/>
                  <a:pt x="409179" y="33504"/>
                </a:cubicBezTo>
                <a:cubicBezTo>
                  <a:pt x="409179" y="31504"/>
                  <a:pt x="413148" y="31504"/>
                  <a:pt x="415132" y="31504"/>
                </a:cubicBezTo>
                <a:cubicBezTo>
                  <a:pt x="419101" y="31504"/>
                  <a:pt x="427038" y="35505"/>
                  <a:pt x="427038" y="35505"/>
                </a:cubicBezTo>
                <a:cubicBezTo>
                  <a:pt x="427038" y="35505"/>
                  <a:pt x="431007" y="37505"/>
                  <a:pt x="431007" y="39505"/>
                </a:cubicBezTo>
                <a:cubicBezTo>
                  <a:pt x="432991" y="41505"/>
                  <a:pt x="434976" y="43506"/>
                  <a:pt x="436960" y="43506"/>
                </a:cubicBezTo>
                <a:cubicBezTo>
                  <a:pt x="436960" y="45506"/>
                  <a:pt x="442913" y="51507"/>
                  <a:pt x="442913" y="51507"/>
                </a:cubicBezTo>
                <a:cubicBezTo>
                  <a:pt x="442913" y="51507"/>
                  <a:pt x="438944" y="63508"/>
                  <a:pt x="438944" y="67509"/>
                </a:cubicBezTo>
                <a:cubicBezTo>
                  <a:pt x="438944" y="69509"/>
                  <a:pt x="434976" y="83511"/>
                  <a:pt x="434976" y="85511"/>
                </a:cubicBezTo>
                <a:cubicBezTo>
                  <a:pt x="434976" y="89511"/>
                  <a:pt x="429023" y="103513"/>
                  <a:pt x="427038" y="105513"/>
                </a:cubicBezTo>
                <a:cubicBezTo>
                  <a:pt x="425054" y="105513"/>
                  <a:pt x="413148" y="121515"/>
                  <a:pt x="411163" y="123516"/>
                </a:cubicBezTo>
                <a:cubicBezTo>
                  <a:pt x="409179" y="123516"/>
                  <a:pt x="401241" y="125516"/>
                  <a:pt x="399257" y="125516"/>
                </a:cubicBezTo>
                <a:cubicBezTo>
                  <a:pt x="397273" y="125516"/>
                  <a:pt x="393304" y="125516"/>
                  <a:pt x="391319" y="127516"/>
                </a:cubicBezTo>
                <a:cubicBezTo>
                  <a:pt x="389335" y="127516"/>
                  <a:pt x="383382" y="131517"/>
                  <a:pt x="381398" y="133517"/>
                </a:cubicBezTo>
                <a:cubicBezTo>
                  <a:pt x="379413" y="133517"/>
                  <a:pt x="375444" y="137517"/>
                  <a:pt x="375444" y="137517"/>
                </a:cubicBezTo>
                <a:cubicBezTo>
                  <a:pt x="375444" y="137517"/>
                  <a:pt x="365523" y="143518"/>
                  <a:pt x="363538" y="147519"/>
                </a:cubicBezTo>
                <a:cubicBezTo>
                  <a:pt x="361554" y="149519"/>
                  <a:pt x="359569" y="161520"/>
                  <a:pt x="359569" y="161520"/>
                </a:cubicBezTo>
                <a:cubicBezTo>
                  <a:pt x="359569" y="161520"/>
                  <a:pt x="359569" y="173522"/>
                  <a:pt x="359569" y="175522"/>
                </a:cubicBezTo>
                <a:cubicBezTo>
                  <a:pt x="359569" y="177522"/>
                  <a:pt x="359569" y="183523"/>
                  <a:pt x="357585" y="183523"/>
                </a:cubicBezTo>
                <a:cubicBezTo>
                  <a:pt x="355601" y="183523"/>
                  <a:pt x="353616" y="185523"/>
                  <a:pt x="351632" y="185523"/>
                </a:cubicBezTo>
                <a:cubicBezTo>
                  <a:pt x="351632" y="187524"/>
                  <a:pt x="351632" y="189524"/>
                  <a:pt x="351632" y="189524"/>
                </a:cubicBezTo>
                <a:cubicBezTo>
                  <a:pt x="351632" y="189524"/>
                  <a:pt x="349648" y="191524"/>
                  <a:pt x="349648" y="193524"/>
                </a:cubicBezTo>
                <a:cubicBezTo>
                  <a:pt x="349648" y="195525"/>
                  <a:pt x="347663" y="195525"/>
                  <a:pt x="347663" y="197525"/>
                </a:cubicBezTo>
                <a:cubicBezTo>
                  <a:pt x="347663" y="197525"/>
                  <a:pt x="345679" y="199525"/>
                  <a:pt x="343694" y="195525"/>
                </a:cubicBezTo>
                <a:cubicBezTo>
                  <a:pt x="343694" y="195525"/>
                  <a:pt x="341710" y="189524"/>
                  <a:pt x="341710" y="185523"/>
                </a:cubicBezTo>
                <a:cubicBezTo>
                  <a:pt x="339726" y="183523"/>
                  <a:pt x="339726" y="181523"/>
                  <a:pt x="337741" y="179523"/>
                </a:cubicBezTo>
                <a:cubicBezTo>
                  <a:pt x="335757" y="177522"/>
                  <a:pt x="335757" y="177522"/>
                  <a:pt x="333773" y="177522"/>
                </a:cubicBezTo>
                <a:cubicBezTo>
                  <a:pt x="329804" y="177522"/>
                  <a:pt x="327819" y="177522"/>
                  <a:pt x="325835" y="177522"/>
                </a:cubicBezTo>
                <a:cubicBezTo>
                  <a:pt x="323851" y="177522"/>
                  <a:pt x="323851" y="177522"/>
                  <a:pt x="321866" y="177522"/>
                </a:cubicBezTo>
                <a:cubicBezTo>
                  <a:pt x="317898" y="177522"/>
                  <a:pt x="317898" y="179523"/>
                  <a:pt x="317898" y="181523"/>
                </a:cubicBezTo>
                <a:cubicBezTo>
                  <a:pt x="317898" y="183523"/>
                  <a:pt x="315913" y="181523"/>
                  <a:pt x="313929" y="179523"/>
                </a:cubicBezTo>
                <a:cubicBezTo>
                  <a:pt x="313929" y="177522"/>
                  <a:pt x="311944" y="175522"/>
                  <a:pt x="311944" y="173522"/>
                </a:cubicBezTo>
                <a:cubicBezTo>
                  <a:pt x="311944" y="173522"/>
                  <a:pt x="315913" y="167521"/>
                  <a:pt x="315913" y="167521"/>
                </a:cubicBezTo>
                <a:cubicBezTo>
                  <a:pt x="317898" y="165521"/>
                  <a:pt x="321866" y="165521"/>
                  <a:pt x="323851" y="163521"/>
                </a:cubicBezTo>
                <a:cubicBezTo>
                  <a:pt x="323851" y="163521"/>
                  <a:pt x="323851" y="161520"/>
                  <a:pt x="323851" y="159520"/>
                </a:cubicBezTo>
                <a:cubicBezTo>
                  <a:pt x="323851" y="159520"/>
                  <a:pt x="321866" y="157520"/>
                  <a:pt x="321866" y="155520"/>
                </a:cubicBezTo>
                <a:cubicBezTo>
                  <a:pt x="319882" y="155520"/>
                  <a:pt x="315913" y="147519"/>
                  <a:pt x="315913" y="147519"/>
                </a:cubicBezTo>
                <a:cubicBezTo>
                  <a:pt x="315913" y="147519"/>
                  <a:pt x="313929" y="143518"/>
                  <a:pt x="311944" y="141518"/>
                </a:cubicBezTo>
                <a:cubicBezTo>
                  <a:pt x="313929" y="139518"/>
                  <a:pt x="315913" y="137517"/>
                  <a:pt x="315913" y="137517"/>
                </a:cubicBezTo>
                <a:cubicBezTo>
                  <a:pt x="317898" y="135517"/>
                  <a:pt x="321866" y="129516"/>
                  <a:pt x="321866" y="127516"/>
                </a:cubicBezTo>
                <a:cubicBezTo>
                  <a:pt x="321866" y="123516"/>
                  <a:pt x="319882" y="119515"/>
                  <a:pt x="317898" y="117515"/>
                </a:cubicBezTo>
                <a:cubicBezTo>
                  <a:pt x="315913" y="115515"/>
                  <a:pt x="313929" y="113514"/>
                  <a:pt x="311944" y="113514"/>
                </a:cubicBezTo>
                <a:cubicBezTo>
                  <a:pt x="309960" y="113514"/>
                  <a:pt x="305991" y="113514"/>
                  <a:pt x="305991" y="115515"/>
                </a:cubicBezTo>
                <a:cubicBezTo>
                  <a:pt x="305991" y="115515"/>
                  <a:pt x="304007" y="123516"/>
                  <a:pt x="304007" y="123516"/>
                </a:cubicBezTo>
                <a:cubicBezTo>
                  <a:pt x="302023" y="123516"/>
                  <a:pt x="298054" y="125516"/>
                  <a:pt x="298054" y="123516"/>
                </a:cubicBezTo>
                <a:cubicBezTo>
                  <a:pt x="296069" y="123516"/>
                  <a:pt x="294085" y="119515"/>
                  <a:pt x="292101" y="117515"/>
                </a:cubicBezTo>
                <a:cubicBezTo>
                  <a:pt x="292101" y="117515"/>
                  <a:pt x="288132" y="115515"/>
                  <a:pt x="288132" y="115515"/>
                </a:cubicBezTo>
                <a:cubicBezTo>
                  <a:pt x="286148" y="115515"/>
                  <a:pt x="286148" y="113514"/>
                  <a:pt x="286148" y="109514"/>
                </a:cubicBezTo>
                <a:cubicBezTo>
                  <a:pt x="284163" y="107514"/>
                  <a:pt x="288132" y="105513"/>
                  <a:pt x="288132" y="105513"/>
                </a:cubicBezTo>
                <a:cubicBezTo>
                  <a:pt x="290116" y="103513"/>
                  <a:pt x="292101" y="103513"/>
                  <a:pt x="292101" y="101513"/>
                </a:cubicBezTo>
                <a:cubicBezTo>
                  <a:pt x="292101" y="97512"/>
                  <a:pt x="290116" y="95512"/>
                  <a:pt x="290116" y="93512"/>
                </a:cubicBezTo>
                <a:cubicBezTo>
                  <a:pt x="288132" y="93512"/>
                  <a:pt x="286148" y="89511"/>
                  <a:pt x="288132" y="89511"/>
                </a:cubicBezTo>
                <a:cubicBezTo>
                  <a:pt x="288132" y="85511"/>
                  <a:pt x="290116" y="85511"/>
                  <a:pt x="288132" y="83511"/>
                </a:cubicBezTo>
                <a:cubicBezTo>
                  <a:pt x="288132" y="81510"/>
                  <a:pt x="286148" y="79510"/>
                  <a:pt x="286148" y="75510"/>
                </a:cubicBezTo>
                <a:cubicBezTo>
                  <a:pt x="286148" y="73509"/>
                  <a:pt x="286148" y="73509"/>
                  <a:pt x="288132" y="73509"/>
                </a:cubicBezTo>
                <a:cubicBezTo>
                  <a:pt x="290116" y="71509"/>
                  <a:pt x="292101" y="71509"/>
                  <a:pt x="294085" y="71509"/>
                </a:cubicBezTo>
                <a:cubicBezTo>
                  <a:pt x="294085" y="67509"/>
                  <a:pt x="294085" y="65508"/>
                  <a:pt x="294085" y="63508"/>
                </a:cubicBezTo>
                <a:cubicBezTo>
                  <a:pt x="294085" y="59508"/>
                  <a:pt x="292101" y="57507"/>
                  <a:pt x="294085" y="55507"/>
                </a:cubicBezTo>
                <a:cubicBezTo>
                  <a:pt x="296069" y="55507"/>
                  <a:pt x="300038" y="53507"/>
                  <a:pt x="302023" y="51507"/>
                </a:cubicBezTo>
                <a:cubicBezTo>
                  <a:pt x="302023" y="49506"/>
                  <a:pt x="302023" y="43506"/>
                  <a:pt x="302023" y="43506"/>
                </a:cubicBezTo>
                <a:cubicBezTo>
                  <a:pt x="302023" y="41505"/>
                  <a:pt x="304007" y="37505"/>
                  <a:pt x="305991" y="37505"/>
                </a:cubicBezTo>
                <a:cubicBezTo>
                  <a:pt x="305991" y="35505"/>
                  <a:pt x="307976" y="35505"/>
                  <a:pt x="309960" y="33504"/>
                </a:cubicBezTo>
                <a:cubicBezTo>
                  <a:pt x="309960" y="31504"/>
                  <a:pt x="305991" y="29504"/>
                  <a:pt x="305991" y="29504"/>
                </a:cubicBezTo>
                <a:cubicBezTo>
                  <a:pt x="305991" y="29504"/>
                  <a:pt x="304007" y="25503"/>
                  <a:pt x="304007" y="23503"/>
                </a:cubicBezTo>
                <a:cubicBezTo>
                  <a:pt x="304007" y="21503"/>
                  <a:pt x="309960" y="17502"/>
                  <a:pt x="311944" y="17502"/>
                </a:cubicBezTo>
                <a:cubicBezTo>
                  <a:pt x="313929" y="15502"/>
                  <a:pt x="323851" y="9501"/>
                  <a:pt x="325835" y="9501"/>
                </a:cubicBezTo>
                <a:cubicBezTo>
                  <a:pt x="327819" y="7501"/>
                  <a:pt x="331788" y="5501"/>
                  <a:pt x="335757" y="5501"/>
                </a:cubicBezTo>
                <a:cubicBezTo>
                  <a:pt x="337741" y="3501"/>
                  <a:pt x="343694" y="3501"/>
                  <a:pt x="341710" y="150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sp>
        <p:nvSpPr>
          <p:cNvPr id="191" name="Russia"/>
          <p:cNvSpPr>
            <a:spLocks/>
          </p:cNvSpPr>
          <p:nvPr/>
        </p:nvSpPr>
        <p:spPr bwMode="auto">
          <a:xfrm>
            <a:off x="6689410" y="905059"/>
            <a:ext cx="4069910" cy="1787066"/>
          </a:xfrm>
          <a:custGeom>
            <a:avLst/>
            <a:gdLst>
              <a:gd name="connsiteX0" fmla="*/ 3204105 w 3956050"/>
              <a:gd name="connsiteY0" fmla="*/ 1640134 h 1737071"/>
              <a:gd name="connsiteX1" fmla="*/ 3206222 w 3956050"/>
              <a:gd name="connsiteY1" fmla="*/ 1640630 h 1737071"/>
              <a:gd name="connsiteX2" fmla="*/ 3208338 w 3956050"/>
              <a:gd name="connsiteY2" fmla="*/ 1642615 h 1737071"/>
              <a:gd name="connsiteX3" fmla="*/ 3201988 w 3956050"/>
              <a:gd name="connsiteY3" fmla="*/ 1642615 h 1737071"/>
              <a:gd name="connsiteX4" fmla="*/ 3204105 w 3956050"/>
              <a:gd name="connsiteY4" fmla="*/ 1640134 h 1737071"/>
              <a:gd name="connsiteX5" fmla="*/ 3214159 w 3956050"/>
              <a:gd name="connsiteY5" fmla="*/ 1633619 h 1737071"/>
              <a:gd name="connsiteX6" fmla="*/ 3214688 w 3956050"/>
              <a:gd name="connsiteY6" fmla="*/ 1637588 h 1737071"/>
              <a:gd name="connsiteX7" fmla="*/ 3210455 w 3956050"/>
              <a:gd name="connsiteY7" fmla="*/ 1641821 h 1737071"/>
              <a:gd name="connsiteX8" fmla="*/ 3210455 w 3956050"/>
              <a:gd name="connsiteY8" fmla="*/ 1637588 h 1737071"/>
              <a:gd name="connsiteX9" fmla="*/ 3214159 w 3956050"/>
              <a:gd name="connsiteY9" fmla="*/ 1633619 h 1737071"/>
              <a:gd name="connsiteX10" fmla="*/ 3193654 w 3956050"/>
              <a:gd name="connsiteY10" fmla="*/ 1619914 h 1737071"/>
              <a:gd name="connsiteX11" fmla="*/ 3189685 w 3956050"/>
              <a:gd name="connsiteY11" fmla="*/ 1627534 h 1737071"/>
              <a:gd name="connsiteX12" fmla="*/ 3185716 w 3956050"/>
              <a:gd name="connsiteY12" fmla="*/ 1633249 h 1737071"/>
              <a:gd name="connsiteX13" fmla="*/ 3181747 w 3956050"/>
              <a:gd name="connsiteY13" fmla="*/ 1638964 h 1737071"/>
              <a:gd name="connsiteX14" fmla="*/ 3177778 w 3956050"/>
              <a:gd name="connsiteY14" fmla="*/ 1644679 h 1737071"/>
              <a:gd name="connsiteX15" fmla="*/ 3173810 w 3956050"/>
              <a:gd name="connsiteY15" fmla="*/ 1642774 h 1737071"/>
              <a:gd name="connsiteX16" fmla="*/ 3175794 w 3956050"/>
              <a:gd name="connsiteY16" fmla="*/ 1635154 h 1737071"/>
              <a:gd name="connsiteX17" fmla="*/ 3179763 w 3956050"/>
              <a:gd name="connsiteY17" fmla="*/ 1631344 h 1737071"/>
              <a:gd name="connsiteX18" fmla="*/ 3185716 w 3956050"/>
              <a:gd name="connsiteY18" fmla="*/ 1623724 h 1737071"/>
              <a:gd name="connsiteX19" fmla="*/ 3193654 w 3956050"/>
              <a:gd name="connsiteY19" fmla="*/ 1619914 h 1737071"/>
              <a:gd name="connsiteX20" fmla="*/ 3238018 w 3956050"/>
              <a:gd name="connsiteY20" fmla="*/ 1577148 h 1737071"/>
              <a:gd name="connsiteX21" fmla="*/ 3246025 w 3956050"/>
              <a:gd name="connsiteY21" fmla="*/ 1579149 h 1737071"/>
              <a:gd name="connsiteX22" fmla="*/ 3242021 w 3956050"/>
              <a:gd name="connsiteY22" fmla="*/ 1585154 h 1737071"/>
              <a:gd name="connsiteX23" fmla="*/ 3236016 w 3956050"/>
              <a:gd name="connsiteY23" fmla="*/ 1587156 h 1737071"/>
              <a:gd name="connsiteX24" fmla="*/ 3228010 w 3956050"/>
              <a:gd name="connsiteY24" fmla="*/ 1595162 h 1737071"/>
              <a:gd name="connsiteX25" fmla="*/ 3222005 w 3956050"/>
              <a:gd name="connsiteY25" fmla="*/ 1597164 h 1737071"/>
              <a:gd name="connsiteX26" fmla="*/ 3220003 w 3956050"/>
              <a:gd name="connsiteY26" fmla="*/ 1601167 h 1737071"/>
              <a:gd name="connsiteX27" fmla="*/ 3213998 w 3956050"/>
              <a:gd name="connsiteY27" fmla="*/ 1607172 h 1737071"/>
              <a:gd name="connsiteX28" fmla="*/ 3207993 w 3956050"/>
              <a:gd name="connsiteY28" fmla="*/ 1615178 h 1737071"/>
              <a:gd name="connsiteX29" fmla="*/ 3203990 w 3956050"/>
              <a:gd name="connsiteY29" fmla="*/ 1619182 h 1737071"/>
              <a:gd name="connsiteX30" fmla="*/ 3205992 w 3956050"/>
              <a:gd name="connsiteY30" fmla="*/ 1611175 h 1737071"/>
              <a:gd name="connsiteX31" fmla="*/ 3209995 w 3956050"/>
              <a:gd name="connsiteY31" fmla="*/ 1607172 h 1737071"/>
              <a:gd name="connsiteX32" fmla="*/ 3213998 w 3956050"/>
              <a:gd name="connsiteY32" fmla="*/ 1601167 h 1737071"/>
              <a:gd name="connsiteX33" fmla="*/ 3213998 w 3956050"/>
              <a:gd name="connsiteY33" fmla="*/ 1597164 h 1737071"/>
              <a:gd name="connsiteX34" fmla="*/ 3218001 w 3956050"/>
              <a:gd name="connsiteY34" fmla="*/ 1593161 h 1737071"/>
              <a:gd name="connsiteX35" fmla="*/ 3220003 w 3956050"/>
              <a:gd name="connsiteY35" fmla="*/ 1589157 h 1737071"/>
              <a:gd name="connsiteX36" fmla="*/ 3222005 w 3956050"/>
              <a:gd name="connsiteY36" fmla="*/ 1583153 h 1737071"/>
              <a:gd name="connsiteX37" fmla="*/ 3228010 w 3956050"/>
              <a:gd name="connsiteY37" fmla="*/ 1585154 h 1737071"/>
              <a:gd name="connsiteX38" fmla="*/ 3232013 w 3956050"/>
              <a:gd name="connsiteY38" fmla="*/ 1585154 h 1737071"/>
              <a:gd name="connsiteX39" fmla="*/ 3238018 w 3956050"/>
              <a:gd name="connsiteY39" fmla="*/ 1577148 h 1737071"/>
              <a:gd name="connsiteX40" fmla="*/ 3274060 w 3956050"/>
              <a:gd name="connsiteY40" fmla="*/ 1553355 h 1737071"/>
              <a:gd name="connsiteX41" fmla="*/ 3277870 w 3956050"/>
              <a:gd name="connsiteY41" fmla="*/ 1555375 h 1737071"/>
              <a:gd name="connsiteX42" fmla="*/ 3275965 w 3956050"/>
              <a:gd name="connsiteY42" fmla="*/ 1561436 h 1737071"/>
              <a:gd name="connsiteX43" fmla="*/ 3274060 w 3956050"/>
              <a:gd name="connsiteY43" fmla="*/ 1565477 h 1737071"/>
              <a:gd name="connsiteX44" fmla="*/ 3270250 w 3956050"/>
              <a:gd name="connsiteY44" fmla="*/ 1567498 h 1737071"/>
              <a:gd name="connsiteX45" fmla="*/ 3264535 w 3956050"/>
              <a:gd name="connsiteY45" fmla="*/ 1571539 h 1737071"/>
              <a:gd name="connsiteX46" fmla="*/ 3262630 w 3956050"/>
              <a:gd name="connsiteY46" fmla="*/ 1567498 h 1737071"/>
              <a:gd name="connsiteX47" fmla="*/ 3266440 w 3956050"/>
              <a:gd name="connsiteY47" fmla="*/ 1563457 h 1737071"/>
              <a:gd name="connsiteX48" fmla="*/ 3270250 w 3956050"/>
              <a:gd name="connsiteY48" fmla="*/ 1561436 h 1737071"/>
              <a:gd name="connsiteX49" fmla="*/ 3274060 w 3956050"/>
              <a:gd name="connsiteY49" fmla="*/ 1553355 h 1737071"/>
              <a:gd name="connsiteX50" fmla="*/ 3306367 w 3956050"/>
              <a:gd name="connsiteY50" fmla="*/ 1527839 h 1737071"/>
              <a:gd name="connsiteX51" fmla="*/ 3308351 w 3956050"/>
              <a:gd name="connsiteY51" fmla="*/ 1529744 h 1737071"/>
              <a:gd name="connsiteX52" fmla="*/ 3304382 w 3956050"/>
              <a:gd name="connsiteY52" fmla="*/ 1533554 h 1737071"/>
              <a:gd name="connsiteX53" fmla="*/ 3300413 w 3956050"/>
              <a:gd name="connsiteY53" fmla="*/ 1531649 h 1737071"/>
              <a:gd name="connsiteX54" fmla="*/ 3306367 w 3956050"/>
              <a:gd name="connsiteY54" fmla="*/ 1527839 h 1737071"/>
              <a:gd name="connsiteX55" fmla="*/ 3312319 w 3956050"/>
              <a:gd name="connsiteY55" fmla="*/ 1519901 h 1737071"/>
              <a:gd name="connsiteX56" fmla="*/ 3316288 w 3956050"/>
              <a:gd name="connsiteY56" fmla="*/ 1519901 h 1737071"/>
              <a:gd name="connsiteX57" fmla="*/ 3314304 w 3956050"/>
              <a:gd name="connsiteY57" fmla="*/ 1525616 h 1737071"/>
              <a:gd name="connsiteX58" fmla="*/ 3308350 w 3956050"/>
              <a:gd name="connsiteY58" fmla="*/ 1525616 h 1737071"/>
              <a:gd name="connsiteX59" fmla="*/ 3312319 w 3956050"/>
              <a:gd name="connsiteY59" fmla="*/ 1519901 h 1737071"/>
              <a:gd name="connsiteX60" fmla="*/ 3326342 w 3956050"/>
              <a:gd name="connsiteY60" fmla="*/ 1491009 h 1737071"/>
              <a:gd name="connsiteX61" fmla="*/ 3328459 w 3956050"/>
              <a:gd name="connsiteY61" fmla="*/ 1494978 h 1737071"/>
              <a:gd name="connsiteX62" fmla="*/ 3324225 w 3956050"/>
              <a:gd name="connsiteY62" fmla="*/ 1494978 h 1737071"/>
              <a:gd name="connsiteX63" fmla="*/ 3326342 w 3956050"/>
              <a:gd name="connsiteY63" fmla="*/ 1491009 h 1737071"/>
              <a:gd name="connsiteX64" fmla="*/ 3328459 w 3956050"/>
              <a:gd name="connsiteY64" fmla="*/ 1478309 h 1737071"/>
              <a:gd name="connsiteX65" fmla="*/ 3330575 w 3956050"/>
              <a:gd name="connsiteY65" fmla="*/ 1479896 h 1737071"/>
              <a:gd name="connsiteX66" fmla="*/ 3326342 w 3956050"/>
              <a:gd name="connsiteY66" fmla="*/ 1479896 h 1737071"/>
              <a:gd name="connsiteX67" fmla="*/ 3328459 w 3956050"/>
              <a:gd name="connsiteY67" fmla="*/ 1478309 h 1737071"/>
              <a:gd name="connsiteX68" fmla="*/ 3340101 w 3956050"/>
              <a:gd name="connsiteY68" fmla="*/ 1454496 h 1737071"/>
              <a:gd name="connsiteX69" fmla="*/ 3341688 w 3956050"/>
              <a:gd name="connsiteY69" fmla="*/ 1456084 h 1737071"/>
              <a:gd name="connsiteX70" fmla="*/ 3340101 w 3956050"/>
              <a:gd name="connsiteY70" fmla="*/ 1456084 h 1737071"/>
              <a:gd name="connsiteX71" fmla="*/ 3340101 w 3956050"/>
              <a:gd name="connsiteY71" fmla="*/ 1454496 h 1737071"/>
              <a:gd name="connsiteX72" fmla="*/ 3345657 w 3956050"/>
              <a:gd name="connsiteY72" fmla="*/ 1440209 h 1737071"/>
              <a:gd name="connsiteX73" fmla="*/ 3348038 w 3956050"/>
              <a:gd name="connsiteY73" fmla="*/ 1441797 h 1737071"/>
              <a:gd name="connsiteX74" fmla="*/ 3343275 w 3956050"/>
              <a:gd name="connsiteY74" fmla="*/ 1441797 h 1737071"/>
              <a:gd name="connsiteX75" fmla="*/ 3345657 w 3956050"/>
              <a:gd name="connsiteY75" fmla="*/ 1440209 h 1737071"/>
              <a:gd name="connsiteX76" fmla="*/ 3350155 w 3956050"/>
              <a:gd name="connsiteY76" fmla="*/ 1424334 h 1737071"/>
              <a:gd name="connsiteX77" fmla="*/ 3354388 w 3956050"/>
              <a:gd name="connsiteY77" fmla="*/ 1428303 h 1737071"/>
              <a:gd name="connsiteX78" fmla="*/ 3354388 w 3956050"/>
              <a:gd name="connsiteY78" fmla="*/ 1434256 h 1737071"/>
              <a:gd name="connsiteX79" fmla="*/ 3350155 w 3956050"/>
              <a:gd name="connsiteY79" fmla="*/ 1438225 h 1737071"/>
              <a:gd name="connsiteX80" fmla="*/ 3348038 w 3956050"/>
              <a:gd name="connsiteY80" fmla="*/ 1434256 h 1737071"/>
              <a:gd name="connsiteX81" fmla="*/ 3350155 w 3956050"/>
              <a:gd name="connsiteY81" fmla="*/ 1426319 h 1737071"/>
              <a:gd name="connsiteX82" fmla="*/ 3350155 w 3956050"/>
              <a:gd name="connsiteY82" fmla="*/ 1424334 h 1737071"/>
              <a:gd name="connsiteX83" fmla="*/ 3365501 w 3956050"/>
              <a:gd name="connsiteY83" fmla="*/ 1380236 h 1737071"/>
              <a:gd name="connsiteX84" fmla="*/ 3375706 w 3956050"/>
              <a:gd name="connsiteY84" fmla="*/ 1380236 h 1737071"/>
              <a:gd name="connsiteX85" fmla="*/ 3375706 w 3956050"/>
              <a:gd name="connsiteY85" fmla="*/ 1384117 h 1737071"/>
              <a:gd name="connsiteX86" fmla="*/ 3371624 w 3956050"/>
              <a:gd name="connsiteY86" fmla="*/ 1387998 h 1737071"/>
              <a:gd name="connsiteX87" fmla="*/ 3371624 w 3956050"/>
              <a:gd name="connsiteY87" fmla="*/ 1391878 h 1737071"/>
              <a:gd name="connsiteX88" fmla="*/ 3367542 w 3956050"/>
              <a:gd name="connsiteY88" fmla="*/ 1395759 h 1737071"/>
              <a:gd name="connsiteX89" fmla="*/ 3363460 w 3956050"/>
              <a:gd name="connsiteY89" fmla="*/ 1403520 h 1737071"/>
              <a:gd name="connsiteX90" fmla="*/ 3361419 w 3956050"/>
              <a:gd name="connsiteY90" fmla="*/ 1405460 h 1737071"/>
              <a:gd name="connsiteX91" fmla="*/ 3355295 w 3956050"/>
              <a:gd name="connsiteY91" fmla="*/ 1411281 h 1737071"/>
              <a:gd name="connsiteX92" fmla="*/ 3355295 w 3956050"/>
              <a:gd name="connsiteY92" fmla="*/ 1405460 h 1737071"/>
              <a:gd name="connsiteX93" fmla="*/ 3353254 w 3956050"/>
              <a:gd name="connsiteY93" fmla="*/ 1401579 h 1737071"/>
              <a:gd name="connsiteX94" fmla="*/ 3353254 w 3956050"/>
              <a:gd name="connsiteY94" fmla="*/ 1397699 h 1737071"/>
              <a:gd name="connsiteX95" fmla="*/ 3359378 w 3956050"/>
              <a:gd name="connsiteY95" fmla="*/ 1395759 h 1737071"/>
              <a:gd name="connsiteX96" fmla="*/ 3363460 w 3956050"/>
              <a:gd name="connsiteY96" fmla="*/ 1386057 h 1737071"/>
              <a:gd name="connsiteX97" fmla="*/ 3365501 w 3956050"/>
              <a:gd name="connsiteY97" fmla="*/ 1380236 h 1737071"/>
              <a:gd name="connsiteX98" fmla="*/ 2994845 w 3956050"/>
              <a:gd name="connsiteY98" fmla="*/ 1246933 h 1737071"/>
              <a:gd name="connsiteX99" fmla="*/ 3000836 w 3956050"/>
              <a:gd name="connsiteY99" fmla="*/ 1246933 h 1737071"/>
              <a:gd name="connsiteX100" fmla="*/ 3002833 w 3956050"/>
              <a:gd name="connsiteY100" fmla="*/ 1246933 h 1737071"/>
              <a:gd name="connsiteX101" fmla="*/ 3004830 w 3956050"/>
              <a:gd name="connsiteY101" fmla="*/ 1250907 h 1737071"/>
              <a:gd name="connsiteX102" fmla="*/ 3008825 w 3956050"/>
              <a:gd name="connsiteY102" fmla="*/ 1254880 h 1737071"/>
              <a:gd name="connsiteX103" fmla="*/ 3012819 w 3956050"/>
              <a:gd name="connsiteY103" fmla="*/ 1258854 h 1737071"/>
              <a:gd name="connsiteX104" fmla="*/ 3012819 w 3956050"/>
              <a:gd name="connsiteY104" fmla="*/ 1264814 h 1737071"/>
              <a:gd name="connsiteX105" fmla="*/ 3016814 w 3956050"/>
              <a:gd name="connsiteY105" fmla="*/ 1270775 h 1737071"/>
              <a:gd name="connsiteX106" fmla="*/ 3020808 w 3956050"/>
              <a:gd name="connsiteY106" fmla="*/ 1278722 h 1737071"/>
              <a:gd name="connsiteX107" fmla="*/ 3022805 w 3956050"/>
              <a:gd name="connsiteY107" fmla="*/ 1286669 h 1737071"/>
              <a:gd name="connsiteX108" fmla="*/ 3026799 w 3956050"/>
              <a:gd name="connsiteY108" fmla="*/ 1294616 h 1737071"/>
              <a:gd name="connsiteX109" fmla="*/ 3028797 w 3956050"/>
              <a:gd name="connsiteY109" fmla="*/ 1304550 h 1737071"/>
              <a:gd name="connsiteX110" fmla="*/ 3032791 w 3956050"/>
              <a:gd name="connsiteY110" fmla="*/ 1310511 h 1737071"/>
              <a:gd name="connsiteX111" fmla="*/ 3036785 w 3956050"/>
              <a:gd name="connsiteY111" fmla="*/ 1316471 h 1737071"/>
              <a:gd name="connsiteX112" fmla="*/ 3036785 w 3956050"/>
              <a:gd name="connsiteY112" fmla="*/ 1322432 h 1737071"/>
              <a:gd name="connsiteX113" fmla="*/ 3036785 w 3956050"/>
              <a:gd name="connsiteY113" fmla="*/ 1328392 h 1737071"/>
              <a:gd name="connsiteX114" fmla="*/ 3040780 w 3956050"/>
              <a:gd name="connsiteY114" fmla="*/ 1336339 h 1737071"/>
              <a:gd name="connsiteX115" fmla="*/ 3050766 w 3956050"/>
              <a:gd name="connsiteY115" fmla="*/ 1352234 h 1737071"/>
              <a:gd name="connsiteX116" fmla="*/ 3054760 w 3956050"/>
              <a:gd name="connsiteY116" fmla="*/ 1364155 h 1737071"/>
              <a:gd name="connsiteX117" fmla="*/ 3056757 w 3956050"/>
              <a:gd name="connsiteY117" fmla="*/ 1370115 h 1737071"/>
              <a:gd name="connsiteX118" fmla="*/ 3066743 w 3956050"/>
              <a:gd name="connsiteY118" fmla="*/ 1387996 h 1737071"/>
              <a:gd name="connsiteX119" fmla="*/ 3074732 w 3956050"/>
              <a:gd name="connsiteY119" fmla="*/ 1403891 h 1737071"/>
              <a:gd name="connsiteX120" fmla="*/ 3082720 w 3956050"/>
              <a:gd name="connsiteY120" fmla="*/ 1415812 h 1737071"/>
              <a:gd name="connsiteX121" fmla="*/ 3086715 w 3956050"/>
              <a:gd name="connsiteY121" fmla="*/ 1419785 h 1737071"/>
              <a:gd name="connsiteX122" fmla="*/ 3090709 w 3956050"/>
              <a:gd name="connsiteY122" fmla="*/ 1427733 h 1737071"/>
              <a:gd name="connsiteX123" fmla="*/ 3094703 w 3956050"/>
              <a:gd name="connsiteY123" fmla="*/ 1437667 h 1737071"/>
              <a:gd name="connsiteX124" fmla="*/ 3102692 w 3956050"/>
              <a:gd name="connsiteY124" fmla="*/ 1447601 h 1737071"/>
              <a:gd name="connsiteX125" fmla="*/ 3108684 w 3956050"/>
              <a:gd name="connsiteY125" fmla="*/ 1455548 h 1737071"/>
              <a:gd name="connsiteX126" fmla="*/ 3114675 w 3956050"/>
              <a:gd name="connsiteY126" fmla="*/ 1463495 h 1737071"/>
              <a:gd name="connsiteX127" fmla="*/ 3110681 w 3956050"/>
              <a:gd name="connsiteY127" fmla="*/ 1471442 h 1737071"/>
              <a:gd name="connsiteX128" fmla="*/ 3106687 w 3956050"/>
              <a:gd name="connsiteY128" fmla="*/ 1467469 h 1737071"/>
              <a:gd name="connsiteX129" fmla="*/ 3102692 w 3956050"/>
              <a:gd name="connsiteY129" fmla="*/ 1463495 h 1737071"/>
              <a:gd name="connsiteX130" fmla="*/ 3098698 w 3956050"/>
              <a:gd name="connsiteY130" fmla="*/ 1459522 h 1737071"/>
              <a:gd name="connsiteX131" fmla="*/ 3098698 w 3956050"/>
              <a:gd name="connsiteY131" fmla="*/ 1449588 h 1737071"/>
              <a:gd name="connsiteX132" fmla="*/ 3090709 w 3956050"/>
              <a:gd name="connsiteY132" fmla="*/ 1441640 h 1737071"/>
              <a:gd name="connsiteX133" fmla="*/ 3082720 w 3956050"/>
              <a:gd name="connsiteY133" fmla="*/ 1439653 h 1737071"/>
              <a:gd name="connsiteX134" fmla="*/ 3072735 w 3956050"/>
              <a:gd name="connsiteY134" fmla="*/ 1439653 h 1737071"/>
              <a:gd name="connsiteX135" fmla="*/ 3064746 w 3956050"/>
              <a:gd name="connsiteY135" fmla="*/ 1441640 h 1737071"/>
              <a:gd name="connsiteX136" fmla="*/ 3062749 w 3956050"/>
              <a:gd name="connsiteY136" fmla="*/ 1447601 h 1737071"/>
              <a:gd name="connsiteX137" fmla="*/ 3064746 w 3956050"/>
              <a:gd name="connsiteY137" fmla="*/ 1457535 h 1737071"/>
              <a:gd name="connsiteX138" fmla="*/ 3062749 w 3956050"/>
              <a:gd name="connsiteY138" fmla="*/ 1471442 h 1737071"/>
              <a:gd name="connsiteX139" fmla="*/ 3062749 w 3956050"/>
              <a:gd name="connsiteY139" fmla="*/ 1491311 h 1737071"/>
              <a:gd name="connsiteX140" fmla="*/ 3072735 w 3956050"/>
              <a:gd name="connsiteY140" fmla="*/ 1503231 h 1737071"/>
              <a:gd name="connsiteX141" fmla="*/ 3080723 w 3956050"/>
              <a:gd name="connsiteY141" fmla="*/ 1509192 h 1737071"/>
              <a:gd name="connsiteX142" fmla="*/ 3086715 w 3956050"/>
              <a:gd name="connsiteY142" fmla="*/ 1527073 h 1737071"/>
              <a:gd name="connsiteX143" fmla="*/ 3096701 w 3956050"/>
              <a:gd name="connsiteY143" fmla="*/ 1531047 h 1737071"/>
              <a:gd name="connsiteX144" fmla="*/ 3100695 w 3956050"/>
              <a:gd name="connsiteY144" fmla="*/ 1533034 h 1737071"/>
              <a:gd name="connsiteX145" fmla="*/ 3102692 w 3956050"/>
              <a:gd name="connsiteY145" fmla="*/ 1544954 h 1737071"/>
              <a:gd name="connsiteX146" fmla="*/ 3104689 w 3956050"/>
              <a:gd name="connsiteY146" fmla="*/ 1550915 h 1737071"/>
              <a:gd name="connsiteX147" fmla="*/ 3100695 w 3956050"/>
              <a:gd name="connsiteY147" fmla="*/ 1552902 h 1737071"/>
              <a:gd name="connsiteX148" fmla="*/ 3100695 w 3956050"/>
              <a:gd name="connsiteY148" fmla="*/ 1546941 h 1737071"/>
              <a:gd name="connsiteX149" fmla="*/ 3096701 w 3956050"/>
              <a:gd name="connsiteY149" fmla="*/ 1546941 h 1737071"/>
              <a:gd name="connsiteX150" fmla="*/ 3090709 w 3956050"/>
              <a:gd name="connsiteY150" fmla="*/ 1544954 h 1737071"/>
              <a:gd name="connsiteX151" fmla="*/ 3080723 w 3956050"/>
              <a:gd name="connsiteY151" fmla="*/ 1542968 h 1737071"/>
              <a:gd name="connsiteX152" fmla="*/ 3076729 w 3956050"/>
              <a:gd name="connsiteY152" fmla="*/ 1548928 h 1737071"/>
              <a:gd name="connsiteX153" fmla="*/ 3074732 w 3956050"/>
              <a:gd name="connsiteY153" fmla="*/ 1560849 h 1737071"/>
              <a:gd name="connsiteX154" fmla="*/ 3072735 w 3956050"/>
              <a:gd name="connsiteY154" fmla="*/ 1566809 h 1737071"/>
              <a:gd name="connsiteX155" fmla="*/ 3066743 w 3956050"/>
              <a:gd name="connsiteY155" fmla="*/ 1558862 h 1737071"/>
              <a:gd name="connsiteX156" fmla="*/ 3060751 w 3956050"/>
              <a:gd name="connsiteY156" fmla="*/ 1546941 h 1737071"/>
              <a:gd name="connsiteX157" fmla="*/ 3058754 w 3956050"/>
              <a:gd name="connsiteY157" fmla="*/ 1537007 h 1737071"/>
              <a:gd name="connsiteX158" fmla="*/ 3060751 w 3956050"/>
              <a:gd name="connsiteY158" fmla="*/ 1523100 h 1737071"/>
              <a:gd name="connsiteX159" fmla="*/ 3058754 w 3956050"/>
              <a:gd name="connsiteY159" fmla="*/ 1517139 h 1737071"/>
              <a:gd name="connsiteX160" fmla="*/ 3054760 w 3956050"/>
              <a:gd name="connsiteY160" fmla="*/ 1507205 h 1737071"/>
              <a:gd name="connsiteX161" fmla="*/ 3054760 w 3956050"/>
              <a:gd name="connsiteY161" fmla="*/ 1491311 h 1737071"/>
              <a:gd name="connsiteX162" fmla="*/ 3052763 w 3956050"/>
              <a:gd name="connsiteY162" fmla="*/ 1485350 h 1737071"/>
              <a:gd name="connsiteX163" fmla="*/ 3044774 w 3956050"/>
              <a:gd name="connsiteY163" fmla="*/ 1477403 h 1737071"/>
              <a:gd name="connsiteX164" fmla="*/ 3042777 w 3956050"/>
              <a:gd name="connsiteY164" fmla="*/ 1471442 h 1737071"/>
              <a:gd name="connsiteX165" fmla="*/ 3040780 w 3956050"/>
              <a:gd name="connsiteY165" fmla="*/ 1455548 h 1737071"/>
              <a:gd name="connsiteX166" fmla="*/ 3038783 w 3956050"/>
              <a:gd name="connsiteY166" fmla="*/ 1441640 h 1737071"/>
              <a:gd name="connsiteX167" fmla="*/ 3036785 w 3956050"/>
              <a:gd name="connsiteY167" fmla="*/ 1421772 h 1737071"/>
              <a:gd name="connsiteX168" fmla="*/ 3032791 w 3956050"/>
              <a:gd name="connsiteY168" fmla="*/ 1409851 h 1737071"/>
              <a:gd name="connsiteX169" fmla="*/ 3030794 w 3956050"/>
              <a:gd name="connsiteY169" fmla="*/ 1403891 h 1737071"/>
              <a:gd name="connsiteX170" fmla="*/ 3024802 w 3956050"/>
              <a:gd name="connsiteY170" fmla="*/ 1370115 h 1737071"/>
              <a:gd name="connsiteX171" fmla="*/ 3016814 w 3956050"/>
              <a:gd name="connsiteY171" fmla="*/ 1356207 h 1737071"/>
              <a:gd name="connsiteX172" fmla="*/ 3002833 w 3956050"/>
              <a:gd name="connsiteY172" fmla="*/ 1340313 h 1737071"/>
              <a:gd name="connsiteX173" fmla="*/ 3000836 w 3956050"/>
              <a:gd name="connsiteY173" fmla="*/ 1326405 h 1737071"/>
              <a:gd name="connsiteX174" fmla="*/ 2998839 w 3956050"/>
              <a:gd name="connsiteY174" fmla="*/ 1312498 h 1737071"/>
              <a:gd name="connsiteX175" fmla="*/ 2994845 w 3956050"/>
              <a:gd name="connsiteY175" fmla="*/ 1296603 h 1737071"/>
              <a:gd name="connsiteX176" fmla="*/ 2994845 w 3956050"/>
              <a:gd name="connsiteY176" fmla="*/ 1280709 h 1737071"/>
              <a:gd name="connsiteX177" fmla="*/ 3002833 w 3956050"/>
              <a:gd name="connsiteY177" fmla="*/ 1280709 h 1737071"/>
              <a:gd name="connsiteX178" fmla="*/ 3004830 w 3956050"/>
              <a:gd name="connsiteY178" fmla="*/ 1286669 h 1737071"/>
              <a:gd name="connsiteX179" fmla="*/ 3006828 w 3956050"/>
              <a:gd name="connsiteY179" fmla="*/ 1284682 h 1737071"/>
              <a:gd name="connsiteX180" fmla="*/ 3008825 w 3956050"/>
              <a:gd name="connsiteY180" fmla="*/ 1276735 h 1737071"/>
              <a:gd name="connsiteX181" fmla="*/ 3004830 w 3956050"/>
              <a:gd name="connsiteY181" fmla="*/ 1266801 h 1737071"/>
              <a:gd name="connsiteX182" fmla="*/ 2994845 w 3956050"/>
              <a:gd name="connsiteY182" fmla="*/ 1256867 h 1737071"/>
              <a:gd name="connsiteX183" fmla="*/ 2992847 w 3956050"/>
              <a:gd name="connsiteY183" fmla="*/ 1252893 h 1737071"/>
              <a:gd name="connsiteX184" fmla="*/ 2994845 w 3956050"/>
              <a:gd name="connsiteY184" fmla="*/ 1246933 h 1737071"/>
              <a:gd name="connsiteX185" fmla="*/ 3602744 w 3956050"/>
              <a:gd name="connsiteY185" fmla="*/ 1224706 h 1737071"/>
              <a:gd name="connsiteX186" fmla="*/ 3612445 w 3956050"/>
              <a:gd name="connsiteY186" fmla="*/ 1232643 h 1737071"/>
              <a:gd name="connsiteX187" fmla="*/ 3614386 w 3956050"/>
              <a:gd name="connsiteY187" fmla="*/ 1238596 h 1737071"/>
              <a:gd name="connsiteX188" fmla="*/ 3610505 w 3956050"/>
              <a:gd name="connsiteY188" fmla="*/ 1236612 h 1737071"/>
              <a:gd name="connsiteX189" fmla="*/ 3604684 w 3956050"/>
              <a:gd name="connsiteY189" fmla="*/ 1234627 h 1737071"/>
              <a:gd name="connsiteX190" fmla="*/ 3600803 w 3956050"/>
              <a:gd name="connsiteY190" fmla="*/ 1230659 h 1737071"/>
              <a:gd name="connsiteX191" fmla="*/ 3598863 w 3956050"/>
              <a:gd name="connsiteY191" fmla="*/ 1226690 h 1737071"/>
              <a:gd name="connsiteX192" fmla="*/ 3602744 w 3956050"/>
              <a:gd name="connsiteY192" fmla="*/ 1224706 h 1737071"/>
              <a:gd name="connsiteX193" fmla="*/ 34409 w 3956050"/>
              <a:gd name="connsiteY193" fmla="*/ 1216786 h 1737071"/>
              <a:gd name="connsiteX194" fmla="*/ 38457 w 3956050"/>
              <a:gd name="connsiteY194" fmla="*/ 1218787 h 1737071"/>
              <a:gd name="connsiteX195" fmla="*/ 46553 w 3956050"/>
              <a:gd name="connsiteY195" fmla="*/ 1224792 h 1737071"/>
              <a:gd name="connsiteX196" fmla="*/ 52626 w 3956050"/>
              <a:gd name="connsiteY196" fmla="*/ 1228795 h 1737071"/>
              <a:gd name="connsiteX197" fmla="*/ 62746 w 3956050"/>
              <a:gd name="connsiteY197" fmla="*/ 1230797 h 1737071"/>
              <a:gd name="connsiteX198" fmla="*/ 72866 w 3956050"/>
              <a:gd name="connsiteY198" fmla="*/ 1234800 h 1737071"/>
              <a:gd name="connsiteX199" fmla="*/ 80963 w 3956050"/>
              <a:gd name="connsiteY199" fmla="*/ 1242807 h 1737071"/>
              <a:gd name="connsiteX200" fmla="*/ 78939 w 3956050"/>
              <a:gd name="connsiteY200" fmla="*/ 1248811 h 1737071"/>
              <a:gd name="connsiteX201" fmla="*/ 76915 w 3956050"/>
              <a:gd name="connsiteY201" fmla="*/ 1256818 h 1737071"/>
              <a:gd name="connsiteX202" fmla="*/ 68818 w 3956050"/>
              <a:gd name="connsiteY202" fmla="*/ 1258820 h 1737071"/>
              <a:gd name="connsiteX203" fmla="*/ 60722 w 3956050"/>
              <a:gd name="connsiteY203" fmla="*/ 1258820 h 1737071"/>
              <a:gd name="connsiteX204" fmla="*/ 54650 w 3956050"/>
              <a:gd name="connsiteY204" fmla="*/ 1260821 h 1737071"/>
              <a:gd name="connsiteX205" fmla="*/ 40481 w 3956050"/>
              <a:gd name="connsiteY205" fmla="*/ 1260821 h 1737071"/>
              <a:gd name="connsiteX206" fmla="*/ 26313 w 3956050"/>
              <a:gd name="connsiteY206" fmla="*/ 1260821 h 1737071"/>
              <a:gd name="connsiteX207" fmla="*/ 20241 w 3956050"/>
              <a:gd name="connsiteY207" fmla="*/ 1258820 h 1737071"/>
              <a:gd name="connsiteX208" fmla="*/ 14168 w 3956050"/>
              <a:gd name="connsiteY208" fmla="*/ 1258820 h 1737071"/>
              <a:gd name="connsiteX209" fmla="*/ 8096 w 3956050"/>
              <a:gd name="connsiteY209" fmla="*/ 1260821 h 1737071"/>
              <a:gd name="connsiteX210" fmla="*/ 4048 w 3956050"/>
              <a:gd name="connsiteY210" fmla="*/ 1254816 h 1737071"/>
              <a:gd name="connsiteX211" fmla="*/ 0 w 3956050"/>
              <a:gd name="connsiteY211" fmla="*/ 1248811 h 1737071"/>
              <a:gd name="connsiteX212" fmla="*/ 6072 w 3956050"/>
              <a:gd name="connsiteY212" fmla="*/ 1244808 h 1737071"/>
              <a:gd name="connsiteX213" fmla="*/ 14168 w 3956050"/>
              <a:gd name="connsiteY213" fmla="*/ 1242807 h 1737071"/>
              <a:gd name="connsiteX214" fmla="*/ 16192 w 3956050"/>
              <a:gd name="connsiteY214" fmla="*/ 1240805 h 1737071"/>
              <a:gd name="connsiteX215" fmla="*/ 12144 w 3956050"/>
              <a:gd name="connsiteY215" fmla="*/ 1240805 h 1737071"/>
              <a:gd name="connsiteX216" fmla="*/ 4048 w 3956050"/>
              <a:gd name="connsiteY216" fmla="*/ 1240805 h 1737071"/>
              <a:gd name="connsiteX217" fmla="*/ 0 w 3956050"/>
              <a:gd name="connsiteY217" fmla="*/ 1234800 h 1737071"/>
              <a:gd name="connsiteX218" fmla="*/ 8096 w 3956050"/>
              <a:gd name="connsiteY218" fmla="*/ 1228795 h 1737071"/>
              <a:gd name="connsiteX219" fmla="*/ 14168 w 3956050"/>
              <a:gd name="connsiteY219" fmla="*/ 1226794 h 1737071"/>
              <a:gd name="connsiteX220" fmla="*/ 20241 w 3956050"/>
              <a:gd name="connsiteY220" fmla="*/ 1222791 h 1737071"/>
              <a:gd name="connsiteX221" fmla="*/ 20241 w 3956050"/>
              <a:gd name="connsiteY221" fmla="*/ 1226794 h 1737071"/>
              <a:gd name="connsiteX222" fmla="*/ 26313 w 3956050"/>
              <a:gd name="connsiteY222" fmla="*/ 1230797 h 1737071"/>
              <a:gd name="connsiteX223" fmla="*/ 30361 w 3956050"/>
              <a:gd name="connsiteY223" fmla="*/ 1220789 h 1737071"/>
              <a:gd name="connsiteX224" fmla="*/ 34409 w 3956050"/>
              <a:gd name="connsiteY224" fmla="*/ 1216786 h 1737071"/>
              <a:gd name="connsiteX225" fmla="*/ 2852512 w 3956050"/>
              <a:gd name="connsiteY225" fmla="*/ 1216769 h 1737071"/>
              <a:gd name="connsiteX226" fmla="*/ 2860676 w 3956050"/>
              <a:gd name="connsiteY226" fmla="*/ 1216769 h 1737071"/>
              <a:gd name="connsiteX227" fmla="*/ 2858635 w 3956050"/>
              <a:gd name="connsiteY227" fmla="*/ 1222722 h 1737071"/>
              <a:gd name="connsiteX228" fmla="*/ 2854553 w 3956050"/>
              <a:gd name="connsiteY228" fmla="*/ 1228675 h 1737071"/>
              <a:gd name="connsiteX229" fmla="*/ 2852512 w 3956050"/>
              <a:gd name="connsiteY229" fmla="*/ 1226690 h 1737071"/>
              <a:gd name="connsiteX230" fmla="*/ 2850471 w 3956050"/>
              <a:gd name="connsiteY230" fmla="*/ 1224706 h 1737071"/>
              <a:gd name="connsiteX231" fmla="*/ 2846388 w 3956050"/>
              <a:gd name="connsiteY231" fmla="*/ 1226690 h 1737071"/>
              <a:gd name="connsiteX232" fmla="*/ 2846388 w 3956050"/>
              <a:gd name="connsiteY232" fmla="*/ 1222722 h 1737071"/>
              <a:gd name="connsiteX233" fmla="*/ 2852512 w 3956050"/>
              <a:gd name="connsiteY233" fmla="*/ 1216769 h 1737071"/>
              <a:gd name="connsiteX234" fmla="*/ 2877185 w 3956050"/>
              <a:gd name="connsiteY234" fmla="*/ 1212005 h 1737071"/>
              <a:gd name="connsiteX235" fmla="*/ 2880995 w 3956050"/>
              <a:gd name="connsiteY235" fmla="*/ 1215974 h 1737071"/>
              <a:gd name="connsiteX236" fmla="*/ 2879090 w 3956050"/>
              <a:gd name="connsiteY236" fmla="*/ 1217958 h 1737071"/>
              <a:gd name="connsiteX237" fmla="*/ 2882900 w 3956050"/>
              <a:gd name="connsiteY237" fmla="*/ 1219943 h 1737071"/>
              <a:gd name="connsiteX238" fmla="*/ 2880995 w 3956050"/>
              <a:gd name="connsiteY238" fmla="*/ 1223911 h 1737071"/>
              <a:gd name="connsiteX239" fmla="*/ 2880995 w 3956050"/>
              <a:gd name="connsiteY239" fmla="*/ 1229864 h 1737071"/>
              <a:gd name="connsiteX240" fmla="*/ 2875280 w 3956050"/>
              <a:gd name="connsiteY240" fmla="*/ 1231849 h 1737071"/>
              <a:gd name="connsiteX241" fmla="*/ 2873375 w 3956050"/>
              <a:gd name="connsiteY241" fmla="*/ 1229864 h 1737071"/>
              <a:gd name="connsiteX242" fmla="*/ 2871470 w 3956050"/>
              <a:gd name="connsiteY242" fmla="*/ 1227880 h 1737071"/>
              <a:gd name="connsiteX243" fmla="*/ 2865755 w 3956050"/>
              <a:gd name="connsiteY243" fmla="*/ 1225896 h 1737071"/>
              <a:gd name="connsiteX244" fmla="*/ 2867660 w 3956050"/>
              <a:gd name="connsiteY244" fmla="*/ 1215974 h 1737071"/>
              <a:gd name="connsiteX245" fmla="*/ 2869565 w 3956050"/>
              <a:gd name="connsiteY245" fmla="*/ 1213990 h 1737071"/>
              <a:gd name="connsiteX246" fmla="*/ 2871470 w 3956050"/>
              <a:gd name="connsiteY246" fmla="*/ 1213990 h 1737071"/>
              <a:gd name="connsiteX247" fmla="*/ 2877185 w 3956050"/>
              <a:gd name="connsiteY247" fmla="*/ 1212005 h 1737071"/>
              <a:gd name="connsiteX248" fmla="*/ 3561777 w 3956050"/>
              <a:gd name="connsiteY248" fmla="*/ 1198572 h 1737071"/>
              <a:gd name="connsiteX249" fmla="*/ 3565172 w 3956050"/>
              <a:gd name="connsiteY249" fmla="*/ 1201925 h 1737071"/>
              <a:gd name="connsiteX250" fmla="*/ 3567113 w 3956050"/>
              <a:gd name="connsiteY250" fmla="*/ 1212244 h 1737071"/>
              <a:gd name="connsiteX251" fmla="*/ 3572933 w 3956050"/>
              <a:gd name="connsiteY251" fmla="*/ 1216372 h 1737071"/>
              <a:gd name="connsiteX252" fmla="*/ 3578754 w 3956050"/>
              <a:gd name="connsiteY252" fmla="*/ 1220499 h 1737071"/>
              <a:gd name="connsiteX253" fmla="*/ 3582635 w 3956050"/>
              <a:gd name="connsiteY253" fmla="*/ 1224627 h 1737071"/>
              <a:gd name="connsiteX254" fmla="*/ 3582635 w 3956050"/>
              <a:gd name="connsiteY254" fmla="*/ 1234945 h 1737071"/>
              <a:gd name="connsiteX255" fmla="*/ 3578754 w 3956050"/>
              <a:gd name="connsiteY255" fmla="*/ 1232882 h 1737071"/>
              <a:gd name="connsiteX256" fmla="*/ 3576814 w 3956050"/>
              <a:gd name="connsiteY256" fmla="*/ 1228754 h 1737071"/>
              <a:gd name="connsiteX257" fmla="*/ 3570993 w 3956050"/>
              <a:gd name="connsiteY257" fmla="*/ 1226690 h 1737071"/>
              <a:gd name="connsiteX258" fmla="*/ 3569053 w 3956050"/>
              <a:gd name="connsiteY258" fmla="*/ 1222563 h 1737071"/>
              <a:gd name="connsiteX259" fmla="*/ 3565172 w 3956050"/>
              <a:gd name="connsiteY259" fmla="*/ 1220499 h 1737071"/>
              <a:gd name="connsiteX260" fmla="*/ 3559351 w 3956050"/>
              <a:gd name="connsiteY260" fmla="*/ 1210180 h 1737071"/>
              <a:gd name="connsiteX261" fmla="*/ 3549650 w 3956050"/>
              <a:gd name="connsiteY261" fmla="*/ 1208117 h 1737071"/>
              <a:gd name="connsiteX262" fmla="*/ 3553531 w 3956050"/>
              <a:gd name="connsiteY262" fmla="*/ 1203989 h 1737071"/>
              <a:gd name="connsiteX263" fmla="*/ 3555471 w 3956050"/>
              <a:gd name="connsiteY263" fmla="*/ 1199862 h 1737071"/>
              <a:gd name="connsiteX264" fmla="*/ 3561777 w 3956050"/>
              <a:gd name="connsiteY264" fmla="*/ 1198572 h 1737071"/>
              <a:gd name="connsiteX265" fmla="*/ 3467101 w 3956050"/>
              <a:gd name="connsiteY265" fmla="*/ 1048470 h 1737071"/>
              <a:gd name="connsiteX266" fmla="*/ 3471069 w 3956050"/>
              <a:gd name="connsiteY266" fmla="*/ 1048470 h 1737071"/>
              <a:gd name="connsiteX267" fmla="*/ 3473054 w 3956050"/>
              <a:gd name="connsiteY267" fmla="*/ 1054353 h 1737071"/>
              <a:gd name="connsiteX268" fmla="*/ 3473054 w 3956050"/>
              <a:gd name="connsiteY268" fmla="*/ 1062197 h 1737071"/>
              <a:gd name="connsiteX269" fmla="*/ 3465116 w 3956050"/>
              <a:gd name="connsiteY269" fmla="*/ 1064158 h 1737071"/>
              <a:gd name="connsiteX270" fmla="*/ 3459163 w 3956050"/>
              <a:gd name="connsiteY270" fmla="*/ 1068080 h 1737071"/>
              <a:gd name="connsiteX271" fmla="*/ 3455194 w 3956050"/>
              <a:gd name="connsiteY271" fmla="*/ 1075924 h 1737071"/>
              <a:gd name="connsiteX272" fmla="*/ 3451225 w 3956050"/>
              <a:gd name="connsiteY272" fmla="*/ 1077885 h 1737071"/>
              <a:gd name="connsiteX273" fmla="*/ 3451225 w 3956050"/>
              <a:gd name="connsiteY273" fmla="*/ 1072002 h 1737071"/>
              <a:gd name="connsiteX274" fmla="*/ 3453210 w 3956050"/>
              <a:gd name="connsiteY274" fmla="*/ 1068080 h 1737071"/>
              <a:gd name="connsiteX275" fmla="*/ 3453210 w 3956050"/>
              <a:gd name="connsiteY275" fmla="*/ 1064158 h 1737071"/>
              <a:gd name="connsiteX276" fmla="*/ 3455194 w 3956050"/>
              <a:gd name="connsiteY276" fmla="*/ 1060236 h 1737071"/>
              <a:gd name="connsiteX277" fmla="*/ 3453210 w 3956050"/>
              <a:gd name="connsiteY277" fmla="*/ 1058275 h 1737071"/>
              <a:gd name="connsiteX278" fmla="*/ 3455194 w 3956050"/>
              <a:gd name="connsiteY278" fmla="*/ 1056314 h 1737071"/>
              <a:gd name="connsiteX279" fmla="*/ 3459163 w 3956050"/>
              <a:gd name="connsiteY279" fmla="*/ 1052392 h 1737071"/>
              <a:gd name="connsiteX280" fmla="*/ 3463132 w 3956050"/>
              <a:gd name="connsiteY280" fmla="*/ 1052392 h 1737071"/>
              <a:gd name="connsiteX281" fmla="*/ 3467101 w 3956050"/>
              <a:gd name="connsiteY281" fmla="*/ 1048470 h 1737071"/>
              <a:gd name="connsiteX282" fmla="*/ 838597 w 3956050"/>
              <a:gd name="connsiteY282" fmla="*/ 637464 h 1737071"/>
              <a:gd name="connsiteX283" fmla="*/ 844550 w 3956050"/>
              <a:gd name="connsiteY283" fmla="*/ 637464 h 1737071"/>
              <a:gd name="connsiteX284" fmla="*/ 840581 w 3956050"/>
              <a:gd name="connsiteY284" fmla="*/ 641697 h 1737071"/>
              <a:gd name="connsiteX285" fmla="*/ 838597 w 3956050"/>
              <a:gd name="connsiteY285" fmla="*/ 643814 h 1737071"/>
              <a:gd name="connsiteX286" fmla="*/ 832644 w 3956050"/>
              <a:gd name="connsiteY286" fmla="*/ 645930 h 1737071"/>
              <a:gd name="connsiteX287" fmla="*/ 828675 w 3956050"/>
              <a:gd name="connsiteY287" fmla="*/ 643814 h 1737071"/>
              <a:gd name="connsiteX288" fmla="*/ 832644 w 3956050"/>
              <a:gd name="connsiteY288" fmla="*/ 639580 h 1737071"/>
              <a:gd name="connsiteX289" fmla="*/ 838597 w 3956050"/>
              <a:gd name="connsiteY289" fmla="*/ 637464 h 1737071"/>
              <a:gd name="connsiteX290" fmla="*/ 642449 w 3956050"/>
              <a:gd name="connsiteY290" fmla="*/ 613122 h 1737071"/>
              <a:gd name="connsiteX291" fmla="*/ 648494 w 3956050"/>
              <a:gd name="connsiteY291" fmla="*/ 617250 h 1737071"/>
              <a:gd name="connsiteX292" fmla="*/ 656554 w 3956050"/>
              <a:gd name="connsiteY292" fmla="*/ 623441 h 1737071"/>
              <a:gd name="connsiteX293" fmla="*/ 670658 w 3956050"/>
              <a:gd name="connsiteY293" fmla="*/ 625505 h 1737071"/>
              <a:gd name="connsiteX294" fmla="*/ 668643 w 3956050"/>
              <a:gd name="connsiteY294" fmla="*/ 629632 h 1737071"/>
              <a:gd name="connsiteX295" fmla="*/ 668643 w 3956050"/>
              <a:gd name="connsiteY295" fmla="*/ 631696 h 1737071"/>
              <a:gd name="connsiteX296" fmla="*/ 662599 w 3956050"/>
              <a:gd name="connsiteY296" fmla="*/ 637887 h 1737071"/>
              <a:gd name="connsiteX297" fmla="*/ 652524 w 3956050"/>
              <a:gd name="connsiteY297" fmla="*/ 644078 h 1737071"/>
              <a:gd name="connsiteX298" fmla="*/ 648494 w 3956050"/>
              <a:gd name="connsiteY298" fmla="*/ 648206 h 1737071"/>
              <a:gd name="connsiteX299" fmla="*/ 638420 w 3956050"/>
              <a:gd name="connsiteY299" fmla="*/ 650270 h 1737071"/>
              <a:gd name="connsiteX300" fmla="*/ 634390 w 3956050"/>
              <a:gd name="connsiteY300" fmla="*/ 648206 h 1737071"/>
              <a:gd name="connsiteX301" fmla="*/ 630360 w 3956050"/>
              <a:gd name="connsiteY301" fmla="*/ 650270 h 1737071"/>
              <a:gd name="connsiteX302" fmla="*/ 626330 w 3956050"/>
              <a:gd name="connsiteY302" fmla="*/ 654397 h 1737071"/>
              <a:gd name="connsiteX303" fmla="*/ 624315 w 3956050"/>
              <a:gd name="connsiteY303" fmla="*/ 646142 h 1737071"/>
              <a:gd name="connsiteX304" fmla="*/ 624315 w 3956050"/>
              <a:gd name="connsiteY304" fmla="*/ 629632 h 1737071"/>
              <a:gd name="connsiteX305" fmla="*/ 628345 w 3956050"/>
              <a:gd name="connsiteY305" fmla="*/ 617250 h 1737071"/>
              <a:gd name="connsiteX306" fmla="*/ 642449 w 3956050"/>
              <a:gd name="connsiteY306" fmla="*/ 613122 h 1737071"/>
              <a:gd name="connsiteX307" fmla="*/ 864306 w 3956050"/>
              <a:gd name="connsiteY307" fmla="*/ 609947 h 1737071"/>
              <a:gd name="connsiteX308" fmla="*/ 872067 w 3956050"/>
              <a:gd name="connsiteY308" fmla="*/ 615768 h 1737071"/>
              <a:gd name="connsiteX309" fmla="*/ 874008 w 3956050"/>
              <a:gd name="connsiteY309" fmla="*/ 619648 h 1737071"/>
              <a:gd name="connsiteX310" fmla="*/ 875948 w 3956050"/>
              <a:gd name="connsiteY310" fmla="*/ 627409 h 1737071"/>
              <a:gd name="connsiteX311" fmla="*/ 874008 w 3956050"/>
              <a:gd name="connsiteY311" fmla="*/ 625469 h 1737071"/>
              <a:gd name="connsiteX312" fmla="*/ 868187 w 3956050"/>
              <a:gd name="connsiteY312" fmla="*/ 621588 h 1737071"/>
              <a:gd name="connsiteX313" fmla="*/ 864306 w 3956050"/>
              <a:gd name="connsiteY313" fmla="*/ 613828 h 1737071"/>
              <a:gd name="connsiteX314" fmla="*/ 864306 w 3956050"/>
              <a:gd name="connsiteY314" fmla="*/ 609947 h 1737071"/>
              <a:gd name="connsiteX315" fmla="*/ 3237972 w 3956050"/>
              <a:gd name="connsiteY315" fmla="*/ 567084 h 1737071"/>
              <a:gd name="connsiteX316" fmla="*/ 3240088 w 3956050"/>
              <a:gd name="connsiteY316" fmla="*/ 571317 h 1737071"/>
              <a:gd name="connsiteX317" fmla="*/ 3233738 w 3956050"/>
              <a:gd name="connsiteY317" fmla="*/ 571317 h 1737071"/>
              <a:gd name="connsiteX318" fmla="*/ 3237972 w 3956050"/>
              <a:gd name="connsiteY318" fmla="*/ 567084 h 1737071"/>
              <a:gd name="connsiteX319" fmla="*/ 854134 w 3956050"/>
              <a:gd name="connsiteY319" fmla="*/ 565893 h 1737071"/>
              <a:gd name="connsiteX320" fmla="*/ 862130 w 3956050"/>
              <a:gd name="connsiteY320" fmla="*/ 565893 h 1737071"/>
              <a:gd name="connsiteX321" fmla="*/ 874124 w 3956050"/>
              <a:gd name="connsiteY321" fmla="*/ 571846 h 1737071"/>
              <a:gd name="connsiteX322" fmla="*/ 884120 w 3956050"/>
              <a:gd name="connsiteY322" fmla="*/ 579784 h 1737071"/>
              <a:gd name="connsiteX323" fmla="*/ 890117 w 3956050"/>
              <a:gd name="connsiteY323" fmla="*/ 585737 h 1737071"/>
              <a:gd name="connsiteX324" fmla="*/ 896114 w 3956050"/>
              <a:gd name="connsiteY324" fmla="*/ 589705 h 1737071"/>
              <a:gd name="connsiteX325" fmla="*/ 896114 w 3956050"/>
              <a:gd name="connsiteY325" fmla="*/ 597643 h 1737071"/>
              <a:gd name="connsiteX326" fmla="*/ 884120 w 3956050"/>
              <a:gd name="connsiteY326" fmla="*/ 603596 h 1737071"/>
              <a:gd name="connsiteX327" fmla="*/ 878122 w 3956050"/>
              <a:gd name="connsiteY327" fmla="*/ 599627 h 1737071"/>
              <a:gd name="connsiteX328" fmla="*/ 876123 w 3956050"/>
              <a:gd name="connsiteY328" fmla="*/ 595659 h 1737071"/>
              <a:gd name="connsiteX329" fmla="*/ 870126 w 3956050"/>
              <a:gd name="connsiteY329" fmla="*/ 597643 h 1737071"/>
              <a:gd name="connsiteX330" fmla="*/ 862130 w 3956050"/>
              <a:gd name="connsiteY330" fmla="*/ 595659 h 1737071"/>
              <a:gd name="connsiteX331" fmla="*/ 858132 w 3956050"/>
              <a:gd name="connsiteY331" fmla="*/ 593674 h 1737071"/>
              <a:gd name="connsiteX332" fmla="*/ 854134 w 3956050"/>
              <a:gd name="connsiteY332" fmla="*/ 585737 h 1737071"/>
              <a:gd name="connsiteX333" fmla="*/ 850135 w 3956050"/>
              <a:gd name="connsiteY333" fmla="*/ 579784 h 1737071"/>
              <a:gd name="connsiteX334" fmla="*/ 848136 w 3956050"/>
              <a:gd name="connsiteY334" fmla="*/ 573831 h 1737071"/>
              <a:gd name="connsiteX335" fmla="*/ 854134 w 3956050"/>
              <a:gd name="connsiteY335" fmla="*/ 565893 h 1737071"/>
              <a:gd name="connsiteX336" fmla="*/ 3213894 w 3956050"/>
              <a:gd name="connsiteY336" fmla="*/ 554384 h 1737071"/>
              <a:gd name="connsiteX337" fmla="*/ 3217863 w 3956050"/>
              <a:gd name="connsiteY337" fmla="*/ 557559 h 1737071"/>
              <a:gd name="connsiteX338" fmla="*/ 3211910 w 3956050"/>
              <a:gd name="connsiteY338" fmla="*/ 555971 h 1737071"/>
              <a:gd name="connsiteX339" fmla="*/ 3213894 w 3956050"/>
              <a:gd name="connsiteY339" fmla="*/ 554384 h 1737071"/>
              <a:gd name="connsiteX340" fmla="*/ 3208020 w 3956050"/>
              <a:gd name="connsiteY340" fmla="*/ 541684 h 1737071"/>
              <a:gd name="connsiteX341" fmla="*/ 3212466 w 3956050"/>
              <a:gd name="connsiteY341" fmla="*/ 545652 h 1737071"/>
              <a:gd name="connsiteX342" fmla="*/ 3205798 w 3956050"/>
              <a:gd name="connsiteY342" fmla="*/ 545652 h 1737071"/>
              <a:gd name="connsiteX343" fmla="*/ 3208020 w 3956050"/>
              <a:gd name="connsiteY343" fmla="*/ 541684 h 1737071"/>
              <a:gd name="connsiteX344" fmla="*/ 3185887 w 3956050"/>
              <a:gd name="connsiteY344" fmla="*/ 541684 h 1737071"/>
              <a:gd name="connsiteX345" fmla="*/ 3194051 w 3956050"/>
              <a:gd name="connsiteY345" fmla="*/ 549621 h 1737071"/>
              <a:gd name="connsiteX346" fmla="*/ 3189969 w 3956050"/>
              <a:gd name="connsiteY346" fmla="*/ 557559 h 1737071"/>
              <a:gd name="connsiteX347" fmla="*/ 3185887 w 3956050"/>
              <a:gd name="connsiteY347" fmla="*/ 553590 h 1737071"/>
              <a:gd name="connsiteX348" fmla="*/ 3185887 w 3956050"/>
              <a:gd name="connsiteY348" fmla="*/ 545653 h 1737071"/>
              <a:gd name="connsiteX349" fmla="*/ 3185887 w 3956050"/>
              <a:gd name="connsiteY349" fmla="*/ 541684 h 1737071"/>
              <a:gd name="connsiteX350" fmla="*/ 708025 w 3956050"/>
              <a:gd name="connsiteY350" fmla="*/ 524510 h 1737071"/>
              <a:gd name="connsiteX351" fmla="*/ 710010 w 3956050"/>
              <a:gd name="connsiteY351" fmla="*/ 524510 h 1737071"/>
              <a:gd name="connsiteX352" fmla="*/ 715963 w 3956050"/>
              <a:gd name="connsiteY352" fmla="*/ 524510 h 1737071"/>
              <a:gd name="connsiteX353" fmla="*/ 717947 w 3956050"/>
              <a:gd name="connsiteY353" fmla="*/ 528262 h 1737071"/>
              <a:gd name="connsiteX354" fmla="*/ 721916 w 3956050"/>
              <a:gd name="connsiteY354" fmla="*/ 532014 h 1737071"/>
              <a:gd name="connsiteX355" fmla="*/ 721916 w 3956050"/>
              <a:gd name="connsiteY355" fmla="*/ 535767 h 1737071"/>
              <a:gd name="connsiteX356" fmla="*/ 719931 w 3956050"/>
              <a:gd name="connsiteY356" fmla="*/ 543271 h 1737071"/>
              <a:gd name="connsiteX357" fmla="*/ 710010 w 3956050"/>
              <a:gd name="connsiteY357" fmla="*/ 530138 h 1737071"/>
              <a:gd name="connsiteX358" fmla="*/ 708025 w 3956050"/>
              <a:gd name="connsiteY358" fmla="*/ 524510 h 1737071"/>
              <a:gd name="connsiteX359" fmla="*/ 3609274 w 3956050"/>
              <a:gd name="connsiteY359" fmla="*/ 503980 h 1737071"/>
              <a:gd name="connsiteX360" fmla="*/ 3619242 w 3956050"/>
              <a:gd name="connsiteY360" fmla="*/ 503980 h 1737071"/>
              <a:gd name="connsiteX361" fmla="*/ 3629210 w 3956050"/>
              <a:gd name="connsiteY361" fmla="*/ 505965 h 1737071"/>
              <a:gd name="connsiteX362" fmla="*/ 3641172 w 3956050"/>
              <a:gd name="connsiteY362" fmla="*/ 503980 h 1737071"/>
              <a:gd name="connsiteX363" fmla="*/ 3651140 w 3956050"/>
              <a:gd name="connsiteY363" fmla="*/ 511918 h 1737071"/>
              <a:gd name="connsiteX364" fmla="*/ 3657121 w 3956050"/>
              <a:gd name="connsiteY364" fmla="*/ 515887 h 1737071"/>
              <a:gd name="connsiteX365" fmla="*/ 3665095 w 3956050"/>
              <a:gd name="connsiteY365" fmla="*/ 517871 h 1737071"/>
              <a:gd name="connsiteX366" fmla="*/ 3675063 w 3956050"/>
              <a:gd name="connsiteY366" fmla="*/ 519855 h 1737071"/>
              <a:gd name="connsiteX367" fmla="*/ 3675063 w 3956050"/>
              <a:gd name="connsiteY367" fmla="*/ 527793 h 1737071"/>
              <a:gd name="connsiteX368" fmla="*/ 3671076 w 3956050"/>
              <a:gd name="connsiteY368" fmla="*/ 531762 h 1737071"/>
              <a:gd name="connsiteX369" fmla="*/ 3663101 w 3956050"/>
              <a:gd name="connsiteY369" fmla="*/ 535730 h 1737071"/>
              <a:gd name="connsiteX370" fmla="*/ 3659114 w 3956050"/>
              <a:gd name="connsiteY370" fmla="*/ 537715 h 1737071"/>
              <a:gd name="connsiteX371" fmla="*/ 3653133 w 3956050"/>
              <a:gd name="connsiteY371" fmla="*/ 537715 h 1737071"/>
              <a:gd name="connsiteX372" fmla="*/ 3649146 w 3956050"/>
              <a:gd name="connsiteY372" fmla="*/ 539699 h 1737071"/>
              <a:gd name="connsiteX373" fmla="*/ 3643165 w 3956050"/>
              <a:gd name="connsiteY373" fmla="*/ 537715 h 1737071"/>
              <a:gd name="connsiteX374" fmla="*/ 3641172 w 3956050"/>
              <a:gd name="connsiteY374" fmla="*/ 539699 h 1737071"/>
              <a:gd name="connsiteX375" fmla="*/ 3637185 w 3956050"/>
              <a:gd name="connsiteY375" fmla="*/ 541683 h 1737071"/>
              <a:gd name="connsiteX376" fmla="*/ 3635191 w 3956050"/>
              <a:gd name="connsiteY376" fmla="*/ 541683 h 1737071"/>
              <a:gd name="connsiteX377" fmla="*/ 3633197 w 3956050"/>
              <a:gd name="connsiteY377" fmla="*/ 539699 h 1737071"/>
              <a:gd name="connsiteX378" fmla="*/ 3631204 w 3956050"/>
              <a:gd name="connsiteY378" fmla="*/ 537715 h 1737071"/>
              <a:gd name="connsiteX379" fmla="*/ 3629210 w 3956050"/>
              <a:gd name="connsiteY379" fmla="*/ 537715 h 1737071"/>
              <a:gd name="connsiteX380" fmla="*/ 3625223 w 3956050"/>
              <a:gd name="connsiteY380" fmla="*/ 537715 h 1737071"/>
              <a:gd name="connsiteX381" fmla="*/ 3623229 w 3956050"/>
              <a:gd name="connsiteY381" fmla="*/ 539699 h 1737071"/>
              <a:gd name="connsiteX382" fmla="*/ 3621236 w 3956050"/>
              <a:gd name="connsiteY382" fmla="*/ 541683 h 1737071"/>
              <a:gd name="connsiteX383" fmla="*/ 3619242 w 3956050"/>
              <a:gd name="connsiteY383" fmla="*/ 543668 h 1737071"/>
              <a:gd name="connsiteX384" fmla="*/ 3619242 w 3956050"/>
              <a:gd name="connsiteY384" fmla="*/ 545652 h 1737071"/>
              <a:gd name="connsiteX385" fmla="*/ 3615255 w 3956050"/>
              <a:gd name="connsiteY385" fmla="*/ 549621 h 1737071"/>
              <a:gd name="connsiteX386" fmla="*/ 3611268 w 3956050"/>
              <a:gd name="connsiteY386" fmla="*/ 547637 h 1737071"/>
              <a:gd name="connsiteX387" fmla="*/ 3609274 w 3956050"/>
              <a:gd name="connsiteY387" fmla="*/ 545652 h 1737071"/>
              <a:gd name="connsiteX388" fmla="*/ 3607280 w 3956050"/>
              <a:gd name="connsiteY388" fmla="*/ 547637 h 1737071"/>
              <a:gd name="connsiteX389" fmla="*/ 3603293 w 3956050"/>
              <a:gd name="connsiteY389" fmla="*/ 549621 h 1737071"/>
              <a:gd name="connsiteX390" fmla="*/ 3601300 w 3956050"/>
              <a:gd name="connsiteY390" fmla="*/ 547637 h 1737071"/>
              <a:gd name="connsiteX391" fmla="*/ 3599306 w 3956050"/>
              <a:gd name="connsiteY391" fmla="*/ 543668 h 1737071"/>
              <a:gd name="connsiteX392" fmla="*/ 3597312 w 3956050"/>
              <a:gd name="connsiteY392" fmla="*/ 541683 h 1737071"/>
              <a:gd name="connsiteX393" fmla="*/ 3595319 w 3956050"/>
              <a:gd name="connsiteY393" fmla="*/ 539699 h 1737071"/>
              <a:gd name="connsiteX394" fmla="*/ 3591332 w 3956050"/>
              <a:gd name="connsiteY394" fmla="*/ 539699 h 1737071"/>
              <a:gd name="connsiteX395" fmla="*/ 3589338 w 3956050"/>
              <a:gd name="connsiteY395" fmla="*/ 537715 h 1737071"/>
              <a:gd name="connsiteX396" fmla="*/ 3589338 w 3956050"/>
              <a:gd name="connsiteY396" fmla="*/ 533746 h 1737071"/>
              <a:gd name="connsiteX397" fmla="*/ 3591332 w 3956050"/>
              <a:gd name="connsiteY397" fmla="*/ 533746 h 1737071"/>
              <a:gd name="connsiteX398" fmla="*/ 3593325 w 3956050"/>
              <a:gd name="connsiteY398" fmla="*/ 531762 h 1737071"/>
              <a:gd name="connsiteX399" fmla="*/ 3593325 w 3956050"/>
              <a:gd name="connsiteY399" fmla="*/ 527793 h 1737071"/>
              <a:gd name="connsiteX400" fmla="*/ 3595319 w 3956050"/>
              <a:gd name="connsiteY400" fmla="*/ 523824 h 1737071"/>
              <a:gd name="connsiteX401" fmla="*/ 3597312 w 3956050"/>
              <a:gd name="connsiteY401" fmla="*/ 521840 h 1737071"/>
              <a:gd name="connsiteX402" fmla="*/ 3599306 w 3956050"/>
              <a:gd name="connsiteY402" fmla="*/ 519855 h 1737071"/>
              <a:gd name="connsiteX403" fmla="*/ 3599306 w 3956050"/>
              <a:gd name="connsiteY403" fmla="*/ 517871 h 1737071"/>
              <a:gd name="connsiteX404" fmla="*/ 3601300 w 3956050"/>
              <a:gd name="connsiteY404" fmla="*/ 515887 h 1737071"/>
              <a:gd name="connsiteX405" fmla="*/ 3603293 w 3956050"/>
              <a:gd name="connsiteY405" fmla="*/ 513902 h 1737071"/>
              <a:gd name="connsiteX406" fmla="*/ 3607280 w 3956050"/>
              <a:gd name="connsiteY406" fmla="*/ 513902 h 1737071"/>
              <a:gd name="connsiteX407" fmla="*/ 3607280 w 3956050"/>
              <a:gd name="connsiteY407" fmla="*/ 511918 h 1737071"/>
              <a:gd name="connsiteX408" fmla="*/ 3607280 w 3956050"/>
              <a:gd name="connsiteY408" fmla="*/ 509933 h 1737071"/>
              <a:gd name="connsiteX409" fmla="*/ 3609274 w 3956050"/>
              <a:gd name="connsiteY409" fmla="*/ 503980 h 1737071"/>
              <a:gd name="connsiteX410" fmla="*/ 1272071 w 3956050"/>
              <a:gd name="connsiteY410" fmla="*/ 459035 h 1737071"/>
              <a:gd name="connsiteX411" fmla="*/ 1277541 w 3956050"/>
              <a:gd name="connsiteY411" fmla="*/ 459531 h 1737071"/>
              <a:gd name="connsiteX412" fmla="*/ 1283792 w 3956050"/>
              <a:gd name="connsiteY412" fmla="*/ 465484 h 1737071"/>
              <a:gd name="connsiteX413" fmla="*/ 1277541 w 3956050"/>
              <a:gd name="connsiteY413" fmla="*/ 473422 h 1737071"/>
              <a:gd name="connsiteX414" fmla="*/ 1271290 w 3956050"/>
              <a:gd name="connsiteY414" fmla="*/ 477390 h 1737071"/>
              <a:gd name="connsiteX415" fmla="*/ 1260872 w 3956050"/>
              <a:gd name="connsiteY415" fmla="*/ 479375 h 1737071"/>
              <a:gd name="connsiteX416" fmla="*/ 1254621 w 3956050"/>
              <a:gd name="connsiteY416" fmla="*/ 479375 h 1737071"/>
              <a:gd name="connsiteX417" fmla="*/ 1254621 w 3956050"/>
              <a:gd name="connsiteY417" fmla="*/ 473422 h 1737071"/>
              <a:gd name="connsiteX418" fmla="*/ 1260872 w 3956050"/>
              <a:gd name="connsiteY418" fmla="*/ 469453 h 1737071"/>
              <a:gd name="connsiteX419" fmla="*/ 1260872 w 3956050"/>
              <a:gd name="connsiteY419" fmla="*/ 467469 h 1737071"/>
              <a:gd name="connsiteX420" fmla="*/ 1265039 w 3956050"/>
              <a:gd name="connsiteY420" fmla="*/ 461516 h 1737071"/>
              <a:gd name="connsiteX421" fmla="*/ 1272071 w 3956050"/>
              <a:gd name="connsiteY421" fmla="*/ 459035 h 1737071"/>
              <a:gd name="connsiteX422" fmla="*/ 1294823 w 3956050"/>
              <a:gd name="connsiteY422" fmla="*/ 434101 h 1737071"/>
              <a:gd name="connsiteX423" fmla="*/ 1296843 w 3956050"/>
              <a:gd name="connsiteY423" fmla="*/ 436055 h 1737071"/>
              <a:gd name="connsiteX424" fmla="*/ 1300884 w 3956050"/>
              <a:gd name="connsiteY424" fmla="*/ 439962 h 1737071"/>
              <a:gd name="connsiteX425" fmla="*/ 1302905 w 3956050"/>
              <a:gd name="connsiteY425" fmla="*/ 447778 h 1737071"/>
              <a:gd name="connsiteX426" fmla="*/ 1302905 w 3956050"/>
              <a:gd name="connsiteY426" fmla="*/ 451685 h 1737071"/>
              <a:gd name="connsiteX427" fmla="*/ 1300884 w 3956050"/>
              <a:gd name="connsiteY427" fmla="*/ 455593 h 1737071"/>
              <a:gd name="connsiteX428" fmla="*/ 1290782 w 3956050"/>
              <a:gd name="connsiteY428" fmla="*/ 451685 h 1737071"/>
              <a:gd name="connsiteX429" fmla="*/ 1284721 w 3956050"/>
              <a:gd name="connsiteY429" fmla="*/ 449732 h 1737071"/>
              <a:gd name="connsiteX430" fmla="*/ 1286741 w 3956050"/>
              <a:gd name="connsiteY430" fmla="*/ 443870 h 1737071"/>
              <a:gd name="connsiteX431" fmla="*/ 1292803 w 3956050"/>
              <a:gd name="connsiteY431" fmla="*/ 439962 h 1737071"/>
              <a:gd name="connsiteX432" fmla="*/ 1292803 w 3956050"/>
              <a:gd name="connsiteY432" fmla="*/ 438008 h 1737071"/>
              <a:gd name="connsiteX433" fmla="*/ 1294823 w 3956050"/>
              <a:gd name="connsiteY433" fmla="*/ 434101 h 1737071"/>
              <a:gd name="connsiteX434" fmla="*/ 1238449 w 3956050"/>
              <a:gd name="connsiteY434" fmla="*/ 427742 h 1737071"/>
              <a:gd name="connsiteX435" fmla="*/ 1241425 w 3956050"/>
              <a:gd name="connsiteY435" fmla="*/ 432464 h 1737071"/>
              <a:gd name="connsiteX436" fmla="*/ 1233487 w 3956050"/>
              <a:gd name="connsiteY436" fmla="*/ 430242 h 1737071"/>
              <a:gd name="connsiteX437" fmla="*/ 1235472 w 3956050"/>
              <a:gd name="connsiteY437" fmla="*/ 428019 h 1737071"/>
              <a:gd name="connsiteX438" fmla="*/ 1238449 w 3956050"/>
              <a:gd name="connsiteY438" fmla="*/ 427742 h 1737071"/>
              <a:gd name="connsiteX439" fmla="*/ 1219427 w 3956050"/>
              <a:gd name="connsiteY439" fmla="*/ 413626 h 1737071"/>
              <a:gd name="connsiteX440" fmla="*/ 1221468 w 3956050"/>
              <a:gd name="connsiteY440" fmla="*/ 419976 h 1737071"/>
              <a:gd name="connsiteX441" fmla="*/ 1213303 w 3956050"/>
              <a:gd name="connsiteY441" fmla="*/ 419976 h 1737071"/>
              <a:gd name="connsiteX442" fmla="*/ 1219427 w 3956050"/>
              <a:gd name="connsiteY442" fmla="*/ 413626 h 1737071"/>
              <a:gd name="connsiteX443" fmla="*/ 1101574 w 3956050"/>
              <a:gd name="connsiteY443" fmla="*/ 413592 h 1737071"/>
              <a:gd name="connsiteX444" fmla="*/ 1107470 w 3956050"/>
              <a:gd name="connsiteY444" fmla="*/ 413592 h 1737071"/>
              <a:gd name="connsiteX445" fmla="*/ 1111401 w 3956050"/>
              <a:gd name="connsiteY445" fmla="*/ 417760 h 1737071"/>
              <a:gd name="connsiteX446" fmla="*/ 1113367 w 3956050"/>
              <a:gd name="connsiteY446" fmla="*/ 428177 h 1737071"/>
              <a:gd name="connsiteX447" fmla="*/ 1117298 w 3956050"/>
              <a:gd name="connsiteY447" fmla="*/ 430261 h 1737071"/>
              <a:gd name="connsiteX448" fmla="*/ 1123194 w 3956050"/>
              <a:gd name="connsiteY448" fmla="*/ 430261 h 1737071"/>
              <a:gd name="connsiteX449" fmla="*/ 1127125 w 3956050"/>
              <a:gd name="connsiteY449" fmla="*/ 434428 h 1737071"/>
              <a:gd name="connsiteX450" fmla="*/ 1123194 w 3956050"/>
              <a:gd name="connsiteY450" fmla="*/ 438595 h 1737071"/>
              <a:gd name="connsiteX451" fmla="*/ 1119263 w 3956050"/>
              <a:gd name="connsiteY451" fmla="*/ 438595 h 1737071"/>
              <a:gd name="connsiteX452" fmla="*/ 1111401 w 3956050"/>
              <a:gd name="connsiteY452" fmla="*/ 440679 h 1737071"/>
              <a:gd name="connsiteX453" fmla="*/ 1105505 w 3956050"/>
              <a:gd name="connsiteY453" fmla="*/ 438595 h 1737071"/>
              <a:gd name="connsiteX454" fmla="*/ 1099609 w 3956050"/>
              <a:gd name="connsiteY454" fmla="*/ 440679 h 1737071"/>
              <a:gd name="connsiteX455" fmla="*/ 1093712 w 3956050"/>
              <a:gd name="connsiteY455" fmla="*/ 438595 h 1737071"/>
              <a:gd name="connsiteX456" fmla="*/ 1093712 w 3956050"/>
              <a:gd name="connsiteY456" fmla="*/ 440679 h 1737071"/>
              <a:gd name="connsiteX457" fmla="*/ 1087816 w 3956050"/>
              <a:gd name="connsiteY457" fmla="*/ 444846 h 1737071"/>
              <a:gd name="connsiteX458" fmla="*/ 1085850 w 3956050"/>
              <a:gd name="connsiteY458" fmla="*/ 432345 h 1737071"/>
              <a:gd name="connsiteX459" fmla="*/ 1089781 w 3956050"/>
              <a:gd name="connsiteY459" fmla="*/ 426094 h 1737071"/>
              <a:gd name="connsiteX460" fmla="*/ 1087816 w 3956050"/>
              <a:gd name="connsiteY460" fmla="*/ 421927 h 1737071"/>
              <a:gd name="connsiteX461" fmla="*/ 1095678 w 3956050"/>
              <a:gd name="connsiteY461" fmla="*/ 415676 h 1737071"/>
              <a:gd name="connsiteX462" fmla="*/ 1101574 w 3956050"/>
              <a:gd name="connsiteY462" fmla="*/ 413592 h 1737071"/>
              <a:gd name="connsiteX463" fmla="*/ 2694612 w 3956050"/>
              <a:gd name="connsiteY463" fmla="*/ 400564 h 1737071"/>
              <a:gd name="connsiteX464" fmla="*/ 2697821 w 3956050"/>
              <a:gd name="connsiteY464" fmla="*/ 400814 h 1737071"/>
              <a:gd name="connsiteX465" fmla="*/ 2711644 w 3956050"/>
              <a:gd name="connsiteY465" fmla="*/ 400814 h 1737071"/>
              <a:gd name="connsiteX466" fmla="*/ 2719543 w 3956050"/>
              <a:gd name="connsiteY466" fmla="*/ 402819 h 1737071"/>
              <a:gd name="connsiteX467" fmla="*/ 2723492 w 3956050"/>
              <a:gd name="connsiteY467" fmla="*/ 404825 h 1737071"/>
              <a:gd name="connsiteX468" fmla="*/ 2727442 w 3956050"/>
              <a:gd name="connsiteY468" fmla="*/ 404825 h 1737071"/>
              <a:gd name="connsiteX469" fmla="*/ 2733366 w 3956050"/>
              <a:gd name="connsiteY469" fmla="*/ 406830 h 1737071"/>
              <a:gd name="connsiteX470" fmla="*/ 2739290 w 3956050"/>
              <a:gd name="connsiteY470" fmla="*/ 412846 h 1737071"/>
              <a:gd name="connsiteX471" fmla="*/ 2745214 w 3956050"/>
              <a:gd name="connsiteY471" fmla="*/ 422872 h 1737071"/>
              <a:gd name="connsiteX472" fmla="*/ 2747189 w 3956050"/>
              <a:gd name="connsiteY472" fmla="*/ 426883 h 1737071"/>
              <a:gd name="connsiteX473" fmla="*/ 2749164 w 3956050"/>
              <a:gd name="connsiteY473" fmla="*/ 432898 h 1737071"/>
              <a:gd name="connsiteX474" fmla="*/ 2741265 w 3956050"/>
              <a:gd name="connsiteY474" fmla="*/ 434904 h 1737071"/>
              <a:gd name="connsiteX475" fmla="*/ 2735341 w 3956050"/>
              <a:gd name="connsiteY475" fmla="*/ 430893 h 1737071"/>
              <a:gd name="connsiteX476" fmla="*/ 2721518 w 3956050"/>
              <a:gd name="connsiteY476" fmla="*/ 430893 h 1737071"/>
              <a:gd name="connsiteX477" fmla="*/ 2709669 w 3956050"/>
              <a:gd name="connsiteY477" fmla="*/ 428888 h 1737071"/>
              <a:gd name="connsiteX478" fmla="*/ 2699796 w 3956050"/>
              <a:gd name="connsiteY478" fmla="*/ 426883 h 1737071"/>
              <a:gd name="connsiteX479" fmla="*/ 2695846 w 3956050"/>
              <a:gd name="connsiteY479" fmla="*/ 426883 h 1737071"/>
              <a:gd name="connsiteX480" fmla="*/ 2689922 w 3956050"/>
              <a:gd name="connsiteY480" fmla="*/ 426883 h 1737071"/>
              <a:gd name="connsiteX481" fmla="*/ 2680049 w 3956050"/>
              <a:gd name="connsiteY481" fmla="*/ 430893 h 1737071"/>
              <a:gd name="connsiteX482" fmla="*/ 2672150 w 3956050"/>
              <a:gd name="connsiteY482" fmla="*/ 428888 h 1737071"/>
              <a:gd name="connsiteX483" fmla="*/ 2678074 w 3956050"/>
              <a:gd name="connsiteY483" fmla="*/ 422872 h 1737071"/>
              <a:gd name="connsiteX484" fmla="*/ 2687948 w 3956050"/>
              <a:gd name="connsiteY484" fmla="*/ 418862 h 1737071"/>
              <a:gd name="connsiteX485" fmla="*/ 2687948 w 3956050"/>
              <a:gd name="connsiteY485" fmla="*/ 416856 h 1737071"/>
              <a:gd name="connsiteX486" fmla="*/ 2687948 w 3956050"/>
              <a:gd name="connsiteY486" fmla="*/ 410841 h 1737071"/>
              <a:gd name="connsiteX487" fmla="*/ 2689922 w 3956050"/>
              <a:gd name="connsiteY487" fmla="*/ 404825 h 1737071"/>
              <a:gd name="connsiteX488" fmla="*/ 2694612 w 3956050"/>
              <a:gd name="connsiteY488" fmla="*/ 400564 h 1737071"/>
              <a:gd name="connsiteX489" fmla="*/ 1396206 w 3956050"/>
              <a:gd name="connsiteY489" fmla="*/ 395634 h 1737071"/>
              <a:gd name="connsiteX490" fmla="*/ 1398191 w 3956050"/>
              <a:gd name="connsiteY490" fmla="*/ 397751 h 1737071"/>
              <a:gd name="connsiteX491" fmla="*/ 1392237 w 3956050"/>
              <a:gd name="connsiteY491" fmla="*/ 397751 h 1737071"/>
              <a:gd name="connsiteX492" fmla="*/ 1396206 w 3956050"/>
              <a:gd name="connsiteY492" fmla="*/ 395634 h 1737071"/>
              <a:gd name="connsiteX493" fmla="*/ 1358900 w 3956050"/>
              <a:gd name="connsiteY493" fmla="*/ 390872 h 1737071"/>
              <a:gd name="connsiteX494" fmla="*/ 1363134 w 3956050"/>
              <a:gd name="connsiteY494" fmla="*/ 392459 h 1737071"/>
              <a:gd name="connsiteX495" fmla="*/ 1358900 w 3956050"/>
              <a:gd name="connsiteY495" fmla="*/ 394047 h 1737071"/>
              <a:gd name="connsiteX496" fmla="*/ 1358900 w 3956050"/>
              <a:gd name="connsiteY496" fmla="*/ 390872 h 1737071"/>
              <a:gd name="connsiteX497" fmla="*/ 1379220 w 3956050"/>
              <a:gd name="connsiteY497" fmla="*/ 387697 h 1737071"/>
              <a:gd name="connsiteX498" fmla="*/ 1381125 w 3956050"/>
              <a:gd name="connsiteY498" fmla="*/ 391930 h 1737071"/>
              <a:gd name="connsiteX499" fmla="*/ 1377315 w 3956050"/>
              <a:gd name="connsiteY499" fmla="*/ 394047 h 1737071"/>
              <a:gd name="connsiteX500" fmla="*/ 1371600 w 3956050"/>
              <a:gd name="connsiteY500" fmla="*/ 389814 h 1737071"/>
              <a:gd name="connsiteX501" fmla="*/ 1375410 w 3956050"/>
              <a:gd name="connsiteY501" fmla="*/ 389814 h 1737071"/>
              <a:gd name="connsiteX502" fmla="*/ 1377315 w 3956050"/>
              <a:gd name="connsiteY502" fmla="*/ 389814 h 1737071"/>
              <a:gd name="connsiteX503" fmla="*/ 1379220 w 3956050"/>
              <a:gd name="connsiteY503" fmla="*/ 387697 h 1737071"/>
              <a:gd name="connsiteX504" fmla="*/ 2570004 w 3956050"/>
              <a:gd name="connsiteY504" fmla="*/ 386109 h 1737071"/>
              <a:gd name="connsiteX505" fmla="*/ 2574131 w 3956050"/>
              <a:gd name="connsiteY505" fmla="*/ 390236 h 1737071"/>
              <a:gd name="connsiteX506" fmla="*/ 2580323 w 3956050"/>
              <a:gd name="connsiteY506" fmla="*/ 398491 h 1737071"/>
              <a:gd name="connsiteX507" fmla="*/ 2584450 w 3956050"/>
              <a:gd name="connsiteY507" fmla="*/ 402619 h 1737071"/>
              <a:gd name="connsiteX508" fmla="*/ 2580323 w 3956050"/>
              <a:gd name="connsiteY508" fmla="*/ 404682 h 1737071"/>
              <a:gd name="connsiteX509" fmla="*/ 2570004 w 3956050"/>
              <a:gd name="connsiteY509" fmla="*/ 400555 h 1737071"/>
              <a:gd name="connsiteX510" fmla="*/ 2563812 w 3956050"/>
              <a:gd name="connsiteY510" fmla="*/ 390236 h 1737071"/>
              <a:gd name="connsiteX511" fmla="*/ 2570004 w 3956050"/>
              <a:gd name="connsiteY511" fmla="*/ 386109 h 1737071"/>
              <a:gd name="connsiteX512" fmla="*/ 2669453 w 3956050"/>
              <a:gd name="connsiteY512" fmla="*/ 381527 h 1737071"/>
              <a:gd name="connsiteX513" fmla="*/ 2673494 w 3956050"/>
              <a:gd name="connsiteY513" fmla="*/ 383800 h 1737071"/>
              <a:gd name="connsiteX514" fmla="*/ 2679555 w 3956050"/>
              <a:gd name="connsiteY514" fmla="*/ 381779 h 1737071"/>
              <a:gd name="connsiteX515" fmla="*/ 2683596 w 3956050"/>
              <a:gd name="connsiteY515" fmla="*/ 385820 h 1737071"/>
              <a:gd name="connsiteX516" fmla="*/ 2687637 w 3956050"/>
              <a:gd name="connsiteY516" fmla="*/ 393902 h 1737071"/>
              <a:gd name="connsiteX517" fmla="*/ 2687637 w 3956050"/>
              <a:gd name="connsiteY517" fmla="*/ 397943 h 1737071"/>
              <a:gd name="connsiteX518" fmla="*/ 2679555 w 3956050"/>
              <a:gd name="connsiteY518" fmla="*/ 401984 h 1737071"/>
              <a:gd name="connsiteX519" fmla="*/ 2671474 w 3956050"/>
              <a:gd name="connsiteY519" fmla="*/ 401984 h 1737071"/>
              <a:gd name="connsiteX520" fmla="*/ 2665412 w 3956050"/>
              <a:gd name="connsiteY520" fmla="*/ 393902 h 1737071"/>
              <a:gd name="connsiteX521" fmla="*/ 2665412 w 3956050"/>
              <a:gd name="connsiteY521" fmla="*/ 383800 h 1737071"/>
              <a:gd name="connsiteX522" fmla="*/ 2669453 w 3956050"/>
              <a:gd name="connsiteY522" fmla="*/ 381527 h 1737071"/>
              <a:gd name="connsiteX523" fmla="*/ 1406525 w 3956050"/>
              <a:gd name="connsiteY523" fmla="*/ 372218 h 1737071"/>
              <a:gd name="connsiteX524" fmla="*/ 1408642 w 3956050"/>
              <a:gd name="connsiteY524" fmla="*/ 372218 h 1737071"/>
              <a:gd name="connsiteX525" fmla="*/ 1410759 w 3956050"/>
              <a:gd name="connsiteY525" fmla="*/ 376187 h 1737071"/>
              <a:gd name="connsiteX526" fmla="*/ 1406525 w 3956050"/>
              <a:gd name="connsiteY526" fmla="*/ 372218 h 1737071"/>
              <a:gd name="connsiteX527" fmla="*/ 2029619 w 3956050"/>
              <a:gd name="connsiteY527" fmla="*/ 371822 h 1737071"/>
              <a:gd name="connsiteX528" fmla="*/ 2041525 w 3956050"/>
              <a:gd name="connsiteY528" fmla="*/ 375974 h 1737071"/>
              <a:gd name="connsiteX529" fmla="*/ 2047478 w 3956050"/>
              <a:gd name="connsiteY529" fmla="*/ 375974 h 1737071"/>
              <a:gd name="connsiteX530" fmla="*/ 2053431 w 3956050"/>
              <a:gd name="connsiteY530" fmla="*/ 375974 h 1737071"/>
              <a:gd name="connsiteX531" fmla="*/ 2053431 w 3956050"/>
              <a:gd name="connsiteY531" fmla="*/ 384277 h 1737071"/>
              <a:gd name="connsiteX532" fmla="*/ 2051447 w 3956050"/>
              <a:gd name="connsiteY532" fmla="*/ 388429 h 1737071"/>
              <a:gd name="connsiteX533" fmla="*/ 2045494 w 3956050"/>
              <a:gd name="connsiteY533" fmla="*/ 394657 h 1737071"/>
              <a:gd name="connsiteX534" fmla="*/ 2039541 w 3956050"/>
              <a:gd name="connsiteY534" fmla="*/ 394657 h 1737071"/>
              <a:gd name="connsiteX535" fmla="*/ 2031603 w 3956050"/>
              <a:gd name="connsiteY535" fmla="*/ 390505 h 1737071"/>
              <a:gd name="connsiteX536" fmla="*/ 2025650 w 3956050"/>
              <a:gd name="connsiteY536" fmla="*/ 388429 h 1737071"/>
              <a:gd name="connsiteX537" fmla="*/ 2029619 w 3956050"/>
              <a:gd name="connsiteY537" fmla="*/ 380126 h 1737071"/>
              <a:gd name="connsiteX538" fmla="*/ 2027635 w 3956050"/>
              <a:gd name="connsiteY538" fmla="*/ 378050 h 1737071"/>
              <a:gd name="connsiteX539" fmla="*/ 2027635 w 3956050"/>
              <a:gd name="connsiteY539" fmla="*/ 375974 h 1737071"/>
              <a:gd name="connsiteX540" fmla="*/ 2029619 w 3956050"/>
              <a:gd name="connsiteY540" fmla="*/ 371822 h 1737071"/>
              <a:gd name="connsiteX541" fmla="*/ 1430867 w 3956050"/>
              <a:gd name="connsiteY541" fmla="*/ 371722 h 1737071"/>
              <a:gd name="connsiteX542" fmla="*/ 1432984 w 3956050"/>
              <a:gd name="connsiteY542" fmla="*/ 372218 h 1737071"/>
              <a:gd name="connsiteX543" fmla="*/ 1435100 w 3956050"/>
              <a:gd name="connsiteY543" fmla="*/ 376187 h 1737071"/>
              <a:gd name="connsiteX544" fmla="*/ 1428750 w 3956050"/>
              <a:gd name="connsiteY544" fmla="*/ 374202 h 1737071"/>
              <a:gd name="connsiteX545" fmla="*/ 1430867 w 3956050"/>
              <a:gd name="connsiteY545" fmla="*/ 371722 h 1737071"/>
              <a:gd name="connsiteX546" fmla="*/ 1421210 w 3956050"/>
              <a:gd name="connsiteY546" fmla="*/ 368647 h 1737071"/>
              <a:gd name="connsiteX547" fmla="*/ 1427163 w 3956050"/>
              <a:gd name="connsiteY547" fmla="*/ 374362 h 1737071"/>
              <a:gd name="connsiteX548" fmla="*/ 1419225 w 3956050"/>
              <a:gd name="connsiteY548" fmla="*/ 374362 h 1737071"/>
              <a:gd name="connsiteX549" fmla="*/ 1421210 w 3956050"/>
              <a:gd name="connsiteY549" fmla="*/ 368647 h 1737071"/>
              <a:gd name="connsiteX550" fmla="*/ 1292870 w 3956050"/>
              <a:gd name="connsiteY550" fmla="*/ 368488 h 1737071"/>
              <a:gd name="connsiteX551" fmla="*/ 1294606 w 3956050"/>
              <a:gd name="connsiteY551" fmla="*/ 368964 h 1737071"/>
              <a:gd name="connsiteX552" fmla="*/ 1296591 w 3956050"/>
              <a:gd name="connsiteY552" fmla="*/ 374679 h 1737071"/>
              <a:gd name="connsiteX553" fmla="*/ 1292622 w 3956050"/>
              <a:gd name="connsiteY553" fmla="*/ 370869 h 1737071"/>
              <a:gd name="connsiteX554" fmla="*/ 1292870 w 3956050"/>
              <a:gd name="connsiteY554" fmla="*/ 368488 h 1737071"/>
              <a:gd name="connsiteX555" fmla="*/ 1418999 w 3956050"/>
              <a:gd name="connsiteY555" fmla="*/ 356264 h 1737071"/>
              <a:gd name="connsiteX556" fmla="*/ 1427163 w 3956050"/>
              <a:gd name="connsiteY556" fmla="*/ 358169 h 1737071"/>
              <a:gd name="connsiteX557" fmla="*/ 1425122 w 3956050"/>
              <a:gd name="connsiteY557" fmla="*/ 361979 h 1737071"/>
              <a:gd name="connsiteX558" fmla="*/ 1423081 w 3956050"/>
              <a:gd name="connsiteY558" fmla="*/ 361979 h 1737071"/>
              <a:gd name="connsiteX559" fmla="*/ 1412875 w 3956050"/>
              <a:gd name="connsiteY559" fmla="*/ 360074 h 1737071"/>
              <a:gd name="connsiteX560" fmla="*/ 1418999 w 3956050"/>
              <a:gd name="connsiteY560" fmla="*/ 356264 h 1737071"/>
              <a:gd name="connsiteX561" fmla="*/ 1334559 w 3956050"/>
              <a:gd name="connsiteY561" fmla="*/ 324593 h 1737071"/>
              <a:gd name="connsiteX562" fmla="*/ 1340909 w 3956050"/>
              <a:gd name="connsiteY562" fmla="*/ 324593 h 1737071"/>
              <a:gd name="connsiteX563" fmla="*/ 1340909 w 3956050"/>
              <a:gd name="connsiteY563" fmla="*/ 326578 h 1737071"/>
              <a:gd name="connsiteX564" fmla="*/ 1340909 w 3956050"/>
              <a:gd name="connsiteY564" fmla="*/ 328562 h 1737071"/>
              <a:gd name="connsiteX565" fmla="*/ 1343025 w 3956050"/>
              <a:gd name="connsiteY565" fmla="*/ 330546 h 1737071"/>
              <a:gd name="connsiteX566" fmla="*/ 1340909 w 3956050"/>
              <a:gd name="connsiteY566" fmla="*/ 334515 h 1737071"/>
              <a:gd name="connsiteX567" fmla="*/ 1338792 w 3956050"/>
              <a:gd name="connsiteY567" fmla="*/ 336500 h 1737071"/>
              <a:gd name="connsiteX568" fmla="*/ 1334559 w 3956050"/>
              <a:gd name="connsiteY568" fmla="*/ 338484 h 1737071"/>
              <a:gd name="connsiteX569" fmla="*/ 1330325 w 3956050"/>
              <a:gd name="connsiteY569" fmla="*/ 338484 h 1737071"/>
              <a:gd name="connsiteX570" fmla="*/ 1330325 w 3956050"/>
              <a:gd name="connsiteY570" fmla="*/ 332531 h 1737071"/>
              <a:gd name="connsiteX571" fmla="*/ 1334559 w 3956050"/>
              <a:gd name="connsiteY571" fmla="*/ 328562 h 1737071"/>
              <a:gd name="connsiteX572" fmla="*/ 1334559 w 3956050"/>
              <a:gd name="connsiteY572" fmla="*/ 324593 h 1737071"/>
              <a:gd name="connsiteX573" fmla="*/ 2775730 w 3956050"/>
              <a:gd name="connsiteY573" fmla="*/ 315052 h 1737071"/>
              <a:gd name="connsiteX574" fmla="*/ 2783640 w 3956050"/>
              <a:gd name="connsiteY574" fmla="*/ 320958 h 1737071"/>
              <a:gd name="connsiteX575" fmla="*/ 2789572 w 3956050"/>
              <a:gd name="connsiteY575" fmla="*/ 326863 h 1737071"/>
              <a:gd name="connsiteX576" fmla="*/ 2795504 w 3956050"/>
              <a:gd name="connsiteY576" fmla="*/ 328832 h 1737071"/>
              <a:gd name="connsiteX577" fmla="*/ 2801437 w 3956050"/>
              <a:gd name="connsiteY577" fmla="*/ 326863 h 1737071"/>
              <a:gd name="connsiteX578" fmla="*/ 2807369 w 3956050"/>
              <a:gd name="connsiteY578" fmla="*/ 326863 h 1737071"/>
              <a:gd name="connsiteX579" fmla="*/ 2813301 w 3956050"/>
              <a:gd name="connsiteY579" fmla="*/ 326863 h 1737071"/>
              <a:gd name="connsiteX580" fmla="*/ 2817256 w 3956050"/>
              <a:gd name="connsiteY580" fmla="*/ 328832 h 1737071"/>
              <a:gd name="connsiteX581" fmla="*/ 2829120 w 3956050"/>
              <a:gd name="connsiteY581" fmla="*/ 330800 h 1737071"/>
              <a:gd name="connsiteX582" fmla="*/ 2833075 w 3956050"/>
              <a:gd name="connsiteY582" fmla="*/ 334737 h 1737071"/>
              <a:gd name="connsiteX583" fmla="*/ 2839008 w 3956050"/>
              <a:gd name="connsiteY583" fmla="*/ 332769 h 1737071"/>
              <a:gd name="connsiteX584" fmla="*/ 2842962 w 3956050"/>
              <a:gd name="connsiteY584" fmla="*/ 330800 h 1737071"/>
              <a:gd name="connsiteX585" fmla="*/ 2846917 w 3956050"/>
              <a:gd name="connsiteY585" fmla="*/ 328832 h 1737071"/>
              <a:gd name="connsiteX586" fmla="*/ 2858782 w 3956050"/>
              <a:gd name="connsiteY586" fmla="*/ 330800 h 1737071"/>
              <a:gd name="connsiteX587" fmla="*/ 2864714 w 3956050"/>
              <a:gd name="connsiteY587" fmla="*/ 328832 h 1737071"/>
              <a:gd name="connsiteX588" fmla="*/ 2870646 w 3956050"/>
              <a:gd name="connsiteY588" fmla="*/ 330800 h 1737071"/>
              <a:gd name="connsiteX589" fmla="*/ 2874601 w 3956050"/>
              <a:gd name="connsiteY589" fmla="*/ 332769 h 1737071"/>
              <a:gd name="connsiteX590" fmla="*/ 2882511 w 3956050"/>
              <a:gd name="connsiteY590" fmla="*/ 332769 h 1737071"/>
              <a:gd name="connsiteX591" fmla="*/ 2884488 w 3956050"/>
              <a:gd name="connsiteY591" fmla="*/ 334737 h 1737071"/>
              <a:gd name="connsiteX592" fmla="*/ 2882511 w 3956050"/>
              <a:gd name="connsiteY592" fmla="*/ 340643 h 1737071"/>
              <a:gd name="connsiteX593" fmla="*/ 2882511 w 3956050"/>
              <a:gd name="connsiteY593" fmla="*/ 346548 h 1737071"/>
              <a:gd name="connsiteX594" fmla="*/ 2882511 w 3956050"/>
              <a:gd name="connsiteY594" fmla="*/ 350485 h 1737071"/>
              <a:gd name="connsiteX595" fmla="*/ 2878556 w 3956050"/>
              <a:gd name="connsiteY595" fmla="*/ 356390 h 1737071"/>
              <a:gd name="connsiteX596" fmla="*/ 2870646 w 3956050"/>
              <a:gd name="connsiteY596" fmla="*/ 360327 h 1737071"/>
              <a:gd name="connsiteX597" fmla="*/ 2862737 w 3956050"/>
              <a:gd name="connsiteY597" fmla="*/ 360327 h 1737071"/>
              <a:gd name="connsiteX598" fmla="*/ 2856804 w 3956050"/>
              <a:gd name="connsiteY598" fmla="*/ 358359 h 1737071"/>
              <a:gd name="connsiteX599" fmla="*/ 2850872 w 3956050"/>
              <a:gd name="connsiteY599" fmla="*/ 360327 h 1737071"/>
              <a:gd name="connsiteX600" fmla="*/ 2842962 w 3956050"/>
              <a:gd name="connsiteY600" fmla="*/ 360327 h 1737071"/>
              <a:gd name="connsiteX601" fmla="*/ 2835053 w 3956050"/>
              <a:gd name="connsiteY601" fmla="*/ 358359 h 1737071"/>
              <a:gd name="connsiteX602" fmla="*/ 2823188 w 3956050"/>
              <a:gd name="connsiteY602" fmla="*/ 356390 h 1737071"/>
              <a:gd name="connsiteX603" fmla="*/ 2813301 w 3956050"/>
              <a:gd name="connsiteY603" fmla="*/ 350485 h 1737071"/>
              <a:gd name="connsiteX604" fmla="*/ 2799459 w 3956050"/>
              <a:gd name="connsiteY604" fmla="*/ 346548 h 1737071"/>
              <a:gd name="connsiteX605" fmla="*/ 2793527 w 3956050"/>
              <a:gd name="connsiteY605" fmla="*/ 342611 h 1737071"/>
              <a:gd name="connsiteX606" fmla="*/ 2783640 w 3956050"/>
              <a:gd name="connsiteY606" fmla="*/ 338674 h 1737071"/>
              <a:gd name="connsiteX607" fmla="*/ 2773753 w 3956050"/>
              <a:gd name="connsiteY607" fmla="*/ 334737 h 1737071"/>
              <a:gd name="connsiteX608" fmla="*/ 2775730 w 3956050"/>
              <a:gd name="connsiteY608" fmla="*/ 326863 h 1737071"/>
              <a:gd name="connsiteX609" fmla="*/ 2775730 w 3956050"/>
              <a:gd name="connsiteY609" fmla="*/ 320958 h 1737071"/>
              <a:gd name="connsiteX610" fmla="*/ 2775730 w 3956050"/>
              <a:gd name="connsiteY610" fmla="*/ 315052 h 1737071"/>
              <a:gd name="connsiteX611" fmla="*/ 2539471 w 3956050"/>
              <a:gd name="connsiteY611" fmla="*/ 305147 h 1737071"/>
              <a:gd name="connsiteX612" fmla="*/ 2545821 w 3956050"/>
              <a:gd name="connsiteY612" fmla="*/ 310930 h 1737071"/>
              <a:gd name="connsiteX613" fmla="*/ 2550054 w 3956050"/>
              <a:gd name="connsiteY613" fmla="*/ 314785 h 1737071"/>
              <a:gd name="connsiteX614" fmla="*/ 2552171 w 3956050"/>
              <a:gd name="connsiteY614" fmla="*/ 324423 h 1737071"/>
              <a:gd name="connsiteX615" fmla="*/ 2552171 w 3956050"/>
              <a:gd name="connsiteY615" fmla="*/ 330206 h 1737071"/>
              <a:gd name="connsiteX616" fmla="*/ 2547937 w 3956050"/>
              <a:gd name="connsiteY616" fmla="*/ 332134 h 1737071"/>
              <a:gd name="connsiteX617" fmla="*/ 2545821 w 3956050"/>
              <a:gd name="connsiteY617" fmla="*/ 324423 h 1737071"/>
              <a:gd name="connsiteX618" fmla="*/ 2543704 w 3956050"/>
              <a:gd name="connsiteY618" fmla="*/ 318640 h 1737071"/>
              <a:gd name="connsiteX619" fmla="*/ 2541587 w 3956050"/>
              <a:gd name="connsiteY619" fmla="*/ 314785 h 1737071"/>
              <a:gd name="connsiteX620" fmla="*/ 2537354 w 3956050"/>
              <a:gd name="connsiteY620" fmla="*/ 309002 h 1737071"/>
              <a:gd name="connsiteX621" fmla="*/ 2539471 w 3956050"/>
              <a:gd name="connsiteY621" fmla="*/ 305147 h 1737071"/>
              <a:gd name="connsiteX622" fmla="*/ 1329532 w 3956050"/>
              <a:gd name="connsiteY622" fmla="*/ 301277 h 1737071"/>
              <a:gd name="connsiteX623" fmla="*/ 1331384 w 3956050"/>
              <a:gd name="connsiteY623" fmla="*/ 302765 h 1737071"/>
              <a:gd name="connsiteX624" fmla="*/ 1333500 w 3956050"/>
              <a:gd name="connsiteY624" fmla="*/ 304750 h 1737071"/>
              <a:gd name="connsiteX625" fmla="*/ 1331384 w 3956050"/>
              <a:gd name="connsiteY625" fmla="*/ 306734 h 1737071"/>
              <a:gd name="connsiteX626" fmla="*/ 1329267 w 3956050"/>
              <a:gd name="connsiteY626" fmla="*/ 302765 h 1737071"/>
              <a:gd name="connsiteX627" fmla="*/ 1329532 w 3956050"/>
              <a:gd name="connsiteY627" fmla="*/ 301277 h 1737071"/>
              <a:gd name="connsiteX628" fmla="*/ 1343555 w 3956050"/>
              <a:gd name="connsiteY628" fmla="*/ 300384 h 1737071"/>
              <a:gd name="connsiteX629" fmla="*/ 1347259 w 3956050"/>
              <a:gd name="connsiteY629" fmla="*/ 305146 h 1737071"/>
              <a:gd name="connsiteX630" fmla="*/ 1339850 w 3956050"/>
              <a:gd name="connsiteY630" fmla="*/ 302765 h 1737071"/>
              <a:gd name="connsiteX631" fmla="*/ 1343555 w 3956050"/>
              <a:gd name="connsiteY631" fmla="*/ 300384 h 1737071"/>
              <a:gd name="connsiteX632" fmla="*/ 2649935 w 3956050"/>
              <a:gd name="connsiteY632" fmla="*/ 291255 h 1737071"/>
              <a:gd name="connsiteX633" fmla="*/ 2653904 w 3956050"/>
              <a:gd name="connsiteY633" fmla="*/ 295224 h 1737071"/>
              <a:gd name="connsiteX634" fmla="*/ 2647950 w 3956050"/>
              <a:gd name="connsiteY634" fmla="*/ 293239 h 1737071"/>
              <a:gd name="connsiteX635" fmla="*/ 2649935 w 3956050"/>
              <a:gd name="connsiteY635" fmla="*/ 291255 h 1737071"/>
              <a:gd name="connsiteX636" fmla="*/ 2604316 w 3956050"/>
              <a:gd name="connsiteY636" fmla="*/ 287865 h 1737071"/>
              <a:gd name="connsiteX637" fmla="*/ 2609536 w 3956050"/>
              <a:gd name="connsiteY637" fmla="*/ 290138 h 1737071"/>
              <a:gd name="connsiteX638" fmla="*/ 2619480 w 3956050"/>
              <a:gd name="connsiteY638" fmla="*/ 298220 h 1737071"/>
              <a:gd name="connsiteX639" fmla="*/ 2627435 w 3956050"/>
              <a:gd name="connsiteY639" fmla="*/ 302261 h 1737071"/>
              <a:gd name="connsiteX640" fmla="*/ 2633401 w 3956050"/>
              <a:gd name="connsiteY640" fmla="*/ 308322 h 1737071"/>
              <a:gd name="connsiteX641" fmla="*/ 2639367 w 3956050"/>
              <a:gd name="connsiteY641" fmla="*/ 306301 h 1737071"/>
              <a:gd name="connsiteX642" fmla="*/ 2647322 w 3956050"/>
              <a:gd name="connsiteY642" fmla="*/ 308322 h 1737071"/>
              <a:gd name="connsiteX643" fmla="*/ 2651300 w 3956050"/>
              <a:gd name="connsiteY643" fmla="*/ 316404 h 1737071"/>
              <a:gd name="connsiteX644" fmla="*/ 2657266 w 3956050"/>
              <a:gd name="connsiteY644" fmla="*/ 314383 h 1737071"/>
              <a:gd name="connsiteX645" fmla="*/ 2653288 w 3956050"/>
              <a:gd name="connsiteY645" fmla="*/ 302261 h 1737071"/>
              <a:gd name="connsiteX646" fmla="*/ 2659255 w 3956050"/>
              <a:gd name="connsiteY646" fmla="*/ 296199 h 1737071"/>
              <a:gd name="connsiteX647" fmla="*/ 2659255 w 3956050"/>
              <a:gd name="connsiteY647" fmla="*/ 294179 h 1737071"/>
              <a:gd name="connsiteX648" fmla="*/ 2659255 w 3956050"/>
              <a:gd name="connsiteY648" fmla="*/ 288117 h 1737071"/>
              <a:gd name="connsiteX649" fmla="*/ 2665221 w 3956050"/>
              <a:gd name="connsiteY649" fmla="*/ 294179 h 1737071"/>
              <a:gd name="connsiteX650" fmla="*/ 2673176 w 3956050"/>
              <a:gd name="connsiteY650" fmla="*/ 300240 h 1737071"/>
              <a:gd name="connsiteX651" fmla="*/ 2687097 w 3956050"/>
              <a:gd name="connsiteY651" fmla="*/ 304281 h 1737071"/>
              <a:gd name="connsiteX652" fmla="*/ 2699029 w 3956050"/>
              <a:gd name="connsiteY652" fmla="*/ 306301 h 1737071"/>
              <a:gd name="connsiteX653" fmla="*/ 2712951 w 3956050"/>
              <a:gd name="connsiteY653" fmla="*/ 302261 h 1737071"/>
              <a:gd name="connsiteX654" fmla="*/ 2720905 w 3956050"/>
              <a:gd name="connsiteY654" fmla="*/ 306301 h 1737071"/>
              <a:gd name="connsiteX655" fmla="*/ 2724883 w 3956050"/>
              <a:gd name="connsiteY655" fmla="*/ 308322 h 1737071"/>
              <a:gd name="connsiteX656" fmla="*/ 2736815 w 3956050"/>
              <a:gd name="connsiteY656" fmla="*/ 310342 h 1737071"/>
              <a:gd name="connsiteX657" fmla="*/ 2744770 w 3956050"/>
              <a:gd name="connsiteY657" fmla="*/ 316404 h 1737071"/>
              <a:gd name="connsiteX658" fmla="*/ 2750737 w 3956050"/>
              <a:gd name="connsiteY658" fmla="*/ 322465 h 1737071"/>
              <a:gd name="connsiteX659" fmla="*/ 2746759 w 3956050"/>
              <a:gd name="connsiteY659" fmla="*/ 324486 h 1737071"/>
              <a:gd name="connsiteX660" fmla="*/ 2744770 w 3956050"/>
              <a:gd name="connsiteY660" fmla="*/ 330547 h 1737071"/>
              <a:gd name="connsiteX661" fmla="*/ 2742782 w 3956050"/>
              <a:gd name="connsiteY661" fmla="*/ 344690 h 1737071"/>
              <a:gd name="connsiteX662" fmla="*/ 2738804 w 3956050"/>
              <a:gd name="connsiteY662" fmla="*/ 352772 h 1737071"/>
              <a:gd name="connsiteX663" fmla="*/ 2730849 w 3956050"/>
              <a:gd name="connsiteY663" fmla="*/ 352772 h 1737071"/>
              <a:gd name="connsiteX664" fmla="*/ 2726872 w 3956050"/>
              <a:gd name="connsiteY664" fmla="*/ 350751 h 1737071"/>
              <a:gd name="connsiteX665" fmla="*/ 2720905 w 3956050"/>
              <a:gd name="connsiteY665" fmla="*/ 342670 h 1737071"/>
              <a:gd name="connsiteX666" fmla="*/ 2710962 w 3956050"/>
              <a:gd name="connsiteY666" fmla="*/ 340649 h 1737071"/>
              <a:gd name="connsiteX667" fmla="*/ 2701018 w 3956050"/>
              <a:gd name="connsiteY667" fmla="*/ 334588 h 1737071"/>
              <a:gd name="connsiteX668" fmla="*/ 2697041 w 3956050"/>
              <a:gd name="connsiteY668" fmla="*/ 322465 h 1737071"/>
              <a:gd name="connsiteX669" fmla="*/ 2699029 w 3956050"/>
              <a:gd name="connsiteY669" fmla="*/ 314383 h 1737071"/>
              <a:gd name="connsiteX670" fmla="*/ 2689086 w 3956050"/>
              <a:gd name="connsiteY670" fmla="*/ 312363 h 1737071"/>
              <a:gd name="connsiteX671" fmla="*/ 2683119 w 3956050"/>
              <a:gd name="connsiteY671" fmla="*/ 318424 h 1737071"/>
              <a:gd name="connsiteX672" fmla="*/ 2689086 w 3956050"/>
              <a:gd name="connsiteY672" fmla="*/ 328526 h 1737071"/>
              <a:gd name="connsiteX673" fmla="*/ 2691074 w 3956050"/>
              <a:gd name="connsiteY673" fmla="*/ 334588 h 1737071"/>
              <a:gd name="connsiteX674" fmla="*/ 2701018 w 3956050"/>
              <a:gd name="connsiteY674" fmla="*/ 340649 h 1737071"/>
              <a:gd name="connsiteX675" fmla="*/ 2708973 w 3956050"/>
              <a:gd name="connsiteY675" fmla="*/ 344690 h 1737071"/>
              <a:gd name="connsiteX676" fmla="*/ 2712951 w 3956050"/>
              <a:gd name="connsiteY676" fmla="*/ 346711 h 1737071"/>
              <a:gd name="connsiteX677" fmla="*/ 2720905 w 3956050"/>
              <a:gd name="connsiteY677" fmla="*/ 348731 h 1737071"/>
              <a:gd name="connsiteX678" fmla="*/ 2728860 w 3956050"/>
              <a:gd name="connsiteY678" fmla="*/ 354792 h 1737071"/>
              <a:gd name="connsiteX679" fmla="*/ 2728860 w 3956050"/>
              <a:gd name="connsiteY679" fmla="*/ 358833 h 1737071"/>
              <a:gd name="connsiteX680" fmla="*/ 2720905 w 3956050"/>
              <a:gd name="connsiteY680" fmla="*/ 358833 h 1737071"/>
              <a:gd name="connsiteX681" fmla="*/ 2714939 w 3956050"/>
              <a:gd name="connsiteY681" fmla="*/ 356813 h 1737071"/>
              <a:gd name="connsiteX682" fmla="*/ 2708973 w 3956050"/>
              <a:gd name="connsiteY682" fmla="*/ 356813 h 1737071"/>
              <a:gd name="connsiteX683" fmla="*/ 2701018 w 3956050"/>
              <a:gd name="connsiteY683" fmla="*/ 358833 h 1737071"/>
              <a:gd name="connsiteX684" fmla="*/ 2687097 w 3956050"/>
              <a:gd name="connsiteY684" fmla="*/ 354792 h 1737071"/>
              <a:gd name="connsiteX685" fmla="*/ 2671187 w 3956050"/>
              <a:gd name="connsiteY685" fmla="*/ 356813 h 1737071"/>
              <a:gd name="connsiteX686" fmla="*/ 2661243 w 3956050"/>
              <a:gd name="connsiteY686" fmla="*/ 360854 h 1737071"/>
              <a:gd name="connsiteX687" fmla="*/ 2649311 w 3956050"/>
              <a:gd name="connsiteY687" fmla="*/ 360854 h 1737071"/>
              <a:gd name="connsiteX688" fmla="*/ 2647322 w 3956050"/>
              <a:gd name="connsiteY688" fmla="*/ 358833 h 1737071"/>
              <a:gd name="connsiteX689" fmla="*/ 2645333 w 3956050"/>
              <a:gd name="connsiteY689" fmla="*/ 352772 h 1737071"/>
              <a:gd name="connsiteX690" fmla="*/ 2641356 w 3956050"/>
              <a:gd name="connsiteY690" fmla="*/ 356813 h 1737071"/>
              <a:gd name="connsiteX691" fmla="*/ 2639367 w 3956050"/>
              <a:gd name="connsiteY691" fmla="*/ 368936 h 1737071"/>
              <a:gd name="connsiteX692" fmla="*/ 2633401 w 3956050"/>
              <a:gd name="connsiteY692" fmla="*/ 370956 h 1737071"/>
              <a:gd name="connsiteX693" fmla="*/ 2619480 w 3956050"/>
              <a:gd name="connsiteY693" fmla="*/ 366915 h 1737071"/>
              <a:gd name="connsiteX694" fmla="*/ 2607548 w 3956050"/>
              <a:gd name="connsiteY694" fmla="*/ 364895 h 1737071"/>
              <a:gd name="connsiteX695" fmla="*/ 2603570 w 3956050"/>
              <a:gd name="connsiteY695" fmla="*/ 360854 h 1737071"/>
              <a:gd name="connsiteX696" fmla="*/ 2601581 w 3956050"/>
              <a:gd name="connsiteY696" fmla="*/ 358833 h 1737071"/>
              <a:gd name="connsiteX697" fmla="*/ 2601581 w 3956050"/>
              <a:gd name="connsiteY697" fmla="*/ 354792 h 1737071"/>
              <a:gd name="connsiteX698" fmla="*/ 2595615 w 3956050"/>
              <a:gd name="connsiteY698" fmla="*/ 350751 h 1737071"/>
              <a:gd name="connsiteX699" fmla="*/ 2589649 w 3956050"/>
              <a:gd name="connsiteY699" fmla="*/ 348731 h 1737071"/>
              <a:gd name="connsiteX700" fmla="*/ 2583683 w 3956050"/>
              <a:gd name="connsiteY700" fmla="*/ 342670 h 1737071"/>
              <a:gd name="connsiteX701" fmla="*/ 2573739 w 3956050"/>
              <a:gd name="connsiteY701" fmla="*/ 334588 h 1737071"/>
              <a:gd name="connsiteX702" fmla="*/ 2577716 w 3956050"/>
              <a:gd name="connsiteY702" fmla="*/ 332567 h 1737071"/>
              <a:gd name="connsiteX703" fmla="*/ 2579705 w 3956050"/>
              <a:gd name="connsiteY703" fmla="*/ 328526 h 1737071"/>
              <a:gd name="connsiteX704" fmla="*/ 2573739 w 3956050"/>
              <a:gd name="connsiteY704" fmla="*/ 320445 h 1737071"/>
              <a:gd name="connsiteX705" fmla="*/ 2577716 w 3956050"/>
              <a:gd name="connsiteY705" fmla="*/ 316404 h 1737071"/>
              <a:gd name="connsiteX706" fmla="*/ 2579705 w 3956050"/>
              <a:gd name="connsiteY706" fmla="*/ 312363 h 1737071"/>
              <a:gd name="connsiteX707" fmla="*/ 2571750 w 3956050"/>
              <a:gd name="connsiteY707" fmla="*/ 306301 h 1737071"/>
              <a:gd name="connsiteX708" fmla="*/ 2581694 w 3956050"/>
              <a:gd name="connsiteY708" fmla="*/ 302261 h 1737071"/>
              <a:gd name="connsiteX709" fmla="*/ 2587660 w 3956050"/>
              <a:gd name="connsiteY709" fmla="*/ 300240 h 1737071"/>
              <a:gd name="connsiteX710" fmla="*/ 2589649 w 3956050"/>
              <a:gd name="connsiteY710" fmla="*/ 292158 h 1737071"/>
              <a:gd name="connsiteX711" fmla="*/ 2597604 w 3956050"/>
              <a:gd name="connsiteY711" fmla="*/ 290138 h 1737071"/>
              <a:gd name="connsiteX712" fmla="*/ 2604316 w 3956050"/>
              <a:gd name="connsiteY712" fmla="*/ 287865 h 1737071"/>
              <a:gd name="connsiteX713" fmla="*/ 2907242 w 3956050"/>
              <a:gd name="connsiteY713" fmla="*/ 286626 h 1737071"/>
              <a:gd name="connsiteX714" fmla="*/ 2911475 w 3956050"/>
              <a:gd name="connsiteY714" fmla="*/ 290859 h 1737071"/>
              <a:gd name="connsiteX715" fmla="*/ 2907242 w 3956050"/>
              <a:gd name="connsiteY715" fmla="*/ 297209 h 1737071"/>
              <a:gd name="connsiteX716" fmla="*/ 2905125 w 3956050"/>
              <a:gd name="connsiteY716" fmla="*/ 290859 h 1737071"/>
              <a:gd name="connsiteX717" fmla="*/ 2907242 w 3956050"/>
              <a:gd name="connsiteY717" fmla="*/ 286626 h 1737071"/>
              <a:gd name="connsiteX718" fmla="*/ 2777597 w 3956050"/>
              <a:gd name="connsiteY718" fmla="*/ 278159 h 1737071"/>
              <a:gd name="connsiteX719" fmla="*/ 2775480 w 3956050"/>
              <a:gd name="connsiteY719" fmla="*/ 284509 h 1737071"/>
              <a:gd name="connsiteX720" fmla="*/ 2773363 w 3956050"/>
              <a:gd name="connsiteY720" fmla="*/ 280276 h 1737071"/>
              <a:gd name="connsiteX721" fmla="*/ 2777597 w 3956050"/>
              <a:gd name="connsiteY721" fmla="*/ 278159 h 1737071"/>
              <a:gd name="connsiteX722" fmla="*/ 1661716 w 3956050"/>
              <a:gd name="connsiteY722" fmla="*/ 278159 h 1737071"/>
              <a:gd name="connsiteX723" fmla="*/ 1663700 w 3956050"/>
              <a:gd name="connsiteY723" fmla="*/ 284282 h 1737071"/>
              <a:gd name="connsiteX724" fmla="*/ 1663700 w 3956050"/>
              <a:gd name="connsiteY724" fmla="*/ 288364 h 1737071"/>
              <a:gd name="connsiteX725" fmla="*/ 1659731 w 3956050"/>
              <a:gd name="connsiteY725" fmla="*/ 292446 h 1737071"/>
              <a:gd name="connsiteX726" fmla="*/ 1655762 w 3956050"/>
              <a:gd name="connsiteY726" fmla="*/ 290405 h 1737071"/>
              <a:gd name="connsiteX727" fmla="*/ 1657747 w 3956050"/>
              <a:gd name="connsiteY727" fmla="*/ 282241 h 1737071"/>
              <a:gd name="connsiteX728" fmla="*/ 1661716 w 3956050"/>
              <a:gd name="connsiteY728" fmla="*/ 278159 h 1737071"/>
              <a:gd name="connsiteX729" fmla="*/ 1620441 w 3956050"/>
              <a:gd name="connsiteY729" fmla="*/ 268634 h 1737071"/>
              <a:gd name="connsiteX730" fmla="*/ 1622425 w 3956050"/>
              <a:gd name="connsiteY730" fmla="*/ 270751 h 1737071"/>
              <a:gd name="connsiteX731" fmla="*/ 1618456 w 3956050"/>
              <a:gd name="connsiteY731" fmla="*/ 270751 h 1737071"/>
              <a:gd name="connsiteX732" fmla="*/ 1620441 w 3956050"/>
              <a:gd name="connsiteY732" fmla="*/ 268634 h 1737071"/>
              <a:gd name="connsiteX733" fmla="*/ 1629727 w 3956050"/>
              <a:gd name="connsiteY733" fmla="*/ 267047 h 1737071"/>
              <a:gd name="connsiteX734" fmla="*/ 1633537 w 3956050"/>
              <a:gd name="connsiteY734" fmla="*/ 268634 h 1737071"/>
              <a:gd name="connsiteX735" fmla="*/ 1627822 w 3956050"/>
              <a:gd name="connsiteY735" fmla="*/ 270222 h 1737071"/>
              <a:gd name="connsiteX736" fmla="*/ 1629727 w 3956050"/>
              <a:gd name="connsiteY736" fmla="*/ 267047 h 1737071"/>
              <a:gd name="connsiteX737" fmla="*/ 1638300 w 3956050"/>
              <a:gd name="connsiteY737" fmla="*/ 263872 h 1737071"/>
              <a:gd name="connsiteX738" fmla="*/ 1640681 w 3956050"/>
              <a:gd name="connsiteY738" fmla="*/ 270539 h 1737071"/>
              <a:gd name="connsiteX739" fmla="*/ 1635918 w 3956050"/>
              <a:gd name="connsiteY739" fmla="*/ 268317 h 1737071"/>
              <a:gd name="connsiteX740" fmla="*/ 1638300 w 3956050"/>
              <a:gd name="connsiteY740" fmla="*/ 263872 h 1737071"/>
              <a:gd name="connsiteX741" fmla="*/ 3017044 w 3956050"/>
              <a:gd name="connsiteY741" fmla="*/ 260696 h 1737071"/>
              <a:gd name="connsiteX742" fmla="*/ 3013075 w 3956050"/>
              <a:gd name="connsiteY742" fmla="*/ 262813 h 1737071"/>
              <a:gd name="connsiteX743" fmla="*/ 3017044 w 3956050"/>
              <a:gd name="connsiteY743" fmla="*/ 260696 h 1737071"/>
              <a:gd name="connsiteX744" fmla="*/ 2811287 w 3956050"/>
              <a:gd name="connsiteY744" fmla="*/ 259109 h 1737071"/>
              <a:gd name="connsiteX745" fmla="*/ 2817108 w 3956050"/>
              <a:gd name="connsiteY745" fmla="*/ 259109 h 1737071"/>
              <a:gd name="connsiteX746" fmla="*/ 2817108 w 3956050"/>
              <a:gd name="connsiteY746" fmla="*/ 266729 h 1737071"/>
              <a:gd name="connsiteX747" fmla="*/ 2809346 w 3956050"/>
              <a:gd name="connsiteY747" fmla="*/ 264824 h 1737071"/>
              <a:gd name="connsiteX748" fmla="*/ 2805466 w 3956050"/>
              <a:gd name="connsiteY748" fmla="*/ 264824 h 1737071"/>
              <a:gd name="connsiteX749" fmla="*/ 2805466 w 3956050"/>
              <a:gd name="connsiteY749" fmla="*/ 262919 h 1737071"/>
              <a:gd name="connsiteX750" fmla="*/ 2811287 w 3956050"/>
              <a:gd name="connsiteY750" fmla="*/ 259109 h 1737071"/>
              <a:gd name="connsiteX751" fmla="*/ 998591 w 3956050"/>
              <a:gd name="connsiteY751" fmla="*/ 251172 h 1737071"/>
              <a:gd name="connsiteX752" fmla="*/ 1014611 w 3956050"/>
              <a:gd name="connsiteY752" fmla="*/ 255151 h 1737071"/>
              <a:gd name="connsiteX753" fmla="*/ 1018616 w 3956050"/>
              <a:gd name="connsiteY753" fmla="*/ 257140 h 1737071"/>
              <a:gd name="connsiteX754" fmla="*/ 1024623 w 3956050"/>
              <a:gd name="connsiteY754" fmla="*/ 255151 h 1737071"/>
              <a:gd name="connsiteX755" fmla="*/ 1028628 w 3956050"/>
              <a:gd name="connsiteY755" fmla="*/ 259130 h 1737071"/>
              <a:gd name="connsiteX756" fmla="*/ 1032632 w 3956050"/>
              <a:gd name="connsiteY756" fmla="*/ 263108 h 1737071"/>
              <a:gd name="connsiteX757" fmla="*/ 1036637 w 3956050"/>
              <a:gd name="connsiteY757" fmla="*/ 267087 h 1737071"/>
              <a:gd name="connsiteX758" fmla="*/ 1034635 w 3956050"/>
              <a:gd name="connsiteY758" fmla="*/ 271066 h 1737071"/>
              <a:gd name="connsiteX759" fmla="*/ 1032632 w 3956050"/>
              <a:gd name="connsiteY759" fmla="*/ 279024 h 1737071"/>
              <a:gd name="connsiteX760" fmla="*/ 1026625 w 3956050"/>
              <a:gd name="connsiteY760" fmla="*/ 284992 h 1737071"/>
              <a:gd name="connsiteX761" fmla="*/ 1016613 w 3956050"/>
              <a:gd name="connsiteY761" fmla="*/ 288971 h 1737071"/>
              <a:gd name="connsiteX762" fmla="*/ 1012608 w 3956050"/>
              <a:gd name="connsiteY762" fmla="*/ 290960 h 1737071"/>
              <a:gd name="connsiteX763" fmla="*/ 1006601 w 3956050"/>
              <a:gd name="connsiteY763" fmla="*/ 292949 h 1737071"/>
              <a:gd name="connsiteX764" fmla="*/ 996589 w 3956050"/>
              <a:gd name="connsiteY764" fmla="*/ 298918 h 1737071"/>
              <a:gd name="connsiteX765" fmla="*/ 990582 w 3956050"/>
              <a:gd name="connsiteY765" fmla="*/ 300907 h 1737071"/>
              <a:gd name="connsiteX766" fmla="*/ 986577 w 3956050"/>
              <a:gd name="connsiteY766" fmla="*/ 302896 h 1737071"/>
              <a:gd name="connsiteX767" fmla="*/ 976565 w 3956050"/>
              <a:gd name="connsiteY767" fmla="*/ 306875 h 1737071"/>
              <a:gd name="connsiteX768" fmla="*/ 970558 w 3956050"/>
              <a:gd name="connsiteY768" fmla="*/ 306875 h 1737071"/>
              <a:gd name="connsiteX769" fmla="*/ 964550 w 3956050"/>
              <a:gd name="connsiteY769" fmla="*/ 308864 h 1737071"/>
              <a:gd name="connsiteX770" fmla="*/ 954538 w 3956050"/>
              <a:gd name="connsiteY770" fmla="*/ 308864 h 1737071"/>
              <a:gd name="connsiteX771" fmla="*/ 948531 w 3956050"/>
              <a:gd name="connsiteY771" fmla="*/ 310854 h 1737071"/>
              <a:gd name="connsiteX772" fmla="*/ 938519 w 3956050"/>
              <a:gd name="connsiteY772" fmla="*/ 312843 h 1737071"/>
              <a:gd name="connsiteX773" fmla="*/ 930509 w 3956050"/>
              <a:gd name="connsiteY773" fmla="*/ 312843 h 1737071"/>
              <a:gd name="connsiteX774" fmla="*/ 928507 w 3956050"/>
              <a:gd name="connsiteY774" fmla="*/ 312843 h 1737071"/>
              <a:gd name="connsiteX775" fmla="*/ 916492 w 3956050"/>
              <a:gd name="connsiteY775" fmla="*/ 326769 h 1737071"/>
              <a:gd name="connsiteX776" fmla="*/ 906480 w 3956050"/>
              <a:gd name="connsiteY776" fmla="*/ 326769 h 1737071"/>
              <a:gd name="connsiteX777" fmla="*/ 902475 w 3956050"/>
              <a:gd name="connsiteY777" fmla="*/ 332737 h 1737071"/>
              <a:gd name="connsiteX778" fmla="*/ 896468 w 3956050"/>
              <a:gd name="connsiteY778" fmla="*/ 336716 h 1737071"/>
              <a:gd name="connsiteX779" fmla="*/ 882451 w 3956050"/>
              <a:gd name="connsiteY779" fmla="*/ 346663 h 1737071"/>
              <a:gd name="connsiteX780" fmla="*/ 870437 w 3956050"/>
              <a:gd name="connsiteY780" fmla="*/ 348652 h 1737071"/>
              <a:gd name="connsiteX781" fmla="*/ 864430 w 3956050"/>
              <a:gd name="connsiteY781" fmla="*/ 352631 h 1737071"/>
              <a:gd name="connsiteX782" fmla="*/ 862427 w 3956050"/>
              <a:gd name="connsiteY782" fmla="*/ 356610 h 1737071"/>
              <a:gd name="connsiteX783" fmla="*/ 860425 w 3956050"/>
              <a:gd name="connsiteY783" fmla="*/ 362578 h 1737071"/>
              <a:gd name="connsiteX784" fmla="*/ 846408 w 3956050"/>
              <a:gd name="connsiteY784" fmla="*/ 370536 h 1737071"/>
              <a:gd name="connsiteX785" fmla="*/ 834393 w 3956050"/>
              <a:gd name="connsiteY785" fmla="*/ 366557 h 1737071"/>
              <a:gd name="connsiteX786" fmla="*/ 832391 w 3956050"/>
              <a:gd name="connsiteY786" fmla="*/ 372525 h 1737071"/>
              <a:gd name="connsiteX787" fmla="*/ 832391 w 3956050"/>
              <a:gd name="connsiteY787" fmla="*/ 376504 h 1737071"/>
              <a:gd name="connsiteX788" fmla="*/ 824381 w 3956050"/>
              <a:gd name="connsiteY788" fmla="*/ 376504 h 1737071"/>
              <a:gd name="connsiteX789" fmla="*/ 826384 w 3956050"/>
              <a:gd name="connsiteY789" fmla="*/ 382472 h 1737071"/>
              <a:gd name="connsiteX790" fmla="*/ 820376 w 3956050"/>
              <a:gd name="connsiteY790" fmla="*/ 392419 h 1737071"/>
              <a:gd name="connsiteX791" fmla="*/ 820376 w 3956050"/>
              <a:gd name="connsiteY791" fmla="*/ 400377 h 1737071"/>
              <a:gd name="connsiteX792" fmla="*/ 812367 w 3956050"/>
              <a:gd name="connsiteY792" fmla="*/ 400377 h 1737071"/>
              <a:gd name="connsiteX793" fmla="*/ 804357 w 3956050"/>
              <a:gd name="connsiteY793" fmla="*/ 396398 h 1737071"/>
              <a:gd name="connsiteX794" fmla="*/ 808362 w 3956050"/>
              <a:gd name="connsiteY794" fmla="*/ 402366 h 1737071"/>
              <a:gd name="connsiteX795" fmla="*/ 810364 w 3956050"/>
              <a:gd name="connsiteY795" fmla="*/ 408334 h 1737071"/>
              <a:gd name="connsiteX796" fmla="*/ 810364 w 3956050"/>
              <a:gd name="connsiteY796" fmla="*/ 410324 h 1737071"/>
              <a:gd name="connsiteX797" fmla="*/ 810364 w 3956050"/>
              <a:gd name="connsiteY797" fmla="*/ 414303 h 1737071"/>
              <a:gd name="connsiteX798" fmla="*/ 806360 w 3956050"/>
              <a:gd name="connsiteY798" fmla="*/ 412313 h 1737071"/>
              <a:gd name="connsiteX799" fmla="*/ 802355 w 3956050"/>
              <a:gd name="connsiteY799" fmla="*/ 410324 h 1737071"/>
              <a:gd name="connsiteX800" fmla="*/ 796347 w 3956050"/>
              <a:gd name="connsiteY800" fmla="*/ 408334 h 1737071"/>
              <a:gd name="connsiteX801" fmla="*/ 794345 w 3956050"/>
              <a:gd name="connsiteY801" fmla="*/ 410324 h 1737071"/>
              <a:gd name="connsiteX802" fmla="*/ 798350 w 3956050"/>
              <a:gd name="connsiteY802" fmla="*/ 412313 h 1737071"/>
              <a:gd name="connsiteX803" fmla="*/ 804357 w 3956050"/>
              <a:gd name="connsiteY803" fmla="*/ 418281 h 1737071"/>
              <a:gd name="connsiteX804" fmla="*/ 796347 w 3956050"/>
              <a:gd name="connsiteY804" fmla="*/ 418281 h 1737071"/>
              <a:gd name="connsiteX805" fmla="*/ 796347 w 3956050"/>
              <a:gd name="connsiteY805" fmla="*/ 420271 h 1737071"/>
              <a:gd name="connsiteX806" fmla="*/ 796347 w 3956050"/>
              <a:gd name="connsiteY806" fmla="*/ 426239 h 1737071"/>
              <a:gd name="connsiteX807" fmla="*/ 794345 w 3956050"/>
              <a:gd name="connsiteY807" fmla="*/ 430218 h 1737071"/>
              <a:gd name="connsiteX808" fmla="*/ 792343 w 3956050"/>
              <a:gd name="connsiteY808" fmla="*/ 432207 h 1737071"/>
              <a:gd name="connsiteX809" fmla="*/ 774321 w 3956050"/>
              <a:gd name="connsiteY809" fmla="*/ 428228 h 1737071"/>
              <a:gd name="connsiteX810" fmla="*/ 764309 w 3956050"/>
              <a:gd name="connsiteY810" fmla="*/ 428228 h 1737071"/>
              <a:gd name="connsiteX811" fmla="*/ 764309 w 3956050"/>
              <a:gd name="connsiteY811" fmla="*/ 432207 h 1737071"/>
              <a:gd name="connsiteX812" fmla="*/ 778326 w 3956050"/>
              <a:gd name="connsiteY812" fmla="*/ 436186 h 1737071"/>
              <a:gd name="connsiteX813" fmla="*/ 782331 w 3956050"/>
              <a:gd name="connsiteY813" fmla="*/ 440165 h 1737071"/>
              <a:gd name="connsiteX814" fmla="*/ 778326 w 3956050"/>
              <a:gd name="connsiteY814" fmla="*/ 448122 h 1737071"/>
              <a:gd name="connsiteX815" fmla="*/ 774321 w 3956050"/>
              <a:gd name="connsiteY815" fmla="*/ 452101 h 1737071"/>
              <a:gd name="connsiteX816" fmla="*/ 774321 w 3956050"/>
              <a:gd name="connsiteY816" fmla="*/ 460059 h 1737071"/>
              <a:gd name="connsiteX817" fmla="*/ 772318 w 3956050"/>
              <a:gd name="connsiteY817" fmla="*/ 464038 h 1737071"/>
              <a:gd name="connsiteX818" fmla="*/ 770316 w 3956050"/>
              <a:gd name="connsiteY818" fmla="*/ 470006 h 1737071"/>
              <a:gd name="connsiteX819" fmla="*/ 772318 w 3956050"/>
              <a:gd name="connsiteY819" fmla="*/ 473985 h 1737071"/>
              <a:gd name="connsiteX820" fmla="*/ 774321 w 3956050"/>
              <a:gd name="connsiteY820" fmla="*/ 481942 h 1737071"/>
              <a:gd name="connsiteX821" fmla="*/ 776323 w 3956050"/>
              <a:gd name="connsiteY821" fmla="*/ 489900 h 1737071"/>
              <a:gd name="connsiteX822" fmla="*/ 776323 w 3956050"/>
              <a:gd name="connsiteY822" fmla="*/ 495868 h 1737071"/>
              <a:gd name="connsiteX823" fmla="*/ 776323 w 3956050"/>
              <a:gd name="connsiteY823" fmla="*/ 501836 h 1737071"/>
              <a:gd name="connsiteX824" fmla="*/ 778326 w 3956050"/>
              <a:gd name="connsiteY824" fmla="*/ 507804 h 1737071"/>
              <a:gd name="connsiteX825" fmla="*/ 784333 w 3956050"/>
              <a:gd name="connsiteY825" fmla="*/ 523720 h 1737071"/>
              <a:gd name="connsiteX826" fmla="*/ 790340 w 3956050"/>
              <a:gd name="connsiteY826" fmla="*/ 527698 h 1737071"/>
              <a:gd name="connsiteX827" fmla="*/ 796347 w 3956050"/>
              <a:gd name="connsiteY827" fmla="*/ 531677 h 1737071"/>
              <a:gd name="connsiteX828" fmla="*/ 802355 w 3956050"/>
              <a:gd name="connsiteY828" fmla="*/ 535656 h 1737071"/>
              <a:gd name="connsiteX829" fmla="*/ 806360 w 3956050"/>
              <a:gd name="connsiteY829" fmla="*/ 539635 h 1737071"/>
              <a:gd name="connsiteX830" fmla="*/ 820376 w 3956050"/>
              <a:gd name="connsiteY830" fmla="*/ 551571 h 1737071"/>
              <a:gd name="connsiteX831" fmla="*/ 822379 w 3956050"/>
              <a:gd name="connsiteY831" fmla="*/ 555550 h 1737071"/>
              <a:gd name="connsiteX832" fmla="*/ 820376 w 3956050"/>
              <a:gd name="connsiteY832" fmla="*/ 557539 h 1737071"/>
              <a:gd name="connsiteX833" fmla="*/ 818374 w 3956050"/>
              <a:gd name="connsiteY833" fmla="*/ 559529 h 1737071"/>
              <a:gd name="connsiteX834" fmla="*/ 816372 w 3956050"/>
              <a:gd name="connsiteY834" fmla="*/ 561518 h 1737071"/>
              <a:gd name="connsiteX835" fmla="*/ 812367 w 3956050"/>
              <a:gd name="connsiteY835" fmla="*/ 559529 h 1737071"/>
              <a:gd name="connsiteX836" fmla="*/ 808362 w 3956050"/>
              <a:gd name="connsiteY836" fmla="*/ 557539 h 1737071"/>
              <a:gd name="connsiteX837" fmla="*/ 804357 w 3956050"/>
              <a:gd name="connsiteY837" fmla="*/ 553561 h 1737071"/>
              <a:gd name="connsiteX838" fmla="*/ 802355 w 3956050"/>
              <a:gd name="connsiteY838" fmla="*/ 553561 h 1737071"/>
              <a:gd name="connsiteX839" fmla="*/ 802355 w 3956050"/>
              <a:gd name="connsiteY839" fmla="*/ 561518 h 1737071"/>
              <a:gd name="connsiteX840" fmla="*/ 800352 w 3956050"/>
              <a:gd name="connsiteY840" fmla="*/ 563508 h 1737071"/>
              <a:gd name="connsiteX841" fmla="*/ 796347 w 3956050"/>
              <a:gd name="connsiteY841" fmla="*/ 559529 h 1737071"/>
              <a:gd name="connsiteX842" fmla="*/ 792343 w 3956050"/>
              <a:gd name="connsiteY842" fmla="*/ 559529 h 1737071"/>
              <a:gd name="connsiteX843" fmla="*/ 788338 w 3956050"/>
              <a:gd name="connsiteY843" fmla="*/ 561518 h 1737071"/>
              <a:gd name="connsiteX844" fmla="*/ 782331 w 3956050"/>
              <a:gd name="connsiteY844" fmla="*/ 555550 h 1737071"/>
              <a:gd name="connsiteX845" fmla="*/ 778326 w 3956050"/>
              <a:gd name="connsiteY845" fmla="*/ 553561 h 1737071"/>
              <a:gd name="connsiteX846" fmla="*/ 776323 w 3956050"/>
              <a:gd name="connsiteY846" fmla="*/ 551571 h 1737071"/>
              <a:gd name="connsiteX847" fmla="*/ 774321 w 3956050"/>
              <a:gd name="connsiteY847" fmla="*/ 549582 h 1737071"/>
              <a:gd name="connsiteX848" fmla="*/ 774321 w 3956050"/>
              <a:gd name="connsiteY848" fmla="*/ 557539 h 1737071"/>
              <a:gd name="connsiteX849" fmla="*/ 772318 w 3956050"/>
              <a:gd name="connsiteY849" fmla="*/ 563508 h 1737071"/>
              <a:gd name="connsiteX850" fmla="*/ 764309 w 3956050"/>
              <a:gd name="connsiteY850" fmla="*/ 557539 h 1737071"/>
              <a:gd name="connsiteX851" fmla="*/ 760304 w 3956050"/>
              <a:gd name="connsiteY851" fmla="*/ 555550 h 1737071"/>
              <a:gd name="connsiteX852" fmla="*/ 756299 w 3956050"/>
              <a:gd name="connsiteY852" fmla="*/ 553561 h 1737071"/>
              <a:gd name="connsiteX853" fmla="*/ 752294 w 3956050"/>
              <a:gd name="connsiteY853" fmla="*/ 553561 h 1737071"/>
              <a:gd name="connsiteX854" fmla="*/ 746287 w 3956050"/>
              <a:gd name="connsiteY854" fmla="*/ 553561 h 1737071"/>
              <a:gd name="connsiteX855" fmla="*/ 742282 w 3956050"/>
              <a:gd name="connsiteY855" fmla="*/ 553561 h 1737071"/>
              <a:gd name="connsiteX856" fmla="*/ 734273 w 3956050"/>
              <a:gd name="connsiteY856" fmla="*/ 551571 h 1737071"/>
              <a:gd name="connsiteX857" fmla="*/ 736275 w 3956050"/>
              <a:gd name="connsiteY857" fmla="*/ 549582 h 1737071"/>
              <a:gd name="connsiteX858" fmla="*/ 738277 w 3956050"/>
              <a:gd name="connsiteY858" fmla="*/ 543614 h 1737071"/>
              <a:gd name="connsiteX859" fmla="*/ 736275 w 3956050"/>
              <a:gd name="connsiteY859" fmla="*/ 539635 h 1737071"/>
              <a:gd name="connsiteX860" fmla="*/ 740280 w 3956050"/>
              <a:gd name="connsiteY860" fmla="*/ 531677 h 1737071"/>
              <a:gd name="connsiteX861" fmla="*/ 748290 w 3956050"/>
              <a:gd name="connsiteY861" fmla="*/ 529688 h 1737071"/>
              <a:gd name="connsiteX862" fmla="*/ 736275 w 3956050"/>
              <a:gd name="connsiteY862" fmla="*/ 527698 h 1737071"/>
              <a:gd name="connsiteX863" fmla="*/ 730268 w 3956050"/>
              <a:gd name="connsiteY863" fmla="*/ 517751 h 1737071"/>
              <a:gd name="connsiteX864" fmla="*/ 718253 w 3956050"/>
              <a:gd name="connsiteY864" fmla="*/ 515762 h 1737071"/>
              <a:gd name="connsiteX865" fmla="*/ 710244 w 3956050"/>
              <a:gd name="connsiteY865" fmla="*/ 519741 h 1737071"/>
              <a:gd name="connsiteX866" fmla="*/ 708241 w 3956050"/>
              <a:gd name="connsiteY866" fmla="*/ 509794 h 1737071"/>
              <a:gd name="connsiteX867" fmla="*/ 702234 w 3956050"/>
              <a:gd name="connsiteY867" fmla="*/ 511783 h 1737071"/>
              <a:gd name="connsiteX868" fmla="*/ 688217 w 3956050"/>
              <a:gd name="connsiteY868" fmla="*/ 513773 h 1737071"/>
              <a:gd name="connsiteX869" fmla="*/ 688217 w 3956050"/>
              <a:gd name="connsiteY869" fmla="*/ 489900 h 1737071"/>
              <a:gd name="connsiteX870" fmla="*/ 696227 w 3956050"/>
              <a:gd name="connsiteY870" fmla="*/ 489900 h 1737071"/>
              <a:gd name="connsiteX871" fmla="*/ 700232 w 3956050"/>
              <a:gd name="connsiteY871" fmla="*/ 487910 h 1737071"/>
              <a:gd name="connsiteX872" fmla="*/ 704236 w 3956050"/>
              <a:gd name="connsiteY872" fmla="*/ 479953 h 1737071"/>
              <a:gd name="connsiteX873" fmla="*/ 706239 w 3956050"/>
              <a:gd name="connsiteY873" fmla="*/ 475974 h 1737071"/>
              <a:gd name="connsiteX874" fmla="*/ 710244 w 3956050"/>
              <a:gd name="connsiteY874" fmla="*/ 475974 h 1737071"/>
              <a:gd name="connsiteX875" fmla="*/ 708241 w 3956050"/>
              <a:gd name="connsiteY875" fmla="*/ 473985 h 1737071"/>
              <a:gd name="connsiteX876" fmla="*/ 708241 w 3956050"/>
              <a:gd name="connsiteY876" fmla="*/ 468016 h 1737071"/>
              <a:gd name="connsiteX877" fmla="*/ 706239 w 3956050"/>
              <a:gd name="connsiteY877" fmla="*/ 460059 h 1737071"/>
              <a:gd name="connsiteX878" fmla="*/ 704236 w 3956050"/>
              <a:gd name="connsiteY878" fmla="*/ 454091 h 1737071"/>
              <a:gd name="connsiteX879" fmla="*/ 708241 w 3956050"/>
              <a:gd name="connsiteY879" fmla="*/ 448122 h 1737071"/>
              <a:gd name="connsiteX880" fmla="*/ 712246 w 3956050"/>
              <a:gd name="connsiteY880" fmla="*/ 444144 h 1737071"/>
              <a:gd name="connsiteX881" fmla="*/ 712246 w 3956050"/>
              <a:gd name="connsiteY881" fmla="*/ 442154 h 1737071"/>
              <a:gd name="connsiteX882" fmla="*/ 714248 w 3956050"/>
              <a:gd name="connsiteY882" fmla="*/ 438175 h 1737071"/>
              <a:gd name="connsiteX883" fmla="*/ 720256 w 3956050"/>
              <a:gd name="connsiteY883" fmla="*/ 432207 h 1737071"/>
              <a:gd name="connsiteX884" fmla="*/ 726263 w 3956050"/>
              <a:gd name="connsiteY884" fmla="*/ 430218 h 1737071"/>
              <a:gd name="connsiteX885" fmla="*/ 736275 w 3956050"/>
              <a:gd name="connsiteY885" fmla="*/ 428228 h 1737071"/>
              <a:gd name="connsiteX886" fmla="*/ 748290 w 3956050"/>
              <a:gd name="connsiteY886" fmla="*/ 426239 h 1737071"/>
              <a:gd name="connsiteX887" fmla="*/ 748290 w 3956050"/>
              <a:gd name="connsiteY887" fmla="*/ 422260 h 1737071"/>
              <a:gd name="connsiteX888" fmla="*/ 738277 w 3956050"/>
              <a:gd name="connsiteY888" fmla="*/ 424250 h 1737071"/>
              <a:gd name="connsiteX889" fmla="*/ 730268 w 3956050"/>
              <a:gd name="connsiteY889" fmla="*/ 422260 h 1737071"/>
              <a:gd name="connsiteX890" fmla="*/ 724261 w 3956050"/>
              <a:gd name="connsiteY890" fmla="*/ 418281 h 1737071"/>
              <a:gd name="connsiteX891" fmla="*/ 718253 w 3956050"/>
              <a:gd name="connsiteY891" fmla="*/ 416292 h 1737071"/>
              <a:gd name="connsiteX892" fmla="*/ 722258 w 3956050"/>
              <a:gd name="connsiteY892" fmla="*/ 412313 h 1737071"/>
              <a:gd name="connsiteX893" fmla="*/ 726263 w 3956050"/>
              <a:gd name="connsiteY893" fmla="*/ 408334 h 1737071"/>
              <a:gd name="connsiteX894" fmla="*/ 728265 w 3956050"/>
              <a:gd name="connsiteY894" fmla="*/ 406345 h 1737071"/>
              <a:gd name="connsiteX895" fmla="*/ 734273 w 3956050"/>
              <a:gd name="connsiteY895" fmla="*/ 406345 h 1737071"/>
              <a:gd name="connsiteX896" fmla="*/ 742282 w 3956050"/>
              <a:gd name="connsiteY896" fmla="*/ 404356 h 1737071"/>
              <a:gd name="connsiteX897" fmla="*/ 742282 w 3956050"/>
              <a:gd name="connsiteY897" fmla="*/ 398387 h 1737071"/>
              <a:gd name="connsiteX898" fmla="*/ 752294 w 3956050"/>
              <a:gd name="connsiteY898" fmla="*/ 396398 h 1737071"/>
              <a:gd name="connsiteX899" fmla="*/ 766311 w 3956050"/>
              <a:gd name="connsiteY899" fmla="*/ 394409 h 1737071"/>
              <a:gd name="connsiteX900" fmla="*/ 758302 w 3956050"/>
              <a:gd name="connsiteY900" fmla="*/ 392419 h 1737071"/>
              <a:gd name="connsiteX901" fmla="*/ 748290 w 3956050"/>
              <a:gd name="connsiteY901" fmla="*/ 390430 h 1737071"/>
              <a:gd name="connsiteX902" fmla="*/ 752294 w 3956050"/>
              <a:gd name="connsiteY902" fmla="*/ 386451 h 1737071"/>
              <a:gd name="connsiteX903" fmla="*/ 750292 w 3956050"/>
              <a:gd name="connsiteY903" fmla="*/ 384462 h 1737071"/>
              <a:gd name="connsiteX904" fmla="*/ 748290 w 3956050"/>
              <a:gd name="connsiteY904" fmla="*/ 380483 h 1737071"/>
              <a:gd name="connsiteX905" fmla="*/ 754297 w 3956050"/>
              <a:gd name="connsiteY905" fmla="*/ 380483 h 1737071"/>
              <a:gd name="connsiteX906" fmla="*/ 758302 w 3956050"/>
              <a:gd name="connsiteY906" fmla="*/ 376504 h 1737071"/>
              <a:gd name="connsiteX907" fmla="*/ 756299 w 3956050"/>
              <a:gd name="connsiteY907" fmla="*/ 374515 h 1737071"/>
              <a:gd name="connsiteX908" fmla="*/ 754297 w 3956050"/>
              <a:gd name="connsiteY908" fmla="*/ 370536 h 1737071"/>
              <a:gd name="connsiteX909" fmla="*/ 758302 w 3956050"/>
              <a:gd name="connsiteY909" fmla="*/ 370536 h 1737071"/>
              <a:gd name="connsiteX910" fmla="*/ 764309 w 3956050"/>
              <a:gd name="connsiteY910" fmla="*/ 370536 h 1737071"/>
              <a:gd name="connsiteX911" fmla="*/ 768314 w 3956050"/>
              <a:gd name="connsiteY911" fmla="*/ 368546 h 1737071"/>
              <a:gd name="connsiteX912" fmla="*/ 774321 w 3956050"/>
              <a:gd name="connsiteY912" fmla="*/ 368546 h 1737071"/>
              <a:gd name="connsiteX913" fmla="*/ 768314 w 3956050"/>
              <a:gd name="connsiteY913" fmla="*/ 364568 h 1737071"/>
              <a:gd name="connsiteX914" fmla="*/ 764309 w 3956050"/>
              <a:gd name="connsiteY914" fmla="*/ 364568 h 1737071"/>
              <a:gd name="connsiteX915" fmla="*/ 760304 w 3956050"/>
              <a:gd name="connsiteY915" fmla="*/ 360589 h 1737071"/>
              <a:gd name="connsiteX916" fmla="*/ 756299 w 3956050"/>
              <a:gd name="connsiteY916" fmla="*/ 358599 h 1737071"/>
              <a:gd name="connsiteX917" fmla="*/ 752294 w 3956050"/>
              <a:gd name="connsiteY917" fmla="*/ 346663 h 1737071"/>
              <a:gd name="connsiteX918" fmla="*/ 754297 w 3956050"/>
              <a:gd name="connsiteY918" fmla="*/ 340695 h 1737071"/>
              <a:gd name="connsiteX919" fmla="*/ 760304 w 3956050"/>
              <a:gd name="connsiteY919" fmla="*/ 346663 h 1737071"/>
              <a:gd name="connsiteX920" fmla="*/ 770316 w 3956050"/>
              <a:gd name="connsiteY920" fmla="*/ 346663 h 1737071"/>
              <a:gd name="connsiteX921" fmla="*/ 782331 w 3956050"/>
              <a:gd name="connsiteY921" fmla="*/ 342684 h 1737071"/>
              <a:gd name="connsiteX922" fmla="*/ 790340 w 3956050"/>
              <a:gd name="connsiteY922" fmla="*/ 340695 h 1737071"/>
              <a:gd name="connsiteX923" fmla="*/ 798350 w 3956050"/>
              <a:gd name="connsiteY923" fmla="*/ 342684 h 1737071"/>
              <a:gd name="connsiteX924" fmla="*/ 796347 w 3956050"/>
              <a:gd name="connsiteY924" fmla="*/ 332737 h 1737071"/>
              <a:gd name="connsiteX925" fmla="*/ 798350 w 3956050"/>
              <a:gd name="connsiteY925" fmla="*/ 326769 h 1737071"/>
              <a:gd name="connsiteX926" fmla="*/ 802355 w 3956050"/>
              <a:gd name="connsiteY926" fmla="*/ 322790 h 1737071"/>
              <a:gd name="connsiteX927" fmla="*/ 808362 w 3956050"/>
              <a:gd name="connsiteY927" fmla="*/ 322790 h 1737071"/>
              <a:gd name="connsiteX928" fmla="*/ 812367 w 3956050"/>
              <a:gd name="connsiteY928" fmla="*/ 322790 h 1737071"/>
              <a:gd name="connsiteX929" fmla="*/ 814369 w 3956050"/>
              <a:gd name="connsiteY929" fmla="*/ 316822 h 1737071"/>
              <a:gd name="connsiteX930" fmla="*/ 824381 w 3956050"/>
              <a:gd name="connsiteY930" fmla="*/ 314833 h 1737071"/>
              <a:gd name="connsiteX931" fmla="*/ 828386 w 3956050"/>
              <a:gd name="connsiteY931" fmla="*/ 312843 h 1737071"/>
              <a:gd name="connsiteX932" fmla="*/ 838398 w 3956050"/>
              <a:gd name="connsiteY932" fmla="*/ 308864 h 1737071"/>
              <a:gd name="connsiteX933" fmla="*/ 840401 w 3956050"/>
              <a:gd name="connsiteY933" fmla="*/ 304886 h 1737071"/>
              <a:gd name="connsiteX934" fmla="*/ 844405 w 3956050"/>
              <a:gd name="connsiteY934" fmla="*/ 296928 h 1737071"/>
              <a:gd name="connsiteX935" fmla="*/ 850413 w 3956050"/>
              <a:gd name="connsiteY935" fmla="*/ 294939 h 1737071"/>
              <a:gd name="connsiteX936" fmla="*/ 852415 w 3956050"/>
              <a:gd name="connsiteY936" fmla="*/ 298918 h 1737071"/>
              <a:gd name="connsiteX937" fmla="*/ 854417 w 3956050"/>
              <a:gd name="connsiteY937" fmla="*/ 302896 h 1737071"/>
              <a:gd name="connsiteX938" fmla="*/ 858422 w 3956050"/>
              <a:gd name="connsiteY938" fmla="*/ 302896 h 1737071"/>
              <a:gd name="connsiteX939" fmla="*/ 866432 w 3956050"/>
              <a:gd name="connsiteY939" fmla="*/ 300907 h 1737071"/>
              <a:gd name="connsiteX940" fmla="*/ 864430 w 3956050"/>
              <a:gd name="connsiteY940" fmla="*/ 294939 h 1737071"/>
              <a:gd name="connsiteX941" fmla="*/ 870437 w 3956050"/>
              <a:gd name="connsiteY941" fmla="*/ 290960 h 1737071"/>
              <a:gd name="connsiteX942" fmla="*/ 878446 w 3956050"/>
              <a:gd name="connsiteY942" fmla="*/ 288971 h 1737071"/>
              <a:gd name="connsiteX943" fmla="*/ 880449 w 3956050"/>
              <a:gd name="connsiteY943" fmla="*/ 292949 h 1737071"/>
              <a:gd name="connsiteX944" fmla="*/ 886456 w 3956050"/>
              <a:gd name="connsiteY944" fmla="*/ 292949 h 1737071"/>
              <a:gd name="connsiteX945" fmla="*/ 892463 w 3956050"/>
              <a:gd name="connsiteY945" fmla="*/ 292949 h 1737071"/>
              <a:gd name="connsiteX946" fmla="*/ 896468 w 3956050"/>
              <a:gd name="connsiteY946" fmla="*/ 294939 h 1737071"/>
              <a:gd name="connsiteX947" fmla="*/ 898471 w 3956050"/>
              <a:gd name="connsiteY947" fmla="*/ 296928 h 1737071"/>
              <a:gd name="connsiteX948" fmla="*/ 902475 w 3956050"/>
              <a:gd name="connsiteY948" fmla="*/ 292949 h 1737071"/>
              <a:gd name="connsiteX949" fmla="*/ 908483 w 3956050"/>
              <a:gd name="connsiteY949" fmla="*/ 292949 h 1737071"/>
              <a:gd name="connsiteX950" fmla="*/ 916492 w 3956050"/>
              <a:gd name="connsiteY950" fmla="*/ 292949 h 1737071"/>
              <a:gd name="connsiteX951" fmla="*/ 922500 w 3956050"/>
              <a:gd name="connsiteY951" fmla="*/ 290960 h 1737071"/>
              <a:gd name="connsiteX952" fmla="*/ 928507 w 3956050"/>
              <a:gd name="connsiteY952" fmla="*/ 290960 h 1737071"/>
              <a:gd name="connsiteX953" fmla="*/ 940521 w 3956050"/>
              <a:gd name="connsiteY953" fmla="*/ 290960 h 1737071"/>
              <a:gd name="connsiteX954" fmla="*/ 946529 w 3956050"/>
              <a:gd name="connsiteY954" fmla="*/ 283002 h 1737071"/>
              <a:gd name="connsiteX955" fmla="*/ 954538 w 3956050"/>
              <a:gd name="connsiteY955" fmla="*/ 279024 h 1737071"/>
              <a:gd name="connsiteX956" fmla="*/ 958543 w 3956050"/>
              <a:gd name="connsiteY956" fmla="*/ 277034 h 1737071"/>
              <a:gd name="connsiteX957" fmla="*/ 964550 w 3956050"/>
              <a:gd name="connsiteY957" fmla="*/ 273055 h 1737071"/>
              <a:gd name="connsiteX958" fmla="*/ 966553 w 3956050"/>
              <a:gd name="connsiteY958" fmla="*/ 269077 h 1737071"/>
              <a:gd name="connsiteX959" fmla="*/ 976565 w 3956050"/>
              <a:gd name="connsiteY959" fmla="*/ 261119 h 1737071"/>
              <a:gd name="connsiteX960" fmla="*/ 992584 w 3956050"/>
              <a:gd name="connsiteY960" fmla="*/ 255151 h 1737071"/>
              <a:gd name="connsiteX961" fmla="*/ 998591 w 3956050"/>
              <a:gd name="connsiteY961" fmla="*/ 251172 h 1737071"/>
              <a:gd name="connsiteX962" fmla="*/ 1616711 w 3956050"/>
              <a:gd name="connsiteY962" fmla="*/ 242123 h 1737071"/>
              <a:gd name="connsiteX963" fmla="*/ 1618774 w 3956050"/>
              <a:gd name="connsiteY963" fmla="*/ 250377 h 1737071"/>
              <a:gd name="connsiteX964" fmla="*/ 1616711 w 3956050"/>
              <a:gd name="connsiteY964" fmla="*/ 254505 h 1737071"/>
              <a:gd name="connsiteX965" fmla="*/ 1610519 w 3956050"/>
              <a:gd name="connsiteY965" fmla="*/ 258632 h 1737071"/>
              <a:gd name="connsiteX966" fmla="*/ 1606392 w 3956050"/>
              <a:gd name="connsiteY966" fmla="*/ 258632 h 1737071"/>
              <a:gd name="connsiteX967" fmla="*/ 1600200 w 3956050"/>
              <a:gd name="connsiteY967" fmla="*/ 254505 h 1737071"/>
              <a:gd name="connsiteX968" fmla="*/ 1602264 w 3956050"/>
              <a:gd name="connsiteY968" fmla="*/ 250377 h 1737071"/>
              <a:gd name="connsiteX969" fmla="*/ 1606392 w 3956050"/>
              <a:gd name="connsiteY969" fmla="*/ 250377 h 1737071"/>
              <a:gd name="connsiteX970" fmla="*/ 1610519 w 3956050"/>
              <a:gd name="connsiteY970" fmla="*/ 248314 h 1737071"/>
              <a:gd name="connsiteX971" fmla="*/ 1616711 w 3956050"/>
              <a:gd name="connsiteY971" fmla="*/ 242123 h 1737071"/>
              <a:gd name="connsiteX972" fmla="*/ 1488281 w 3956050"/>
              <a:gd name="connsiteY972" fmla="*/ 235297 h 1737071"/>
              <a:gd name="connsiteX973" fmla="*/ 1493044 w 3956050"/>
              <a:gd name="connsiteY973" fmla="*/ 241012 h 1737071"/>
              <a:gd name="connsiteX974" fmla="*/ 1485900 w 3956050"/>
              <a:gd name="connsiteY974" fmla="*/ 239107 h 1737071"/>
              <a:gd name="connsiteX975" fmla="*/ 1488281 w 3956050"/>
              <a:gd name="connsiteY975" fmla="*/ 235297 h 1737071"/>
              <a:gd name="connsiteX976" fmla="*/ 1862138 w 3956050"/>
              <a:gd name="connsiteY976" fmla="*/ 230534 h 1737071"/>
              <a:gd name="connsiteX977" fmla="*/ 1862138 w 3956050"/>
              <a:gd name="connsiteY977" fmla="*/ 232915 h 1737071"/>
              <a:gd name="connsiteX978" fmla="*/ 1857375 w 3956050"/>
              <a:gd name="connsiteY978" fmla="*/ 232915 h 1737071"/>
              <a:gd name="connsiteX979" fmla="*/ 1862138 w 3956050"/>
              <a:gd name="connsiteY979" fmla="*/ 230534 h 1737071"/>
              <a:gd name="connsiteX980" fmla="*/ 1890077 w 3956050"/>
              <a:gd name="connsiteY980" fmla="*/ 228947 h 1737071"/>
              <a:gd name="connsiteX981" fmla="*/ 1893887 w 3956050"/>
              <a:gd name="connsiteY981" fmla="*/ 236355 h 1737071"/>
              <a:gd name="connsiteX982" fmla="*/ 1888172 w 3956050"/>
              <a:gd name="connsiteY982" fmla="*/ 238207 h 1737071"/>
              <a:gd name="connsiteX983" fmla="*/ 1886267 w 3956050"/>
              <a:gd name="connsiteY983" fmla="*/ 232651 h 1737071"/>
              <a:gd name="connsiteX984" fmla="*/ 1890077 w 3956050"/>
              <a:gd name="connsiteY984" fmla="*/ 228947 h 1737071"/>
              <a:gd name="connsiteX985" fmla="*/ 1870339 w 3956050"/>
              <a:gd name="connsiteY985" fmla="*/ 223628 h 1737071"/>
              <a:gd name="connsiteX986" fmla="*/ 1871662 w 3956050"/>
              <a:gd name="connsiteY986" fmla="*/ 226724 h 1737071"/>
              <a:gd name="connsiteX987" fmla="*/ 1867429 w 3956050"/>
              <a:gd name="connsiteY987" fmla="*/ 228629 h 1737071"/>
              <a:gd name="connsiteX988" fmla="*/ 1867429 w 3956050"/>
              <a:gd name="connsiteY988" fmla="*/ 224819 h 1737071"/>
              <a:gd name="connsiteX989" fmla="*/ 1870339 w 3956050"/>
              <a:gd name="connsiteY989" fmla="*/ 223628 h 1737071"/>
              <a:gd name="connsiteX990" fmla="*/ 1534319 w 3956050"/>
              <a:gd name="connsiteY990" fmla="*/ 215452 h 1737071"/>
              <a:gd name="connsiteX991" fmla="*/ 1534319 w 3956050"/>
              <a:gd name="connsiteY991" fmla="*/ 219421 h 1737071"/>
              <a:gd name="connsiteX992" fmla="*/ 1534319 w 3956050"/>
              <a:gd name="connsiteY992" fmla="*/ 215452 h 1737071"/>
              <a:gd name="connsiteX993" fmla="*/ 1806140 w 3956050"/>
              <a:gd name="connsiteY993" fmla="*/ 210804 h 1737071"/>
              <a:gd name="connsiteX994" fmla="*/ 1809382 w 3956050"/>
              <a:gd name="connsiteY994" fmla="*/ 212300 h 1737071"/>
              <a:gd name="connsiteX995" fmla="*/ 1817362 w 3956050"/>
              <a:gd name="connsiteY995" fmla="*/ 214296 h 1737071"/>
              <a:gd name="connsiteX996" fmla="*/ 1823347 w 3956050"/>
              <a:gd name="connsiteY996" fmla="*/ 216292 h 1737071"/>
              <a:gd name="connsiteX997" fmla="*/ 1827337 w 3956050"/>
              <a:gd name="connsiteY997" fmla="*/ 220284 h 1737071"/>
              <a:gd name="connsiteX998" fmla="*/ 1837313 w 3956050"/>
              <a:gd name="connsiteY998" fmla="*/ 222279 h 1737071"/>
              <a:gd name="connsiteX999" fmla="*/ 1845293 w 3956050"/>
              <a:gd name="connsiteY999" fmla="*/ 218288 h 1737071"/>
              <a:gd name="connsiteX1000" fmla="*/ 1851278 w 3956050"/>
              <a:gd name="connsiteY1000" fmla="*/ 222279 h 1737071"/>
              <a:gd name="connsiteX1001" fmla="*/ 1853273 w 3956050"/>
              <a:gd name="connsiteY1001" fmla="*/ 228267 h 1737071"/>
              <a:gd name="connsiteX1002" fmla="*/ 1849283 w 3956050"/>
              <a:gd name="connsiteY1002" fmla="*/ 234254 h 1737071"/>
              <a:gd name="connsiteX1003" fmla="*/ 1839308 w 3956050"/>
              <a:gd name="connsiteY1003" fmla="*/ 238246 h 1737071"/>
              <a:gd name="connsiteX1004" fmla="*/ 1821352 w 3956050"/>
              <a:gd name="connsiteY1004" fmla="*/ 246229 h 1737071"/>
              <a:gd name="connsiteX1005" fmla="*/ 1815367 w 3956050"/>
              <a:gd name="connsiteY1005" fmla="*/ 250220 h 1737071"/>
              <a:gd name="connsiteX1006" fmla="*/ 1821352 w 3956050"/>
              <a:gd name="connsiteY1006" fmla="*/ 250220 h 1737071"/>
              <a:gd name="connsiteX1007" fmla="*/ 1827337 w 3956050"/>
              <a:gd name="connsiteY1007" fmla="*/ 250220 h 1737071"/>
              <a:gd name="connsiteX1008" fmla="*/ 1831327 w 3956050"/>
              <a:gd name="connsiteY1008" fmla="*/ 250220 h 1737071"/>
              <a:gd name="connsiteX1009" fmla="*/ 1837313 w 3956050"/>
              <a:gd name="connsiteY1009" fmla="*/ 248224 h 1737071"/>
              <a:gd name="connsiteX1010" fmla="*/ 1843298 w 3956050"/>
              <a:gd name="connsiteY1010" fmla="*/ 242237 h 1737071"/>
              <a:gd name="connsiteX1011" fmla="*/ 1851278 w 3956050"/>
              <a:gd name="connsiteY1011" fmla="*/ 242237 h 1737071"/>
              <a:gd name="connsiteX1012" fmla="*/ 1853273 w 3956050"/>
              <a:gd name="connsiteY1012" fmla="*/ 248224 h 1737071"/>
              <a:gd name="connsiteX1013" fmla="*/ 1847288 w 3956050"/>
              <a:gd name="connsiteY1013" fmla="*/ 254212 h 1737071"/>
              <a:gd name="connsiteX1014" fmla="*/ 1853273 w 3956050"/>
              <a:gd name="connsiteY1014" fmla="*/ 252216 h 1737071"/>
              <a:gd name="connsiteX1015" fmla="*/ 1859258 w 3956050"/>
              <a:gd name="connsiteY1015" fmla="*/ 250220 h 1737071"/>
              <a:gd name="connsiteX1016" fmla="*/ 1867238 w 3956050"/>
              <a:gd name="connsiteY1016" fmla="*/ 248224 h 1737071"/>
              <a:gd name="connsiteX1017" fmla="*/ 1871228 w 3956050"/>
              <a:gd name="connsiteY1017" fmla="*/ 250220 h 1737071"/>
              <a:gd name="connsiteX1018" fmla="*/ 1875218 w 3956050"/>
              <a:gd name="connsiteY1018" fmla="*/ 250220 h 1737071"/>
              <a:gd name="connsiteX1019" fmla="*/ 1881204 w 3956050"/>
              <a:gd name="connsiteY1019" fmla="*/ 250220 h 1737071"/>
              <a:gd name="connsiteX1020" fmla="*/ 1887189 w 3956050"/>
              <a:gd name="connsiteY1020" fmla="*/ 254212 h 1737071"/>
              <a:gd name="connsiteX1021" fmla="*/ 1881204 w 3956050"/>
              <a:gd name="connsiteY1021" fmla="*/ 262195 h 1737071"/>
              <a:gd name="connsiteX1022" fmla="*/ 1877213 w 3956050"/>
              <a:gd name="connsiteY1022" fmla="*/ 270178 h 1737071"/>
              <a:gd name="connsiteX1023" fmla="*/ 1871228 w 3956050"/>
              <a:gd name="connsiteY1023" fmla="*/ 276165 h 1737071"/>
              <a:gd name="connsiteX1024" fmla="*/ 1881204 w 3956050"/>
              <a:gd name="connsiteY1024" fmla="*/ 276165 h 1737071"/>
              <a:gd name="connsiteX1025" fmla="*/ 1897164 w 3956050"/>
              <a:gd name="connsiteY1025" fmla="*/ 278161 h 1737071"/>
              <a:gd name="connsiteX1026" fmla="*/ 1905144 w 3956050"/>
              <a:gd name="connsiteY1026" fmla="*/ 272174 h 1737071"/>
              <a:gd name="connsiteX1027" fmla="*/ 1905144 w 3956050"/>
              <a:gd name="connsiteY1027" fmla="*/ 264191 h 1737071"/>
              <a:gd name="connsiteX1028" fmla="*/ 1913124 w 3956050"/>
              <a:gd name="connsiteY1028" fmla="*/ 266186 h 1737071"/>
              <a:gd name="connsiteX1029" fmla="*/ 1919109 w 3956050"/>
              <a:gd name="connsiteY1029" fmla="*/ 268182 h 1737071"/>
              <a:gd name="connsiteX1030" fmla="*/ 1927090 w 3956050"/>
              <a:gd name="connsiteY1030" fmla="*/ 266186 h 1737071"/>
              <a:gd name="connsiteX1031" fmla="*/ 1935070 w 3956050"/>
              <a:gd name="connsiteY1031" fmla="*/ 264191 h 1737071"/>
              <a:gd name="connsiteX1032" fmla="*/ 1949035 w 3956050"/>
              <a:gd name="connsiteY1032" fmla="*/ 268182 h 1737071"/>
              <a:gd name="connsiteX1033" fmla="*/ 1955020 w 3956050"/>
              <a:gd name="connsiteY1033" fmla="*/ 264191 h 1737071"/>
              <a:gd name="connsiteX1034" fmla="*/ 1968986 w 3956050"/>
              <a:gd name="connsiteY1034" fmla="*/ 262195 h 1737071"/>
              <a:gd name="connsiteX1035" fmla="*/ 1972976 w 3956050"/>
              <a:gd name="connsiteY1035" fmla="*/ 264191 h 1737071"/>
              <a:gd name="connsiteX1036" fmla="*/ 1976966 w 3956050"/>
              <a:gd name="connsiteY1036" fmla="*/ 266186 h 1737071"/>
              <a:gd name="connsiteX1037" fmla="*/ 1980956 w 3956050"/>
              <a:gd name="connsiteY1037" fmla="*/ 268182 h 1737071"/>
              <a:gd name="connsiteX1038" fmla="*/ 1988936 w 3956050"/>
              <a:gd name="connsiteY1038" fmla="*/ 272174 h 1737071"/>
              <a:gd name="connsiteX1039" fmla="*/ 2002901 w 3956050"/>
              <a:gd name="connsiteY1039" fmla="*/ 278161 h 1737071"/>
              <a:gd name="connsiteX1040" fmla="*/ 2006891 w 3956050"/>
              <a:gd name="connsiteY1040" fmla="*/ 276165 h 1737071"/>
              <a:gd name="connsiteX1041" fmla="*/ 2002901 w 3956050"/>
              <a:gd name="connsiteY1041" fmla="*/ 272174 h 1737071"/>
              <a:gd name="connsiteX1042" fmla="*/ 1998911 w 3956050"/>
              <a:gd name="connsiteY1042" fmla="*/ 268182 h 1737071"/>
              <a:gd name="connsiteX1043" fmla="*/ 2008886 w 3956050"/>
              <a:gd name="connsiteY1043" fmla="*/ 266186 h 1737071"/>
              <a:gd name="connsiteX1044" fmla="*/ 2012877 w 3956050"/>
              <a:gd name="connsiteY1044" fmla="*/ 274169 h 1737071"/>
              <a:gd name="connsiteX1045" fmla="*/ 2010882 w 3956050"/>
              <a:gd name="connsiteY1045" fmla="*/ 280157 h 1737071"/>
              <a:gd name="connsiteX1046" fmla="*/ 2016867 w 3956050"/>
              <a:gd name="connsiteY1046" fmla="*/ 286144 h 1737071"/>
              <a:gd name="connsiteX1047" fmla="*/ 2018862 w 3956050"/>
              <a:gd name="connsiteY1047" fmla="*/ 292131 h 1737071"/>
              <a:gd name="connsiteX1048" fmla="*/ 2018862 w 3956050"/>
              <a:gd name="connsiteY1048" fmla="*/ 298119 h 1737071"/>
              <a:gd name="connsiteX1049" fmla="*/ 2026842 w 3956050"/>
              <a:gd name="connsiteY1049" fmla="*/ 298119 h 1737071"/>
              <a:gd name="connsiteX1050" fmla="*/ 2022852 w 3956050"/>
              <a:gd name="connsiteY1050" fmla="*/ 294127 h 1737071"/>
              <a:gd name="connsiteX1051" fmla="*/ 2024847 w 3956050"/>
              <a:gd name="connsiteY1051" fmla="*/ 286144 h 1737071"/>
              <a:gd name="connsiteX1052" fmla="*/ 2022852 w 3956050"/>
              <a:gd name="connsiteY1052" fmla="*/ 280157 h 1737071"/>
              <a:gd name="connsiteX1053" fmla="*/ 2028837 w 3956050"/>
              <a:gd name="connsiteY1053" fmla="*/ 284148 h 1737071"/>
              <a:gd name="connsiteX1054" fmla="*/ 2030832 w 3956050"/>
              <a:gd name="connsiteY1054" fmla="*/ 286144 h 1737071"/>
              <a:gd name="connsiteX1055" fmla="*/ 2032827 w 3956050"/>
              <a:gd name="connsiteY1055" fmla="*/ 288140 h 1737071"/>
              <a:gd name="connsiteX1056" fmla="*/ 2036817 w 3956050"/>
              <a:gd name="connsiteY1056" fmla="*/ 296123 h 1737071"/>
              <a:gd name="connsiteX1057" fmla="*/ 2042802 w 3956050"/>
              <a:gd name="connsiteY1057" fmla="*/ 304106 h 1737071"/>
              <a:gd name="connsiteX1058" fmla="*/ 2046792 w 3956050"/>
              <a:gd name="connsiteY1058" fmla="*/ 310093 h 1737071"/>
              <a:gd name="connsiteX1059" fmla="*/ 2050782 w 3956050"/>
              <a:gd name="connsiteY1059" fmla="*/ 314085 h 1737071"/>
              <a:gd name="connsiteX1060" fmla="*/ 2050782 w 3956050"/>
              <a:gd name="connsiteY1060" fmla="*/ 324064 h 1737071"/>
              <a:gd name="connsiteX1061" fmla="*/ 2046792 w 3956050"/>
              <a:gd name="connsiteY1061" fmla="*/ 320072 h 1737071"/>
              <a:gd name="connsiteX1062" fmla="*/ 2038812 w 3956050"/>
              <a:gd name="connsiteY1062" fmla="*/ 316081 h 1737071"/>
              <a:gd name="connsiteX1063" fmla="*/ 2030832 w 3956050"/>
              <a:gd name="connsiteY1063" fmla="*/ 312089 h 1737071"/>
              <a:gd name="connsiteX1064" fmla="*/ 2024847 w 3956050"/>
              <a:gd name="connsiteY1064" fmla="*/ 308098 h 1737071"/>
              <a:gd name="connsiteX1065" fmla="*/ 2020857 w 3956050"/>
              <a:gd name="connsiteY1065" fmla="*/ 310093 h 1737071"/>
              <a:gd name="connsiteX1066" fmla="*/ 2028837 w 3956050"/>
              <a:gd name="connsiteY1066" fmla="*/ 318076 h 1737071"/>
              <a:gd name="connsiteX1067" fmla="*/ 2038812 w 3956050"/>
              <a:gd name="connsiteY1067" fmla="*/ 322068 h 1737071"/>
              <a:gd name="connsiteX1068" fmla="*/ 2042802 w 3956050"/>
              <a:gd name="connsiteY1068" fmla="*/ 326060 h 1737071"/>
              <a:gd name="connsiteX1069" fmla="*/ 2052777 w 3956050"/>
              <a:gd name="connsiteY1069" fmla="*/ 328055 h 1737071"/>
              <a:gd name="connsiteX1070" fmla="*/ 2052777 w 3956050"/>
              <a:gd name="connsiteY1070" fmla="*/ 334043 h 1737071"/>
              <a:gd name="connsiteX1071" fmla="*/ 2046792 w 3956050"/>
              <a:gd name="connsiteY1071" fmla="*/ 344021 h 1737071"/>
              <a:gd name="connsiteX1072" fmla="*/ 2036817 w 3956050"/>
              <a:gd name="connsiteY1072" fmla="*/ 354000 h 1737071"/>
              <a:gd name="connsiteX1073" fmla="*/ 2026842 w 3956050"/>
              <a:gd name="connsiteY1073" fmla="*/ 361983 h 1737071"/>
              <a:gd name="connsiteX1074" fmla="*/ 2012877 w 3956050"/>
              <a:gd name="connsiteY1074" fmla="*/ 367971 h 1737071"/>
              <a:gd name="connsiteX1075" fmla="*/ 1998911 w 3956050"/>
              <a:gd name="connsiteY1075" fmla="*/ 375954 h 1737071"/>
              <a:gd name="connsiteX1076" fmla="*/ 1984946 w 3956050"/>
              <a:gd name="connsiteY1076" fmla="*/ 383937 h 1737071"/>
              <a:gd name="connsiteX1077" fmla="*/ 1978961 w 3956050"/>
              <a:gd name="connsiteY1077" fmla="*/ 391920 h 1737071"/>
              <a:gd name="connsiteX1078" fmla="*/ 1968986 w 3956050"/>
              <a:gd name="connsiteY1078" fmla="*/ 397907 h 1737071"/>
              <a:gd name="connsiteX1079" fmla="*/ 1959010 w 3956050"/>
              <a:gd name="connsiteY1079" fmla="*/ 407886 h 1737071"/>
              <a:gd name="connsiteX1080" fmla="*/ 1943050 w 3956050"/>
              <a:gd name="connsiteY1080" fmla="*/ 417865 h 1737071"/>
              <a:gd name="connsiteX1081" fmla="*/ 1927090 w 3956050"/>
              <a:gd name="connsiteY1081" fmla="*/ 413874 h 1737071"/>
              <a:gd name="connsiteX1082" fmla="*/ 1925095 w 3956050"/>
              <a:gd name="connsiteY1082" fmla="*/ 419861 h 1737071"/>
              <a:gd name="connsiteX1083" fmla="*/ 1919109 w 3956050"/>
              <a:gd name="connsiteY1083" fmla="*/ 429840 h 1737071"/>
              <a:gd name="connsiteX1084" fmla="*/ 1911129 w 3956050"/>
              <a:gd name="connsiteY1084" fmla="*/ 437823 h 1737071"/>
              <a:gd name="connsiteX1085" fmla="*/ 1905144 w 3956050"/>
              <a:gd name="connsiteY1085" fmla="*/ 451793 h 1737071"/>
              <a:gd name="connsiteX1086" fmla="*/ 1893174 w 3956050"/>
              <a:gd name="connsiteY1086" fmla="*/ 459776 h 1737071"/>
              <a:gd name="connsiteX1087" fmla="*/ 1883199 w 3956050"/>
              <a:gd name="connsiteY1087" fmla="*/ 465764 h 1737071"/>
              <a:gd name="connsiteX1088" fmla="*/ 1869233 w 3956050"/>
              <a:gd name="connsiteY1088" fmla="*/ 475742 h 1737071"/>
              <a:gd name="connsiteX1089" fmla="*/ 1857263 w 3956050"/>
              <a:gd name="connsiteY1089" fmla="*/ 475742 h 1737071"/>
              <a:gd name="connsiteX1090" fmla="*/ 1851278 w 3956050"/>
              <a:gd name="connsiteY1090" fmla="*/ 487717 h 1737071"/>
              <a:gd name="connsiteX1091" fmla="*/ 1857263 w 3956050"/>
              <a:gd name="connsiteY1091" fmla="*/ 481730 h 1737071"/>
              <a:gd name="connsiteX1092" fmla="*/ 1867238 w 3956050"/>
              <a:gd name="connsiteY1092" fmla="*/ 477738 h 1737071"/>
              <a:gd name="connsiteX1093" fmla="*/ 1875218 w 3956050"/>
              <a:gd name="connsiteY1093" fmla="*/ 475742 h 1737071"/>
              <a:gd name="connsiteX1094" fmla="*/ 1883199 w 3956050"/>
              <a:gd name="connsiteY1094" fmla="*/ 475742 h 1737071"/>
              <a:gd name="connsiteX1095" fmla="*/ 1891179 w 3956050"/>
              <a:gd name="connsiteY1095" fmla="*/ 469755 h 1737071"/>
              <a:gd name="connsiteX1096" fmla="*/ 1897164 w 3956050"/>
              <a:gd name="connsiteY1096" fmla="*/ 465764 h 1737071"/>
              <a:gd name="connsiteX1097" fmla="*/ 1901154 w 3956050"/>
              <a:gd name="connsiteY1097" fmla="*/ 459776 h 1737071"/>
              <a:gd name="connsiteX1098" fmla="*/ 1909134 w 3956050"/>
              <a:gd name="connsiteY1098" fmla="*/ 457781 h 1737071"/>
              <a:gd name="connsiteX1099" fmla="*/ 1917114 w 3956050"/>
              <a:gd name="connsiteY1099" fmla="*/ 455785 h 1737071"/>
              <a:gd name="connsiteX1100" fmla="*/ 1919109 w 3956050"/>
              <a:gd name="connsiteY1100" fmla="*/ 449797 h 1737071"/>
              <a:gd name="connsiteX1101" fmla="*/ 1917114 w 3956050"/>
              <a:gd name="connsiteY1101" fmla="*/ 441814 h 1737071"/>
              <a:gd name="connsiteX1102" fmla="*/ 1925095 w 3956050"/>
              <a:gd name="connsiteY1102" fmla="*/ 439819 h 1737071"/>
              <a:gd name="connsiteX1103" fmla="*/ 1935070 w 3956050"/>
              <a:gd name="connsiteY1103" fmla="*/ 441814 h 1737071"/>
              <a:gd name="connsiteX1104" fmla="*/ 1943050 w 3956050"/>
              <a:gd name="connsiteY1104" fmla="*/ 441814 h 1737071"/>
              <a:gd name="connsiteX1105" fmla="*/ 1951030 w 3956050"/>
              <a:gd name="connsiteY1105" fmla="*/ 439819 h 1737071"/>
              <a:gd name="connsiteX1106" fmla="*/ 1959010 w 3956050"/>
              <a:gd name="connsiteY1106" fmla="*/ 439819 h 1737071"/>
              <a:gd name="connsiteX1107" fmla="*/ 1972976 w 3956050"/>
              <a:gd name="connsiteY1107" fmla="*/ 433831 h 1737071"/>
              <a:gd name="connsiteX1108" fmla="*/ 1974971 w 3956050"/>
              <a:gd name="connsiteY1108" fmla="*/ 425848 h 1737071"/>
              <a:gd name="connsiteX1109" fmla="*/ 1974971 w 3956050"/>
              <a:gd name="connsiteY1109" fmla="*/ 417865 h 1737071"/>
              <a:gd name="connsiteX1110" fmla="*/ 1980956 w 3956050"/>
              <a:gd name="connsiteY1110" fmla="*/ 423852 h 1737071"/>
              <a:gd name="connsiteX1111" fmla="*/ 1992926 w 3956050"/>
              <a:gd name="connsiteY1111" fmla="*/ 421857 h 1737071"/>
              <a:gd name="connsiteX1112" fmla="*/ 2002901 w 3956050"/>
              <a:gd name="connsiteY1112" fmla="*/ 417865 h 1737071"/>
              <a:gd name="connsiteX1113" fmla="*/ 2006891 w 3956050"/>
              <a:gd name="connsiteY1113" fmla="*/ 413874 h 1737071"/>
              <a:gd name="connsiteX1114" fmla="*/ 1998911 w 3956050"/>
              <a:gd name="connsiteY1114" fmla="*/ 409882 h 1737071"/>
              <a:gd name="connsiteX1115" fmla="*/ 1994921 w 3956050"/>
              <a:gd name="connsiteY1115" fmla="*/ 411878 h 1737071"/>
              <a:gd name="connsiteX1116" fmla="*/ 1984946 w 3956050"/>
              <a:gd name="connsiteY1116" fmla="*/ 417865 h 1737071"/>
              <a:gd name="connsiteX1117" fmla="*/ 1980956 w 3956050"/>
              <a:gd name="connsiteY1117" fmla="*/ 407886 h 1737071"/>
              <a:gd name="connsiteX1118" fmla="*/ 1982951 w 3956050"/>
              <a:gd name="connsiteY1118" fmla="*/ 401899 h 1737071"/>
              <a:gd name="connsiteX1119" fmla="*/ 1986941 w 3956050"/>
              <a:gd name="connsiteY1119" fmla="*/ 399903 h 1737071"/>
              <a:gd name="connsiteX1120" fmla="*/ 2002901 w 3956050"/>
              <a:gd name="connsiteY1120" fmla="*/ 397907 h 1737071"/>
              <a:gd name="connsiteX1121" fmla="*/ 2008886 w 3956050"/>
              <a:gd name="connsiteY1121" fmla="*/ 401899 h 1737071"/>
              <a:gd name="connsiteX1122" fmla="*/ 2016867 w 3956050"/>
              <a:gd name="connsiteY1122" fmla="*/ 397907 h 1737071"/>
              <a:gd name="connsiteX1123" fmla="*/ 2020857 w 3956050"/>
              <a:gd name="connsiteY1123" fmla="*/ 397907 h 1737071"/>
              <a:gd name="connsiteX1124" fmla="*/ 2022852 w 3956050"/>
              <a:gd name="connsiteY1124" fmla="*/ 403895 h 1737071"/>
              <a:gd name="connsiteX1125" fmla="*/ 2024847 w 3956050"/>
              <a:gd name="connsiteY1125" fmla="*/ 411878 h 1737071"/>
              <a:gd name="connsiteX1126" fmla="*/ 2036817 w 3956050"/>
              <a:gd name="connsiteY1126" fmla="*/ 417865 h 1737071"/>
              <a:gd name="connsiteX1127" fmla="*/ 2052777 w 3956050"/>
              <a:gd name="connsiteY1127" fmla="*/ 417865 h 1737071"/>
              <a:gd name="connsiteX1128" fmla="*/ 2054772 w 3956050"/>
              <a:gd name="connsiteY1128" fmla="*/ 409882 h 1737071"/>
              <a:gd name="connsiteX1129" fmla="*/ 2056768 w 3956050"/>
              <a:gd name="connsiteY1129" fmla="*/ 401899 h 1737071"/>
              <a:gd name="connsiteX1130" fmla="*/ 2066743 w 3956050"/>
              <a:gd name="connsiteY1130" fmla="*/ 407886 h 1737071"/>
              <a:gd name="connsiteX1131" fmla="*/ 2074723 w 3956050"/>
              <a:gd name="connsiteY1131" fmla="*/ 421857 h 1737071"/>
              <a:gd name="connsiteX1132" fmla="*/ 2076718 w 3956050"/>
              <a:gd name="connsiteY1132" fmla="*/ 427844 h 1737071"/>
              <a:gd name="connsiteX1133" fmla="*/ 2078713 w 3956050"/>
              <a:gd name="connsiteY1133" fmla="*/ 433831 h 1737071"/>
              <a:gd name="connsiteX1134" fmla="*/ 2082703 w 3956050"/>
              <a:gd name="connsiteY1134" fmla="*/ 439819 h 1737071"/>
              <a:gd name="connsiteX1135" fmla="*/ 2084698 w 3956050"/>
              <a:gd name="connsiteY1135" fmla="*/ 433831 h 1737071"/>
              <a:gd name="connsiteX1136" fmla="*/ 2084698 w 3956050"/>
              <a:gd name="connsiteY1136" fmla="*/ 429840 h 1737071"/>
              <a:gd name="connsiteX1137" fmla="*/ 2082703 w 3956050"/>
              <a:gd name="connsiteY1137" fmla="*/ 425848 h 1737071"/>
              <a:gd name="connsiteX1138" fmla="*/ 2082703 w 3956050"/>
              <a:gd name="connsiteY1138" fmla="*/ 419861 h 1737071"/>
              <a:gd name="connsiteX1139" fmla="*/ 2094673 w 3956050"/>
              <a:gd name="connsiteY1139" fmla="*/ 417865 h 1737071"/>
              <a:gd name="connsiteX1140" fmla="*/ 2106644 w 3956050"/>
              <a:gd name="connsiteY1140" fmla="*/ 409882 h 1737071"/>
              <a:gd name="connsiteX1141" fmla="*/ 2116619 w 3956050"/>
              <a:gd name="connsiteY1141" fmla="*/ 411878 h 1737071"/>
              <a:gd name="connsiteX1142" fmla="*/ 2120609 w 3956050"/>
              <a:gd name="connsiteY1142" fmla="*/ 411878 h 1737071"/>
              <a:gd name="connsiteX1143" fmla="*/ 2128589 w 3956050"/>
              <a:gd name="connsiteY1143" fmla="*/ 409882 h 1737071"/>
              <a:gd name="connsiteX1144" fmla="*/ 2138564 w 3956050"/>
              <a:gd name="connsiteY1144" fmla="*/ 413874 h 1737071"/>
              <a:gd name="connsiteX1145" fmla="*/ 2150535 w 3956050"/>
              <a:gd name="connsiteY1145" fmla="*/ 413874 h 1737071"/>
              <a:gd name="connsiteX1146" fmla="*/ 2158515 w 3956050"/>
              <a:gd name="connsiteY1146" fmla="*/ 413874 h 1737071"/>
              <a:gd name="connsiteX1147" fmla="*/ 2172480 w 3956050"/>
              <a:gd name="connsiteY1147" fmla="*/ 415869 h 1737071"/>
              <a:gd name="connsiteX1148" fmla="*/ 2176470 w 3956050"/>
              <a:gd name="connsiteY1148" fmla="*/ 413874 h 1737071"/>
              <a:gd name="connsiteX1149" fmla="*/ 2182455 w 3956050"/>
              <a:gd name="connsiteY1149" fmla="*/ 411878 h 1737071"/>
              <a:gd name="connsiteX1150" fmla="*/ 2198416 w 3956050"/>
              <a:gd name="connsiteY1150" fmla="*/ 415869 h 1737071"/>
              <a:gd name="connsiteX1151" fmla="*/ 2196421 w 3956050"/>
              <a:gd name="connsiteY1151" fmla="*/ 421857 h 1737071"/>
              <a:gd name="connsiteX1152" fmla="*/ 2192431 w 3956050"/>
              <a:gd name="connsiteY1152" fmla="*/ 421857 h 1737071"/>
              <a:gd name="connsiteX1153" fmla="*/ 2190436 w 3956050"/>
              <a:gd name="connsiteY1153" fmla="*/ 423852 h 1737071"/>
              <a:gd name="connsiteX1154" fmla="*/ 2186445 w 3956050"/>
              <a:gd name="connsiteY1154" fmla="*/ 425848 h 1737071"/>
              <a:gd name="connsiteX1155" fmla="*/ 2194426 w 3956050"/>
              <a:gd name="connsiteY1155" fmla="*/ 431835 h 1737071"/>
              <a:gd name="connsiteX1156" fmla="*/ 2214376 w 3956050"/>
              <a:gd name="connsiteY1156" fmla="*/ 439819 h 1737071"/>
              <a:gd name="connsiteX1157" fmla="*/ 2220361 w 3956050"/>
              <a:gd name="connsiteY1157" fmla="*/ 435827 h 1737071"/>
              <a:gd name="connsiteX1158" fmla="*/ 2228341 w 3956050"/>
              <a:gd name="connsiteY1158" fmla="*/ 433831 h 1737071"/>
              <a:gd name="connsiteX1159" fmla="*/ 2234327 w 3956050"/>
              <a:gd name="connsiteY1159" fmla="*/ 439819 h 1737071"/>
              <a:gd name="connsiteX1160" fmla="*/ 2240312 w 3956050"/>
              <a:gd name="connsiteY1160" fmla="*/ 441814 h 1737071"/>
              <a:gd name="connsiteX1161" fmla="*/ 2246297 w 3956050"/>
              <a:gd name="connsiteY1161" fmla="*/ 441814 h 1737071"/>
              <a:gd name="connsiteX1162" fmla="*/ 2254277 w 3956050"/>
              <a:gd name="connsiteY1162" fmla="*/ 445806 h 1737071"/>
              <a:gd name="connsiteX1163" fmla="*/ 2264252 w 3956050"/>
              <a:gd name="connsiteY1163" fmla="*/ 443810 h 1737071"/>
              <a:gd name="connsiteX1164" fmla="*/ 2272232 w 3956050"/>
              <a:gd name="connsiteY1164" fmla="*/ 443810 h 1737071"/>
              <a:gd name="connsiteX1165" fmla="*/ 2276222 w 3956050"/>
              <a:gd name="connsiteY1165" fmla="*/ 443810 h 1737071"/>
              <a:gd name="connsiteX1166" fmla="*/ 2284203 w 3956050"/>
              <a:gd name="connsiteY1166" fmla="*/ 445806 h 1737071"/>
              <a:gd name="connsiteX1167" fmla="*/ 2288193 w 3956050"/>
              <a:gd name="connsiteY1167" fmla="*/ 441814 h 1737071"/>
              <a:gd name="connsiteX1168" fmla="*/ 2292183 w 3956050"/>
              <a:gd name="connsiteY1168" fmla="*/ 441814 h 1737071"/>
              <a:gd name="connsiteX1169" fmla="*/ 2300163 w 3956050"/>
              <a:gd name="connsiteY1169" fmla="*/ 443810 h 1737071"/>
              <a:gd name="connsiteX1170" fmla="*/ 2304153 w 3956050"/>
              <a:gd name="connsiteY1170" fmla="*/ 439819 h 1737071"/>
              <a:gd name="connsiteX1171" fmla="*/ 2306148 w 3956050"/>
              <a:gd name="connsiteY1171" fmla="*/ 433831 h 1737071"/>
              <a:gd name="connsiteX1172" fmla="*/ 2304153 w 3956050"/>
              <a:gd name="connsiteY1172" fmla="*/ 427844 h 1737071"/>
              <a:gd name="connsiteX1173" fmla="*/ 2298168 w 3956050"/>
              <a:gd name="connsiteY1173" fmla="*/ 417865 h 1737071"/>
              <a:gd name="connsiteX1174" fmla="*/ 2302158 w 3956050"/>
              <a:gd name="connsiteY1174" fmla="*/ 411878 h 1737071"/>
              <a:gd name="connsiteX1175" fmla="*/ 2312133 w 3956050"/>
              <a:gd name="connsiteY1175" fmla="*/ 403895 h 1737071"/>
              <a:gd name="connsiteX1176" fmla="*/ 2314128 w 3956050"/>
              <a:gd name="connsiteY1176" fmla="*/ 401899 h 1737071"/>
              <a:gd name="connsiteX1177" fmla="*/ 2322108 w 3956050"/>
              <a:gd name="connsiteY1177" fmla="*/ 401899 h 1737071"/>
              <a:gd name="connsiteX1178" fmla="*/ 2328094 w 3956050"/>
              <a:gd name="connsiteY1178" fmla="*/ 405890 h 1737071"/>
              <a:gd name="connsiteX1179" fmla="*/ 2334079 w 3956050"/>
              <a:gd name="connsiteY1179" fmla="*/ 405890 h 1737071"/>
              <a:gd name="connsiteX1180" fmla="*/ 2342059 w 3956050"/>
              <a:gd name="connsiteY1180" fmla="*/ 409882 h 1737071"/>
              <a:gd name="connsiteX1181" fmla="*/ 2346049 w 3956050"/>
              <a:gd name="connsiteY1181" fmla="*/ 409882 h 1737071"/>
              <a:gd name="connsiteX1182" fmla="*/ 2352034 w 3956050"/>
              <a:gd name="connsiteY1182" fmla="*/ 413874 h 1737071"/>
              <a:gd name="connsiteX1183" fmla="*/ 2358019 w 3956050"/>
              <a:gd name="connsiteY1183" fmla="*/ 405890 h 1737071"/>
              <a:gd name="connsiteX1184" fmla="*/ 2367994 w 3956050"/>
              <a:gd name="connsiteY1184" fmla="*/ 411878 h 1737071"/>
              <a:gd name="connsiteX1185" fmla="*/ 2375975 w 3956050"/>
              <a:gd name="connsiteY1185" fmla="*/ 409882 h 1737071"/>
              <a:gd name="connsiteX1186" fmla="*/ 2381960 w 3956050"/>
              <a:gd name="connsiteY1186" fmla="*/ 409882 h 1737071"/>
              <a:gd name="connsiteX1187" fmla="*/ 2395925 w 3956050"/>
              <a:gd name="connsiteY1187" fmla="*/ 407886 h 1737071"/>
              <a:gd name="connsiteX1188" fmla="*/ 2407895 w 3956050"/>
              <a:gd name="connsiteY1188" fmla="*/ 415869 h 1737071"/>
              <a:gd name="connsiteX1189" fmla="*/ 2415876 w 3956050"/>
              <a:gd name="connsiteY1189" fmla="*/ 421857 h 1737071"/>
              <a:gd name="connsiteX1190" fmla="*/ 2419866 w 3956050"/>
              <a:gd name="connsiteY1190" fmla="*/ 427844 h 1737071"/>
              <a:gd name="connsiteX1191" fmla="*/ 2423856 w 3956050"/>
              <a:gd name="connsiteY1191" fmla="*/ 433831 h 1737071"/>
              <a:gd name="connsiteX1192" fmla="*/ 2435826 w 3956050"/>
              <a:gd name="connsiteY1192" fmla="*/ 433831 h 1737071"/>
              <a:gd name="connsiteX1193" fmla="*/ 2443806 w 3956050"/>
              <a:gd name="connsiteY1193" fmla="*/ 451793 h 1737071"/>
              <a:gd name="connsiteX1194" fmla="*/ 2441811 w 3956050"/>
              <a:gd name="connsiteY1194" fmla="*/ 461772 h 1737071"/>
              <a:gd name="connsiteX1195" fmla="*/ 2447796 w 3956050"/>
              <a:gd name="connsiteY1195" fmla="*/ 467759 h 1737071"/>
              <a:gd name="connsiteX1196" fmla="*/ 2451786 w 3956050"/>
              <a:gd name="connsiteY1196" fmla="*/ 485721 h 1737071"/>
              <a:gd name="connsiteX1197" fmla="*/ 2445801 w 3956050"/>
              <a:gd name="connsiteY1197" fmla="*/ 489713 h 1737071"/>
              <a:gd name="connsiteX1198" fmla="*/ 2435826 w 3956050"/>
              <a:gd name="connsiteY1198" fmla="*/ 491709 h 1737071"/>
              <a:gd name="connsiteX1199" fmla="*/ 2437821 w 3956050"/>
              <a:gd name="connsiteY1199" fmla="*/ 497696 h 1737071"/>
              <a:gd name="connsiteX1200" fmla="*/ 2443806 w 3956050"/>
              <a:gd name="connsiteY1200" fmla="*/ 501688 h 1737071"/>
              <a:gd name="connsiteX1201" fmla="*/ 2445801 w 3956050"/>
              <a:gd name="connsiteY1201" fmla="*/ 497696 h 1737071"/>
              <a:gd name="connsiteX1202" fmla="*/ 2453781 w 3956050"/>
              <a:gd name="connsiteY1202" fmla="*/ 497696 h 1737071"/>
              <a:gd name="connsiteX1203" fmla="*/ 2453781 w 3956050"/>
              <a:gd name="connsiteY1203" fmla="*/ 505679 h 1737071"/>
              <a:gd name="connsiteX1204" fmla="*/ 2451786 w 3956050"/>
              <a:gd name="connsiteY1204" fmla="*/ 509671 h 1737071"/>
              <a:gd name="connsiteX1205" fmla="*/ 2459767 w 3956050"/>
              <a:gd name="connsiteY1205" fmla="*/ 517654 h 1737071"/>
              <a:gd name="connsiteX1206" fmla="*/ 2469742 w 3956050"/>
              <a:gd name="connsiteY1206" fmla="*/ 521645 h 1737071"/>
              <a:gd name="connsiteX1207" fmla="*/ 2475727 w 3956050"/>
              <a:gd name="connsiteY1207" fmla="*/ 527633 h 1737071"/>
              <a:gd name="connsiteX1208" fmla="*/ 2481712 w 3956050"/>
              <a:gd name="connsiteY1208" fmla="*/ 529628 h 1737071"/>
              <a:gd name="connsiteX1209" fmla="*/ 2487697 w 3956050"/>
              <a:gd name="connsiteY1209" fmla="*/ 535616 h 1737071"/>
              <a:gd name="connsiteX1210" fmla="*/ 2497672 w 3956050"/>
              <a:gd name="connsiteY1210" fmla="*/ 541603 h 1737071"/>
              <a:gd name="connsiteX1211" fmla="*/ 2501662 w 3956050"/>
              <a:gd name="connsiteY1211" fmla="*/ 543599 h 1737071"/>
              <a:gd name="connsiteX1212" fmla="*/ 2505653 w 3956050"/>
              <a:gd name="connsiteY1212" fmla="*/ 545595 h 1737071"/>
              <a:gd name="connsiteX1213" fmla="*/ 2509643 w 3956050"/>
              <a:gd name="connsiteY1213" fmla="*/ 549586 h 1737071"/>
              <a:gd name="connsiteX1214" fmla="*/ 2517623 w 3956050"/>
              <a:gd name="connsiteY1214" fmla="*/ 551582 h 1737071"/>
              <a:gd name="connsiteX1215" fmla="*/ 2519618 w 3956050"/>
              <a:gd name="connsiteY1215" fmla="*/ 545595 h 1737071"/>
              <a:gd name="connsiteX1216" fmla="*/ 2521613 w 3956050"/>
              <a:gd name="connsiteY1216" fmla="*/ 541603 h 1737071"/>
              <a:gd name="connsiteX1217" fmla="*/ 2521613 w 3956050"/>
              <a:gd name="connsiteY1217" fmla="*/ 535616 h 1737071"/>
              <a:gd name="connsiteX1218" fmla="*/ 2525603 w 3956050"/>
              <a:gd name="connsiteY1218" fmla="*/ 529628 h 1737071"/>
              <a:gd name="connsiteX1219" fmla="*/ 2525603 w 3956050"/>
              <a:gd name="connsiteY1219" fmla="*/ 523641 h 1737071"/>
              <a:gd name="connsiteX1220" fmla="*/ 2523608 w 3956050"/>
              <a:gd name="connsiteY1220" fmla="*/ 517654 h 1737071"/>
              <a:gd name="connsiteX1221" fmla="*/ 2525603 w 3956050"/>
              <a:gd name="connsiteY1221" fmla="*/ 499692 h 1737071"/>
              <a:gd name="connsiteX1222" fmla="*/ 2529593 w 3956050"/>
              <a:gd name="connsiteY1222" fmla="*/ 491709 h 1737071"/>
              <a:gd name="connsiteX1223" fmla="*/ 2533583 w 3956050"/>
              <a:gd name="connsiteY1223" fmla="*/ 505679 h 1737071"/>
              <a:gd name="connsiteX1224" fmla="*/ 2539568 w 3956050"/>
              <a:gd name="connsiteY1224" fmla="*/ 507675 h 1737071"/>
              <a:gd name="connsiteX1225" fmla="*/ 2547548 w 3956050"/>
              <a:gd name="connsiteY1225" fmla="*/ 513662 h 1737071"/>
              <a:gd name="connsiteX1226" fmla="*/ 2555529 w 3956050"/>
              <a:gd name="connsiteY1226" fmla="*/ 515658 h 1737071"/>
              <a:gd name="connsiteX1227" fmla="*/ 2561514 w 3956050"/>
              <a:gd name="connsiteY1227" fmla="*/ 519649 h 1737071"/>
              <a:gd name="connsiteX1228" fmla="*/ 2569494 w 3956050"/>
              <a:gd name="connsiteY1228" fmla="*/ 521645 h 1737071"/>
              <a:gd name="connsiteX1229" fmla="*/ 2577474 w 3956050"/>
              <a:gd name="connsiteY1229" fmla="*/ 519649 h 1737071"/>
              <a:gd name="connsiteX1230" fmla="*/ 2587449 w 3956050"/>
              <a:gd name="connsiteY1230" fmla="*/ 519649 h 1737071"/>
              <a:gd name="connsiteX1231" fmla="*/ 2589444 w 3956050"/>
              <a:gd name="connsiteY1231" fmla="*/ 515658 h 1737071"/>
              <a:gd name="connsiteX1232" fmla="*/ 2597425 w 3956050"/>
              <a:gd name="connsiteY1232" fmla="*/ 505679 h 1737071"/>
              <a:gd name="connsiteX1233" fmla="*/ 2611390 w 3956050"/>
              <a:gd name="connsiteY1233" fmla="*/ 509671 h 1737071"/>
              <a:gd name="connsiteX1234" fmla="*/ 2619370 w 3956050"/>
              <a:gd name="connsiteY1234" fmla="*/ 511666 h 1737071"/>
              <a:gd name="connsiteX1235" fmla="*/ 2627350 w 3956050"/>
              <a:gd name="connsiteY1235" fmla="*/ 513662 h 1737071"/>
              <a:gd name="connsiteX1236" fmla="*/ 2635330 w 3956050"/>
              <a:gd name="connsiteY1236" fmla="*/ 519649 h 1737071"/>
              <a:gd name="connsiteX1237" fmla="*/ 2645306 w 3956050"/>
              <a:gd name="connsiteY1237" fmla="*/ 519649 h 1737071"/>
              <a:gd name="connsiteX1238" fmla="*/ 2653286 w 3956050"/>
              <a:gd name="connsiteY1238" fmla="*/ 523641 h 1737071"/>
              <a:gd name="connsiteX1239" fmla="*/ 2659271 w 3956050"/>
              <a:gd name="connsiteY1239" fmla="*/ 527633 h 1737071"/>
              <a:gd name="connsiteX1240" fmla="*/ 2665256 w 3956050"/>
              <a:gd name="connsiteY1240" fmla="*/ 527633 h 1737071"/>
              <a:gd name="connsiteX1241" fmla="*/ 2669246 w 3956050"/>
              <a:gd name="connsiteY1241" fmla="*/ 529628 h 1737071"/>
              <a:gd name="connsiteX1242" fmla="*/ 2667251 w 3956050"/>
              <a:gd name="connsiteY1242" fmla="*/ 523641 h 1737071"/>
              <a:gd name="connsiteX1243" fmla="*/ 2669246 w 3956050"/>
              <a:gd name="connsiteY1243" fmla="*/ 513662 h 1737071"/>
              <a:gd name="connsiteX1244" fmla="*/ 2679221 w 3956050"/>
              <a:gd name="connsiteY1244" fmla="*/ 507675 h 1737071"/>
              <a:gd name="connsiteX1245" fmla="*/ 2685207 w 3956050"/>
              <a:gd name="connsiteY1245" fmla="*/ 513662 h 1737071"/>
              <a:gd name="connsiteX1246" fmla="*/ 2685207 w 3956050"/>
              <a:gd name="connsiteY1246" fmla="*/ 515658 h 1737071"/>
              <a:gd name="connsiteX1247" fmla="*/ 2689197 w 3956050"/>
              <a:gd name="connsiteY1247" fmla="*/ 517654 h 1737071"/>
              <a:gd name="connsiteX1248" fmla="*/ 2693187 w 3956050"/>
              <a:gd name="connsiteY1248" fmla="*/ 519649 h 1737071"/>
              <a:gd name="connsiteX1249" fmla="*/ 2701167 w 3956050"/>
              <a:gd name="connsiteY1249" fmla="*/ 513662 h 1737071"/>
              <a:gd name="connsiteX1250" fmla="*/ 2705157 w 3956050"/>
              <a:gd name="connsiteY1250" fmla="*/ 515658 h 1737071"/>
              <a:gd name="connsiteX1251" fmla="*/ 2705157 w 3956050"/>
              <a:gd name="connsiteY1251" fmla="*/ 511666 h 1737071"/>
              <a:gd name="connsiteX1252" fmla="*/ 2701167 w 3956050"/>
              <a:gd name="connsiteY1252" fmla="*/ 507675 h 1737071"/>
              <a:gd name="connsiteX1253" fmla="*/ 2699172 w 3956050"/>
              <a:gd name="connsiteY1253" fmla="*/ 499692 h 1737071"/>
              <a:gd name="connsiteX1254" fmla="*/ 2697177 w 3956050"/>
              <a:gd name="connsiteY1254" fmla="*/ 497696 h 1737071"/>
              <a:gd name="connsiteX1255" fmla="*/ 2691192 w 3956050"/>
              <a:gd name="connsiteY1255" fmla="*/ 495700 h 1737071"/>
              <a:gd name="connsiteX1256" fmla="*/ 2691192 w 3956050"/>
              <a:gd name="connsiteY1256" fmla="*/ 491709 h 1737071"/>
              <a:gd name="connsiteX1257" fmla="*/ 2691192 w 3956050"/>
              <a:gd name="connsiteY1257" fmla="*/ 485721 h 1737071"/>
              <a:gd name="connsiteX1258" fmla="*/ 2695182 w 3956050"/>
              <a:gd name="connsiteY1258" fmla="*/ 483726 h 1737071"/>
              <a:gd name="connsiteX1259" fmla="*/ 2699172 w 3956050"/>
              <a:gd name="connsiteY1259" fmla="*/ 481730 h 1737071"/>
              <a:gd name="connsiteX1260" fmla="*/ 2697177 w 3956050"/>
              <a:gd name="connsiteY1260" fmla="*/ 477738 h 1737071"/>
              <a:gd name="connsiteX1261" fmla="*/ 2689197 w 3956050"/>
              <a:gd name="connsiteY1261" fmla="*/ 477738 h 1737071"/>
              <a:gd name="connsiteX1262" fmla="*/ 2683212 w 3956050"/>
              <a:gd name="connsiteY1262" fmla="*/ 481730 h 1737071"/>
              <a:gd name="connsiteX1263" fmla="*/ 2677226 w 3956050"/>
              <a:gd name="connsiteY1263" fmla="*/ 481730 h 1737071"/>
              <a:gd name="connsiteX1264" fmla="*/ 2681216 w 3956050"/>
              <a:gd name="connsiteY1264" fmla="*/ 475742 h 1737071"/>
              <a:gd name="connsiteX1265" fmla="*/ 2681216 w 3956050"/>
              <a:gd name="connsiteY1265" fmla="*/ 465764 h 1737071"/>
              <a:gd name="connsiteX1266" fmla="*/ 2687202 w 3956050"/>
              <a:gd name="connsiteY1266" fmla="*/ 461772 h 1737071"/>
              <a:gd name="connsiteX1267" fmla="*/ 2699172 w 3956050"/>
              <a:gd name="connsiteY1267" fmla="*/ 465764 h 1737071"/>
              <a:gd name="connsiteX1268" fmla="*/ 2707152 w 3956050"/>
              <a:gd name="connsiteY1268" fmla="*/ 463768 h 1737071"/>
              <a:gd name="connsiteX1269" fmla="*/ 2711142 w 3956050"/>
              <a:gd name="connsiteY1269" fmla="*/ 461772 h 1737071"/>
              <a:gd name="connsiteX1270" fmla="*/ 2713137 w 3956050"/>
              <a:gd name="connsiteY1270" fmla="*/ 457781 h 1737071"/>
              <a:gd name="connsiteX1271" fmla="*/ 2707152 w 3956050"/>
              <a:gd name="connsiteY1271" fmla="*/ 451793 h 1737071"/>
              <a:gd name="connsiteX1272" fmla="*/ 2699172 w 3956050"/>
              <a:gd name="connsiteY1272" fmla="*/ 445806 h 1737071"/>
              <a:gd name="connsiteX1273" fmla="*/ 2709147 w 3956050"/>
              <a:gd name="connsiteY1273" fmla="*/ 443810 h 1737071"/>
              <a:gd name="connsiteX1274" fmla="*/ 2715132 w 3956050"/>
              <a:gd name="connsiteY1274" fmla="*/ 445806 h 1737071"/>
              <a:gd name="connsiteX1275" fmla="*/ 2721117 w 3956050"/>
              <a:gd name="connsiteY1275" fmla="*/ 451793 h 1737071"/>
              <a:gd name="connsiteX1276" fmla="*/ 2733088 w 3956050"/>
              <a:gd name="connsiteY1276" fmla="*/ 451793 h 1737071"/>
              <a:gd name="connsiteX1277" fmla="*/ 2739073 w 3956050"/>
              <a:gd name="connsiteY1277" fmla="*/ 453789 h 1737071"/>
              <a:gd name="connsiteX1278" fmla="*/ 2745058 w 3956050"/>
              <a:gd name="connsiteY1278" fmla="*/ 455785 h 1737071"/>
              <a:gd name="connsiteX1279" fmla="*/ 2759023 w 3956050"/>
              <a:gd name="connsiteY1279" fmla="*/ 459776 h 1737071"/>
              <a:gd name="connsiteX1280" fmla="*/ 2780969 w 3956050"/>
              <a:gd name="connsiteY1280" fmla="*/ 459776 h 1737071"/>
              <a:gd name="connsiteX1281" fmla="*/ 2798924 w 3956050"/>
              <a:gd name="connsiteY1281" fmla="*/ 463768 h 1737071"/>
              <a:gd name="connsiteX1282" fmla="*/ 2814884 w 3956050"/>
              <a:gd name="connsiteY1282" fmla="*/ 463768 h 1737071"/>
              <a:gd name="connsiteX1283" fmla="*/ 2838825 w 3956050"/>
              <a:gd name="connsiteY1283" fmla="*/ 469755 h 1737071"/>
              <a:gd name="connsiteX1284" fmla="*/ 2842815 w 3956050"/>
              <a:gd name="connsiteY1284" fmla="*/ 475742 h 1737071"/>
              <a:gd name="connsiteX1285" fmla="*/ 2838825 w 3956050"/>
              <a:gd name="connsiteY1285" fmla="*/ 473747 h 1737071"/>
              <a:gd name="connsiteX1286" fmla="*/ 2828850 w 3956050"/>
              <a:gd name="connsiteY1286" fmla="*/ 473747 h 1737071"/>
              <a:gd name="connsiteX1287" fmla="*/ 2820870 w 3956050"/>
              <a:gd name="connsiteY1287" fmla="*/ 471751 h 1737071"/>
              <a:gd name="connsiteX1288" fmla="*/ 2808899 w 3956050"/>
              <a:gd name="connsiteY1288" fmla="*/ 467759 h 1737071"/>
              <a:gd name="connsiteX1289" fmla="*/ 2796929 w 3956050"/>
              <a:gd name="connsiteY1289" fmla="*/ 469755 h 1737071"/>
              <a:gd name="connsiteX1290" fmla="*/ 2792939 w 3956050"/>
              <a:gd name="connsiteY1290" fmla="*/ 477738 h 1737071"/>
              <a:gd name="connsiteX1291" fmla="*/ 2786954 w 3956050"/>
              <a:gd name="connsiteY1291" fmla="*/ 479734 h 1737071"/>
              <a:gd name="connsiteX1292" fmla="*/ 2786954 w 3956050"/>
              <a:gd name="connsiteY1292" fmla="*/ 483726 h 1737071"/>
              <a:gd name="connsiteX1293" fmla="*/ 2788949 w 3956050"/>
              <a:gd name="connsiteY1293" fmla="*/ 485721 h 1737071"/>
              <a:gd name="connsiteX1294" fmla="*/ 2796929 w 3956050"/>
              <a:gd name="connsiteY1294" fmla="*/ 481730 h 1737071"/>
              <a:gd name="connsiteX1295" fmla="*/ 2810894 w 3956050"/>
              <a:gd name="connsiteY1295" fmla="*/ 481730 h 1737071"/>
              <a:gd name="connsiteX1296" fmla="*/ 2820870 w 3956050"/>
              <a:gd name="connsiteY1296" fmla="*/ 481730 h 1737071"/>
              <a:gd name="connsiteX1297" fmla="*/ 2824860 w 3956050"/>
              <a:gd name="connsiteY1297" fmla="*/ 483726 h 1737071"/>
              <a:gd name="connsiteX1298" fmla="*/ 2824860 w 3956050"/>
              <a:gd name="connsiteY1298" fmla="*/ 493704 h 1737071"/>
              <a:gd name="connsiteX1299" fmla="*/ 2818875 w 3956050"/>
              <a:gd name="connsiteY1299" fmla="*/ 495700 h 1737071"/>
              <a:gd name="connsiteX1300" fmla="*/ 2816880 w 3956050"/>
              <a:gd name="connsiteY1300" fmla="*/ 499692 h 1737071"/>
              <a:gd name="connsiteX1301" fmla="*/ 2816880 w 3956050"/>
              <a:gd name="connsiteY1301" fmla="*/ 507675 h 1737071"/>
              <a:gd name="connsiteX1302" fmla="*/ 2818875 w 3956050"/>
              <a:gd name="connsiteY1302" fmla="*/ 509671 h 1737071"/>
              <a:gd name="connsiteX1303" fmla="*/ 2826855 w 3956050"/>
              <a:gd name="connsiteY1303" fmla="*/ 511666 h 1737071"/>
              <a:gd name="connsiteX1304" fmla="*/ 2834835 w 3956050"/>
              <a:gd name="connsiteY1304" fmla="*/ 507675 h 1737071"/>
              <a:gd name="connsiteX1305" fmla="*/ 2836830 w 3956050"/>
              <a:gd name="connsiteY1305" fmla="*/ 501688 h 1737071"/>
              <a:gd name="connsiteX1306" fmla="*/ 2832840 w 3956050"/>
              <a:gd name="connsiteY1306" fmla="*/ 497696 h 1737071"/>
              <a:gd name="connsiteX1307" fmla="*/ 2834835 w 3956050"/>
              <a:gd name="connsiteY1307" fmla="*/ 489713 h 1737071"/>
              <a:gd name="connsiteX1308" fmla="*/ 2832840 w 3956050"/>
              <a:gd name="connsiteY1308" fmla="*/ 485721 h 1737071"/>
              <a:gd name="connsiteX1309" fmla="*/ 2828850 w 3956050"/>
              <a:gd name="connsiteY1309" fmla="*/ 483726 h 1737071"/>
              <a:gd name="connsiteX1310" fmla="*/ 2832840 w 3956050"/>
              <a:gd name="connsiteY1310" fmla="*/ 477738 h 1737071"/>
              <a:gd name="connsiteX1311" fmla="*/ 2842815 w 3956050"/>
              <a:gd name="connsiteY1311" fmla="*/ 481730 h 1737071"/>
              <a:gd name="connsiteX1312" fmla="*/ 2842815 w 3956050"/>
              <a:gd name="connsiteY1312" fmla="*/ 491709 h 1737071"/>
              <a:gd name="connsiteX1313" fmla="*/ 2842815 w 3956050"/>
              <a:gd name="connsiteY1313" fmla="*/ 495700 h 1737071"/>
              <a:gd name="connsiteX1314" fmla="*/ 2844810 w 3956050"/>
              <a:gd name="connsiteY1314" fmla="*/ 493704 h 1737071"/>
              <a:gd name="connsiteX1315" fmla="*/ 2846805 w 3956050"/>
              <a:gd name="connsiteY1315" fmla="*/ 483726 h 1737071"/>
              <a:gd name="connsiteX1316" fmla="*/ 2854785 w 3956050"/>
              <a:gd name="connsiteY1316" fmla="*/ 475742 h 1737071"/>
              <a:gd name="connsiteX1317" fmla="*/ 2870746 w 3956050"/>
              <a:gd name="connsiteY1317" fmla="*/ 475742 h 1737071"/>
              <a:gd name="connsiteX1318" fmla="*/ 2876731 w 3956050"/>
              <a:gd name="connsiteY1318" fmla="*/ 477738 h 1737071"/>
              <a:gd name="connsiteX1319" fmla="*/ 2880721 w 3956050"/>
              <a:gd name="connsiteY1319" fmla="*/ 477738 h 1737071"/>
              <a:gd name="connsiteX1320" fmla="*/ 2884711 w 3956050"/>
              <a:gd name="connsiteY1320" fmla="*/ 477738 h 1737071"/>
              <a:gd name="connsiteX1321" fmla="*/ 2894686 w 3956050"/>
              <a:gd name="connsiteY1321" fmla="*/ 481730 h 1737071"/>
              <a:gd name="connsiteX1322" fmla="*/ 2904662 w 3956050"/>
              <a:gd name="connsiteY1322" fmla="*/ 483726 h 1737071"/>
              <a:gd name="connsiteX1323" fmla="*/ 2910647 w 3956050"/>
              <a:gd name="connsiteY1323" fmla="*/ 485721 h 1737071"/>
              <a:gd name="connsiteX1324" fmla="*/ 2926607 w 3956050"/>
              <a:gd name="connsiteY1324" fmla="*/ 495700 h 1737071"/>
              <a:gd name="connsiteX1325" fmla="*/ 2922617 w 3956050"/>
              <a:gd name="connsiteY1325" fmla="*/ 503683 h 1737071"/>
              <a:gd name="connsiteX1326" fmla="*/ 2918627 w 3956050"/>
              <a:gd name="connsiteY1326" fmla="*/ 501688 h 1737071"/>
              <a:gd name="connsiteX1327" fmla="*/ 2914637 w 3956050"/>
              <a:gd name="connsiteY1327" fmla="*/ 499692 h 1737071"/>
              <a:gd name="connsiteX1328" fmla="*/ 2912642 w 3956050"/>
              <a:gd name="connsiteY1328" fmla="*/ 501688 h 1737071"/>
              <a:gd name="connsiteX1329" fmla="*/ 2910647 w 3956050"/>
              <a:gd name="connsiteY1329" fmla="*/ 505679 h 1737071"/>
              <a:gd name="connsiteX1330" fmla="*/ 2910647 w 3956050"/>
              <a:gd name="connsiteY1330" fmla="*/ 507675 h 1737071"/>
              <a:gd name="connsiteX1331" fmla="*/ 2914637 w 3956050"/>
              <a:gd name="connsiteY1331" fmla="*/ 509671 h 1737071"/>
              <a:gd name="connsiteX1332" fmla="*/ 2920622 w 3956050"/>
              <a:gd name="connsiteY1332" fmla="*/ 511666 h 1737071"/>
              <a:gd name="connsiteX1333" fmla="*/ 2926607 w 3956050"/>
              <a:gd name="connsiteY1333" fmla="*/ 507675 h 1737071"/>
              <a:gd name="connsiteX1334" fmla="*/ 2932592 w 3956050"/>
              <a:gd name="connsiteY1334" fmla="*/ 509671 h 1737071"/>
              <a:gd name="connsiteX1335" fmla="*/ 2946557 w 3956050"/>
              <a:gd name="connsiteY1335" fmla="*/ 515658 h 1737071"/>
              <a:gd name="connsiteX1336" fmla="*/ 2956533 w 3956050"/>
              <a:gd name="connsiteY1336" fmla="*/ 517654 h 1737071"/>
              <a:gd name="connsiteX1337" fmla="*/ 2966508 w 3956050"/>
              <a:gd name="connsiteY1337" fmla="*/ 513662 h 1737071"/>
              <a:gd name="connsiteX1338" fmla="*/ 2978478 w 3956050"/>
              <a:gd name="connsiteY1338" fmla="*/ 519649 h 1737071"/>
              <a:gd name="connsiteX1339" fmla="*/ 2988453 w 3956050"/>
              <a:gd name="connsiteY1339" fmla="*/ 521645 h 1737071"/>
              <a:gd name="connsiteX1340" fmla="*/ 2992443 w 3956050"/>
              <a:gd name="connsiteY1340" fmla="*/ 525637 h 1737071"/>
              <a:gd name="connsiteX1341" fmla="*/ 2994439 w 3956050"/>
              <a:gd name="connsiteY1341" fmla="*/ 533620 h 1737071"/>
              <a:gd name="connsiteX1342" fmla="*/ 2992443 w 3956050"/>
              <a:gd name="connsiteY1342" fmla="*/ 537611 h 1737071"/>
              <a:gd name="connsiteX1343" fmla="*/ 2994439 w 3956050"/>
              <a:gd name="connsiteY1343" fmla="*/ 543599 h 1737071"/>
              <a:gd name="connsiteX1344" fmla="*/ 3000424 w 3956050"/>
              <a:gd name="connsiteY1344" fmla="*/ 547590 h 1737071"/>
              <a:gd name="connsiteX1345" fmla="*/ 3006409 w 3956050"/>
              <a:gd name="connsiteY1345" fmla="*/ 547590 h 1737071"/>
              <a:gd name="connsiteX1346" fmla="*/ 3012394 w 3956050"/>
              <a:gd name="connsiteY1346" fmla="*/ 549586 h 1737071"/>
              <a:gd name="connsiteX1347" fmla="*/ 3016384 w 3956050"/>
              <a:gd name="connsiteY1347" fmla="*/ 547590 h 1737071"/>
              <a:gd name="connsiteX1348" fmla="*/ 3022369 w 3956050"/>
              <a:gd name="connsiteY1348" fmla="*/ 545595 h 1737071"/>
              <a:gd name="connsiteX1349" fmla="*/ 3026359 w 3956050"/>
              <a:gd name="connsiteY1349" fmla="*/ 545595 h 1737071"/>
              <a:gd name="connsiteX1350" fmla="*/ 3030349 w 3956050"/>
              <a:gd name="connsiteY1350" fmla="*/ 545595 h 1737071"/>
              <a:gd name="connsiteX1351" fmla="*/ 3032344 w 3956050"/>
              <a:gd name="connsiteY1351" fmla="*/ 543599 h 1737071"/>
              <a:gd name="connsiteX1352" fmla="*/ 3042320 w 3956050"/>
              <a:gd name="connsiteY1352" fmla="*/ 543599 h 1737071"/>
              <a:gd name="connsiteX1353" fmla="*/ 3046310 w 3956050"/>
              <a:gd name="connsiteY1353" fmla="*/ 547590 h 1737071"/>
              <a:gd name="connsiteX1354" fmla="*/ 3052295 w 3956050"/>
              <a:gd name="connsiteY1354" fmla="*/ 541603 h 1737071"/>
              <a:gd name="connsiteX1355" fmla="*/ 3060275 w 3956050"/>
              <a:gd name="connsiteY1355" fmla="*/ 539607 h 1737071"/>
              <a:gd name="connsiteX1356" fmla="*/ 3070250 w 3956050"/>
              <a:gd name="connsiteY1356" fmla="*/ 539607 h 1737071"/>
              <a:gd name="connsiteX1357" fmla="*/ 3078230 w 3956050"/>
              <a:gd name="connsiteY1357" fmla="*/ 539607 h 1737071"/>
              <a:gd name="connsiteX1358" fmla="*/ 3084216 w 3956050"/>
              <a:gd name="connsiteY1358" fmla="*/ 539607 h 1737071"/>
              <a:gd name="connsiteX1359" fmla="*/ 3094191 w 3956050"/>
              <a:gd name="connsiteY1359" fmla="*/ 533620 h 1737071"/>
              <a:gd name="connsiteX1360" fmla="*/ 3104166 w 3956050"/>
              <a:gd name="connsiteY1360" fmla="*/ 535616 h 1737071"/>
              <a:gd name="connsiteX1361" fmla="*/ 3110151 w 3956050"/>
              <a:gd name="connsiteY1361" fmla="*/ 537611 h 1737071"/>
              <a:gd name="connsiteX1362" fmla="*/ 3116136 w 3956050"/>
              <a:gd name="connsiteY1362" fmla="*/ 537611 h 1737071"/>
              <a:gd name="connsiteX1363" fmla="*/ 3122121 w 3956050"/>
              <a:gd name="connsiteY1363" fmla="*/ 537611 h 1737071"/>
              <a:gd name="connsiteX1364" fmla="*/ 3128107 w 3956050"/>
              <a:gd name="connsiteY1364" fmla="*/ 537611 h 1737071"/>
              <a:gd name="connsiteX1365" fmla="*/ 3138082 w 3956050"/>
              <a:gd name="connsiteY1365" fmla="*/ 541603 h 1737071"/>
              <a:gd name="connsiteX1366" fmla="*/ 3156037 w 3956050"/>
              <a:gd name="connsiteY1366" fmla="*/ 541603 h 1737071"/>
              <a:gd name="connsiteX1367" fmla="*/ 3164017 w 3956050"/>
              <a:gd name="connsiteY1367" fmla="*/ 547590 h 1737071"/>
              <a:gd name="connsiteX1368" fmla="*/ 3173993 w 3956050"/>
              <a:gd name="connsiteY1368" fmla="*/ 555573 h 1737071"/>
              <a:gd name="connsiteX1369" fmla="*/ 3179978 w 3956050"/>
              <a:gd name="connsiteY1369" fmla="*/ 563556 h 1737071"/>
              <a:gd name="connsiteX1370" fmla="*/ 3183968 w 3956050"/>
              <a:gd name="connsiteY1370" fmla="*/ 569544 h 1737071"/>
              <a:gd name="connsiteX1371" fmla="*/ 3187958 w 3956050"/>
              <a:gd name="connsiteY1371" fmla="*/ 573535 h 1737071"/>
              <a:gd name="connsiteX1372" fmla="*/ 3187958 w 3956050"/>
              <a:gd name="connsiteY1372" fmla="*/ 583514 h 1737071"/>
              <a:gd name="connsiteX1373" fmla="*/ 3185963 w 3956050"/>
              <a:gd name="connsiteY1373" fmla="*/ 589502 h 1737071"/>
              <a:gd name="connsiteX1374" fmla="*/ 3183968 w 3956050"/>
              <a:gd name="connsiteY1374" fmla="*/ 593493 h 1737071"/>
              <a:gd name="connsiteX1375" fmla="*/ 3191948 w 3956050"/>
              <a:gd name="connsiteY1375" fmla="*/ 595489 h 1737071"/>
              <a:gd name="connsiteX1376" fmla="*/ 3197933 w 3956050"/>
              <a:gd name="connsiteY1376" fmla="*/ 599480 h 1737071"/>
              <a:gd name="connsiteX1377" fmla="*/ 3203918 w 3956050"/>
              <a:gd name="connsiteY1377" fmla="*/ 601476 h 1737071"/>
              <a:gd name="connsiteX1378" fmla="*/ 3207908 w 3956050"/>
              <a:gd name="connsiteY1378" fmla="*/ 599480 h 1737071"/>
              <a:gd name="connsiteX1379" fmla="*/ 3213893 w 3956050"/>
              <a:gd name="connsiteY1379" fmla="*/ 603472 h 1737071"/>
              <a:gd name="connsiteX1380" fmla="*/ 3221874 w 3956050"/>
              <a:gd name="connsiteY1380" fmla="*/ 605468 h 1737071"/>
              <a:gd name="connsiteX1381" fmla="*/ 3227859 w 3956050"/>
              <a:gd name="connsiteY1381" fmla="*/ 605468 h 1737071"/>
              <a:gd name="connsiteX1382" fmla="*/ 3233844 w 3956050"/>
              <a:gd name="connsiteY1382" fmla="*/ 601476 h 1737071"/>
              <a:gd name="connsiteX1383" fmla="*/ 3237834 w 3956050"/>
              <a:gd name="connsiteY1383" fmla="*/ 601476 h 1737071"/>
              <a:gd name="connsiteX1384" fmla="*/ 3247809 w 3956050"/>
              <a:gd name="connsiteY1384" fmla="*/ 601476 h 1737071"/>
              <a:gd name="connsiteX1385" fmla="*/ 3257784 w 3956050"/>
              <a:gd name="connsiteY1385" fmla="*/ 599480 h 1737071"/>
              <a:gd name="connsiteX1386" fmla="*/ 3263770 w 3956050"/>
              <a:gd name="connsiteY1386" fmla="*/ 599480 h 1737071"/>
              <a:gd name="connsiteX1387" fmla="*/ 3273745 w 3956050"/>
              <a:gd name="connsiteY1387" fmla="*/ 597485 h 1737071"/>
              <a:gd name="connsiteX1388" fmla="*/ 3277735 w 3956050"/>
              <a:gd name="connsiteY1388" fmla="*/ 593493 h 1737071"/>
              <a:gd name="connsiteX1389" fmla="*/ 3287710 w 3956050"/>
              <a:gd name="connsiteY1389" fmla="*/ 591497 h 1737071"/>
              <a:gd name="connsiteX1390" fmla="*/ 3293695 w 3956050"/>
              <a:gd name="connsiteY1390" fmla="*/ 599480 h 1737071"/>
              <a:gd name="connsiteX1391" fmla="*/ 3307661 w 3956050"/>
              <a:gd name="connsiteY1391" fmla="*/ 601476 h 1737071"/>
              <a:gd name="connsiteX1392" fmla="*/ 3319631 w 3956050"/>
              <a:gd name="connsiteY1392" fmla="*/ 601476 h 1737071"/>
              <a:gd name="connsiteX1393" fmla="*/ 3325616 w 3956050"/>
              <a:gd name="connsiteY1393" fmla="*/ 603472 h 1737071"/>
              <a:gd name="connsiteX1394" fmla="*/ 3335591 w 3956050"/>
              <a:gd name="connsiteY1394" fmla="*/ 605468 h 1737071"/>
              <a:gd name="connsiteX1395" fmla="*/ 3343571 w 3956050"/>
              <a:gd name="connsiteY1395" fmla="*/ 605468 h 1737071"/>
              <a:gd name="connsiteX1396" fmla="*/ 3349557 w 3956050"/>
              <a:gd name="connsiteY1396" fmla="*/ 603472 h 1737071"/>
              <a:gd name="connsiteX1397" fmla="*/ 3357537 w 3956050"/>
              <a:gd name="connsiteY1397" fmla="*/ 601476 h 1737071"/>
              <a:gd name="connsiteX1398" fmla="*/ 3363522 w 3956050"/>
              <a:gd name="connsiteY1398" fmla="*/ 593493 h 1737071"/>
              <a:gd name="connsiteX1399" fmla="*/ 3367512 w 3956050"/>
              <a:gd name="connsiteY1399" fmla="*/ 585510 h 1737071"/>
              <a:gd name="connsiteX1400" fmla="*/ 3385467 w 3956050"/>
              <a:gd name="connsiteY1400" fmla="*/ 583514 h 1737071"/>
              <a:gd name="connsiteX1401" fmla="*/ 3397438 w 3956050"/>
              <a:gd name="connsiteY1401" fmla="*/ 587506 h 1737071"/>
              <a:gd name="connsiteX1402" fmla="*/ 3405418 w 3956050"/>
              <a:gd name="connsiteY1402" fmla="*/ 595489 h 1737071"/>
              <a:gd name="connsiteX1403" fmla="*/ 3397438 w 3956050"/>
              <a:gd name="connsiteY1403" fmla="*/ 601476 h 1737071"/>
              <a:gd name="connsiteX1404" fmla="*/ 3393447 w 3956050"/>
              <a:gd name="connsiteY1404" fmla="*/ 603472 h 1737071"/>
              <a:gd name="connsiteX1405" fmla="*/ 3385467 w 3956050"/>
              <a:gd name="connsiteY1405" fmla="*/ 605468 h 1737071"/>
              <a:gd name="connsiteX1406" fmla="*/ 3389457 w 3956050"/>
              <a:gd name="connsiteY1406" fmla="*/ 615447 h 1737071"/>
              <a:gd name="connsiteX1407" fmla="*/ 3409408 w 3956050"/>
              <a:gd name="connsiteY1407" fmla="*/ 619438 h 1737071"/>
              <a:gd name="connsiteX1408" fmla="*/ 3419383 w 3956050"/>
              <a:gd name="connsiteY1408" fmla="*/ 627421 h 1737071"/>
              <a:gd name="connsiteX1409" fmla="*/ 3429358 w 3956050"/>
              <a:gd name="connsiteY1409" fmla="*/ 635404 h 1737071"/>
              <a:gd name="connsiteX1410" fmla="*/ 3443324 w 3956050"/>
              <a:gd name="connsiteY1410" fmla="*/ 637400 h 1737071"/>
              <a:gd name="connsiteX1411" fmla="*/ 3451304 w 3956050"/>
              <a:gd name="connsiteY1411" fmla="*/ 633409 h 1737071"/>
              <a:gd name="connsiteX1412" fmla="*/ 3453299 w 3956050"/>
              <a:gd name="connsiteY1412" fmla="*/ 627421 h 1737071"/>
              <a:gd name="connsiteX1413" fmla="*/ 3447314 w 3956050"/>
              <a:gd name="connsiteY1413" fmla="*/ 611455 h 1737071"/>
              <a:gd name="connsiteX1414" fmla="*/ 3439334 w 3956050"/>
              <a:gd name="connsiteY1414" fmla="*/ 605468 h 1737071"/>
              <a:gd name="connsiteX1415" fmla="*/ 3431353 w 3956050"/>
              <a:gd name="connsiteY1415" fmla="*/ 603472 h 1737071"/>
              <a:gd name="connsiteX1416" fmla="*/ 3423373 w 3956050"/>
              <a:gd name="connsiteY1416" fmla="*/ 599480 h 1737071"/>
              <a:gd name="connsiteX1417" fmla="*/ 3427363 w 3956050"/>
              <a:gd name="connsiteY1417" fmla="*/ 595489 h 1737071"/>
              <a:gd name="connsiteX1418" fmla="*/ 3427363 w 3956050"/>
              <a:gd name="connsiteY1418" fmla="*/ 587506 h 1737071"/>
              <a:gd name="connsiteX1419" fmla="*/ 3421378 w 3956050"/>
              <a:gd name="connsiteY1419" fmla="*/ 577527 h 1737071"/>
              <a:gd name="connsiteX1420" fmla="*/ 3427363 w 3956050"/>
              <a:gd name="connsiteY1420" fmla="*/ 573535 h 1737071"/>
              <a:gd name="connsiteX1421" fmla="*/ 3439334 w 3956050"/>
              <a:gd name="connsiteY1421" fmla="*/ 579523 h 1737071"/>
              <a:gd name="connsiteX1422" fmla="*/ 3443324 w 3956050"/>
              <a:gd name="connsiteY1422" fmla="*/ 579523 h 1737071"/>
              <a:gd name="connsiteX1423" fmla="*/ 3455294 w 3956050"/>
              <a:gd name="connsiteY1423" fmla="*/ 583514 h 1737071"/>
              <a:gd name="connsiteX1424" fmla="*/ 3463274 w 3956050"/>
              <a:gd name="connsiteY1424" fmla="*/ 587506 h 1737071"/>
              <a:gd name="connsiteX1425" fmla="*/ 3471254 w 3956050"/>
              <a:gd name="connsiteY1425" fmla="*/ 587506 h 1737071"/>
              <a:gd name="connsiteX1426" fmla="*/ 3475244 w 3956050"/>
              <a:gd name="connsiteY1426" fmla="*/ 585510 h 1737071"/>
              <a:gd name="connsiteX1427" fmla="*/ 3481229 w 3956050"/>
              <a:gd name="connsiteY1427" fmla="*/ 587506 h 1737071"/>
              <a:gd name="connsiteX1428" fmla="*/ 3485220 w 3956050"/>
              <a:gd name="connsiteY1428" fmla="*/ 587506 h 1737071"/>
              <a:gd name="connsiteX1429" fmla="*/ 3491205 w 3956050"/>
              <a:gd name="connsiteY1429" fmla="*/ 591497 h 1737071"/>
              <a:gd name="connsiteX1430" fmla="*/ 3495195 w 3956050"/>
              <a:gd name="connsiteY1430" fmla="*/ 589502 h 1737071"/>
              <a:gd name="connsiteX1431" fmla="*/ 3495195 w 3956050"/>
              <a:gd name="connsiteY1431" fmla="*/ 585510 h 1737071"/>
              <a:gd name="connsiteX1432" fmla="*/ 3501180 w 3956050"/>
              <a:gd name="connsiteY1432" fmla="*/ 589502 h 1737071"/>
              <a:gd name="connsiteX1433" fmla="*/ 3507165 w 3956050"/>
              <a:gd name="connsiteY1433" fmla="*/ 587506 h 1737071"/>
              <a:gd name="connsiteX1434" fmla="*/ 3513150 w 3956050"/>
              <a:gd name="connsiteY1434" fmla="*/ 587506 h 1737071"/>
              <a:gd name="connsiteX1435" fmla="*/ 3523125 w 3956050"/>
              <a:gd name="connsiteY1435" fmla="*/ 587506 h 1737071"/>
              <a:gd name="connsiteX1436" fmla="*/ 3527115 w 3956050"/>
              <a:gd name="connsiteY1436" fmla="*/ 585510 h 1737071"/>
              <a:gd name="connsiteX1437" fmla="*/ 3531105 w 3956050"/>
              <a:gd name="connsiteY1437" fmla="*/ 583514 h 1737071"/>
              <a:gd name="connsiteX1438" fmla="*/ 3541081 w 3956050"/>
              <a:gd name="connsiteY1438" fmla="*/ 589502 h 1737071"/>
              <a:gd name="connsiteX1439" fmla="*/ 3545071 w 3956050"/>
              <a:gd name="connsiteY1439" fmla="*/ 587506 h 1737071"/>
              <a:gd name="connsiteX1440" fmla="*/ 3549061 w 3956050"/>
              <a:gd name="connsiteY1440" fmla="*/ 583514 h 1737071"/>
              <a:gd name="connsiteX1441" fmla="*/ 3551056 w 3956050"/>
              <a:gd name="connsiteY1441" fmla="*/ 587506 h 1737071"/>
              <a:gd name="connsiteX1442" fmla="*/ 3557041 w 3956050"/>
              <a:gd name="connsiteY1442" fmla="*/ 587506 h 1737071"/>
              <a:gd name="connsiteX1443" fmla="*/ 3565021 w 3956050"/>
              <a:gd name="connsiteY1443" fmla="*/ 589502 h 1737071"/>
              <a:gd name="connsiteX1444" fmla="*/ 3573001 w 3956050"/>
              <a:gd name="connsiteY1444" fmla="*/ 591497 h 1737071"/>
              <a:gd name="connsiteX1445" fmla="*/ 3582977 w 3956050"/>
              <a:gd name="connsiteY1445" fmla="*/ 597485 h 1737071"/>
              <a:gd name="connsiteX1446" fmla="*/ 3590957 w 3956050"/>
              <a:gd name="connsiteY1446" fmla="*/ 595489 h 1737071"/>
              <a:gd name="connsiteX1447" fmla="*/ 3600932 w 3956050"/>
              <a:gd name="connsiteY1447" fmla="*/ 601476 h 1737071"/>
              <a:gd name="connsiteX1448" fmla="*/ 3612902 w 3956050"/>
              <a:gd name="connsiteY1448" fmla="*/ 605468 h 1737071"/>
              <a:gd name="connsiteX1449" fmla="*/ 3622877 w 3956050"/>
              <a:gd name="connsiteY1449" fmla="*/ 605468 h 1737071"/>
              <a:gd name="connsiteX1450" fmla="*/ 3628863 w 3956050"/>
              <a:gd name="connsiteY1450" fmla="*/ 609459 h 1737071"/>
              <a:gd name="connsiteX1451" fmla="*/ 3634848 w 3956050"/>
              <a:gd name="connsiteY1451" fmla="*/ 611455 h 1737071"/>
              <a:gd name="connsiteX1452" fmla="*/ 3650808 w 3956050"/>
              <a:gd name="connsiteY1452" fmla="*/ 615447 h 1737071"/>
              <a:gd name="connsiteX1453" fmla="*/ 3658788 w 3956050"/>
              <a:gd name="connsiteY1453" fmla="*/ 615447 h 1737071"/>
              <a:gd name="connsiteX1454" fmla="*/ 3654798 w 3956050"/>
              <a:gd name="connsiteY1454" fmla="*/ 621434 h 1737071"/>
              <a:gd name="connsiteX1455" fmla="*/ 3654798 w 3956050"/>
              <a:gd name="connsiteY1455" fmla="*/ 623430 h 1737071"/>
              <a:gd name="connsiteX1456" fmla="*/ 3660783 w 3956050"/>
              <a:gd name="connsiteY1456" fmla="*/ 625426 h 1737071"/>
              <a:gd name="connsiteX1457" fmla="*/ 3666769 w 3956050"/>
              <a:gd name="connsiteY1457" fmla="*/ 625426 h 1737071"/>
              <a:gd name="connsiteX1458" fmla="*/ 3670759 w 3956050"/>
              <a:gd name="connsiteY1458" fmla="*/ 629417 h 1737071"/>
              <a:gd name="connsiteX1459" fmla="*/ 3676744 w 3956050"/>
              <a:gd name="connsiteY1459" fmla="*/ 631413 h 1737071"/>
              <a:gd name="connsiteX1460" fmla="*/ 3678739 w 3956050"/>
              <a:gd name="connsiteY1460" fmla="*/ 629417 h 1737071"/>
              <a:gd name="connsiteX1461" fmla="*/ 3682729 w 3956050"/>
              <a:gd name="connsiteY1461" fmla="*/ 629417 h 1737071"/>
              <a:gd name="connsiteX1462" fmla="*/ 3682729 w 3956050"/>
              <a:gd name="connsiteY1462" fmla="*/ 631413 h 1737071"/>
              <a:gd name="connsiteX1463" fmla="*/ 3680734 w 3956050"/>
              <a:gd name="connsiteY1463" fmla="*/ 635404 h 1737071"/>
              <a:gd name="connsiteX1464" fmla="*/ 3686719 w 3956050"/>
              <a:gd name="connsiteY1464" fmla="*/ 637400 h 1737071"/>
              <a:gd name="connsiteX1465" fmla="*/ 3694699 w 3956050"/>
              <a:gd name="connsiteY1465" fmla="*/ 639396 h 1737071"/>
              <a:gd name="connsiteX1466" fmla="*/ 3700684 w 3956050"/>
              <a:gd name="connsiteY1466" fmla="*/ 647379 h 1737071"/>
              <a:gd name="connsiteX1467" fmla="*/ 3712655 w 3956050"/>
              <a:gd name="connsiteY1467" fmla="*/ 653366 h 1737071"/>
              <a:gd name="connsiteX1468" fmla="*/ 3716645 w 3956050"/>
              <a:gd name="connsiteY1468" fmla="*/ 653366 h 1737071"/>
              <a:gd name="connsiteX1469" fmla="*/ 3720635 w 3956050"/>
              <a:gd name="connsiteY1469" fmla="*/ 655362 h 1737071"/>
              <a:gd name="connsiteX1470" fmla="*/ 3724625 w 3956050"/>
              <a:gd name="connsiteY1470" fmla="*/ 659354 h 1737071"/>
              <a:gd name="connsiteX1471" fmla="*/ 3728615 w 3956050"/>
              <a:gd name="connsiteY1471" fmla="*/ 659354 h 1737071"/>
              <a:gd name="connsiteX1472" fmla="*/ 3732605 w 3956050"/>
              <a:gd name="connsiteY1472" fmla="*/ 659354 h 1737071"/>
              <a:gd name="connsiteX1473" fmla="*/ 3736595 w 3956050"/>
              <a:gd name="connsiteY1473" fmla="*/ 657358 h 1737071"/>
              <a:gd name="connsiteX1474" fmla="*/ 3738590 w 3956050"/>
              <a:gd name="connsiteY1474" fmla="*/ 663345 h 1737071"/>
              <a:gd name="connsiteX1475" fmla="*/ 3742580 w 3956050"/>
              <a:gd name="connsiteY1475" fmla="*/ 669333 h 1737071"/>
              <a:gd name="connsiteX1476" fmla="*/ 3744575 w 3956050"/>
              <a:gd name="connsiteY1476" fmla="*/ 663345 h 1737071"/>
              <a:gd name="connsiteX1477" fmla="*/ 3750561 w 3956050"/>
              <a:gd name="connsiteY1477" fmla="*/ 661350 h 1737071"/>
              <a:gd name="connsiteX1478" fmla="*/ 3752555 w 3956050"/>
              <a:gd name="connsiteY1478" fmla="*/ 665341 h 1737071"/>
              <a:gd name="connsiteX1479" fmla="*/ 3758541 w 3956050"/>
              <a:gd name="connsiteY1479" fmla="*/ 671328 h 1737071"/>
              <a:gd name="connsiteX1480" fmla="*/ 3760535 w 3956050"/>
              <a:gd name="connsiteY1480" fmla="*/ 677316 h 1737071"/>
              <a:gd name="connsiteX1481" fmla="*/ 3766521 w 3956050"/>
              <a:gd name="connsiteY1481" fmla="*/ 677316 h 1737071"/>
              <a:gd name="connsiteX1482" fmla="*/ 3770511 w 3956050"/>
              <a:gd name="connsiteY1482" fmla="*/ 681307 h 1737071"/>
              <a:gd name="connsiteX1483" fmla="*/ 3776496 w 3956050"/>
              <a:gd name="connsiteY1483" fmla="*/ 679311 h 1737071"/>
              <a:gd name="connsiteX1484" fmla="*/ 3772506 w 3956050"/>
              <a:gd name="connsiteY1484" fmla="*/ 675320 h 1737071"/>
              <a:gd name="connsiteX1485" fmla="*/ 3766521 w 3956050"/>
              <a:gd name="connsiteY1485" fmla="*/ 671328 h 1737071"/>
              <a:gd name="connsiteX1486" fmla="*/ 3772506 w 3956050"/>
              <a:gd name="connsiteY1486" fmla="*/ 673324 h 1737071"/>
              <a:gd name="connsiteX1487" fmla="*/ 3780486 w 3956050"/>
              <a:gd name="connsiteY1487" fmla="*/ 675320 h 1737071"/>
              <a:gd name="connsiteX1488" fmla="*/ 3784476 w 3956050"/>
              <a:gd name="connsiteY1488" fmla="*/ 679311 h 1737071"/>
              <a:gd name="connsiteX1489" fmla="*/ 3782481 w 3956050"/>
              <a:gd name="connsiteY1489" fmla="*/ 683303 h 1737071"/>
              <a:gd name="connsiteX1490" fmla="*/ 3780486 w 3956050"/>
              <a:gd name="connsiteY1490" fmla="*/ 687295 h 1737071"/>
              <a:gd name="connsiteX1491" fmla="*/ 3778491 w 3956050"/>
              <a:gd name="connsiteY1491" fmla="*/ 689290 h 1737071"/>
              <a:gd name="connsiteX1492" fmla="*/ 3788466 w 3956050"/>
              <a:gd name="connsiteY1492" fmla="*/ 693282 h 1737071"/>
              <a:gd name="connsiteX1493" fmla="*/ 3790461 w 3956050"/>
              <a:gd name="connsiteY1493" fmla="*/ 693282 h 1737071"/>
              <a:gd name="connsiteX1494" fmla="*/ 3796447 w 3956050"/>
              <a:gd name="connsiteY1494" fmla="*/ 697273 h 1737071"/>
              <a:gd name="connsiteX1495" fmla="*/ 3796447 w 3956050"/>
              <a:gd name="connsiteY1495" fmla="*/ 693282 h 1737071"/>
              <a:gd name="connsiteX1496" fmla="*/ 3788466 w 3956050"/>
              <a:gd name="connsiteY1496" fmla="*/ 687295 h 1737071"/>
              <a:gd name="connsiteX1497" fmla="*/ 3784476 w 3956050"/>
              <a:gd name="connsiteY1497" fmla="*/ 683303 h 1737071"/>
              <a:gd name="connsiteX1498" fmla="*/ 3788466 w 3956050"/>
              <a:gd name="connsiteY1498" fmla="*/ 679311 h 1737071"/>
              <a:gd name="connsiteX1499" fmla="*/ 3796447 w 3956050"/>
              <a:gd name="connsiteY1499" fmla="*/ 681307 h 1737071"/>
              <a:gd name="connsiteX1500" fmla="*/ 3802431 w 3956050"/>
              <a:gd name="connsiteY1500" fmla="*/ 687295 h 1737071"/>
              <a:gd name="connsiteX1501" fmla="*/ 3804427 w 3956050"/>
              <a:gd name="connsiteY1501" fmla="*/ 689290 h 1737071"/>
              <a:gd name="connsiteX1502" fmla="*/ 3808417 w 3956050"/>
              <a:gd name="connsiteY1502" fmla="*/ 695278 h 1737071"/>
              <a:gd name="connsiteX1503" fmla="*/ 3814402 w 3956050"/>
              <a:gd name="connsiteY1503" fmla="*/ 697273 h 1737071"/>
              <a:gd name="connsiteX1504" fmla="*/ 3814402 w 3956050"/>
              <a:gd name="connsiteY1504" fmla="*/ 703261 h 1737071"/>
              <a:gd name="connsiteX1505" fmla="*/ 3818392 w 3956050"/>
              <a:gd name="connsiteY1505" fmla="*/ 711244 h 1737071"/>
              <a:gd name="connsiteX1506" fmla="*/ 3828367 w 3956050"/>
              <a:gd name="connsiteY1506" fmla="*/ 723218 h 1737071"/>
              <a:gd name="connsiteX1507" fmla="*/ 3830362 w 3956050"/>
              <a:gd name="connsiteY1507" fmla="*/ 737189 h 1737071"/>
              <a:gd name="connsiteX1508" fmla="*/ 3828367 w 3956050"/>
              <a:gd name="connsiteY1508" fmla="*/ 741180 h 1737071"/>
              <a:gd name="connsiteX1509" fmla="*/ 3836347 w 3956050"/>
              <a:gd name="connsiteY1509" fmla="*/ 741180 h 1737071"/>
              <a:gd name="connsiteX1510" fmla="*/ 3844327 w 3956050"/>
              <a:gd name="connsiteY1510" fmla="*/ 751159 h 1737071"/>
              <a:gd name="connsiteX1511" fmla="*/ 3848317 w 3956050"/>
              <a:gd name="connsiteY1511" fmla="*/ 753155 h 1737071"/>
              <a:gd name="connsiteX1512" fmla="*/ 3846323 w 3956050"/>
              <a:gd name="connsiteY1512" fmla="*/ 741180 h 1737071"/>
              <a:gd name="connsiteX1513" fmla="*/ 3846323 w 3956050"/>
              <a:gd name="connsiteY1513" fmla="*/ 735193 h 1737071"/>
              <a:gd name="connsiteX1514" fmla="*/ 3846323 w 3956050"/>
              <a:gd name="connsiteY1514" fmla="*/ 727210 h 1737071"/>
              <a:gd name="connsiteX1515" fmla="*/ 3836347 w 3956050"/>
              <a:gd name="connsiteY1515" fmla="*/ 715235 h 1737071"/>
              <a:gd name="connsiteX1516" fmla="*/ 3842333 w 3956050"/>
              <a:gd name="connsiteY1516" fmla="*/ 715235 h 1737071"/>
              <a:gd name="connsiteX1517" fmla="*/ 3854303 w 3956050"/>
              <a:gd name="connsiteY1517" fmla="*/ 715235 h 1737071"/>
              <a:gd name="connsiteX1518" fmla="*/ 3866273 w 3956050"/>
              <a:gd name="connsiteY1518" fmla="*/ 721223 h 1737071"/>
              <a:gd name="connsiteX1519" fmla="*/ 3874253 w 3956050"/>
              <a:gd name="connsiteY1519" fmla="*/ 723218 h 1737071"/>
              <a:gd name="connsiteX1520" fmla="*/ 3882233 w 3956050"/>
              <a:gd name="connsiteY1520" fmla="*/ 725214 h 1737071"/>
              <a:gd name="connsiteX1521" fmla="*/ 3884229 w 3956050"/>
              <a:gd name="connsiteY1521" fmla="*/ 723218 h 1737071"/>
              <a:gd name="connsiteX1522" fmla="*/ 3880238 w 3956050"/>
              <a:gd name="connsiteY1522" fmla="*/ 721223 h 1737071"/>
              <a:gd name="connsiteX1523" fmla="*/ 3876248 w 3956050"/>
              <a:gd name="connsiteY1523" fmla="*/ 717231 h 1737071"/>
              <a:gd name="connsiteX1524" fmla="*/ 3882233 w 3956050"/>
              <a:gd name="connsiteY1524" fmla="*/ 717231 h 1737071"/>
              <a:gd name="connsiteX1525" fmla="*/ 3884229 w 3956050"/>
              <a:gd name="connsiteY1525" fmla="*/ 719227 h 1737071"/>
              <a:gd name="connsiteX1526" fmla="*/ 3888219 w 3956050"/>
              <a:gd name="connsiteY1526" fmla="*/ 719227 h 1737071"/>
              <a:gd name="connsiteX1527" fmla="*/ 3894203 w 3956050"/>
              <a:gd name="connsiteY1527" fmla="*/ 719227 h 1737071"/>
              <a:gd name="connsiteX1528" fmla="*/ 3902184 w 3956050"/>
              <a:gd name="connsiteY1528" fmla="*/ 725214 h 1737071"/>
              <a:gd name="connsiteX1529" fmla="*/ 3912159 w 3956050"/>
              <a:gd name="connsiteY1529" fmla="*/ 731202 h 1737071"/>
              <a:gd name="connsiteX1530" fmla="*/ 3922134 w 3956050"/>
              <a:gd name="connsiteY1530" fmla="*/ 737189 h 1737071"/>
              <a:gd name="connsiteX1531" fmla="*/ 3934105 w 3956050"/>
              <a:gd name="connsiteY1531" fmla="*/ 739185 h 1737071"/>
              <a:gd name="connsiteX1532" fmla="*/ 3936099 w 3956050"/>
              <a:gd name="connsiteY1532" fmla="*/ 743176 h 1737071"/>
              <a:gd name="connsiteX1533" fmla="*/ 3942085 w 3956050"/>
              <a:gd name="connsiteY1533" fmla="*/ 747168 h 1737071"/>
              <a:gd name="connsiteX1534" fmla="*/ 3948070 w 3956050"/>
              <a:gd name="connsiteY1534" fmla="*/ 749164 h 1737071"/>
              <a:gd name="connsiteX1535" fmla="*/ 3950065 w 3956050"/>
              <a:gd name="connsiteY1535" fmla="*/ 751159 h 1737071"/>
              <a:gd name="connsiteX1536" fmla="*/ 3954055 w 3956050"/>
              <a:gd name="connsiteY1536" fmla="*/ 753155 h 1737071"/>
              <a:gd name="connsiteX1537" fmla="*/ 3952060 w 3956050"/>
              <a:gd name="connsiteY1537" fmla="*/ 761138 h 1737071"/>
              <a:gd name="connsiteX1538" fmla="*/ 3954055 w 3956050"/>
              <a:gd name="connsiteY1538" fmla="*/ 769121 h 1737071"/>
              <a:gd name="connsiteX1539" fmla="*/ 3954055 w 3956050"/>
              <a:gd name="connsiteY1539" fmla="*/ 777104 h 1737071"/>
              <a:gd name="connsiteX1540" fmla="*/ 3956050 w 3956050"/>
              <a:gd name="connsiteY1540" fmla="*/ 777104 h 1737071"/>
              <a:gd name="connsiteX1541" fmla="*/ 3956050 w 3956050"/>
              <a:gd name="connsiteY1541" fmla="*/ 779100 h 1737071"/>
              <a:gd name="connsiteX1542" fmla="*/ 3956050 w 3956050"/>
              <a:gd name="connsiteY1542" fmla="*/ 781096 h 1737071"/>
              <a:gd name="connsiteX1543" fmla="*/ 3954055 w 3956050"/>
              <a:gd name="connsiteY1543" fmla="*/ 781096 h 1737071"/>
              <a:gd name="connsiteX1544" fmla="*/ 3946075 w 3956050"/>
              <a:gd name="connsiteY1544" fmla="*/ 781096 h 1737071"/>
              <a:gd name="connsiteX1545" fmla="*/ 3940090 w 3956050"/>
              <a:gd name="connsiteY1545" fmla="*/ 785088 h 1737071"/>
              <a:gd name="connsiteX1546" fmla="*/ 3936099 w 3956050"/>
              <a:gd name="connsiteY1546" fmla="*/ 787083 h 1737071"/>
              <a:gd name="connsiteX1547" fmla="*/ 3930115 w 3956050"/>
              <a:gd name="connsiteY1547" fmla="*/ 785088 h 1737071"/>
              <a:gd name="connsiteX1548" fmla="*/ 3924129 w 3956050"/>
              <a:gd name="connsiteY1548" fmla="*/ 789079 h 1737071"/>
              <a:gd name="connsiteX1549" fmla="*/ 3918144 w 3956050"/>
              <a:gd name="connsiteY1549" fmla="*/ 785088 h 1737071"/>
              <a:gd name="connsiteX1550" fmla="*/ 3912159 w 3956050"/>
              <a:gd name="connsiteY1550" fmla="*/ 781096 h 1737071"/>
              <a:gd name="connsiteX1551" fmla="*/ 3910164 w 3956050"/>
              <a:gd name="connsiteY1551" fmla="*/ 777104 h 1737071"/>
              <a:gd name="connsiteX1552" fmla="*/ 3906174 w 3956050"/>
              <a:gd name="connsiteY1552" fmla="*/ 775109 h 1737071"/>
              <a:gd name="connsiteX1553" fmla="*/ 3904179 w 3956050"/>
              <a:gd name="connsiteY1553" fmla="*/ 779100 h 1737071"/>
              <a:gd name="connsiteX1554" fmla="*/ 3906174 w 3956050"/>
              <a:gd name="connsiteY1554" fmla="*/ 781096 h 1737071"/>
              <a:gd name="connsiteX1555" fmla="*/ 3908169 w 3956050"/>
              <a:gd name="connsiteY1555" fmla="*/ 783092 h 1737071"/>
              <a:gd name="connsiteX1556" fmla="*/ 3910164 w 3956050"/>
              <a:gd name="connsiteY1556" fmla="*/ 787083 h 1737071"/>
              <a:gd name="connsiteX1557" fmla="*/ 3914154 w 3956050"/>
              <a:gd name="connsiteY1557" fmla="*/ 789079 h 1737071"/>
              <a:gd name="connsiteX1558" fmla="*/ 3916149 w 3956050"/>
              <a:gd name="connsiteY1558" fmla="*/ 797062 h 1737071"/>
              <a:gd name="connsiteX1559" fmla="*/ 3920139 w 3956050"/>
              <a:gd name="connsiteY1559" fmla="*/ 799058 h 1737071"/>
              <a:gd name="connsiteX1560" fmla="*/ 3922134 w 3956050"/>
              <a:gd name="connsiteY1560" fmla="*/ 803049 h 1737071"/>
              <a:gd name="connsiteX1561" fmla="*/ 3916149 w 3956050"/>
              <a:gd name="connsiteY1561" fmla="*/ 811033 h 1737071"/>
              <a:gd name="connsiteX1562" fmla="*/ 3914154 w 3956050"/>
              <a:gd name="connsiteY1562" fmla="*/ 819016 h 1737071"/>
              <a:gd name="connsiteX1563" fmla="*/ 3916149 w 3956050"/>
              <a:gd name="connsiteY1563" fmla="*/ 823007 h 1737071"/>
              <a:gd name="connsiteX1564" fmla="*/ 3926124 w 3956050"/>
              <a:gd name="connsiteY1564" fmla="*/ 825003 h 1737071"/>
              <a:gd name="connsiteX1565" fmla="*/ 3934105 w 3956050"/>
              <a:gd name="connsiteY1565" fmla="*/ 830990 h 1737071"/>
              <a:gd name="connsiteX1566" fmla="*/ 3924129 w 3956050"/>
              <a:gd name="connsiteY1566" fmla="*/ 834982 h 1737071"/>
              <a:gd name="connsiteX1567" fmla="*/ 3918144 w 3956050"/>
              <a:gd name="connsiteY1567" fmla="*/ 840969 h 1737071"/>
              <a:gd name="connsiteX1568" fmla="*/ 3906174 w 3956050"/>
              <a:gd name="connsiteY1568" fmla="*/ 840969 h 1737071"/>
              <a:gd name="connsiteX1569" fmla="*/ 3908169 w 3956050"/>
              <a:gd name="connsiteY1569" fmla="*/ 834982 h 1737071"/>
              <a:gd name="connsiteX1570" fmla="*/ 3904179 w 3956050"/>
              <a:gd name="connsiteY1570" fmla="*/ 830990 h 1737071"/>
              <a:gd name="connsiteX1571" fmla="*/ 3902184 w 3956050"/>
              <a:gd name="connsiteY1571" fmla="*/ 836978 h 1737071"/>
              <a:gd name="connsiteX1572" fmla="*/ 3894203 w 3956050"/>
              <a:gd name="connsiteY1572" fmla="*/ 838973 h 1737071"/>
              <a:gd name="connsiteX1573" fmla="*/ 3894203 w 3956050"/>
              <a:gd name="connsiteY1573" fmla="*/ 832986 h 1737071"/>
              <a:gd name="connsiteX1574" fmla="*/ 3890213 w 3956050"/>
              <a:gd name="connsiteY1574" fmla="*/ 830990 h 1737071"/>
              <a:gd name="connsiteX1575" fmla="*/ 3886223 w 3956050"/>
              <a:gd name="connsiteY1575" fmla="*/ 826999 h 1737071"/>
              <a:gd name="connsiteX1576" fmla="*/ 3882233 w 3956050"/>
              <a:gd name="connsiteY1576" fmla="*/ 823007 h 1737071"/>
              <a:gd name="connsiteX1577" fmla="*/ 3878243 w 3956050"/>
              <a:gd name="connsiteY1577" fmla="*/ 821011 h 1737071"/>
              <a:gd name="connsiteX1578" fmla="*/ 3874253 w 3956050"/>
              <a:gd name="connsiteY1578" fmla="*/ 821011 h 1737071"/>
              <a:gd name="connsiteX1579" fmla="*/ 3870263 w 3956050"/>
              <a:gd name="connsiteY1579" fmla="*/ 821011 h 1737071"/>
              <a:gd name="connsiteX1580" fmla="*/ 3866273 w 3956050"/>
              <a:gd name="connsiteY1580" fmla="*/ 819016 h 1737071"/>
              <a:gd name="connsiteX1581" fmla="*/ 3864278 w 3956050"/>
              <a:gd name="connsiteY1581" fmla="*/ 815024 h 1737071"/>
              <a:gd name="connsiteX1582" fmla="*/ 3866273 w 3956050"/>
              <a:gd name="connsiteY1582" fmla="*/ 809037 h 1737071"/>
              <a:gd name="connsiteX1583" fmla="*/ 3864278 w 3956050"/>
              <a:gd name="connsiteY1583" fmla="*/ 809037 h 1737071"/>
              <a:gd name="connsiteX1584" fmla="*/ 3860288 w 3956050"/>
              <a:gd name="connsiteY1584" fmla="*/ 813028 h 1737071"/>
              <a:gd name="connsiteX1585" fmla="*/ 3858293 w 3956050"/>
              <a:gd name="connsiteY1585" fmla="*/ 815024 h 1737071"/>
              <a:gd name="connsiteX1586" fmla="*/ 3854303 w 3956050"/>
              <a:gd name="connsiteY1586" fmla="*/ 819016 h 1737071"/>
              <a:gd name="connsiteX1587" fmla="*/ 3848317 w 3956050"/>
              <a:gd name="connsiteY1587" fmla="*/ 815024 h 1737071"/>
              <a:gd name="connsiteX1588" fmla="*/ 3844327 w 3956050"/>
              <a:gd name="connsiteY1588" fmla="*/ 811033 h 1737071"/>
              <a:gd name="connsiteX1589" fmla="*/ 3838342 w 3956050"/>
              <a:gd name="connsiteY1589" fmla="*/ 807041 h 1737071"/>
              <a:gd name="connsiteX1590" fmla="*/ 3836347 w 3956050"/>
              <a:gd name="connsiteY1590" fmla="*/ 801054 h 1737071"/>
              <a:gd name="connsiteX1591" fmla="*/ 3834352 w 3956050"/>
              <a:gd name="connsiteY1591" fmla="*/ 799058 h 1737071"/>
              <a:gd name="connsiteX1592" fmla="*/ 3832357 w 3956050"/>
              <a:gd name="connsiteY1592" fmla="*/ 793071 h 1737071"/>
              <a:gd name="connsiteX1593" fmla="*/ 3826372 w 3956050"/>
              <a:gd name="connsiteY1593" fmla="*/ 791075 h 1737071"/>
              <a:gd name="connsiteX1594" fmla="*/ 3826372 w 3956050"/>
              <a:gd name="connsiteY1594" fmla="*/ 787083 h 1737071"/>
              <a:gd name="connsiteX1595" fmla="*/ 3824377 w 3956050"/>
              <a:gd name="connsiteY1595" fmla="*/ 785088 h 1737071"/>
              <a:gd name="connsiteX1596" fmla="*/ 3820387 w 3956050"/>
              <a:gd name="connsiteY1596" fmla="*/ 785088 h 1737071"/>
              <a:gd name="connsiteX1597" fmla="*/ 3814402 w 3956050"/>
              <a:gd name="connsiteY1597" fmla="*/ 785088 h 1737071"/>
              <a:gd name="connsiteX1598" fmla="*/ 3810412 w 3956050"/>
              <a:gd name="connsiteY1598" fmla="*/ 785088 h 1737071"/>
              <a:gd name="connsiteX1599" fmla="*/ 3802431 w 3956050"/>
              <a:gd name="connsiteY1599" fmla="*/ 785088 h 1737071"/>
              <a:gd name="connsiteX1600" fmla="*/ 3804427 w 3956050"/>
              <a:gd name="connsiteY1600" fmla="*/ 779100 h 1737071"/>
              <a:gd name="connsiteX1601" fmla="*/ 3802431 w 3956050"/>
              <a:gd name="connsiteY1601" fmla="*/ 779100 h 1737071"/>
              <a:gd name="connsiteX1602" fmla="*/ 3798441 w 3956050"/>
              <a:gd name="connsiteY1602" fmla="*/ 781096 h 1737071"/>
              <a:gd name="connsiteX1603" fmla="*/ 3798441 w 3956050"/>
              <a:gd name="connsiteY1603" fmla="*/ 785088 h 1737071"/>
              <a:gd name="connsiteX1604" fmla="*/ 3794451 w 3956050"/>
              <a:gd name="connsiteY1604" fmla="*/ 787083 h 1737071"/>
              <a:gd name="connsiteX1605" fmla="*/ 3788466 w 3956050"/>
              <a:gd name="connsiteY1605" fmla="*/ 787083 h 1737071"/>
              <a:gd name="connsiteX1606" fmla="*/ 3782481 w 3956050"/>
              <a:gd name="connsiteY1606" fmla="*/ 789079 h 1737071"/>
              <a:gd name="connsiteX1607" fmla="*/ 3776496 w 3956050"/>
              <a:gd name="connsiteY1607" fmla="*/ 791075 h 1737071"/>
              <a:gd name="connsiteX1608" fmla="*/ 3770511 w 3956050"/>
              <a:gd name="connsiteY1608" fmla="*/ 791075 h 1737071"/>
              <a:gd name="connsiteX1609" fmla="*/ 3764526 w 3956050"/>
              <a:gd name="connsiteY1609" fmla="*/ 789079 h 1737071"/>
              <a:gd name="connsiteX1610" fmla="*/ 3764526 w 3956050"/>
              <a:gd name="connsiteY1610" fmla="*/ 785088 h 1737071"/>
              <a:gd name="connsiteX1611" fmla="*/ 3764526 w 3956050"/>
              <a:gd name="connsiteY1611" fmla="*/ 781096 h 1737071"/>
              <a:gd name="connsiteX1612" fmla="*/ 3764526 w 3956050"/>
              <a:gd name="connsiteY1612" fmla="*/ 777104 h 1737071"/>
              <a:gd name="connsiteX1613" fmla="*/ 3764526 w 3956050"/>
              <a:gd name="connsiteY1613" fmla="*/ 771117 h 1737071"/>
              <a:gd name="connsiteX1614" fmla="*/ 3758541 w 3956050"/>
              <a:gd name="connsiteY1614" fmla="*/ 773113 h 1737071"/>
              <a:gd name="connsiteX1615" fmla="*/ 3754551 w 3956050"/>
              <a:gd name="connsiteY1615" fmla="*/ 771117 h 1737071"/>
              <a:gd name="connsiteX1616" fmla="*/ 3752555 w 3956050"/>
              <a:gd name="connsiteY1616" fmla="*/ 767126 h 1737071"/>
              <a:gd name="connsiteX1617" fmla="*/ 3748565 w 3956050"/>
              <a:gd name="connsiteY1617" fmla="*/ 765130 h 1737071"/>
              <a:gd name="connsiteX1618" fmla="*/ 3750561 w 3956050"/>
              <a:gd name="connsiteY1618" fmla="*/ 761138 h 1737071"/>
              <a:gd name="connsiteX1619" fmla="*/ 3750561 w 3956050"/>
              <a:gd name="connsiteY1619" fmla="*/ 755151 h 1737071"/>
              <a:gd name="connsiteX1620" fmla="*/ 3750561 w 3956050"/>
              <a:gd name="connsiteY1620" fmla="*/ 751159 h 1737071"/>
              <a:gd name="connsiteX1621" fmla="*/ 3752555 w 3956050"/>
              <a:gd name="connsiteY1621" fmla="*/ 747168 h 1737071"/>
              <a:gd name="connsiteX1622" fmla="*/ 3750561 w 3956050"/>
              <a:gd name="connsiteY1622" fmla="*/ 743176 h 1737071"/>
              <a:gd name="connsiteX1623" fmla="*/ 3746570 w 3956050"/>
              <a:gd name="connsiteY1623" fmla="*/ 739185 h 1737071"/>
              <a:gd name="connsiteX1624" fmla="*/ 3746570 w 3956050"/>
              <a:gd name="connsiteY1624" fmla="*/ 745172 h 1737071"/>
              <a:gd name="connsiteX1625" fmla="*/ 3738590 w 3956050"/>
              <a:gd name="connsiteY1625" fmla="*/ 753155 h 1737071"/>
              <a:gd name="connsiteX1626" fmla="*/ 3736595 w 3956050"/>
              <a:gd name="connsiteY1626" fmla="*/ 745172 h 1737071"/>
              <a:gd name="connsiteX1627" fmla="*/ 3732605 w 3956050"/>
              <a:gd name="connsiteY1627" fmla="*/ 745172 h 1737071"/>
              <a:gd name="connsiteX1628" fmla="*/ 3730610 w 3956050"/>
              <a:gd name="connsiteY1628" fmla="*/ 753155 h 1737071"/>
              <a:gd name="connsiteX1629" fmla="*/ 3730610 w 3956050"/>
              <a:gd name="connsiteY1629" fmla="*/ 757147 h 1737071"/>
              <a:gd name="connsiteX1630" fmla="*/ 3724625 w 3956050"/>
              <a:gd name="connsiteY1630" fmla="*/ 759142 h 1737071"/>
              <a:gd name="connsiteX1631" fmla="*/ 3728615 w 3956050"/>
              <a:gd name="connsiteY1631" fmla="*/ 769121 h 1737071"/>
              <a:gd name="connsiteX1632" fmla="*/ 3732605 w 3956050"/>
              <a:gd name="connsiteY1632" fmla="*/ 775109 h 1737071"/>
              <a:gd name="connsiteX1633" fmla="*/ 3736595 w 3956050"/>
              <a:gd name="connsiteY1633" fmla="*/ 777104 h 1737071"/>
              <a:gd name="connsiteX1634" fmla="*/ 3738590 w 3956050"/>
              <a:gd name="connsiteY1634" fmla="*/ 783092 h 1737071"/>
              <a:gd name="connsiteX1635" fmla="*/ 3738590 w 3956050"/>
              <a:gd name="connsiteY1635" fmla="*/ 787083 h 1737071"/>
              <a:gd name="connsiteX1636" fmla="*/ 3740585 w 3956050"/>
              <a:gd name="connsiteY1636" fmla="*/ 795066 h 1737071"/>
              <a:gd name="connsiteX1637" fmla="*/ 3738590 w 3956050"/>
              <a:gd name="connsiteY1637" fmla="*/ 807041 h 1737071"/>
              <a:gd name="connsiteX1638" fmla="*/ 3734600 w 3956050"/>
              <a:gd name="connsiteY1638" fmla="*/ 807041 h 1737071"/>
              <a:gd name="connsiteX1639" fmla="*/ 3732605 w 3956050"/>
              <a:gd name="connsiteY1639" fmla="*/ 811033 h 1737071"/>
              <a:gd name="connsiteX1640" fmla="*/ 3730610 w 3956050"/>
              <a:gd name="connsiteY1640" fmla="*/ 815024 h 1737071"/>
              <a:gd name="connsiteX1641" fmla="*/ 3728615 w 3956050"/>
              <a:gd name="connsiteY1641" fmla="*/ 819016 h 1737071"/>
              <a:gd name="connsiteX1642" fmla="*/ 3726620 w 3956050"/>
              <a:gd name="connsiteY1642" fmla="*/ 821011 h 1737071"/>
              <a:gd name="connsiteX1643" fmla="*/ 3720635 w 3956050"/>
              <a:gd name="connsiteY1643" fmla="*/ 825003 h 1737071"/>
              <a:gd name="connsiteX1644" fmla="*/ 3716645 w 3956050"/>
              <a:gd name="connsiteY1644" fmla="*/ 828995 h 1737071"/>
              <a:gd name="connsiteX1645" fmla="*/ 3714649 w 3956050"/>
              <a:gd name="connsiteY1645" fmla="*/ 826999 h 1737071"/>
              <a:gd name="connsiteX1646" fmla="*/ 3718640 w 3956050"/>
              <a:gd name="connsiteY1646" fmla="*/ 823007 h 1737071"/>
              <a:gd name="connsiteX1647" fmla="*/ 3716645 w 3956050"/>
              <a:gd name="connsiteY1647" fmla="*/ 819016 h 1737071"/>
              <a:gd name="connsiteX1648" fmla="*/ 3712655 w 3956050"/>
              <a:gd name="connsiteY1648" fmla="*/ 823007 h 1737071"/>
              <a:gd name="connsiteX1649" fmla="*/ 3708665 w 3956050"/>
              <a:gd name="connsiteY1649" fmla="*/ 825003 h 1737071"/>
              <a:gd name="connsiteX1650" fmla="*/ 3704674 w 3956050"/>
              <a:gd name="connsiteY1650" fmla="*/ 825003 h 1737071"/>
              <a:gd name="connsiteX1651" fmla="*/ 3700684 w 3956050"/>
              <a:gd name="connsiteY1651" fmla="*/ 825003 h 1737071"/>
              <a:gd name="connsiteX1652" fmla="*/ 3696694 w 3956050"/>
              <a:gd name="connsiteY1652" fmla="*/ 825003 h 1737071"/>
              <a:gd name="connsiteX1653" fmla="*/ 3692704 w 3956050"/>
              <a:gd name="connsiteY1653" fmla="*/ 826999 h 1737071"/>
              <a:gd name="connsiteX1654" fmla="*/ 3690709 w 3956050"/>
              <a:gd name="connsiteY1654" fmla="*/ 825003 h 1737071"/>
              <a:gd name="connsiteX1655" fmla="*/ 3688714 w 3956050"/>
              <a:gd name="connsiteY1655" fmla="*/ 823007 h 1737071"/>
              <a:gd name="connsiteX1656" fmla="*/ 3686719 w 3956050"/>
              <a:gd name="connsiteY1656" fmla="*/ 819016 h 1737071"/>
              <a:gd name="connsiteX1657" fmla="*/ 3684724 w 3956050"/>
              <a:gd name="connsiteY1657" fmla="*/ 817020 h 1737071"/>
              <a:gd name="connsiteX1658" fmla="*/ 3682729 w 3956050"/>
              <a:gd name="connsiteY1658" fmla="*/ 813028 h 1737071"/>
              <a:gd name="connsiteX1659" fmla="*/ 3680734 w 3956050"/>
              <a:gd name="connsiteY1659" fmla="*/ 811033 h 1737071"/>
              <a:gd name="connsiteX1660" fmla="*/ 3674749 w 3956050"/>
              <a:gd name="connsiteY1660" fmla="*/ 811033 h 1737071"/>
              <a:gd name="connsiteX1661" fmla="*/ 3672754 w 3956050"/>
              <a:gd name="connsiteY1661" fmla="*/ 809037 h 1737071"/>
              <a:gd name="connsiteX1662" fmla="*/ 3672754 w 3956050"/>
              <a:gd name="connsiteY1662" fmla="*/ 813028 h 1737071"/>
              <a:gd name="connsiteX1663" fmla="*/ 3674749 w 3956050"/>
              <a:gd name="connsiteY1663" fmla="*/ 815024 h 1737071"/>
              <a:gd name="connsiteX1664" fmla="*/ 3672754 w 3956050"/>
              <a:gd name="connsiteY1664" fmla="*/ 819016 h 1737071"/>
              <a:gd name="connsiteX1665" fmla="*/ 3670759 w 3956050"/>
              <a:gd name="connsiteY1665" fmla="*/ 819016 h 1737071"/>
              <a:gd name="connsiteX1666" fmla="*/ 3664773 w 3956050"/>
              <a:gd name="connsiteY1666" fmla="*/ 819016 h 1737071"/>
              <a:gd name="connsiteX1667" fmla="*/ 3660783 w 3956050"/>
              <a:gd name="connsiteY1667" fmla="*/ 817020 h 1737071"/>
              <a:gd name="connsiteX1668" fmla="*/ 3658788 w 3956050"/>
              <a:gd name="connsiteY1668" fmla="*/ 823007 h 1737071"/>
              <a:gd name="connsiteX1669" fmla="*/ 3664773 w 3956050"/>
              <a:gd name="connsiteY1669" fmla="*/ 825003 h 1737071"/>
              <a:gd name="connsiteX1670" fmla="*/ 3668763 w 3956050"/>
              <a:gd name="connsiteY1670" fmla="*/ 826999 h 1737071"/>
              <a:gd name="connsiteX1671" fmla="*/ 3674749 w 3956050"/>
              <a:gd name="connsiteY1671" fmla="*/ 825003 h 1737071"/>
              <a:gd name="connsiteX1672" fmla="*/ 3678739 w 3956050"/>
              <a:gd name="connsiteY1672" fmla="*/ 819016 h 1737071"/>
              <a:gd name="connsiteX1673" fmla="*/ 3682729 w 3956050"/>
              <a:gd name="connsiteY1673" fmla="*/ 823007 h 1737071"/>
              <a:gd name="connsiteX1674" fmla="*/ 3682729 w 3956050"/>
              <a:gd name="connsiteY1674" fmla="*/ 826999 h 1737071"/>
              <a:gd name="connsiteX1675" fmla="*/ 3684724 w 3956050"/>
              <a:gd name="connsiteY1675" fmla="*/ 832986 h 1737071"/>
              <a:gd name="connsiteX1676" fmla="*/ 3692704 w 3956050"/>
              <a:gd name="connsiteY1676" fmla="*/ 836978 h 1737071"/>
              <a:gd name="connsiteX1677" fmla="*/ 3698689 w 3956050"/>
              <a:gd name="connsiteY1677" fmla="*/ 840969 h 1737071"/>
              <a:gd name="connsiteX1678" fmla="*/ 3702679 w 3956050"/>
              <a:gd name="connsiteY1678" fmla="*/ 842965 h 1737071"/>
              <a:gd name="connsiteX1679" fmla="*/ 3708665 w 3956050"/>
              <a:gd name="connsiteY1679" fmla="*/ 840969 h 1737071"/>
              <a:gd name="connsiteX1680" fmla="*/ 3710659 w 3956050"/>
              <a:gd name="connsiteY1680" fmla="*/ 836978 h 1737071"/>
              <a:gd name="connsiteX1681" fmla="*/ 3712655 w 3956050"/>
              <a:gd name="connsiteY1681" fmla="*/ 834982 h 1737071"/>
              <a:gd name="connsiteX1682" fmla="*/ 3716645 w 3956050"/>
              <a:gd name="connsiteY1682" fmla="*/ 836978 h 1737071"/>
              <a:gd name="connsiteX1683" fmla="*/ 3720635 w 3956050"/>
              <a:gd name="connsiteY1683" fmla="*/ 842965 h 1737071"/>
              <a:gd name="connsiteX1684" fmla="*/ 3722630 w 3956050"/>
              <a:gd name="connsiteY1684" fmla="*/ 848952 h 1737071"/>
              <a:gd name="connsiteX1685" fmla="*/ 3716645 w 3956050"/>
              <a:gd name="connsiteY1685" fmla="*/ 846956 h 1737071"/>
              <a:gd name="connsiteX1686" fmla="*/ 3714649 w 3956050"/>
              <a:gd name="connsiteY1686" fmla="*/ 848952 h 1737071"/>
              <a:gd name="connsiteX1687" fmla="*/ 3720635 w 3956050"/>
              <a:gd name="connsiteY1687" fmla="*/ 852944 h 1737071"/>
              <a:gd name="connsiteX1688" fmla="*/ 3722630 w 3956050"/>
              <a:gd name="connsiteY1688" fmla="*/ 854940 h 1737071"/>
              <a:gd name="connsiteX1689" fmla="*/ 3726620 w 3956050"/>
              <a:gd name="connsiteY1689" fmla="*/ 854940 h 1737071"/>
              <a:gd name="connsiteX1690" fmla="*/ 3732605 w 3956050"/>
              <a:gd name="connsiteY1690" fmla="*/ 856935 h 1737071"/>
              <a:gd name="connsiteX1691" fmla="*/ 3728615 w 3956050"/>
              <a:gd name="connsiteY1691" fmla="*/ 860927 h 1737071"/>
              <a:gd name="connsiteX1692" fmla="*/ 3732605 w 3956050"/>
              <a:gd name="connsiteY1692" fmla="*/ 864918 h 1737071"/>
              <a:gd name="connsiteX1693" fmla="*/ 3738590 w 3956050"/>
              <a:gd name="connsiteY1693" fmla="*/ 862923 h 1737071"/>
              <a:gd name="connsiteX1694" fmla="*/ 3744575 w 3956050"/>
              <a:gd name="connsiteY1694" fmla="*/ 870906 h 1737071"/>
              <a:gd name="connsiteX1695" fmla="*/ 3748565 w 3956050"/>
              <a:gd name="connsiteY1695" fmla="*/ 874897 h 1737071"/>
              <a:gd name="connsiteX1696" fmla="*/ 3754551 w 3956050"/>
              <a:gd name="connsiteY1696" fmla="*/ 878889 h 1737071"/>
              <a:gd name="connsiteX1697" fmla="*/ 3760535 w 3956050"/>
              <a:gd name="connsiteY1697" fmla="*/ 882880 h 1737071"/>
              <a:gd name="connsiteX1698" fmla="*/ 3764526 w 3956050"/>
              <a:gd name="connsiteY1698" fmla="*/ 884876 h 1737071"/>
              <a:gd name="connsiteX1699" fmla="*/ 3764526 w 3956050"/>
              <a:gd name="connsiteY1699" fmla="*/ 888868 h 1737071"/>
              <a:gd name="connsiteX1700" fmla="*/ 3758541 w 3956050"/>
              <a:gd name="connsiteY1700" fmla="*/ 892859 h 1737071"/>
              <a:gd name="connsiteX1701" fmla="*/ 3762531 w 3956050"/>
              <a:gd name="connsiteY1701" fmla="*/ 894855 h 1737071"/>
              <a:gd name="connsiteX1702" fmla="*/ 3766521 w 3956050"/>
              <a:gd name="connsiteY1702" fmla="*/ 898847 h 1737071"/>
              <a:gd name="connsiteX1703" fmla="*/ 3768516 w 3956050"/>
              <a:gd name="connsiteY1703" fmla="*/ 902838 h 1737071"/>
              <a:gd name="connsiteX1704" fmla="*/ 3772506 w 3956050"/>
              <a:gd name="connsiteY1704" fmla="*/ 904834 h 1737071"/>
              <a:gd name="connsiteX1705" fmla="*/ 3772506 w 3956050"/>
              <a:gd name="connsiteY1705" fmla="*/ 906830 h 1737071"/>
              <a:gd name="connsiteX1706" fmla="*/ 3774501 w 3956050"/>
              <a:gd name="connsiteY1706" fmla="*/ 908825 h 1737071"/>
              <a:gd name="connsiteX1707" fmla="*/ 3772506 w 3956050"/>
              <a:gd name="connsiteY1707" fmla="*/ 912817 h 1737071"/>
              <a:gd name="connsiteX1708" fmla="*/ 3770511 w 3956050"/>
              <a:gd name="connsiteY1708" fmla="*/ 916809 h 1737071"/>
              <a:gd name="connsiteX1709" fmla="*/ 3768516 w 3956050"/>
              <a:gd name="connsiteY1709" fmla="*/ 920800 h 1737071"/>
              <a:gd name="connsiteX1710" fmla="*/ 3766521 w 3956050"/>
              <a:gd name="connsiteY1710" fmla="*/ 922796 h 1737071"/>
              <a:gd name="connsiteX1711" fmla="*/ 3768516 w 3956050"/>
              <a:gd name="connsiteY1711" fmla="*/ 924792 h 1737071"/>
              <a:gd name="connsiteX1712" fmla="*/ 3770511 w 3956050"/>
              <a:gd name="connsiteY1712" fmla="*/ 930779 h 1737071"/>
              <a:gd name="connsiteX1713" fmla="*/ 3764526 w 3956050"/>
              <a:gd name="connsiteY1713" fmla="*/ 930779 h 1737071"/>
              <a:gd name="connsiteX1714" fmla="*/ 3760535 w 3956050"/>
              <a:gd name="connsiteY1714" fmla="*/ 924792 h 1737071"/>
              <a:gd name="connsiteX1715" fmla="*/ 3750561 w 3956050"/>
              <a:gd name="connsiteY1715" fmla="*/ 920800 h 1737071"/>
              <a:gd name="connsiteX1716" fmla="*/ 3746570 w 3956050"/>
              <a:gd name="connsiteY1716" fmla="*/ 916809 h 1737071"/>
              <a:gd name="connsiteX1717" fmla="*/ 3732605 w 3956050"/>
              <a:gd name="connsiteY1717" fmla="*/ 914813 h 1737071"/>
              <a:gd name="connsiteX1718" fmla="*/ 3718640 w 3956050"/>
              <a:gd name="connsiteY1718" fmla="*/ 918804 h 1737071"/>
              <a:gd name="connsiteX1719" fmla="*/ 3708665 w 3956050"/>
              <a:gd name="connsiteY1719" fmla="*/ 918804 h 1737071"/>
              <a:gd name="connsiteX1720" fmla="*/ 3704674 w 3956050"/>
              <a:gd name="connsiteY1720" fmla="*/ 918804 h 1737071"/>
              <a:gd name="connsiteX1721" fmla="*/ 3702679 w 3956050"/>
              <a:gd name="connsiteY1721" fmla="*/ 926787 h 1737071"/>
              <a:gd name="connsiteX1722" fmla="*/ 3698689 w 3956050"/>
              <a:gd name="connsiteY1722" fmla="*/ 930779 h 1737071"/>
              <a:gd name="connsiteX1723" fmla="*/ 3694699 w 3956050"/>
              <a:gd name="connsiteY1723" fmla="*/ 930779 h 1737071"/>
              <a:gd name="connsiteX1724" fmla="*/ 3688714 w 3956050"/>
              <a:gd name="connsiteY1724" fmla="*/ 930779 h 1737071"/>
              <a:gd name="connsiteX1725" fmla="*/ 3682729 w 3956050"/>
              <a:gd name="connsiteY1725" fmla="*/ 932775 h 1737071"/>
              <a:gd name="connsiteX1726" fmla="*/ 3678739 w 3956050"/>
              <a:gd name="connsiteY1726" fmla="*/ 928783 h 1737071"/>
              <a:gd name="connsiteX1727" fmla="*/ 3676744 w 3956050"/>
              <a:gd name="connsiteY1727" fmla="*/ 926787 h 1737071"/>
              <a:gd name="connsiteX1728" fmla="*/ 3672754 w 3956050"/>
              <a:gd name="connsiteY1728" fmla="*/ 938762 h 1737071"/>
              <a:gd name="connsiteX1729" fmla="*/ 3666769 w 3956050"/>
              <a:gd name="connsiteY1729" fmla="*/ 940758 h 1737071"/>
              <a:gd name="connsiteX1730" fmla="*/ 3662779 w 3956050"/>
              <a:gd name="connsiteY1730" fmla="*/ 942754 h 1737071"/>
              <a:gd name="connsiteX1731" fmla="*/ 3656793 w 3956050"/>
              <a:gd name="connsiteY1731" fmla="*/ 942754 h 1737071"/>
              <a:gd name="connsiteX1732" fmla="*/ 3654798 w 3956050"/>
              <a:gd name="connsiteY1732" fmla="*/ 946745 h 1737071"/>
              <a:gd name="connsiteX1733" fmla="*/ 3650808 w 3956050"/>
              <a:gd name="connsiteY1733" fmla="*/ 946745 h 1737071"/>
              <a:gd name="connsiteX1734" fmla="*/ 3646818 w 3956050"/>
              <a:gd name="connsiteY1734" fmla="*/ 940758 h 1737071"/>
              <a:gd name="connsiteX1735" fmla="*/ 3642828 w 3956050"/>
              <a:gd name="connsiteY1735" fmla="*/ 942754 h 1737071"/>
              <a:gd name="connsiteX1736" fmla="*/ 3640833 w 3956050"/>
              <a:gd name="connsiteY1736" fmla="*/ 950737 h 1737071"/>
              <a:gd name="connsiteX1737" fmla="*/ 3640833 w 3956050"/>
              <a:gd name="connsiteY1737" fmla="*/ 956724 h 1737071"/>
              <a:gd name="connsiteX1738" fmla="*/ 3636843 w 3956050"/>
              <a:gd name="connsiteY1738" fmla="*/ 954728 h 1737071"/>
              <a:gd name="connsiteX1739" fmla="*/ 3632853 w 3956050"/>
              <a:gd name="connsiteY1739" fmla="*/ 954728 h 1737071"/>
              <a:gd name="connsiteX1740" fmla="*/ 3628863 w 3956050"/>
              <a:gd name="connsiteY1740" fmla="*/ 960716 h 1737071"/>
              <a:gd name="connsiteX1741" fmla="*/ 3634848 w 3956050"/>
              <a:gd name="connsiteY1741" fmla="*/ 960716 h 1737071"/>
              <a:gd name="connsiteX1742" fmla="*/ 3636843 w 3956050"/>
              <a:gd name="connsiteY1742" fmla="*/ 964707 h 1737071"/>
              <a:gd name="connsiteX1743" fmla="*/ 3632853 w 3956050"/>
              <a:gd name="connsiteY1743" fmla="*/ 966703 h 1737071"/>
              <a:gd name="connsiteX1744" fmla="*/ 3628863 w 3956050"/>
              <a:gd name="connsiteY1744" fmla="*/ 966703 h 1737071"/>
              <a:gd name="connsiteX1745" fmla="*/ 3632853 w 3956050"/>
              <a:gd name="connsiteY1745" fmla="*/ 972690 h 1737071"/>
              <a:gd name="connsiteX1746" fmla="*/ 3626867 w 3956050"/>
              <a:gd name="connsiteY1746" fmla="*/ 972690 h 1737071"/>
              <a:gd name="connsiteX1747" fmla="*/ 3624873 w 3956050"/>
              <a:gd name="connsiteY1747" fmla="*/ 978677 h 1737071"/>
              <a:gd name="connsiteX1748" fmla="*/ 3620883 w 3956050"/>
              <a:gd name="connsiteY1748" fmla="*/ 982669 h 1737071"/>
              <a:gd name="connsiteX1749" fmla="*/ 3618887 w 3956050"/>
              <a:gd name="connsiteY1749" fmla="*/ 986661 h 1737071"/>
              <a:gd name="connsiteX1750" fmla="*/ 3612902 w 3956050"/>
              <a:gd name="connsiteY1750" fmla="*/ 990652 h 1737071"/>
              <a:gd name="connsiteX1751" fmla="*/ 3608912 w 3956050"/>
              <a:gd name="connsiteY1751" fmla="*/ 992648 h 1737071"/>
              <a:gd name="connsiteX1752" fmla="*/ 3604922 w 3956050"/>
              <a:gd name="connsiteY1752" fmla="*/ 992648 h 1737071"/>
              <a:gd name="connsiteX1753" fmla="*/ 3600932 w 3956050"/>
              <a:gd name="connsiteY1753" fmla="*/ 996639 h 1737071"/>
              <a:gd name="connsiteX1754" fmla="*/ 3598937 w 3956050"/>
              <a:gd name="connsiteY1754" fmla="*/ 998635 h 1737071"/>
              <a:gd name="connsiteX1755" fmla="*/ 3598937 w 3956050"/>
              <a:gd name="connsiteY1755" fmla="*/ 1002627 h 1737071"/>
              <a:gd name="connsiteX1756" fmla="*/ 3594947 w 3956050"/>
              <a:gd name="connsiteY1756" fmla="*/ 1006618 h 1737071"/>
              <a:gd name="connsiteX1757" fmla="*/ 3594947 w 3956050"/>
              <a:gd name="connsiteY1757" fmla="*/ 1010610 h 1737071"/>
              <a:gd name="connsiteX1758" fmla="*/ 3596942 w 3956050"/>
              <a:gd name="connsiteY1758" fmla="*/ 1012606 h 1737071"/>
              <a:gd name="connsiteX1759" fmla="*/ 3596942 w 3956050"/>
              <a:gd name="connsiteY1759" fmla="*/ 1020589 h 1737071"/>
              <a:gd name="connsiteX1760" fmla="*/ 3590957 w 3956050"/>
              <a:gd name="connsiteY1760" fmla="*/ 1018593 h 1737071"/>
              <a:gd name="connsiteX1761" fmla="*/ 3590957 w 3956050"/>
              <a:gd name="connsiteY1761" fmla="*/ 1012606 h 1737071"/>
              <a:gd name="connsiteX1762" fmla="*/ 3586967 w 3956050"/>
              <a:gd name="connsiteY1762" fmla="*/ 1008614 h 1737071"/>
              <a:gd name="connsiteX1763" fmla="*/ 3584972 w 3956050"/>
              <a:gd name="connsiteY1763" fmla="*/ 1006618 h 1737071"/>
              <a:gd name="connsiteX1764" fmla="*/ 3580981 w 3956050"/>
              <a:gd name="connsiteY1764" fmla="*/ 1004623 h 1737071"/>
              <a:gd name="connsiteX1765" fmla="*/ 3574997 w 3956050"/>
              <a:gd name="connsiteY1765" fmla="*/ 1002627 h 1737071"/>
              <a:gd name="connsiteX1766" fmla="*/ 3571006 w 3956050"/>
              <a:gd name="connsiteY1766" fmla="*/ 998635 h 1737071"/>
              <a:gd name="connsiteX1767" fmla="*/ 3565021 w 3956050"/>
              <a:gd name="connsiteY1767" fmla="*/ 996639 h 1737071"/>
              <a:gd name="connsiteX1768" fmla="*/ 3559036 w 3956050"/>
              <a:gd name="connsiteY1768" fmla="*/ 994644 h 1737071"/>
              <a:gd name="connsiteX1769" fmla="*/ 3557041 w 3956050"/>
              <a:gd name="connsiteY1769" fmla="*/ 992648 h 1737071"/>
              <a:gd name="connsiteX1770" fmla="*/ 3549061 w 3956050"/>
              <a:gd name="connsiteY1770" fmla="*/ 992648 h 1737071"/>
              <a:gd name="connsiteX1771" fmla="*/ 3543076 w 3956050"/>
              <a:gd name="connsiteY1771" fmla="*/ 992648 h 1737071"/>
              <a:gd name="connsiteX1772" fmla="*/ 3537091 w 3956050"/>
              <a:gd name="connsiteY1772" fmla="*/ 990652 h 1737071"/>
              <a:gd name="connsiteX1773" fmla="*/ 3531105 w 3956050"/>
              <a:gd name="connsiteY1773" fmla="*/ 992648 h 1737071"/>
              <a:gd name="connsiteX1774" fmla="*/ 3527115 w 3956050"/>
              <a:gd name="connsiteY1774" fmla="*/ 996639 h 1737071"/>
              <a:gd name="connsiteX1775" fmla="*/ 3519135 w 3956050"/>
              <a:gd name="connsiteY1775" fmla="*/ 1000631 h 1737071"/>
              <a:gd name="connsiteX1776" fmla="*/ 3515145 w 3956050"/>
              <a:gd name="connsiteY1776" fmla="*/ 1006618 h 1737071"/>
              <a:gd name="connsiteX1777" fmla="*/ 3511155 w 3956050"/>
              <a:gd name="connsiteY1777" fmla="*/ 1012606 h 1737071"/>
              <a:gd name="connsiteX1778" fmla="*/ 3505170 w 3956050"/>
              <a:gd name="connsiteY1778" fmla="*/ 1018593 h 1737071"/>
              <a:gd name="connsiteX1779" fmla="*/ 3503175 w 3956050"/>
              <a:gd name="connsiteY1779" fmla="*/ 1026576 h 1737071"/>
              <a:gd name="connsiteX1780" fmla="*/ 3497190 w 3956050"/>
              <a:gd name="connsiteY1780" fmla="*/ 1030568 h 1737071"/>
              <a:gd name="connsiteX1781" fmla="*/ 3497190 w 3956050"/>
              <a:gd name="connsiteY1781" fmla="*/ 1020589 h 1737071"/>
              <a:gd name="connsiteX1782" fmla="*/ 3495195 w 3956050"/>
              <a:gd name="connsiteY1782" fmla="*/ 1012606 h 1737071"/>
              <a:gd name="connsiteX1783" fmla="*/ 3493199 w 3956050"/>
              <a:gd name="connsiteY1783" fmla="*/ 1008614 h 1737071"/>
              <a:gd name="connsiteX1784" fmla="*/ 3493199 w 3956050"/>
              <a:gd name="connsiteY1784" fmla="*/ 1006618 h 1737071"/>
              <a:gd name="connsiteX1785" fmla="*/ 3489209 w 3956050"/>
              <a:gd name="connsiteY1785" fmla="*/ 1002627 h 1737071"/>
              <a:gd name="connsiteX1786" fmla="*/ 3481229 w 3956050"/>
              <a:gd name="connsiteY1786" fmla="*/ 1006618 h 1737071"/>
              <a:gd name="connsiteX1787" fmla="*/ 3477239 w 3956050"/>
              <a:gd name="connsiteY1787" fmla="*/ 1010610 h 1737071"/>
              <a:gd name="connsiteX1788" fmla="*/ 3475244 w 3956050"/>
              <a:gd name="connsiteY1788" fmla="*/ 1010610 h 1737071"/>
              <a:gd name="connsiteX1789" fmla="*/ 3471254 w 3956050"/>
              <a:gd name="connsiteY1789" fmla="*/ 1014601 h 1737071"/>
              <a:gd name="connsiteX1790" fmla="*/ 3473249 w 3956050"/>
              <a:gd name="connsiteY1790" fmla="*/ 1024580 h 1737071"/>
              <a:gd name="connsiteX1791" fmla="*/ 3471254 w 3956050"/>
              <a:gd name="connsiteY1791" fmla="*/ 1032563 h 1737071"/>
              <a:gd name="connsiteX1792" fmla="*/ 3465269 w 3956050"/>
              <a:gd name="connsiteY1792" fmla="*/ 1028572 h 1737071"/>
              <a:gd name="connsiteX1793" fmla="*/ 3463274 w 3956050"/>
              <a:gd name="connsiteY1793" fmla="*/ 1026576 h 1737071"/>
              <a:gd name="connsiteX1794" fmla="*/ 3461279 w 3956050"/>
              <a:gd name="connsiteY1794" fmla="*/ 1022584 h 1737071"/>
              <a:gd name="connsiteX1795" fmla="*/ 3455294 w 3956050"/>
              <a:gd name="connsiteY1795" fmla="*/ 1014601 h 1737071"/>
              <a:gd name="connsiteX1796" fmla="*/ 3451304 w 3956050"/>
              <a:gd name="connsiteY1796" fmla="*/ 1020589 h 1737071"/>
              <a:gd name="connsiteX1797" fmla="*/ 3449309 w 3956050"/>
              <a:gd name="connsiteY1797" fmla="*/ 1024580 h 1737071"/>
              <a:gd name="connsiteX1798" fmla="*/ 3445319 w 3956050"/>
              <a:gd name="connsiteY1798" fmla="*/ 1020589 h 1737071"/>
              <a:gd name="connsiteX1799" fmla="*/ 3443324 w 3956050"/>
              <a:gd name="connsiteY1799" fmla="*/ 1016597 h 1737071"/>
              <a:gd name="connsiteX1800" fmla="*/ 3437338 w 3956050"/>
              <a:gd name="connsiteY1800" fmla="*/ 1018593 h 1737071"/>
              <a:gd name="connsiteX1801" fmla="*/ 3435343 w 3956050"/>
              <a:gd name="connsiteY1801" fmla="*/ 1022584 h 1737071"/>
              <a:gd name="connsiteX1802" fmla="*/ 3435343 w 3956050"/>
              <a:gd name="connsiteY1802" fmla="*/ 1030568 h 1737071"/>
              <a:gd name="connsiteX1803" fmla="*/ 3433348 w 3956050"/>
              <a:gd name="connsiteY1803" fmla="*/ 1036555 h 1737071"/>
              <a:gd name="connsiteX1804" fmla="*/ 3435343 w 3956050"/>
              <a:gd name="connsiteY1804" fmla="*/ 1040546 h 1737071"/>
              <a:gd name="connsiteX1805" fmla="*/ 3441329 w 3956050"/>
              <a:gd name="connsiteY1805" fmla="*/ 1044538 h 1737071"/>
              <a:gd name="connsiteX1806" fmla="*/ 3441329 w 3956050"/>
              <a:gd name="connsiteY1806" fmla="*/ 1048530 h 1737071"/>
              <a:gd name="connsiteX1807" fmla="*/ 3437338 w 3956050"/>
              <a:gd name="connsiteY1807" fmla="*/ 1046534 h 1737071"/>
              <a:gd name="connsiteX1808" fmla="*/ 3435343 w 3956050"/>
              <a:gd name="connsiteY1808" fmla="*/ 1048530 h 1737071"/>
              <a:gd name="connsiteX1809" fmla="*/ 3433348 w 3956050"/>
              <a:gd name="connsiteY1809" fmla="*/ 1054517 h 1737071"/>
              <a:gd name="connsiteX1810" fmla="*/ 3433348 w 3956050"/>
              <a:gd name="connsiteY1810" fmla="*/ 1056513 h 1737071"/>
              <a:gd name="connsiteX1811" fmla="*/ 3437338 w 3956050"/>
              <a:gd name="connsiteY1811" fmla="*/ 1060504 h 1737071"/>
              <a:gd name="connsiteX1812" fmla="*/ 3429358 w 3956050"/>
              <a:gd name="connsiteY1812" fmla="*/ 1064496 h 1737071"/>
              <a:gd name="connsiteX1813" fmla="*/ 3427363 w 3956050"/>
              <a:gd name="connsiteY1813" fmla="*/ 1070483 h 1737071"/>
              <a:gd name="connsiteX1814" fmla="*/ 3423373 w 3956050"/>
              <a:gd name="connsiteY1814" fmla="*/ 1076470 h 1737071"/>
              <a:gd name="connsiteX1815" fmla="*/ 3421378 w 3956050"/>
              <a:gd name="connsiteY1815" fmla="*/ 1080462 h 1737071"/>
              <a:gd name="connsiteX1816" fmla="*/ 3421378 w 3956050"/>
              <a:gd name="connsiteY1816" fmla="*/ 1084453 h 1737071"/>
              <a:gd name="connsiteX1817" fmla="*/ 3423373 w 3956050"/>
              <a:gd name="connsiteY1817" fmla="*/ 1088445 h 1737071"/>
              <a:gd name="connsiteX1818" fmla="*/ 3423373 w 3956050"/>
              <a:gd name="connsiteY1818" fmla="*/ 1094432 h 1737071"/>
              <a:gd name="connsiteX1819" fmla="*/ 3429358 w 3956050"/>
              <a:gd name="connsiteY1819" fmla="*/ 1102415 h 1737071"/>
              <a:gd name="connsiteX1820" fmla="*/ 3435343 w 3956050"/>
              <a:gd name="connsiteY1820" fmla="*/ 1108403 h 1737071"/>
              <a:gd name="connsiteX1821" fmla="*/ 3441329 w 3956050"/>
              <a:gd name="connsiteY1821" fmla="*/ 1104411 h 1737071"/>
              <a:gd name="connsiteX1822" fmla="*/ 3447314 w 3956050"/>
              <a:gd name="connsiteY1822" fmla="*/ 1102415 h 1737071"/>
              <a:gd name="connsiteX1823" fmla="*/ 3451304 w 3956050"/>
              <a:gd name="connsiteY1823" fmla="*/ 1102415 h 1737071"/>
              <a:gd name="connsiteX1824" fmla="*/ 3457289 w 3956050"/>
              <a:gd name="connsiteY1824" fmla="*/ 1106407 h 1737071"/>
              <a:gd name="connsiteX1825" fmla="*/ 3455294 w 3956050"/>
              <a:gd name="connsiteY1825" fmla="*/ 1116386 h 1737071"/>
              <a:gd name="connsiteX1826" fmla="*/ 3449309 w 3956050"/>
              <a:gd name="connsiteY1826" fmla="*/ 1122373 h 1737071"/>
              <a:gd name="connsiteX1827" fmla="*/ 3455294 w 3956050"/>
              <a:gd name="connsiteY1827" fmla="*/ 1132352 h 1737071"/>
              <a:gd name="connsiteX1828" fmla="*/ 3455294 w 3956050"/>
              <a:gd name="connsiteY1828" fmla="*/ 1138339 h 1737071"/>
              <a:gd name="connsiteX1829" fmla="*/ 3455294 w 3956050"/>
              <a:gd name="connsiteY1829" fmla="*/ 1146322 h 1737071"/>
              <a:gd name="connsiteX1830" fmla="*/ 3463274 w 3956050"/>
              <a:gd name="connsiteY1830" fmla="*/ 1150314 h 1737071"/>
              <a:gd name="connsiteX1831" fmla="*/ 3467264 w 3956050"/>
              <a:gd name="connsiteY1831" fmla="*/ 1150314 h 1737071"/>
              <a:gd name="connsiteX1832" fmla="*/ 3471254 w 3956050"/>
              <a:gd name="connsiteY1832" fmla="*/ 1146322 h 1737071"/>
              <a:gd name="connsiteX1833" fmla="*/ 3477239 w 3956050"/>
              <a:gd name="connsiteY1833" fmla="*/ 1150314 h 1737071"/>
              <a:gd name="connsiteX1834" fmla="*/ 3477239 w 3956050"/>
              <a:gd name="connsiteY1834" fmla="*/ 1158297 h 1737071"/>
              <a:gd name="connsiteX1835" fmla="*/ 3481229 w 3956050"/>
              <a:gd name="connsiteY1835" fmla="*/ 1164284 h 1737071"/>
              <a:gd name="connsiteX1836" fmla="*/ 3485220 w 3956050"/>
              <a:gd name="connsiteY1836" fmla="*/ 1166280 h 1737071"/>
              <a:gd name="connsiteX1837" fmla="*/ 3481229 w 3956050"/>
              <a:gd name="connsiteY1837" fmla="*/ 1172267 h 1737071"/>
              <a:gd name="connsiteX1838" fmla="*/ 3479234 w 3956050"/>
              <a:gd name="connsiteY1838" fmla="*/ 1178255 h 1737071"/>
              <a:gd name="connsiteX1839" fmla="*/ 3473249 w 3956050"/>
              <a:gd name="connsiteY1839" fmla="*/ 1178255 h 1737071"/>
              <a:gd name="connsiteX1840" fmla="*/ 3467264 w 3956050"/>
              <a:gd name="connsiteY1840" fmla="*/ 1174263 h 1737071"/>
              <a:gd name="connsiteX1841" fmla="*/ 3469259 w 3956050"/>
              <a:gd name="connsiteY1841" fmla="*/ 1168276 h 1737071"/>
              <a:gd name="connsiteX1842" fmla="*/ 3471254 w 3956050"/>
              <a:gd name="connsiteY1842" fmla="*/ 1162289 h 1737071"/>
              <a:gd name="connsiteX1843" fmla="*/ 3469259 w 3956050"/>
              <a:gd name="connsiteY1843" fmla="*/ 1156301 h 1737071"/>
              <a:gd name="connsiteX1844" fmla="*/ 3465269 w 3956050"/>
              <a:gd name="connsiteY1844" fmla="*/ 1160293 h 1737071"/>
              <a:gd name="connsiteX1845" fmla="*/ 3463274 w 3956050"/>
              <a:gd name="connsiteY1845" fmla="*/ 1162289 h 1737071"/>
              <a:gd name="connsiteX1846" fmla="*/ 3463274 w 3956050"/>
              <a:gd name="connsiteY1846" fmla="*/ 1166280 h 1737071"/>
              <a:gd name="connsiteX1847" fmla="*/ 3459284 w 3956050"/>
              <a:gd name="connsiteY1847" fmla="*/ 1174263 h 1737071"/>
              <a:gd name="connsiteX1848" fmla="*/ 3455294 w 3956050"/>
              <a:gd name="connsiteY1848" fmla="*/ 1180251 h 1737071"/>
              <a:gd name="connsiteX1849" fmla="*/ 3453299 w 3956050"/>
              <a:gd name="connsiteY1849" fmla="*/ 1190229 h 1737071"/>
              <a:gd name="connsiteX1850" fmla="*/ 3451304 w 3956050"/>
              <a:gd name="connsiteY1850" fmla="*/ 1200208 h 1737071"/>
              <a:gd name="connsiteX1851" fmla="*/ 3455294 w 3956050"/>
              <a:gd name="connsiteY1851" fmla="*/ 1208191 h 1737071"/>
              <a:gd name="connsiteX1852" fmla="*/ 3459284 w 3956050"/>
              <a:gd name="connsiteY1852" fmla="*/ 1212183 h 1737071"/>
              <a:gd name="connsiteX1853" fmla="*/ 3463274 w 3956050"/>
              <a:gd name="connsiteY1853" fmla="*/ 1218170 h 1737071"/>
              <a:gd name="connsiteX1854" fmla="*/ 3469259 w 3956050"/>
              <a:gd name="connsiteY1854" fmla="*/ 1218170 h 1737071"/>
              <a:gd name="connsiteX1855" fmla="*/ 3471254 w 3956050"/>
              <a:gd name="connsiteY1855" fmla="*/ 1222162 h 1737071"/>
              <a:gd name="connsiteX1856" fmla="*/ 3473249 w 3956050"/>
              <a:gd name="connsiteY1856" fmla="*/ 1224158 h 1737071"/>
              <a:gd name="connsiteX1857" fmla="*/ 3471254 w 3956050"/>
              <a:gd name="connsiteY1857" fmla="*/ 1230145 h 1737071"/>
              <a:gd name="connsiteX1858" fmla="*/ 3467264 w 3956050"/>
              <a:gd name="connsiteY1858" fmla="*/ 1238128 h 1737071"/>
              <a:gd name="connsiteX1859" fmla="*/ 3455294 w 3956050"/>
              <a:gd name="connsiteY1859" fmla="*/ 1240124 h 1737071"/>
              <a:gd name="connsiteX1860" fmla="*/ 3441329 w 3956050"/>
              <a:gd name="connsiteY1860" fmla="*/ 1242119 h 1737071"/>
              <a:gd name="connsiteX1861" fmla="*/ 3439334 w 3956050"/>
              <a:gd name="connsiteY1861" fmla="*/ 1246111 h 1737071"/>
              <a:gd name="connsiteX1862" fmla="*/ 3435343 w 3956050"/>
              <a:gd name="connsiteY1862" fmla="*/ 1252098 h 1737071"/>
              <a:gd name="connsiteX1863" fmla="*/ 3429358 w 3956050"/>
              <a:gd name="connsiteY1863" fmla="*/ 1260081 h 1737071"/>
              <a:gd name="connsiteX1864" fmla="*/ 3431353 w 3956050"/>
              <a:gd name="connsiteY1864" fmla="*/ 1272056 h 1737071"/>
              <a:gd name="connsiteX1865" fmla="*/ 3433348 w 3956050"/>
              <a:gd name="connsiteY1865" fmla="*/ 1278043 h 1737071"/>
              <a:gd name="connsiteX1866" fmla="*/ 3433348 w 3956050"/>
              <a:gd name="connsiteY1866" fmla="*/ 1284031 h 1737071"/>
              <a:gd name="connsiteX1867" fmla="*/ 3441329 w 3956050"/>
              <a:gd name="connsiteY1867" fmla="*/ 1288022 h 1737071"/>
              <a:gd name="connsiteX1868" fmla="*/ 3443324 w 3956050"/>
              <a:gd name="connsiteY1868" fmla="*/ 1294010 h 1737071"/>
              <a:gd name="connsiteX1869" fmla="*/ 3435343 w 3956050"/>
              <a:gd name="connsiteY1869" fmla="*/ 1292014 h 1737071"/>
              <a:gd name="connsiteX1870" fmla="*/ 3427363 w 3956050"/>
              <a:gd name="connsiteY1870" fmla="*/ 1290018 h 1737071"/>
              <a:gd name="connsiteX1871" fmla="*/ 3425368 w 3956050"/>
              <a:gd name="connsiteY1871" fmla="*/ 1288022 h 1737071"/>
              <a:gd name="connsiteX1872" fmla="*/ 3421378 w 3956050"/>
              <a:gd name="connsiteY1872" fmla="*/ 1292014 h 1737071"/>
              <a:gd name="connsiteX1873" fmla="*/ 3415393 w 3956050"/>
              <a:gd name="connsiteY1873" fmla="*/ 1294010 h 1737071"/>
              <a:gd name="connsiteX1874" fmla="*/ 3411403 w 3956050"/>
              <a:gd name="connsiteY1874" fmla="*/ 1301993 h 1737071"/>
              <a:gd name="connsiteX1875" fmla="*/ 3411403 w 3956050"/>
              <a:gd name="connsiteY1875" fmla="*/ 1311972 h 1737071"/>
              <a:gd name="connsiteX1876" fmla="*/ 3411403 w 3956050"/>
              <a:gd name="connsiteY1876" fmla="*/ 1321950 h 1737071"/>
              <a:gd name="connsiteX1877" fmla="*/ 3409408 w 3956050"/>
              <a:gd name="connsiteY1877" fmla="*/ 1329934 h 1737071"/>
              <a:gd name="connsiteX1878" fmla="*/ 3407413 w 3956050"/>
              <a:gd name="connsiteY1878" fmla="*/ 1337917 h 1737071"/>
              <a:gd name="connsiteX1879" fmla="*/ 3401428 w 3956050"/>
              <a:gd name="connsiteY1879" fmla="*/ 1349891 h 1737071"/>
              <a:gd name="connsiteX1880" fmla="*/ 3395443 w 3956050"/>
              <a:gd name="connsiteY1880" fmla="*/ 1353883 h 1737071"/>
              <a:gd name="connsiteX1881" fmla="*/ 3391452 w 3956050"/>
              <a:gd name="connsiteY1881" fmla="*/ 1357874 h 1737071"/>
              <a:gd name="connsiteX1882" fmla="*/ 3387462 w 3956050"/>
              <a:gd name="connsiteY1882" fmla="*/ 1361866 h 1737071"/>
              <a:gd name="connsiteX1883" fmla="*/ 3383472 w 3956050"/>
              <a:gd name="connsiteY1883" fmla="*/ 1369849 h 1737071"/>
              <a:gd name="connsiteX1884" fmla="*/ 3379482 w 3956050"/>
              <a:gd name="connsiteY1884" fmla="*/ 1375836 h 1737071"/>
              <a:gd name="connsiteX1885" fmla="*/ 3377487 w 3956050"/>
              <a:gd name="connsiteY1885" fmla="*/ 1369849 h 1737071"/>
              <a:gd name="connsiteX1886" fmla="*/ 3375492 w 3956050"/>
              <a:gd name="connsiteY1886" fmla="*/ 1365857 h 1737071"/>
              <a:gd name="connsiteX1887" fmla="*/ 3375492 w 3956050"/>
              <a:gd name="connsiteY1887" fmla="*/ 1359870 h 1737071"/>
              <a:gd name="connsiteX1888" fmla="*/ 3371502 w 3956050"/>
              <a:gd name="connsiteY1888" fmla="*/ 1355879 h 1737071"/>
              <a:gd name="connsiteX1889" fmla="*/ 3369507 w 3956050"/>
              <a:gd name="connsiteY1889" fmla="*/ 1351887 h 1737071"/>
              <a:gd name="connsiteX1890" fmla="*/ 3369507 w 3956050"/>
              <a:gd name="connsiteY1890" fmla="*/ 1341908 h 1737071"/>
              <a:gd name="connsiteX1891" fmla="*/ 3367512 w 3956050"/>
              <a:gd name="connsiteY1891" fmla="*/ 1337917 h 1737071"/>
              <a:gd name="connsiteX1892" fmla="*/ 3367512 w 3956050"/>
              <a:gd name="connsiteY1892" fmla="*/ 1335921 h 1737071"/>
              <a:gd name="connsiteX1893" fmla="*/ 3363522 w 3956050"/>
              <a:gd name="connsiteY1893" fmla="*/ 1331929 h 1737071"/>
              <a:gd name="connsiteX1894" fmla="*/ 3363522 w 3956050"/>
              <a:gd name="connsiteY1894" fmla="*/ 1323946 h 1737071"/>
              <a:gd name="connsiteX1895" fmla="*/ 3361527 w 3956050"/>
              <a:gd name="connsiteY1895" fmla="*/ 1319955 h 1737071"/>
              <a:gd name="connsiteX1896" fmla="*/ 3359532 w 3956050"/>
              <a:gd name="connsiteY1896" fmla="*/ 1313967 h 1737071"/>
              <a:gd name="connsiteX1897" fmla="*/ 3351552 w 3956050"/>
              <a:gd name="connsiteY1897" fmla="*/ 1309976 h 1737071"/>
              <a:gd name="connsiteX1898" fmla="*/ 3347561 w 3956050"/>
              <a:gd name="connsiteY1898" fmla="*/ 1301993 h 1737071"/>
              <a:gd name="connsiteX1899" fmla="*/ 3337586 w 3956050"/>
              <a:gd name="connsiteY1899" fmla="*/ 1284031 h 1737071"/>
              <a:gd name="connsiteX1900" fmla="*/ 3335591 w 3956050"/>
              <a:gd name="connsiteY1900" fmla="*/ 1276048 h 1737071"/>
              <a:gd name="connsiteX1901" fmla="*/ 3325616 w 3956050"/>
              <a:gd name="connsiteY1901" fmla="*/ 1264073 h 1737071"/>
              <a:gd name="connsiteX1902" fmla="*/ 3319631 w 3956050"/>
              <a:gd name="connsiteY1902" fmla="*/ 1254094 h 1737071"/>
              <a:gd name="connsiteX1903" fmla="*/ 3317636 w 3956050"/>
              <a:gd name="connsiteY1903" fmla="*/ 1242119 h 1737071"/>
              <a:gd name="connsiteX1904" fmla="*/ 3311651 w 3956050"/>
              <a:gd name="connsiteY1904" fmla="*/ 1232141 h 1737071"/>
              <a:gd name="connsiteX1905" fmla="*/ 3309656 w 3956050"/>
              <a:gd name="connsiteY1905" fmla="*/ 1222162 h 1737071"/>
              <a:gd name="connsiteX1906" fmla="*/ 3307661 w 3956050"/>
              <a:gd name="connsiteY1906" fmla="*/ 1216174 h 1737071"/>
              <a:gd name="connsiteX1907" fmla="*/ 3305666 w 3956050"/>
              <a:gd name="connsiteY1907" fmla="*/ 1212183 h 1737071"/>
              <a:gd name="connsiteX1908" fmla="*/ 3303670 w 3956050"/>
              <a:gd name="connsiteY1908" fmla="*/ 1206196 h 1737071"/>
              <a:gd name="connsiteX1909" fmla="*/ 3299680 w 3956050"/>
              <a:gd name="connsiteY1909" fmla="*/ 1190229 h 1737071"/>
              <a:gd name="connsiteX1910" fmla="*/ 3295690 w 3956050"/>
              <a:gd name="connsiteY1910" fmla="*/ 1174263 h 1737071"/>
              <a:gd name="connsiteX1911" fmla="*/ 3295690 w 3956050"/>
              <a:gd name="connsiteY1911" fmla="*/ 1154305 h 1737071"/>
              <a:gd name="connsiteX1912" fmla="*/ 3303670 w 3956050"/>
              <a:gd name="connsiteY1912" fmla="*/ 1144327 h 1737071"/>
              <a:gd name="connsiteX1913" fmla="*/ 3305666 w 3956050"/>
              <a:gd name="connsiteY1913" fmla="*/ 1136344 h 1737071"/>
              <a:gd name="connsiteX1914" fmla="*/ 3313646 w 3956050"/>
              <a:gd name="connsiteY1914" fmla="*/ 1132352 h 1737071"/>
              <a:gd name="connsiteX1915" fmla="*/ 3315641 w 3956050"/>
              <a:gd name="connsiteY1915" fmla="*/ 1126365 h 1737071"/>
              <a:gd name="connsiteX1916" fmla="*/ 3309656 w 3956050"/>
              <a:gd name="connsiteY1916" fmla="*/ 1122373 h 1737071"/>
              <a:gd name="connsiteX1917" fmla="*/ 3309656 w 3956050"/>
              <a:gd name="connsiteY1917" fmla="*/ 1118382 h 1737071"/>
              <a:gd name="connsiteX1918" fmla="*/ 3305666 w 3956050"/>
              <a:gd name="connsiteY1918" fmla="*/ 1114390 h 1737071"/>
              <a:gd name="connsiteX1919" fmla="*/ 3303670 w 3956050"/>
              <a:gd name="connsiteY1919" fmla="*/ 1112394 h 1737071"/>
              <a:gd name="connsiteX1920" fmla="*/ 3307661 w 3956050"/>
              <a:gd name="connsiteY1920" fmla="*/ 1106407 h 1737071"/>
              <a:gd name="connsiteX1921" fmla="*/ 3315641 w 3956050"/>
              <a:gd name="connsiteY1921" fmla="*/ 1108403 h 1737071"/>
              <a:gd name="connsiteX1922" fmla="*/ 3319631 w 3956050"/>
              <a:gd name="connsiteY1922" fmla="*/ 1108403 h 1737071"/>
              <a:gd name="connsiteX1923" fmla="*/ 3319631 w 3956050"/>
              <a:gd name="connsiteY1923" fmla="*/ 1104411 h 1737071"/>
              <a:gd name="connsiteX1924" fmla="*/ 3321626 w 3956050"/>
              <a:gd name="connsiteY1924" fmla="*/ 1100420 h 1737071"/>
              <a:gd name="connsiteX1925" fmla="*/ 3331601 w 3956050"/>
              <a:gd name="connsiteY1925" fmla="*/ 1102415 h 1737071"/>
              <a:gd name="connsiteX1926" fmla="*/ 3337586 w 3956050"/>
              <a:gd name="connsiteY1926" fmla="*/ 1098424 h 1737071"/>
              <a:gd name="connsiteX1927" fmla="*/ 3345566 w 3956050"/>
              <a:gd name="connsiteY1927" fmla="*/ 1084453 h 1737071"/>
              <a:gd name="connsiteX1928" fmla="*/ 3357537 w 3956050"/>
              <a:gd name="connsiteY1928" fmla="*/ 1066491 h 1737071"/>
              <a:gd name="connsiteX1929" fmla="*/ 3361527 w 3956050"/>
              <a:gd name="connsiteY1929" fmla="*/ 1060504 h 1737071"/>
              <a:gd name="connsiteX1930" fmla="*/ 3359532 w 3956050"/>
              <a:gd name="connsiteY1930" fmla="*/ 1054517 h 1737071"/>
              <a:gd name="connsiteX1931" fmla="*/ 3365517 w 3956050"/>
              <a:gd name="connsiteY1931" fmla="*/ 1048530 h 1737071"/>
              <a:gd name="connsiteX1932" fmla="*/ 3367512 w 3956050"/>
              <a:gd name="connsiteY1932" fmla="*/ 1042542 h 1737071"/>
              <a:gd name="connsiteX1933" fmla="*/ 3369507 w 3956050"/>
              <a:gd name="connsiteY1933" fmla="*/ 1038551 h 1737071"/>
              <a:gd name="connsiteX1934" fmla="*/ 3371502 w 3956050"/>
              <a:gd name="connsiteY1934" fmla="*/ 1036555 h 1737071"/>
              <a:gd name="connsiteX1935" fmla="*/ 3375492 w 3956050"/>
              <a:gd name="connsiteY1935" fmla="*/ 1032563 h 1737071"/>
              <a:gd name="connsiteX1936" fmla="*/ 3377487 w 3956050"/>
              <a:gd name="connsiteY1936" fmla="*/ 1030568 h 1737071"/>
              <a:gd name="connsiteX1937" fmla="*/ 3381477 w 3956050"/>
              <a:gd name="connsiteY1937" fmla="*/ 1026576 h 1737071"/>
              <a:gd name="connsiteX1938" fmla="*/ 3383472 w 3956050"/>
              <a:gd name="connsiteY1938" fmla="*/ 1022584 h 1737071"/>
              <a:gd name="connsiteX1939" fmla="*/ 3387462 w 3956050"/>
              <a:gd name="connsiteY1939" fmla="*/ 1018593 h 1737071"/>
              <a:gd name="connsiteX1940" fmla="*/ 3389457 w 3956050"/>
              <a:gd name="connsiteY1940" fmla="*/ 1012606 h 1737071"/>
              <a:gd name="connsiteX1941" fmla="*/ 3391452 w 3956050"/>
              <a:gd name="connsiteY1941" fmla="*/ 1004623 h 1737071"/>
              <a:gd name="connsiteX1942" fmla="*/ 3387462 w 3956050"/>
              <a:gd name="connsiteY1942" fmla="*/ 998635 h 1737071"/>
              <a:gd name="connsiteX1943" fmla="*/ 3389457 w 3956050"/>
              <a:gd name="connsiteY1943" fmla="*/ 996639 h 1737071"/>
              <a:gd name="connsiteX1944" fmla="*/ 3399433 w 3956050"/>
              <a:gd name="connsiteY1944" fmla="*/ 990652 h 1737071"/>
              <a:gd name="connsiteX1945" fmla="*/ 3407413 w 3956050"/>
              <a:gd name="connsiteY1945" fmla="*/ 986661 h 1737071"/>
              <a:gd name="connsiteX1946" fmla="*/ 3409408 w 3956050"/>
              <a:gd name="connsiteY1946" fmla="*/ 984665 h 1737071"/>
              <a:gd name="connsiteX1947" fmla="*/ 3413398 w 3956050"/>
              <a:gd name="connsiteY1947" fmla="*/ 982669 h 1737071"/>
              <a:gd name="connsiteX1948" fmla="*/ 3417388 w 3956050"/>
              <a:gd name="connsiteY1948" fmla="*/ 982669 h 1737071"/>
              <a:gd name="connsiteX1949" fmla="*/ 3419383 w 3956050"/>
              <a:gd name="connsiteY1949" fmla="*/ 978677 h 1737071"/>
              <a:gd name="connsiteX1950" fmla="*/ 3417388 w 3956050"/>
              <a:gd name="connsiteY1950" fmla="*/ 972690 h 1737071"/>
              <a:gd name="connsiteX1951" fmla="*/ 3421378 w 3956050"/>
              <a:gd name="connsiteY1951" fmla="*/ 964707 h 1737071"/>
              <a:gd name="connsiteX1952" fmla="*/ 3421378 w 3956050"/>
              <a:gd name="connsiteY1952" fmla="*/ 958720 h 1737071"/>
              <a:gd name="connsiteX1953" fmla="*/ 3415393 w 3956050"/>
              <a:gd name="connsiteY1953" fmla="*/ 954728 h 1737071"/>
              <a:gd name="connsiteX1954" fmla="*/ 3419383 w 3956050"/>
              <a:gd name="connsiteY1954" fmla="*/ 944749 h 1737071"/>
              <a:gd name="connsiteX1955" fmla="*/ 3417388 w 3956050"/>
              <a:gd name="connsiteY1955" fmla="*/ 932775 h 1737071"/>
              <a:gd name="connsiteX1956" fmla="*/ 3415393 w 3956050"/>
              <a:gd name="connsiteY1956" fmla="*/ 924792 h 1737071"/>
              <a:gd name="connsiteX1957" fmla="*/ 3417388 w 3956050"/>
              <a:gd name="connsiteY1957" fmla="*/ 922796 h 1737071"/>
              <a:gd name="connsiteX1958" fmla="*/ 3421378 w 3956050"/>
              <a:gd name="connsiteY1958" fmla="*/ 918804 h 1737071"/>
              <a:gd name="connsiteX1959" fmla="*/ 3425368 w 3956050"/>
              <a:gd name="connsiteY1959" fmla="*/ 916809 h 1737071"/>
              <a:gd name="connsiteX1960" fmla="*/ 3429358 w 3956050"/>
              <a:gd name="connsiteY1960" fmla="*/ 914813 h 1737071"/>
              <a:gd name="connsiteX1961" fmla="*/ 3425368 w 3956050"/>
              <a:gd name="connsiteY1961" fmla="*/ 910821 h 1737071"/>
              <a:gd name="connsiteX1962" fmla="*/ 3419383 w 3956050"/>
              <a:gd name="connsiteY1962" fmla="*/ 906830 h 1737071"/>
              <a:gd name="connsiteX1963" fmla="*/ 3417388 w 3956050"/>
              <a:gd name="connsiteY1963" fmla="*/ 904834 h 1737071"/>
              <a:gd name="connsiteX1964" fmla="*/ 3413398 w 3956050"/>
              <a:gd name="connsiteY1964" fmla="*/ 906830 h 1737071"/>
              <a:gd name="connsiteX1965" fmla="*/ 3409408 w 3956050"/>
              <a:gd name="connsiteY1965" fmla="*/ 906830 h 1737071"/>
              <a:gd name="connsiteX1966" fmla="*/ 3405418 w 3956050"/>
              <a:gd name="connsiteY1966" fmla="*/ 908825 h 1737071"/>
              <a:gd name="connsiteX1967" fmla="*/ 3401428 w 3956050"/>
              <a:gd name="connsiteY1967" fmla="*/ 908825 h 1737071"/>
              <a:gd name="connsiteX1968" fmla="*/ 3393447 w 3956050"/>
              <a:gd name="connsiteY1968" fmla="*/ 910821 h 1737071"/>
              <a:gd name="connsiteX1969" fmla="*/ 3391452 w 3956050"/>
              <a:gd name="connsiteY1969" fmla="*/ 912817 h 1737071"/>
              <a:gd name="connsiteX1970" fmla="*/ 3389457 w 3956050"/>
              <a:gd name="connsiteY1970" fmla="*/ 914813 h 1737071"/>
              <a:gd name="connsiteX1971" fmla="*/ 3393447 w 3956050"/>
              <a:gd name="connsiteY1971" fmla="*/ 920800 h 1737071"/>
              <a:gd name="connsiteX1972" fmla="*/ 3389457 w 3956050"/>
              <a:gd name="connsiteY1972" fmla="*/ 924792 h 1737071"/>
              <a:gd name="connsiteX1973" fmla="*/ 3389457 w 3956050"/>
              <a:gd name="connsiteY1973" fmla="*/ 928783 h 1737071"/>
              <a:gd name="connsiteX1974" fmla="*/ 3393447 w 3956050"/>
              <a:gd name="connsiteY1974" fmla="*/ 936766 h 1737071"/>
              <a:gd name="connsiteX1975" fmla="*/ 3393447 w 3956050"/>
              <a:gd name="connsiteY1975" fmla="*/ 940758 h 1737071"/>
              <a:gd name="connsiteX1976" fmla="*/ 3395443 w 3956050"/>
              <a:gd name="connsiteY1976" fmla="*/ 942754 h 1737071"/>
              <a:gd name="connsiteX1977" fmla="*/ 3397438 w 3956050"/>
              <a:gd name="connsiteY1977" fmla="*/ 944749 h 1737071"/>
              <a:gd name="connsiteX1978" fmla="*/ 3401428 w 3956050"/>
              <a:gd name="connsiteY1978" fmla="*/ 946745 h 1737071"/>
              <a:gd name="connsiteX1979" fmla="*/ 3401428 w 3956050"/>
              <a:gd name="connsiteY1979" fmla="*/ 950737 h 1737071"/>
              <a:gd name="connsiteX1980" fmla="*/ 3401428 w 3956050"/>
              <a:gd name="connsiteY1980" fmla="*/ 956724 h 1737071"/>
              <a:gd name="connsiteX1981" fmla="*/ 3395443 w 3956050"/>
              <a:gd name="connsiteY1981" fmla="*/ 958720 h 1737071"/>
              <a:gd name="connsiteX1982" fmla="*/ 3393447 w 3956050"/>
              <a:gd name="connsiteY1982" fmla="*/ 954728 h 1737071"/>
              <a:gd name="connsiteX1983" fmla="*/ 3395443 w 3956050"/>
              <a:gd name="connsiteY1983" fmla="*/ 952732 h 1737071"/>
              <a:gd name="connsiteX1984" fmla="*/ 3391452 w 3956050"/>
              <a:gd name="connsiteY1984" fmla="*/ 950737 h 1737071"/>
              <a:gd name="connsiteX1985" fmla="*/ 3389457 w 3956050"/>
              <a:gd name="connsiteY1985" fmla="*/ 954728 h 1737071"/>
              <a:gd name="connsiteX1986" fmla="*/ 3387462 w 3956050"/>
              <a:gd name="connsiteY1986" fmla="*/ 958720 h 1737071"/>
              <a:gd name="connsiteX1987" fmla="*/ 3383472 w 3956050"/>
              <a:gd name="connsiteY1987" fmla="*/ 954728 h 1737071"/>
              <a:gd name="connsiteX1988" fmla="*/ 3379482 w 3956050"/>
              <a:gd name="connsiteY1988" fmla="*/ 956724 h 1737071"/>
              <a:gd name="connsiteX1989" fmla="*/ 3379482 w 3956050"/>
              <a:gd name="connsiteY1989" fmla="*/ 960716 h 1737071"/>
              <a:gd name="connsiteX1990" fmla="*/ 3375492 w 3956050"/>
              <a:gd name="connsiteY1990" fmla="*/ 964707 h 1737071"/>
              <a:gd name="connsiteX1991" fmla="*/ 3371502 w 3956050"/>
              <a:gd name="connsiteY1991" fmla="*/ 966703 h 1737071"/>
              <a:gd name="connsiteX1992" fmla="*/ 3367512 w 3956050"/>
              <a:gd name="connsiteY1992" fmla="*/ 972690 h 1737071"/>
              <a:gd name="connsiteX1993" fmla="*/ 3361527 w 3956050"/>
              <a:gd name="connsiteY1993" fmla="*/ 978677 h 1737071"/>
              <a:gd name="connsiteX1994" fmla="*/ 3359532 w 3956050"/>
              <a:gd name="connsiteY1994" fmla="*/ 986661 h 1737071"/>
              <a:gd name="connsiteX1995" fmla="*/ 3353547 w 3956050"/>
              <a:gd name="connsiteY1995" fmla="*/ 986661 h 1737071"/>
              <a:gd name="connsiteX1996" fmla="*/ 3349557 w 3956050"/>
              <a:gd name="connsiteY1996" fmla="*/ 984665 h 1737071"/>
              <a:gd name="connsiteX1997" fmla="*/ 3349557 w 3956050"/>
              <a:gd name="connsiteY1997" fmla="*/ 992648 h 1737071"/>
              <a:gd name="connsiteX1998" fmla="*/ 3343571 w 3956050"/>
              <a:gd name="connsiteY1998" fmla="*/ 996639 h 1737071"/>
              <a:gd name="connsiteX1999" fmla="*/ 3341576 w 3956050"/>
              <a:gd name="connsiteY1999" fmla="*/ 990652 h 1737071"/>
              <a:gd name="connsiteX2000" fmla="*/ 3339581 w 3956050"/>
              <a:gd name="connsiteY2000" fmla="*/ 986661 h 1737071"/>
              <a:gd name="connsiteX2001" fmla="*/ 3343571 w 3956050"/>
              <a:gd name="connsiteY2001" fmla="*/ 980673 h 1737071"/>
              <a:gd name="connsiteX2002" fmla="*/ 3341576 w 3956050"/>
              <a:gd name="connsiteY2002" fmla="*/ 976682 h 1737071"/>
              <a:gd name="connsiteX2003" fmla="*/ 3337586 w 3956050"/>
              <a:gd name="connsiteY2003" fmla="*/ 974686 h 1737071"/>
              <a:gd name="connsiteX2004" fmla="*/ 3335591 w 3956050"/>
              <a:gd name="connsiteY2004" fmla="*/ 978677 h 1737071"/>
              <a:gd name="connsiteX2005" fmla="*/ 3329606 w 3956050"/>
              <a:gd name="connsiteY2005" fmla="*/ 982669 h 1737071"/>
              <a:gd name="connsiteX2006" fmla="*/ 3329606 w 3956050"/>
              <a:gd name="connsiteY2006" fmla="*/ 972690 h 1737071"/>
              <a:gd name="connsiteX2007" fmla="*/ 3329606 w 3956050"/>
              <a:gd name="connsiteY2007" fmla="*/ 970694 h 1737071"/>
              <a:gd name="connsiteX2008" fmla="*/ 3325616 w 3956050"/>
              <a:gd name="connsiteY2008" fmla="*/ 968699 h 1737071"/>
              <a:gd name="connsiteX2009" fmla="*/ 3329606 w 3956050"/>
              <a:gd name="connsiteY2009" fmla="*/ 964707 h 1737071"/>
              <a:gd name="connsiteX2010" fmla="*/ 3329606 w 3956050"/>
              <a:gd name="connsiteY2010" fmla="*/ 950737 h 1737071"/>
              <a:gd name="connsiteX2011" fmla="*/ 3323621 w 3956050"/>
              <a:gd name="connsiteY2011" fmla="*/ 944749 h 1737071"/>
              <a:gd name="connsiteX2012" fmla="*/ 3319631 w 3956050"/>
              <a:gd name="connsiteY2012" fmla="*/ 950737 h 1737071"/>
              <a:gd name="connsiteX2013" fmla="*/ 3315641 w 3956050"/>
              <a:gd name="connsiteY2013" fmla="*/ 948741 h 1737071"/>
              <a:gd name="connsiteX2014" fmla="*/ 3307661 w 3956050"/>
              <a:gd name="connsiteY2014" fmla="*/ 946745 h 1737071"/>
              <a:gd name="connsiteX2015" fmla="*/ 3303670 w 3956050"/>
              <a:gd name="connsiteY2015" fmla="*/ 946745 h 1737071"/>
              <a:gd name="connsiteX2016" fmla="*/ 3301675 w 3956050"/>
              <a:gd name="connsiteY2016" fmla="*/ 944749 h 1737071"/>
              <a:gd name="connsiteX2017" fmla="*/ 3295690 w 3956050"/>
              <a:gd name="connsiteY2017" fmla="*/ 940758 h 1737071"/>
              <a:gd name="connsiteX2018" fmla="*/ 3293695 w 3956050"/>
              <a:gd name="connsiteY2018" fmla="*/ 944749 h 1737071"/>
              <a:gd name="connsiteX2019" fmla="*/ 3291700 w 3956050"/>
              <a:gd name="connsiteY2019" fmla="*/ 948741 h 1737071"/>
              <a:gd name="connsiteX2020" fmla="*/ 3283720 w 3956050"/>
              <a:gd name="connsiteY2020" fmla="*/ 950737 h 1737071"/>
              <a:gd name="connsiteX2021" fmla="*/ 3279730 w 3956050"/>
              <a:gd name="connsiteY2021" fmla="*/ 948741 h 1737071"/>
              <a:gd name="connsiteX2022" fmla="*/ 3273745 w 3956050"/>
              <a:gd name="connsiteY2022" fmla="*/ 952732 h 1737071"/>
              <a:gd name="connsiteX2023" fmla="*/ 3267760 w 3956050"/>
              <a:gd name="connsiteY2023" fmla="*/ 950737 h 1737071"/>
              <a:gd name="connsiteX2024" fmla="*/ 3261775 w 3956050"/>
              <a:gd name="connsiteY2024" fmla="*/ 958720 h 1737071"/>
              <a:gd name="connsiteX2025" fmla="*/ 3253794 w 3956050"/>
              <a:gd name="connsiteY2025" fmla="*/ 960716 h 1737071"/>
              <a:gd name="connsiteX2026" fmla="*/ 3249804 w 3956050"/>
              <a:gd name="connsiteY2026" fmla="*/ 966703 h 1737071"/>
              <a:gd name="connsiteX2027" fmla="*/ 3245814 w 3956050"/>
              <a:gd name="connsiteY2027" fmla="*/ 972690 h 1737071"/>
              <a:gd name="connsiteX2028" fmla="*/ 3241824 w 3956050"/>
              <a:gd name="connsiteY2028" fmla="*/ 976682 h 1737071"/>
              <a:gd name="connsiteX2029" fmla="*/ 3239829 w 3956050"/>
              <a:gd name="connsiteY2029" fmla="*/ 982669 h 1737071"/>
              <a:gd name="connsiteX2030" fmla="*/ 3235839 w 3956050"/>
              <a:gd name="connsiteY2030" fmla="*/ 988656 h 1737071"/>
              <a:gd name="connsiteX2031" fmla="*/ 3233844 w 3956050"/>
              <a:gd name="connsiteY2031" fmla="*/ 996639 h 1737071"/>
              <a:gd name="connsiteX2032" fmla="*/ 3229854 w 3956050"/>
              <a:gd name="connsiteY2032" fmla="*/ 1000631 h 1737071"/>
              <a:gd name="connsiteX2033" fmla="*/ 3225864 w 3956050"/>
              <a:gd name="connsiteY2033" fmla="*/ 1006618 h 1737071"/>
              <a:gd name="connsiteX2034" fmla="*/ 3221874 w 3956050"/>
              <a:gd name="connsiteY2034" fmla="*/ 1010610 h 1737071"/>
              <a:gd name="connsiteX2035" fmla="*/ 3217884 w 3956050"/>
              <a:gd name="connsiteY2035" fmla="*/ 1014601 h 1737071"/>
              <a:gd name="connsiteX2036" fmla="*/ 3219879 w 3956050"/>
              <a:gd name="connsiteY2036" fmla="*/ 1022584 h 1737071"/>
              <a:gd name="connsiteX2037" fmla="*/ 3219879 w 3956050"/>
              <a:gd name="connsiteY2037" fmla="*/ 1024580 h 1737071"/>
              <a:gd name="connsiteX2038" fmla="*/ 3219879 w 3956050"/>
              <a:gd name="connsiteY2038" fmla="*/ 1032563 h 1737071"/>
              <a:gd name="connsiteX2039" fmla="*/ 3219879 w 3956050"/>
              <a:gd name="connsiteY2039" fmla="*/ 1036555 h 1737071"/>
              <a:gd name="connsiteX2040" fmla="*/ 3217884 w 3956050"/>
              <a:gd name="connsiteY2040" fmla="*/ 1042542 h 1737071"/>
              <a:gd name="connsiteX2041" fmla="*/ 3219879 w 3956050"/>
              <a:gd name="connsiteY2041" fmla="*/ 1044538 h 1737071"/>
              <a:gd name="connsiteX2042" fmla="*/ 3223869 w 3956050"/>
              <a:gd name="connsiteY2042" fmla="*/ 1044538 h 1737071"/>
              <a:gd name="connsiteX2043" fmla="*/ 3227859 w 3956050"/>
              <a:gd name="connsiteY2043" fmla="*/ 1040546 h 1737071"/>
              <a:gd name="connsiteX2044" fmla="*/ 3233844 w 3956050"/>
              <a:gd name="connsiteY2044" fmla="*/ 1040546 h 1737071"/>
              <a:gd name="connsiteX2045" fmla="*/ 3239829 w 3956050"/>
              <a:gd name="connsiteY2045" fmla="*/ 1042542 h 1737071"/>
              <a:gd name="connsiteX2046" fmla="*/ 3241824 w 3956050"/>
              <a:gd name="connsiteY2046" fmla="*/ 1046534 h 1737071"/>
              <a:gd name="connsiteX2047" fmla="*/ 3243819 w 3956050"/>
              <a:gd name="connsiteY2047" fmla="*/ 1050525 h 1737071"/>
              <a:gd name="connsiteX2048" fmla="*/ 3247809 w 3956050"/>
              <a:gd name="connsiteY2048" fmla="*/ 1054517 h 1737071"/>
              <a:gd name="connsiteX2049" fmla="*/ 3241824 w 3956050"/>
              <a:gd name="connsiteY2049" fmla="*/ 1056513 h 1737071"/>
              <a:gd name="connsiteX2050" fmla="*/ 3235839 w 3956050"/>
              <a:gd name="connsiteY2050" fmla="*/ 1056513 h 1737071"/>
              <a:gd name="connsiteX2051" fmla="*/ 3233844 w 3956050"/>
              <a:gd name="connsiteY2051" fmla="*/ 1052521 h 1737071"/>
              <a:gd name="connsiteX2052" fmla="*/ 3227859 w 3956050"/>
              <a:gd name="connsiteY2052" fmla="*/ 1052521 h 1737071"/>
              <a:gd name="connsiteX2053" fmla="*/ 3219879 w 3956050"/>
              <a:gd name="connsiteY2053" fmla="*/ 1056513 h 1737071"/>
              <a:gd name="connsiteX2054" fmla="*/ 3213893 w 3956050"/>
              <a:gd name="connsiteY2054" fmla="*/ 1052521 h 1737071"/>
              <a:gd name="connsiteX2055" fmla="*/ 3209903 w 3956050"/>
              <a:gd name="connsiteY2055" fmla="*/ 1054517 h 1737071"/>
              <a:gd name="connsiteX2056" fmla="*/ 3205913 w 3956050"/>
              <a:gd name="connsiteY2056" fmla="*/ 1052521 h 1737071"/>
              <a:gd name="connsiteX2057" fmla="*/ 3203918 w 3956050"/>
              <a:gd name="connsiteY2057" fmla="*/ 1054517 h 1737071"/>
              <a:gd name="connsiteX2058" fmla="*/ 3203918 w 3956050"/>
              <a:gd name="connsiteY2058" fmla="*/ 1058508 h 1737071"/>
              <a:gd name="connsiteX2059" fmla="*/ 3197933 w 3956050"/>
              <a:gd name="connsiteY2059" fmla="*/ 1056513 h 1737071"/>
              <a:gd name="connsiteX2060" fmla="*/ 3193943 w 3956050"/>
              <a:gd name="connsiteY2060" fmla="*/ 1056513 h 1737071"/>
              <a:gd name="connsiteX2061" fmla="*/ 3193943 w 3956050"/>
              <a:gd name="connsiteY2061" fmla="*/ 1060504 h 1737071"/>
              <a:gd name="connsiteX2062" fmla="*/ 3185963 w 3956050"/>
              <a:gd name="connsiteY2062" fmla="*/ 1064496 h 1737071"/>
              <a:gd name="connsiteX2063" fmla="*/ 3179978 w 3956050"/>
              <a:gd name="connsiteY2063" fmla="*/ 1058508 h 1737071"/>
              <a:gd name="connsiteX2064" fmla="*/ 3179978 w 3956050"/>
              <a:gd name="connsiteY2064" fmla="*/ 1066491 h 1737071"/>
              <a:gd name="connsiteX2065" fmla="*/ 3171998 w 3956050"/>
              <a:gd name="connsiteY2065" fmla="*/ 1068487 h 1737071"/>
              <a:gd name="connsiteX2066" fmla="*/ 3166012 w 3956050"/>
              <a:gd name="connsiteY2066" fmla="*/ 1068487 h 1737071"/>
              <a:gd name="connsiteX2067" fmla="*/ 3156037 w 3956050"/>
              <a:gd name="connsiteY2067" fmla="*/ 1066491 h 1737071"/>
              <a:gd name="connsiteX2068" fmla="*/ 3158032 w 3956050"/>
              <a:gd name="connsiteY2068" fmla="*/ 1056513 h 1737071"/>
              <a:gd name="connsiteX2069" fmla="*/ 3168007 w 3956050"/>
              <a:gd name="connsiteY2069" fmla="*/ 1056513 h 1737071"/>
              <a:gd name="connsiteX2070" fmla="*/ 3173993 w 3956050"/>
              <a:gd name="connsiteY2070" fmla="*/ 1052521 h 1737071"/>
              <a:gd name="connsiteX2071" fmla="*/ 3164017 w 3956050"/>
              <a:gd name="connsiteY2071" fmla="*/ 1050525 h 1737071"/>
              <a:gd name="connsiteX2072" fmla="*/ 3160027 w 3956050"/>
              <a:gd name="connsiteY2072" fmla="*/ 1042542 h 1737071"/>
              <a:gd name="connsiteX2073" fmla="*/ 3150052 w 3956050"/>
              <a:gd name="connsiteY2073" fmla="*/ 1042542 h 1737071"/>
              <a:gd name="connsiteX2074" fmla="*/ 3148057 w 3956050"/>
              <a:gd name="connsiteY2074" fmla="*/ 1040546 h 1737071"/>
              <a:gd name="connsiteX2075" fmla="*/ 3142072 w 3956050"/>
              <a:gd name="connsiteY2075" fmla="*/ 1042542 h 1737071"/>
              <a:gd name="connsiteX2076" fmla="*/ 3132097 w 3956050"/>
              <a:gd name="connsiteY2076" fmla="*/ 1038551 h 1737071"/>
              <a:gd name="connsiteX2077" fmla="*/ 3126111 w 3956050"/>
              <a:gd name="connsiteY2077" fmla="*/ 1044538 h 1737071"/>
              <a:gd name="connsiteX2078" fmla="*/ 3120126 w 3956050"/>
              <a:gd name="connsiteY2078" fmla="*/ 1038551 h 1737071"/>
              <a:gd name="connsiteX2079" fmla="*/ 3112146 w 3956050"/>
              <a:gd name="connsiteY2079" fmla="*/ 1034559 h 1737071"/>
              <a:gd name="connsiteX2080" fmla="*/ 3108156 w 3956050"/>
              <a:gd name="connsiteY2080" fmla="*/ 1034559 h 1737071"/>
              <a:gd name="connsiteX2081" fmla="*/ 3098181 w 3956050"/>
              <a:gd name="connsiteY2081" fmla="*/ 1036555 h 1737071"/>
              <a:gd name="connsiteX2082" fmla="*/ 3098181 w 3956050"/>
              <a:gd name="connsiteY2082" fmla="*/ 1042542 h 1737071"/>
              <a:gd name="connsiteX2083" fmla="*/ 3092196 w 3956050"/>
              <a:gd name="connsiteY2083" fmla="*/ 1046534 h 1737071"/>
              <a:gd name="connsiteX2084" fmla="*/ 3086211 w 3956050"/>
              <a:gd name="connsiteY2084" fmla="*/ 1054517 h 1737071"/>
              <a:gd name="connsiteX2085" fmla="*/ 3082220 w 3956050"/>
              <a:gd name="connsiteY2085" fmla="*/ 1052521 h 1737071"/>
              <a:gd name="connsiteX2086" fmla="*/ 3080225 w 3956050"/>
              <a:gd name="connsiteY2086" fmla="*/ 1048530 h 1737071"/>
              <a:gd name="connsiteX2087" fmla="*/ 3076235 w 3956050"/>
              <a:gd name="connsiteY2087" fmla="*/ 1050525 h 1737071"/>
              <a:gd name="connsiteX2088" fmla="*/ 3072245 w 3956050"/>
              <a:gd name="connsiteY2088" fmla="*/ 1050525 h 1737071"/>
              <a:gd name="connsiteX2089" fmla="*/ 3068255 w 3956050"/>
              <a:gd name="connsiteY2089" fmla="*/ 1052521 h 1737071"/>
              <a:gd name="connsiteX2090" fmla="*/ 3066260 w 3956050"/>
              <a:gd name="connsiteY2090" fmla="*/ 1054517 h 1737071"/>
              <a:gd name="connsiteX2091" fmla="*/ 3062270 w 3956050"/>
              <a:gd name="connsiteY2091" fmla="*/ 1054517 h 1737071"/>
              <a:gd name="connsiteX2092" fmla="*/ 3056285 w 3956050"/>
              <a:gd name="connsiteY2092" fmla="*/ 1050525 h 1737071"/>
              <a:gd name="connsiteX2093" fmla="*/ 3052295 w 3956050"/>
              <a:gd name="connsiteY2093" fmla="*/ 1050525 h 1737071"/>
              <a:gd name="connsiteX2094" fmla="*/ 3046310 w 3956050"/>
              <a:gd name="connsiteY2094" fmla="*/ 1048530 h 1737071"/>
              <a:gd name="connsiteX2095" fmla="*/ 3038330 w 3956050"/>
              <a:gd name="connsiteY2095" fmla="*/ 1046534 h 1737071"/>
              <a:gd name="connsiteX2096" fmla="*/ 3036334 w 3956050"/>
              <a:gd name="connsiteY2096" fmla="*/ 1052521 h 1737071"/>
              <a:gd name="connsiteX2097" fmla="*/ 3030349 w 3956050"/>
              <a:gd name="connsiteY2097" fmla="*/ 1058508 h 1737071"/>
              <a:gd name="connsiteX2098" fmla="*/ 3022369 w 3956050"/>
              <a:gd name="connsiteY2098" fmla="*/ 1054517 h 1737071"/>
              <a:gd name="connsiteX2099" fmla="*/ 3022369 w 3956050"/>
              <a:gd name="connsiteY2099" fmla="*/ 1046534 h 1737071"/>
              <a:gd name="connsiteX2100" fmla="*/ 3016384 w 3956050"/>
              <a:gd name="connsiteY2100" fmla="*/ 1044538 h 1737071"/>
              <a:gd name="connsiteX2101" fmla="*/ 3012394 w 3956050"/>
              <a:gd name="connsiteY2101" fmla="*/ 1046534 h 1737071"/>
              <a:gd name="connsiteX2102" fmla="*/ 3010399 w 3956050"/>
              <a:gd name="connsiteY2102" fmla="*/ 1046534 h 1737071"/>
              <a:gd name="connsiteX2103" fmla="*/ 3004414 w 3956050"/>
              <a:gd name="connsiteY2103" fmla="*/ 1046534 h 1737071"/>
              <a:gd name="connsiteX2104" fmla="*/ 3000424 w 3956050"/>
              <a:gd name="connsiteY2104" fmla="*/ 1048530 h 1737071"/>
              <a:gd name="connsiteX2105" fmla="*/ 2994439 w 3956050"/>
              <a:gd name="connsiteY2105" fmla="*/ 1050525 h 1737071"/>
              <a:gd name="connsiteX2106" fmla="*/ 2982468 w 3956050"/>
              <a:gd name="connsiteY2106" fmla="*/ 1048530 h 1737071"/>
              <a:gd name="connsiteX2107" fmla="*/ 2974488 w 3956050"/>
              <a:gd name="connsiteY2107" fmla="*/ 1048530 h 1737071"/>
              <a:gd name="connsiteX2108" fmla="*/ 2964513 w 3956050"/>
              <a:gd name="connsiteY2108" fmla="*/ 1050525 h 1737071"/>
              <a:gd name="connsiteX2109" fmla="*/ 2960523 w 3956050"/>
              <a:gd name="connsiteY2109" fmla="*/ 1052521 h 1737071"/>
              <a:gd name="connsiteX2110" fmla="*/ 2944562 w 3956050"/>
              <a:gd name="connsiteY2110" fmla="*/ 1054517 h 1737071"/>
              <a:gd name="connsiteX2111" fmla="*/ 2938577 w 3956050"/>
              <a:gd name="connsiteY2111" fmla="*/ 1060504 h 1737071"/>
              <a:gd name="connsiteX2112" fmla="*/ 2936582 w 3956050"/>
              <a:gd name="connsiteY2112" fmla="*/ 1068487 h 1737071"/>
              <a:gd name="connsiteX2113" fmla="*/ 2926607 w 3956050"/>
              <a:gd name="connsiteY2113" fmla="*/ 1074475 h 1737071"/>
              <a:gd name="connsiteX2114" fmla="*/ 2914637 w 3956050"/>
              <a:gd name="connsiteY2114" fmla="*/ 1084453 h 1737071"/>
              <a:gd name="connsiteX2115" fmla="*/ 2912642 w 3956050"/>
              <a:gd name="connsiteY2115" fmla="*/ 1092437 h 1737071"/>
              <a:gd name="connsiteX2116" fmla="*/ 2912642 w 3956050"/>
              <a:gd name="connsiteY2116" fmla="*/ 1096428 h 1737071"/>
              <a:gd name="connsiteX2117" fmla="*/ 2908652 w 3956050"/>
              <a:gd name="connsiteY2117" fmla="*/ 1104411 h 1737071"/>
              <a:gd name="connsiteX2118" fmla="*/ 2906657 w 3956050"/>
              <a:gd name="connsiteY2118" fmla="*/ 1114390 h 1737071"/>
              <a:gd name="connsiteX2119" fmla="*/ 2900671 w 3956050"/>
              <a:gd name="connsiteY2119" fmla="*/ 1118382 h 1737071"/>
              <a:gd name="connsiteX2120" fmla="*/ 2898676 w 3956050"/>
              <a:gd name="connsiteY2120" fmla="*/ 1126365 h 1737071"/>
              <a:gd name="connsiteX2121" fmla="*/ 2894686 w 3956050"/>
              <a:gd name="connsiteY2121" fmla="*/ 1126365 h 1737071"/>
              <a:gd name="connsiteX2122" fmla="*/ 2890696 w 3956050"/>
              <a:gd name="connsiteY2122" fmla="*/ 1132352 h 1737071"/>
              <a:gd name="connsiteX2123" fmla="*/ 2884711 w 3956050"/>
              <a:gd name="connsiteY2123" fmla="*/ 1138339 h 1737071"/>
              <a:gd name="connsiteX2124" fmla="*/ 2876731 w 3956050"/>
              <a:gd name="connsiteY2124" fmla="*/ 1144327 h 1737071"/>
              <a:gd name="connsiteX2125" fmla="*/ 2872741 w 3956050"/>
              <a:gd name="connsiteY2125" fmla="*/ 1152310 h 1737071"/>
              <a:gd name="connsiteX2126" fmla="*/ 2870746 w 3956050"/>
              <a:gd name="connsiteY2126" fmla="*/ 1158297 h 1737071"/>
              <a:gd name="connsiteX2127" fmla="*/ 2868751 w 3956050"/>
              <a:gd name="connsiteY2127" fmla="*/ 1162289 h 1737071"/>
              <a:gd name="connsiteX2128" fmla="*/ 2872741 w 3956050"/>
              <a:gd name="connsiteY2128" fmla="*/ 1166280 h 1737071"/>
              <a:gd name="connsiteX2129" fmla="*/ 2866756 w 3956050"/>
              <a:gd name="connsiteY2129" fmla="*/ 1170272 h 1737071"/>
              <a:gd name="connsiteX2130" fmla="*/ 2862766 w 3956050"/>
              <a:gd name="connsiteY2130" fmla="*/ 1172267 h 1737071"/>
              <a:gd name="connsiteX2131" fmla="*/ 2856780 w 3956050"/>
              <a:gd name="connsiteY2131" fmla="*/ 1180251 h 1737071"/>
              <a:gd name="connsiteX2132" fmla="*/ 2852790 w 3956050"/>
              <a:gd name="connsiteY2132" fmla="*/ 1192225 h 1737071"/>
              <a:gd name="connsiteX2133" fmla="*/ 2842815 w 3956050"/>
              <a:gd name="connsiteY2133" fmla="*/ 1198212 h 1737071"/>
              <a:gd name="connsiteX2134" fmla="*/ 2838825 w 3956050"/>
              <a:gd name="connsiteY2134" fmla="*/ 1202204 h 1737071"/>
              <a:gd name="connsiteX2135" fmla="*/ 2834835 w 3956050"/>
              <a:gd name="connsiteY2135" fmla="*/ 1212183 h 1737071"/>
              <a:gd name="connsiteX2136" fmla="*/ 2830845 w 3956050"/>
              <a:gd name="connsiteY2136" fmla="*/ 1214179 h 1737071"/>
              <a:gd name="connsiteX2137" fmla="*/ 2826855 w 3956050"/>
              <a:gd name="connsiteY2137" fmla="*/ 1216174 h 1737071"/>
              <a:gd name="connsiteX2138" fmla="*/ 2818875 w 3956050"/>
              <a:gd name="connsiteY2138" fmla="*/ 1222162 h 1737071"/>
              <a:gd name="connsiteX2139" fmla="*/ 2814884 w 3956050"/>
              <a:gd name="connsiteY2139" fmla="*/ 1228149 h 1737071"/>
              <a:gd name="connsiteX2140" fmla="*/ 2822865 w 3956050"/>
              <a:gd name="connsiteY2140" fmla="*/ 1232141 h 1737071"/>
              <a:gd name="connsiteX2141" fmla="*/ 2830845 w 3956050"/>
              <a:gd name="connsiteY2141" fmla="*/ 1234136 h 1737071"/>
              <a:gd name="connsiteX2142" fmla="*/ 2834835 w 3956050"/>
              <a:gd name="connsiteY2142" fmla="*/ 1236132 h 1737071"/>
              <a:gd name="connsiteX2143" fmla="*/ 2840820 w 3956050"/>
              <a:gd name="connsiteY2143" fmla="*/ 1240124 h 1737071"/>
              <a:gd name="connsiteX2144" fmla="*/ 2846805 w 3956050"/>
              <a:gd name="connsiteY2144" fmla="*/ 1238128 h 1737071"/>
              <a:gd name="connsiteX2145" fmla="*/ 2850795 w 3956050"/>
              <a:gd name="connsiteY2145" fmla="*/ 1238128 h 1737071"/>
              <a:gd name="connsiteX2146" fmla="*/ 2860771 w 3956050"/>
              <a:gd name="connsiteY2146" fmla="*/ 1236132 h 1737071"/>
              <a:gd name="connsiteX2147" fmla="*/ 2862766 w 3956050"/>
              <a:gd name="connsiteY2147" fmla="*/ 1254094 h 1737071"/>
              <a:gd name="connsiteX2148" fmla="*/ 2868751 w 3956050"/>
              <a:gd name="connsiteY2148" fmla="*/ 1266069 h 1737071"/>
              <a:gd name="connsiteX2149" fmla="*/ 2872741 w 3956050"/>
              <a:gd name="connsiteY2149" fmla="*/ 1260081 h 1737071"/>
              <a:gd name="connsiteX2150" fmla="*/ 2872741 w 3956050"/>
              <a:gd name="connsiteY2150" fmla="*/ 1248107 h 1737071"/>
              <a:gd name="connsiteX2151" fmla="*/ 2878726 w 3956050"/>
              <a:gd name="connsiteY2151" fmla="*/ 1246111 h 1737071"/>
              <a:gd name="connsiteX2152" fmla="*/ 2882716 w 3956050"/>
              <a:gd name="connsiteY2152" fmla="*/ 1246111 h 1737071"/>
              <a:gd name="connsiteX2153" fmla="*/ 2878726 w 3956050"/>
              <a:gd name="connsiteY2153" fmla="*/ 1252098 h 1737071"/>
              <a:gd name="connsiteX2154" fmla="*/ 2878726 w 3956050"/>
              <a:gd name="connsiteY2154" fmla="*/ 1260081 h 1737071"/>
              <a:gd name="connsiteX2155" fmla="*/ 2888701 w 3956050"/>
              <a:gd name="connsiteY2155" fmla="*/ 1264073 h 1737071"/>
              <a:gd name="connsiteX2156" fmla="*/ 2884711 w 3956050"/>
              <a:gd name="connsiteY2156" fmla="*/ 1270060 h 1737071"/>
              <a:gd name="connsiteX2157" fmla="*/ 2882716 w 3956050"/>
              <a:gd name="connsiteY2157" fmla="*/ 1274052 h 1737071"/>
              <a:gd name="connsiteX2158" fmla="*/ 2878726 w 3956050"/>
              <a:gd name="connsiteY2158" fmla="*/ 1276048 h 1737071"/>
              <a:gd name="connsiteX2159" fmla="*/ 2880721 w 3956050"/>
              <a:gd name="connsiteY2159" fmla="*/ 1280039 h 1737071"/>
              <a:gd name="connsiteX2160" fmla="*/ 2888701 w 3956050"/>
              <a:gd name="connsiteY2160" fmla="*/ 1278043 h 1737071"/>
              <a:gd name="connsiteX2161" fmla="*/ 2894686 w 3956050"/>
              <a:gd name="connsiteY2161" fmla="*/ 1276048 h 1737071"/>
              <a:gd name="connsiteX2162" fmla="*/ 2898676 w 3956050"/>
              <a:gd name="connsiteY2162" fmla="*/ 1274052 h 1737071"/>
              <a:gd name="connsiteX2163" fmla="*/ 2902666 w 3956050"/>
              <a:gd name="connsiteY2163" fmla="*/ 1268065 h 1737071"/>
              <a:gd name="connsiteX2164" fmla="*/ 2906657 w 3956050"/>
              <a:gd name="connsiteY2164" fmla="*/ 1260081 h 1737071"/>
              <a:gd name="connsiteX2165" fmla="*/ 2908652 w 3956050"/>
              <a:gd name="connsiteY2165" fmla="*/ 1270060 h 1737071"/>
              <a:gd name="connsiteX2166" fmla="*/ 2906657 w 3956050"/>
              <a:gd name="connsiteY2166" fmla="*/ 1278043 h 1737071"/>
              <a:gd name="connsiteX2167" fmla="*/ 2910647 w 3956050"/>
              <a:gd name="connsiteY2167" fmla="*/ 1276048 h 1737071"/>
              <a:gd name="connsiteX2168" fmla="*/ 2912642 w 3956050"/>
              <a:gd name="connsiteY2168" fmla="*/ 1270060 h 1737071"/>
              <a:gd name="connsiteX2169" fmla="*/ 2914637 w 3956050"/>
              <a:gd name="connsiteY2169" fmla="*/ 1260081 h 1737071"/>
              <a:gd name="connsiteX2170" fmla="*/ 2910647 w 3956050"/>
              <a:gd name="connsiteY2170" fmla="*/ 1254094 h 1737071"/>
              <a:gd name="connsiteX2171" fmla="*/ 2914637 w 3956050"/>
              <a:gd name="connsiteY2171" fmla="*/ 1250103 h 1737071"/>
              <a:gd name="connsiteX2172" fmla="*/ 2922617 w 3956050"/>
              <a:gd name="connsiteY2172" fmla="*/ 1258086 h 1737071"/>
              <a:gd name="connsiteX2173" fmla="*/ 2928602 w 3956050"/>
              <a:gd name="connsiteY2173" fmla="*/ 1250103 h 1737071"/>
              <a:gd name="connsiteX2174" fmla="*/ 2940572 w 3956050"/>
              <a:gd name="connsiteY2174" fmla="*/ 1252098 h 1737071"/>
              <a:gd name="connsiteX2175" fmla="*/ 2944562 w 3956050"/>
              <a:gd name="connsiteY2175" fmla="*/ 1260081 h 1737071"/>
              <a:gd name="connsiteX2176" fmla="*/ 2950548 w 3956050"/>
              <a:gd name="connsiteY2176" fmla="*/ 1268065 h 1737071"/>
              <a:gd name="connsiteX2177" fmla="*/ 2956533 w 3956050"/>
              <a:gd name="connsiteY2177" fmla="*/ 1274052 h 1737071"/>
              <a:gd name="connsiteX2178" fmla="*/ 2964513 w 3956050"/>
              <a:gd name="connsiteY2178" fmla="*/ 1284031 h 1737071"/>
              <a:gd name="connsiteX2179" fmla="*/ 2970498 w 3956050"/>
              <a:gd name="connsiteY2179" fmla="*/ 1284031 h 1737071"/>
              <a:gd name="connsiteX2180" fmla="*/ 2972493 w 3956050"/>
              <a:gd name="connsiteY2180" fmla="*/ 1290018 h 1737071"/>
              <a:gd name="connsiteX2181" fmla="*/ 2974488 w 3956050"/>
              <a:gd name="connsiteY2181" fmla="*/ 1292014 h 1737071"/>
              <a:gd name="connsiteX2182" fmla="*/ 2982468 w 3956050"/>
              <a:gd name="connsiteY2182" fmla="*/ 1294010 h 1737071"/>
              <a:gd name="connsiteX2183" fmla="*/ 2986458 w 3956050"/>
              <a:gd name="connsiteY2183" fmla="*/ 1298001 h 1737071"/>
              <a:gd name="connsiteX2184" fmla="*/ 2982468 w 3956050"/>
              <a:gd name="connsiteY2184" fmla="*/ 1305984 h 1737071"/>
              <a:gd name="connsiteX2185" fmla="*/ 2978478 w 3956050"/>
              <a:gd name="connsiteY2185" fmla="*/ 1301993 h 1737071"/>
              <a:gd name="connsiteX2186" fmla="*/ 2976483 w 3956050"/>
              <a:gd name="connsiteY2186" fmla="*/ 1305984 h 1737071"/>
              <a:gd name="connsiteX2187" fmla="*/ 2984463 w 3956050"/>
              <a:gd name="connsiteY2187" fmla="*/ 1309976 h 1737071"/>
              <a:gd name="connsiteX2188" fmla="*/ 2990448 w 3956050"/>
              <a:gd name="connsiteY2188" fmla="*/ 1315963 h 1737071"/>
              <a:gd name="connsiteX2189" fmla="*/ 2988453 w 3956050"/>
              <a:gd name="connsiteY2189" fmla="*/ 1323946 h 1737071"/>
              <a:gd name="connsiteX2190" fmla="*/ 2994439 w 3956050"/>
              <a:gd name="connsiteY2190" fmla="*/ 1327938 h 1737071"/>
              <a:gd name="connsiteX2191" fmla="*/ 2994439 w 3956050"/>
              <a:gd name="connsiteY2191" fmla="*/ 1335921 h 1737071"/>
              <a:gd name="connsiteX2192" fmla="*/ 2992443 w 3956050"/>
              <a:gd name="connsiteY2192" fmla="*/ 1339912 h 1737071"/>
              <a:gd name="connsiteX2193" fmla="*/ 2992443 w 3956050"/>
              <a:gd name="connsiteY2193" fmla="*/ 1345900 h 1737071"/>
              <a:gd name="connsiteX2194" fmla="*/ 2988453 w 3956050"/>
              <a:gd name="connsiteY2194" fmla="*/ 1351887 h 1737071"/>
              <a:gd name="connsiteX2195" fmla="*/ 2988453 w 3956050"/>
              <a:gd name="connsiteY2195" fmla="*/ 1357874 h 1737071"/>
              <a:gd name="connsiteX2196" fmla="*/ 2988453 w 3956050"/>
              <a:gd name="connsiteY2196" fmla="*/ 1365857 h 1737071"/>
              <a:gd name="connsiteX2197" fmla="*/ 2988453 w 3956050"/>
              <a:gd name="connsiteY2197" fmla="*/ 1377832 h 1737071"/>
              <a:gd name="connsiteX2198" fmla="*/ 2988453 w 3956050"/>
              <a:gd name="connsiteY2198" fmla="*/ 1383819 h 1737071"/>
              <a:gd name="connsiteX2199" fmla="*/ 2990448 w 3956050"/>
              <a:gd name="connsiteY2199" fmla="*/ 1395794 h 1737071"/>
              <a:gd name="connsiteX2200" fmla="*/ 2994439 w 3956050"/>
              <a:gd name="connsiteY2200" fmla="*/ 1407769 h 1737071"/>
              <a:gd name="connsiteX2201" fmla="*/ 2996434 w 3956050"/>
              <a:gd name="connsiteY2201" fmla="*/ 1411760 h 1737071"/>
              <a:gd name="connsiteX2202" fmla="*/ 2998429 w 3956050"/>
              <a:gd name="connsiteY2202" fmla="*/ 1423735 h 1737071"/>
              <a:gd name="connsiteX2203" fmla="*/ 2996434 w 3956050"/>
              <a:gd name="connsiteY2203" fmla="*/ 1435709 h 1737071"/>
              <a:gd name="connsiteX2204" fmla="*/ 2998429 w 3956050"/>
              <a:gd name="connsiteY2204" fmla="*/ 1447684 h 1737071"/>
              <a:gd name="connsiteX2205" fmla="*/ 2996434 w 3956050"/>
              <a:gd name="connsiteY2205" fmla="*/ 1455667 h 1737071"/>
              <a:gd name="connsiteX2206" fmla="*/ 3002419 w 3956050"/>
              <a:gd name="connsiteY2206" fmla="*/ 1457663 h 1737071"/>
              <a:gd name="connsiteX2207" fmla="*/ 3000424 w 3956050"/>
              <a:gd name="connsiteY2207" fmla="*/ 1475625 h 1737071"/>
              <a:gd name="connsiteX2208" fmla="*/ 2994439 w 3956050"/>
              <a:gd name="connsiteY2208" fmla="*/ 1483608 h 1737071"/>
              <a:gd name="connsiteX2209" fmla="*/ 2990448 w 3956050"/>
              <a:gd name="connsiteY2209" fmla="*/ 1491591 h 1737071"/>
              <a:gd name="connsiteX2210" fmla="*/ 2986458 w 3956050"/>
              <a:gd name="connsiteY2210" fmla="*/ 1493587 h 1737071"/>
              <a:gd name="connsiteX2211" fmla="*/ 2986458 w 3956050"/>
              <a:gd name="connsiteY2211" fmla="*/ 1501570 h 1737071"/>
              <a:gd name="connsiteX2212" fmla="*/ 2982468 w 3956050"/>
              <a:gd name="connsiteY2212" fmla="*/ 1511549 h 1737071"/>
              <a:gd name="connsiteX2213" fmla="*/ 2978478 w 3956050"/>
              <a:gd name="connsiteY2213" fmla="*/ 1527515 h 1737071"/>
              <a:gd name="connsiteX2214" fmla="*/ 2972493 w 3956050"/>
              <a:gd name="connsiteY2214" fmla="*/ 1539490 h 1737071"/>
              <a:gd name="connsiteX2215" fmla="*/ 2970498 w 3956050"/>
              <a:gd name="connsiteY2215" fmla="*/ 1547473 h 1737071"/>
              <a:gd name="connsiteX2216" fmla="*/ 2966508 w 3956050"/>
              <a:gd name="connsiteY2216" fmla="*/ 1559447 h 1737071"/>
              <a:gd name="connsiteX2217" fmla="*/ 2962518 w 3956050"/>
              <a:gd name="connsiteY2217" fmla="*/ 1571422 h 1737071"/>
              <a:gd name="connsiteX2218" fmla="*/ 2956533 w 3956050"/>
              <a:gd name="connsiteY2218" fmla="*/ 1581401 h 1737071"/>
              <a:gd name="connsiteX2219" fmla="*/ 2952543 w 3956050"/>
              <a:gd name="connsiteY2219" fmla="*/ 1589384 h 1737071"/>
              <a:gd name="connsiteX2220" fmla="*/ 2946557 w 3956050"/>
              <a:gd name="connsiteY2220" fmla="*/ 1597367 h 1737071"/>
              <a:gd name="connsiteX2221" fmla="*/ 2942567 w 3956050"/>
              <a:gd name="connsiteY2221" fmla="*/ 1607346 h 1737071"/>
              <a:gd name="connsiteX2222" fmla="*/ 2938577 w 3956050"/>
              <a:gd name="connsiteY2222" fmla="*/ 1611337 h 1737071"/>
              <a:gd name="connsiteX2223" fmla="*/ 2936582 w 3956050"/>
              <a:gd name="connsiteY2223" fmla="*/ 1615329 h 1737071"/>
              <a:gd name="connsiteX2224" fmla="*/ 2932592 w 3956050"/>
              <a:gd name="connsiteY2224" fmla="*/ 1619321 h 1737071"/>
              <a:gd name="connsiteX2225" fmla="*/ 2926607 w 3956050"/>
              <a:gd name="connsiteY2225" fmla="*/ 1623312 h 1737071"/>
              <a:gd name="connsiteX2226" fmla="*/ 2924612 w 3956050"/>
              <a:gd name="connsiteY2226" fmla="*/ 1633291 h 1737071"/>
              <a:gd name="connsiteX2227" fmla="*/ 2918627 w 3956050"/>
              <a:gd name="connsiteY2227" fmla="*/ 1639278 h 1737071"/>
              <a:gd name="connsiteX2228" fmla="*/ 2914637 w 3956050"/>
              <a:gd name="connsiteY2228" fmla="*/ 1649257 h 1737071"/>
              <a:gd name="connsiteX2229" fmla="*/ 2902666 w 3956050"/>
              <a:gd name="connsiteY2229" fmla="*/ 1669215 h 1737071"/>
              <a:gd name="connsiteX2230" fmla="*/ 2880721 w 3956050"/>
              <a:gd name="connsiteY2230" fmla="*/ 1677198 h 1737071"/>
              <a:gd name="connsiteX2231" fmla="*/ 2864761 w 3956050"/>
              <a:gd name="connsiteY2231" fmla="*/ 1679194 h 1737071"/>
              <a:gd name="connsiteX2232" fmla="*/ 2856780 w 3956050"/>
              <a:gd name="connsiteY2232" fmla="*/ 1679194 h 1737071"/>
              <a:gd name="connsiteX2233" fmla="*/ 2848800 w 3956050"/>
              <a:gd name="connsiteY2233" fmla="*/ 1673206 h 1737071"/>
              <a:gd name="connsiteX2234" fmla="*/ 2846805 w 3956050"/>
              <a:gd name="connsiteY2234" fmla="*/ 1665223 h 1737071"/>
              <a:gd name="connsiteX2235" fmla="*/ 2842815 w 3956050"/>
              <a:gd name="connsiteY2235" fmla="*/ 1671211 h 1737071"/>
              <a:gd name="connsiteX2236" fmla="*/ 2834835 w 3956050"/>
              <a:gd name="connsiteY2236" fmla="*/ 1665223 h 1737071"/>
              <a:gd name="connsiteX2237" fmla="*/ 2828850 w 3956050"/>
              <a:gd name="connsiteY2237" fmla="*/ 1667219 h 1737071"/>
              <a:gd name="connsiteX2238" fmla="*/ 2826855 w 3956050"/>
              <a:gd name="connsiteY2238" fmla="*/ 1675202 h 1737071"/>
              <a:gd name="connsiteX2239" fmla="*/ 2822865 w 3956050"/>
              <a:gd name="connsiteY2239" fmla="*/ 1679194 h 1737071"/>
              <a:gd name="connsiteX2240" fmla="*/ 2820870 w 3956050"/>
              <a:gd name="connsiteY2240" fmla="*/ 1685181 h 1737071"/>
              <a:gd name="connsiteX2241" fmla="*/ 2818875 w 3956050"/>
              <a:gd name="connsiteY2241" fmla="*/ 1685181 h 1737071"/>
              <a:gd name="connsiteX2242" fmla="*/ 2816880 w 3956050"/>
              <a:gd name="connsiteY2242" fmla="*/ 1679194 h 1737071"/>
              <a:gd name="connsiteX2243" fmla="*/ 2812889 w 3956050"/>
              <a:gd name="connsiteY2243" fmla="*/ 1677198 h 1737071"/>
              <a:gd name="connsiteX2244" fmla="*/ 2810894 w 3956050"/>
              <a:gd name="connsiteY2244" fmla="*/ 1673206 h 1737071"/>
              <a:gd name="connsiteX2245" fmla="*/ 2808899 w 3956050"/>
              <a:gd name="connsiteY2245" fmla="*/ 1671211 h 1737071"/>
              <a:gd name="connsiteX2246" fmla="*/ 2806904 w 3956050"/>
              <a:gd name="connsiteY2246" fmla="*/ 1665223 h 1737071"/>
              <a:gd name="connsiteX2247" fmla="*/ 2806904 w 3956050"/>
              <a:gd name="connsiteY2247" fmla="*/ 1659236 h 1737071"/>
              <a:gd name="connsiteX2248" fmla="*/ 2802914 w 3956050"/>
              <a:gd name="connsiteY2248" fmla="*/ 1657240 h 1737071"/>
              <a:gd name="connsiteX2249" fmla="*/ 2804909 w 3956050"/>
              <a:gd name="connsiteY2249" fmla="*/ 1651253 h 1737071"/>
              <a:gd name="connsiteX2250" fmla="*/ 2804909 w 3956050"/>
              <a:gd name="connsiteY2250" fmla="*/ 1647261 h 1737071"/>
              <a:gd name="connsiteX2251" fmla="*/ 2802914 w 3956050"/>
              <a:gd name="connsiteY2251" fmla="*/ 1643270 h 1737071"/>
              <a:gd name="connsiteX2252" fmla="*/ 2800919 w 3956050"/>
              <a:gd name="connsiteY2252" fmla="*/ 1639278 h 1737071"/>
              <a:gd name="connsiteX2253" fmla="*/ 2798924 w 3956050"/>
              <a:gd name="connsiteY2253" fmla="*/ 1633291 h 1737071"/>
              <a:gd name="connsiteX2254" fmla="*/ 2794934 w 3956050"/>
              <a:gd name="connsiteY2254" fmla="*/ 1627304 h 1737071"/>
              <a:gd name="connsiteX2255" fmla="*/ 2790944 w 3956050"/>
              <a:gd name="connsiteY2255" fmla="*/ 1619321 h 1737071"/>
              <a:gd name="connsiteX2256" fmla="*/ 2786954 w 3956050"/>
              <a:gd name="connsiteY2256" fmla="*/ 1617325 h 1737071"/>
              <a:gd name="connsiteX2257" fmla="*/ 2788949 w 3956050"/>
              <a:gd name="connsiteY2257" fmla="*/ 1615329 h 1737071"/>
              <a:gd name="connsiteX2258" fmla="*/ 2792939 w 3956050"/>
              <a:gd name="connsiteY2258" fmla="*/ 1613333 h 1737071"/>
              <a:gd name="connsiteX2259" fmla="*/ 2796929 w 3956050"/>
              <a:gd name="connsiteY2259" fmla="*/ 1611337 h 1737071"/>
              <a:gd name="connsiteX2260" fmla="*/ 2800919 w 3956050"/>
              <a:gd name="connsiteY2260" fmla="*/ 1609342 h 1737071"/>
              <a:gd name="connsiteX2261" fmla="*/ 2800919 w 3956050"/>
              <a:gd name="connsiteY2261" fmla="*/ 1613333 h 1737071"/>
              <a:gd name="connsiteX2262" fmla="*/ 2804909 w 3956050"/>
              <a:gd name="connsiteY2262" fmla="*/ 1615329 h 1737071"/>
              <a:gd name="connsiteX2263" fmla="*/ 2806904 w 3956050"/>
              <a:gd name="connsiteY2263" fmla="*/ 1617325 h 1737071"/>
              <a:gd name="connsiteX2264" fmla="*/ 2810894 w 3956050"/>
              <a:gd name="connsiteY2264" fmla="*/ 1619321 h 1737071"/>
              <a:gd name="connsiteX2265" fmla="*/ 2812889 w 3956050"/>
              <a:gd name="connsiteY2265" fmla="*/ 1625308 h 1737071"/>
              <a:gd name="connsiteX2266" fmla="*/ 2816880 w 3956050"/>
              <a:gd name="connsiteY2266" fmla="*/ 1625308 h 1737071"/>
              <a:gd name="connsiteX2267" fmla="*/ 2822865 w 3956050"/>
              <a:gd name="connsiteY2267" fmla="*/ 1627304 h 1737071"/>
              <a:gd name="connsiteX2268" fmla="*/ 2826855 w 3956050"/>
              <a:gd name="connsiteY2268" fmla="*/ 1625308 h 1737071"/>
              <a:gd name="connsiteX2269" fmla="*/ 2826855 w 3956050"/>
              <a:gd name="connsiteY2269" fmla="*/ 1619321 h 1737071"/>
              <a:gd name="connsiteX2270" fmla="*/ 2826855 w 3956050"/>
              <a:gd name="connsiteY2270" fmla="*/ 1615329 h 1737071"/>
              <a:gd name="connsiteX2271" fmla="*/ 2826855 w 3956050"/>
              <a:gd name="connsiteY2271" fmla="*/ 1611337 h 1737071"/>
              <a:gd name="connsiteX2272" fmla="*/ 2828850 w 3956050"/>
              <a:gd name="connsiteY2272" fmla="*/ 1607346 h 1737071"/>
              <a:gd name="connsiteX2273" fmla="*/ 2834835 w 3956050"/>
              <a:gd name="connsiteY2273" fmla="*/ 1603354 h 1737071"/>
              <a:gd name="connsiteX2274" fmla="*/ 2838825 w 3956050"/>
              <a:gd name="connsiteY2274" fmla="*/ 1601359 h 1737071"/>
              <a:gd name="connsiteX2275" fmla="*/ 2840820 w 3956050"/>
              <a:gd name="connsiteY2275" fmla="*/ 1599363 h 1737071"/>
              <a:gd name="connsiteX2276" fmla="*/ 2840820 w 3956050"/>
              <a:gd name="connsiteY2276" fmla="*/ 1595371 h 1737071"/>
              <a:gd name="connsiteX2277" fmla="*/ 2840820 w 3956050"/>
              <a:gd name="connsiteY2277" fmla="*/ 1593376 h 1737071"/>
              <a:gd name="connsiteX2278" fmla="*/ 2844810 w 3956050"/>
              <a:gd name="connsiteY2278" fmla="*/ 1591380 h 1737071"/>
              <a:gd name="connsiteX2279" fmla="*/ 2846805 w 3956050"/>
              <a:gd name="connsiteY2279" fmla="*/ 1587388 h 1737071"/>
              <a:gd name="connsiteX2280" fmla="*/ 2846805 w 3956050"/>
              <a:gd name="connsiteY2280" fmla="*/ 1583397 h 1737071"/>
              <a:gd name="connsiteX2281" fmla="*/ 2848800 w 3956050"/>
              <a:gd name="connsiteY2281" fmla="*/ 1575414 h 1737071"/>
              <a:gd name="connsiteX2282" fmla="*/ 2848800 w 3956050"/>
              <a:gd name="connsiteY2282" fmla="*/ 1569426 h 1737071"/>
              <a:gd name="connsiteX2283" fmla="*/ 2848800 w 3956050"/>
              <a:gd name="connsiteY2283" fmla="*/ 1561443 h 1737071"/>
              <a:gd name="connsiteX2284" fmla="*/ 2848800 w 3956050"/>
              <a:gd name="connsiteY2284" fmla="*/ 1553460 h 1737071"/>
              <a:gd name="connsiteX2285" fmla="*/ 2848800 w 3956050"/>
              <a:gd name="connsiteY2285" fmla="*/ 1547473 h 1737071"/>
              <a:gd name="connsiteX2286" fmla="*/ 2846805 w 3956050"/>
              <a:gd name="connsiteY2286" fmla="*/ 1543481 h 1737071"/>
              <a:gd name="connsiteX2287" fmla="*/ 2850795 w 3956050"/>
              <a:gd name="connsiteY2287" fmla="*/ 1543481 h 1737071"/>
              <a:gd name="connsiteX2288" fmla="*/ 2850795 w 3956050"/>
              <a:gd name="connsiteY2288" fmla="*/ 1539490 h 1737071"/>
              <a:gd name="connsiteX2289" fmla="*/ 2850795 w 3956050"/>
              <a:gd name="connsiteY2289" fmla="*/ 1533502 h 1737071"/>
              <a:gd name="connsiteX2290" fmla="*/ 2852790 w 3956050"/>
              <a:gd name="connsiteY2290" fmla="*/ 1529511 h 1737071"/>
              <a:gd name="connsiteX2291" fmla="*/ 2854785 w 3956050"/>
              <a:gd name="connsiteY2291" fmla="*/ 1525519 h 1737071"/>
              <a:gd name="connsiteX2292" fmla="*/ 2858775 w 3956050"/>
              <a:gd name="connsiteY2292" fmla="*/ 1521528 h 1737071"/>
              <a:gd name="connsiteX2293" fmla="*/ 2858775 w 3956050"/>
              <a:gd name="connsiteY2293" fmla="*/ 1515540 h 1737071"/>
              <a:gd name="connsiteX2294" fmla="*/ 2858775 w 3956050"/>
              <a:gd name="connsiteY2294" fmla="*/ 1511549 h 1737071"/>
              <a:gd name="connsiteX2295" fmla="*/ 2858775 w 3956050"/>
              <a:gd name="connsiteY2295" fmla="*/ 1505562 h 1737071"/>
              <a:gd name="connsiteX2296" fmla="*/ 2856780 w 3956050"/>
              <a:gd name="connsiteY2296" fmla="*/ 1505562 h 1737071"/>
              <a:gd name="connsiteX2297" fmla="*/ 2852790 w 3956050"/>
              <a:gd name="connsiteY2297" fmla="*/ 1503566 h 1737071"/>
              <a:gd name="connsiteX2298" fmla="*/ 2852790 w 3956050"/>
              <a:gd name="connsiteY2298" fmla="*/ 1497578 h 1737071"/>
              <a:gd name="connsiteX2299" fmla="*/ 2854785 w 3956050"/>
              <a:gd name="connsiteY2299" fmla="*/ 1495583 h 1737071"/>
              <a:gd name="connsiteX2300" fmla="*/ 2854785 w 3956050"/>
              <a:gd name="connsiteY2300" fmla="*/ 1491591 h 1737071"/>
              <a:gd name="connsiteX2301" fmla="*/ 2854785 w 3956050"/>
              <a:gd name="connsiteY2301" fmla="*/ 1487600 h 1737071"/>
              <a:gd name="connsiteX2302" fmla="*/ 2852790 w 3956050"/>
              <a:gd name="connsiteY2302" fmla="*/ 1483608 h 1737071"/>
              <a:gd name="connsiteX2303" fmla="*/ 2846805 w 3956050"/>
              <a:gd name="connsiteY2303" fmla="*/ 1481612 h 1737071"/>
              <a:gd name="connsiteX2304" fmla="*/ 2842815 w 3956050"/>
              <a:gd name="connsiteY2304" fmla="*/ 1481612 h 1737071"/>
              <a:gd name="connsiteX2305" fmla="*/ 2838825 w 3956050"/>
              <a:gd name="connsiteY2305" fmla="*/ 1483608 h 1737071"/>
              <a:gd name="connsiteX2306" fmla="*/ 2836830 w 3956050"/>
              <a:gd name="connsiteY2306" fmla="*/ 1485604 h 1737071"/>
              <a:gd name="connsiteX2307" fmla="*/ 2834835 w 3956050"/>
              <a:gd name="connsiteY2307" fmla="*/ 1487600 h 1737071"/>
              <a:gd name="connsiteX2308" fmla="*/ 2830845 w 3956050"/>
              <a:gd name="connsiteY2308" fmla="*/ 1487600 h 1737071"/>
              <a:gd name="connsiteX2309" fmla="*/ 2826855 w 3956050"/>
              <a:gd name="connsiteY2309" fmla="*/ 1487600 h 1737071"/>
              <a:gd name="connsiteX2310" fmla="*/ 2822865 w 3956050"/>
              <a:gd name="connsiteY2310" fmla="*/ 1491591 h 1737071"/>
              <a:gd name="connsiteX2311" fmla="*/ 2820870 w 3956050"/>
              <a:gd name="connsiteY2311" fmla="*/ 1493587 h 1737071"/>
              <a:gd name="connsiteX2312" fmla="*/ 2816880 w 3956050"/>
              <a:gd name="connsiteY2312" fmla="*/ 1495583 h 1737071"/>
              <a:gd name="connsiteX2313" fmla="*/ 2812889 w 3956050"/>
              <a:gd name="connsiteY2313" fmla="*/ 1497578 h 1737071"/>
              <a:gd name="connsiteX2314" fmla="*/ 2810894 w 3956050"/>
              <a:gd name="connsiteY2314" fmla="*/ 1497578 h 1737071"/>
              <a:gd name="connsiteX2315" fmla="*/ 2806904 w 3956050"/>
              <a:gd name="connsiteY2315" fmla="*/ 1497578 h 1737071"/>
              <a:gd name="connsiteX2316" fmla="*/ 2804909 w 3956050"/>
              <a:gd name="connsiteY2316" fmla="*/ 1501570 h 1737071"/>
              <a:gd name="connsiteX2317" fmla="*/ 2804909 w 3956050"/>
              <a:gd name="connsiteY2317" fmla="*/ 1505562 h 1737071"/>
              <a:gd name="connsiteX2318" fmla="*/ 2800919 w 3956050"/>
              <a:gd name="connsiteY2318" fmla="*/ 1507557 h 1737071"/>
              <a:gd name="connsiteX2319" fmla="*/ 2790944 w 3956050"/>
              <a:gd name="connsiteY2319" fmla="*/ 1505562 h 1737071"/>
              <a:gd name="connsiteX2320" fmla="*/ 2788949 w 3956050"/>
              <a:gd name="connsiteY2320" fmla="*/ 1505562 h 1737071"/>
              <a:gd name="connsiteX2321" fmla="*/ 2784959 w 3956050"/>
              <a:gd name="connsiteY2321" fmla="*/ 1505562 h 1737071"/>
              <a:gd name="connsiteX2322" fmla="*/ 2780969 w 3956050"/>
              <a:gd name="connsiteY2322" fmla="*/ 1505562 h 1737071"/>
              <a:gd name="connsiteX2323" fmla="*/ 2776979 w 3956050"/>
              <a:gd name="connsiteY2323" fmla="*/ 1505562 h 1737071"/>
              <a:gd name="connsiteX2324" fmla="*/ 2774984 w 3956050"/>
              <a:gd name="connsiteY2324" fmla="*/ 1505562 h 1737071"/>
              <a:gd name="connsiteX2325" fmla="*/ 2770994 w 3956050"/>
              <a:gd name="connsiteY2325" fmla="*/ 1503566 h 1737071"/>
              <a:gd name="connsiteX2326" fmla="*/ 2768998 w 3956050"/>
              <a:gd name="connsiteY2326" fmla="*/ 1503566 h 1737071"/>
              <a:gd name="connsiteX2327" fmla="*/ 2765008 w 3956050"/>
              <a:gd name="connsiteY2327" fmla="*/ 1505562 h 1737071"/>
              <a:gd name="connsiteX2328" fmla="*/ 2763013 w 3956050"/>
              <a:gd name="connsiteY2328" fmla="*/ 1503566 h 1737071"/>
              <a:gd name="connsiteX2329" fmla="*/ 2761018 w 3956050"/>
              <a:gd name="connsiteY2329" fmla="*/ 1501570 h 1737071"/>
              <a:gd name="connsiteX2330" fmla="*/ 2759023 w 3956050"/>
              <a:gd name="connsiteY2330" fmla="*/ 1499574 h 1737071"/>
              <a:gd name="connsiteX2331" fmla="*/ 2757028 w 3956050"/>
              <a:gd name="connsiteY2331" fmla="*/ 1495583 h 1737071"/>
              <a:gd name="connsiteX2332" fmla="*/ 2755033 w 3956050"/>
              <a:gd name="connsiteY2332" fmla="*/ 1493587 h 1737071"/>
              <a:gd name="connsiteX2333" fmla="*/ 2753038 w 3956050"/>
              <a:gd name="connsiteY2333" fmla="*/ 1491591 h 1737071"/>
              <a:gd name="connsiteX2334" fmla="*/ 2751043 w 3956050"/>
              <a:gd name="connsiteY2334" fmla="*/ 1491591 h 1737071"/>
              <a:gd name="connsiteX2335" fmla="*/ 2751043 w 3956050"/>
              <a:gd name="connsiteY2335" fmla="*/ 1487600 h 1737071"/>
              <a:gd name="connsiteX2336" fmla="*/ 2751043 w 3956050"/>
              <a:gd name="connsiteY2336" fmla="*/ 1481612 h 1737071"/>
              <a:gd name="connsiteX2337" fmla="*/ 2745058 w 3956050"/>
              <a:gd name="connsiteY2337" fmla="*/ 1475625 h 1737071"/>
              <a:gd name="connsiteX2338" fmla="*/ 2745058 w 3956050"/>
              <a:gd name="connsiteY2338" fmla="*/ 1465646 h 1737071"/>
              <a:gd name="connsiteX2339" fmla="*/ 2745058 w 3956050"/>
              <a:gd name="connsiteY2339" fmla="*/ 1461655 h 1737071"/>
              <a:gd name="connsiteX2340" fmla="*/ 2743063 w 3956050"/>
              <a:gd name="connsiteY2340" fmla="*/ 1459659 h 1737071"/>
              <a:gd name="connsiteX2341" fmla="*/ 2737078 w 3956050"/>
              <a:gd name="connsiteY2341" fmla="*/ 1459659 h 1737071"/>
              <a:gd name="connsiteX2342" fmla="*/ 2731093 w 3956050"/>
              <a:gd name="connsiteY2342" fmla="*/ 1459659 h 1737071"/>
              <a:gd name="connsiteX2343" fmla="*/ 2729098 w 3956050"/>
              <a:gd name="connsiteY2343" fmla="*/ 1457663 h 1737071"/>
              <a:gd name="connsiteX2344" fmla="*/ 2727103 w 3956050"/>
              <a:gd name="connsiteY2344" fmla="*/ 1453671 h 1737071"/>
              <a:gd name="connsiteX2345" fmla="*/ 2725107 w 3956050"/>
              <a:gd name="connsiteY2345" fmla="*/ 1451676 h 1737071"/>
              <a:gd name="connsiteX2346" fmla="*/ 2721117 w 3956050"/>
              <a:gd name="connsiteY2346" fmla="*/ 1449680 h 1737071"/>
              <a:gd name="connsiteX2347" fmla="*/ 2717127 w 3956050"/>
              <a:gd name="connsiteY2347" fmla="*/ 1447684 h 1737071"/>
              <a:gd name="connsiteX2348" fmla="*/ 2711142 w 3956050"/>
              <a:gd name="connsiteY2348" fmla="*/ 1447684 h 1737071"/>
              <a:gd name="connsiteX2349" fmla="*/ 2707152 w 3956050"/>
              <a:gd name="connsiteY2349" fmla="*/ 1443693 h 1737071"/>
              <a:gd name="connsiteX2350" fmla="*/ 2701167 w 3956050"/>
              <a:gd name="connsiteY2350" fmla="*/ 1443693 h 1737071"/>
              <a:gd name="connsiteX2351" fmla="*/ 2697177 w 3956050"/>
              <a:gd name="connsiteY2351" fmla="*/ 1441697 h 1737071"/>
              <a:gd name="connsiteX2352" fmla="*/ 2689197 w 3956050"/>
              <a:gd name="connsiteY2352" fmla="*/ 1443693 h 1737071"/>
              <a:gd name="connsiteX2353" fmla="*/ 2685207 w 3956050"/>
              <a:gd name="connsiteY2353" fmla="*/ 1441697 h 1737071"/>
              <a:gd name="connsiteX2354" fmla="*/ 2683212 w 3956050"/>
              <a:gd name="connsiteY2354" fmla="*/ 1435709 h 1737071"/>
              <a:gd name="connsiteX2355" fmla="*/ 2679221 w 3956050"/>
              <a:gd name="connsiteY2355" fmla="*/ 1433714 h 1737071"/>
              <a:gd name="connsiteX2356" fmla="*/ 2675231 w 3956050"/>
              <a:gd name="connsiteY2356" fmla="*/ 1433714 h 1737071"/>
              <a:gd name="connsiteX2357" fmla="*/ 2669246 w 3956050"/>
              <a:gd name="connsiteY2357" fmla="*/ 1433714 h 1737071"/>
              <a:gd name="connsiteX2358" fmla="*/ 2665256 w 3956050"/>
              <a:gd name="connsiteY2358" fmla="*/ 1427726 h 1737071"/>
              <a:gd name="connsiteX2359" fmla="*/ 2659271 w 3956050"/>
              <a:gd name="connsiteY2359" fmla="*/ 1417748 h 1737071"/>
              <a:gd name="connsiteX2360" fmla="*/ 2653286 w 3956050"/>
              <a:gd name="connsiteY2360" fmla="*/ 1413756 h 1737071"/>
              <a:gd name="connsiteX2361" fmla="*/ 2653286 w 3956050"/>
              <a:gd name="connsiteY2361" fmla="*/ 1409764 h 1737071"/>
              <a:gd name="connsiteX2362" fmla="*/ 2651291 w 3956050"/>
              <a:gd name="connsiteY2362" fmla="*/ 1401781 h 1737071"/>
              <a:gd name="connsiteX2363" fmla="*/ 2647301 w 3956050"/>
              <a:gd name="connsiteY2363" fmla="*/ 1395794 h 1737071"/>
              <a:gd name="connsiteX2364" fmla="*/ 2645306 w 3956050"/>
              <a:gd name="connsiteY2364" fmla="*/ 1391802 h 1737071"/>
              <a:gd name="connsiteX2365" fmla="*/ 2643311 w 3956050"/>
              <a:gd name="connsiteY2365" fmla="*/ 1391802 h 1737071"/>
              <a:gd name="connsiteX2366" fmla="*/ 2641316 w 3956050"/>
              <a:gd name="connsiteY2366" fmla="*/ 1385815 h 1737071"/>
              <a:gd name="connsiteX2367" fmla="*/ 2639321 w 3956050"/>
              <a:gd name="connsiteY2367" fmla="*/ 1383819 h 1737071"/>
              <a:gd name="connsiteX2368" fmla="*/ 2635330 w 3956050"/>
              <a:gd name="connsiteY2368" fmla="*/ 1381824 h 1737071"/>
              <a:gd name="connsiteX2369" fmla="*/ 2633335 w 3956050"/>
              <a:gd name="connsiteY2369" fmla="*/ 1379828 h 1737071"/>
              <a:gd name="connsiteX2370" fmla="*/ 2631340 w 3956050"/>
              <a:gd name="connsiteY2370" fmla="*/ 1377832 h 1737071"/>
              <a:gd name="connsiteX2371" fmla="*/ 2631340 w 3956050"/>
              <a:gd name="connsiteY2371" fmla="*/ 1371845 h 1737071"/>
              <a:gd name="connsiteX2372" fmla="*/ 2631340 w 3956050"/>
              <a:gd name="connsiteY2372" fmla="*/ 1367853 h 1737071"/>
              <a:gd name="connsiteX2373" fmla="*/ 2627350 w 3956050"/>
              <a:gd name="connsiteY2373" fmla="*/ 1365857 h 1737071"/>
              <a:gd name="connsiteX2374" fmla="*/ 2625355 w 3956050"/>
              <a:gd name="connsiteY2374" fmla="*/ 1361866 h 1737071"/>
              <a:gd name="connsiteX2375" fmla="*/ 2623360 w 3956050"/>
              <a:gd name="connsiteY2375" fmla="*/ 1361866 h 1737071"/>
              <a:gd name="connsiteX2376" fmla="*/ 2621365 w 3956050"/>
              <a:gd name="connsiteY2376" fmla="*/ 1357874 h 1737071"/>
              <a:gd name="connsiteX2377" fmla="*/ 2621365 w 3956050"/>
              <a:gd name="connsiteY2377" fmla="*/ 1353883 h 1737071"/>
              <a:gd name="connsiteX2378" fmla="*/ 2619370 w 3956050"/>
              <a:gd name="connsiteY2378" fmla="*/ 1351887 h 1737071"/>
              <a:gd name="connsiteX2379" fmla="*/ 2617375 w 3956050"/>
              <a:gd name="connsiteY2379" fmla="*/ 1343904 h 1737071"/>
              <a:gd name="connsiteX2380" fmla="*/ 2617375 w 3956050"/>
              <a:gd name="connsiteY2380" fmla="*/ 1337917 h 1737071"/>
              <a:gd name="connsiteX2381" fmla="*/ 2617375 w 3956050"/>
              <a:gd name="connsiteY2381" fmla="*/ 1333925 h 1737071"/>
              <a:gd name="connsiteX2382" fmla="*/ 2613385 w 3956050"/>
              <a:gd name="connsiteY2382" fmla="*/ 1331929 h 1737071"/>
              <a:gd name="connsiteX2383" fmla="*/ 2613385 w 3956050"/>
              <a:gd name="connsiteY2383" fmla="*/ 1327938 h 1737071"/>
              <a:gd name="connsiteX2384" fmla="*/ 2607400 w 3956050"/>
              <a:gd name="connsiteY2384" fmla="*/ 1323946 h 1737071"/>
              <a:gd name="connsiteX2385" fmla="*/ 2605405 w 3956050"/>
              <a:gd name="connsiteY2385" fmla="*/ 1319955 h 1737071"/>
              <a:gd name="connsiteX2386" fmla="*/ 2603410 w 3956050"/>
              <a:gd name="connsiteY2386" fmla="*/ 1317959 h 1737071"/>
              <a:gd name="connsiteX2387" fmla="*/ 2601415 w 3956050"/>
              <a:gd name="connsiteY2387" fmla="*/ 1315963 h 1737071"/>
              <a:gd name="connsiteX2388" fmla="*/ 2597425 w 3956050"/>
              <a:gd name="connsiteY2388" fmla="*/ 1311972 h 1737071"/>
              <a:gd name="connsiteX2389" fmla="*/ 2593435 w 3956050"/>
              <a:gd name="connsiteY2389" fmla="*/ 1309976 h 1737071"/>
              <a:gd name="connsiteX2390" fmla="*/ 2589444 w 3956050"/>
              <a:gd name="connsiteY2390" fmla="*/ 1305984 h 1737071"/>
              <a:gd name="connsiteX2391" fmla="*/ 2585454 w 3956050"/>
              <a:gd name="connsiteY2391" fmla="*/ 1305984 h 1737071"/>
              <a:gd name="connsiteX2392" fmla="*/ 2581464 w 3956050"/>
              <a:gd name="connsiteY2392" fmla="*/ 1301993 h 1737071"/>
              <a:gd name="connsiteX2393" fmla="*/ 2577474 w 3956050"/>
              <a:gd name="connsiteY2393" fmla="*/ 1299997 h 1737071"/>
              <a:gd name="connsiteX2394" fmla="*/ 2569494 w 3956050"/>
              <a:gd name="connsiteY2394" fmla="*/ 1303988 h 1737071"/>
              <a:gd name="connsiteX2395" fmla="*/ 2565504 w 3956050"/>
              <a:gd name="connsiteY2395" fmla="*/ 1301993 h 1737071"/>
              <a:gd name="connsiteX2396" fmla="*/ 2563509 w 3956050"/>
              <a:gd name="connsiteY2396" fmla="*/ 1301993 h 1737071"/>
              <a:gd name="connsiteX2397" fmla="*/ 2559519 w 3956050"/>
              <a:gd name="connsiteY2397" fmla="*/ 1301993 h 1737071"/>
              <a:gd name="connsiteX2398" fmla="*/ 2553534 w 3956050"/>
              <a:gd name="connsiteY2398" fmla="*/ 1301993 h 1737071"/>
              <a:gd name="connsiteX2399" fmla="*/ 2551539 w 3956050"/>
              <a:gd name="connsiteY2399" fmla="*/ 1299997 h 1737071"/>
              <a:gd name="connsiteX2400" fmla="*/ 2545553 w 3956050"/>
              <a:gd name="connsiteY2400" fmla="*/ 1298001 h 1737071"/>
              <a:gd name="connsiteX2401" fmla="*/ 2539568 w 3956050"/>
              <a:gd name="connsiteY2401" fmla="*/ 1294010 h 1737071"/>
              <a:gd name="connsiteX2402" fmla="*/ 2531588 w 3956050"/>
              <a:gd name="connsiteY2402" fmla="*/ 1294010 h 1737071"/>
              <a:gd name="connsiteX2403" fmla="*/ 2527598 w 3956050"/>
              <a:gd name="connsiteY2403" fmla="*/ 1296005 h 1737071"/>
              <a:gd name="connsiteX2404" fmla="*/ 2521613 w 3956050"/>
              <a:gd name="connsiteY2404" fmla="*/ 1298001 h 1737071"/>
              <a:gd name="connsiteX2405" fmla="*/ 2517623 w 3956050"/>
              <a:gd name="connsiteY2405" fmla="*/ 1298001 h 1737071"/>
              <a:gd name="connsiteX2406" fmla="*/ 2513633 w 3956050"/>
              <a:gd name="connsiteY2406" fmla="*/ 1298001 h 1737071"/>
              <a:gd name="connsiteX2407" fmla="*/ 2507648 w 3956050"/>
              <a:gd name="connsiteY2407" fmla="*/ 1298001 h 1737071"/>
              <a:gd name="connsiteX2408" fmla="*/ 2501662 w 3956050"/>
              <a:gd name="connsiteY2408" fmla="*/ 1298001 h 1737071"/>
              <a:gd name="connsiteX2409" fmla="*/ 2497672 w 3956050"/>
              <a:gd name="connsiteY2409" fmla="*/ 1301993 h 1737071"/>
              <a:gd name="connsiteX2410" fmla="*/ 2493682 w 3956050"/>
              <a:gd name="connsiteY2410" fmla="*/ 1301993 h 1737071"/>
              <a:gd name="connsiteX2411" fmla="*/ 2487697 w 3956050"/>
              <a:gd name="connsiteY2411" fmla="*/ 1301993 h 1737071"/>
              <a:gd name="connsiteX2412" fmla="*/ 2483707 w 3956050"/>
              <a:gd name="connsiteY2412" fmla="*/ 1303988 h 1737071"/>
              <a:gd name="connsiteX2413" fmla="*/ 2479717 w 3956050"/>
              <a:gd name="connsiteY2413" fmla="*/ 1303988 h 1737071"/>
              <a:gd name="connsiteX2414" fmla="*/ 2471737 w 3956050"/>
              <a:gd name="connsiteY2414" fmla="*/ 1305984 h 1737071"/>
              <a:gd name="connsiteX2415" fmla="*/ 2469742 w 3956050"/>
              <a:gd name="connsiteY2415" fmla="*/ 1307980 h 1737071"/>
              <a:gd name="connsiteX2416" fmla="*/ 2467747 w 3956050"/>
              <a:gd name="connsiteY2416" fmla="*/ 1315963 h 1737071"/>
              <a:gd name="connsiteX2417" fmla="*/ 2469742 w 3956050"/>
              <a:gd name="connsiteY2417" fmla="*/ 1321950 h 1737071"/>
              <a:gd name="connsiteX2418" fmla="*/ 2469742 w 3956050"/>
              <a:gd name="connsiteY2418" fmla="*/ 1327938 h 1737071"/>
              <a:gd name="connsiteX2419" fmla="*/ 2475727 w 3956050"/>
              <a:gd name="connsiteY2419" fmla="*/ 1327938 h 1737071"/>
              <a:gd name="connsiteX2420" fmla="*/ 2479717 w 3956050"/>
              <a:gd name="connsiteY2420" fmla="*/ 1333925 h 1737071"/>
              <a:gd name="connsiteX2421" fmla="*/ 2479717 w 3956050"/>
              <a:gd name="connsiteY2421" fmla="*/ 1341908 h 1737071"/>
              <a:gd name="connsiteX2422" fmla="*/ 2481712 w 3956050"/>
              <a:gd name="connsiteY2422" fmla="*/ 1347895 h 1737071"/>
              <a:gd name="connsiteX2423" fmla="*/ 2479717 w 3956050"/>
              <a:gd name="connsiteY2423" fmla="*/ 1351887 h 1737071"/>
              <a:gd name="connsiteX2424" fmla="*/ 2479717 w 3956050"/>
              <a:gd name="connsiteY2424" fmla="*/ 1355879 h 1737071"/>
              <a:gd name="connsiteX2425" fmla="*/ 2471737 w 3956050"/>
              <a:gd name="connsiteY2425" fmla="*/ 1361866 h 1737071"/>
              <a:gd name="connsiteX2426" fmla="*/ 2469742 w 3956050"/>
              <a:gd name="connsiteY2426" fmla="*/ 1369849 h 1737071"/>
              <a:gd name="connsiteX2427" fmla="*/ 2469742 w 3956050"/>
              <a:gd name="connsiteY2427" fmla="*/ 1379828 h 1737071"/>
              <a:gd name="connsiteX2428" fmla="*/ 2465752 w 3956050"/>
              <a:gd name="connsiteY2428" fmla="*/ 1385815 h 1737071"/>
              <a:gd name="connsiteX2429" fmla="*/ 2463757 w 3956050"/>
              <a:gd name="connsiteY2429" fmla="*/ 1391802 h 1737071"/>
              <a:gd name="connsiteX2430" fmla="*/ 2461762 w 3956050"/>
              <a:gd name="connsiteY2430" fmla="*/ 1399786 h 1737071"/>
              <a:gd name="connsiteX2431" fmla="*/ 2459767 w 3956050"/>
              <a:gd name="connsiteY2431" fmla="*/ 1411760 h 1737071"/>
              <a:gd name="connsiteX2432" fmla="*/ 2459767 w 3956050"/>
              <a:gd name="connsiteY2432" fmla="*/ 1419743 h 1737071"/>
              <a:gd name="connsiteX2433" fmla="*/ 2457771 w 3956050"/>
              <a:gd name="connsiteY2433" fmla="*/ 1419743 h 1737071"/>
              <a:gd name="connsiteX2434" fmla="*/ 2453781 w 3956050"/>
              <a:gd name="connsiteY2434" fmla="*/ 1423735 h 1737071"/>
              <a:gd name="connsiteX2435" fmla="*/ 2451786 w 3956050"/>
              <a:gd name="connsiteY2435" fmla="*/ 1429722 h 1737071"/>
              <a:gd name="connsiteX2436" fmla="*/ 2445801 w 3956050"/>
              <a:gd name="connsiteY2436" fmla="*/ 1429722 h 1737071"/>
              <a:gd name="connsiteX2437" fmla="*/ 2441811 w 3956050"/>
              <a:gd name="connsiteY2437" fmla="*/ 1431718 h 1737071"/>
              <a:gd name="connsiteX2438" fmla="*/ 2437821 w 3956050"/>
              <a:gd name="connsiteY2438" fmla="*/ 1433714 h 1737071"/>
              <a:gd name="connsiteX2439" fmla="*/ 2435826 w 3956050"/>
              <a:gd name="connsiteY2439" fmla="*/ 1433714 h 1737071"/>
              <a:gd name="connsiteX2440" fmla="*/ 2431836 w 3956050"/>
              <a:gd name="connsiteY2440" fmla="*/ 1433714 h 1737071"/>
              <a:gd name="connsiteX2441" fmla="*/ 2427846 w 3956050"/>
              <a:gd name="connsiteY2441" fmla="*/ 1433714 h 1737071"/>
              <a:gd name="connsiteX2442" fmla="*/ 2419866 w 3956050"/>
              <a:gd name="connsiteY2442" fmla="*/ 1431718 h 1737071"/>
              <a:gd name="connsiteX2443" fmla="*/ 2409890 w 3956050"/>
              <a:gd name="connsiteY2443" fmla="*/ 1433714 h 1737071"/>
              <a:gd name="connsiteX2444" fmla="*/ 2401910 w 3956050"/>
              <a:gd name="connsiteY2444" fmla="*/ 1429722 h 1737071"/>
              <a:gd name="connsiteX2445" fmla="*/ 2397920 w 3956050"/>
              <a:gd name="connsiteY2445" fmla="*/ 1427726 h 1737071"/>
              <a:gd name="connsiteX2446" fmla="*/ 2389940 w 3956050"/>
              <a:gd name="connsiteY2446" fmla="*/ 1427726 h 1737071"/>
              <a:gd name="connsiteX2447" fmla="*/ 2385950 w 3956050"/>
              <a:gd name="connsiteY2447" fmla="*/ 1425731 h 1737071"/>
              <a:gd name="connsiteX2448" fmla="*/ 2381960 w 3956050"/>
              <a:gd name="connsiteY2448" fmla="*/ 1421739 h 1737071"/>
              <a:gd name="connsiteX2449" fmla="*/ 2375975 w 3956050"/>
              <a:gd name="connsiteY2449" fmla="*/ 1419743 h 1737071"/>
              <a:gd name="connsiteX2450" fmla="*/ 2369990 w 3956050"/>
              <a:gd name="connsiteY2450" fmla="*/ 1419743 h 1737071"/>
              <a:gd name="connsiteX2451" fmla="*/ 2365999 w 3956050"/>
              <a:gd name="connsiteY2451" fmla="*/ 1419743 h 1737071"/>
              <a:gd name="connsiteX2452" fmla="*/ 2362009 w 3956050"/>
              <a:gd name="connsiteY2452" fmla="*/ 1419743 h 1737071"/>
              <a:gd name="connsiteX2453" fmla="*/ 2356024 w 3956050"/>
              <a:gd name="connsiteY2453" fmla="*/ 1415752 h 1737071"/>
              <a:gd name="connsiteX2454" fmla="*/ 2352034 w 3956050"/>
              <a:gd name="connsiteY2454" fmla="*/ 1415752 h 1737071"/>
              <a:gd name="connsiteX2455" fmla="*/ 2346049 w 3956050"/>
              <a:gd name="connsiteY2455" fmla="*/ 1413756 h 1737071"/>
              <a:gd name="connsiteX2456" fmla="*/ 2342059 w 3956050"/>
              <a:gd name="connsiteY2456" fmla="*/ 1411760 h 1737071"/>
              <a:gd name="connsiteX2457" fmla="*/ 2338069 w 3956050"/>
              <a:gd name="connsiteY2457" fmla="*/ 1411760 h 1737071"/>
              <a:gd name="connsiteX2458" fmla="*/ 2334079 w 3956050"/>
              <a:gd name="connsiteY2458" fmla="*/ 1413756 h 1737071"/>
              <a:gd name="connsiteX2459" fmla="*/ 2328094 w 3956050"/>
              <a:gd name="connsiteY2459" fmla="*/ 1415752 h 1737071"/>
              <a:gd name="connsiteX2460" fmla="*/ 2324103 w 3956050"/>
              <a:gd name="connsiteY2460" fmla="*/ 1415752 h 1737071"/>
              <a:gd name="connsiteX2461" fmla="*/ 2314128 w 3956050"/>
              <a:gd name="connsiteY2461" fmla="*/ 1417748 h 1737071"/>
              <a:gd name="connsiteX2462" fmla="*/ 2308143 w 3956050"/>
              <a:gd name="connsiteY2462" fmla="*/ 1419743 h 1737071"/>
              <a:gd name="connsiteX2463" fmla="*/ 2304153 w 3956050"/>
              <a:gd name="connsiteY2463" fmla="*/ 1421739 h 1737071"/>
              <a:gd name="connsiteX2464" fmla="*/ 2298168 w 3956050"/>
              <a:gd name="connsiteY2464" fmla="*/ 1429722 h 1737071"/>
              <a:gd name="connsiteX2465" fmla="*/ 2294178 w 3956050"/>
              <a:gd name="connsiteY2465" fmla="*/ 1433714 h 1737071"/>
              <a:gd name="connsiteX2466" fmla="*/ 2290188 w 3956050"/>
              <a:gd name="connsiteY2466" fmla="*/ 1435709 h 1737071"/>
              <a:gd name="connsiteX2467" fmla="*/ 2284203 w 3956050"/>
              <a:gd name="connsiteY2467" fmla="*/ 1437705 h 1737071"/>
              <a:gd name="connsiteX2468" fmla="*/ 2278217 w 3956050"/>
              <a:gd name="connsiteY2468" fmla="*/ 1439701 h 1737071"/>
              <a:gd name="connsiteX2469" fmla="*/ 2272232 w 3956050"/>
              <a:gd name="connsiteY2469" fmla="*/ 1439701 h 1737071"/>
              <a:gd name="connsiteX2470" fmla="*/ 2266247 w 3956050"/>
              <a:gd name="connsiteY2470" fmla="*/ 1441697 h 1737071"/>
              <a:gd name="connsiteX2471" fmla="*/ 2258267 w 3956050"/>
              <a:gd name="connsiteY2471" fmla="*/ 1443693 h 1737071"/>
              <a:gd name="connsiteX2472" fmla="*/ 2242307 w 3956050"/>
              <a:gd name="connsiteY2472" fmla="*/ 1445688 h 1737071"/>
              <a:gd name="connsiteX2473" fmla="*/ 2234327 w 3956050"/>
              <a:gd name="connsiteY2473" fmla="*/ 1447684 h 1737071"/>
              <a:gd name="connsiteX2474" fmla="*/ 2230336 w 3956050"/>
              <a:gd name="connsiteY2474" fmla="*/ 1449680 h 1737071"/>
              <a:gd name="connsiteX2475" fmla="*/ 2222356 w 3956050"/>
              <a:gd name="connsiteY2475" fmla="*/ 1449680 h 1737071"/>
              <a:gd name="connsiteX2476" fmla="*/ 2216371 w 3956050"/>
              <a:gd name="connsiteY2476" fmla="*/ 1449680 h 1737071"/>
              <a:gd name="connsiteX2477" fmla="*/ 2208391 w 3956050"/>
              <a:gd name="connsiteY2477" fmla="*/ 1447684 h 1737071"/>
              <a:gd name="connsiteX2478" fmla="*/ 2200411 w 3956050"/>
              <a:gd name="connsiteY2478" fmla="*/ 1445688 h 1737071"/>
              <a:gd name="connsiteX2479" fmla="*/ 2192431 w 3956050"/>
              <a:gd name="connsiteY2479" fmla="*/ 1443693 h 1737071"/>
              <a:gd name="connsiteX2480" fmla="*/ 2188440 w 3956050"/>
              <a:gd name="connsiteY2480" fmla="*/ 1441697 h 1737071"/>
              <a:gd name="connsiteX2481" fmla="*/ 2184450 w 3956050"/>
              <a:gd name="connsiteY2481" fmla="*/ 1439701 h 1737071"/>
              <a:gd name="connsiteX2482" fmla="*/ 2180460 w 3956050"/>
              <a:gd name="connsiteY2482" fmla="*/ 1435709 h 1737071"/>
              <a:gd name="connsiteX2483" fmla="*/ 2178465 w 3956050"/>
              <a:gd name="connsiteY2483" fmla="*/ 1431718 h 1737071"/>
              <a:gd name="connsiteX2484" fmla="*/ 2174475 w 3956050"/>
              <a:gd name="connsiteY2484" fmla="*/ 1425731 h 1737071"/>
              <a:gd name="connsiteX2485" fmla="*/ 2172480 w 3956050"/>
              <a:gd name="connsiteY2485" fmla="*/ 1423735 h 1737071"/>
              <a:gd name="connsiteX2486" fmla="*/ 2168490 w 3956050"/>
              <a:gd name="connsiteY2486" fmla="*/ 1419743 h 1737071"/>
              <a:gd name="connsiteX2487" fmla="*/ 2164500 w 3956050"/>
              <a:gd name="connsiteY2487" fmla="*/ 1417748 h 1737071"/>
              <a:gd name="connsiteX2488" fmla="*/ 2162505 w 3956050"/>
              <a:gd name="connsiteY2488" fmla="*/ 1413756 h 1737071"/>
              <a:gd name="connsiteX2489" fmla="*/ 2158515 w 3956050"/>
              <a:gd name="connsiteY2489" fmla="*/ 1411760 h 1737071"/>
              <a:gd name="connsiteX2490" fmla="*/ 2146545 w 3956050"/>
              <a:gd name="connsiteY2490" fmla="*/ 1407769 h 1737071"/>
              <a:gd name="connsiteX2491" fmla="*/ 2136569 w 3956050"/>
              <a:gd name="connsiteY2491" fmla="*/ 1407769 h 1737071"/>
              <a:gd name="connsiteX2492" fmla="*/ 2130584 w 3956050"/>
              <a:gd name="connsiteY2492" fmla="*/ 1407769 h 1737071"/>
              <a:gd name="connsiteX2493" fmla="*/ 2120609 w 3956050"/>
              <a:gd name="connsiteY2493" fmla="*/ 1407769 h 1737071"/>
              <a:gd name="connsiteX2494" fmla="*/ 2110634 w 3956050"/>
              <a:gd name="connsiteY2494" fmla="*/ 1407769 h 1737071"/>
              <a:gd name="connsiteX2495" fmla="*/ 2106644 w 3956050"/>
              <a:gd name="connsiteY2495" fmla="*/ 1407769 h 1737071"/>
              <a:gd name="connsiteX2496" fmla="*/ 2102654 w 3956050"/>
              <a:gd name="connsiteY2496" fmla="*/ 1409764 h 1737071"/>
              <a:gd name="connsiteX2497" fmla="*/ 2096668 w 3956050"/>
              <a:gd name="connsiteY2497" fmla="*/ 1411760 h 1737071"/>
              <a:gd name="connsiteX2498" fmla="*/ 2092678 w 3956050"/>
              <a:gd name="connsiteY2498" fmla="*/ 1411760 h 1737071"/>
              <a:gd name="connsiteX2499" fmla="*/ 2084698 w 3956050"/>
              <a:gd name="connsiteY2499" fmla="*/ 1411760 h 1737071"/>
              <a:gd name="connsiteX2500" fmla="*/ 2076718 w 3956050"/>
              <a:gd name="connsiteY2500" fmla="*/ 1411760 h 1737071"/>
              <a:gd name="connsiteX2501" fmla="*/ 2070733 w 3956050"/>
              <a:gd name="connsiteY2501" fmla="*/ 1411760 h 1737071"/>
              <a:gd name="connsiteX2502" fmla="*/ 2060758 w 3956050"/>
              <a:gd name="connsiteY2502" fmla="*/ 1407769 h 1737071"/>
              <a:gd name="connsiteX2503" fmla="*/ 2056768 w 3956050"/>
              <a:gd name="connsiteY2503" fmla="*/ 1407769 h 1737071"/>
              <a:gd name="connsiteX2504" fmla="*/ 2052777 w 3956050"/>
              <a:gd name="connsiteY2504" fmla="*/ 1409764 h 1737071"/>
              <a:gd name="connsiteX2505" fmla="*/ 2042802 w 3956050"/>
              <a:gd name="connsiteY2505" fmla="*/ 1409764 h 1737071"/>
              <a:gd name="connsiteX2506" fmla="*/ 2036817 w 3956050"/>
              <a:gd name="connsiteY2506" fmla="*/ 1403777 h 1737071"/>
              <a:gd name="connsiteX2507" fmla="*/ 2032827 w 3956050"/>
              <a:gd name="connsiteY2507" fmla="*/ 1397790 h 1737071"/>
              <a:gd name="connsiteX2508" fmla="*/ 2030832 w 3956050"/>
              <a:gd name="connsiteY2508" fmla="*/ 1389807 h 1737071"/>
              <a:gd name="connsiteX2509" fmla="*/ 2026842 w 3956050"/>
              <a:gd name="connsiteY2509" fmla="*/ 1381824 h 1737071"/>
              <a:gd name="connsiteX2510" fmla="*/ 2026842 w 3956050"/>
              <a:gd name="connsiteY2510" fmla="*/ 1375836 h 1737071"/>
              <a:gd name="connsiteX2511" fmla="*/ 2022852 w 3956050"/>
              <a:gd name="connsiteY2511" fmla="*/ 1369849 h 1737071"/>
              <a:gd name="connsiteX2512" fmla="*/ 2020857 w 3956050"/>
              <a:gd name="connsiteY2512" fmla="*/ 1363862 h 1737071"/>
              <a:gd name="connsiteX2513" fmla="*/ 2014872 w 3956050"/>
              <a:gd name="connsiteY2513" fmla="*/ 1361866 h 1737071"/>
              <a:gd name="connsiteX2514" fmla="*/ 2010882 w 3956050"/>
              <a:gd name="connsiteY2514" fmla="*/ 1359870 h 1737071"/>
              <a:gd name="connsiteX2515" fmla="*/ 2002901 w 3956050"/>
              <a:gd name="connsiteY2515" fmla="*/ 1355879 h 1737071"/>
              <a:gd name="connsiteX2516" fmla="*/ 1998911 w 3956050"/>
              <a:gd name="connsiteY2516" fmla="*/ 1351887 h 1737071"/>
              <a:gd name="connsiteX2517" fmla="*/ 1992926 w 3956050"/>
              <a:gd name="connsiteY2517" fmla="*/ 1347895 h 1737071"/>
              <a:gd name="connsiteX2518" fmla="*/ 1980956 w 3956050"/>
              <a:gd name="connsiteY2518" fmla="*/ 1347895 h 1737071"/>
              <a:gd name="connsiteX2519" fmla="*/ 1976966 w 3956050"/>
              <a:gd name="connsiteY2519" fmla="*/ 1347895 h 1737071"/>
              <a:gd name="connsiteX2520" fmla="*/ 1968986 w 3956050"/>
              <a:gd name="connsiteY2520" fmla="*/ 1351887 h 1737071"/>
              <a:gd name="connsiteX2521" fmla="*/ 1964995 w 3956050"/>
              <a:gd name="connsiteY2521" fmla="*/ 1351887 h 1737071"/>
              <a:gd name="connsiteX2522" fmla="*/ 1957015 w 3956050"/>
              <a:gd name="connsiteY2522" fmla="*/ 1351887 h 1737071"/>
              <a:gd name="connsiteX2523" fmla="*/ 1951030 w 3956050"/>
              <a:gd name="connsiteY2523" fmla="*/ 1347895 h 1737071"/>
              <a:gd name="connsiteX2524" fmla="*/ 1945045 w 3956050"/>
              <a:gd name="connsiteY2524" fmla="*/ 1343904 h 1737071"/>
              <a:gd name="connsiteX2525" fmla="*/ 1939060 w 3956050"/>
              <a:gd name="connsiteY2525" fmla="*/ 1337917 h 1737071"/>
              <a:gd name="connsiteX2526" fmla="*/ 1935070 w 3956050"/>
              <a:gd name="connsiteY2526" fmla="*/ 1339912 h 1737071"/>
              <a:gd name="connsiteX2527" fmla="*/ 1933075 w 3956050"/>
              <a:gd name="connsiteY2527" fmla="*/ 1345900 h 1737071"/>
              <a:gd name="connsiteX2528" fmla="*/ 1933075 w 3956050"/>
              <a:gd name="connsiteY2528" fmla="*/ 1351887 h 1737071"/>
              <a:gd name="connsiteX2529" fmla="*/ 1931080 w 3956050"/>
              <a:gd name="connsiteY2529" fmla="*/ 1355879 h 1737071"/>
              <a:gd name="connsiteX2530" fmla="*/ 1927090 w 3956050"/>
              <a:gd name="connsiteY2530" fmla="*/ 1359870 h 1737071"/>
              <a:gd name="connsiteX2531" fmla="*/ 1925095 w 3956050"/>
              <a:gd name="connsiteY2531" fmla="*/ 1363862 h 1737071"/>
              <a:gd name="connsiteX2532" fmla="*/ 1921104 w 3956050"/>
              <a:gd name="connsiteY2532" fmla="*/ 1371845 h 1737071"/>
              <a:gd name="connsiteX2533" fmla="*/ 1921104 w 3956050"/>
              <a:gd name="connsiteY2533" fmla="*/ 1375836 h 1737071"/>
              <a:gd name="connsiteX2534" fmla="*/ 1923100 w 3956050"/>
              <a:gd name="connsiteY2534" fmla="*/ 1379828 h 1737071"/>
              <a:gd name="connsiteX2535" fmla="*/ 1925095 w 3956050"/>
              <a:gd name="connsiteY2535" fmla="*/ 1385815 h 1737071"/>
              <a:gd name="connsiteX2536" fmla="*/ 1927090 w 3956050"/>
              <a:gd name="connsiteY2536" fmla="*/ 1393798 h 1737071"/>
              <a:gd name="connsiteX2537" fmla="*/ 1929085 w 3956050"/>
              <a:gd name="connsiteY2537" fmla="*/ 1395794 h 1737071"/>
              <a:gd name="connsiteX2538" fmla="*/ 1935070 w 3956050"/>
              <a:gd name="connsiteY2538" fmla="*/ 1399786 h 1737071"/>
              <a:gd name="connsiteX2539" fmla="*/ 1937065 w 3956050"/>
              <a:gd name="connsiteY2539" fmla="*/ 1403777 h 1737071"/>
              <a:gd name="connsiteX2540" fmla="*/ 1935070 w 3956050"/>
              <a:gd name="connsiteY2540" fmla="*/ 1409764 h 1737071"/>
              <a:gd name="connsiteX2541" fmla="*/ 1935070 w 3956050"/>
              <a:gd name="connsiteY2541" fmla="*/ 1413756 h 1737071"/>
              <a:gd name="connsiteX2542" fmla="*/ 1931080 w 3956050"/>
              <a:gd name="connsiteY2542" fmla="*/ 1419743 h 1737071"/>
              <a:gd name="connsiteX2543" fmla="*/ 1927090 w 3956050"/>
              <a:gd name="connsiteY2543" fmla="*/ 1425731 h 1737071"/>
              <a:gd name="connsiteX2544" fmla="*/ 1919109 w 3956050"/>
              <a:gd name="connsiteY2544" fmla="*/ 1427726 h 1737071"/>
              <a:gd name="connsiteX2545" fmla="*/ 1909134 w 3956050"/>
              <a:gd name="connsiteY2545" fmla="*/ 1427726 h 1737071"/>
              <a:gd name="connsiteX2546" fmla="*/ 1903149 w 3956050"/>
              <a:gd name="connsiteY2546" fmla="*/ 1425731 h 1737071"/>
              <a:gd name="connsiteX2547" fmla="*/ 1897164 w 3956050"/>
              <a:gd name="connsiteY2547" fmla="*/ 1423735 h 1737071"/>
              <a:gd name="connsiteX2548" fmla="*/ 1893174 w 3956050"/>
              <a:gd name="connsiteY2548" fmla="*/ 1421739 h 1737071"/>
              <a:gd name="connsiteX2549" fmla="*/ 1885194 w 3956050"/>
              <a:gd name="connsiteY2549" fmla="*/ 1421739 h 1737071"/>
              <a:gd name="connsiteX2550" fmla="*/ 1879209 w 3956050"/>
              <a:gd name="connsiteY2550" fmla="*/ 1421739 h 1737071"/>
              <a:gd name="connsiteX2551" fmla="*/ 1875218 w 3956050"/>
              <a:gd name="connsiteY2551" fmla="*/ 1423735 h 1737071"/>
              <a:gd name="connsiteX2552" fmla="*/ 1871228 w 3956050"/>
              <a:gd name="connsiteY2552" fmla="*/ 1423735 h 1737071"/>
              <a:gd name="connsiteX2553" fmla="*/ 1867238 w 3956050"/>
              <a:gd name="connsiteY2553" fmla="*/ 1423735 h 1737071"/>
              <a:gd name="connsiteX2554" fmla="*/ 1863248 w 3956050"/>
              <a:gd name="connsiteY2554" fmla="*/ 1423735 h 1737071"/>
              <a:gd name="connsiteX2555" fmla="*/ 1855268 w 3956050"/>
              <a:gd name="connsiteY2555" fmla="*/ 1423735 h 1737071"/>
              <a:gd name="connsiteX2556" fmla="*/ 1851278 w 3956050"/>
              <a:gd name="connsiteY2556" fmla="*/ 1419743 h 1737071"/>
              <a:gd name="connsiteX2557" fmla="*/ 1847288 w 3956050"/>
              <a:gd name="connsiteY2557" fmla="*/ 1415752 h 1737071"/>
              <a:gd name="connsiteX2558" fmla="*/ 1845293 w 3956050"/>
              <a:gd name="connsiteY2558" fmla="*/ 1411760 h 1737071"/>
              <a:gd name="connsiteX2559" fmla="*/ 1841303 w 3956050"/>
              <a:gd name="connsiteY2559" fmla="*/ 1405773 h 1737071"/>
              <a:gd name="connsiteX2560" fmla="*/ 1833323 w 3956050"/>
              <a:gd name="connsiteY2560" fmla="*/ 1399786 h 1737071"/>
              <a:gd name="connsiteX2561" fmla="*/ 1829332 w 3956050"/>
              <a:gd name="connsiteY2561" fmla="*/ 1399786 h 1737071"/>
              <a:gd name="connsiteX2562" fmla="*/ 1823347 w 3956050"/>
              <a:gd name="connsiteY2562" fmla="*/ 1399786 h 1737071"/>
              <a:gd name="connsiteX2563" fmla="*/ 1819357 w 3956050"/>
              <a:gd name="connsiteY2563" fmla="*/ 1401781 h 1737071"/>
              <a:gd name="connsiteX2564" fmla="*/ 1813372 w 3956050"/>
              <a:gd name="connsiteY2564" fmla="*/ 1403777 h 1737071"/>
              <a:gd name="connsiteX2565" fmla="*/ 1809382 w 3956050"/>
              <a:gd name="connsiteY2565" fmla="*/ 1403777 h 1737071"/>
              <a:gd name="connsiteX2566" fmla="*/ 1803397 w 3956050"/>
              <a:gd name="connsiteY2566" fmla="*/ 1403777 h 1737071"/>
              <a:gd name="connsiteX2567" fmla="*/ 1795417 w 3956050"/>
              <a:gd name="connsiteY2567" fmla="*/ 1403777 h 1737071"/>
              <a:gd name="connsiteX2568" fmla="*/ 1793422 w 3956050"/>
              <a:gd name="connsiteY2568" fmla="*/ 1399786 h 1737071"/>
              <a:gd name="connsiteX2569" fmla="*/ 1791427 w 3956050"/>
              <a:gd name="connsiteY2569" fmla="*/ 1395794 h 1737071"/>
              <a:gd name="connsiteX2570" fmla="*/ 1783446 w 3956050"/>
              <a:gd name="connsiteY2570" fmla="*/ 1395794 h 1737071"/>
              <a:gd name="connsiteX2571" fmla="*/ 1777461 w 3956050"/>
              <a:gd name="connsiteY2571" fmla="*/ 1395794 h 1737071"/>
              <a:gd name="connsiteX2572" fmla="*/ 1771476 w 3956050"/>
              <a:gd name="connsiteY2572" fmla="*/ 1397790 h 1737071"/>
              <a:gd name="connsiteX2573" fmla="*/ 1763496 w 3956050"/>
              <a:gd name="connsiteY2573" fmla="*/ 1399786 h 1737071"/>
              <a:gd name="connsiteX2574" fmla="*/ 1759506 w 3956050"/>
              <a:gd name="connsiteY2574" fmla="*/ 1403777 h 1737071"/>
              <a:gd name="connsiteX2575" fmla="*/ 1755516 w 3956050"/>
              <a:gd name="connsiteY2575" fmla="*/ 1407769 h 1737071"/>
              <a:gd name="connsiteX2576" fmla="*/ 1749531 w 3956050"/>
              <a:gd name="connsiteY2576" fmla="*/ 1409764 h 1737071"/>
              <a:gd name="connsiteX2577" fmla="*/ 1743545 w 3956050"/>
              <a:gd name="connsiteY2577" fmla="*/ 1409764 h 1737071"/>
              <a:gd name="connsiteX2578" fmla="*/ 1739555 w 3956050"/>
              <a:gd name="connsiteY2578" fmla="*/ 1411760 h 1737071"/>
              <a:gd name="connsiteX2579" fmla="*/ 1735565 w 3956050"/>
              <a:gd name="connsiteY2579" fmla="*/ 1413756 h 1737071"/>
              <a:gd name="connsiteX2580" fmla="*/ 1733570 w 3956050"/>
              <a:gd name="connsiteY2580" fmla="*/ 1415752 h 1737071"/>
              <a:gd name="connsiteX2581" fmla="*/ 1729580 w 3956050"/>
              <a:gd name="connsiteY2581" fmla="*/ 1419743 h 1737071"/>
              <a:gd name="connsiteX2582" fmla="*/ 1727585 w 3956050"/>
              <a:gd name="connsiteY2582" fmla="*/ 1421739 h 1737071"/>
              <a:gd name="connsiteX2583" fmla="*/ 1725590 w 3956050"/>
              <a:gd name="connsiteY2583" fmla="*/ 1423735 h 1737071"/>
              <a:gd name="connsiteX2584" fmla="*/ 1717610 w 3956050"/>
              <a:gd name="connsiteY2584" fmla="*/ 1431718 h 1737071"/>
              <a:gd name="connsiteX2585" fmla="*/ 1705640 w 3956050"/>
              <a:gd name="connsiteY2585" fmla="*/ 1441697 h 1737071"/>
              <a:gd name="connsiteX2586" fmla="*/ 1693669 w 3956050"/>
              <a:gd name="connsiteY2586" fmla="*/ 1445688 h 1737071"/>
              <a:gd name="connsiteX2587" fmla="*/ 1687684 w 3956050"/>
              <a:gd name="connsiteY2587" fmla="*/ 1445688 h 1737071"/>
              <a:gd name="connsiteX2588" fmla="*/ 1685689 w 3956050"/>
              <a:gd name="connsiteY2588" fmla="*/ 1449680 h 1737071"/>
              <a:gd name="connsiteX2589" fmla="*/ 1685689 w 3956050"/>
              <a:gd name="connsiteY2589" fmla="*/ 1453671 h 1737071"/>
              <a:gd name="connsiteX2590" fmla="*/ 1681699 w 3956050"/>
              <a:gd name="connsiteY2590" fmla="*/ 1453671 h 1737071"/>
              <a:gd name="connsiteX2591" fmla="*/ 1677709 w 3956050"/>
              <a:gd name="connsiteY2591" fmla="*/ 1453671 h 1737071"/>
              <a:gd name="connsiteX2592" fmla="*/ 1673719 w 3956050"/>
              <a:gd name="connsiteY2592" fmla="*/ 1453671 h 1737071"/>
              <a:gd name="connsiteX2593" fmla="*/ 1669729 w 3956050"/>
              <a:gd name="connsiteY2593" fmla="*/ 1453671 h 1737071"/>
              <a:gd name="connsiteX2594" fmla="*/ 1665739 w 3956050"/>
              <a:gd name="connsiteY2594" fmla="*/ 1449680 h 1737071"/>
              <a:gd name="connsiteX2595" fmla="*/ 1659754 w 3956050"/>
              <a:gd name="connsiteY2595" fmla="*/ 1445688 h 1737071"/>
              <a:gd name="connsiteX2596" fmla="*/ 1655764 w 3956050"/>
              <a:gd name="connsiteY2596" fmla="*/ 1447684 h 1737071"/>
              <a:gd name="connsiteX2597" fmla="*/ 1647783 w 3956050"/>
              <a:gd name="connsiteY2597" fmla="*/ 1445688 h 1737071"/>
              <a:gd name="connsiteX2598" fmla="*/ 1645788 w 3956050"/>
              <a:gd name="connsiteY2598" fmla="*/ 1445688 h 1737071"/>
              <a:gd name="connsiteX2599" fmla="*/ 1643793 w 3956050"/>
              <a:gd name="connsiteY2599" fmla="*/ 1441697 h 1737071"/>
              <a:gd name="connsiteX2600" fmla="*/ 1641798 w 3956050"/>
              <a:gd name="connsiteY2600" fmla="*/ 1437705 h 1737071"/>
              <a:gd name="connsiteX2601" fmla="*/ 1637808 w 3956050"/>
              <a:gd name="connsiteY2601" fmla="*/ 1435709 h 1737071"/>
              <a:gd name="connsiteX2602" fmla="*/ 1631823 w 3956050"/>
              <a:gd name="connsiteY2602" fmla="*/ 1435709 h 1737071"/>
              <a:gd name="connsiteX2603" fmla="*/ 1631823 w 3956050"/>
              <a:gd name="connsiteY2603" fmla="*/ 1431718 h 1737071"/>
              <a:gd name="connsiteX2604" fmla="*/ 1627833 w 3956050"/>
              <a:gd name="connsiteY2604" fmla="*/ 1431718 h 1737071"/>
              <a:gd name="connsiteX2605" fmla="*/ 1623843 w 3956050"/>
              <a:gd name="connsiteY2605" fmla="*/ 1431718 h 1737071"/>
              <a:gd name="connsiteX2606" fmla="*/ 1617858 w 3956050"/>
              <a:gd name="connsiteY2606" fmla="*/ 1433714 h 1737071"/>
              <a:gd name="connsiteX2607" fmla="*/ 1609877 w 3956050"/>
              <a:gd name="connsiteY2607" fmla="*/ 1429722 h 1737071"/>
              <a:gd name="connsiteX2608" fmla="*/ 1605887 w 3956050"/>
              <a:gd name="connsiteY2608" fmla="*/ 1425731 h 1737071"/>
              <a:gd name="connsiteX2609" fmla="*/ 1601897 w 3956050"/>
              <a:gd name="connsiteY2609" fmla="*/ 1421739 h 1737071"/>
              <a:gd name="connsiteX2610" fmla="*/ 1595912 w 3956050"/>
              <a:gd name="connsiteY2610" fmla="*/ 1419743 h 1737071"/>
              <a:gd name="connsiteX2611" fmla="*/ 1589927 w 3956050"/>
              <a:gd name="connsiteY2611" fmla="*/ 1419743 h 1737071"/>
              <a:gd name="connsiteX2612" fmla="*/ 1583942 w 3956050"/>
              <a:gd name="connsiteY2612" fmla="*/ 1417748 h 1737071"/>
              <a:gd name="connsiteX2613" fmla="*/ 1579952 w 3956050"/>
              <a:gd name="connsiteY2613" fmla="*/ 1411760 h 1737071"/>
              <a:gd name="connsiteX2614" fmla="*/ 1577957 w 3956050"/>
              <a:gd name="connsiteY2614" fmla="*/ 1405773 h 1737071"/>
              <a:gd name="connsiteX2615" fmla="*/ 1573967 w 3956050"/>
              <a:gd name="connsiteY2615" fmla="*/ 1403777 h 1737071"/>
              <a:gd name="connsiteX2616" fmla="*/ 1573967 w 3956050"/>
              <a:gd name="connsiteY2616" fmla="*/ 1397790 h 1737071"/>
              <a:gd name="connsiteX2617" fmla="*/ 1569977 w 3956050"/>
              <a:gd name="connsiteY2617" fmla="*/ 1395794 h 1737071"/>
              <a:gd name="connsiteX2618" fmla="*/ 1565987 w 3956050"/>
              <a:gd name="connsiteY2618" fmla="*/ 1395794 h 1737071"/>
              <a:gd name="connsiteX2619" fmla="*/ 1561996 w 3956050"/>
              <a:gd name="connsiteY2619" fmla="*/ 1391802 h 1737071"/>
              <a:gd name="connsiteX2620" fmla="*/ 1560001 w 3956050"/>
              <a:gd name="connsiteY2620" fmla="*/ 1387811 h 1737071"/>
              <a:gd name="connsiteX2621" fmla="*/ 1556011 w 3956050"/>
              <a:gd name="connsiteY2621" fmla="*/ 1385815 h 1737071"/>
              <a:gd name="connsiteX2622" fmla="*/ 1550026 w 3956050"/>
              <a:gd name="connsiteY2622" fmla="*/ 1385815 h 1737071"/>
              <a:gd name="connsiteX2623" fmla="*/ 1546036 w 3956050"/>
              <a:gd name="connsiteY2623" fmla="*/ 1389807 h 1737071"/>
              <a:gd name="connsiteX2624" fmla="*/ 1542046 w 3956050"/>
              <a:gd name="connsiteY2624" fmla="*/ 1391802 h 1737071"/>
              <a:gd name="connsiteX2625" fmla="*/ 1542046 w 3956050"/>
              <a:gd name="connsiteY2625" fmla="*/ 1397790 h 1737071"/>
              <a:gd name="connsiteX2626" fmla="*/ 1538056 w 3956050"/>
              <a:gd name="connsiteY2626" fmla="*/ 1401781 h 1737071"/>
              <a:gd name="connsiteX2627" fmla="*/ 1530076 w 3956050"/>
              <a:gd name="connsiteY2627" fmla="*/ 1399786 h 1737071"/>
              <a:gd name="connsiteX2628" fmla="*/ 1524091 w 3956050"/>
              <a:gd name="connsiteY2628" fmla="*/ 1397790 h 1737071"/>
              <a:gd name="connsiteX2629" fmla="*/ 1518105 w 3956050"/>
              <a:gd name="connsiteY2629" fmla="*/ 1395794 h 1737071"/>
              <a:gd name="connsiteX2630" fmla="*/ 1514115 w 3956050"/>
              <a:gd name="connsiteY2630" fmla="*/ 1395794 h 1737071"/>
              <a:gd name="connsiteX2631" fmla="*/ 1512120 w 3956050"/>
              <a:gd name="connsiteY2631" fmla="*/ 1393798 h 1737071"/>
              <a:gd name="connsiteX2632" fmla="*/ 1508130 w 3956050"/>
              <a:gd name="connsiteY2632" fmla="*/ 1393798 h 1737071"/>
              <a:gd name="connsiteX2633" fmla="*/ 1504140 w 3956050"/>
              <a:gd name="connsiteY2633" fmla="*/ 1391802 h 1737071"/>
              <a:gd name="connsiteX2634" fmla="*/ 1502145 w 3956050"/>
              <a:gd name="connsiteY2634" fmla="*/ 1389807 h 1737071"/>
              <a:gd name="connsiteX2635" fmla="*/ 1500150 w 3956050"/>
              <a:gd name="connsiteY2635" fmla="*/ 1389807 h 1737071"/>
              <a:gd name="connsiteX2636" fmla="*/ 1494165 w 3956050"/>
              <a:gd name="connsiteY2636" fmla="*/ 1387811 h 1737071"/>
              <a:gd name="connsiteX2637" fmla="*/ 1492170 w 3956050"/>
              <a:gd name="connsiteY2637" fmla="*/ 1381824 h 1737071"/>
              <a:gd name="connsiteX2638" fmla="*/ 1490175 w 3956050"/>
              <a:gd name="connsiteY2638" fmla="*/ 1377832 h 1737071"/>
              <a:gd name="connsiteX2639" fmla="*/ 1488180 w 3956050"/>
              <a:gd name="connsiteY2639" fmla="*/ 1375836 h 1737071"/>
              <a:gd name="connsiteX2640" fmla="*/ 1482195 w 3956050"/>
              <a:gd name="connsiteY2640" fmla="*/ 1375836 h 1737071"/>
              <a:gd name="connsiteX2641" fmla="*/ 1480200 w 3956050"/>
              <a:gd name="connsiteY2641" fmla="*/ 1377832 h 1737071"/>
              <a:gd name="connsiteX2642" fmla="*/ 1480200 w 3956050"/>
              <a:gd name="connsiteY2642" fmla="*/ 1383819 h 1737071"/>
              <a:gd name="connsiteX2643" fmla="*/ 1480200 w 3956050"/>
              <a:gd name="connsiteY2643" fmla="*/ 1387811 h 1737071"/>
              <a:gd name="connsiteX2644" fmla="*/ 1476209 w 3956050"/>
              <a:gd name="connsiteY2644" fmla="*/ 1389807 h 1737071"/>
              <a:gd name="connsiteX2645" fmla="*/ 1472219 w 3956050"/>
              <a:gd name="connsiteY2645" fmla="*/ 1389807 h 1737071"/>
              <a:gd name="connsiteX2646" fmla="*/ 1468229 w 3956050"/>
              <a:gd name="connsiteY2646" fmla="*/ 1387811 h 1737071"/>
              <a:gd name="connsiteX2647" fmla="*/ 1464239 w 3956050"/>
              <a:gd name="connsiteY2647" fmla="*/ 1381824 h 1737071"/>
              <a:gd name="connsiteX2648" fmla="*/ 1458254 w 3956050"/>
              <a:gd name="connsiteY2648" fmla="*/ 1375836 h 1737071"/>
              <a:gd name="connsiteX2649" fmla="*/ 1454264 w 3956050"/>
              <a:gd name="connsiteY2649" fmla="*/ 1373841 h 1737071"/>
              <a:gd name="connsiteX2650" fmla="*/ 1452269 w 3956050"/>
              <a:gd name="connsiteY2650" fmla="*/ 1369849 h 1737071"/>
              <a:gd name="connsiteX2651" fmla="*/ 1448279 w 3956050"/>
              <a:gd name="connsiteY2651" fmla="*/ 1365857 h 1737071"/>
              <a:gd name="connsiteX2652" fmla="*/ 1444289 w 3956050"/>
              <a:gd name="connsiteY2652" fmla="*/ 1357874 h 1737071"/>
              <a:gd name="connsiteX2653" fmla="*/ 1440299 w 3956050"/>
              <a:gd name="connsiteY2653" fmla="*/ 1351887 h 1737071"/>
              <a:gd name="connsiteX2654" fmla="*/ 1438304 w 3956050"/>
              <a:gd name="connsiteY2654" fmla="*/ 1349891 h 1737071"/>
              <a:gd name="connsiteX2655" fmla="*/ 1434314 w 3956050"/>
              <a:gd name="connsiteY2655" fmla="*/ 1341908 h 1737071"/>
              <a:gd name="connsiteX2656" fmla="*/ 1432319 w 3956050"/>
              <a:gd name="connsiteY2656" fmla="*/ 1337917 h 1737071"/>
              <a:gd name="connsiteX2657" fmla="*/ 1428328 w 3956050"/>
              <a:gd name="connsiteY2657" fmla="*/ 1331929 h 1737071"/>
              <a:gd name="connsiteX2658" fmla="*/ 1424338 w 3956050"/>
              <a:gd name="connsiteY2658" fmla="*/ 1325942 h 1737071"/>
              <a:gd name="connsiteX2659" fmla="*/ 1418353 w 3956050"/>
              <a:gd name="connsiteY2659" fmla="*/ 1317959 h 1737071"/>
              <a:gd name="connsiteX2660" fmla="*/ 1412368 w 3956050"/>
              <a:gd name="connsiteY2660" fmla="*/ 1307980 h 1737071"/>
              <a:gd name="connsiteX2661" fmla="*/ 1408378 w 3956050"/>
              <a:gd name="connsiteY2661" fmla="*/ 1301993 h 1737071"/>
              <a:gd name="connsiteX2662" fmla="*/ 1404388 w 3956050"/>
              <a:gd name="connsiteY2662" fmla="*/ 1298001 h 1737071"/>
              <a:gd name="connsiteX2663" fmla="*/ 1400398 w 3956050"/>
              <a:gd name="connsiteY2663" fmla="*/ 1294010 h 1737071"/>
              <a:gd name="connsiteX2664" fmla="*/ 1396408 w 3956050"/>
              <a:gd name="connsiteY2664" fmla="*/ 1290018 h 1737071"/>
              <a:gd name="connsiteX2665" fmla="*/ 1386432 w 3956050"/>
              <a:gd name="connsiteY2665" fmla="*/ 1284031 h 1737071"/>
              <a:gd name="connsiteX2666" fmla="*/ 1372467 w 3956050"/>
              <a:gd name="connsiteY2666" fmla="*/ 1276048 h 1737071"/>
              <a:gd name="connsiteX2667" fmla="*/ 1364487 w 3956050"/>
              <a:gd name="connsiteY2667" fmla="*/ 1272056 h 1737071"/>
              <a:gd name="connsiteX2668" fmla="*/ 1366482 w 3956050"/>
              <a:gd name="connsiteY2668" fmla="*/ 1268065 h 1737071"/>
              <a:gd name="connsiteX2669" fmla="*/ 1376457 w 3956050"/>
              <a:gd name="connsiteY2669" fmla="*/ 1262077 h 1737071"/>
              <a:gd name="connsiteX2670" fmla="*/ 1374462 w 3956050"/>
              <a:gd name="connsiteY2670" fmla="*/ 1256090 h 1737071"/>
              <a:gd name="connsiteX2671" fmla="*/ 1368477 w 3956050"/>
              <a:gd name="connsiteY2671" fmla="*/ 1256090 h 1737071"/>
              <a:gd name="connsiteX2672" fmla="*/ 1364487 w 3956050"/>
              <a:gd name="connsiteY2672" fmla="*/ 1258086 h 1737071"/>
              <a:gd name="connsiteX2673" fmla="*/ 1358502 w 3956050"/>
              <a:gd name="connsiteY2673" fmla="*/ 1262077 h 1737071"/>
              <a:gd name="connsiteX2674" fmla="*/ 1354512 w 3956050"/>
              <a:gd name="connsiteY2674" fmla="*/ 1262077 h 1737071"/>
              <a:gd name="connsiteX2675" fmla="*/ 1348527 w 3956050"/>
              <a:gd name="connsiteY2675" fmla="*/ 1260081 h 1737071"/>
              <a:gd name="connsiteX2676" fmla="*/ 1342541 w 3956050"/>
              <a:gd name="connsiteY2676" fmla="*/ 1262077 h 1737071"/>
              <a:gd name="connsiteX2677" fmla="*/ 1340546 w 3956050"/>
              <a:gd name="connsiteY2677" fmla="*/ 1264073 h 1737071"/>
              <a:gd name="connsiteX2678" fmla="*/ 1338551 w 3956050"/>
              <a:gd name="connsiteY2678" fmla="*/ 1268065 h 1737071"/>
              <a:gd name="connsiteX2679" fmla="*/ 1336556 w 3956050"/>
              <a:gd name="connsiteY2679" fmla="*/ 1272056 h 1737071"/>
              <a:gd name="connsiteX2680" fmla="*/ 1330571 w 3956050"/>
              <a:gd name="connsiteY2680" fmla="*/ 1274052 h 1737071"/>
              <a:gd name="connsiteX2681" fmla="*/ 1326581 w 3956050"/>
              <a:gd name="connsiteY2681" fmla="*/ 1274052 h 1737071"/>
              <a:gd name="connsiteX2682" fmla="*/ 1324586 w 3956050"/>
              <a:gd name="connsiteY2682" fmla="*/ 1278043 h 1737071"/>
              <a:gd name="connsiteX2683" fmla="*/ 1322591 w 3956050"/>
              <a:gd name="connsiteY2683" fmla="*/ 1282035 h 1737071"/>
              <a:gd name="connsiteX2684" fmla="*/ 1320596 w 3956050"/>
              <a:gd name="connsiteY2684" fmla="*/ 1280039 h 1737071"/>
              <a:gd name="connsiteX2685" fmla="*/ 1308626 w 3956050"/>
              <a:gd name="connsiteY2685" fmla="*/ 1278043 h 1737071"/>
              <a:gd name="connsiteX2686" fmla="*/ 1304636 w 3956050"/>
              <a:gd name="connsiteY2686" fmla="*/ 1280039 h 1737071"/>
              <a:gd name="connsiteX2687" fmla="*/ 1298651 w 3956050"/>
              <a:gd name="connsiteY2687" fmla="*/ 1280039 h 1737071"/>
              <a:gd name="connsiteX2688" fmla="*/ 1294660 w 3956050"/>
              <a:gd name="connsiteY2688" fmla="*/ 1276048 h 1737071"/>
              <a:gd name="connsiteX2689" fmla="*/ 1296655 w 3956050"/>
              <a:gd name="connsiteY2689" fmla="*/ 1272056 h 1737071"/>
              <a:gd name="connsiteX2690" fmla="*/ 1296655 w 3956050"/>
              <a:gd name="connsiteY2690" fmla="*/ 1266069 h 1737071"/>
              <a:gd name="connsiteX2691" fmla="*/ 1288675 w 3956050"/>
              <a:gd name="connsiteY2691" fmla="*/ 1264073 h 1737071"/>
              <a:gd name="connsiteX2692" fmla="*/ 1280695 w 3956050"/>
              <a:gd name="connsiteY2692" fmla="*/ 1262077 h 1737071"/>
              <a:gd name="connsiteX2693" fmla="*/ 1276705 w 3956050"/>
              <a:gd name="connsiteY2693" fmla="*/ 1264073 h 1737071"/>
              <a:gd name="connsiteX2694" fmla="*/ 1268725 w 3956050"/>
              <a:gd name="connsiteY2694" fmla="*/ 1260081 h 1737071"/>
              <a:gd name="connsiteX2695" fmla="*/ 1268725 w 3956050"/>
              <a:gd name="connsiteY2695" fmla="*/ 1254094 h 1737071"/>
              <a:gd name="connsiteX2696" fmla="*/ 1266730 w 3956050"/>
              <a:gd name="connsiteY2696" fmla="*/ 1254094 h 1737071"/>
              <a:gd name="connsiteX2697" fmla="*/ 1260745 w 3956050"/>
              <a:gd name="connsiteY2697" fmla="*/ 1256090 h 1737071"/>
              <a:gd name="connsiteX2698" fmla="*/ 1256755 w 3956050"/>
              <a:gd name="connsiteY2698" fmla="*/ 1258086 h 1737071"/>
              <a:gd name="connsiteX2699" fmla="*/ 1248774 w 3956050"/>
              <a:gd name="connsiteY2699" fmla="*/ 1260081 h 1737071"/>
              <a:gd name="connsiteX2700" fmla="*/ 1242789 w 3956050"/>
              <a:gd name="connsiteY2700" fmla="*/ 1258086 h 1737071"/>
              <a:gd name="connsiteX2701" fmla="*/ 1238799 w 3956050"/>
              <a:gd name="connsiteY2701" fmla="*/ 1250103 h 1737071"/>
              <a:gd name="connsiteX2702" fmla="*/ 1236804 w 3956050"/>
              <a:gd name="connsiteY2702" fmla="*/ 1242119 h 1737071"/>
              <a:gd name="connsiteX2703" fmla="*/ 1236804 w 3956050"/>
              <a:gd name="connsiteY2703" fmla="*/ 1236132 h 1737071"/>
              <a:gd name="connsiteX2704" fmla="*/ 1234809 w 3956050"/>
              <a:gd name="connsiteY2704" fmla="*/ 1230145 h 1737071"/>
              <a:gd name="connsiteX2705" fmla="*/ 1234809 w 3956050"/>
              <a:gd name="connsiteY2705" fmla="*/ 1224158 h 1737071"/>
              <a:gd name="connsiteX2706" fmla="*/ 1230819 w 3956050"/>
              <a:gd name="connsiteY2706" fmla="*/ 1222162 h 1737071"/>
              <a:gd name="connsiteX2707" fmla="*/ 1224834 w 3956050"/>
              <a:gd name="connsiteY2707" fmla="*/ 1220166 h 1737071"/>
              <a:gd name="connsiteX2708" fmla="*/ 1216854 w 3956050"/>
              <a:gd name="connsiteY2708" fmla="*/ 1220166 h 1737071"/>
              <a:gd name="connsiteX2709" fmla="*/ 1212864 w 3956050"/>
              <a:gd name="connsiteY2709" fmla="*/ 1222162 h 1737071"/>
              <a:gd name="connsiteX2710" fmla="*/ 1208874 w 3956050"/>
              <a:gd name="connsiteY2710" fmla="*/ 1222162 h 1737071"/>
              <a:gd name="connsiteX2711" fmla="*/ 1204883 w 3956050"/>
              <a:gd name="connsiteY2711" fmla="*/ 1216174 h 1737071"/>
              <a:gd name="connsiteX2712" fmla="*/ 1198898 w 3956050"/>
              <a:gd name="connsiteY2712" fmla="*/ 1212183 h 1737071"/>
              <a:gd name="connsiteX2713" fmla="*/ 1192913 w 3956050"/>
              <a:gd name="connsiteY2713" fmla="*/ 1212183 h 1737071"/>
              <a:gd name="connsiteX2714" fmla="*/ 1184933 w 3956050"/>
              <a:gd name="connsiteY2714" fmla="*/ 1212183 h 1737071"/>
              <a:gd name="connsiteX2715" fmla="*/ 1178948 w 3956050"/>
              <a:gd name="connsiteY2715" fmla="*/ 1216174 h 1737071"/>
              <a:gd name="connsiteX2716" fmla="*/ 1174958 w 3956050"/>
              <a:gd name="connsiteY2716" fmla="*/ 1220166 h 1737071"/>
              <a:gd name="connsiteX2717" fmla="*/ 1170968 w 3956050"/>
              <a:gd name="connsiteY2717" fmla="*/ 1224158 h 1737071"/>
              <a:gd name="connsiteX2718" fmla="*/ 1166978 w 3956050"/>
              <a:gd name="connsiteY2718" fmla="*/ 1230145 h 1737071"/>
              <a:gd name="connsiteX2719" fmla="*/ 1160992 w 3956050"/>
              <a:gd name="connsiteY2719" fmla="*/ 1234136 h 1737071"/>
              <a:gd name="connsiteX2720" fmla="*/ 1155007 w 3956050"/>
              <a:gd name="connsiteY2720" fmla="*/ 1236132 h 1737071"/>
              <a:gd name="connsiteX2721" fmla="*/ 1143037 w 3956050"/>
              <a:gd name="connsiteY2721" fmla="*/ 1238128 h 1737071"/>
              <a:gd name="connsiteX2722" fmla="*/ 1137052 w 3956050"/>
              <a:gd name="connsiteY2722" fmla="*/ 1240124 h 1737071"/>
              <a:gd name="connsiteX2723" fmla="*/ 1129072 w 3956050"/>
              <a:gd name="connsiteY2723" fmla="*/ 1240124 h 1737071"/>
              <a:gd name="connsiteX2724" fmla="*/ 1123087 w 3956050"/>
              <a:gd name="connsiteY2724" fmla="*/ 1242119 h 1737071"/>
              <a:gd name="connsiteX2725" fmla="*/ 1117101 w 3956050"/>
              <a:gd name="connsiteY2725" fmla="*/ 1244115 h 1737071"/>
              <a:gd name="connsiteX2726" fmla="*/ 1109121 w 3956050"/>
              <a:gd name="connsiteY2726" fmla="*/ 1246111 h 1737071"/>
              <a:gd name="connsiteX2727" fmla="*/ 1105131 w 3956050"/>
              <a:gd name="connsiteY2727" fmla="*/ 1252098 h 1737071"/>
              <a:gd name="connsiteX2728" fmla="*/ 1097151 w 3956050"/>
              <a:gd name="connsiteY2728" fmla="*/ 1258086 h 1737071"/>
              <a:gd name="connsiteX2729" fmla="*/ 1089171 w 3956050"/>
              <a:gd name="connsiteY2729" fmla="*/ 1256090 h 1737071"/>
              <a:gd name="connsiteX2730" fmla="*/ 1083186 w 3956050"/>
              <a:gd name="connsiteY2730" fmla="*/ 1258086 h 1737071"/>
              <a:gd name="connsiteX2731" fmla="*/ 1077201 w 3956050"/>
              <a:gd name="connsiteY2731" fmla="*/ 1262077 h 1737071"/>
              <a:gd name="connsiteX2732" fmla="*/ 1069220 w 3956050"/>
              <a:gd name="connsiteY2732" fmla="*/ 1266069 h 1737071"/>
              <a:gd name="connsiteX2733" fmla="*/ 1059245 w 3956050"/>
              <a:gd name="connsiteY2733" fmla="*/ 1266069 h 1737071"/>
              <a:gd name="connsiteX2734" fmla="*/ 1051265 w 3956050"/>
              <a:gd name="connsiteY2734" fmla="*/ 1266069 h 1737071"/>
              <a:gd name="connsiteX2735" fmla="*/ 1047275 w 3956050"/>
              <a:gd name="connsiteY2735" fmla="*/ 1268065 h 1737071"/>
              <a:gd name="connsiteX2736" fmla="*/ 1043285 w 3956050"/>
              <a:gd name="connsiteY2736" fmla="*/ 1270060 h 1737071"/>
              <a:gd name="connsiteX2737" fmla="*/ 1039295 w 3956050"/>
              <a:gd name="connsiteY2737" fmla="*/ 1272056 h 1737071"/>
              <a:gd name="connsiteX2738" fmla="*/ 1031315 w 3956050"/>
              <a:gd name="connsiteY2738" fmla="*/ 1270060 h 1737071"/>
              <a:gd name="connsiteX2739" fmla="*/ 1025329 w 3956050"/>
              <a:gd name="connsiteY2739" fmla="*/ 1268065 h 1737071"/>
              <a:gd name="connsiteX2740" fmla="*/ 1017349 w 3956050"/>
              <a:gd name="connsiteY2740" fmla="*/ 1268065 h 1737071"/>
              <a:gd name="connsiteX2741" fmla="*/ 1007374 w 3956050"/>
              <a:gd name="connsiteY2741" fmla="*/ 1270060 h 1737071"/>
              <a:gd name="connsiteX2742" fmla="*/ 1003384 w 3956050"/>
              <a:gd name="connsiteY2742" fmla="*/ 1276048 h 1737071"/>
              <a:gd name="connsiteX2743" fmla="*/ 1005379 w 3956050"/>
              <a:gd name="connsiteY2743" fmla="*/ 1284031 h 1737071"/>
              <a:gd name="connsiteX2744" fmla="*/ 1009369 w 3956050"/>
              <a:gd name="connsiteY2744" fmla="*/ 1288022 h 1737071"/>
              <a:gd name="connsiteX2745" fmla="*/ 1009369 w 3956050"/>
              <a:gd name="connsiteY2745" fmla="*/ 1290018 h 1737071"/>
              <a:gd name="connsiteX2746" fmla="*/ 1009369 w 3956050"/>
              <a:gd name="connsiteY2746" fmla="*/ 1296005 h 1737071"/>
              <a:gd name="connsiteX2747" fmla="*/ 1011364 w 3956050"/>
              <a:gd name="connsiteY2747" fmla="*/ 1298001 h 1737071"/>
              <a:gd name="connsiteX2748" fmla="*/ 1017349 w 3956050"/>
              <a:gd name="connsiteY2748" fmla="*/ 1299997 h 1737071"/>
              <a:gd name="connsiteX2749" fmla="*/ 1019344 w 3956050"/>
              <a:gd name="connsiteY2749" fmla="*/ 1301993 h 1737071"/>
              <a:gd name="connsiteX2750" fmla="*/ 1021339 w 3956050"/>
              <a:gd name="connsiteY2750" fmla="*/ 1303988 h 1737071"/>
              <a:gd name="connsiteX2751" fmla="*/ 1019344 w 3956050"/>
              <a:gd name="connsiteY2751" fmla="*/ 1307980 h 1737071"/>
              <a:gd name="connsiteX2752" fmla="*/ 1013359 w 3956050"/>
              <a:gd name="connsiteY2752" fmla="*/ 1307980 h 1737071"/>
              <a:gd name="connsiteX2753" fmla="*/ 1007374 w 3956050"/>
              <a:gd name="connsiteY2753" fmla="*/ 1309976 h 1737071"/>
              <a:gd name="connsiteX2754" fmla="*/ 1001389 w 3956050"/>
              <a:gd name="connsiteY2754" fmla="*/ 1315963 h 1737071"/>
              <a:gd name="connsiteX2755" fmla="*/ 1001389 w 3956050"/>
              <a:gd name="connsiteY2755" fmla="*/ 1319955 h 1737071"/>
              <a:gd name="connsiteX2756" fmla="*/ 1003384 w 3956050"/>
              <a:gd name="connsiteY2756" fmla="*/ 1325942 h 1737071"/>
              <a:gd name="connsiteX2757" fmla="*/ 1005379 w 3956050"/>
              <a:gd name="connsiteY2757" fmla="*/ 1331929 h 1737071"/>
              <a:gd name="connsiteX2758" fmla="*/ 1003384 w 3956050"/>
              <a:gd name="connsiteY2758" fmla="*/ 1335921 h 1737071"/>
              <a:gd name="connsiteX2759" fmla="*/ 1001389 w 3956050"/>
              <a:gd name="connsiteY2759" fmla="*/ 1343904 h 1737071"/>
              <a:gd name="connsiteX2760" fmla="*/ 993409 w 3956050"/>
              <a:gd name="connsiteY2760" fmla="*/ 1345900 h 1737071"/>
              <a:gd name="connsiteX2761" fmla="*/ 995404 w 3956050"/>
              <a:gd name="connsiteY2761" fmla="*/ 1349891 h 1737071"/>
              <a:gd name="connsiteX2762" fmla="*/ 997399 w 3956050"/>
              <a:gd name="connsiteY2762" fmla="*/ 1353883 h 1737071"/>
              <a:gd name="connsiteX2763" fmla="*/ 1001389 w 3956050"/>
              <a:gd name="connsiteY2763" fmla="*/ 1359870 h 1737071"/>
              <a:gd name="connsiteX2764" fmla="*/ 1003384 w 3956050"/>
              <a:gd name="connsiteY2764" fmla="*/ 1363862 h 1737071"/>
              <a:gd name="connsiteX2765" fmla="*/ 1005379 w 3956050"/>
              <a:gd name="connsiteY2765" fmla="*/ 1367853 h 1737071"/>
              <a:gd name="connsiteX2766" fmla="*/ 1013359 w 3956050"/>
              <a:gd name="connsiteY2766" fmla="*/ 1369849 h 1737071"/>
              <a:gd name="connsiteX2767" fmla="*/ 1021339 w 3956050"/>
              <a:gd name="connsiteY2767" fmla="*/ 1365857 h 1737071"/>
              <a:gd name="connsiteX2768" fmla="*/ 1025329 w 3956050"/>
              <a:gd name="connsiteY2768" fmla="*/ 1367853 h 1737071"/>
              <a:gd name="connsiteX2769" fmla="*/ 1025329 w 3956050"/>
              <a:gd name="connsiteY2769" fmla="*/ 1373841 h 1737071"/>
              <a:gd name="connsiteX2770" fmla="*/ 1023334 w 3956050"/>
              <a:gd name="connsiteY2770" fmla="*/ 1379828 h 1737071"/>
              <a:gd name="connsiteX2771" fmla="*/ 1023334 w 3956050"/>
              <a:gd name="connsiteY2771" fmla="*/ 1385815 h 1737071"/>
              <a:gd name="connsiteX2772" fmla="*/ 1023334 w 3956050"/>
              <a:gd name="connsiteY2772" fmla="*/ 1389807 h 1737071"/>
              <a:gd name="connsiteX2773" fmla="*/ 1017349 w 3956050"/>
              <a:gd name="connsiteY2773" fmla="*/ 1393798 h 1737071"/>
              <a:gd name="connsiteX2774" fmla="*/ 1009369 w 3956050"/>
              <a:gd name="connsiteY2774" fmla="*/ 1393798 h 1737071"/>
              <a:gd name="connsiteX2775" fmla="*/ 1005379 w 3956050"/>
              <a:gd name="connsiteY2775" fmla="*/ 1393798 h 1737071"/>
              <a:gd name="connsiteX2776" fmla="*/ 1003384 w 3956050"/>
              <a:gd name="connsiteY2776" fmla="*/ 1391802 h 1737071"/>
              <a:gd name="connsiteX2777" fmla="*/ 999394 w 3956050"/>
              <a:gd name="connsiteY2777" fmla="*/ 1389807 h 1737071"/>
              <a:gd name="connsiteX2778" fmla="*/ 993409 w 3956050"/>
              <a:gd name="connsiteY2778" fmla="*/ 1389807 h 1737071"/>
              <a:gd name="connsiteX2779" fmla="*/ 987424 w 3956050"/>
              <a:gd name="connsiteY2779" fmla="*/ 1393798 h 1737071"/>
              <a:gd name="connsiteX2780" fmla="*/ 985429 w 3956050"/>
              <a:gd name="connsiteY2780" fmla="*/ 1397790 h 1737071"/>
              <a:gd name="connsiteX2781" fmla="*/ 979443 w 3956050"/>
              <a:gd name="connsiteY2781" fmla="*/ 1397790 h 1737071"/>
              <a:gd name="connsiteX2782" fmla="*/ 975453 w 3956050"/>
              <a:gd name="connsiteY2782" fmla="*/ 1397790 h 1737071"/>
              <a:gd name="connsiteX2783" fmla="*/ 971463 w 3956050"/>
              <a:gd name="connsiteY2783" fmla="*/ 1397790 h 1737071"/>
              <a:gd name="connsiteX2784" fmla="*/ 967473 w 3956050"/>
              <a:gd name="connsiteY2784" fmla="*/ 1397790 h 1737071"/>
              <a:gd name="connsiteX2785" fmla="*/ 961488 w 3956050"/>
              <a:gd name="connsiteY2785" fmla="*/ 1395794 h 1737071"/>
              <a:gd name="connsiteX2786" fmla="*/ 955503 w 3956050"/>
              <a:gd name="connsiteY2786" fmla="*/ 1391802 h 1737071"/>
              <a:gd name="connsiteX2787" fmla="*/ 953508 w 3956050"/>
              <a:gd name="connsiteY2787" fmla="*/ 1387811 h 1737071"/>
              <a:gd name="connsiteX2788" fmla="*/ 947523 w 3956050"/>
              <a:gd name="connsiteY2788" fmla="*/ 1383819 h 1737071"/>
              <a:gd name="connsiteX2789" fmla="*/ 941538 w 3956050"/>
              <a:gd name="connsiteY2789" fmla="*/ 1381824 h 1737071"/>
              <a:gd name="connsiteX2790" fmla="*/ 935552 w 3956050"/>
              <a:gd name="connsiteY2790" fmla="*/ 1381824 h 1737071"/>
              <a:gd name="connsiteX2791" fmla="*/ 933557 w 3956050"/>
              <a:gd name="connsiteY2791" fmla="*/ 1381824 h 1737071"/>
              <a:gd name="connsiteX2792" fmla="*/ 931562 w 3956050"/>
              <a:gd name="connsiteY2792" fmla="*/ 1387811 h 1737071"/>
              <a:gd name="connsiteX2793" fmla="*/ 927572 w 3956050"/>
              <a:gd name="connsiteY2793" fmla="*/ 1387811 h 1737071"/>
              <a:gd name="connsiteX2794" fmla="*/ 923582 w 3956050"/>
              <a:gd name="connsiteY2794" fmla="*/ 1387811 h 1737071"/>
              <a:gd name="connsiteX2795" fmla="*/ 917597 w 3956050"/>
              <a:gd name="connsiteY2795" fmla="*/ 1389807 h 1737071"/>
              <a:gd name="connsiteX2796" fmla="*/ 911612 w 3956050"/>
              <a:gd name="connsiteY2796" fmla="*/ 1391802 h 1737071"/>
              <a:gd name="connsiteX2797" fmla="*/ 903632 w 3956050"/>
              <a:gd name="connsiteY2797" fmla="*/ 1395794 h 1737071"/>
              <a:gd name="connsiteX2798" fmla="*/ 899642 w 3956050"/>
              <a:gd name="connsiteY2798" fmla="*/ 1395794 h 1737071"/>
              <a:gd name="connsiteX2799" fmla="*/ 895651 w 3956050"/>
              <a:gd name="connsiteY2799" fmla="*/ 1395794 h 1737071"/>
              <a:gd name="connsiteX2800" fmla="*/ 887671 w 3956050"/>
              <a:gd name="connsiteY2800" fmla="*/ 1397790 h 1737071"/>
              <a:gd name="connsiteX2801" fmla="*/ 879691 w 3956050"/>
              <a:gd name="connsiteY2801" fmla="*/ 1397790 h 1737071"/>
              <a:gd name="connsiteX2802" fmla="*/ 875701 w 3956050"/>
              <a:gd name="connsiteY2802" fmla="*/ 1393798 h 1737071"/>
              <a:gd name="connsiteX2803" fmla="*/ 873706 w 3956050"/>
              <a:gd name="connsiteY2803" fmla="*/ 1387811 h 1737071"/>
              <a:gd name="connsiteX2804" fmla="*/ 869716 w 3956050"/>
              <a:gd name="connsiteY2804" fmla="*/ 1385815 h 1737071"/>
              <a:gd name="connsiteX2805" fmla="*/ 867721 w 3956050"/>
              <a:gd name="connsiteY2805" fmla="*/ 1389807 h 1737071"/>
              <a:gd name="connsiteX2806" fmla="*/ 865726 w 3956050"/>
              <a:gd name="connsiteY2806" fmla="*/ 1395794 h 1737071"/>
              <a:gd name="connsiteX2807" fmla="*/ 861736 w 3956050"/>
              <a:gd name="connsiteY2807" fmla="*/ 1393798 h 1737071"/>
              <a:gd name="connsiteX2808" fmla="*/ 857746 w 3956050"/>
              <a:gd name="connsiteY2808" fmla="*/ 1387811 h 1737071"/>
              <a:gd name="connsiteX2809" fmla="*/ 855751 w 3956050"/>
              <a:gd name="connsiteY2809" fmla="*/ 1383819 h 1737071"/>
              <a:gd name="connsiteX2810" fmla="*/ 849765 w 3956050"/>
              <a:gd name="connsiteY2810" fmla="*/ 1381824 h 1737071"/>
              <a:gd name="connsiteX2811" fmla="*/ 843780 w 3956050"/>
              <a:gd name="connsiteY2811" fmla="*/ 1377832 h 1737071"/>
              <a:gd name="connsiteX2812" fmla="*/ 841785 w 3956050"/>
              <a:gd name="connsiteY2812" fmla="*/ 1375836 h 1737071"/>
              <a:gd name="connsiteX2813" fmla="*/ 835800 w 3956050"/>
              <a:gd name="connsiteY2813" fmla="*/ 1371845 h 1737071"/>
              <a:gd name="connsiteX2814" fmla="*/ 831810 w 3956050"/>
              <a:gd name="connsiteY2814" fmla="*/ 1367853 h 1737071"/>
              <a:gd name="connsiteX2815" fmla="*/ 827820 w 3956050"/>
              <a:gd name="connsiteY2815" fmla="*/ 1365857 h 1737071"/>
              <a:gd name="connsiteX2816" fmla="*/ 819840 w 3956050"/>
              <a:gd name="connsiteY2816" fmla="*/ 1363862 h 1737071"/>
              <a:gd name="connsiteX2817" fmla="*/ 811860 w 3956050"/>
              <a:gd name="connsiteY2817" fmla="*/ 1365857 h 1737071"/>
              <a:gd name="connsiteX2818" fmla="*/ 807870 w 3956050"/>
              <a:gd name="connsiteY2818" fmla="*/ 1367853 h 1737071"/>
              <a:gd name="connsiteX2819" fmla="*/ 799889 w 3956050"/>
              <a:gd name="connsiteY2819" fmla="*/ 1367853 h 1737071"/>
              <a:gd name="connsiteX2820" fmla="*/ 793904 w 3956050"/>
              <a:gd name="connsiteY2820" fmla="*/ 1369849 h 1737071"/>
              <a:gd name="connsiteX2821" fmla="*/ 789914 w 3956050"/>
              <a:gd name="connsiteY2821" fmla="*/ 1375836 h 1737071"/>
              <a:gd name="connsiteX2822" fmla="*/ 785924 w 3956050"/>
              <a:gd name="connsiteY2822" fmla="*/ 1373841 h 1737071"/>
              <a:gd name="connsiteX2823" fmla="*/ 781934 w 3956050"/>
              <a:gd name="connsiteY2823" fmla="*/ 1373841 h 1737071"/>
              <a:gd name="connsiteX2824" fmla="*/ 779939 w 3956050"/>
              <a:gd name="connsiteY2824" fmla="*/ 1369849 h 1737071"/>
              <a:gd name="connsiteX2825" fmla="*/ 779939 w 3956050"/>
              <a:gd name="connsiteY2825" fmla="*/ 1363862 h 1737071"/>
              <a:gd name="connsiteX2826" fmla="*/ 771959 w 3956050"/>
              <a:gd name="connsiteY2826" fmla="*/ 1361866 h 1737071"/>
              <a:gd name="connsiteX2827" fmla="*/ 769964 w 3956050"/>
              <a:gd name="connsiteY2827" fmla="*/ 1361866 h 1737071"/>
              <a:gd name="connsiteX2828" fmla="*/ 765974 w 3956050"/>
              <a:gd name="connsiteY2828" fmla="*/ 1367853 h 1737071"/>
              <a:gd name="connsiteX2829" fmla="*/ 763979 w 3956050"/>
              <a:gd name="connsiteY2829" fmla="*/ 1371845 h 1737071"/>
              <a:gd name="connsiteX2830" fmla="*/ 757993 w 3956050"/>
              <a:gd name="connsiteY2830" fmla="*/ 1371845 h 1737071"/>
              <a:gd name="connsiteX2831" fmla="*/ 755998 w 3956050"/>
              <a:gd name="connsiteY2831" fmla="*/ 1373841 h 1737071"/>
              <a:gd name="connsiteX2832" fmla="*/ 752008 w 3956050"/>
              <a:gd name="connsiteY2832" fmla="*/ 1377832 h 1737071"/>
              <a:gd name="connsiteX2833" fmla="*/ 748018 w 3956050"/>
              <a:gd name="connsiteY2833" fmla="*/ 1377832 h 1737071"/>
              <a:gd name="connsiteX2834" fmla="*/ 742033 w 3956050"/>
              <a:gd name="connsiteY2834" fmla="*/ 1377832 h 1737071"/>
              <a:gd name="connsiteX2835" fmla="*/ 738043 w 3956050"/>
              <a:gd name="connsiteY2835" fmla="*/ 1383819 h 1737071"/>
              <a:gd name="connsiteX2836" fmla="*/ 740038 w 3956050"/>
              <a:gd name="connsiteY2836" fmla="*/ 1389807 h 1737071"/>
              <a:gd name="connsiteX2837" fmla="*/ 738043 w 3956050"/>
              <a:gd name="connsiteY2837" fmla="*/ 1393798 h 1737071"/>
              <a:gd name="connsiteX2838" fmla="*/ 732058 w 3956050"/>
              <a:gd name="connsiteY2838" fmla="*/ 1397790 h 1737071"/>
              <a:gd name="connsiteX2839" fmla="*/ 728068 w 3956050"/>
              <a:gd name="connsiteY2839" fmla="*/ 1399786 h 1737071"/>
              <a:gd name="connsiteX2840" fmla="*/ 724078 w 3956050"/>
              <a:gd name="connsiteY2840" fmla="*/ 1401781 h 1737071"/>
              <a:gd name="connsiteX2841" fmla="*/ 718092 w 3956050"/>
              <a:gd name="connsiteY2841" fmla="*/ 1403777 h 1737071"/>
              <a:gd name="connsiteX2842" fmla="*/ 722083 w 3956050"/>
              <a:gd name="connsiteY2842" fmla="*/ 1409764 h 1737071"/>
              <a:gd name="connsiteX2843" fmla="*/ 726073 w 3956050"/>
              <a:gd name="connsiteY2843" fmla="*/ 1413756 h 1737071"/>
              <a:gd name="connsiteX2844" fmla="*/ 728068 w 3956050"/>
              <a:gd name="connsiteY2844" fmla="*/ 1421739 h 1737071"/>
              <a:gd name="connsiteX2845" fmla="*/ 726073 w 3956050"/>
              <a:gd name="connsiteY2845" fmla="*/ 1431718 h 1737071"/>
              <a:gd name="connsiteX2846" fmla="*/ 718092 w 3956050"/>
              <a:gd name="connsiteY2846" fmla="*/ 1427726 h 1737071"/>
              <a:gd name="connsiteX2847" fmla="*/ 716097 w 3956050"/>
              <a:gd name="connsiteY2847" fmla="*/ 1421739 h 1737071"/>
              <a:gd name="connsiteX2848" fmla="*/ 710112 w 3956050"/>
              <a:gd name="connsiteY2848" fmla="*/ 1419743 h 1737071"/>
              <a:gd name="connsiteX2849" fmla="*/ 708117 w 3956050"/>
              <a:gd name="connsiteY2849" fmla="*/ 1415752 h 1737071"/>
              <a:gd name="connsiteX2850" fmla="*/ 706122 w 3956050"/>
              <a:gd name="connsiteY2850" fmla="*/ 1411760 h 1737071"/>
              <a:gd name="connsiteX2851" fmla="*/ 700137 w 3956050"/>
              <a:gd name="connsiteY2851" fmla="*/ 1405773 h 1737071"/>
              <a:gd name="connsiteX2852" fmla="*/ 692157 w 3956050"/>
              <a:gd name="connsiteY2852" fmla="*/ 1407769 h 1737071"/>
              <a:gd name="connsiteX2853" fmla="*/ 692157 w 3956050"/>
              <a:gd name="connsiteY2853" fmla="*/ 1417748 h 1737071"/>
              <a:gd name="connsiteX2854" fmla="*/ 688167 w 3956050"/>
              <a:gd name="connsiteY2854" fmla="*/ 1423735 h 1737071"/>
              <a:gd name="connsiteX2855" fmla="*/ 684177 w 3956050"/>
              <a:gd name="connsiteY2855" fmla="*/ 1429722 h 1737071"/>
              <a:gd name="connsiteX2856" fmla="*/ 684177 w 3956050"/>
              <a:gd name="connsiteY2856" fmla="*/ 1439701 h 1737071"/>
              <a:gd name="connsiteX2857" fmla="*/ 684177 w 3956050"/>
              <a:gd name="connsiteY2857" fmla="*/ 1445688 h 1737071"/>
              <a:gd name="connsiteX2858" fmla="*/ 684177 w 3956050"/>
              <a:gd name="connsiteY2858" fmla="*/ 1457663 h 1737071"/>
              <a:gd name="connsiteX2859" fmla="*/ 684177 w 3956050"/>
              <a:gd name="connsiteY2859" fmla="*/ 1471633 h 1737071"/>
              <a:gd name="connsiteX2860" fmla="*/ 682182 w 3956050"/>
              <a:gd name="connsiteY2860" fmla="*/ 1479616 h 1737071"/>
              <a:gd name="connsiteX2861" fmla="*/ 682182 w 3956050"/>
              <a:gd name="connsiteY2861" fmla="*/ 1485604 h 1737071"/>
              <a:gd name="connsiteX2862" fmla="*/ 688167 w 3956050"/>
              <a:gd name="connsiteY2862" fmla="*/ 1487600 h 1737071"/>
              <a:gd name="connsiteX2863" fmla="*/ 696147 w 3956050"/>
              <a:gd name="connsiteY2863" fmla="*/ 1495583 h 1737071"/>
              <a:gd name="connsiteX2864" fmla="*/ 696147 w 3956050"/>
              <a:gd name="connsiteY2864" fmla="*/ 1501570 h 1737071"/>
              <a:gd name="connsiteX2865" fmla="*/ 696147 w 3956050"/>
              <a:gd name="connsiteY2865" fmla="*/ 1509553 h 1737071"/>
              <a:gd name="connsiteX2866" fmla="*/ 702132 w 3956050"/>
              <a:gd name="connsiteY2866" fmla="*/ 1513545 h 1737071"/>
              <a:gd name="connsiteX2867" fmla="*/ 708117 w 3956050"/>
              <a:gd name="connsiteY2867" fmla="*/ 1509553 h 1737071"/>
              <a:gd name="connsiteX2868" fmla="*/ 712107 w 3956050"/>
              <a:gd name="connsiteY2868" fmla="*/ 1509553 h 1737071"/>
              <a:gd name="connsiteX2869" fmla="*/ 718092 w 3956050"/>
              <a:gd name="connsiteY2869" fmla="*/ 1509553 h 1737071"/>
              <a:gd name="connsiteX2870" fmla="*/ 718092 w 3956050"/>
              <a:gd name="connsiteY2870" fmla="*/ 1511549 h 1737071"/>
              <a:gd name="connsiteX2871" fmla="*/ 720088 w 3956050"/>
              <a:gd name="connsiteY2871" fmla="*/ 1515540 h 1737071"/>
              <a:gd name="connsiteX2872" fmla="*/ 724078 w 3956050"/>
              <a:gd name="connsiteY2872" fmla="*/ 1519532 h 1737071"/>
              <a:gd name="connsiteX2873" fmla="*/ 726073 w 3956050"/>
              <a:gd name="connsiteY2873" fmla="*/ 1525519 h 1737071"/>
              <a:gd name="connsiteX2874" fmla="*/ 734053 w 3956050"/>
              <a:gd name="connsiteY2874" fmla="*/ 1531507 h 1737071"/>
              <a:gd name="connsiteX2875" fmla="*/ 738043 w 3956050"/>
              <a:gd name="connsiteY2875" fmla="*/ 1537494 h 1737071"/>
              <a:gd name="connsiteX2876" fmla="*/ 738043 w 3956050"/>
              <a:gd name="connsiteY2876" fmla="*/ 1543481 h 1737071"/>
              <a:gd name="connsiteX2877" fmla="*/ 748018 w 3956050"/>
              <a:gd name="connsiteY2877" fmla="*/ 1543481 h 1737071"/>
              <a:gd name="connsiteX2878" fmla="*/ 752008 w 3956050"/>
              <a:gd name="connsiteY2878" fmla="*/ 1549469 h 1737071"/>
              <a:gd name="connsiteX2879" fmla="*/ 748018 w 3956050"/>
              <a:gd name="connsiteY2879" fmla="*/ 1553460 h 1737071"/>
              <a:gd name="connsiteX2880" fmla="*/ 742033 w 3956050"/>
              <a:gd name="connsiteY2880" fmla="*/ 1561443 h 1737071"/>
              <a:gd name="connsiteX2881" fmla="*/ 734053 w 3956050"/>
              <a:gd name="connsiteY2881" fmla="*/ 1563439 h 1737071"/>
              <a:gd name="connsiteX2882" fmla="*/ 732058 w 3956050"/>
              <a:gd name="connsiteY2882" fmla="*/ 1569426 h 1737071"/>
              <a:gd name="connsiteX2883" fmla="*/ 728068 w 3956050"/>
              <a:gd name="connsiteY2883" fmla="*/ 1571422 h 1737071"/>
              <a:gd name="connsiteX2884" fmla="*/ 724078 w 3956050"/>
              <a:gd name="connsiteY2884" fmla="*/ 1577409 h 1737071"/>
              <a:gd name="connsiteX2885" fmla="*/ 716097 w 3956050"/>
              <a:gd name="connsiteY2885" fmla="*/ 1581401 h 1737071"/>
              <a:gd name="connsiteX2886" fmla="*/ 708117 w 3956050"/>
              <a:gd name="connsiteY2886" fmla="*/ 1581401 h 1737071"/>
              <a:gd name="connsiteX2887" fmla="*/ 702132 w 3956050"/>
              <a:gd name="connsiteY2887" fmla="*/ 1585392 h 1737071"/>
              <a:gd name="connsiteX2888" fmla="*/ 700137 w 3956050"/>
              <a:gd name="connsiteY2888" fmla="*/ 1597367 h 1737071"/>
              <a:gd name="connsiteX2889" fmla="*/ 694152 w 3956050"/>
              <a:gd name="connsiteY2889" fmla="*/ 1609342 h 1737071"/>
              <a:gd name="connsiteX2890" fmla="*/ 690162 w 3956050"/>
              <a:gd name="connsiteY2890" fmla="*/ 1615329 h 1737071"/>
              <a:gd name="connsiteX2891" fmla="*/ 688167 w 3956050"/>
              <a:gd name="connsiteY2891" fmla="*/ 1623312 h 1737071"/>
              <a:gd name="connsiteX2892" fmla="*/ 690162 w 3956050"/>
              <a:gd name="connsiteY2892" fmla="*/ 1625308 h 1737071"/>
              <a:gd name="connsiteX2893" fmla="*/ 694152 w 3956050"/>
              <a:gd name="connsiteY2893" fmla="*/ 1629299 h 1737071"/>
              <a:gd name="connsiteX2894" fmla="*/ 702132 w 3956050"/>
              <a:gd name="connsiteY2894" fmla="*/ 1635287 h 1737071"/>
              <a:gd name="connsiteX2895" fmla="*/ 702132 w 3956050"/>
              <a:gd name="connsiteY2895" fmla="*/ 1639278 h 1737071"/>
              <a:gd name="connsiteX2896" fmla="*/ 706122 w 3956050"/>
              <a:gd name="connsiteY2896" fmla="*/ 1641274 h 1737071"/>
              <a:gd name="connsiteX2897" fmla="*/ 712107 w 3956050"/>
              <a:gd name="connsiteY2897" fmla="*/ 1639278 h 1737071"/>
              <a:gd name="connsiteX2898" fmla="*/ 712107 w 3956050"/>
              <a:gd name="connsiteY2898" fmla="*/ 1649257 h 1737071"/>
              <a:gd name="connsiteX2899" fmla="*/ 708117 w 3956050"/>
              <a:gd name="connsiteY2899" fmla="*/ 1657240 h 1737071"/>
              <a:gd name="connsiteX2900" fmla="*/ 710112 w 3956050"/>
              <a:gd name="connsiteY2900" fmla="*/ 1661232 h 1737071"/>
              <a:gd name="connsiteX2901" fmla="*/ 710112 w 3956050"/>
              <a:gd name="connsiteY2901" fmla="*/ 1667219 h 1737071"/>
              <a:gd name="connsiteX2902" fmla="*/ 710112 w 3956050"/>
              <a:gd name="connsiteY2902" fmla="*/ 1673206 h 1737071"/>
              <a:gd name="connsiteX2903" fmla="*/ 714102 w 3956050"/>
              <a:gd name="connsiteY2903" fmla="*/ 1679194 h 1737071"/>
              <a:gd name="connsiteX2904" fmla="*/ 716097 w 3956050"/>
              <a:gd name="connsiteY2904" fmla="*/ 1687177 h 1737071"/>
              <a:gd name="connsiteX2905" fmla="*/ 718092 w 3956050"/>
              <a:gd name="connsiteY2905" fmla="*/ 1691168 h 1737071"/>
              <a:gd name="connsiteX2906" fmla="*/ 720088 w 3956050"/>
              <a:gd name="connsiteY2906" fmla="*/ 1695160 h 1737071"/>
              <a:gd name="connsiteX2907" fmla="*/ 726073 w 3956050"/>
              <a:gd name="connsiteY2907" fmla="*/ 1699152 h 1737071"/>
              <a:gd name="connsiteX2908" fmla="*/ 728068 w 3956050"/>
              <a:gd name="connsiteY2908" fmla="*/ 1705139 h 1737071"/>
              <a:gd name="connsiteX2909" fmla="*/ 730063 w 3956050"/>
              <a:gd name="connsiteY2909" fmla="*/ 1711126 h 1737071"/>
              <a:gd name="connsiteX2910" fmla="*/ 734053 w 3956050"/>
              <a:gd name="connsiteY2910" fmla="*/ 1715118 h 1737071"/>
              <a:gd name="connsiteX2911" fmla="*/ 738043 w 3956050"/>
              <a:gd name="connsiteY2911" fmla="*/ 1715118 h 1737071"/>
              <a:gd name="connsiteX2912" fmla="*/ 734053 w 3956050"/>
              <a:gd name="connsiteY2912" fmla="*/ 1717113 h 1737071"/>
              <a:gd name="connsiteX2913" fmla="*/ 730063 w 3956050"/>
              <a:gd name="connsiteY2913" fmla="*/ 1723101 h 1737071"/>
              <a:gd name="connsiteX2914" fmla="*/ 722083 w 3956050"/>
              <a:gd name="connsiteY2914" fmla="*/ 1729088 h 1737071"/>
              <a:gd name="connsiteX2915" fmla="*/ 718092 w 3956050"/>
              <a:gd name="connsiteY2915" fmla="*/ 1733080 h 1737071"/>
              <a:gd name="connsiteX2916" fmla="*/ 712107 w 3956050"/>
              <a:gd name="connsiteY2916" fmla="*/ 1737071 h 1737071"/>
              <a:gd name="connsiteX2917" fmla="*/ 708117 w 3956050"/>
              <a:gd name="connsiteY2917" fmla="*/ 1731084 h 1737071"/>
              <a:gd name="connsiteX2918" fmla="*/ 702132 w 3956050"/>
              <a:gd name="connsiteY2918" fmla="*/ 1727092 h 1737071"/>
              <a:gd name="connsiteX2919" fmla="*/ 696147 w 3956050"/>
              <a:gd name="connsiteY2919" fmla="*/ 1723101 h 1737071"/>
              <a:gd name="connsiteX2920" fmla="*/ 692157 w 3956050"/>
              <a:gd name="connsiteY2920" fmla="*/ 1725097 h 1737071"/>
              <a:gd name="connsiteX2921" fmla="*/ 686172 w 3956050"/>
              <a:gd name="connsiteY2921" fmla="*/ 1725097 h 1737071"/>
              <a:gd name="connsiteX2922" fmla="*/ 684177 w 3956050"/>
              <a:gd name="connsiteY2922" fmla="*/ 1729088 h 1737071"/>
              <a:gd name="connsiteX2923" fmla="*/ 682182 w 3956050"/>
              <a:gd name="connsiteY2923" fmla="*/ 1729088 h 1737071"/>
              <a:gd name="connsiteX2924" fmla="*/ 676197 w 3956050"/>
              <a:gd name="connsiteY2924" fmla="*/ 1721105 h 1737071"/>
              <a:gd name="connsiteX2925" fmla="*/ 676197 w 3956050"/>
              <a:gd name="connsiteY2925" fmla="*/ 1715118 h 1737071"/>
              <a:gd name="connsiteX2926" fmla="*/ 670211 w 3956050"/>
              <a:gd name="connsiteY2926" fmla="*/ 1711126 h 1737071"/>
              <a:gd name="connsiteX2927" fmla="*/ 668216 w 3956050"/>
              <a:gd name="connsiteY2927" fmla="*/ 1703143 h 1737071"/>
              <a:gd name="connsiteX2928" fmla="*/ 662231 w 3956050"/>
              <a:gd name="connsiteY2928" fmla="*/ 1701147 h 1737071"/>
              <a:gd name="connsiteX2929" fmla="*/ 658241 w 3956050"/>
              <a:gd name="connsiteY2929" fmla="*/ 1699152 h 1737071"/>
              <a:gd name="connsiteX2930" fmla="*/ 662231 w 3956050"/>
              <a:gd name="connsiteY2930" fmla="*/ 1691168 h 1737071"/>
              <a:gd name="connsiteX2931" fmla="*/ 660236 w 3956050"/>
              <a:gd name="connsiteY2931" fmla="*/ 1687177 h 1737071"/>
              <a:gd name="connsiteX2932" fmla="*/ 652256 w 3956050"/>
              <a:gd name="connsiteY2932" fmla="*/ 1685181 h 1737071"/>
              <a:gd name="connsiteX2933" fmla="*/ 644276 w 3956050"/>
              <a:gd name="connsiteY2933" fmla="*/ 1687177 h 1737071"/>
              <a:gd name="connsiteX2934" fmla="*/ 638291 w 3956050"/>
              <a:gd name="connsiteY2934" fmla="*/ 1687177 h 1737071"/>
              <a:gd name="connsiteX2935" fmla="*/ 630311 w 3956050"/>
              <a:gd name="connsiteY2935" fmla="*/ 1685181 h 1737071"/>
              <a:gd name="connsiteX2936" fmla="*/ 628315 w 3956050"/>
              <a:gd name="connsiteY2936" fmla="*/ 1689173 h 1737071"/>
              <a:gd name="connsiteX2937" fmla="*/ 622330 w 3956050"/>
              <a:gd name="connsiteY2937" fmla="*/ 1691168 h 1737071"/>
              <a:gd name="connsiteX2938" fmla="*/ 614350 w 3956050"/>
              <a:gd name="connsiteY2938" fmla="*/ 1695160 h 1737071"/>
              <a:gd name="connsiteX2939" fmla="*/ 612355 w 3956050"/>
              <a:gd name="connsiteY2939" fmla="*/ 1691168 h 1737071"/>
              <a:gd name="connsiteX2940" fmla="*/ 608365 w 3956050"/>
              <a:gd name="connsiteY2940" fmla="*/ 1689173 h 1737071"/>
              <a:gd name="connsiteX2941" fmla="*/ 606370 w 3956050"/>
              <a:gd name="connsiteY2941" fmla="*/ 1683185 h 1737071"/>
              <a:gd name="connsiteX2942" fmla="*/ 602379 w 3956050"/>
              <a:gd name="connsiteY2942" fmla="*/ 1681190 h 1737071"/>
              <a:gd name="connsiteX2943" fmla="*/ 598389 w 3956050"/>
              <a:gd name="connsiteY2943" fmla="*/ 1675202 h 1737071"/>
              <a:gd name="connsiteX2944" fmla="*/ 592404 w 3956050"/>
              <a:gd name="connsiteY2944" fmla="*/ 1669215 h 1737071"/>
              <a:gd name="connsiteX2945" fmla="*/ 586419 w 3956050"/>
              <a:gd name="connsiteY2945" fmla="*/ 1665223 h 1737071"/>
              <a:gd name="connsiteX2946" fmla="*/ 580434 w 3956050"/>
              <a:gd name="connsiteY2946" fmla="*/ 1665223 h 1737071"/>
              <a:gd name="connsiteX2947" fmla="*/ 576444 w 3956050"/>
              <a:gd name="connsiteY2947" fmla="*/ 1661232 h 1737071"/>
              <a:gd name="connsiteX2948" fmla="*/ 570459 w 3956050"/>
              <a:gd name="connsiteY2948" fmla="*/ 1661232 h 1737071"/>
              <a:gd name="connsiteX2949" fmla="*/ 558488 w 3956050"/>
              <a:gd name="connsiteY2949" fmla="*/ 1657240 h 1737071"/>
              <a:gd name="connsiteX2950" fmla="*/ 552503 w 3956050"/>
              <a:gd name="connsiteY2950" fmla="*/ 1659236 h 1737071"/>
              <a:gd name="connsiteX2951" fmla="*/ 546518 w 3956050"/>
              <a:gd name="connsiteY2951" fmla="*/ 1659236 h 1737071"/>
              <a:gd name="connsiteX2952" fmla="*/ 538538 w 3956050"/>
              <a:gd name="connsiteY2952" fmla="*/ 1657240 h 1737071"/>
              <a:gd name="connsiteX2953" fmla="*/ 530558 w 3956050"/>
              <a:gd name="connsiteY2953" fmla="*/ 1661232 h 1737071"/>
              <a:gd name="connsiteX2954" fmla="*/ 526568 w 3956050"/>
              <a:gd name="connsiteY2954" fmla="*/ 1661232 h 1737071"/>
              <a:gd name="connsiteX2955" fmla="*/ 510607 w 3956050"/>
              <a:gd name="connsiteY2955" fmla="*/ 1647261 h 1737071"/>
              <a:gd name="connsiteX2956" fmla="*/ 500632 w 3956050"/>
              <a:gd name="connsiteY2956" fmla="*/ 1639278 h 1737071"/>
              <a:gd name="connsiteX2957" fmla="*/ 490657 w 3956050"/>
              <a:gd name="connsiteY2957" fmla="*/ 1635287 h 1737071"/>
              <a:gd name="connsiteX2958" fmla="*/ 484672 w 3956050"/>
              <a:gd name="connsiteY2958" fmla="*/ 1629299 h 1737071"/>
              <a:gd name="connsiteX2959" fmla="*/ 478687 w 3956050"/>
              <a:gd name="connsiteY2959" fmla="*/ 1625308 h 1737071"/>
              <a:gd name="connsiteX2960" fmla="*/ 468711 w 3956050"/>
              <a:gd name="connsiteY2960" fmla="*/ 1619321 h 1737071"/>
              <a:gd name="connsiteX2961" fmla="*/ 466716 w 3956050"/>
              <a:gd name="connsiteY2961" fmla="*/ 1617325 h 1737071"/>
              <a:gd name="connsiteX2962" fmla="*/ 464721 w 3956050"/>
              <a:gd name="connsiteY2962" fmla="*/ 1613333 h 1737071"/>
              <a:gd name="connsiteX2963" fmla="*/ 458736 w 3956050"/>
              <a:gd name="connsiteY2963" fmla="*/ 1617325 h 1737071"/>
              <a:gd name="connsiteX2964" fmla="*/ 452751 w 3956050"/>
              <a:gd name="connsiteY2964" fmla="*/ 1613333 h 1737071"/>
              <a:gd name="connsiteX2965" fmla="*/ 452751 w 3956050"/>
              <a:gd name="connsiteY2965" fmla="*/ 1611337 h 1737071"/>
              <a:gd name="connsiteX2966" fmla="*/ 448761 w 3956050"/>
              <a:gd name="connsiteY2966" fmla="*/ 1607346 h 1737071"/>
              <a:gd name="connsiteX2967" fmla="*/ 442776 w 3956050"/>
              <a:gd name="connsiteY2967" fmla="*/ 1603354 h 1737071"/>
              <a:gd name="connsiteX2968" fmla="*/ 434796 w 3956050"/>
              <a:gd name="connsiteY2968" fmla="*/ 1601359 h 1737071"/>
              <a:gd name="connsiteX2969" fmla="*/ 432801 w 3956050"/>
              <a:gd name="connsiteY2969" fmla="*/ 1599363 h 1737071"/>
              <a:gd name="connsiteX2970" fmla="*/ 430806 w 3956050"/>
              <a:gd name="connsiteY2970" fmla="*/ 1597367 h 1737071"/>
              <a:gd name="connsiteX2971" fmla="*/ 430806 w 3956050"/>
              <a:gd name="connsiteY2971" fmla="*/ 1595371 h 1737071"/>
              <a:gd name="connsiteX2972" fmla="*/ 434796 w 3956050"/>
              <a:gd name="connsiteY2972" fmla="*/ 1595371 h 1737071"/>
              <a:gd name="connsiteX2973" fmla="*/ 434796 w 3956050"/>
              <a:gd name="connsiteY2973" fmla="*/ 1589384 h 1737071"/>
              <a:gd name="connsiteX2974" fmla="*/ 438786 w 3956050"/>
              <a:gd name="connsiteY2974" fmla="*/ 1589384 h 1737071"/>
              <a:gd name="connsiteX2975" fmla="*/ 444771 w 3956050"/>
              <a:gd name="connsiteY2975" fmla="*/ 1591380 h 1737071"/>
              <a:gd name="connsiteX2976" fmla="*/ 450756 w 3956050"/>
              <a:gd name="connsiteY2976" fmla="*/ 1593376 h 1737071"/>
              <a:gd name="connsiteX2977" fmla="*/ 452751 w 3956050"/>
              <a:gd name="connsiteY2977" fmla="*/ 1591380 h 1737071"/>
              <a:gd name="connsiteX2978" fmla="*/ 456741 w 3956050"/>
              <a:gd name="connsiteY2978" fmla="*/ 1589384 h 1737071"/>
              <a:gd name="connsiteX2979" fmla="*/ 458736 w 3956050"/>
              <a:gd name="connsiteY2979" fmla="*/ 1589384 h 1737071"/>
              <a:gd name="connsiteX2980" fmla="*/ 454746 w 3956050"/>
              <a:gd name="connsiteY2980" fmla="*/ 1583397 h 1737071"/>
              <a:gd name="connsiteX2981" fmla="*/ 454746 w 3956050"/>
              <a:gd name="connsiteY2981" fmla="*/ 1577409 h 1737071"/>
              <a:gd name="connsiteX2982" fmla="*/ 458736 w 3956050"/>
              <a:gd name="connsiteY2982" fmla="*/ 1573418 h 1737071"/>
              <a:gd name="connsiteX2983" fmla="*/ 458736 w 3956050"/>
              <a:gd name="connsiteY2983" fmla="*/ 1567430 h 1737071"/>
              <a:gd name="connsiteX2984" fmla="*/ 460731 w 3956050"/>
              <a:gd name="connsiteY2984" fmla="*/ 1563439 h 1737071"/>
              <a:gd name="connsiteX2985" fmla="*/ 462726 w 3956050"/>
              <a:gd name="connsiteY2985" fmla="*/ 1565435 h 1737071"/>
              <a:gd name="connsiteX2986" fmla="*/ 464721 w 3956050"/>
              <a:gd name="connsiteY2986" fmla="*/ 1565435 h 1737071"/>
              <a:gd name="connsiteX2987" fmla="*/ 466716 w 3956050"/>
              <a:gd name="connsiteY2987" fmla="*/ 1563439 h 1737071"/>
              <a:gd name="connsiteX2988" fmla="*/ 470706 w 3956050"/>
              <a:gd name="connsiteY2988" fmla="*/ 1563439 h 1737071"/>
              <a:gd name="connsiteX2989" fmla="*/ 470706 w 3956050"/>
              <a:gd name="connsiteY2989" fmla="*/ 1565435 h 1737071"/>
              <a:gd name="connsiteX2990" fmla="*/ 474697 w 3956050"/>
              <a:gd name="connsiteY2990" fmla="*/ 1563439 h 1737071"/>
              <a:gd name="connsiteX2991" fmla="*/ 472702 w 3956050"/>
              <a:gd name="connsiteY2991" fmla="*/ 1561443 h 1737071"/>
              <a:gd name="connsiteX2992" fmla="*/ 472702 w 3956050"/>
              <a:gd name="connsiteY2992" fmla="*/ 1557452 h 1737071"/>
              <a:gd name="connsiteX2993" fmla="*/ 466716 w 3956050"/>
              <a:gd name="connsiteY2993" fmla="*/ 1553460 h 1737071"/>
              <a:gd name="connsiteX2994" fmla="*/ 460731 w 3956050"/>
              <a:gd name="connsiteY2994" fmla="*/ 1555456 h 1737071"/>
              <a:gd name="connsiteX2995" fmla="*/ 460731 w 3956050"/>
              <a:gd name="connsiteY2995" fmla="*/ 1549469 h 1737071"/>
              <a:gd name="connsiteX2996" fmla="*/ 464721 w 3956050"/>
              <a:gd name="connsiteY2996" fmla="*/ 1547473 h 1737071"/>
              <a:gd name="connsiteX2997" fmla="*/ 474697 w 3956050"/>
              <a:gd name="connsiteY2997" fmla="*/ 1547473 h 1737071"/>
              <a:gd name="connsiteX2998" fmla="*/ 476692 w 3956050"/>
              <a:gd name="connsiteY2998" fmla="*/ 1547473 h 1737071"/>
              <a:gd name="connsiteX2999" fmla="*/ 474697 w 3956050"/>
              <a:gd name="connsiteY2999" fmla="*/ 1543481 h 1737071"/>
              <a:gd name="connsiteX3000" fmla="*/ 476692 w 3956050"/>
              <a:gd name="connsiteY3000" fmla="*/ 1539490 h 1737071"/>
              <a:gd name="connsiteX3001" fmla="*/ 482677 w 3956050"/>
              <a:gd name="connsiteY3001" fmla="*/ 1535498 h 1737071"/>
              <a:gd name="connsiteX3002" fmla="*/ 482677 w 3956050"/>
              <a:gd name="connsiteY3002" fmla="*/ 1533502 h 1737071"/>
              <a:gd name="connsiteX3003" fmla="*/ 484672 w 3956050"/>
              <a:gd name="connsiteY3003" fmla="*/ 1533502 h 1737071"/>
              <a:gd name="connsiteX3004" fmla="*/ 488662 w 3956050"/>
              <a:gd name="connsiteY3004" fmla="*/ 1531507 h 1737071"/>
              <a:gd name="connsiteX3005" fmla="*/ 490657 w 3956050"/>
              <a:gd name="connsiteY3005" fmla="*/ 1527515 h 1737071"/>
              <a:gd name="connsiteX3006" fmla="*/ 488662 w 3956050"/>
              <a:gd name="connsiteY3006" fmla="*/ 1525519 h 1737071"/>
              <a:gd name="connsiteX3007" fmla="*/ 488662 w 3956050"/>
              <a:gd name="connsiteY3007" fmla="*/ 1521528 h 1737071"/>
              <a:gd name="connsiteX3008" fmla="*/ 484672 w 3956050"/>
              <a:gd name="connsiteY3008" fmla="*/ 1519532 h 1737071"/>
              <a:gd name="connsiteX3009" fmla="*/ 478687 w 3956050"/>
              <a:gd name="connsiteY3009" fmla="*/ 1521528 h 1737071"/>
              <a:gd name="connsiteX3010" fmla="*/ 472702 w 3956050"/>
              <a:gd name="connsiteY3010" fmla="*/ 1525519 h 1737071"/>
              <a:gd name="connsiteX3011" fmla="*/ 466716 w 3956050"/>
              <a:gd name="connsiteY3011" fmla="*/ 1529511 h 1737071"/>
              <a:gd name="connsiteX3012" fmla="*/ 460731 w 3956050"/>
              <a:gd name="connsiteY3012" fmla="*/ 1525519 h 1737071"/>
              <a:gd name="connsiteX3013" fmla="*/ 462726 w 3956050"/>
              <a:gd name="connsiteY3013" fmla="*/ 1523523 h 1737071"/>
              <a:gd name="connsiteX3014" fmla="*/ 462726 w 3956050"/>
              <a:gd name="connsiteY3014" fmla="*/ 1513545 h 1737071"/>
              <a:gd name="connsiteX3015" fmla="*/ 464721 w 3956050"/>
              <a:gd name="connsiteY3015" fmla="*/ 1507557 h 1737071"/>
              <a:gd name="connsiteX3016" fmla="*/ 472702 w 3956050"/>
              <a:gd name="connsiteY3016" fmla="*/ 1503566 h 1737071"/>
              <a:gd name="connsiteX3017" fmla="*/ 480682 w 3956050"/>
              <a:gd name="connsiteY3017" fmla="*/ 1501570 h 1737071"/>
              <a:gd name="connsiteX3018" fmla="*/ 490657 w 3956050"/>
              <a:gd name="connsiteY3018" fmla="*/ 1497578 h 1737071"/>
              <a:gd name="connsiteX3019" fmla="*/ 498637 w 3956050"/>
              <a:gd name="connsiteY3019" fmla="*/ 1491591 h 1737071"/>
              <a:gd name="connsiteX3020" fmla="*/ 498637 w 3956050"/>
              <a:gd name="connsiteY3020" fmla="*/ 1481612 h 1737071"/>
              <a:gd name="connsiteX3021" fmla="*/ 496642 w 3956050"/>
              <a:gd name="connsiteY3021" fmla="*/ 1475625 h 1737071"/>
              <a:gd name="connsiteX3022" fmla="*/ 490657 w 3956050"/>
              <a:gd name="connsiteY3022" fmla="*/ 1465646 h 1737071"/>
              <a:gd name="connsiteX3023" fmla="*/ 490657 w 3956050"/>
              <a:gd name="connsiteY3023" fmla="*/ 1457663 h 1737071"/>
              <a:gd name="connsiteX3024" fmla="*/ 498637 w 3956050"/>
              <a:gd name="connsiteY3024" fmla="*/ 1443693 h 1737071"/>
              <a:gd name="connsiteX3025" fmla="*/ 500632 w 3956050"/>
              <a:gd name="connsiteY3025" fmla="*/ 1439701 h 1737071"/>
              <a:gd name="connsiteX3026" fmla="*/ 494647 w 3956050"/>
              <a:gd name="connsiteY3026" fmla="*/ 1435709 h 1737071"/>
              <a:gd name="connsiteX3027" fmla="*/ 488662 w 3956050"/>
              <a:gd name="connsiteY3027" fmla="*/ 1431718 h 1737071"/>
              <a:gd name="connsiteX3028" fmla="*/ 482677 w 3956050"/>
              <a:gd name="connsiteY3028" fmla="*/ 1427726 h 1737071"/>
              <a:gd name="connsiteX3029" fmla="*/ 474697 w 3956050"/>
              <a:gd name="connsiteY3029" fmla="*/ 1421739 h 1737071"/>
              <a:gd name="connsiteX3030" fmla="*/ 470706 w 3956050"/>
              <a:gd name="connsiteY3030" fmla="*/ 1417748 h 1737071"/>
              <a:gd name="connsiteX3031" fmla="*/ 458736 w 3956050"/>
              <a:gd name="connsiteY3031" fmla="*/ 1417748 h 1737071"/>
              <a:gd name="connsiteX3032" fmla="*/ 452751 w 3956050"/>
              <a:gd name="connsiteY3032" fmla="*/ 1413756 h 1737071"/>
              <a:gd name="connsiteX3033" fmla="*/ 442776 w 3956050"/>
              <a:gd name="connsiteY3033" fmla="*/ 1411760 h 1737071"/>
              <a:gd name="connsiteX3034" fmla="*/ 436791 w 3956050"/>
              <a:gd name="connsiteY3034" fmla="*/ 1411760 h 1737071"/>
              <a:gd name="connsiteX3035" fmla="*/ 430806 w 3956050"/>
              <a:gd name="connsiteY3035" fmla="*/ 1411760 h 1737071"/>
              <a:gd name="connsiteX3036" fmla="*/ 420830 w 3956050"/>
              <a:gd name="connsiteY3036" fmla="*/ 1409764 h 1737071"/>
              <a:gd name="connsiteX3037" fmla="*/ 412850 w 3956050"/>
              <a:gd name="connsiteY3037" fmla="*/ 1407769 h 1737071"/>
              <a:gd name="connsiteX3038" fmla="*/ 406865 w 3956050"/>
              <a:gd name="connsiteY3038" fmla="*/ 1405773 h 1737071"/>
              <a:gd name="connsiteX3039" fmla="*/ 396890 w 3956050"/>
              <a:gd name="connsiteY3039" fmla="*/ 1401781 h 1737071"/>
              <a:gd name="connsiteX3040" fmla="*/ 386915 w 3956050"/>
              <a:gd name="connsiteY3040" fmla="*/ 1399786 h 1737071"/>
              <a:gd name="connsiteX3041" fmla="*/ 380929 w 3956050"/>
              <a:gd name="connsiteY3041" fmla="*/ 1393798 h 1737071"/>
              <a:gd name="connsiteX3042" fmla="*/ 380929 w 3956050"/>
              <a:gd name="connsiteY3042" fmla="*/ 1385815 h 1737071"/>
              <a:gd name="connsiteX3043" fmla="*/ 378934 w 3956050"/>
              <a:gd name="connsiteY3043" fmla="*/ 1377832 h 1737071"/>
              <a:gd name="connsiteX3044" fmla="*/ 372949 w 3956050"/>
              <a:gd name="connsiteY3044" fmla="*/ 1373841 h 1737071"/>
              <a:gd name="connsiteX3045" fmla="*/ 362974 w 3956050"/>
              <a:gd name="connsiteY3045" fmla="*/ 1373841 h 1737071"/>
              <a:gd name="connsiteX3046" fmla="*/ 356989 w 3956050"/>
              <a:gd name="connsiteY3046" fmla="*/ 1371845 h 1737071"/>
              <a:gd name="connsiteX3047" fmla="*/ 352999 w 3956050"/>
              <a:gd name="connsiteY3047" fmla="*/ 1363862 h 1737071"/>
              <a:gd name="connsiteX3048" fmla="*/ 352999 w 3956050"/>
              <a:gd name="connsiteY3048" fmla="*/ 1357874 h 1737071"/>
              <a:gd name="connsiteX3049" fmla="*/ 356989 w 3956050"/>
              <a:gd name="connsiteY3049" fmla="*/ 1351887 h 1737071"/>
              <a:gd name="connsiteX3050" fmla="*/ 354994 w 3956050"/>
              <a:gd name="connsiteY3050" fmla="*/ 1343904 h 1737071"/>
              <a:gd name="connsiteX3051" fmla="*/ 349009 w 3956050"/>
              <a:gd name="connsiteY3051" fmla="*/ 1335921 h 1737071"/>
              <a:gd name="connsiteX3052" fmla="*/ 345019 w 3956050"/>
              <a:gd name="connsiteY3052" fmla="*/ 1327938 h 1737071"/>
              <a:gd name="connsiteX3053" fmla="*/ 337038 w 3956050"/>
              <a:gd name="connsiteY3053" fmla="*/ 1329934 h 1737071"/>
              <a:gd name="connsiteX3054" fmla="*/ 329058 w 3956050"/>
              <a:gd name="connsiteY3054" fmla="*/ 1329934 h 1737071"/>
              <a:gd name="connsiteX3055" fmla="*/ 323073 w 3956050"/>
              <a:gd name="connsiteY3055" fmla="*/ 1331929 h 1737071"/>
              <a:gd name="connsiteX3056" fmla="*/ 315093 w 3956050"/>
              <a:gd name="connsiteY3056" fmla="*/ 1331929 h 1737071"/>
              <a:gd name="connsiteX3057" fmla="*/ 307113 w 3956050"/>
              <a:gd name="connsiteY3057" fmla="*/ 1333925 h 1737071"/>
              <a:gd name="connsiteX3058" fmla="*/ 301128 w 3956050"/>
              <a:gd name="connsiteY3058" fmla="*/ 1339912 h 1737071"/>
              <a:gd name="connsiteX3059" fmla="*/ 291152 w 3956050"/>
              <a:gd name="connsiteY3059" fmla="*/ 1337917 h 1737071"/>
              <a:gd name="connsiteX3060" fmla="*/ 287162 w 3956050"/>
              <a:gd name="connsiteY3060" fmla="*/ 1333925 h 1737071"/>
              <a:gd name="connsiteX3061" fmla="*/ 287162 w 3956050"/>
              <a:gd name="connsiteY3061" fmla="*/ 1331929 h 1737071"/>
              <a:gd name="connsiteX3062" fmla="*/ 285167 w 3956050"/>
              <a:gd name="connsiteY3062" fmla="*/ 1323946 h 1737071"/>
              <a:gd name="connsiteX3063" fmla="*/ 285167 w 3956050"/>
              <a:gd name="connsiteY3063" fmla="*/ 1317959 h 1737071"/>
              <a:gd name="connsiteX3064" fmla="*/ 283172 w 3956050"/>
              <a:gd name="connsiteY3064" fmla="*/ 1311972 h 1737071"/>
              <a:gd name="connsiteX3065" fmla="*/ 279182 w 3956050"/>
              <a:gd name="connsiteY3065" fmla="*/ 1305984 h 1737071"/>
              <a:gd name="connsiteX3066" fmla="*/ 281177 w 3956050"/>
              <a:gd name="connsiteY3066" fmla="*/ 1299997 h 1737071"/>
              <a:gd name="connsiteX3067" fmla="*/ 287162 w 3956050"/>
              <a:gd name="connsiteY3067" fmla="*/ 1298001 h 1737071"/>
              <a:gd name="connsiteX3068" fmla="*/ 295143 w 3956050"/>
              <a:gd name="connsiteY3068" fmla="*/ 1303988 h 1737071"/>
              <a:gd name="connsiteX3069" fmla="*/ 303123 w 3956050"/>
              <a:gd name="connsiteY3069" fmla="*/ 1301993 h 1737071"/>
              <a:gd name="connsiteX3070" fmla="*/ 309108 w 3956050"/>
              <a:gd name="connsiteY3070" fmla="*/ 1298001 h 1737071"/>
              <a:gd name="connsiteX3071" fmla="*/ 307113 w 3956050"/>
              <a:gd name="connsiteY3071" fmla="*/ 1288022 h 1737071"/>
              <a:gd name="connsiteX3072" fmla="*/ 301128 w 3956050"/>
              <a:gd name="connsiteY3072" fmla="*/ 1280039 h 1737071"/>
              <a:gd name="connsiteX3073" fmla="*/ 291152 w 3956050"/>
              <a:gd name="connsiteY3073" fmla="*/ 1278043 h 1737071"/>
              <a:gd name="connsiteX3074" fmla="*/ 289157 w 3956050"/>
              <a:gd name="connsiteY3074" fmla="*/ 1272056 h 1737071"/>
              <a:gd name="connsiteX3075" fmla="*/ 293147 w 3956050"/>
              <a:gd name="connsiteY3075" fmla="*/ 1266069 h 1737071"/>
              <a:gd name="connsiteX3076" fmla="*/ 291152 w 3956050"/>
              <a:gd name="connsiteY3076" fmla="*/ 1262077 h 1737071"/>
              <a:gd name="connsiteX3077" fmla="*/ 273197 w 3956050"/>
              <a:gd name="connsiteY3077" fmla="*/ 1252098 h 1737071"/>
              <a:gd name="connsiteX3078" fmla="*/ 273197 w 3956050"/>
              <a:gd name="connsiteY3078" fmla="*/ 1234136 h 1737071"/>
              <a:gd name="connsiteX3079" fmla="*/ 269207 w 3956050"/>
              <a:gd name="connsiteY3079" fmla="*/ 1226153 h 1737071"/>
              <a:gd name="connsiteX3080" fmla="*/ 267212 w 3956050"/>
              <a:gd name="connsiteY3080" fmla="*/ 1218170 h 1737071"/>
              <a:gd name="connsiteX3081" fmla="*/ 265217 w 3956050"/>
              <a:gd name="connsiteY3081" fmla="*/ 1206196 h 1737071"/>
              <a:gd name="connsiteX3082" fmla="*/ 257237 w 3956050"/>
              <a:gd name="connsiteY3082" fmla="*/ 1202204 h 1737071"/>
              <a:gd name="connsiteX3083" fmla="*/ 253247 w 3956050"/>
              <a:gd name="connsiteY3083" fmla="*/ 1196217 h 1737071"/>
              <a:gd name="connsiteX3084" fmla="*/ 241276 w 3956050"/>
              <a:gd name="connsiteY3084" fmla="*/ 1192225 h 1737071"/>
              <a:gd name="connsiteX3085" fmla="*/ 231301 w 3956050"/>
              <a:gd name="connsiteY3085" fmla="*/ 1196217 h 1737071"/>
              <a:gd name="connsiteX3086" fmla="*/ 225316 w 3956050"/>
              <a:gd name="connsiteY3086" fmla="*/ 1196217 h 1737071"/>
              <a:gd name="connsiteX3087" fmla="*/ 219331 w 3956050"/>
              <a:gd name="connsiteY3087" fmla="*/ 1188234 h 1737071"/>
              <a:gd name="connsiteX3088" fmla="*/ 213346 w 3956050"/>
              <a:gd name="connsiteY3088" fmla="*/ 1186238 h 1737071"/>
              <a:gd name="connsiteX3089" fmla="*/ 205366 w 3956050"/>
              <a:gd name="connsiteY3089" fmla="*/ 1180251 h 1737071"/>
              <a:gd name="connsiteX3090" fmla="*/ 197385 w 3956050"/>
              <a:gd name="connsiteY3090" fmla="*/ 1180251 h 1737071"/>
              <a:gd name="connsiteX3091" fmla="*/ 197385 w 3956050"/>
              <a:gd name="connsiteY3091" fmla="*/ 1176259 h 1737071"/>
              <a:gd name="connsiteX3092" fmla="*/ 195390 w 3956050"/>
              <a:gd name="connsiteY3092" fmla="*/ 1164284 h 1737071"/>
              <a:gd name="connsiteX3093" fmla="*/ 191400 w 3956050"/>
              <a:gd name="connsiteY3093" fmla="*/ 1156301 h 1737071"/>
              <a:gd name="connsiteX3094" fmla="*/ 189405 w 3956050"/>
              <a:gd name="connsiteY3094" fmla="*/ 1146322 h 1737071"/>
              <a:gd name="connsiteX3095" fmla="*/ 187410 w 3956050"/>
              <a:gd name="connsiteY3095" fmla="*/ 1138339 h 1737071"/>
              <a:gd name="connsiteX3096" fmla="*/ 181425 w 3956050"/>
              <a:gd name="connsiteY3096" fmla="*/ 1128360 h 1737071"/>
              <a:gd name="connsiteX3097" fmla="*/ 171450 w 3956050"/>
              <a:gd name="connsiteY3097" fmla="*/ 1120377 h 1737071"/>
              <a:gd name="connsiteX3098" fmla="*/ 173445 w 3956050"/>
              <a:gd name="connsiteY3098" fmla="*/ 1112394 h 1737071"/>
              <a:gd name="connsiteX3099" fmla="*/ 175440 w 3956050"/>
              <a:gd name="connsiteY3099" fmla="*/ 1104411 h 1737071"/>
              <a:gd name="connsiteX3100" fmla="*/ 181425 w 3956050"/>
              <a:gd name="connsiteY3100" fmla="*/ 1110398 h 1737071"/>
              <a:gd name="connsiteX3101" fmla="*/ 191400 w 3956050"/>
              <a:gd name="connsiteY3101" fmla="*/ 1116386 h 1737071"/>
              <a:gd name="connsiteX3102" fmla="*/ 195390 w 3956050"/>
              <a:gd name="connsiteY3102" fmla="*/ 1108403 h 1737071"/>
              <a:gd name="connsiteX3103" fmla="*/ 193395 w 3956050"/>
              <a:gd name="connsiteY3103" fmla="*/ 1102415 h 1737071"/>
              <a:gd name="connsiteX3104" fmla="*/ 187410 w 3956050"/>
              <a:gd name="connsiteY3104" fmla="*/ 1102415 h 1737071"/>
              <a:gd name="connsiteX3105" fmla="*/ 179430 w 3956050"/>
              <a:gd name="connsiteY3105" fmla="*/ 1100420 h 1737071"/>
              <a:gd name="connsiteX3106" fmla="*/ 179430 w 3956050"/>
              <a:gd name="connsiteY3106" fmla="*/ 1094432 h 1737071"/>
              <a:gd name="connsiteX3107" fmla="*/ 181425 w 3956050"/>
              <a:gd name="connsiteY3107" fmla="*/ 1090441 h 1737071"/>
              <a:gd name="connsiteX3108" fmla="*/ 183420 w 3956050"/>
              <a:gd name="connsiteY3108" fmla="*/ 1084453 h 1737071"/>
              <a:gd name="connsiteX3109" fmla="*/ 183420 w 3956050"/>
              <a:gd name="connsiteY3109" fmla="*/ 1072479 h 1737071"/>
              <a:gd name="connsiteX3110" fmla="*/ 181425 w 3956050"/>
              <a:gd name="connsiteY3110" fmla="*/ 1066491 h 1737071"/>
              <a:gd name="connsiteX3111" fmla="*/ 183420 w 3956050"/>
              <a:gd name="connsiteY3111" fmla="*/ 1052521 h 1737071"/>
              <a:gd name="connsiteX3112" fmla="*/ 189405 w 3956050"/>
              <a:gd name="connsiteY3112" fmla="*/ 1048530 h 1737071"/>
              <a:gd name="connsiteX3113" fmla="*/ 185415 w 3956050"/>
              <a:gd name="connsiteY3113" fmla="*/ 1042542 h 1737071"/>
              <a:gd name="connsiteX3114" fmla="*/ 185415 w 3956050"/>
              <a:gd name="connsiteY3114" fmla="*/ 1036555 h 1737071"/>
              <a:gd name="connsiteX3115" fmla="*/ 193395 w 3956050"/>
              <a:gd name="connsiteY3115" fmla="*/ 1040546 h 1737071"/>
              <a:gd name="connsiteX3116" fmla="*/ 195390 w 3956050"/>
              <a:gd name="connsiteY3116" fmla="*/ 1034559 h 1737071"/>
              <a:gd name="connsiteX3117" fmla="*/ 201375 w 3956050"/>
              <a:gd name="connsiteY3117" fmla="*/ 1036555 h 1737071"/>
              <a:gd name="connsiteX3118" fmla="*/ 205366 w 3956050"/>
              <a:gd name="connsiteY3118" fmla="*/ 1040546 h 1737071"/>
              <a:gd name="connsiteX3119" fmla="*/ 211351 w 3956050"/>
              <a:gd name="connsiteY3119" fmla="*/ 1034559 h 1737071"/>
              <a:gd name="connsiteX3120" fmla="*/ 219331 w 3956050"/>
              <a:gd name="connsiteY3120" fmla="*/ 1030568 h 1737071"/>
              <a:gd name="connsiteX3121" fmla="*/ 231301 w 3956050"/>
              <a:gd name="connsiteY3121" fmla="*/ 1030568 h 1737071"/>
              <a:gd name="connsiteX3122" fmla="*/ 231301 w 3956050"/>
              <a:gd name="connsiteY3122" fmla="*/ 1026576 h 1737071"/>
              <a:gd name="connsiteX3123" fmla="*/ 221326 w 3956050"/>
              <a:gd name="connsiteY3123" fmla="*/ 1020589 h 1737071"/>
              <a:gd name="connsiteX3124" fmla="*/ 205366 w 3956050"/>
              <a:gd name="connsiteY3124" fmla="*/ 1016597 h 1737071"/>
              <a:gd name="connsiteX3125" fmla="*/ 197385 w 3956050"/>
              <a:gd name="connsiteY3125" fmla="*/ 1006618 h 1737071"/>
              <a:gd name="connsiteX3126" fmla="*/ 199380 w 3956050"/>
              <a:gd name="connsiteY3126" fmla="*/ 1002627 h 1737071"/>
              <a:gd name="connsiteX3127" fmla="*/ 205366 w 3956050"/>
              <a:gd name="connsiteY3127" fmla="*/ 1004623 h 1737071"/>
              <a:gd name="connsiteX3128" fmla="*/ 209356 w 3956050"/>
              <a:gd name="connsiteY3128" fmla="*/ 994644 h 1737071"/>
              <a:gd name="connsiteX3129" fmla="*/ 211351 w 3956050"/>
              <a:gd name="connsiteY3129" fmla="*/ 988656 h 1737071"/>
              <a:gd name="connsiteX3130" fmla="*/ 219331 w 3956050"/>
              <a:gd name="connsiteY3130" fmla="*/ 974686 h 1737071"/>
              <a:gd name="connsiteX3131" fmla="*/ 225316 w 3956050"/>
              <a:gd name="connsiteY3131" fmla="*/ 966703 h 1737071"/>
              <a:gd name="connsiteX3132" fmla="*/ 227311 w 3956050"/>
              <a:gd name="connsiteY3132" fmla="*/ 962711 h 1737071"/>
              <a:gd name="connsiteX3133" fmla="*/ 229306 w 3956050"/>
              <a:gd name="connsiteY3133" fmla="*/ 958720 h 1737071"/>
              <a:gd name="connsiteX3134" fmla="*/ 235291 w 3956050"/>
              <a:gd name="connsiteY3134" fmla="*/ 950737 h 1737071"/>
              <a:gd name="connsiteX3135" fmla="*/ 245266 w 3956050"/>
              <a:gd name="connsiteY3135" fmla="*/ 938762 h 1737071"/>
              <a:gd name="connsiteX3136" fmla="*/ 249257 w 3956050"/>
              <a:gd name="connsiteY3136" fmla="*/ 934770 h 1737071"/>
              <a:gd name="connsiteX3137" fmla="*/ 253247 w 3956050"/>
              <a:gd name="connsiteY3137" fmla="*/ 932775 h 1737071"/>
              <a:gd name="connsiteX3138" fmla="*/ 253247 w 3956050"/>
              <a:gd name="connsiteY3138" fmla="*/ 922796 h 1737071"/>
              <a:gd name="connsiteX3139" fmla="*/ 257237 w 3956050"/>
              <a:gd name="connsiteY3139" fmla="*/ 916809 h 1737071"/>
              <a:gd name="connsiteX3140" fmla="*/ 253247 w 3956050"/>
              <a:gd name="connsiteY3140" fmla="*/ 908825 h 1737071"/>
              <a:gd name="connsiteX3141" fmla="*/ 247261 w 3956050"/>
              <a:gd name="connsiteY3141" fmla="*/ 902838 h 1737071"/>
              <a:gd name="connsiteX3142" fmla="*/ 241276 w 3956050"/>
              <a:gd name="connsiteY3142" fmla="*/ 896851 h 1737071"/>
              <a:gd name="connsiteX3143" fmla="*/ 235291 w 3956050"/>
              <a:gd name="connsiteY3143" fmla="*/ 892859 h 1737071"/>
              <a:gd name="connsiteX3144" fmla="*/ 229306 w 3956050"/>
              <a:gd name="connsiteY3144" fmla="*/ 886872 h 1737071"/>
              <a:gd name="connsiteX3145" fmla="*/ 231301 w 3956050"/>
              <a:gd name="connsiteY3145" fmla="*/ 878889 h 1737071"/>
              <a:gd name="connsiteX3146" fmla="*/ 233296 w 3956050"/>
              <a:gd name="connsiteY3146" fmla="*/ 866914 h 1737071"/>
              <a:gd name="connsiteX3147" fmla="*/ 229306 w 3956050"/>
              <a:gd name="connsiteY3147" fmla="*/ 860927 h 1737071"/>
              <a:gd name="connsiteX3148" fmla="*/ 223321 w 3956050"/>
              <a:gd name="connsiteY3148" fmla="*/ 854940 h 1737071"/>
              <a:gd name="connsiteX3149" fmla="*/ 223321 w 3956050"/>
              <a:gd name="connsiteY3149" fmla="*/ 848952 h 1737071"/>
              <a:gd name="connsiteX3150" fmla="*/ 221326 w 3956050"/>
              <a:gd name="connsiteY3150" fmla="*/ 840969 h 1737071"/>
              <a:gd name="connsiteX3151" fmla="*/ 217336 w 3956050"/>
              <a:gd name="connsiteY3151" fmla="*/ 834982 h 1737071"/>
              <a:gd name="connsiteX3152" fmla="*/ 215341 w 3956050"/>
              <a:gd name="connsiteY3152" fmla="*/ 828995 h 1737071"/>
              <a:gd name="connsiteX3153" fmla="*/ 217336 w 3956050"/>
              <a:gd name="connsiteY3153" fmla="*/ 826999 h 1737071"/>
              <a:gd name="connsiteX3154" fmla="*/ 219331 w 3956050"/>
              <a:gd name="connsiteY3154" fmla="*/ 821011 h 1737071"/>
              <a:gd name="connsiteX3155" fmla="*/ 213346 w 3956050"/>
              <a:gd name="connsiteY3155" fmla="*/ 815024 h 1737071"/>
              <a:gd name="connsiteX3156" fmla="*/ 213346 w 3956050"/>
              <a:gd name="connsiteY3156" fmla="*/ 809037 h 1737071"/>
              <a:gd name="connsiteX3157" fmla="*/ 219331 w 3956050"/>
              <a:gd name="connsiteY3157" fmla="*/ 801054 h 1737071"/>
              <a:gd name="connsiteX3158" fmla="*/ 223321 w 3956050"/>
              <a:gd name="connsiteY3158" fmla="*/ 795066 h 1737071"/>
              <a:gd name="connsiteX3159" fmla="*/ 223321 w 3956050"/>
              <a:gd name="connsiteY3159" fmla="*/ 789079 h 1737071"/>
              <a:gd name="connsiteX3160" fmla="*/ 223321 w 3956050"/>
              <a:gd name="connsiteY3160" fmla="*/ 785088 h 1737071"/>
              <a:gd name="connsiteX3161" fmla="*/ 221326 w 3956050"/>
              <a:gd name="connsiteY3161" fmla="*/ 779100 h 1737071"/>
              <a:gd name="connsiteX3162" fmla="*/ 219331 w 3956050"/>
              <a:gd name="connsiteY3162" fmla="*/ 773113 h 1737071"/>
              <a:gd name="connsiteX3163" fmla="*/ 213346 w 3956050"/>
              <a:gd name="connsiteY3163" fmla="*/ 769121 h 1737071"/>
              <a:gd name="connsiteX3164" fmla="*/ 211351 w 3956050"/>
              <a:gd name="connsiteY3164" fmla="*/ 763134 h 1737071"/>
              <a:gd name="connsiteX3165" fmla="*/ 209356 w 3956050"/>
              <a:gd name="connsiteY3165" fmla="*/ 757147 h 1737071"/>
              <a:gd name="connsiteX3166" fmla="*/ 205366 w 3956050"/>
              <a:gd name="connsiteY3166" fmla="*/ 751159 h 1737071"/>
              <a:gd name="connsiteX3167" fmla="*/ 201375 w 3956050"/>
              <a:gd name="connsiteY3167" fmla="*/ 749164 h 1737071"/>
              <a:gd name="connsiteX3168" fmla="*/ 197385 w 3956050"/>
              <a:gd name="connsiteY3168" fmla="*/ 741180 h 1737071"/>
              <a:gd name="connsiteX3169" fmla="*/ 197385 w 3956050"/>
              <a:gd name="connsiteY3169" fmla="*/ 733197 h 1737071"/>
              <a:gd name="connsiteX3170" fmla="*/ 201375 w 3956050"/>
              <a:gd name="connsiteY3170" fmla="*/ 727210 h 1737071"/>
              <a:gd name="connsiteX3171" fmla="*/ 207361 w 3956050"/>
              <a:gd name="connsiteY3171" fmla="*/ 725214 h 1737071"/>
              <a:gd name="connsiteX3172" fmla="*/ 209356 w 3956050"/>
              <a:gd name="connsiteY3172" fmla="*/ 719227 h 1737071"/>
              <a:gd name="connsiteX3173" fmla="*/ 217336 w 3956050"/>
              <a:gd name="connsiteY3173" fmla="*/ 713240 h 1737071"/>
              <a:gd name="connsiteX3174" fmla="*/ 211351 w 3956050"/>
              <a:gd name="connsiteY3174" fmla="*/ 709248 h 1737071"/>
              <a:gd name="connsiteX3175" fmla="*/ 207361 w 3956050"/>
              <a:gd name="connsiteY3175" fmla="*/ 707252 h 1737071"/>
              <a:gd name="connsiteX3176" fmla="*/ 203370 w 3956050"/>
              <a:gd name="connsiteY3176" fmla="*/ 701265 h 1737071"/>
              <a:gd name="connsiteX3177" fmla="*/ 195390 w 3956050"/>
              <a:gd name="connsiteY3177" fmla="*/ 697273 h 1737071"/>
              <a:gd name="connsiteX3178" fmla="*/ 191400 w 3956050"/>
              <a:gd name="connsiteY3178" fmla="*/ 693282 h 1737071"/>
              <a:gd name="connsiteX3179" fmla="*/ 185415 w 3956050"/>
              <a:gd name="connsiteY3179" fmla="*/ 687295 h 1737071"/>
              <a:gd name="connsiteX3180" fmla="*/ 183420 w 3956050"/>
              <a:gd name="connsiteY3180" fmla="*/ 681307 h 1737071"/>
              <a:gd name="connsiteX3181" fmla="*/ 185415 w 3956050"/>
              <a:gd name="connsiteY3181" fmla="*/ 679311 h 1737071"/>
              <a:gd name="connsiteX3182" fmla="*/ 185415 w 3956050"/>
              <a:gd name="connsiteY3182" fmla="*/ 673324 h 1737071"/>
              <a:gd name="connsiteX3183" fmla="*/ 187410 w 3956050"/>
              <a:gd name="connsiteY3183" fmla="*/ 667337 h 1737071"/>
              <a:gd name="connsiteX3184" fmla="*/ 185415 w 3956050"/>
              <a:gd name="connsiteY3184" fmla="*/ 657358 h 1737071"/>
              <a:gd name="connsiteX3185" fmla="*/ 185415 w 3956050"/>
              <a:gd name="connsiteY3185" fmla="*/ 645383 h 1737071"/>
              <a:gd name="connsiteX3186" fmla="*/ 185415 w 3956050"/>
              <a:gd name="connsiteY3186" fmla="*/ 637400 h 1737071"/>
              <a:gd name="connsiteX3187" fmla="*/ 189405 w 3956050"/>
              <a:gd name="connsiteY3187" fmla="*/ 633409 h 1737071"/>
              <a:gd name="connsiteX3188" fmla="*/ 189405 w 3956050"/>
              <a:gd name="connsiteY3188" fmla="*/ 629417 h 1737071"/>
              <a:gd name="connsiteX3189" fmla="*/ 191400 w 3956050"/>
              <a:gd name="connsiteY3189" fmla="*/ 627421 h 1737071"/>
              <a:gd name="connsiteX3190" fmla="*/ 197385 w 3956050"/>
              <a:gd name="connsiteY3190" fmla="*/ 629417 h 1737071"/>
              <a:gd name="connsiteX3191" fmla="*/ 199380 w 3956050"/>
              <a:gd name="connsiteY3191" fmla="*/ 627421 h 1737071"/>
              <a:gd name="connsiteX3192" fmla="*/ 199380 w 3956050"/>
              <a:gd name="connsiteY3192" fmla="*/ 629417 h 1737071"/>
              <a:gd name="connsiteX3193" fmla="*/ 207361 w 3956050"/>
              <a:gd name="connsiteY3193" fmla="*/ 631413 h 1737071"/>
              <a:gd name="connsiteX3194" fmla="*/ 215341 w 3956050"/>
              <a:gd name="connsiteY3194" fmla="*/ 635404 h 1737071"/>
              <a:gd name="connsiteX3195" fmla="*/ 225316 w 3956050"/>
              <a:gd name="connsiteY3195" fmla="*/ 637400 h 1737071"/>
              <a:gd name="connsiteX3196" fmla="*/ 227311 w 3956050"/>
              <a:gd name="connsiteY3196" fmla="*/ 633409 h 1737071"/>
              <a:gd name="connsiteX3197" fmla="*/ 227311 w 3956050"/>
              <a:gd name="connsiteY3197" fmla="*/ 627421 h 1737071"/>
              <a:gd name="connsiteX3198" fmla="*/ 229306 w 3956050"/>
              <a:gd name="connsiteY3198" fmla="*/ 623430 h 1737071"/>
              <a:gd name="connsiteX3199" fmla="*/ 231301 w 3956050"/>
              <a:gd name="connsiteY3199" fmla="*/ 613451 h 1737071"/>
              <a:gd name="connsiteX3200" fmla="*/ 231301 w 3956050"/>
              <a:gd name="connsiteY3200" fmla="*/ 607463 h 1737071"/>
              <a:gd name="connsiteX3201" fmla="*/ 233296 w 3956050"/>
              <a:gd name="connsiteY3201" fmla="*/ 605468 h 1737071"/>
              <a:gd name="connsiteX3202" fmla="*/ 237286 w 3956050"/>
              <a:gd name="connsiteY3202" fmla="*/ 605468 h 1737071"/>
              <a:gd name="connsiteX3203" fmla="*/ 241276 w 3956050"/>
              <a:gd name="connsiteY3203" fmla="*/ 603472 h 1737071"/>
              <a:gd name="connsiteX3204" fmla="*/ 243271 w 3956050"/>
              <a:gd name="connsiteY3204" fmla="*/ 595489 h 1737071"/>
              <a:gd name="connsiteX3205" fmla="*/ 251252 w 3956050"/>
              <a:gd name="connsiteY3205" fmla="*/ 595489 h 1737071"/>
              <a:gd name="connsiteX3206" fmla="*/ 257237 w 3956050"/>
              <a:gd name="connsiteY3206" fmla="*/ 597485 h 1737071"/>
              <a:gd name="connsiteX3207" fmla="*/ 269207 w 3956050"/>
              <a:gd name="connsiteY3207" fmla="*/ 599480 h 1737071"/>
              <a:gd name="connsiteX3208" fmla="*/ 275192 w 3956050"/>
              <a:gd name="connsiteY3208" fmla="*/ 605468 h 1737071"/>
              <a:gd name="connsiteX3209" fmla="*/ 267212 w 3956050"/>
              <a:gd name="connsiteY3209" fmla="*/ 607463 h 1737071"/>
              <a:gd name="connsiteX3210" fmla="*/ 259232 w 3956050"/>
              <a:gd name="connsiteY3210" fmla="*/ 605468 h 1737071"/>
              <a:gd name="connsiteX3211" fmla="*/ 249257 w 3956050"/>
              <a:gd name="connsiteY3211" fmla="*/ 603472 h 1737071"/>
              <a:gd name="connsiteX3212" fmla="*/ 245266 w 3956050"/>
              <a:gd name="connsiteY3212" fmla="*/ 607463 h 1737071"/>
              <a:gd name="connsiteX3213" fmla="*/ 249257 w 3956050"/>
              <a:gd name="connsiteY3213" fmla="*/ 609459 h 1737071"/>
              <a:gd name="connsiteX3214" fmla="*/ 253247 w 3956050"/>
              <a:gd name="connsiteY3214" fmla="*/ 609459 h 1737071"/>
              <a:gd name="connsiteX3215" fmla="*/ 257237 w 3956050"/>
              <a:gd name="connsiteY3215" fmla="*/ 611455 h 1737071"/>
              <a:gd name="connsiteX3216" fmla="*/ 267212 w 3956050"/>
              <a:gd name="connsiteY3216" fmla="*/ 613451 h 1737071"/>
              <a:gd name="connsiteX3217" fmla="*/ 271202 w 3956050"/>
              <a:gd name="connsiteY3217" fmla="*/ 617443 h 1737071"/>
              <a:gd name="connsiteX3218" fmla="*/ 277187 w 3956050"/>
              <a:gd name="connsiteY3218" fmla="*/ 617443 h 1737071"/>
              <a:gd name="connsiteX3219" fmla="*/ 281177 w 3956050"/>
              <a:gd name="connsiteY3219" fmla="*/ 621434 h 1737071"/>
              <a:gd name="connsiteX3220" fmla="*/ 281177 w 3956050"/>
              <a:gd name="connsiteY3220" fmla="*/ 625426 h 1737071"/>
              <a:gd name="connsiteX3221" fmla="*/ 281177 w 3956050"/>
              <a:gd name="connsiteY3221" fmla="*/ 631413 h 1737071"/>
              <a:gd name="connsiteX3222" fmla="*/ 285167 w 3956050"/>
              <a:gd name="connsiteY3222" fmla="*/ 631413 h 1737071"/>
              <a:gd name="connsiteX3223" fmla="*/ 287162 w 3956050"/>
              <a:gd name="connsiteY3223" fmla="*/ 625426 h 1737071"/>
              <a:gd name="connsiteX3224" fmla="*/ 291152 w 3956050"/>
              <a:gd name="connsiteY3224" fmla="*/ 619438 h 1737071"/>
              <a:gd name="connsiteX3225" fmla="*/ 295143 w 3956050"/>
              <a:gd name="connsiteY3225" fmla="*/ 615447 h 1737071"/>
              <a:gd name="connsiteX3226" fmla="*/ 299133 w 3956050"/>
              <a:gd name="connsiteY3226" fmla="*/ 617443 h 1737071"/>
              <a:gd name="connsiteX3227" fmla="*/ 309108 w 3956050"/>
              <a:gd name="connsiteY3227" fmla="*/ 621434 h 1737071"/>
              <a:gd name="connsiteX3228" fmla="*/ 315093 w 3956050"/>
              <a:gd name="connsiteY3228" fmla="*/ 623430 h 1737071"/>
              <a:gd name="connsiteX3229" fmla="*/ 327063 w 3956050"/>
              <a:gd name="connsiteY3229" fmla="*/ 629417 h 1737071"/>
              <a:gd name="connsiteX3230" fmla="*/ 343024 w 3956050"/>
              <a:gd name="connsiteY3230" fmla="*/ 627421 h 1737071"/>
              <a:gd name="connsiteX3231" fmla="*/ 351004 w 3956050"/>
              <a:gd name="connsiteY3231" fmla="*/ 629417 h 1737071"/>
              <a:gd name="connsiteX3232" fmla="*/ 358984 w 3956050"/>
              <a:gd name="connsiteY3232" fmla="*/ 635404 h 1737071"/>
              <a:gd name="connsiteX3233" fmla="*/ 370954 w 3956050"/>
              <a:gd name="connsiteY3233" fmla="*/ 639396 h 1737071"/>
              <a:gd name="connsiteX3234" fmla="*/ 380929 w 3956050"/>
              <a:gd name="connsiteY3234" fmla="*/ 645383 h 1737071"/>
              <a:gd name="connsiteX3235" fmla="*/ 402875 w 3956050"/>
              <a:gd name="connsiteY3235" fmla="*/ 665341 h 1737071"/>
              <a:gd name="connsiteX3236" fmla="*/ 406865 w 3956050"/>
              <a:gd name="connsiteY3236" fmla="*/ 665341 h 1737071"/>
              <a:gd name="connsiteX3237" fmla="*/ 414845 w 3956050"/>
              <a:gd name="connsiteY3237" fmla="*/ 667337 h 1737071"/>
              <a:gd name="connsiteX3238" fmla="*/ 420830 w 3956050"/>
              <a:gd name="connsiteY3238" fmla="*/ 671328 h 1737071"/>
              <a:gd name="connsiteX3239" fmla="*/ 426815 w 3956050"/>
              <a:gd name="connsiteY3239" fmla="*/ 675320 h 1737071"/>
              <a:gd name="connsiteX3240" fmla="*/ 432801 w 3956050"/>
              <a:gd name="connsiteY3240" fmla="*/ 677316 h 1737071"/>
              <a:gd name="connsiteX3241" fmla="*/ 436791 w 3956050"/>
              <a:gd name="connsiteY3241" fmla="*/ 673324 h 1737071"/>
              <a:gd name="connsiteX3242" fmla="*/ 438786 w 3956050"/>
              <a:gd name="connsiteY3242" fmla="*/ 675320 h 1737071"/>
              <a:gd name="connsiteX3243" fmla="*/ 442776 w 3956050"/>
              <a:gd name="connsiteY3243" fmla="*/ 677316 h 1737071"/>
              <a:gd name="connsiteX3244" fmla="*/ 448761 w 3956050"/>
              <a:gd name="connsiteY3244" fmla="*/ 685299 h 1737071"/>
              <a:gd name="connsiteX3245" fmla="*/ 458736 w 3956050"/>
              <a:gd name="connsiteY3245" fmla="*/ 691286 h 1737071"/>
              <a:gd name="connsiteX3246" fmla="*/ 462726 w 3956050"/>
              <a:gd name="connsiteY3246" fmla="*/ 693282 h 1737071"/>
              <a:gd name="connsiteX3247" fmla="*/ 464721 w 3956050"/>
              <a:gd name="connsiteY3247" fmla="*/ 699269 h 1737071"/>
              <a:gd name="connsiteX3248" fmla="*/ 466716 w 3956050"/>
              <a:gd name="connsiteY3248" fmla="*/ 713240 h 1737071"/>
              <a:gd name="connsiteX3249" fmla="*/ 468711 w 3956050"/>
              <a:gd name="connsiteY3249" fmla="*/ 719227 h 1737071"/>
              <a:gd name="connsiteX3250" fmla="*/ 466716 w 3956050"/>
              <a:gd name="connsiteY3250" fmla="*/ 725214 h 1737071"/>
              <a:gd name="connsiteX3251" fmla="*/ 466716 w 3956050"/>
              <a:gd name="connsiteY3251" fmla="*/ 729206 h 1737071"/>
              <a:gd name="connsiteX3252" fmla="*/ 456741 w 3956050"/>
              <a:gd name="connsiteY3252" fmla="*/ 739185 h 1737071"/>
              <a:gd name="connsiteX3253" fmla="*/ 448761 w 3956050"/>
              <a:gd name="connsiteY3253" fmla="*/ 745172 h 1737071"/>
              <a:gd name="connsiteX3254" fmla="*/ 444771 w 3956050"/>
              <a:gd name="connsiteY3254" fmla="*/ 747168 h 1737071"/>
              <a:gd name="connsiteX3255" fmla="*/ 434796 w 3956050"/>
              <a:gd name="connsiteY3255" fmla="*/ 751159 h 1737071"/>
              <a:gd name="connsiteX3256" fmla="*/ 428811 w 3956050"/>
              <a:gd name="connsiteY3256" fmla="*/ 755151 h 1737071"/>
              <a:gd name="connsiteX3257" fmla="*/ 420830 w 3956050"/>
              <a:gd name="connsiteY3257" fmla="*/ 761138 h 1737071"/>
              <a:gd name="connsiteX3258" fmla="*/ 410855 w 3956050"/>
              <a:gd name="connsiteY3258" fmla="*/ 759142 h 1737071"/>
              <a:gd name="connsiteX3259" fmla="*/ 402875 w 3956050"/>
              <a:gd name="connsiteY3259" fmla="*/ 757147 h 1737071"/>
              <a:gd name="connsiteX3260" fmla="*/ 394895 w 3956050"/>
              <a:gd name="connsiteY3260" fmla="*/ 755151 h 1737071"/>
              <a:gd name="connsiteX3261" fmla="*/ 378934 w 3956050"/>
              <a:gd name="connsiteY3261" fmla="*/ 751159 h 1737071"/>
              <a:gd name="connsiteX3262" fmla="*/ 364969 w 3956050"/>
              <a:gd name="connsiteY3262" fmla="*/ 747168 h 1737071"/>
              <a:gd name="connsiteX3263" fmla="*/ 349009 w 3956050"/>
              <a:gd name="connsiteY3263" fmla="*/ 747168 h 1737071"/>
              <a:gd name="connsiteX3264" fmla="*/ 335043 w 3956050"/>
              <a:gd name="connsiteY3264" fmla="*/ 741180 h 1737071"/>
              <a:gd name="connsiteX3265" fmla="*/ 327063 w 3956050"/>
              <a:gd name="connsiteY3265" fmla="*/ 737189 h 1737071"/>
              <a:gd name="connsiteX3266" fmla="*/ 321078 w 3956050"/>
              <a:gd name="connsiteY3266" fmla="*/ 739185 h 1737071"/>
              <a:gd name="connsiteX3267" fmla="*/ 315093 w 3956050"/>
              <a:gd name="connsiteY3267" fmla="*/ 741180 h 1737071"/>
              <a:gd name="connsiteX3268" fmla="*/ 309108 w 3956050"/>
              <a:gd name="connsiteY3268" fmla="*/ 739185 h 1737071"/>
              <a:gd name="connsiteX3269" fmla="*/ 301128 w 3956050"/>
              <a:gd name="connsiteY3269" fmla="*/ 733197 h 1737071"/>
              <a:gd name="connsiteX3270" fmla="*/ 287162 w 3956050"/>
              <a:gd name="connsiteY3270" fmla="*/ 729206 h 1737071"/>
              <a:gd name="connsiteX3271" fmla="*/ 279182 w 3956050"/>
              <a:gd name="connsiteY3271" fmla="*/ 723218 h 1737071"/>
              <a:gd name="connsiteX3272" fmla="*/ 269207 w 3956050"/>
              <a:gd name="connsiteY3272" fmla="*/ 719227 h 1737071"/>
              <a:gd name="connsiteX3273" fmla="*/ 271202 w 3956050"/>
              <a:gd name="connsiteY3273" fmla="*/ 723218 h 1737071"/>
              <a:gd name="connsiteX3274" fmla="*/ 281177 w 3956050"/>
              <a:gd name="connsiteY3274" fmla="*/ 737189 h 1737071"/>
              <a:gd name="connsiteX3275" fmla="*/ 291152 w 3956050"/>
              <a:gd name="connsiteY3275" fmla="*/ 739185 h 1737071"/>
              <a:gd name="connsiteX3276" fmla="*/ 299133 w 3956050"/>
              <a:gd name="connsiteY3276" fmla="*/ 747168 h 1737071"/>
              <a:gd name="connsiteX3277" fmla="*/ 297138 w 3956050"/>
              <a:gd name="connsiteY3277" fmla="*/ 755151 h 1737071"/>
              <a:gd name="connsiteX3278" fmla="*/ 301128 w 3956050"/>
              <a:gd name="connsiteY3278" fmla="*/ 757147 h 1737071"/>
              <a:gd name="connsiteX3279" fmla="*/ 307113 w 3956050"/>
              <a:gd name="connsiteY3279" fmla="*/ 757147 h 1737071"/>
              <a:gd name="connsiteX3280" fmla="*/ 313098 w 3956050"/>
              <a:gd name="connsiteY3280" fmla="*/ 757147 h 1737071"/>
              <a:gd name="connsiteX3281" fmla="*/ 323073 w 3956050"/>
              <a:gd name="connsiteY3281" fmla="*/ 765130 h 1737071"/>
              <a:gd name="connsiteX3282" fmla="*/ 331053 w 3956050"/>
              <a:gd name="connsiteY3282" fmla="*/ 775109 h 1737071"/>
              <a:gd name="connsiteX3283" fmla="*/ 329058 w 3956050"/>
              <a:gd name="connsiteY3283" fmla="*/ 783092 h 1737071"/>
              <a:gd name="connsiteX3284" fmla="*/ 329058 w 3956050"/>
              <a:gd name="connsiteY3284" fmla="*/ 787083 h 1737071"/>
              <a:gd name="connsiteX3285" fmla="*/ 327063 w 3956050"/>
              <a:gd name="connsiteY3285" fmla="*/ 791075 h 1737071"/>
              <a:gd name="connsiteX3286" fmla="*/ 325068 w 3956050"/>
              <a:gd name="connsiteY3286" fmla="*/ 799058 h 1737071"/>
              <a:gd name="connsiteX3287" fmla="*/ 333048 w 3956050"/>
              <a:gd name="connsiteY3287" fmla="*/ 811033 h 1737071"/>
              <a:gd name="connsiteX3288" fmla="*/ 337038 w 3956050"/>
              <a:gd name="connsiteY3288" fmla="*/ 830990 h 1737071"/>
              <a:gd name="connsiteX3289" fmla="*/ 341029 w 3956050"/>
              <a:gd name="connsiteY3289" fmla="*/ 836978 h 1737071"/>
              <a:gd name="connsiteX3290" fmla="*/ 352999 w 3956050"/>
              <a:gd name="connsiteY3290" fmla="*/ 840969 h 1737071"/>
              <a:gd name="connsiteX3291" fmla="*/ 356989 w 3956050"/>
              <a:gd name="connsiteY3291" fmla="*/ 842965 h 1737071"/>
              <a:gd name="connsiteX3292" fmla="*/ 360979 w 3956050"/>
              <a:gd name="connsiteY3292" fmla="*/ 846956 h 1737071"/>
              <a:gd name="connsiteX3293" fmla="*/ 366964 w 3956050"/>
              <a:gd name="connsiteY3293" fmla="*/ 850948 h 1737071"/>
              <a:gd name="connsiteX3294" fmla="*/ 366964 w 3956050"/>
              <a:gd name="connsiteY3294" fmla="*/ 856935 h 1737071"/>
              <a:gd name="connsiteX3295" fmla="*/ 374944 w 3956050"/>
              <a:gd name="connsiteY3295" fmla="*/ 860927 h 1737071"/>
              <a:gd name="connsiteX3296" fmla="*/ 384920 w 3956050"/>
              <a:gd name="connsiteY3296" fmla="*/ 860927 h 1737071"/>
              <a:gd name="connsiteX3297" fmla="*/ 390905 w 3956050"/>
              <a:gd name="connsiteY3297" fmla="*/ 864918 h 1737071"/>
              <a:gd name="connsiteX3298" fmla="*/ 394895 w 3956050"/>
              <a:gd name="connsiteY3298" fmla="*/ 868910 h 1737071"/>
              <a:gd name="connsiteX3299" fmla="*/ 398885 w 3956050"/>
              <a:gd name="connsiteY3299" fmla="*/ 866914 h 1737071"/>
              <a:gd name="connsiteX3300" fmla="*/ 400880 w 3956050"/>
              <a:gd name="connsiteY3300" fmla="*/ 866914 h 1737071"/>
              <a:gd name="connsiteX3301" fmla="*/ 402875 w 3956050"/>
              <a:gd name="connsiteY3301" fmla="*/ 864918 h 1737071"/>
              <a:gd name="connsiteX3302" fmla="*/ 406865 w 3956050"/>
              <a:gd name="connsiteY3302" fmla="*/ 862923 h 1737071"/>
              <a:gd name="connsiteX3303" fmla="*/ 410855 w 3956050"/>
              <a:gd name="connsiteY3303" fmla="*/ 860927 h 1737071"/>
              <a:gd name="connsiteX3304" fmla="*/ 408860 w 3956050"/>
              <a:gd name="connsiteY3304" fmla="*/ 850948 h 1737071"/>
              <a:gd name="connsiteX3305" fmla="*/ 404870 w 3956050"/>
              <a:gd name="connsiteY3305" fmla="*/ 842965 h 1737071"/>
              <a:gd name="connsiteX3306" fmla="*/ 392900 w 3956050"/>
              <a:gd name="connsiteY3306" fmla="*/ 844961 h 1737071"/>
              <a:gd name="connsiteX3307" fmla="*/ 380929 w 3956050"/>
              <a:gd name="connsiteY3307" fmla="*/ 840969 h 1737071"/>
              <a:gd name="connsiteX3308" fmla="*/ 368959 w 3956050"/>
              <a:gd name="connsiteY3308" fmla="*/ 830990 h 1737071"/>
              <a:gd name="connsiteX3309" fmla="*/ 360979 w 3956050"/>
              <a:gd name="connsiteY3309" fmla="*/ 819016 h 1737071"/>
              <a:gd name="connsiteX3310" fmla="*/ 374944 w 3956050"/>
              <a:gd name="connsiteY3310" fmla="*/ 817020 h 1737071"/>
              <a:gd name="connsiteX3311" fmla="*/ 374944 w 3956050"/>
              <a:gd name="connsiteY3311" fmla="*/ 811033 h 1737071"/>
              <a:gd name="connsiteX3312" fmla="*/ 372949 w 3956050"/>
              <a:gd name="connsiteY3312" fmla="*/ 803049 h 1737071"/>
              <a:gd name="connsiteX3313" fmla="*/ 378934 w 3956050"/>
              <a:gd name="connsiteY3313" fmla="*/ 803049 h 1737071"/>
              <a:gd name="connsiteX3314" fmla="*/ 392900 w 3956050"/>
              <a:gd name="connsiteY3314" fmla="*/ 807041 h 1737071"/>
              <a:gd name="connsiteX3315" fmla="*/ 402875 w 3956050"/>
              <a:gd name="connsiteY3315" fmla="*/ 813028 h 1737071"/>
              <a:gd name="connsiteX3316" fmla="*/ 408860 w 3956050"/>
              <a:gd name="connsiteY3316" fmla="*/ 817020 h 1737071"/>
              <a:gd name="connsiteX3317" fmla="*/ 416840 w 3956050"/>
              <a:gd name="connsiteY3317" fmla="*/ 819016 h 1737071"/>
              <a:gd name="connsiteX3318" fmla="*/ 412850 w 3956050"/>
              <a:gd name="connsiteY3318" fmla="*/ 823007 h 1737071"/>
              <a:gd name="connsiteX3319" fmla="*/ 410855 w 3956050"/>
              <a:gd name="connsiteY3319" fmla="*/ 825003 h 1737071"/>
              <a:gd name="connsiteX3320" fmla="*/ 412850 w 3956050"/>
              <a:gd name="connsiteY3320" fmla="*/ 830990 h 1737071"/>
              <a:gd name="connsiteX3321" fmla="*/ 416840 w 3956050"/>
              <a:gd name="connsiteY3321" fmla="*/ 826999 h 1737071"/>
              <a:gd name="connsiteX3322" fmla="*/ 416840 w 3956050"/>
              <a:gd name="connsiteY3322" fmla="*/ 821011 h 1737071"/>
              <a:gd name="connsiteX3323" fmla="*/ 418835 w 3956050"/>
              <a:gd name="connsiteY3323" fmla="*/ 821011 h 1737071"/>
              <a:gd name="connsiteX3324" fmla="*/ 434796 w 3956050"/>
              <a:gd name="connsiteY3324" fmla="*/ 823007 h 1737071"/>
              <a:gd name="connsiteX3325" fmla="*/ 436791 w 3956050"/>
              <a:gd name="connsiteY3325" fmla="*/ 825003 h 1737071"/>
              <a:gd name="connsiteX3326" fmla="*/ 442776 w 3956050"/>
              <a:gd name="connsiteY3326" fmla="*/ 830990 h 1737071"/>
              <a:gd name="connsiteX3327" fmla="*/ 446766 w 3956050"/>
              <a:gd name="connsiteY3327" fmla="*/ 832986 h 1737071"/>
              <a:gd name="connsiteX3328" fmla="*/ 450756 w 3956050"/>
              <a:gd name="connsiteY3328" fmla="*/ 828995 h 1737071"/>
              <a:gd name="connsiteX3329" fmla="*/ 456741 w 3956050"/>
              <a:gd name="connsiteY3329" fmla="*/ 830990 h 1737071"/>
              <a:gd name="connsiteX3330" fmla="*/ 464721 w 3956050"/>
              <a:gd name="connsiteY3330" fmla="*/ 838973 h 1737071"/>
              <a:gd name="connsiteX3331" fmla="*/ 472702 w 3956050"/>
              <a:gd name="connsiteY3331" fmla="*/ 840969 h 1737071"/>
              <a:gd name="connsiteX3332" fmla="*/ 468711 w 3956050"/>
              <a:gd name="connsiteY3332" fmla="*/ 836978 h 1737071"/>
              <a:gd name="connsiteX3333" fmla="*/ 466716 w 3956050"/>
              <a:gd name="connsiteY3333" fmla="*/ 821011 h 1737071"/>
              <a:gd name="connsiteX3334" fmla="*/ 458736 w 3956050"/>
              <a:gd name="connsiteY3334" fmla="*/ 807041 h 1737071"/>
              <a:gd name="connsiteX3335" fmla="*/ 446766 w 3956050"/>
              <a:gd name="connsiteY3335" fmla="*/ 795066 h 1737071"/>
              <a:gd name="connsiteX3336" fmla="*/ 452751 w 3956050"/>
              <a:gd name="connsiteY3336" fmla="*/ 783092 h 1737071"/>
              <a:gd name="connsiteX3337" fmla="*/ 462726 w 3956050"/>
              <a:gd name="connsiteY3337" fmla="*/ 775109 h 1737071"/>
              <a:gd name="connsiteX3338" fmla="*/ 470706 w 3956050"/>
              <a:gd name="connsiteY3338" fmla="*/ 769121 h 1737071"/>
              <a:gd name="connsiteX3339" fmla="*/ 480682 w 3956050"/>
              <a:gd name="connsiteY3339" fmla="*/ 763134 h 1737071"/>
              <a:gd name="connsiteX3340" fmla="*/ 488662 w 3956050"/>
              <a:gd name="connsiteY3340" fmla="*/ 753155 h 1737071"/>
              <a:gd name="connsiteX3341" fmla="*/ 490657 w 3956050"/>
              <a:gd name="connsiteY3341" fmla="*/ 749164 h 1737071"/>
              <a:gd name="connsiteX3342" fmla="*/ 496642 w 3956050"/>
              <a:gd name="connsiteY3342" fmla="*/ 745172 h 1737071"/>
              <a:gd name="connsiteX3343" fmla="*/ 500632 w 3956050"/>
              <a:gd name="connsiteY3343" fmla="*/ 745172 h 1737071"/>
              <a:gd name="connsiteX3344" fmla="*/ 504622 w 3956050"/>
              <a:gd name="connsiteY3344" fmla="*/ 749164 h 1737071"/>
              <a:gd name="connsiteX3345" fmla="*/ 512602 w 3956050"/>
              <a:gd name="connsiteY3345" fmla="*/ 753155 h 1737071"/>
              <a:gd name="connsiteX3346" fmla="*/ 524573 w 3956050"/>
              <a:gd name="connsiteY3346" fmla="*/ 753155 h 1737071"/>
              <a:gd name="connsiteX3347" fmla="*/ 530558 w 3956050"/>
              <a:gd name="connsiteY3347" fmla="*/ 757147 h 1737071"/>
              <a:gd name="connsiteX3348" fmla="*/ 532553 w 3956050"/>
              <a:gd name="connsiteY3348" fmla="*/ 759142 h 1737071"/>
              <a:gd name="connsiteX3349" fmla="*/ 540533 w 3956050"/>
              <a:gd name="connsiteY3349" fmla="*/ 765130 h 1737071"/>
              <a:gd name="connsiteX3350" fmla="*/ 544523 w 3956050"/>
              <a:gd name="connsiteY3350" fmla="*/ 769121 h 1737071"/>
              <a:gd name="connsiteX3351" fmla="*/ 544523 w 3956050"/>
              <a:gd name="connsiteY3351" fmla="*/ 755151 h 1737071"/>
              <a:gd name="connsiteX3352" fmla="*/ 544523 w 3956050"/>
              <a:gd name="connsiteY3352" fmla="*/ 747168 h 1737071"/>
              <a:gd name="connsiteX3353" fmla="*/ 544523 w 3956050"/>
              <a:gd name="connsiteY3353" fmla="*/ 743176 h 1737071"/>
              <a:gd name="connsiteX3354" fmla="*/ 542528 w 3956050"/>
              <a:gd name="connsiteY3354" fmla="*/ 729206 h 1737071"/>
              <a:gd name="connsiteX3355" fmla="*/ 534548 w 3956050"/>
              <a:gd name="connsiteY3355" fmla="*/ 721223 h 1737071"/>
              <a:gd name="connsiteX3356" fmla="*/ 536543 w 3956050"/>
              <a:gd name="connsiteY3356" fmla="*/ 703261 h 1737071"/>
              <a:gd name="connsiteX3357" fmla="*/ 536543 w 3956050"/>
              <a:gd name="connsiteY3357" fmla="*/ 687295 h 1737071"/>
              <a:gd name="connsiteX3358" fmla="*/ 536543 w 3956050"/>
              <a:gd name="connsiteY3358" fmla="*/ 671328 h 1737071"/>
              <a:gd name="connsiteX3359" fmla="*/ 528563 w 3956050"/>
              <a:gd name="connsiteY3359" fmla="*/ 663345 h 1737071"/>
              <a:gd name="connsiteX3360" fmla="*/ 520583 w 3956050"/>
              <a:gd name="connsiteY3360" fmla="*/ 653366 h 1737071"/>
              <a:gd name="connsiteX3361" fmla="*/ 512602 w 3956050"/>
              <a:gd name="connsiteY3361" fmla="*/ 649375 h 1737071"/>
              <a:gd name="connsiteX3362" fmla="*/ 510607 w 3956050"/>
              <a:gd name="connsiteY3362" fmla="*/ 643388 h 1737071"/>
              <a:gd name="connsiteX3363" fmla="*/ 518588 w 3956050"/>
              <a:gd name="connsiteY3363" fmla="*/ 645383 h 1737071"/>
              <a:gd name="connsiteX3364" fmla="*/ 528563 w 3956050"/>
              <a:gd name="connsiteY3364" fmla="*/ 649375 h 1737071"/>
              <a:gd name="connsiteX3365" fmla="*/ 540533 w 3956050"/>
              <a:gd name="connsiteY3365" fmla="*/ 649375 h 1737071"/>
              <a:gd name="connsiteX3366" fmla="*/ 556493 w 3956050"/>
              <a:gd name="connsiteY3366" fmla="*/ 647379 h 1737071"/>
              <a:gd name="connsiteX3367" fmla="*/ 568464 w 3956050"/>
              <a:gd name="connsiteY3367" fmla="*/ 651371 h 1737071"/>
              <a:gd name="connsiteX3368" fmla="*/ 572454 w 3956050"/>
              <a:gd name="connsiteY3368" fmla="*/ 653366 h 1737071"/>
              <a:gd name="connsiteX3369" fmla="*/ 574449 w 3956050"/>
              <a:gd name="connsiteY3369" fmla="*/ 661350 h 1737071"/>
              <a:gd name="connsiteX3370" fmla="*/ 580434 w 3956050"/>
              <a:gd name="connsiteY3370" fmla="*/ 665341 h 1737071"/>
              <a:gd name="connsiteX3371" fmla="*/ 582429 w 3956050"/>
              <a:gd name="connsiteY3371" fmla="*/ 667337 h 1737071"/>
              <a:gd name="connsiteX3372" fmla="*/ 584424 w 3956050"/>
              <a:gd name="connsiteY3372" fmla="*/ 673324 h 1737071"/>
              <a:gd name="connsiteX3373" fmla="*/ 590409 w 3956050"/>
              <a:gd name="connsiteY3373" fmla="*/ 683303 h 1737071"/>
              <a:gd name="connsiteX3374" fmla="*/ 580434 w 3956050"/>
              <a:gd name="connsiteY3374" fmla="*/ 687295 h 1737071"/>
              <a:gd name="connsiteX3375" fmla="*/ 574449 w 3956050"/>
              <a:gd name="connsiteY3375" fmla="*/ 687295 h 1737071"/>
              <a:gd name="connsiteX3376" fmla="*/ 568464 w 3956050"/>
              <a:gd name="connsiteY3376" fmla="*/ 689290 h 1737071"/>
              <a:gd name="connsiteX3377" fmla="*/ 564474 w 3956050"/>
              <a:gd name="connsiteY3377" fmla="*/ 695278 h 1737071"/>
              <a:gd name="connsiteX3378" fmla="*/ 562479 w 3956050"/>
              <a:gd name="connsiteY3378" fmla="*/ 699269 h 1737071"/>
              <a:gd name="connsiteX3379" fmla="*/ 558488 w 3956050"/>
              <a:gd name="connsiteY3379" fmla="*/ 701265 h 1737071"/>
              <a:gd name="connsiteX3380" fmla="*/ 566469 w 3956050"/>
              <a:gd name="connsiteY3380" fmla="*/ 709248 h 1737071"/>
              <a:gd name="connsiteX3381" fmla="*/ 570459 w 3956050"/>
              <a:gd name="connsiteY3381" fmla="*/ 721223 h 1737071"/>
              <a:gd name="connsiteX3382" fmla="*/ 576444 w 3956050"/>
              <a:gd name="connsiteY3382" fmla="*/ 729206 h 1737071"/>
              <a:gd name="connsiteX3383" fmla="*/ 582429 w 3956050"/>
              <a:gd name="connsiteY3383" fmla="*/ 735193 h 1737071"/>
              <a:gd name="connsiteX3384" fmla="*/ 590409 w 3956050"/>
              <a:gd name="connsiteY3384" fmla="*/ 733197 h 1737071"/>
              <a:gd name="connsiteX3385" fmla="*/ 594399 w 3956050"/>
              <a:gd name="connsiteY3385" fmla="*/ 731202 h 1737071"/>
              <a:gd name="connsiteX3386" fmla="*/ 604374 w 3956050"/>
              <a:gd name="connsiteY3386" fmla="*/ 733197 h 1737071"/>
              <a:gd name="connsiteX3387" fmla="*/ 614350 w 3956050"/>
              <a:gd name="connsiteY3387" fmla="*/ 731202 h 1737071"/>
              <a:gd name="connsiteX3388" fmla="*/ 620335 w 3956050"/>
              <a:gd name="connsiteY3388" fmla="*/ 729206 h 1737071"/>
              <a:gd name="connsiteX3389" fmla="*/ 624325 w 3956050"/>
              <a:gd name="connsiteY3389" fmla="*/ 719227 h 1737071"/>
              <a:gd name="connsiteX3390" fmla="*/ 624325 w 3956050"/>
              <a:gd name="connsiteY3390" fmla="*/ 707252 h 1737071"/>
              <a:gd name="connsiteX3391" fmla="*/ 642281 w 3956050"/>
              <a:gd name="connsiteY3391" fmla="*/ 701265 h 1737071"/>
              <a:gd name="connsiteX3392" fmla="*/ 644276 w 3956050"/>
              <a:gd name="connsiteY3392" fmla="*/ 695278 h 1737071"/>
              <a:gd name="connsiteX3393" fmla="*/ 646271 w 3956050"/>
              <a:gd name="connsiteY3393" fmla="*/ 689290 h 1737071"/>
              <a:gd name="connsiteX3394" fmla="*/ 654251 w 3956050"/>
              <a:gd name="connsiteY3394" fmla="*/ 691286 h 1737071"/>
              <a:gd name="connsiteX3395" fmla="*/ 662231 w 3956050"/>
              <a:gd name="connsiteY3395" fmla="*/ 685299 h 1737071"/>
              <a:gd name="connsiteX3396" fmla="*/ 672206 w 3956050"/>
              <a:gd name="connsiteY3396" fmla="*/ 677316 h 1737071"/>
              <a:gd name="connsiteX3397" fmla="*/ 684177 w 3956050"/>
              <a:gd name="connsiteY3397" fmla="*/ 663345 h 1737071"/>
              <a:gd name="connsiteX3398" fmla="*/ 694152 w 3956050"/>
              <a:gd name="connsiteY3398" fmla="*/ 659354 h 1737071"/>
              <a:gd name="connsiteX3399" fmla="*/ 702132 w 3956050"/>
              <a:gd name="connsiteY3399" fmla="*/ 661350 h 1737071"/>
              <a:gd name="connsiteX3400" fmla="*/ 700137 w 3956050"/>
              <a:gd name="connsiteY3400" fmla="*/ 665341 h 1737071"/>
              <a:gd name="connsiteX3401" fmla="*/ 692157 w 3956050"/>
              <a:gd name="connsiteY3401" fmla="*/ 665341 h 1737071"/>
              <a:gd name="connsiteX3402" fmla="*/ 692157 w 3956050"/>
              <a:gd name="connsiteY3402" fmla="*/ 669333 h 1737071"/>
              <a:gd name="connsiteX3403" fmla="*/ 704127 w 3956050"/>
              <a:gd name="connsiteY3403" fmla="*/ 667337 h 1737071"/>
              <a:gd name="connsiteX3404" fmla="*/ 708117 w 3956050"/>
              <a:gd name="connsiteY3404" fmla="*/ 661350 h 1737071"/>
              <a:gd name="connsiteX3405" fmla="*/ 714102 w 3956050"/>
              <a:gd name="connsiteY3405" fmla="*/ 659354 h 1737071"/>
              <a:gd name="connsiteX3406" fmla="*/ 718092 w 3956050"/>
              <a:gd name="connsiteY3406" fmla="*/ 659354 h 1737071"/>
              <a:gd name="connsiteX3407" fmla="*/ 720088 w 3956050"/>
              <a:gd name="connsiteY3407" fmla="*/ 655362 h 1737071"/>
              <a:gd name="connsiteX3408" fmla="*/ 724078 w 3956050"/>
              <a:gd name="connsiteY3408" fmla="*/ 661350 h 1737071"/>
              <a:gd name="connsiteX3409" fmla="*/ 722083 w 3956050"/>
              <a:gd name="connsiteY3409" fmla="*/ 665341 h 1737071"/>
              <a:gd name="connsiteX3410" fmla="*/ 726073 w 3956050"/>
              <a:gd name="connsiteY3410" fmla="*/ 663345 h 1737071"/>
              <a:gd name="connsiteX3411" fmla="*/ 730063 w 3956050"/>
              <a:gd name="connsiteY3411" fmla="*/ 661350 h 1737071"/>
              <a:gd name="connsiteX3412" fmla="*/ 728068 w 3956050"/>
              <a:gd name="connsiteY3412" fmla="*/ 655362 h 1737071"/>
              <a:gd name="connsiteX3413" fmla="*/ 728068 w 3956050"/>
              <a:gd name="connsiteY3413" fmla="*/ 649375 h 1737071"/>
              <a:gd name="connsiteX3414" fmla="*/ 738043 w 3956050"/>
              <a:gd name="connsiteY3414" fmla="*/ 641392 h 1737071"/>
              <a:gd name="connsiteX3415" fmla="*/ 748018 w 3956050"/>
              <a:gd name="connsiteY3415" fmla="*/ 635404 h 1737071"/>
              <a:gd name="connsiteX3416" fmla="*/ 763979 w 3956050"/>
              <a:gd name="connsiteY3416" fmla="*/ 633409 h 1737071"/>
              <a:gd name="connsiteX3417" fmla="*/ 769964 w 3956050"/>
              <a:gd name="connsiteY3417" fmla="*/ 637400 h 1737071"/>
              <a:gd name="connsiteX3418" fmla="*/ 763979 w 3956050"/>
              <a:gd name="connsiteY3418" fmla="*/ 639396 h 1737071"/>
              <a:gd name="connsiteX3419" fmla="*/ 755998 w 3956050"/>
              <a:gd name="connsiteY3419" fmla="*/ 637400 h 1737071"/>
              <a:gd name="connsiteX3420" fmla="*/ 755998 w 3956050"/>
              <a:gd name="connsiteY3420" fmla="*/ 639396 h 1737071"/>
              <a:gd name="connsiteX3421" fmla="*/ 754003 w 3956050"/>
              <a:gd name="connsiteY3421" fmla="*/ 645383 h 1737071"/>
              <a:gd name="connsiteX3422" fmla="*/ 754003 w 3956050"/>
              <a:gd name="connsiteY3422" fmla="*/ 649375 h 1737071"/>
              <a:gd name="connsiteX3423" fmla="*/ 757993 w 3956050"/>
              <a:gd name="connsiteY3423" fmla="*/ 657358 h 1737071"/>
              <a:gd name="connsiteX3424" fmla="*/ 757993 w 3956050"/>
              <a:gd name="connsiteY3424" fmla="*/ 661350 h 1737071"/>
              <a:gd name="connsiteX3425" fmla="*/ 750013 w 3956050"/>
              <a:gd name="connsiteY3425" fmla="*/ 659354 h 1737071"/>
              <a:gd name="connsiteX3426" fmla="*/ 740038 w 3956050"/>
              <a:gd name="connsiteY3426" fmla="*/ 663345 h 1737071"/>
              <a:gd name="connsiteX3427" fmla="*/ 746023 w 3956050"/>
              <a:gd name="connsiteY3427" fmla="*/ 665341 h 1737071"/>
              <a:gd name="connsiteX3428" fmla="*/ 752008 w 3956050"/>
              <a:gd name="connsiteY3428" fmla="*/ 665341 h 1737071"/>
              <a:gd name="connsiteX3429" fmla="*/ 765974 w 3956050"/>
              <a:gd name="connsiteY3429" fmla="*/ 665341 h 1737071"/>
              <a:gd name="connsiteX3430" fmla="*/ 769964 w 3956050"/>
              <a:gd name="connsiteY3430" fmla="*/ 663345 h 1737071"/>
              <a:gd name="connsiteX3431" fmla="*/ 769964 w 3956050"/>
              <a:gd name="connsiteY3431" fmla="*/ 657358 h 1737071"/>
              <a:gd name="connsiteX3432" fmla="*/ 771959 w 3956050"/>
              <a:gd name="connsiteY3432" fmla="*/ 659354 h 1737071"/>
              <a:gd name="connsiteX3433" fmla="*/ 777944 w 3956050"/>
              <a:gd name="connsiteY3433" fmla="*/ 667337 h 1737071"/>
              <a:gd name="connsiteX3434" fmla="*/ 781934 w 3956050"/>
              <a:gd name="connsiteY3434" fmla="*/ 667337 h 1737071"/>
              <a:gd name="connsiteX3435" fmla="*/ 781934 w 3956050"/>
              <a:gd name="connsiteY3435" fmla="*/ 659354 h 1737071"/>
              <a:gd name="connsiteX3436" fmla="*/ 783929 w 3956050"/>
              <a:gd name="connsiteY3436" fmla="*/ 653366 h 1737071"/>
              <a:gd name="connsiteX3437" fmla="*/ 789914 w 3956050"/>
              <a:gd name="connsiteY3437" fmla="*/ 651371 h 1737071"/>
              <a:gd name="connsiteX3438" fmla="*/ 795899 w 3956050"/>
              <a:gd name="connsiteY3438" fmla="*/ 649375 h 1737071"/>
              <a:gd name="connsiteX3439" fmla="*/ 801884 w 3956050"/>
              <a:gd name="connsiteY3439" fmla="*/ 647379 h 1737071"/>
              <a:gd name="connsiteX3440" fmla="*/ 809865 w 3956050"/>
              <a:gd name="connsiteY3440" fmla="*/ 649375 h 1737071"/>
              <a:gd name="connsiteX3441" fmla="*/ 813855 w 3956050"/>
              <a:gd name="connsiteY3441" fmla="*/ 649375 h 1737071"/>
              <a:gd name="connsiteX3442" fmla="*/ 817845 w 3956050"/>
              <a:gd name="connsiteY3442" fmla="*/ 647379 h 1737071"/>
              <a:gd name="connsiteX3443" fmla="*/ 829815 w 3956050"/>
              <a:gd name="connsiteY3443" fmla="*/ 653366 h 1737071"/>
              <a:gd name="connsiteX3444" fmla="*/ 841785 w 3956050"/>
              <a:gd name="connsiteY3444" fmla="*/ 645383 h 1737071"/>
              <a:gd name="connsiteX3445" fmla="*/ 855751 w 3956050"/>
              <a:gd name="connsiteY3445" fmla="*/ 637400 h 1737071"/>
              <a:gd name="connsiteX3446" fmla="*/ 877696 w 3956050"/>
              <a:gd name="connsiteY3446" fmla="*/ 635404 h 1737071"/>
              <a:gd name="connsiteX3447" fmla="*/ 879691 w 3956050"/>
              <a:gd name="connsiteY3447" fmla="*/ 637400 h 1737071"/>
              <a:gd name="connsiteX3448" fmla="*/ 879691 w 3956050"/>
              <a:gd name="connsiteY3448" fmla="*/ 643388 h 1737071"/>
              <a:gd name="connsiteX3449" fmla="*/ 881686 w 3956050"/>
              <a:gd name="connsiteY3449" fmla="*/ 649375 h 1737071"/>
              <a:gd name="connsiteX3450" fmla="*/ 877696 w 3956050"/>
              <a:gd name="connsiteY3450" fmla="*/ 659354 h 1737071"/>
              <a:gd name="connsiteX3451" fmla="*/ 885676 w 3956050"/>
              <a:gd name="connsiteY3451" fmla="*/ 665341 h 1737071"/>
              <a:gd name="connsiteX3452" fmla="*/ 895651 w 3956050"/>
              <a:gd name="connsiteY3452" fmla="*/ 665341 h 1737071"/>
              <a:gd name="connsiteX3453" fmla="*/ 897647 w 3956050"/>
              <a:gd name="connsiteY3453" fmla="*/ 661350 h 1737071"/>
              <a:gd name="connsiteX3454" fmla="*/ 895651 w 3956050"/>
              <a:gd name="connsiteY3454" fmla="*/ 653366 h 1737071"/>
              <a:gd name="connsiteX3455" fmla="*/ 901637 w 3956050"/>
              <a:gd name="connsiteY3455" fmla="*/ 651371 h 1737071"/>
              <a:gd name="connsiteX3456" fmla="*/ 907622 w 3956050"/>
              <a:gd name="connsiteY3456" fmla="*/ 653366 h 1737071"/>
              <a:gd name="connsiteX3457" fmla="*/ 911612 w 3956050"/>
              <a:gd name="connsiteY3457" fmla="*/ 647379 h 1737071"/>
              <a:gd name="connsiteX3458" fmla="*/ 915602 w 3956050"/>
              <a:gd name="connsiteY3458" fmla="*/ 643388 h 1737071"/>
              <a:gd name="connsiteX3459" fmla="*/ 917597 w 3956050"/>
              <a:gd name="connsiteY3459" fmla="*/ 639396 h 1737071"/>
              <a:gd name="connsiteX3460" fmla="*/ 917597 w 3956050"/>
              <a:gd name="connsiteY3460" fmla="*/ 633409 h 1737071"/>
              <a:gd name="connsiteX3461" fmla="*/ 913607 w 3956050"/>
              <a:gd name="connsiteY3461" fmla="*/ 629417 h 1737071"/>
              <a:gd name="connsiteX3462" fmla="*/ 909617 w 3956050"/>
              <a:gd name="connsiteY3462" fmla="*/ 625426 h 1737071"/>
              <a:gd name="connsiteX3463" fmla="*/ 905627 w 3956050"/>
              <a:gd name="connsiteY3463" fmla="*/ 615447 h 1737071"/>
              <a:gd name="connsiteX3464" fmla="*/ 899642 w 3956050"/>
              <a:gd name="connsiteY3464" fmla="*/ 611455 h 1737071"/>
              <a:gd name="connsiteX3465" fmla="*/ 893656 w 3956050"/>
              <a:gd name="connsiteY3465" fmla="*/ 605468 h 1737071"/>
              <a:gd name="connsiteX3466" fmla="*/ 901637 w 3956050"/>
              <a:gd name="connsiteY3466" fmla="*/ 601476 h 1737071"/>
              <a:gd name="connsiteX3467" fmla="*/ 907622 w 3956050"/>
              <a:gd name="connsiteY3467" fmla="*/ 599480 h 1737071"/>
              <a:gd name="connsiteX3468" fmla="*/ 907622 w 3956050"/>
              <a:gd name="connsiteY3468" fmla="*/ 591497 h 1737071"/>
              <a:gd name="connsiteX3469" fmla="*/ 921587 w 3956050"/>
              <a:gd name="connsiteY3469" fmla="*/ 593493 h 1737071"/>
              <a:gd name="connsiteX3470" fmla="*/ 933557 w 3956050"/>
              <a:gd name="connsiteY3470" fmla="*/ 595489 h 1737071"/>
              <a:gd name="connsiteX3471" fmla="*/ 943533 w 3956050"/>
              <a:gd name="connsiteY3471" fmla="*/ 595489 h 1737071"/>
              <a:gd name="connsiteX3472" fmla="*/ 961488 w 3956050"/>
              <a:gd name="connsiteY3472" fmla="*/ 597485 h 1737071"/>
              <a:gd name="connsiteX3473" fmla="*/ 975453 w 3956050"/>
              <a:gd name="connsiteY3473" fmla="*/ 599480 h 1737071"/>
              <a:gd name="connsiteX3474" fmla="*/ 999394 w 3956050"/>
              <a:gd name="connsiteY3474" fmla="*/ 611455 h 1737071"/>
              <a:gd name="connsiteX3475" fmla="*/ 1017349 w 3956050"/>
              <a:gd name="connsiteY3475" fmla="*/ 617443 h 1737071"/>
              <a:gd name="connsiteX3476" fmla="*/ 1029319 w 3956050"/>
              <a:gd name="connsiteY3476" fmla="*/ 629417 h 1737071"/>
              <a:gd name="connsiteX3477" fmla="*/ 1039295 w 3956050"/>
              <a:gd name="connsiteY3477" fmla="*/ 629417 h 1737071"/>
              <a:gd name="connsiteX3478" fmla="*/ 1043285 w 3956050"/>
              <a:gd name="connsiteY3478" fmla="*/ 633409 h 1737071"/>
              <a:gd name="connsiteX3479" fmla="*/ 1051265 w 3956050"/>
              <a:gd name="connsiteY3479" fmla="*/ 639396 h 1737071"/>
              <a:gd name="connsiteX3480" fmla="*/ 1067225 w 3956050"/>
              <a:gd name="connsiteY3480" fmla="*/ 647379 h 1737071"/>
              <a:gd name="connsiteX3481" fmla="*/ 1091166 w 3956050"/>
              <a:gd name="connsiteY3481" fmla="*/ 671328 h 1737071"/>
              <a:gd name="connsiteX3482" fmla="*/ 1099146 w 3956050"/>
              <a:gd name="connsiteY3482" fmla="*/ 667337 h 1737071"/>
              <a:gd name="connsiteX3483" fmla="*/ 1101141 w 3956050"/>
              <a:gd name="connsiteY3483" fmla="*/ 657358 h 1737071"/>
              <a:gd name="connsiteX3484" fmla="*/ 1103136 w 3956050"/>
              <a:gd name="connsiteY3484" fmla="*/ 651371 h 1737071"/>
              <a:gd name="connsiteX3485" fmla="*/ 1109121 w 3956050"/>
              <a:gd name="connsiteY3485" fmla="*/ 649375 h 1737071"/>
              <a:gd name="connsiteX3486" fmla="*/ 1097151 w 3956050"/>
              <a:gd name="connsiteY3486" fmla="*/ 643388 h 1737071"/>
              <a:gd name="connsiteX3487" fmla="*/ 1085181 w 3956050"/>
              <a:gd name="connsiteY3487" fmla="*/ 631413 h 1737071"/>
              <a:gd name="connsiteX3488" fmla="*/ 1083186 w 3956050"/>
              <a:gd name="connsiteY3488" fmla="*/ 615447 h 1737071"/>
              <a:gd name="connsiteX3489" fmla="*/ 1077201 w 3956050"/>
              <a:gd name="connsiteY3489" fmla="*/ 611455 h 1737071"/>
              <a:gd name="connsiteX3490" fmla="*/ 1073210 w 3956050"/>
              <a:gd name="connsiteY3490" fmla="*/ 615447 h 1737071"/>
              <a:gd name="connsiteX3491" fmla="*/ 1069220 w 3956050"/>
              <a:gd name="connsiteY3491" fmla="*/ 611455 h 1737071"/>
              <a:gd name="connsiteX3492" fmla="*/ 1057250 w 3956050"/>
              <a:gd name="connsiteY3492" fmla="*/ 611455 h 1737071"/>
              <a:gd name="connsiteX3493" fmla="*/ 1049270 w 3956050"/>
              <a:gd name="connsiteY3493" fmla="*/ 605468 h 1737071"/>
              <a:gd name="connsiteX3494" fmla="*/ 1047275 w 3956050"/>
              <a:gd name="connsiteY3494" fmla="*/ 593493 h 1737071"/>
              <a:gd name="connsiteX3495" fmla="*/ 1049270 w 3956050"/>
              <a:gd name="connsiteY3495" fmla="*/ 587506 h 1737071"/>
              <a:gd name="connsiteX3496" fmla="*/ 1049270 w 3956050"/>
              <a:gd name="connsiteY3496" fmla="*/ 579523 h 1737071"/>
              <a:gd name="connsiteX3497" fmla="*/ 1047275 w 3956050"/>
              <a:gd name="connsiteY3497" fmla="*/ 557569 h 1737071"/>
              <a:gd name="connsiteX3498" fmla="*/ 1037300 w 3956050"/>
              <a:gd name="connsiteY3498" fmla="*/ 553578 h 1737071"/>
              <a:gd name="connsiteX3499" fmla="*/ 1031315 w 3956050"/>
              <a:gd name="connsiteY3499" fmla="*/ 549586 h 1737071"/>
              <a:gd name="connsiteX3500" fmla="*/ 1033310 w 3956050"/>
              <a:gd name="connsiteY3500" fmla="*/ 531624 h 1737071"/>
              <a:gd name="connsiteX3501" fmla="*/ 1049270 w 3956050"/>
              <a:gd name="connsiteY3501" fmla="*/ 523641 h 1737071"/>
              <a:gd name="connsiteX3502" fmla="*/ 1061240 w 3956050"/>
              <a:gd name="connsiteY3502" fmla="*/ 513662 h 1737071"/>
              <a:gd name="connsiteX3503" fmla="*/ 1069220 w 3956050"/>
              <a:gd name="connsiteY3503" fmla="*/ 479734 h 1737071"/>
              <a:gd name="connsiteX3504" fmla="*/ 1073210 w 3956050"/>
              <a:gd name="connsiteY3504" fmla="*/ 467759 h 1737071"/>
              <a:gd name="connsiteX3505" fmla="*/ 1077201 w 3956050"/>
              <a:gd name="connsiteY3505" fmla="*/ 453789 h 1737071"/>
              <a:gd name="connsiteX3506" fmla="*/ 1079196 w 3956050"/>
              <a:gd name="connsiteY3506" fmla="*/ 447802 h 1737071"/>
              <a:gd name="connsiteX3507" fmla="*/ 1087176 w 3956050"/>
              <a:gd name="connsiteY3507" fmla="*/ 451793 h 1737071"/>
              <a:gd name="connsiteX3508" fmla="*/ 1089171 w 3956050"/>
              <a:gd name="connsiteY3508" fmla="*/ 453789 h 1737071"/>
              <a:gd name="connsiteX3509" fmla="*/ 1105131 w 3956050"/>
              <a:gd name="connsiteY3509" fmla="*/ 451793 h 1737071"/>
              <a:gd name="connsiteX3510" fmla="*/ 1129072 w 3956050"/>
              <a:gd name="connsiteY3510" fmla="*/ 447802 h 1737071"/>
              <a:gd name="connsiteX3511" fmla="*/ 1141042 w 3956050"/>
              <a:gd name="connsiteY3511" fmla="*/ 449797 h 1737071"/>
              <a:gd name="connsiteX3512" fmla="*/ 1145032 w 3956050"/>
              <a:gd name="connsiteY3512" fmla="*/ 449797 h 1737071"/>
              <a:gd name="connsiteX3513" fmla="*/ 1153012 w 3956050"/>
              <a:gd name="connsiteY3513" fmla="*/ 451793 h 1737071"/>
              <a:gd name="connsiteX3514" fmla="*/ 1157002 w 3956050"/>
              <a:gd name="connsiteY3514" fmla="*/ 457781 h 1737071"/>
              <a:gd name="connsiteX3515" fmla="*/ 1158997 w 3956050"/>
              <a:gd name="connsiteY3515" fmla="*/ 471751 h 1737071"/>
              <a:gd name="connsiteX3516" fmla="*/ 1160992 w 3956050"/>
              <a:gd name="connsiteY3516" fmla="*/ 481730 h 1737071"/>
              <a:gd name="connsiteX3517" fmla="*/ 1158997 w 3956050"/>
              <a:gd name="connsiteY3517" fmla="*/ 487717 h 1737071"/>
              <a:gd name="connsiteX3518" fmla="*/ 1155007 w 3956050"/>
              <a:gd name="connsiteY3518" fmla="*/ 495700 h 1737071"/>
              <a:gd name="connsiteX3519" fmla="*/ 1153012 w 3956050"/>
              <a:gd name="connsiteY3519" fmla="*/ 503683 h 1737071"/>
              <a:gd name="connsiteX3520" fmla="*/ 1149022 w 3956050"/>
              <a:gd name="connsiteY3520" fmla="*/ 515658 h 1737071"/>
              <a:gd name="connsiteX3521" fmla="*/ 1153012 w 3956050"/>
              <a:gd name="connsiteY3521" fmla="*/ 523641 h 1737071"/>
              <a:gd name="connsiteX3522" fmla="*/ 1162987 w 3956050"/>
              <a:gd name="connsiteY3522" fmla="*/ 535616 h 1737071"/>
              <a:gd name="connsiteX3523" fmla="*/ 1168973 w 3956050"/>
              <a:gd name="connsiteY3523" fmla="*/ 535616 h 1737071"/>
              <a:gd name="connsiteX3524" fmla="*/ 1174958 w 3956050"/>
              <a:gd name="connsiteY3524" fmla="*/ 543599 h 1737071"/>
              <a:gd name="connsiteX3525" fmla="*/ 1176953 w 3956050"/>
              <a:gd name="connsiteY3525" fmla="*/ 555573 h 1737071"/>
              <a:gd name="connsiteX3526" fmla="*/ 1178948 w 3956050"/>
              <a:gd name="connsiteY3526" fmla="*/ 569544 h 1737071"/>
              <a:gd name="connsiteX3527" fmla="*/ 1178948 w 3956050"/>
              <a:gd name="connsiteY3527" fmla="*/ 575531 h 1737071"/>
              <a:gd name="connsiteX3528" fmla="*/ 1180943 w 3956050"/>
              <a:gd name="connsiteY3528" fmla="*/ 587506 h 1737071"/>
              <a:gd name="connsiteX3529" fmla="*/ 1184933 w 3956050"/>
              <a:gd name="connsiteY3529" fmla="*/ 597485 h 1737071"/>
              <a:gd name="connsiteX3530" fmla="*/ 1188923 w 3956050"/>
              <a:gd name="connsiteY3530" fmla="*/ 611455 h 1737071"/>
              <a:gd name="connsiteX3531" fmla="*/ 1190918 w 3956050"/>
              <a:gd name="connsiteY3531" fmla="*/ 637400 h 1737071"/>
              <a:gd name="connsiteX3532" fmla="*/ 1192913 w 3956050"/>
              <a:gd name="connsiteY3532" fmla="*/ 643388 h 1737071"/>
              <a:gd name="connsiteX3533" fmla="*/ 1196903 w 3956050"/>
              <a:gd name="connsiteY3533" fmla="*/ 645383 h 1737071"/>
              <a:gd name="connsiteX3534" fmla="*/ 1204883 w 3956050"/>
              <a:gd name="connsiteY3534" fmla="*/ 651371 h 1737071"/>
              <a:gd name="connsiteX3535" fmla="*/ 1208874 w 3956050"/>
              <a:gd name="connsiteY3535" fmla="*/ 655362 h 1737071"/>
              <a:gd name="connsiteX3536" fmla="*/ 1206878 w 3956050"/>
              <a:gd name="connsiteY3536" fmla="*/ 661350 h 1737071"/>
              <a:gd name="connsiteX3537" fmla="*/ 1206878 w 3956050"/>
              <a:gd name="connsiteY3537" fmla="*/ 671328 h 1737071"/>
              <a:gd name="connsiteX3538" fmla="*/ 1208874 w 3956050"/>
              <a:gd name="connsiteY3538" fmla="*/ 679311 h 1737071"/>
              <a:gd name="connsiteX3539" fmla="*/ 1206878 w 3956050"/>
              <a:gd name="connsiteY3539" fmla="*/ 691286 h 1737071"/>
              <a:gd name="connsiteX3540" fmla="*/ 1198898 w 3956050"/>
              <a:gd name="connsiteY3540" fmla="*/ 697273 h 1737071"/>
              <a:gd name="connsiteX3541" fmla="*/ 1196903 w 3956050"/>
              <a:gd name="connsiteY3541" fmla="*/ 705257 h 1737071"/>
              <a:gd name="connsiteX3542" fmla="*/ 1194908 w 3956050"/>
              <a:gd name="connsiteY3542" fmla="*/ 711244 h 1737071"/>
              <a:gd name="connsiteX3543" fmla="*/ 1194908 w 3956050"/>
              <a:gd name="connsiteY3543" fmla="*/ 719227 h 1737071"/>
              <a:gd name="connsiteX3544" fmla="*/ 1190918 w 3956050"/>
              <a:gd name="connsiteY3544" fmla="*/ 727210 h 1737071"/>
              <a:gd name="connsiteX3545" fmla="*/ 1184933 w 3956050"/>
              <a:gd name="connsiteY3545" fmla="*/ 731202 h 1737071"/>
              <a:gd name="connsiteX3546" fmla="*/ 1182938 w 3956050"/>
              <a:gd name="connsiteY3546" fmla="*/ 741180 h 1737071"/>
              <a:gd name="connsiteX3547" fmla="*/ 1170968 w 3956050"/>
              <a:gd name="connsiteY3547" fmla="*/ 745172 h 1737071"/>
              <a:gd name="connsiteX3548" fmla="*/ 1160992 w 3956050"/>
              <a:gd name="connsiteY3548" fmla="*/ 747168 h 1737071"/>
              <a:gd name="connsiteX3549" fmla="*/ 1158997 w 3956050"/>
              <a:gd name="connsiteY3549" fmla="*/ 739185 h 1737071"/>
              <a:gd name="connsiteX3550" fmla="*/ 1153012 w 3956050"/>
              <a:gd name="connsiteY3550" fmla="*/ 737189 h 1737071"/>
              <a:gd name="connsiteX3551" fmla="*/ 1145032 w 3956050"/>
              <a:gd name="connsiteY3551" fmla="*/ 733197 h 1737071"/>
              <a:gd name="connsiteX3552" fmla="*/ 1147027 w 3956050"/>
              <a:gd name="connsiteY3552" fmla="*/ 741180 h 1737071"/>
              <a:gd name="connsiteX3553" fmla="*/ 1145032 w 3956050"/>
              <a:gd name="connsiteY3553" fmla="*/ 749164 h 1737071"/>
              <a:gd name="connsiteX3554" fmla="*/ 1137052 w 3956050"/>
              <a:gd name="connsiteY3554" fmla="*/ 741180 h 1737071"/>
              <a:gd name="connsiteX3555" fmla="*/ 1131067 w 3956050"/>
              <a:gd name="connsiteY3555" fmla="*/ 731202 h 1737071"/>
              <a:gd name="connsiteX3556" fmla="*/ 1119097 w 3956050"/>
              <a:gd name="connsiteY3556" fmla="*/ 731202 h 1737071"/>
              <a:gd name="connsiteX3557" fmla="*/ 1111116 w 3956050"/>
              <a:gd name="connsiteY3557" fmla="*/ 739185 h 1737071"/>
              <a:gd name="connsiteX3558" fmla="*/ 1119097 w 3956050"/>
              <a:gd name="connsiteY3558" fmla="*/ 739185 h 1737071"/>
              <a:gd name="connsiteX3559" fmla="*/ 1127077 w 3956050"/>
              <a:gd name="connsiteY3559" fmla="*/ 733197 h 1737071"/>
              <a:gd name="connsiteX3560" fmla="*/ 1131067 w 3956050"/>
              <a:gd name="connsiteY3560" fmla="*/ 741180 h 1737071"/>
              <a:gd name="connsiteX3561" fmla="*/ 1137052 w 3956050"/>
              <a:gd name="connsiteY3561" fmla="*/ 749164 h 1737071"/>
              <a:gd name="connsiteX3562" fmla="*/ 1157002 w 3956050"/>
              <a:gd name="connsiteY3562" fmla="*/ 753155 h 1737071"/>
              <a:gd name="connsiteX3563" fmla="*/ 1174958 w 3956050"/>
              <a:gd name="connsiteY3563" fmla="*/ 751159 h 1737071"/>
              <a:gd name="connsiteX3564" fmla="*/ 1190918 w 3956050"/>
              <a:gd name="connsiteY3564" fmla="*/ 757147 h 1737071"/>
              <a:gd name="connsiteX3565" fmla="*/ 1200893 w 3956050"/>
              <a:gd name="connsiteY3565" fmla="*/ 759142 h 1737071"/>
              <a:gd name="connsiteX3566" fmla="*/ 1202888 w 3956050"/>
              <a:gd name="connsiteY3566" fmla="*/ 749164 h 1737071"/>
              <a:gd name="connsiteX3567" fmla="*/ 1206878 w 3956050"/>
              <a:gd name="connsiteY3567" fmla="*/ 743176 h 1737071"/>
              <a:gd name="connsiteX3568" fmla="*/ 1214859 w 3956050"/>
              <a:gd name="connsiteY3568" fmla="*/ 739185 h 1737071"/>
              <a:gd name="connsiteX3569" fmla="*/ 1220844 w 3956050"/>
              <a:gd name="connsiteY3569" fmla="*/ 731202 h 1737071"/>
              <a:gd name="connsiteX3570" fmla="*/ 1230819 w 3956050"/>
              <a:gd name="connsiteY3570" fmla="*/ 727210 h 1737071"/>
              <a:gd name="connsiteX3571" fmla="*/ 1232814 w 3956050"/>
              <a:gd name="connsiteY3571" fmla="*/ 715235 h 1737071"/>
              <a:gd name="connsiteX3572" fmla="*/ 1238799 w 3956050"/>
              <a:gd name="connsiteY3572" fmla="*/ 699269 h 1737071"/>
              <a:gd name="connsiteX3573" fmla="*/ 1246779 w 3956050"/>
              <a:gd name="connsiteY3573" fmla="*/ 683303 h 1737071"/>
              <a:gd name="connsiteX3574" fmla="*/ 1244784 w 3956050"/>
              <a:gd name="connsiteY3574" fmla="*/ 675320 h 1737071"/>
              <a:gd name="connsiteX3575" fmla="*/ 1238799 w 3956050"/>
              <a:gd name="connsiteY3575" fmla="*/ 665341 h 1737071"/>
              <a:gd name="connsiteX3576" fmla="*/ 1232814 w 3956050"/>
              <a:gd name="connsiteY3576" fmla="*/ 657358 h 1737071"/>
              <a:gd name="connsiteX3577" fmla="*/ 1234809 w 3956050"/>
              <a:gd name="connsiteY3577" fmla="*/ 649375 h 1737071"/>
              <a:gd name="connsiteX3578" fmla="*/ 1242789 w 3956050"/>
              <a:gd name="connsiteY3578" fmla="*/ 643388 h 1737071"/>
              <a:gd name="connsiteX3579" fmla="*/ 1252764 w 3956050"/>
              <a:gd name="connsiteY3579" fmla="*/ 637400 h 1737071"/>
              <a:gd name="connsiteX3580" fmla="*/ 1278700 w 3956050"/>
              <a:gd name="connsiteY3580" fmla="*/ 633409 h 1737071"/>
              <a:gd name="connsiteX3581" fmla="*/ 1284685 w 3956050"/>
              <a:gd name="connsiteY3581" fmla="*/ 645383 h 1737071"/>
              <a:gd name="connsiteX3582" fmla="*/ 1288675 w 3956050"/>
              <a:gd name="connsiteY3582" fmla="*/ 651371 h 1737071"/>
              <a:gd name="connsiteX3583" fmla="*/ 1296655 w 3956050"/>
              <a:gd name="connsiteY3583" fmla="*/ 655362 h 1737071"/>
              <a:gd name="connsiteX3584" fmla="*/ 1300646 w 3956050"/>
              <a:gd name="connsiteY3584" fmla="*/ 659354 h 1737071"/>
              <a:gd name="connsiteX3585" fmla="*/ 1300646 w 3956050"/>
              <a:gd name="connsiteY3585" fmla="*/ 667337 h 1737071"/>
              <a:gd name="connsiteX3586" fmla="*/ 1304636 w 3956050"/>
              <a:gd name="connsiteY3586" fmla="*/ 687295 h 1737071"/>
              <a:gd name="connsiteX3587" fmla="*/ 1308626 w 3956050"/>
              <a:gd name="connsiteY3587" fmla="*/ 693282 h 1737071"/>
              <a:gd name="connsiteX3588" fmla="*/ 1314611 w 3956050"/>
              <a:gd name="connsiteY3588" fmla="*/ 697273 h 1737071"/>
              <a:gd name="connsiteX3589" fmla="*/ 1316606 w 3956050"/>
              <a:gd name="connsiteY3589" fmla="*/ 699269 h 1737071"/>
              <a:gd name="connsiteX3590" fmla="*/ 1318601 w 3956050"/>
              <a:gd name="connsiteY3590" fmla="*/ 699269 h 1737071"/>
              <a:gd name="connsiteX3591" fmla="*/ 1326581 w 3956050"/>
              <a:gd name="connsiteY3591" fmla="*/ 699269 h 1737071"/>
              <a:gd name="connsiteX3592" fmla="*/ 1338551 w 3956050"/>
              <a:gd name="connsiteY3592" fmla="*/ 701265 h 1737071"/>
              <a:gd name="connsiteX3593" fmla="*/ 1348527 w 3956050"/>
              <a:gd name="connsiteY3593" fmla="*/ 701265 h 1737071"/>
              <a:gd name="connsiteX3594" fmla="*/ 1346532 w 3956050"/>
              <a:gd name="connsiteY3594" fmla="*/ 693282 h 1737071"/>
              <a:gd name="connsiteX3595" fmla="*/ 1340546 w 3956050"/>
              <a:gd name="connsiteY3595" fmla="*/ 693282 h 1737071"/>
              <a:gd name="connsiteX3596" fmla="*/ 1336556 w 3956050"/>
              <a:gd name="connsiteY3596" fmla="*/ 693282 h 1737071"/>
              <a:gd name="connsiteX3597" fmla="*/ 1324586 w 3956050"/>
              <a:gd name="connsiteY3597" fmla="*/ 691286 h 1737071"/>
              <a:gd name="connsiteX3598" fmla="*/ 1318601 w 3956050"/>
              <a:gd name="connsiteY3598" fmla="*/ 691286 h 1737071"/>
              <a:gd name="connsiteX3599" fmla="*/ 1314611 w 3956050"/>
              <a:gd name="connsiteY3599" fmla="*/ 687295 h 1737071"/>
              <a:gd name="connsiteX3600" fmla="*/ 1310621 w 3956050"/>
              <a:gd name="connsiteY3600" fmla="*/ 681307 h 1737071"/>
              <a:gd name="connsiteX3601" fmla="*/ 1308626 w 3956050"/>
              <a:gd name="connsiteY3601" fmla="*/ 677316 h 1737071"/>
              <a:gd name="connsiteX3602" fmla="*/ 1308626 w 3956050"/>
              <a:gd name="connsiteY3602" fmla="*/ 669333 h 1737071"/>
              <a:gd name="connsiteX3603" fmla="*/ 1314611 w 3956050"/>
              <a:gd name="connsiteY3603" fmla="*/ 667337 h 1737071"/>
              <a:gd name="connsiteX3604" fmla="*/ 1318601 w 3956050"/>
              <a:gd name="connsiteY3604" fmla="*/ 667337 h 1737071"/>
              <a:gd name="connsiteX3605" fmla="*/ 1318601 w 3956050"/>
              <a:gd name="connsiteY3605" fmla="*/ 657358 h 1737071"/>
              <a:gd name="connsiteX3606" fmla="*/ 1312616 w 3956050"/>
              <a:gd name="connsiteY3606" fmla="*/ 647379 h 1737071"/>
              <a:gd name="connsiteX3607" fmla="*/ 1296655 w 3956050"/>
              <a:gd name="connsiteY3607" fmla="*/ 637400 h 1737071"/>
              <a:gd name="connsiteX3608" fmla="*/ 1288675 w 3956050"/>
              <a:gd name="connsiteY3608" fmla="*/ 631413 h 1737071"/>
              <a:gd name="connsiteX3609" fmla="*/ 1284685 w 3956050"/>
              <a:gd name="connsiteY3609" fmla="*/ 625426 h 1737071"/>
              <a:gd name="connsiteX3610" fmla="*/ 1276705 w 3956050"/>
              <a:gd name="connsiteY3610" fmla="*/ 621434 h 1737071"/>
              <a:gd name="connsiteX3611" fmla="*/ 1258750 w 3956050"/>
              <a:gd name="connsiteY3611" fmla="*/ 617443 h 1737071"/>
              <a:gd name="connsiteX3612" fmla="*/ 1248774 w 3956050"/>
              <a:gd name="connsiteY3612" fmla="*/ 623430 h 1737071"/>
              <a:gd name="connsiteX3613" fmla="*/ 1236804 w 3956050"/>
              <a:gd name="connsiteY3613" fmla="*/ 625426 h 1737071"/>
              <a:gd name="connsiteX3614" fmla="*/ 1226829 w 3956050"/>
              <a:gd name="connsiteY3614" fmla="*/ 625426 h 1737071"/>
              <a:gd name="connsiteX3615" fmla="*/ 1214859 w 3956050"/>
              <a:gd name="connsiteY3615" fmla="*/ 627421 h 1737071"/>
              <a:gd name="connsiteX3616" fmla="*/ 1212864 w 3956050"/>
              <a:gd name="connsiteY3616" fmla="*/ 615447 h 1737071"/>
              <a:gd name="connsiteX3617" fmla="*/ 1202888 w 3956050"/>
              <a:gd name="connsiteY3617" fmla="*/ 603472 h 1737071"/>
              <a:gd name="connsiteX3618" fmla="*/ 1202888 w 3956050"/>
              <a:gd name="connsiteY3618" fmla="*/ 593493 h 1737071"/>
              <a:gd name="connsiteX3619" fmla="*/ 1204883 w 3956050"/>
              <a:gd name="connsiteY3619" fmla="*/ 587506 h 1737071"/>
              <a:gd name="connsiteX3620" fmla="*/ 1202888 w 3956050"/>
              <a:gd name="connsiteY3620" fmla="*/ 577527 h 1737071"/>
              <a:gd name="connsiteX3621" fmla="*/ 1208874 w 3956050"/>
              <a:gd name="connsiteY3621" fmla="*/ 567548 h 1737071"/>
              <a:gd name="connsiteX3622" fmla="*/ 1208874 w 3956050"/>
              <a:gd name="connsiteY3622" fmla="*/ 557569 h 1737071"/>
              <a:gd name="connsiteX3623" fmla="*/ 1196903 w 3956050"/>
              <a:gd name="connsiteY3623" fmla="*/ 543599 h 1737071"/>
              <a:gd name="connsiteX3624" fmla="*/ 1190918 w 3956050"/>
              <a:gd name="connsiteY3624" fmla="*/ 537611 h 1737071"/>
              <a:gd name="connsiteX3625" fmla="*/ 1180943 w 3956050"/>
              <a:gd name="connsiteY3625" fmla="*/ 529628 h 1737071"/>
              <a:gd name="connsiteX3626" fmla="*/ 1174958 w 3956050"/>
              <a:gd name="connsiteY3626" fmla="*/ 523641 h 1737071"/>
              <a:gd name="connsiteX3627" fmla="*/ 1178948 w 3956050"/>
              <a:gd name="connsiteY3627" fmla="*/ 519649 h 1737071"/>
              <a:gd name="connsiteX3628" fmla="*/ 1182938 w 3956050"/>
              <a:gd name="connsiteY3628" fmla="*/ 507675 h 1737071"/>
              <a:gd name="connsiteX3629" fmla="*/ 1190918 w 3956050"/>
              <a:gd name="connsiteY3629" fmla="*/ 501688 h 1737071"/>
              <a:gd name="connsiteX3630" fmla="*/ 1200893 w 3956050"/>
              <a:gd name="connsiteY3630" fmla="*/ 497696 h 1737071"/>
              <a:gd name="connsiteX3631" fmla="*/ 1210869 w 3956050"/>
              <a:gd name="connsiteY3631" fmla="*/ 485721 h 1737071"/>
              <a:gd name="connsiteX3632" fmla="*/ 1210869 w 3956050"/>
              <a:gd name="connsiteY3632" fmla="*/ 475742 h 1737071"/>
              <a:gd name="connsiteX3633" fmla="*/ 1206878 w 3956050"/>
              <a:gd name="connsiteY3633" fmla="*/ 457781 h 1737071"/>
              <a:gd name="connsiteX3634" fmla="*/ 1194908 w 3956050"/>
              <a:gd name="connsiteY3634" fmla="*/ 449797 h 1737071"/>
              <a:gd name="connsiteX3635" fmla="*/ 1188923 w 3956050"/>
              <a:gd name="connsiteY3635" fmla="*/ 443810 h 1737071"/>
              <a:gd name="connsiteX3636" fmla="*/ 1198898 w 3956050"/>
              <a:gd name="connsiteY3636" fmla="*/ 439819 h 1737071"/>
              <a:gd name="connsiteX3637" fmla="*/ 1200893 w 3956050"/>
              <a:gd name="connsiteY3637" fmla="*/ 441814 h 1737071"/>
              <a:gd name="connsiteX3638" fmla="*/ 1200893 w 3956050"/>
              <a:gd name="connsiteY3638" fmla="*/ 445806 h 1737071"/>
              <a:gd name="connsiteX3639" fmla="*/ 1206878 w 3956050"/>
              <a:gd name="connsiteY3639" fmla="*/ 447802 h 1737071"/>
              <a:gd name="connsiteX3640" fmla="*/ 1214859 w 3956050"/>
              <a:gd name="connsiteY3640" fmla="*/ 451793 h 1737071"/>
              <a:gd name="connsiteX3641" fmla="*/ 1216854 w 3956050"/>
              <a:gd name="connsiteY3641" fmla="*/ 455785 h 1737071"/>
              <a:gd name="connsiteX3642" fmla="*/ 1218849 w 3956050"/>
              <a:gd name="connsiteY3642" fmla="*/ 461772 h 1737071"/>
              <a:gd name="connsiteX3643" fmla="*/ 1218849 w 3956050"/>
              <a:gd name="connsiteY3643" fmla="*/ 473747 h 1737071"/>
              <a:gd name="connsiteX3644" fmla="*/ 1222839 w 3956050"/>
              <a:gd name="connsiteY3644" fmla="*/ 481730 h 1737071"/>
              <a:gd name="connsiteX3645" fmla="*/ 1222839 w 3956050"/>
              <a:gd name="connsiteY3645" fmla="*/ 493704 h 1737071"/>
              <a:gd name="connsiteX3646" fmla="*/ 1220844 w 3956050"/>
              <a:gd name="connsiteY3646" fmla="*/ 501688 h 1737071"/>
              <a:gd name="connsiteX3647" fmla="*/ 1226829 w 3956050"/>
              <a:gd name="connsiteY3647" fmla="*/ 507675 h 1737071"/>
              <a:gd name="connsiteX3648" fmla="*/ 1226829 w 3956050"/>
              <a:gd name="connsiteY3648" fmla="*/ 521645 h 1737071"/>
              <a:gd name="connsiteX3649" fmla="*/ 1226829 w 3956050"/>
              <a:gd name="connsiteY3649" fmla="*/ 523641 h 1737071"/>
              <a:gd name="connsiteX3650" fmla="*/ 1232814 w 3956050"/>
              <a:gd name="connsiteY3650" fmla="*/ 527633 h 1737071"/>
              <a:gd name="connsiteX3651" fmla="*/ 1238799 w 3956050"/>
              <a:gd name="connsiteY3651" fmla="*/ 531624 h 1737071"/>
              <a:gd name="connsiteX3652" fmla="*/ 1240794 w 3956050"/>
              <a:gd name="connsiteY3652" fmla="*/ 531624 h 1737071"/>
              <a:gd name="connsiteX3653" fmla="*/ 1250769 w 3956050"/>
              <a:gd name="connsiteY3653" fmla="*/ 533620 h 1737071"/>
              <a:gd name="connsiteX3654" fmla="*/ 1254760 w 3956050"/>
              <a:gd name="connsiteY3654" fmla="*/ 533620 h 1737071"/>
              <a:gd name="connsiteX3655" fmla="*/ 1258750 w 3956050"/>
              <a:gd name="connsiteY3655" fmla="*/ 533620 h 1737071"/>
              <a:gd name="connsiteX3656" fmla="*/ 1268725 w 3956050"/>
              <a:gd name="connsiteY3656" fmla="*/ 533620 h 1737071"/>
              <a:gd name="connsiteX3657" fmla="*/ 1276705 w 3956050"/>
              <a:gd name="connsiteY3657" fmla="*/ 535616 h 1737071"/>
              <a:gd name="connsiteX3658" fmla="*/ 1280695 w 3956050"/>
              <a:gd name="connsiteY3658" fmla="*/ 535616 h 1737071"/>
              <a:gd name="connsiteX3659" fmla="*/ 1288675 w 3956050"/>
              <a:gd name="connsiteY3659" fmla="*/ 537611 h 1737071"/>
              <a:gd name="connsiteX3660" fmla="*/ 1290670 w 3956050"/>
              <a:gd name="connsiteY3660" fmla="*/ 543599 h 1737071"/>
              <a:gd name="connsiteX3661" fmla="*/ 1300646 w 3956050"/>
              <a:gd name="connsiteY3661" fmla="*/ 545595 h 1737071"/>
              <a:gd name="connsiteX3662" fmla="*/ 1308626 w 3956050"/>
              <a:gd name="connsiteY3662" fmla="*/ 547590 h 1737071"/>
              <a:gd name="connsiteX3663" fmla="*/ 1306631 w 3956050"/>
              <a:gd name="connsiteY3663" fmla="*/ 541603 h 1737071"/>
              <a:gd name="connsiteX3664" fmla="*/ 1298651 w 3956050"/>
              <a:gd name="connsiteY3664" fmla="*/ 541603 h 1737071"/>
              <a:gd name="connsiteX3665" fmla="*/ 1296655 w 3956050"/>
              <a:gd name="connsiteY3665" fmla="*/ 533620 h 1737071"/>
              <a:gd name="connsiteX3666" fmla="*/ 1284685 w 3956050"/>
              <a:gd name="connsiteY3666" fmla="*/ 527633 h 1737071"/>
              <a:gd name="connsiteX3667" fmla="*/ 1272715 w 3956050"/>
              <a:gd name="connsiteY3667" fmla="*/ 527633 h 1737071"/>
              <a:gd name="connsiteX3668" fmla="*/ 1266730 w 3956050"/>
              <a:gd name="connsiteY3668" fmla="*/ 523641 h 1737071"/>
              <a:gd name="connsiteX3669" fmla="*/ 1258750 w 3956050"/>
              <a:gd name="connsiteY3669" fmla="*/ 521645 h 1737071"/>
              <a:gd name="connsiteX3670" fmla="*/ 1248774 w 3956050"/>
              <a:gd name="connsiteY3670" fmla="*/ 517654 h 1737071"/>
              <a:gd name="connsiteX3671" fmla="*/ 1236804 w 3956050"/>
              <a:gd name="connsiteY3671" fmla="*/ 501688 h 1737071"/>
              <a:gd name="connsiteX3672" fmla="*/ 1240794 w 3956050"/>
              <a:gd name="connsiteY3672" fmla="*/ 497696 h 1737071"/>
              <a:gd name="connsiteX3673" fmla="*/ 1242789 w 3956050"/>
              <a:gd name="connsiteY3673" fmla="*/ 497696 h 1737071"/>
              <a:gd name="connsiteX3674" fmla="*/ 1246779 w 3956050"/>
              <a:gd name="connsiteY3674" fmla="*/ 493704 h 1737071"/>
              <a:gd name="connsiteX3675" fmla="*/ 1252764 w 3956050"/>
              <a:gd name="connsiteY3675" fmla="*/ 489713 h 1737071"/>
              <a:gd name="connsiteX3676" fmla="*/ 1256755 w 3956050"/>
              <a:gd name="connsiteY3676" fmla="*/ 489713 h 1737071"/>
              <a:gd name="connsiteX3677" fmla="*/ 1260745 w 3956050"/>
              <a:gd name="connsiteY3677" fmla="*/ 493704 h 1737071"/>
              <a:gd name="connsiteX3678" fmla="*/ 1266730 w 3956050"/>
              <a:gd name="connsiteY3678" fmla="*/ 499692 h 1737071"/>
              <a:gd name="connsiteX3679" fmla="*/ 1284685 w 3956050"/>
              <a:gd name="connsiteY3679" fmla="*/ 507675 h 1737071"/>
              <a:gd name="connsiteX3680" fmla="*/ 1286680 w 3956050"/>
              <a:gd name="connsiteY3680" fmla="*/ 493704 h 1737071"/>
              <a:gd name="connsiteX3681" fmla="*/ 1274710 w 3956050"/>
              <a:gd name="connsiteY3681" fmla="*/ 491709 h 1737071"/>
              <a:gd name="connsiteX3682" fmla="*/ 1268725 w 3956050"/>
              <a:gd name="connsiteY3682" fmla="*/ 489713 h 1737071"/>
              <a:gd name="connsiteX3683" fmla="*/ 1272715 w 3956050"/>
              <a:gd name="connsiteY3683" fmla="*/ 485721 h 1737071"/>
              <a:gd name="connsiteX3684" fmla="*/ 1280695 w 3956050"/>
              <a:gd name="connsiteY3684" fmla="*/ 479734 h 1737071"/>
              <a:gd name="connsiteX3685" fmla="*/ 1288675 w 3956050"/>
              <a:gd name="connsiteY3685" fmla="*/ 475742 h 1737071"/>
              <a:gd name="connsiteX3686" fmla="*/ 1294660 w 3956050"/>
              <a:gd name="connsiteY3686" fmla="*/ 473747 h 1737071"/>
              <a:gd name="connsiteX3687" fmla="*/ 1314611 w 3956050"/>
              <a:gd name="connsiteY3687" fmla="*/ 479734 h 1737071"/>
              <a:gd name="connsiteX3688" fmla="*/ 1328576 w 3956050"/>
              <a:gd name="connsiteY3688" fmla="*/ 485721 h 1737071"/>
              <a:gd name="connsiteX3689" fmla="*/ 1336556 w 3956050"/>
              <a:gd name="connsiteY3689" fmla="*/ 487717 h 1737071"/>
              <a:gd name="connsiteX3690" fmla="*/ 1346532 w 3956050"/>
              <a:gd name="connsiteY3690" fmla="*/ 497696 h 1737071"/>
              <a:gd name="connsiteX3691" fmla="*/ 1352517 w 3956050"/>
              <a:gd name="connsiteY3691" fmla="*/ 503683 h 1737071"/>
              <a:gd name="connsiteX3692" fmla="*/ 1362492 w 3956050"/>
              <a:gd name="connsiteY3692" fmla="*/ 509671 h 1737071"/>
              <a:gd name="connsiteX3693" fmla="*/ 1370472 w 3956050"/>
              <a:gd name="connsiteY3693" fmla="*/ 511666 h 1737071"/>
              <a:gd name="connsiteX3694" fmla="*/ 1380447 w 3956050"/>
              <a:gd name="connsiteY3694" fmla="*/ 511666 h 1737071"/>
              <a:gd name="connsiteX3695" fmla="*/ 1392418 w 3956050"/>
              <a:gd name="connsiteY3695" fmla="*/ 511666 h 1737071"/>
              <a:gd name="connsiteX3696" fmla="*/ 1398403 w 3956050"/>
              <a:gd name="connsiteY3696" fmla="*/ 515658 h 1737071"/>
              <a:gd name="connsiteX3697" fmla="*/ 1394413 w 3956050"/>
              <a:gd name="connsiteY3697" fmla="*/ 523641 h 1737071"/>
              <a:gd name="connsiteX3698" fmla="*/ 1386432 w 3956050"/>
              <a:gd name="connsiteY3698" fmla="*/ 527633 h 1737071"/>
              <a:gd name="connsiteX3699" fmla="*/ 1386432 w 3956050"/>
              <a:gd name="connsiteY3699" fmla="*/ 537611 h 1737071"/>
              <a:gd name="connsiteX3700" fmla="*/ 1390423 w 3956050"/>
              <a:gd name="connsiteY3700" fmla="*/ 545595 h 1737071"/>
              <a:gd name="connsiteX3701" fmla="*/ 1390423 w 3956050"/>
              <a:gd name="connsiteY3701" fmla="*/ 553578 h 1737071"/>
              <a:gd name="connsiteX3702" fmla="*/ 1390423 w 3956050"/>
              <a:gd name="connsiteY3702" fmla="*/ 563556 h 1737071"/>
              <a:gd name="connsiteX3703" fmla="*/ 1394413 w 3956050"/>
              <a:gd name="connsiteY3703" fmla="*/ 561561 h 1737071"/>
              <a:gd name="connsiteX3704" fmla="*/ 1400398 w 3956050"/>
              <a:gd name="connsiteY3704" fmla="*/ 549586 h 1737071"/>
              <a:gd name="connsiteX3705" fmla="*/ 1404388 w 3956050"/>
              <a:gd name="connsiteY3705" fmla="*/ 545595 h 1737071"/>
              <a:gd name="connsiteX3706" fmla="*/ 1408378 w 3956050"/>
              <a:gd name="connsiteY3706" fmla="*/ 555573 h 1737071"/>
              <a:gd name="connsiteX3707" fmla="*/ 1406383 w 3956050"/>
              <a:gd name="connsiteY3707" fmla="*/ 561561 h 1737071"/>
              <a:gd name="connsiteX3708" fmla="*/ 1406383 w 3956050"/>
              <a:gd name="connsiteY3708" fmla="*/ 571540 h 1737071"/>
              <a:gd name="connsiteX3709" fmla="*/ 1404388 w 3956050"/>
              <a:gd name="connsiteY3709" fmla="*/ 577527 h 1737071"/>
              <a:gd name="connsiteX3710" fmla="*/ 1410373 w 3956050"/>
              <a:gd name="connsiteY3710" fmla="*/ 579523 h 1737071"/>
              <a:gd name="connsiteX3711" fmla="*/ 1412368 w 3956050"/>
              <a:gd name="connsiteY3711" fmla="*/ 581518 h 1737071"/>
              <a:gd name="connsiteX3712" fmla="*/ 1420348 w 3956050"/>
              <a:gd name="connsiteY3712" fmla="*/ 589502 h 1737071"/>
              <a:gd name="connsiteX3713" fmla="*/ 1426333 w 3956050"/>
              <a:gd name="connsiteY3713" fmla="*/ 599480 h 1737071"/>
              <a:gd name="connsiteX3714" fmla="*/ 1430323 w 3956050"/>
              <a:gd name="connsiteY3714" fmla="*/ 605468 h 1737071"/>
              <a:gd name="connsiteX3715" fmla="*/ 1442294 w 3956050"/>
              <a:gd name="connsiteY3715" fmla="*/ 607463 h 1737071"/>
              <a:gd name="connsiteX3716" fmla="*/ 1448279 w 3956050"/>
              <a:gd name="connsiteY3716" fmla="*/ 613451 h 1737071"/>
              <a:gd name="connsiteX3717" fmla="*/ 1456259 w 3956050"/>
              <a:gd name="connsiteY3717" fmla="*/ 609459 h 1737071"/>
              <a:gd name="connsiteX3718" fmla="*/ 1450274 w 3956050"/>
              <a:gd name="connsiteY3718" fmla="*/ 605468 h 1737071"/>
              <a:gd name="connsiteX3719" fmla="*/ 1440299 w 3956050"/>
              <a:gd name="connsiteY3719" fmla="*/ 601476 h 1737071"/>
              <a:gd name="connsiteX3720" fmla="*/ 1432319 w 3956050"/>
              <a:gd name="connsiteY3720" fmla="*/ 595489 h 1737071"/>
              <a:gd name="connsiteX3721" fmla="*/ 1424338 w 3956050"/>
              <a:gd name="connsiteY3721" fmla="*/ 587506 h 1737071"/>
              <a:gd name="connsiteX3722" fmla="*/ 1418353 w 3956050"/>
              <a:gd name="connsiteY3722" fmla="*/ 581518 h 1737071"/>
              <a:gd name="connsiteX3723" fmla="*/ 1414363 w 3956050"/>
              <a:gd name="connsiteY3723" fmla="*/ 575531 h 1737071"/>
              <a:gd name="connsiteX3724" fmla="*/ 1424338 w 3956050"/>
              <a:gd name="connsiteY3724" fmla="*/ 573535 h 1737071"/>
              <a:gd name="connsiteX3725" fmla="*/ 1428328 w 3956050"/>
              <a:gd name="connsiteY3725" fmla="*/ 567548 h 1737071"/>
              <a:gd name="connsiteX3726" fmla="*/ 1424338 w 3956050"/>
              <a:gd name="connsiteY3726" fmla="*/ 557569 h 1737071"/>
              <a:gd name="connsiteX3727" fmla="*/ 1420348 w 3956050"/>
              <a:gd name="connsiteY3727" fmla="*/ 549586 h 1737071"/>
              <a:gd name="connsiteX3728" fmla="*/ 1412368 w 3956050"/>
              <a:gd name="connsiteY3728" fmla="*/ 543599 h 1737071"/>
              <a:gd name="connsiteX3729" fmla="*/ 1406383 w 3956050"/>
              <a:gd name="connsiteY3729" fmla="*/ 533620 h 1737071"/>
              <a:gd name="connsiteX3730" fmla="*/ 1410373 w 3956050"/>
              <a:gd name="connsiteY3730" fmla="*/ 523641 h 1737071"/>
              <a:gd name="connsiteX3731" fmla="*/ 1408378 w 3956050"/>
              <a:gd name="connsiteY3731" fmla="*/ 515658 h 1737071"/>
              <a:gd name="connsiteX3732" fmla="*/ 1396408 w 3956050"/>
              <a:gd name="connsiteY3732" fmla="*/ 503683 h 1737071"/>
              <a:gd name="connsiteX3733" fmla="*/ 1380447 w 3956050"/>
              <a:gd name="connsiteY3733" fmla="*/ 501688 h 1737071"/>
              <a:gd name="connsiteX3734" fmla="*/ 1374462 w 3956050"/>
              <a:gd name="connsiteY3734" fmla="*/ 489713 h 1737071"/>
              <a:gd name="connsiteX3735" fmla="*/ 1368477 w 3956050"/>
              <a:gd name="connsiteY3735" fmla="*/ 485721 h 1737071"/>
              <a:gd name="connsiteX3736" fmla="*/ 1358502 w 3956050"/>
              <a:gd name="connsiteY3736" fmla="*/ 485721 h 1737071"/>
              <a:gd name="connsiteX3737" fmla="*/ 1344537 w 3956050"/>
              <a:gd name="connsiteY3737" fmla="*/ 483726 h 1737071"/>
              <a:gd name="connsiteX3738" fmla="*/ 1342541 w 3956050"/>
              <a:gd name="connsiteY3738" fmla="*/ 479734 h 1737071"/>
              <a:gd name="connsiteX3739" fmla="*/ 1340546 w 3956050"/>
              <a:gd name="connsiteY3739" fmla="*/ 473747 h 1737071"/>
              <a:gd name="connsiteX3740" fmla="*/ 1334561 w 3956050"/>
              <a:gd name="connsiteY3740" fmla="*/ 465764 h 1737071"/>
              <a:gd name="connsiteX3741" fmla="*/ 1338551 w 3956050"/>
              <a:gd name="connsiteY3741" fmla="*/ 459776 h 1737071"/>
              <a:gd name="connsiteX3742" fmla="*/ 1336556 w 3956050"/>
              <a:gd name="connsiteY3742" fmla="*/ 449797 h 1737071"/>
              <a:gd name="connsiteX3743" fmla="*/ 1332566 w 3956050"/>
              <a:gd name="connsiteY3743" fmla="*/ 439819 h 1737071"/>
              <a:gd name="connsiteX3744" fmla="*/ 1330571 w 3956050"/>
              <a:gd name="connsiteY3744" fmla="*/ 435827 h 1737071"/>
              <a:gd name="connsiteX3745" fmla="*/ 1328576 w 3956050"/>
              <a:gd name="connsiteY3745" fmla="*/ 431835 h 1737071"/>
              <a:gd name="connsiteX3746" fmla="*/ 1326581 w 3956050"/>
              <a:gd name="connsiteY3746" fmla="*/ 423852 h 1737071"/>
              <a:gd name="connsiteX3747" fmla="*/ 1324586 w 3956050"/>
              <a:gd name="connsiteY3747" fmla="*/ 419861 h 1737071"/>
              <a:gd name="connsiteX3748" fmla="*/ 1328576 w 3956050"/>
              <a:gd name="connsiteY3748" fmla="*/ 417865 h 1737071"/>
              <a:gd name="connsiteX3749" fmla="*/ 1334561 w 3956050"/>
              <a:gd name="connsiteY3749" fmla="*/ 421857 h 1737071"/>
              <a:gd name="connsiteX3750" fmla="*/ 1338551 w 3956050"/>
              <a:gd name="connsiteY3750" fmla="*/ 415869 h 1737071"/>
              <a:gd name="connsiteX3751" fmla="*/ 1342541 w 3956050"/>
              <a:gd name="connsiteY3751" fmla="*/ 415869 h 1737071"/>
              <a:gd name="connsiteX3752" fmla="*/ 1348527 w 3956050"/>
              <a:gd name="connsiteY3752" fmla="*/ 413874 h 1737071"/>
              <a:gd name="connsiteX3753" fmla="*/ 1354512 w 3956050"/>
              <a:gd name="connsiteY3753" fmla="*/ 411878 h 1737071"/>
              <a:gd name="connsiteX3754" fmla="*/ 1364487 w 3956050"/>
              <a:gd name="connsiteY3754" fmla="*/ 411878 h 1737071"/>
              <a:gd name="connsiteX3755" fmla="*/ 1378452 w 3956050"/>
              <a:gd name="connsiteY3755" fmla="*/ 415869 h 1737071"/>
              <a:gd name="connsiteX3756" fmla="*/ 1390423 w 3956050"/>
              <a:gd name="connsiteY3756" fmla="*/ 413874 h 1737071"/>
              <a:gd name="connsiteX3757" fmla="*/ 1398403 w 3956050"/>
              <a:gd name="connsiteY3757" fmla="*/ 409882 h 1737071"/>
              <a:gd name="connsiteX3758" fmla="*/ 1408378 w 3956050"/>
              <a:gd name="connsiteY3758" fmla="*/ 405890 h 1737071"/>
              <a:gd name="connsiteX3759" fmla="*/ 1420348 w 3956050"/>
              <a:gd name="connsiteY3759" fmla="*/ 407886 h 1737071"/>
              <a:gd name="connsiteX3760" fmla="*/ 1428328 w 3956050"/>
              <a:gd name="connsiteY3760" fmla="*/ 413874 h 1737071"/>
              <a:gd name="connsiteX3761" fmla="*/ 1434314 w 3956050"/>
              <a:gd name="connsiteY3761" fmla="*/ 409882 h 1737071"/>
              <a:gd name="connsiteX3762" fmla="*/ 1438304 w 3956050"/>
              <a:gd name="connsiteY3762" fmla="*/ 407886 h 1737071"/>
              <a:gd name="connsiteX3763" fmla="*/ 1446284 w 3956050"/>
              <a:gd name="connsiteY3763" fmla="*/ 405890 h 1737071"/>
              <a:gd name="connsiteX3764" fmla="*/ 1452269 w 3956050"/>
              <a:gd name="connsiteY3764" fmla="*/ 405890 h 1737071"/>
              <a:gd name="connsiteX3765" fmla="*/ 1462244 w 3956050"/>
              <a:gd name="connsiteY3765" fmla="*/ 405890 h 1737071"/>
              <a:gd name="connsiteX3766" fmla="*/ 1462244 w 3956050"/>
              <a:gd name="connsiteY3766" fmla="*/ 409882 h 1737071"/>
              <a:gd name="connsiteX3767" fmla="*/ 1464239 w 3956050"/>
              <a:gd name="connsiteY3767" fmla="*/ 413874 h 1737071"/>
              <a:gd name="connsiteX3768" fmla="*/ 1468229 w 3956050"/>
              <a:gd name="connsiteY3768" fmla="*/ 409882 h 1737071"/>
              <a:gd name="connsiteX3769" fmla="*/ 1468229 w 3956050"/>
              <a:gd name="connsiteY3769" fmla="*/ 401899 h 1737071"/>
              <a:gd name="connsiteX3770" fmla="*/ 1462244 w 3956050"/>
              <a:gd name="connsiteY3770" fmla="*/ 397907 h 1737071"/>
              <a:gd name="connsiteX3771" fmla="*/ 1456259 w 3956050"/>
              <a:gd name="connsiteY3771" fmla="*/ 395912 h 1737071"/>
              <a:gd name="connsiteX3772" fmla="*/ 1454264 w 3956050"/>
              <a:gd name="connsiteY3772" fmla="*/ 391920 h 1737071"/>
              <a:gd name="connsiteX3773" fmla="*/ 1446284 w 3956050"/>
              <a:gd name="connsiteY3773" fmla="*/ 389924 h 1737071"/>
              <a:gd name="connsiteX3774" fmla="*/ 1440299 w 3956050"/>
              <a:gd name="connsiteY3774" fmla="*/ 387928 h 1737071"/>
              <a:gd name="connsiteX3775" fmla="*/ 1434314 w 3956050"/>
              <a:gd name="connsiteY3775" fmla="*/ 383937 h 1737071"/>
              <a:gd name="connsiteX3776" fmla="*/ 1436309 w 3956050"/>
              <a:gd name="connsiteY3776" fmla="*/ 381941 h 1737071"/>
              <a:gd name="connsiteX3777" fmla="*/ 1440299 w 3956050"/>
              <a:gd name="connsiteY3777" fmla="*/ 377950 h 1737071"/>
              <a:gd name="connsiteX3778" fmla="*/ 1444289 w 3956050"/>
              <a:gd name="connsiteY3778" fmla="*/ 375954 h 1737071"/>
              <a:gd name="connsiteX3779" fmla="*/ 1448279 w 3956050"/>
              <a:gd name="connsiteY3779" fmla="*/ 375954 h 1737071"/>
              <a:gd name="connsiteX3780" fmla="*/ 1452269 w 3956050"/>
              <a:gd name="connsiteY3780" fmla="*/ 379945 h 1737071"/>
              <a:gd name="connsiteX3781" fmla="*/ 1458254 w 3956050"/>
              <a:gd name="connsiteY3781" fmla="*/ 379945 h 1737071"/>
              <a:gd name="connsiteX3782" fmla="*/ 1454264 w 3956050"/>
              <a:gd name="connsiteY3782" fmla="*/ 375954 h 1737071"/>
              <a:gd name="connsiteX3783" fmla="*/ 1448279 w 3956050"/>
              <a:gd name="connsiteY3783" fmla="*/ 371962 h 1737071"/>
              <a:gd name="connsiteX3784" fmla="*/ 1444289 w 3956050"/>
              <a:gd name="connsiteY3784" fmla="*/ 369967 h 1737071"/>
              <a:gd name="connsiteX3785" fmla="*/ 1436309 w 3956050"/>
              <a:gd name="connsiteY3785" fmla="*/ 367971 h 1737071"/>
              <a:gd name="connsiteX3786" fmla="*/ 1432319 w 3956050"/>
              <a:gd name="connsiteY3786" fmla="*/ 365975 h 1737071"/>
              <a:gd name="connsiteX3787" fmla="*/ 1434314 w 3956050"/>
              <a:gd name="connsiteY3787" fmla="*/ 361983 h 1737071"/>
              <a:gd name="connsiteX3788" fmla="*/ 1432319 w 3956050"/>
              <a:gd name="connsiteY3788" fmla="*/ 355996 h 1737071"/>
              <a:gd name="connsiteX3789" fmla="*/ 1440299 w 3956050"/>
              <a:gd name="connsiteY3789" fmla="*/ 355996 h 1737071"/>
              <a:gd name="connsiteX3790" fmla="*/ 1444289 w 3956050"/>
              <a:gd name="connsiteY3790" fmla="*/ 352005 h 1737071"/>
              <a:gd name="connsiteX3791" fmla="*/ 1448279 w 3956050"/>
              <a:gd name="connsiteY3791" fmla="*/ 350009 h 1737071"/>
              <a:gd name="connsiteX3792" fmla="*/ 1450274 w 3956050"/>
              <a:gd name="connsiteY3792" fmla="*/ 354000 h 1737071"/>
              <a:gd name="connsiteX3793" fmla="*/ 1448279 w 3956050"/>
              <a:gd name="connsiteY3793" fmla="*/ 357992 h 1737071"/>
              <a:gd name="connsiteX3794" fmla="*/ 1446284 w 3956050"/>
              <a:gd name="connsiteY3794" fmla="*/ 363979 h 1737071"/>
              <a:gd name="connsiteX3795" fmla="*/ 1448279 w 3956050"/>
              <a:gd name="connsiteY3795" fmla="*/ 367971 h 1737071"/>
              <a:gd name="connsiteX3796" fmla="*/ 1452269 w 3956050"/>
              <a:gd name="connsiteY3796" fmla="*/ 361983 h 1737071"/>
              <a:gd name="connsiteX3797" fmla="*/ 1456259 w 3956050"/>
              <a:gd name="connsiteY3797" fmla="*/ 359988 h 1737071"/>
              <a:gd name="connsiteX3798" fmla="*/ 1458254 w 3956050"/>
              <a:gd name="connsiteY3798" fmla="*/ 355996 h 1737071"/>
              <a:gd name="connsiteX3799" fmla="*/ 1464239 w 3956050"/>
              <a:gd name="connsiteY3799" fmla="*/ 350009 h 1737071"/>
              <a:gd name="connsiteX3800" fmla="*/ 1466234 w 3956050"/>
              <a:gd name="connsiteY3800" fmla="*/ 346017 h 1737071"/>
              <a:gd name="connsiteX3801" fmla="*/ 1460249 w 3956050"/>
              <a:gd name="connsiteY3801" fmla="*/ 344021 h 1737071"/>
              <a:gd name="connsiteX3802" fmla="*/ 1452269 w 3956050"/>
              <a:gd name="connsiteY3802" fmla="*/ 344021 h 1737071"/>
              <a:gd name="connsiteX3803" fmla="*/ 1452269 w 3956050"/>
              <a:gd name="connsiteY3803" fmla="*/ 340030 h 1737071"/>
              <a:gd name="connsiteX3804" fmla="*/ 1470224 w 3956050"/>
              <a:gd name="connsiteY3804" fmla="*/ 342026 h 1737071"/>
              <a:gd name="connsiteX3805" fmla="*/ 1476209 w 3956050"/>
              <a:gd name="connsiteY3805" fmla="*/ 340030 h 1737071"/>
              <a:gd name="connsiteX3806" fmla="*/ 1478205 w 3956050"/>
              <a:gd name="connsiteY3806" fmla="*/ 336038 h 1737071"/>
              <a:gd name="connsiteX3807" fmla="*/ 1484190 w 3956050"/>
              <a:gd name="connsiteY3807" fmla="*/ 332047 h 1737071"/>
              <a:gd name="connsiteX3808" fmla="*/ 1486185 w 3956050"/>
              <a:gd name="connsiteY3808" fmla="*/ 330051 h 1737071"/>
              <a:gd name="connsiteX3809" fmla="*/ 1488180 w 3956050"/>
              <a:gd name="connsiteY3809" fmla="*/ 328055 h 1737071"/>
              <a:gd name="connsiteX3810" fmla="*/ 1492170 w 3956050"/>
              <a:gd name="connsiteY3810" fmla="*/ 324064 h 1737071"/>
              <a:gd name="connsiteX3811" fmla="*/ 1496160 w 3956050"/>
              <a:gd name="connsiteY3811" fmla="*/ 322068 h 1737071"/>
              <a:gd name="connsiteX3812" fmla="*/ 1500150 w 3956050"/>
              <a:gd name="connsiteY3812" fmla="*/ 320072 h 1737071"/>
              <a:gd name="connsiteX3813" fmla="*/ 1504140 w 3956050"/>
              <a:gd name="connsiteY3813" fmla="*/ 326060 h 1737071"/>
              <a:gd name="connsiteX3814" fmla="*/ 1510125 w 3956050"/>
              <a:gd name="connsiteY3814" fmla="*/ 326060 h 1737071"/>
              <a:gd name="connsiteX3815" fmla="*/ 1526086 w 3956050"/>
              <a:gd name="connsiteY3815" fmla="*/ 324064 h 1737071"/>
              <a:gd name="connsiteX3816" fmla="*/ 1532071 w 3956050"/>
              <a:gd name="connsiteY3816" fmla="*/ 322068 h 1737071"/>
              <a:gd name="connsiteX3817" fmla="*/ 1538056 w 3956050"/>
              <a:gd name="connsiteY3817" fmla="*/ 322068 h 1737071"/>
              <a:gd name="connsiteX3818" fmla="*/ 1544041 w 3956050"/>
              <a:gd name="connsiteY3818" fmla="*/ 320072 h 1737071"/>
              <a:gd name="connsiteX3819" fmla="*/ 1558006 w 3956050"/>
              <a:gd name="connsiteY3819" fmla="*/ 320072 h 1737071"/>
              <a:gd name="connsiteX3820" fmla="*/ 1567982 w 3956050"/>
              <a:gd name="connsiteY3820" fmla="*/ 318076 h 1737071"/>
              <a:gd name="connsiteX3821" fmla="*/ 1573967 w 3956050"/>
              <a:gd name="connsiteY3821" fmla="*/ 318076 h 1737071"/>
              <a:gd name="connsiteX3822" fmla="*/ 1579952 w 3956050"/>
              <a:gd name="connsiteY3822" fmla="*/ 316081 h 1737071"/>
              <a:gd name="connsiteX3823" fmla="*/ 1587932 w 3956050"/>
              <a:gd name="connsiteY3823" fmla="*/ 314085 h 1737071"/>
              <a:gd name="connsiteX3824" fmla="*/ 1593917 w 3956050"/>
              <a:gd name="connsiteY3824" fmla="*/ 314085 h 1737071"/>
              <a:gd name="connsiteX3825" fmla="*/ 1595912 w 3956050"/>
              <a:gd name="connsiteY3825" fmla="*/ 312089 h 1737071"/>
              <a:gd name="connsiteX3826" fmla="*/ 1599902 w 3956050"/>
              <a:gd name="connsiteY3826" fmla="*/ 308098 h 1737071"/>
              <a:gd name="connsiteX3827" fmla="*/ 1593917 w 3956050"/>
              <a:gd name="connsiteY3827" fmla="*/ 308098 h 1737071"/>
              <a:gd name="connsiteX3828" fmla="*/ 1583942 w 3956050"/>
              <a:gd name="connsiteY3828" fmla="*/ 308098 h 1737071"/>
              <a:gd name="connsiteX3829" fmla="*/ 1577957 w 3956050"/>
              <a:gd name="connsiteY3829" fmla="*/ 310093 h 1737071"/>
              <a:gd name="connsiteX3830" fmla="*/ 1575962 w 3956050"/>
              <a:gd name="connsiteY3830" fmla="*/ 308098 h 1737071"/>
              <a:gd name="connsiteX3831" fmla="*/ 1575962 w 3956050"/>
              <a:gd name="connsiteY3831" fmla="*/ 302110 h 1737071"/>
              <a:gd name="connsiteX3832" fmla="*/ 1577957 w 3956050"/>
              <a:gd name="connsiteY3832" fmla="*/ 300114 h 1737071"/>
              <a:gd name="connsiteX3833" fmla="*/ 1579952 w 3956050"/>
              <a:gd name="connsiteY3833" fmla="*/ 296123 h 1737071"/>
              <a:gd name="connsiteX3834" fmla="*/ 1583942 w 3956050"/>
              <a:gd name="connsiteY3834" fmla="*/ 292131 h 1737071"/>
              <a:gd name="connsiteX3835" fmla="*/ 1587932 w 3956050"/>
              <a:gd name="connsiteY3835" fmla="*/ 300114 h 1737071"/>
              <a:gd name="connsiteX3836" fmla="*/ 1595912 w 3956050"/>
              <a:gd name="connsiteY3836" fmla="*/ 298119 h 1737071"/>
              <a:gd name="connsiteX3837" fmla="*/ 1599902 w 3956050"/>
              <a:gd name="connsiteY3837" fmla="*/ 296123 h 1737071"/>
              <a:gd name="connsiteX3838" fmla="*/ 1613868 w 3956050"/>
              <a:gd name="connsiteY3838" fmla="*/ 300114 h 1737071"/>
              <a:gd name="connsiteX3839" fmla="*/ 1615863 w 3956050"/>
              <a:gd name="connsiteY3839" fmla="*/ 298119 h 1737071"/>
              <a:gd name="connsiteX3840" fmla="*/ 1615863 w 3956050"/>
              <a:gd name="connsiteY3840" fmla="*/ 292131 h 1737071"/>
              <a:gd name="connsiteX3841" fmla="*/ 1625838 w 3956050"/>
              <a:gd name="connsiteY3841" fmla="*/ 296123 h 1737071"/>
              <a:gd name="connsiteX3842" fmla="*/ 1631823 w 3956050"/>
              <a:gd name="connsiteY3842" fmla="*/ 294127 h 1737071"/>
              <a:gd name="connsiteX3843" fmla="*/ 1639803 w 3956050"/>
              <a:gd name="connsiteY3843" fmla="*/ 294127 h 1737071"/>
              <a:gd name="connsiteX3844" fmla="*/ 1639803 w 3956050"/>
              <a:gd name="connsiteY3844" fmla="*/ 292131 h 1737071"/>
              <a:gd name="connsiteX3845" fmla="*/ 1633818 w 3956050"/>
              <a:gd name="connsiteY3845" fmla="*/ 288140 h 1737071"/>
              <a:gd name="connsiteX3846" fmla="*/ 1635813 w 3956050"/>
              <a:gd name="connsiteY3846" fmla="*/ 284148 h 1737071"/>
              <a:gd name="connsiteX3847" fmla="*/ 1639803 w 3956050"/>
              <a:gd name="connsiteY3847" fmla="*/ 282153 h 1737071"/>
              <a:gd name="connsiteX3848" fmla="*/ 1645788 w 3956050"/>
              <a:gd name="connsiteY3848" fmla="*/ 284148 h 1737071"/>
              <a:gd name="connsiteX3849" fmla="*/ 1651773 w 3956050"/>
              <a:gd name="connsiteY3849" fmla="*/ 284148 h 1737071"/>
              <a:gd name="connsiteX3850" fmla="*/ 1653768 w 3956050"/>
              <a:gd name="connsiteY3850" fmla="*/ 282153 h 1737071"/>
              <a:gd name="connsiteX3851" fmla="*/ 1655764 w 3956050"/>
              <a:gd name="connsiteY3851" fmla="*/ 288140 h 1737071"/>
              <a:gd name="connsiteX3852" fmla="*/ 1653768 w 3956050"/>
              <a:gd name="connsiteY3852" fmla="*/ 292131 h 1737071"/>
              <a:gd name="connsiteX3853" fmla="*/ 1647783 w 3956050"/>
              <a:gd name="connsiteY3853" fmla="*/ 292131 h 1737071"/>
              <a:gd name="connsiteX3854" fmla="*/ 1647783 w 3956050"/>
              <a:gd name="connsiteY3854" fmla="*/ 300114 h 1737071"/>
              <a:gd name="connsiteX3855" fmla="*/ 1643793 w 3956050"/>
              <a:gd name="connsiteY3855" fmla="*/ 310093 h 1737071"/>
              <a:gd name="connsiteX3856" fmla="*/ 1651773 w 3956050"/>
              <a:gd name="connsiteY3856" fmla="*/ 308098 h 1737071"/>
              <a:gd name="connsiteX3857" fmla="*/ 1655764 w 3956050"/>
              <a:gd name="connsiteY3857" fmla="*/ 304106 h 1737071"/>
              <a:gd name="connsiteX3858" fmla="*/ 1655764 w 3956050"/>
              <a:gd name="connsiteY3858" fmla="*/ 312089 h 1737071"/>
              <a:gd name="connsiteX3859" fmla="*/ 1661749 w 3956050"/>
              <a:gd name="connsiteY3859" fmla="*/ 310093 h 1737071"/>
              <a:gd name="connsiteX3860" fmla="*/ 1665739 w 3956050"/>
              <a:gd name="connsiteY3860" fmla="*/ 308098 h 1737071"/>
              <a:gd name="connsiteX3861" fmla="*/ 1669729 w 3956050"/>
              <a:gd name="connsiteY3861" fmla="*/ 308098 h 1737071"/>
              <a:gd name="connsiteX3862" fmla="*/ 1671724 w 3956050"/>
              <a:gd name="connsiteY3862" fmla="*/ 304106 h 1737071"/>
              <a:gd name="connsiteX3863" fmla="*/ 1677709 w 3956050"/>
              <a:gd name="connsiteY3863" fmla="*/ 306102 h 1737071"/>
              <a:gd name="connsiteX3864" fmla="*/ 1683694 w 3956050"/>
              <a:gd name="connsiteY3864" fmla="*/ 304106 h 1737071"/>
              <a:gd name="connsiteX3865" fmla="*/ 1685689 w 3956050"/>
              <a:gd name="connsiteY3865" fmla="*/ 302110 h 1737071"/>
              <a:gd name="connsiteX3866" fmla="*/ 1689679 w 3956050"/>
              <a:gd name="connsiteY3866" fmla="*/ 298119 h 1737071"/>
              <a:gd name="connsiteX3867" fmla="*/ 1695664 w 3956050"/>
              <a:gd name="connsiteY3867" fmla="*/ 296123 h 1737071"/>
              <a:gd name="connsiteX3868" fmla="*/ 1703645 w 3956050"/>
              <a:gd name="connsiteY3868" fmla="*/ 292131 h 1737071"/>
              <a:gd name="connsiteX3869" fmla="*/ 1709630 w 3956050"/>
              <a:gd name="connsiteY3869" fmla="*/ 296123 h 1737071"/>
              <a:gd name="connsiteX3870" fmla="*/ 1715615 w 3956050"/>
              <a:gd name="connsiteY3870" fmla="*/ 296123 h 1737071"/>
              <a:gd name="connsiteX3871" fmla="*/ 1721600 w 3956050"/>
              <a:gd name="connsiteY3871" fmla="*/ 300114 h 1737071"/>
              <a:gd name="connsiteX3872" fmla="*/ 1727585 w 3956050"/>
              <a:gd name="connsiteY3872" fmla="*/ 300114 h 1737071"/>
              <a:gd name="connsiteX3873" fmla="*/ 1731575 w 3956050"/>
              <a:gd name="connsiteY3873" fmla="*/ 300114 h 1737071"/>
              <a:gd name="connsiteX3874" fmla="*/ 1731575 w 3956050"/>
              <a:gd name="connsiteY3874" fmla="*/ 314085 h 1737071"/>
              <a:gd name="connsiteX3875" fmla="*/ 1735565 w 3956050"/>
              <a:gd name="connsiteY3875" fmla="*/ 312089 h 1737071"/>
              <a:gd name="connsiteX3876" fmla="*/ 1735565 w 3956050"/>
              <a:gd name="connsiteY3876" fmla="*/ 306102 h 1737071"/>
              <a:gd name="connsiteX3877" fmla="*/ 1733570 w 3956050"/>
              <a:gd name="connsiteY3877" fmla="*/ 300114 h 1737071"/>
              <a:gd name="connsiteX3878" fmla="*/ 1729580 w 3956050"/>
              <a:gd name="connsiteY3878" fmla="*/ 296123 h 1737071"/>
              <a:gd name="connsiteX3879" fmla="*/ 1725590 w 3956050"/>
              <a:gd name="connsiteY3879" fmla="*/ 296123 h 1737071"/>
              <a:gd name="connsiteX3880" fmla="*/ 1717610 w 3956050"/>
              <a:gd name="connsiteY3880" fmla="*/ 292131 h 1737071"/>
              <a:gd name="connsiteX3881" fmla="*/ 1707635 w 3956050"/>
              <a:gd name="connsiteY3881" fmla="*/ 288140 h 1737071"/>
              <a:gd name="connsiteX3882" fmla="*/ 1701650 w 3956050"/>
              <a:gd name="connsiteY3882" fmla="*/ 280157 h 1737071"/>
              <a:gd name="connsiteX3883" fmla="*/ 1711625 w 3956050"/>
              <a:gd name="connsiteY3883" fmla="*/ 280157 h 1737071"/>
              <a:gd name="connsiteX3884" fmla="*/ 1717610 w 3956050"/>
              <a:gd name="connsiteY3884" fmla="*/ 282153 h 1737071"/>
              <a:gd name="connsiteX3885" fmla="*/ 1725590 w 3956050"/>
              <a:gd name="connsiteY3885" fmla="*/ 280157 h 1737071"/>
              <a:gd name="connsiteX3886" fmla="*/ 1737560 w 3956050"/>
              <a:gd name="connsiteY3886" fmla="*/ 284148 h 1737071"/>
              <a:gd name="connsiteX3887" fmla="*/ 1743545 w 3956050"/>
              <a:gd name="connsiteY3887" fmla="*/ 282153 h 1737071"/>
              <a:gd name="connsiteX3888" fmla="*/ 1749531 w 3956050"/>
              <a:gd name="connsiteY3888" fmla="*/ 278161 h 1737071"/>
              <a:gd name="connsiteX3889" fmla="*/ 1757511 w 3956050"/>
              <a:gd name="connsiteY3889" fmla="*/ 286144 h 1737071"/>
              <a:gd name="connsiteX3890" fmla="*/ 1765491 w 3956050"/>
              <a:gd name="connsiteY3890" fmla="*/ 286144 h 1737071"/>
              <a:gd name="connsiteX3891" fmla="*/ 1773471 w 3956050"/>
              <a:gd name="connsiteY3891" fmla="*/ 290136 h 1737071"/>
              <a:gd name="connsiteX3892" fmla="*/ 1785441 w 3956050"/>
              <a:gd name="connsiteY3892" fmla="*/ 292131 h 1737071"/>
              <a:gd name="connsiteX3893" fmla="*/ 1779456 w 3956050"/>
              <a:gd name="connsiteY3893" fmla="*/ 288140 h 1737071"/>
              <a:gd name="connsiteX3894" fmla="*/ 1773471 w 3956050"/>
              <a:gd name="connsiteY3894" fmla="*/ 284148 h 1737071"/>
              <a:gd name="connsiteX3895" fmla="*/ 1765491 w 3956050"/>
              <a:gd name="connsiteY3895" fmla="*/ 280157 h 1737071"/>
              <a:gd name="connsiteX3896" fmla="*/ 1757511 w 3956050"/>
              <a:gd name="connsiteY3896" fmla="*/ 280157 h 1737071"/>
              <a:gd name="connsiteX3897" fmla="*/ 1757511 w 3956050"/>
              <a:gd name="connsiteY3897" fmla="*/ 274169 h 1737071"/>
              <a:gd name="connsiteX3898" fmla="*/ 1759506 w 3956050"/>
              <a:gd name="connsiteY3898" fmla="*/ 268182 h 1737071"/>
              <a:gd name="connsiteX3899" fmla="*/ 1755516 w 3956050"/>
              <a:gd name="connsiteY3899" fmla="*/ 264191 h 1737071"/>
              <a:gd name="connsiteX3900" fmla="*/ 1749531 w 3956050"/>
              <a:gd name="connsiteY3900" fmla="*/ 260199 h 1737071"/>
              <a:gd name="connsiteX3901" fmla="*/ 1753521 w 3956050"/>
              <a:gd name="connsiteY3901" fmla="*/ 258203 h 1737071"/>
              <a:gd name="connsiteX3902" fmla="*/ 1757511 w 3956050"/>
              <a:gd name="connsiteY3902" fmla="*/ 246229 h 1737071"/>
              <a:gd name="connsiteX3903" fmla="*/ 1765491 w 3956050"/>
              <a:gd name="connsiteY3903" fmla="*/ 242237 h 1737071"/>
              <a:gd name="connsiteX3904" fmla="*/ 1771476 w 3956050"/>
              <a:gd name="connsiteY3904" fmla="*/ 234254 h 1737071"/>
              <a:gd name="connsiteX3905" fmla="*/ 1779456 w 3956050"/>
              <a:gd name="connsiteY3905" fmla="*/ 226271 h 1737071"/>
              <a:gd name="connsiteX3906" fmla="*/ 1785441 w 3956050"/>
              <a:gd name="connsiteY3906" fmla="*/ 220284 h 1737071"/>
              <a:gd name="connsiteX3907" fmla="*/ 1793422 w 3956050"/>
              <a:gd name="connsiteY3907" fmla="*/ 220284 h 1737071"/>
              <a:gd name="connsiteX3908" fmla="*/ 1801402 w 3956050"/>
              <a:gd name="connsiteY3908" fmla="*/ 212300 h 1737071"/>
              <a:gd name="connsiteX3909" fmla="*/ 1806140 w 3956050"/>
              <a:gd name="connsiteY3909" fmla="*/ 210804 h 1737071"/>
              <a:gd name="connsiteX3910" fmla="*/ 1568847 w 3956050"/>
              <a:gd name="connsiteY3910" fmla="*/ 194815 h 1737071"/>
              <a:gd name="connsiteX3911" fmla="*/ 1570831 w 3956050"/>
              <a:gd name="connsiteY3911" fmla="*/ 197196 h 1737071"/>
              <a:gd name="connsiteX3912" fmla="*/ 1568847 w 3956050"/>
              <a:gd name="connsiteY3912" fmla="*/ 194815 h 1737071"/>
              <a:gd name="connsiteX3913" fmla="*/ 1871826 w 3956050"/>
              <a:gd name="connsiteY3913" fmla="*/ 188635 h 1737071"/>
              <a:gd name="connsiteX3914" fmla="*/ 1875678 w 3956050"/>
              <a:gd name="connsiteY3914" fmla="*/ 190166 h 1737071"/>
              <a:gd name="connsiteX3915" fmla="*/ 1881841 w 3956050"/>
              <a:gd name="connsiteY3915" fmla="*/ 192207 h 1737071"/>
              <a:gd name="connsiteX3916" fmla="*/ 1879787 w 3956050"/>
              <a:gd name="connsiteY3916" fmla="*/ 198330 h 1737071"/>
              <a:gd name="connsiteX3917" fmla="*/ 1875678 w 3956050"/>
              <a:gd name="connsiteY3917" fmla="*/ 198330 h 1737071"/>
              <a:gd name="connsiteX3918" fmla="*/ 1871569 w 3956050"/>
              <a:gd name="connsiteY3918" fmla="*/ 198330 h 1737071"/>
              <a:gd name="connsiteX3919" fmla="*/ 1863352 w 3956050"/>
              <a:gd name="connsiteY3919" fmla="*/ 198330 h 1737071"/>
              <a:gd name="connsiteX3920" fmla="*/ 1859243 w 3956050"/>
              <a:gd name="connsiteY3920" fmla="*/ 198330 h 1737071"/>
              <a:gd name="connsiteX3921" fmla="*/ 1857188 w 3956050"/>
              <a:gd name="connsiteY3921" fmla="*/ 198330 h 1737071"/>
              <a:gd name="connsiteX3922" fmla="*/ 1851025 w 3956050"/>
              <a:gd name="connsiteY3922" fmla="*/ 194248 h 1737071"/>
              <a:gd name="connsiteX3923" fmla="*/ 1855134 w 3956050"/>
              <a:gd name="connsiteY3923" fmla="*/ 194248 h 1737071"/>
              <a:gd name="connsiteX3924" fmla="*/ 1861297 w 3956050"/>
              <a:gd name="connsiteY3924" fmla="*/ 192207 h 1737071"/>
              <a:gd name="connsiteX3925" fmla="*/ 1865406 w 3956050"/>
              <a:gd name="connsiteY3925" fmla="*/ 192207 h 1737071"/>
              <a:gd name="connsiteX3926" fmla="*/ 1869515 w 3956050"/>
              <a:gd name="connsiteY3926" fmla="*/ 190166 h 1737071"/>
              <a:gd name="connsiteX3927" fmla="*/ 1871826 w 3956050"/>
              <a:gd name="connsiteY3927" fmla="*/ 188635 h 1737071"/>
              <a:gd name="connsiteX3928" fmla="*/ 1851706 w 3956050"/>
              <a:gd name="connsiteY3928" fmla="*/ 178147 h 1737071"/>
              <a:gd name="connsiteX3929" fmla="*/ 1853747 w 3956050"/>
              <a:gd name="connsiteY3929" fmla="*/ 182229 h 1737071"/>
              <a:gd name="connsiteX3930" fmla="*/ 1853747 w 3956050"/>
              <a:gd name="connsiteY3930" fmla="*/ 186311 h 1737071"/>
              <a:gd name="connsiteX3931" fmla="*/ 1851706 w 3956050"/>
              <a:gd name="connsiteY3931" fmla="*/ 188352 h 1737071"/>
              <a:gd name="connsiteX3932" fmla="*/ 1849665 w 3956050"/>
              <a:gd name="connsiteY3932" fmla="*/ 192434 h 1737071"/>
              <a:gd name="connsiteX3933" fmla="*/ 1843541 w 3956050"/>
              <a:gd name="connsiteY3933" fmla="*/ 188352 h 1737071"/>
              <a:gd name="connsiteX3934" fmla="*/ 1845583 w 3956050"/>
              <a:gd name="connsiteY3934" fmla="*/ 182229 h 1737071"/>
              <a:gd name="connsiteX3935" fmla="*/ 1849665 w 3956050"/>
              <a:gd name="connsiteY3935" fmla="*/ 182229 h 1737071"/>
              <a:gd name="connsiteX3936" fmla="*/ 1851706 w 3956050"/>
              <a:gd name="connsiteY3936" fmla="*/ 178147 h 1737071"/>
              <a:gd name="connsiteX3937" fmla="*/ 1811413 w 3956050"/>
              <a:gd name="connsiteY3937" fmla="*/ 161102 h 1737071"/>
              <a:gd name="connsiteX3938" fmla="*/ 1819275 w 3956050"/>
              <a:gd name="connsiteY3938" fmla="*/ 179150 h 1737071"/>
              <a:gd name="connsiteX3939" fmla="*/ 1807482 w 3956050"/>
              <a:gd name="connsiteY3939" fmla="*/ 187171 h 1737071"/>
              <a:gd name="connsiteX3940" fmla="*/ 1803551 w 3956050"/>
              <a:gd name="connsiteY3940" fmla="*/ 189176 h 1737071"/>
              <a:gd name="connsiteX3941" fmla="*/ 1799620 w 3956050"/>
              <a:gd name="connsiteY3941" fmla="*/ 191181 h 1737071"/>
              <a:gd name="connsiteX3942" fmla="*/ 1787828 w 3956050"/>
              <a:gd name="connsiteY3942" fmla="*/ 191181 h 1737071"/>
              <a:gd name="connsiteX3943" fmla="*/ 1779966 w 3956050"/>
              <a:gd name="connsiteY3943" fmla="*/ 193186 h 1737071"/>
              <a:gd name="connsiteX3944" fmla="*/ 1774069 w 3956050"/>
              <a:gd name="connsiteY3944" fmla="*/ 195192 h 1737071"/>
              <a:gd name="connsiteX3945" fmla="*/ 1770138 w 3956050"/>
              <a:gd name="connsiteY3945" fmla="*/ 195192 h 1737071"/>
              <a:gd name="connsiteX3946" fmla="*/ 1764242 w 3956050"/>
              <a:gd name="connsiteY3946" fmla="*/ 195192 h 1737071"/>
              <a:gd name="connsiteX3947" fmla="*/ 1758345 w 3956050"/>
              <a:gd name="connsiteY3947" fmla="*/ 195192 h 1737071"/>
              <a:gd name="connsiteX3948" fmla="*/ 1746553 w 3956050"/>
              <a:gd name="connsiteY3948" fmla="*/ 195192 h 1737071"/>
              <a:gd name="connsiteX3949" fmla="*/ 1738691 w 3956050"/>
              <a:gd name="connsiteY3949" fmla="*/ 193186 h 1737071"/>
              <a:gd name="connsiteX3950" fmla="*/ 1748518 w 3956050"/>
              <a:gd name="connsiteY3950" fmla="*/ 185165 h 1737071"/>
              <a:gd name="connsiteX3951" fmla="*/ 1750484 w 3956050"/>
              <a:gd name="connsiteY3951" fmla="*/ 177144 h 1737071"/>
              <a:gd name="connsiteX3952" fmla="*/ 1760311 w 3956050"/>
              <a:gd name="connsiteY3952" fmla="*/ 171129 h 1737071"/>
              <a:gd name="connsiteX3953" fmla="*/ 1766207 w 3956050"/>
              <a:gd name="connsiteY3953" fmla="*/ 175139 h 1737071"/>
              <a:gd name="connsiteX3954" fmla="*/ 1772104 w 3956050"/>
              <a:gd name="connsiteY3954" fmla="*/ 171129 h 1737071"/>
              <a:gd name="connsiteX3955" fmla="*/ 1783897 w 3956050"/>
              <a:gd name="connsiteY3955" fmla="*/ 167118 h 1737071"/>
              <a:gd name="connsiteX3956" fmla="*/ 1789793 w 3956050"/>
              <a:gd name="connsiteY3956" fmla="*/ 167118 h 1737071"/>
              <a:gd name="connsiteX3957" fmla="*/ 1795690 w 3956050"/>
              <a:gd name="connsiteY3957" fmla="*/ 165113 h 1737071"/>
              <a:gd name="connsiteX3958" fmla="*/ 1799620 w 3956050"/>
              <a:gd name="connsiteY3958" fmla="*/ 171129 h 1737071"/>
              <a:gd name="connsiteX3959" fmla="*/ 1805517 w 3956050"/>
              <a:gd name="connsiteY3959" fmla="*/ 175139 h 1737071"/>
              <a:gd name="connsiteX3960" fmla="*/ 1807482 w 3956050"/>
              <a:gd name="connsiteY3960" fmla="*/ 169123 h 1737071"/>
              <a:gd name="connsiteX3961" fmla="*/ 1811413 w 3956050"/>
              <a:gd name="connsiteY3961" fmla="*/ 161102 h 1737071"/>
              <a:gd name="connsiteX3962" fmla="*/ 1745821 w 3956050"/>
              <a:gd name="connsiteY3962" fmla="*/ 124328 h 1737071"/>
              <a:gd name="connsiteX3963" fmla="*/ 1751595 w 3956050"/>
              <a:gd name="connsiteY3963" fmla="*/ 124578 h 1737071"/>
              <a:gd name="connsiteX3964" fmla="*/ 1755613 w 3956050"/>
              <a:gd name="connsiteY3964" fmla="*/ 126571 h 1737071"/>
              <a:gd name="connsiteX3965" fmla="*/ 1759630 w 3956050"/>
              <a:gd name="connsiteY3965" fmla="*/ 130558 h 1737071"/>
              <a:gd name="connsiteX3966" fmla="*/ 1759630 w 3956050"/>
              <a:gd name="connsiteY3966" fmla="*/ 144514 h 1737071"/>
              <a:gd name="connsiteX3967" fmla="*/ 1761639 w 3956050"/>
              <a:gd name="connsiteY3967" fmla="*/ 148501 h 1737071"/>
              <a:gd name="connsiteX3968" fmla="*/ 1765656 w 3956050"/>
              <a:gd name="connsiteY3968" fmla="*/ 144514 h 1737071"/>
              <a:gd name="connsiteX3969" fmla="*/ 1767665 w 3956050"/>
              <a:gd name="connsiteY3969" fmla="*/ 136539 h 1737071"/>
              <a:gd name="connsiteX3970" fmla="*/ 1773691 w 3956050"/>
              <a:gd name="connsiteY3970" fmla="*/ 142520 h 1737071"/>
              <a:gd name="connsiteX3971" fmla="*/ 1775699 w 3956050"/>
              <a:gd name="connsiteY3971" fmla="*/ 142520 h 1737071"/>
              <a:gd name="connsiteX3972" fmla="*/ 1779717 w 3956050"/>
              <a:gd name="connsiteY3972" fmla="*/ 140526 h 1737071"/>
              <a:gd name="connsiteX3973" fmla="*/ 1785743 w 3956050"/>
              <a:gd name="connsiteY3973" fmla="*/ 146507 h 1737071"/>
              <a:gd name="connsiteX3974" fmla="*/ 1789760 w 3956050"/>
              <a:gd name="connsiteY3974" fmla="*/ 150494 h 1737071"/>
              <a:gd name="connsiteX3975" fmla="*/ 1797795 w 3956050"/>
              <a:gd name="connsiteY3975" fmla="*/ 150494 h 1737071"/>
              <a:gd name="connsiteX3976" fmla="*/ 1799804 w 3956050"/>
              <a:gd name="connsiteY3976" fmla="*/ 156475 h 1737071"/>
              <a:gd name="connsiteX3977" fmla="*/ 1789760 w 3956050"/>
              <a:gd name="connsiteY3977" fmla="*/ 160462 h 1737071"/>
              <a:gd name="connsiteX3978" fmla="*/ 1783734 w 3956050"/>
              <a:gd name="connsiteY3978" fmla="*/ 154482 h 1737071"/>
              <a:gd name="connsiteX3979" fmla="*/ 1773691 w 3956050"/>
              <a:gd name="connsiteY3979" fmla="*/ 150494 h 1737071"/>
              <a:gd name="connsiteX3980" fmla="*/ 1759630 w 3956050"/>
              <a:gd name="connsiteY3980" fmla="*/ 158469 h 1737071"/>
              <a:gd name="connsiteX3981" fmla="*/ 1741552 w 3956050"/>
              <a:gd name="connsiteY3981" fmla="*/ 154482 h 1737071"/>
              <a:gd name="connsiteX3982" fmla="*/ 1729500 w 3956050"/>
              <a:gd name="connsiteY3982" fmla="*/ 156475 h 1737071"/>
              <a:gd name="connsiteX3983" fmla="*/ 1737535 w 3956050"/>
              <a:gd name="connsiteY3983" fmla="*/ 164450 h 1737071"/>
              <a:gd name="connsiteX3984" fmla="*/ 1741552 w 3956050"/>
              <a:gd name="connsiteY3984" fmla="*/ 168437 h 1737071"/>
              <a:gd name="connsiteX3985" fmla="*/ 1739543 w 3956050"/>
              <a:gd name="connsiteY3985" fmla="*/ 176411 h 1737071"/>
              <a:gd name="connsiteX3986" fmla="*/ 1727491 w 3956050"/>
              <a:gd name="connsiteY3986" fmla="*/ 178405 h 1737071"/>
              <a:gd name="connsiteX3987" fmla="*/ 1719457 w 3956050"/>
              <a:gd name="connsiteY3987" fmla="*/ 180398 h 1737071"/>
              <a:gd name="connsiteX3988" fmla="*/ 1725483 w 3956050"/>
              <a:gd name="connsiteY3988" fmla="*/ 184386 h 1737071"/>
              <a:gd name="connsiteX3989" fmla="*/ 1731509 w 3956050"/>
              <a:gd name="connsiteY3989" fmla="*/ 190366 h 1737071"/>
              <a:gd name="connsiteX3990" fmla="*/ 1731509 w 3956050"/>
              <a:gd name="connsiteY3990" fmla="*/ 194354 h 1737071"/>
              <a:gd name="connsiteX3991" fmla="*/ 1731509 w 3956050"/>
              <a:gd name="connsiteY3991" fmla="*/ 198341 h 1737071"/>
              <a:gd name="connsiteX3992" fmla="*/ 1721465 w 3956050"/>
              <a:gd name="connsiteY3992" fmla="*/ 202328 h 1737071"/>
              <a:gd name="connsiteX3993" fmla="*/ 1715439 w 3956050"/>
              <a:gd name="connsiteY3993" fmla="*/ 204322 h 1737071"/>
              <a:gd name="connsiteX3994" fmla="*/ 1707405 w 3956050"/>
              <a:gd name="connsiteY3994" fmla="*/ 208309 h 1737071"/>
              <a:gd name="connsiteX3995" fmla="*/ 1703387 w 3956050"/>
              <a:gd name="connsiteY3995" fmla="*/ 198341 h 1737071"/>
              <a:gd name="connsiteX3996" fmla="*/ 1705396 w 3956050"/>
              <a:gd name="connsiteY3996" fmla="*/ 192360 h 1737071"/>
              <a:gd name="connsiteX3997" fmla="*/ 1705396 w 3956050"/>
              <a:gd name="connsiteY3997" fmla="*/ 184386 h 1737071"/>
              <a:gd name="connsiteX3998" fmla="*/ 1707405 w 3956050"/>
              <a:gd name="connsiteY3998" fmla="*/ 168437 h 1737071"/>
              <a:gd name="connsiteX3999" fmla="*/ 1719457 w 3956050"/>
              <a:gd name="connsiteY3999" fmla="*/ 164450 h 1737071"/>
              <a:gd name="connsiteX4000" fmla="*/ 1715439 w 3956050"/>
              <a:gd name="connsiteY4000" fmla="*/ 156475 h 1737071"/>
              <a:gd name="connsiteX4001" fmla="*/ 1719457 w 3956050"/>
              <a:gd name="connsiteY4001" fmla="*/ 148501 h 1737071"/>
              <a:gd name="connsiteX4002" fmla="*/ 1727491 w 3956050"/>
              <a:gd name="connsiteY4002" fmla="*/ 142520 h 1737071"/>
              <a:gd name="connsiteX4003" fmla="*/ 1727491 w 3956050"/>
              <a:gd name="connsiteY4003" fmla="*/ 138533 h 1737071"/>
              <a:gd name="connsiteX4004" fmla="*/ 1731509 w 3956050"/>
              <a:gd name="connsiteY4004" fmla="*/ 130558 h 1737071"/>
              <a:gd name="connsiteX4005" fmla="*/ 1735526 w 3956050"/>
              <a:gd name="connsiteY4005" fmla="*/ 134546 h 1737071"/>
              <a:gd name="connsiteX4006" fmla="*/ 1739543 w 3956050"/>
              <a:gd name="connsiteY4006" fmla="*/ 144514 h 1737071"/>
              <a:gd name="connsiteX4007" fmla="*/ 1741552 w 3956050"/>
              <a:gd name="connsiteY4007" fmla="*/ 136539 h 1737071"/>
              <a:gd name="connsiteX4008" fmla="*/ 1741552 w 3956050"/>
              <a:gd name="connsiteY4008" fmla="*/ 128565 h 1737071"/>
              <a:gd name="connsiteX4009" fmla="*/ 1745821 w 3956050"/>
              <a:gd name="connsiteY4009" fmla="*/ 124328 h 1737071"/>
              <a:gd name="connsiteX4010" fmla="*/ 1180782 w 3956050"/>
              <a:gd name="connsiteY4010" fmla="*/ 115610 h 1737071"/>
              <a:gd name="connsiteX4011" fmla="*/ 1181734 w 3956050"/>
              <a:gd name="connsiteY4011" fmla="*/ 117141 h 1737071"/>
              <a:gd name="connsiteX4012" fmla="*/ 1183639 w 3956050"/>
              <a:gd name="connsiteY4012" fmla="*/ 119182 h 1737071"/>
              <a:gd name="connsiteX4013" fmla="*/ 1187449 w 3956050"/>
              <a:gd name="connsiteY4013" fmla="*/ 121223 h 1737071"/>
              <a:gd name="connsiteX4014" fmla="*/ 1191259 w 3956050"/>
              <a:gd name="connsiteY4014" fmla="*/ 121223 h 1737071"/>
              <a:gd name="connsiteX4015" fmla="*/ 1195069 w 3956050"/>
              <a:gd name="connsiteY4015" fmla="*/ 123264 h 1737071"/>
              <a:gd name="connsiteX4016" fmla="*/ 1195069 w 3956050"/>
              <a:gd name="connsiteY4016" fmla="*/ 125305 h 1737071"/>
              <a:gd name="connsiteX4017" fmla="*/ 1187449 w 3956050"/>
              <a:gd name="connsiteY4017" fmla="*/ 127346 h 1737071"/>
              <a:gd name="connsiteX4018" fmla="*/ 1183639 w 3956050"/>
              <a:gd name="connsiteY4018" fmla="*/ 123264 h 1737071"/>
              <a:gd name="connsiteX4019" fmla="*/ 1179829 w 3956050"/>
              <a:gd name="connsiteY4019" fmla="*/ 117141 h 1737071"/>
              <a:gd name="connsiteX4020" fmla="*/ 1180782 w 3956050"/>
              <a:gd name="connsiteY4020" fmla="*/ 115610 h 1737071"/>
              <a:gd name="connsiteX4021" fmla="*/ 581025 w 3956050"/>
              <a:gd name="connsiteY4021" fmla="*/ 98772 h 1737071"/>
              <a:gd name="connsiteX4022" fmla="*/ 582613 w 3956050"/>
              <a:gd name="connsiteY4022" fmla="*/ 100889 h 1737071"/>
              <a:gd name="connsiteX4023" fmla="*/ 579438 w 3956050"/>
              <a:gd name="connsiteY4023" fmla="*/ 103005 h 1737071"/>
              <a:gd name="connsiteX4024" fmla="*/ 581025 w 3956050"/>
              <a:gd name="connsiteY4024" fmla="*/ 98772 h 1737071"/>
              <a:gd name="connsiteX4025" fmla="*/ 796131 w 3956050"/>
              <a:gd name="connsiteY4025" fmla="*/ 90834 h 1737071"/>
              <a:gd name="connsiteX4026" fmla="*/ 799835 w 3956050"/>
              <a:gd name="connsiteY4026" fmla="*/ 92818 h 1737071"/>
              <a:gd name="connsiteX4027" fmla="*/ 801687 w 3956050"/>
              <a:gd name="connsiteY4027" fmla="*/ 102740 h 1737071"/>
              <a:gd name="connsiteX4028" fmla="*/ 796131 w 3956050"/>
              <a:gd name="connsiteY4028" fmla="*/ 102740 h 1737071"/>
              <a:gd name="connsiteX4029" fmla="*/ 792426 w 3956050"/>
              <a:gd name="connsiteY4029" fmla="*/ 96787 h 1737071"/>
              <a:gd name="connsiteX4030" fmla="*/ 796131 w 3956050"/>
              <a:gd name="connsiteY4030" fmla="*/ 90834 h 1737071"/>
              <a:gd name="connsiteX4031" fmla="*/ 617084 w 3956050"/>
              <a:gd name="connsiteY4031" fmla="*/ 90834 h 1737071"/>
              <a:gd name="connsiteX4032" fmla="*/ 624796 w 3956050"/>
              <a:gd name="connsiteY4032" fmla="*/ 98771 h 1737071"/>
              <a:gd name="connsiteX4033" fmla="*/ 626724 w 3956050"/>
              <a:gd name="connsiteY4033" fmla="*/ 102740 h 1737071"/>
              <a:gd name="connsiteX4034" fmla="*/ 622868 w 3956050"/>
              <a:gd name="connsiteY4034" fmla="*/ 106709 h 1737071"/>
              <a:gd name="connsiteX4035" fmla="*/ 613229 w 3956050"/>
              <a:gd name="connsiteY4035" fmla="*/ 104725 h 1737071"/>
              <a:gd name="connsiteX4036" fmla="*/ 605518 w 3956050"/>
              <a:gd name="connsiteY4036" fmla="*/ 104725 h 1737071"/>
              <a:gd name="connsiteX4037" fmla="*/ 601663 w 3956050"/>
              <a:gd name="connsiteY4037" fmla="*/ 100756 h 1737071"/>
              <a:gd name="connsiteX4038" fmla="*/ 605518 w 3956050"/>
              <a:gd name="connsiteY4038" fmla="*/ 100756 h 1737071"/>
              <a:gd name="connsiteX4039" fmla="*/ 609374 w 3956050"/>
              <a:gd name="connsiteY4039" fmla="*/ 98771 h 1737071"/>
              <a:gd name="connsiteX4040" fmla="*/ 613229 w 3956050"/>
              <a:gd name="connsiteY4040" fmla="*/ 94803 h 1737071"/>
              <a:gd name="connsiteX4041" fmla="*/ 617084 w 3956050"/>
              <a:gd name="connsiteY4041" fmla="*/ 90834 h 1737071"/>
              <a:gd name="connsiteX4042" fmla="*/ 584729 w 3956050"/>
              <a:gd name="connsiteY4042" fmla="*/ 90834 h 1737071"/>
              <a:gd name="connsiteX4043" fmla="*/ 586846 w 3956050"/>
              <a:gd name="connsiteY4043" fmla="*/ 94803 h 1737071"/>
              <a:gd name="connsiteX4044" fmla="*/ 586846 w 3956050"/>
              <a:gd name="connsiteY4044" fmla="*/ 96787 h 1737071"/>
              <a:gd name="connsiteX4045" fmla="*/ 582613 w 3956050"/>
              <a:gd name="connsiteY4045" fmla="*/ 94803 h 1737071"/>
              <a:gd name="connsiteX4046" fmla="*/ 584729 w 3956050"/>
              <a:gd name="connsiteY4046" fmla="*/ 90834 h 1737071"/>
              <a:gd name="connsiteX4047" fmla="*/ 1624660 w 3956050"/>
              <a:gd name="connsiteY4047" fmla="*/ 84484 h 1737071"/>
              <a:gd name="connsiteX4048" fmla="*/ 1628658 w 3956050"/>
              <a:gd name="connsiteY4048" fmla="*/ 86478 h 1737071"/>
              <a:gd name="connsiteX4049" fmla="*/ 1634655 w 3956050"/>
              <a:gd name="connsiteY4049" fmla="*/ 90465 h 1737071"/>
              <a:gd name="connsiteX4050" fmla="*/ 1644650 w 3956050"/>
              <a:gd name="connsiteY4050" fmla="*/ 100433 h 1737071"/>
              <a:gd name="connsiteX4051" fmla="*/ 1642651 w 3956050"/>
              <a:gd name="connsiteY4051" fmla="*/ 110401 h 1737071"/>
              <a:gd name="connsiteX4052" fmla="*/ 1634655 w 3956050"/>
              <a:gd name="connsiteY4052" fmla="*/ 116382 h 1737071"/>
              <a:gd name="connsiteX4053" fmla="*/ 1632656 w 3956050"/>
              <a:gd name="connsiteY4053" fmla="*/ 118375 h 1737071"/>
              <a:gd name="connsiteX4054" fmla="*/ 1640652 w 3956050"/>
              <a:gd name="connsiteY4054" fmla="*/ 118375 h 1737071"/>
              <a:gd name="connsiteX4055" fmla="*/ 1646649 w 3956050"/>
              <a:gd name="connsiteY4055" fmla="*/ 114388 h 1737071"/>
              <a:gd name="connsiteX4056" fmla="*/ 1650647 w 3956050"/>
              <a:gd name="connsiteY4056" fmla="*/ 102426 h 1737071"/>
              <a:gd name="connsiteX4057" fmla="*/ 1650647 w 3956050"/>
              <a:gd name="connsiteY4057" fmla="*/ 94452 h 1737071"/>
              <a:gd name="connsiteX4058" fmla="*/ 1660643 w 3956050"/>
              <a:gd name="connsiteY4058" fmla="*/ 96446 h 1737071"/>
              <a:gd name="connsiteX4059" fmla="*/ 1666640 w 3956050"/>
              <a:gd name="connsiteY4059" fmla="*/ 100433 h 1737071"/>
              <a:gd name="connsiteX4060" fmla="*/ 1670638 w 3956050"/>
              <a:gd name="connsiteY4060" fmla="*/ 100433 h 1737071"/>
              <a:gd name="connsiteX4061" fmla="*/ 1676635 w 3956050"/>
              <a:gd name="connsiteY4061" fmla="*/ 98439 h 1737071"/>
              <a:gd name="connsiteX4062" fmla="*/ 1680634 w 3956050"/>
              <a:gd name="connsiteY4062" fmla="*/ 100433 h 1737071"/>
              <a:gd name="connsiteX4063" fmla="*/ 1686631 w 3956050"/>
              <a:gd name="connsiteY4063" fmla="*/ 106414 h 1737071"/>
              <a:gd name="connsiteX4064" fmla="*/ 1686631 w 3956050"/>
              <a:gd name="connsiteY4064" fmla="*/ 112394 h 1737071"/>
              <a:gd name="connsiteX4065" fmla="*/ 1690629 w 3956050"/>
              <a:gd name="connsiteY4065" fmla="*/ 118375 h 1737071"/>
              <a:gd name="connsiteX4066" fmla="*/ 1692628 w 3956050"/>
              <a:gd name="connsiteY4066" fmla="*/ 126350 h 1737071"/>
              <a:gd name="connsiteX4067" fmla="*/ 1690629 w 3956050"/>
              <a:gd name="connsiteY4067" fmla="*/ 136318 h 1737071"/>
              <a:gd name="connsiteX4068" fmla="*/ 1690629 w 3956050"/>
              <a:gd name="connsiteY4068" fmla="*/ 144292 h 1737071"/>
              <a:gd name="connsiteX4069" fmla="*/ 1698625 w 3956050"/>
              <a:gd name="connsiteY4069" fmla="*/ 158247 h 1737071"/>
              <a:gd name="connsiteX4070" fmla="*/ 1694627 w 3956050"/>
              <a:gd name="connsiteY4070" fmla="*/ 164228 h 1737071"/>
              <a:gd name="connsiteX4071" fmla="*/ 1682633 w 3956050"/>
              <a:gd name="connsiteY4071" fmla="*/ 168215 h 1737071"/>
              <a:gd name="connsiteX4072" fmla="*/ 1670638 w 3956050"/>
              <a:gd name="connsiteY4072" fmla="*/ 168215 h 1737071"/>
              <a:gd name="connsiteX4073" fmla="*/ 1658644 w 3956050"/>
              <a:gd name="connsiteY4073" fmla="*/ 168215 h 1737071"/>
              <a:gd name="connsiteX4074" fmla="*/ 1646649 w 3956050"/>
              <a:gd name="connsiteY4074" fmla="*/ 166222 h 1737071"/>
              <a:gd name="connsiteX4075" fmla="*/ 1638653 w 3956050"/>
              <a:gd name="connsiteY4075" fmla="*/ 162235 h 1737071"/>
              <a:gd name="connsiteX4076" fmla="*/ 1628658 w 3956050"/>
              <a:gd name="connsiteY4076" fmla="*/ 158247 h 1737071"/>
              <a:gd name="connsiteX4077" fmla="*/ 1622660 w 3956050"/>
              <a:gd name="connsiteY4077" fmla="*/ 154260 h 1737071"/>
              <a:gd name="connsiteX4078" fmla="*/ 1612665 w 3956050"/>
              <a:gd name="connsiteY4078" fmla="*/ 152266 h 1737071"/>
              <a:gd name="connsiteX4079" fmla="*/ 1606668 w 3956050"/>
              <a:gd name="connsiteY4079" fmla="*/ 148279 h 1737071"/>
              <a:gd name="connsiteX4080" fmla="*/ 1598672 w 3956050"/>
              <a:gd name="connsiteY4080" fmla="*/ 146286 h 1737071"/>
              <a:gd name="connsiteX4081" fmla="*/ 1582679 w 3956050"/>
              <a:gd name="connsiteY4081" fmla="*/ 148279 h 1737071"/>
              <a:gd name="connsiteX4082" fmla="*/ 1566686 w 3956050"/>
              <a:gd name="connsiteY4082" fmla="*/ 134324 h 1737071"/>
              <a:gd name="connsiteX4083" fmla="*/ 1566686 w 3956050"/>
              <a:gd name="connsiteY4083" fmla="*/ 126350 h 1737071"/>
              <a:gd name="connsiteX4084" fmla="*/ 1564687 w 3956050"/>
              <a:gd name="connsiteY4084" fmla="*/ 126350 h 1737071"/>
              <a:gd name="connsiteX4085" fmla="*/ 1552693 w 3956050"/>
              <a:gd name="connsiteY4085" fmla="*/ 126350 h 1737071"/>
              <a:gd name="connsiteX4086" fmla="*/ 1540698 w 3956050"/>
              <a:gd name="connsiteY4086" fmla="*/ 126350 h 1737071"/>
              <a:gd name="connsiteX4087" fmla="*/ 1532702 w 3956050"/>
              <a:gd name="connsiteY4087" fmla="*/ 122362 h 1737071"/>
              <a:gd name="connsiteX4088" fmla="*/ 1524706 w 3956050"/>
              <a:gd name="connsiteY4088" fmla="*/ 118375 h 1737071"/>
              <a:gd name="connsiteX4089" fmla="*/ 1514710 w 3956050"/>
              <a:gd name="connsiteY4089" fmla="*/ 120369 h 1737071"/>
              <a:gd name="connsiteX4090" fmla="*/ 1516710 w 3956050"/>
              <a:gd name="connsiteY4090" fmla="*/ 118375 h 1737071"/>
              <a:gd name="connsiteX4091" fmla="*/ 1512711 w 3956050"/>
              <a:gd name="connsiteY4091" fmla="*/ 116382 h 1737071"/>
              <a:gd name="connsiteX4092" fmla="*/ 1510712 w 3956050"/>
              <a:gd name="connsiteY4092" fmla="*/ 114388 h 1737071"/>
              <a:gd name="connsiteX4093" fmla="*/ 1514710 w 3956050"/>
              <a:gd name="connsiteY4093" fmla="*/ 108407 h 1737071"/>
              <a:gd name="connsiteX4094" fmla="*/ 1506714 w 3956050"/>
              <a:gd name="connsiteY4094" fmla="*/ 106414 h 1737071"/>
              <a:gd name="connsiteX4095" fmla="*/ 1498718 w 3956050"/>
              <a:gd name="connsiteY4095" fmla="*/ 108407 h 1737071"/>
              <a:gd name="connsiteX4096" fmla="*/ 1494720 w 3956050"/>
              <a:gd name="connsiteY4096" fmla="*/ 104420 h 1737071"/>
              <a:gd name="connsiteX4097" fmla="*/ 1490722 w 3956050"/>
              <a:gd name="connsiteY4097" fmla="*/ 102426 h 1737071"/>
              <a:gd name="connsiteX4098" fmla="*/ 1486723 w 3956050"/>
              <a:gd name="connsiteY4098" fmla="*/ 100433 h 1737071"/>
              <a:gd name="connsiteX4099" fmla="*/ 1486723 w 3956050"/>
              <a:gd name="connsiteY4099" fmla="*/ 98439 h 1737071"/>
              <a:gd name="connsiteX4100" fmla="*/ 1484724 w 3956050"/>
              <a:gd name="connsiteY4100" fmla="*/ 92458 h 1737071"/>
              <a:gd name="connsiteX4101" fmla="*/ 1492721 w 3956050"/>
              <a:gd name="connsiteY4101" fmla="*/ 94452 h 1737071"/>
              <a:gd name="connsiteX4102" fmla="*/ 1498718 w 3956050"/>
              <a:gd name="connsiteY4102" fmla="*/ 92458 h 1737071"/>
              <a:gd name="connsiteX4103" fmla="*/ 1506714 w 3956050"/>
              <a:gd name="connsiteY4103" fmla="*/ 94452 h 1737071"/>
              <a:gd name="connsiteX4104" fmla="*/ 1514710 w 3956050"/>
              <a:gd name="connsiteY4104" fmla="*/ 96446 h 1737071"/>
              <a:gd name="connsiteX4105" fmla="*/ 1520708 w 3956050"/>
              <a:gd name="connsiteY4105" fmla="*/ 98439 h 1737071"/>
              <a:gd name="connsiteX4106" fmla="*/ 1520708 w 3956050"/>
              <a:gd name="connsiteY4106" fmla="*/ 100433 h 1737071"/>
              <a:gd name="connsiteX4107" fmla="*/ 1542697 w 3956050"/>
              <a:gd name="connsiteY4107" fmla="*/ 100433 h 1737071"/>
              <a:gd name="connsiteX4108" fmla="*/ 1546696 w 3956050"/>
              <a:gd name="connsiteY4108" fmla="*/ 110401 h 1737071"/>
              <a:gd name="connsiteX4109" fmla="*/ 1538699 w 3956050"/>
              <a:gd name="connsiteY4109" fmla="*/ 114388 h 1737071"/>
              <a:gd name="connsiteX4110" fmla="*/ 1534701 w 3956050"/>
              <a:gd name="connsiteY4110" fmla="*/ 116382 h 1737071"/>
              <a:gd name="connsiteX4111" fmla="*/ 1544697 w 3956050"/>
              <a:gd name="connsiteY4111" fmla="*/ 118375 h 1737071"/>
              <a:gd name="connsiteX4112" fmla="*/ 1554692 w 3956050"/>
              <a:gd name="connsiteY4112" fmla="*/ 114388 h 1737071"/>
              <a:gd name="connsiteX4113" fmla="*/ 1564687 w 3956050"/>
              <a:gd name="connsiteY4113" fmla="*/ 112394 h 1737071"/>
              <a:gd name="connsiteX4114" fmla="*/ 1568685 w 3956050"/>
              <a:gd name="connsiteY4114" fmla="*/ 110401 h 1737071"/>
              <a:gd name="connsiteX4115" fmla="*/ 1568685 w 3956050"/>
              <a:gd name="connsiteY4115" fmla="*/ 100433 h 1737071"/>
              <a:gd name="connsiteX4116" fmla="*/ 1576682 w 3956050"/>
              <a:gd name="connsiteY4116" fmla="*/ 94452 h 1737071"/>
              <a:gd name="connsiteX4117" fmla="*/ 1580680 w 3956050"/>
              <a:gd name="connsiteY4117" fmla="*/ 94452 h 1737071"/>
              <a:gd name="connsiteX4118" fmla="*/ 1586677 w 3956050"/>
              <a:gd name="connsiteY4118" fmla="*/ 94452 h 1737071"/>
              <a:gd name="connsiteX4119" fmla="*/ 1594673 w 3956050"/>
              <a:gd name="connsiteY4119" fmla="*/ 92458 h 1737071"/>
              <a:gd name="connsiteX4120" fmla="*/ 1606668 w 3956050"/>
              <a:gd name="connsiteY4120" fmla="*/ 90465 h 1737071"/>
              <a:gd name="connsiteX4121" fmla="*/ 1614664 w 3956050"/>
              <a:gd name="connsiteY4121" fmla="*/ 86478 h 1737071"/>
              <a:gd name="connsiteX4122" fmla="*/ 1624660 w 3956050"/>
              <a:gd name="connsiteY4122" fmla="*/ 84484 h 1737071"/>
              <a:gd name="connsiteX4123" fmla="*/ 685272 w 3956050"/>
              <a:gd name="connsiteY4123" fmla="*/ 82897 h 1737071"/>
              <a:gd name="connsiteX4124" fmla="*/ 687388 w 3956050"/>
              <a:gd name="connsiteY4124" fmla="*/ 85014 h 1737071"/>
              <a:gd name="connsiteX4125" fmla="*/ 685272 w 3956050"/>
              <a:gd name="connsiteY4125" fmla="*/ 89247 h 1737071"/>
              <a:gd name="connsiteX4126" fmla="*/ 683155 w 3956050"/>
              <a:gd name="connsiteY4126" fmla="*/ 85014 h 1737071"/>
              <a:gd name="connsiteX4127" fmla="*/ 685272 w 3956050"/>
              <a:gd name="connsiteY4127" fmla="*/ 82897 h 1737071"/>
              <a:gd name="connsiteX4128" fmla="*/ 706438 w 3956050"/>
              <a:gd name="connsiteY4128" fmla="*/ 81309 h 1737071"/>
              <a:gd name="connsiteX4129" fmla="*/ 706438 w 3956050"/>
              <a:gd name="connsiteY4129" fmla="*/ 89247 h 1737071"/>
              <a:gd name="connsiteX4130" fmla="*/ 702205 w 3956050"/>
              <a:gd name="connsiteY4130" fmla="*/ 83293 h 1737071"/>
              <a:gd name="connsiteX4131" fmla="*/ 706438 w 3956050"/>
              <a:gd name="connsiteY4131" fmla="*/ 81309 h 1737071"/>
              <a:gd name="connsiteX4132" fmla="*/ 591079 w 3956050"/>
              <a:gd name="connsiteY4132" fmla="*/ 81309 h 1737071"/>
              <a:gd name="connsiteX4133" fmla="*/ 599546 w 3956050"/>
              <a:gd name="connsiteY4133" fmla="*/ 81309 h 1737071"/>
              <a:gd name="connsiteX4134" fmla="*/ 599546 w 3956050"/>
              <a:gd name="connsiteY4134" fmla="*/ 87432 h 1737071"/>
              <a:gd name="connsiteX4135" fmla="*/ 595313 w 3956050"/>
              <a:gd name="connsiteY4135" fmla="*/ 93556 h 1737071"/>
              <a:gd name="connsiteX4136" fmla="*/ 591079 w 3956050"/>
              <a:gd name="connsiteY4136" fmla="*/ 95597 h 1737071"/>
              <a:gd name="connsiteX4137" fmla="*/ 584729 w 3956050"/>
              <a:gd name="connsiteY4137" fmla="*/ 89474 h 1737071"/>
              <a:gd name="connsiteX4138" fmla="*/ 588963 w 3956050"/>
              <a:gd name="connsiteY4138" fmla="*/ 85391 h 1737071"/>
              <a:gd name="connsiteX4139" fmla="*/ 591079 w 3956050"/>
              <a:gd name="connsiteY4139" fmla="*/ 85391 h 1737071"/>
              <a:gd name="connsiteX4140" fmla="*/ 591079 w 3956050"/>
              <a:gd name="connsiteY4140" fmla="*/ 81309 h 1737071"/>
              <a:gd name="connsiteX4141" fmla="*/ 690563 w 3956050"/>
              <a:gd name="connsiteY4141" fmla="*/ 77076 h 1737071"/>
              <a:gd name="connsiteX4142" fmla="*/ 692945 w 3956050"/>
              <a:gd name="connsiteY4142" fmla="*/ 77076 h 1737071"/>
              <a:gd name="connsiteX4143" fmla="*/ 695326 w 3956050"/>
              <a:gd name="connsiteY4143" fmla="*/ 77076 h 1737071"/>
              <a:gd name="connsiteX4144" fmla="*/ 692945 w 3956050"/>
              <a:gd name="connsiteY4144" fmla="*/ 81309 h 1737071"/>
              <a:gd name="connsiteX4145" fmla="*/ 690563 w 3956050"/>
              <a:gd name="connsiteY4145" fmla="*/ 77076 h 1737071"/>
              <a:gd name="connsiteX4146" fmla="*/ 656666 w 3956050"/>
              <a:gd name="connsiteY4146" fmla="*/ 76547 h 1737071"/>
              <a:gd name="connsiteX4147" fmla="*/ 662549 w 3956050"/>
              <a:gd name="connsiteY4147" fmla="*/ 80780 h 1737071"/>
              <a:gd name="connsiteX4148" fmla="*/ 664510 w 3956050"/>
              <a:gd name="connsiteY4148" fmla="*/ 82897 h 1737071"/>
              <a:gd name="connsiteX4149" fmla="*/ 672354 w 3956050"/>
              <a:gd name="connsiteY4149" fmla="*/ 82897 h 1737071"/>
              <a:gd name="connsiteX4150" fmla="*/ 674315 w 3956050"/>
              <a:gd name="connsiteY4150" fmla="*/ 85014 h 1737071"/>
              <a:gd name="connsiteX4151" fmla="*/ 672354 w 3956050"/>
              <a:gd name="connsiteY4151" fmla="*/ 89247 h 1737071"/>
              <a:gd name="connsiteX4152" fmla="*/ 670393 w 3956050"/>
              <a:gd name="connsiteY4152" fmla="*/ 93480 h 1737071"/>
              <a:gd name="connsiteX4153" fmla="*/ 666471 w 3956050"/>
              <a:gd name="connsiteY4153" fmla="*/ 95597 h 1737071"/>
              <a:gd name="connsiteX4154" fmla="*/ 658627 w 3956050"/>
              <a:gd name="connsiteY4154" fmla="*/ 93480 h 1737071"/>
              <a:gd name="connsiteX4155" fmla="*/ 648821 w 3956050"/>
              <a:gd name="connsiteY4155" fmla="*/ 93480 h 1737071"/>
              <a:gd name="connsiteX4156" fmla="*/ 642938 w 3956050"/>
              <a:gd name="connsiteY4156" fmla="*/ 89247 h 1737071"/>
              <a:gd name="connsiteX4157" fmla="*/ 650782 w 3956050"/>
              <a:gd name="connsiteY4157" fmla="*/ 87130 h 1737071"/>
              <a:gd name="connsiteX4158" fmla="*/ 654705 w 3956050"/>
              <a:gd name="connsiteY4158" fmla="*/ 89247 h 1737071"/>
              <a:gd name="connsiteX4159" fmla="*/ 654705 w 3956050"/>
              <a:gd name="connsiteY4159" fmla="*/ 85014 h 1737071"/>
              <a:gd name="connsiteX4160" fmla="*/ 650782 w 3956050"/>
              <a:gd name="connsiteY4160" fmla="*/ 80780 h 1737071"/>
              <a:gd name="connsiteX4161" fmla="*/ 656666 w 3956050"/>
              <a:gd name="connsiteY4161" fmla="*/ 76547 h 1737071"/>
              <a:gd name="connsiteX4162" fmla="*/ 768784 w 3956050"/>
              <a:gd name="connsiteY4162" fmla="*/ 73372 h 1737071"/>
              <a:gd name="connsiteX4163" fmla="*/ 778886 w 3956050"/>
              <a:gd name="connsiteY4163" fmla="*/ 73372 h 1737071"/>
              <a:gd name="connsiteX4164" fmla="*/ 788988 w 3956050"/>
              <a:gd name="connsiteY4164" fmla="*/ 77341 h 1737071"/>
              <a:gd name="connsiteX4165" fmla="*/ 784947 w 3956050"/>
              <a:gd name="connsiteY4165" fmla="*/ 83294 h 1737071"/>
              <a:gd name="connsiteX4166" fmla="*/ 774845 w 3956050"/>
              <a:gd name="connsiteY4166" fmla="*/ 81310 h 1737071"/>
              <a:gd name="connsiteX4167" fmla="*/ 778886 w 3956050"/>
              <a:gd name="connsiteY4167" fmla="*/ 89247 h 1737071"/>
              <a:gd name="connsiteX4168" fmla="*/ 770804 w 3956050"/>
              <a:gd name="connsiteY4168" fmla="*/ 89247 h 1737071"/>
              <a:gd name="connsiteX4169" fmla="*/ 768784 w 3956050"/>
              <a:gd name="connsiteY4169" fmla="*/ 93216 h 1737071"/>
              <a:gd name="connsiteX4170" fmla="*/ 758681 w 3956050"/>
              <a:gd name="connsiteY4170" fmla="*/ 95201 h 1737071"/>
              <a:gd name="connsiteX4171" fmla="*/ 748579 w 3956050"/>
              <a:gd name="connsiteY4171" fmla="*/ 87263 h 1737071"/>
              <a:gd name="connsiteX4172" fmla="*/ 746867 w 3956050"/>
              <a:gd name="connsiteY4172" fmla="*/ 83899 h 1737071"/>
              <a:gd name="connsiteX4173" fmla="*/ 746867 w 3956050"/>
              <a:gd name="connsiteY4173" fmla="*/ 91231 h 1737071"/>
              <a:gd name="connsiteX4174" fmla="*/ 746867 w 3956050"/>
              <a:gd name="connsiteY4174" fmla="*/ 97184 h 1737071"/>
              <a:gd name="connsiteX4175" fmla="*/ 736812 w 3956050"/>
              <a:gd name="connsiteY4175" fmla="*/ 97184 h 1737071"/>
              <a:gd name="connsiteX4176" fmla="*/ 730780 w 3956050"/>
              <a:gd name="connsiteY4176" fmla="*/ 97184 h 1737071"/>
              <a:gd name="connsiteX4177" fmla="*/ 720725 w 3956050"/>
              <a:gd name="connsiteY4177" fmla="*/ 93215 h 1737071"/>
              <a:gd name="connsiteX4178" fmla="*/ 722736 w 3956050"/>
              <a:gd name="connsiteY4178" fmla="*/ 89246 h 1737071"/>
              <a:gd name="connsiteX4179" fmla="*/ 724747 w 3956050"/>
              <a:gd name="connsiteY4179" fmla="*/ 85278 h 1737071"/>
              <a:gd name="connsiteX4180" fmla="*/ 724747 w 3956050"/>
              <a:gd name="connsiteY4180" fmla="*/ 81309 h 1737071"/>
              <a:gd name="connsiteX4181" fmla="*/ 732790 w 3956050"/>
              <a:gd name="connsiteY4181" fmla="*/ 83293 h 1737071"/>
              <a:gd name="connsiteX4182" fmla="*/ 738823 w 3956050"/>
              <a:gd name="connsiteY4182" fmla="*/ 83293 h 1737071"/>
              <a:gd name="connsiteX4183" fmla="*/ 740834 w 3956050"/>
              <a:gd name="connsiteY4183" fmla="*/ 81309 h 1737071"/>
              <a:gd name="connsiteX4184" fmla="*/ 746496 w 3956050"/>
              <a:gd name="connsiteY4184" fmla="*/ 83172 h 1737071"/>
              <a:gd name="connsiteX4185" fmla="*/ 744538 w 3956050"/>
              <a:gd name="connsiteY4185" fmla="*/ 79325 h 1737071"/>
              <a:gd name="connsiteX4186" fmla="*/ 750600 w 3956050"/>
              <a:gd name="connsiteY4186" fmla="*/ 75356 h 1737071"/>
              <a:gd name="connsiteX4187" fmla="*/ 758681 w 3956050"/>
              <a:gd name="connsiteY4187" fmla="*/ 75356 h 1737071"/>
              <a:gd name="connsiteX4188" fmla="*/ 760702 w 3956050"/>
              <a:gd name="connsiteY4188" fmla="*/ 75356 h 1737071"/>
              <a:gd name="connsiteX4189" fmla="*/ 764743 w 3956050"/>
              <a:gd name="connsiteY4189" fmla="*/ 75356 h 1737071"/>
              <a:gd name="connsiteX4190" fmla="*/ 768784 w 3956050"/>
              <a:gd name="connsiteY4190" fmla="*/ 73372 h 1737071"/>
              <a:gd name="connsiteX4191" fmla="*/ 704851 w 3956050"/>
              <a:gd name="connsiteY4191" fmla="*/ 73372 h 1737071"/>
              <a:gd name="connsiteX4192" fmla="*/ 706438 w 3956050"/>
              <a:gd name="connsiteY4192" fmla="*/ 76547 h 1737071"/>
              <a:gd name="connsiteX4193" fmla="*/ 703263 w 3956050"/>
              <a:gd name="connsiteY4193" fmla="*/ 76547 h 1737071"/>
              <a:gd name="connsiteX4194" fmla="*/ 704851 w 3956050"/>
              <a:gd name="connsiteY4194" fmla="*/ 73372 h 1737071"/>
              <a:gd name="connsiteX4195" fmla="*/ 718186 w 3956050"/>
              <a:gd name="connsiteY4195" fmla="*/ 70196 h 1737071"/>
              <a:gd name="connsiteX4196" fmla="*/ 720408 w 3956050"/>
              <a:gd name="connsiteY4196" fmla="*/ 70726 h 1737071"/>
              <a:gd name="connsiteX4197" fmla="*/ 724854 w 3956050"/>
              <a:gd name="connsiteY4197" fmla="*/ 70726 h 1737071"/>
              <a:gd name="connsiteX4198" fmla="*/ 727076 w 3956050"/>
              <a:gd name="connsiteY4198" fmla="*/ 77076 h 1737071"/>
              <a:gd name="connsiteX4199" fmla="*/ 724854 w 3956050"/>
              <a:gd name="connsiteY4199" fmla="*/ 79192 h 1737071"/>
              <a:gd name="connsiteX4200" fmla="*/ 720408 w 3956050"/>
              <a:gd name="connsiteY4200" fmla="*/ 77076 h 1737071"/>
              <a:gd name="connsiteX4201" fmla="*/ 715963 w 3956050"/>
              <a:gd name="connsiteY4201" fmla="*/ 72842 h 1737071"/>
              <a:gd name="connsiteX4202" fmla="*/ 718186 w 3956050"/>
              <a:gd name="connsiteY4202" fmla="*/ 70196 h 1737071"/>
              <a:gd name="connsiteX4203" fmla="*/ 696119 w 3956050"/>
              <a:gd name="connsiteY4203" fmla="*/ 67339 h 1737071"/>
              <a:gd name="connsiteX4204" fmla="*/ 700088 w 3956050"/>
              <a:gd name="connsiteY4204" fmla="*/ 71149 h 1737071"/>
              <a:gd name="connsiteX4205" fmla="*/ 700088 w 3956050"/>
              <a:gd name="connsiteY4205" fmla="*/ 73054 h 1737071"/>
              <a:gd name="connsiteX4206" fmla="*/ 692150 w 3956050"/>
              <a:gd name="connsiteY4206" fmla="*/ 71149 h 1737071"/>
              <a:gd name="connsiteX4207" fmla="*/ 696119 w 3956050"/>
              <a:gd name="connsiteY4207" fmla="*/ 67339 h 1737071"/>
              <a:gd name="connsiteX4208" fmla="*/ 705248 w 3956050"/>
              <a:gd name="connsiteY4208" fmla="*/ 65434 h 1737071"/>
              <a:gd name="connsiteX4209" fmla="*/ 709217 w 3956050"/>
              <a:gd name="connsiteY4209" fmla="*/ 69403 h 1737071"/>
              <a:gd name="connsiteX4210" fmla="*/ 703263 w 3956050"/>
              <a:gd name="connsiteY4210" fmla="*/ 67418 h 1737071"/>
              <a:gd name="connsiteX4211" fmla="*/ 705248 w 3956050"/>
              <a:gd name="connsiteY4211" fmla="*/ 65434 h 1737071"/>
              <a:gd name="connsiteX4212" fmla="*/ 675142 w 3956050"/>
              <a:gd name="connsiteY4212" fmla="*/ 65335 h 1737071"/>
              <a:gd name="connsiteX4213" fmla="*/ 677183 w 3956050"/>
              <a:gd name="connsiteY4213" fmla="*/ 65831 h 1737071"/>
              <a:gd name="connsiteX4214" fmla="*/ 681265 w 3956050"/>
              <a:gd name="connsiteY4214" fmla="*/ 67816 h 1737071"/>
              <a:gd name="connsiteX4215" fmla="*/ 685347 w 3956050"/>
              <a:gd name="connsiteY4215" fmla="*/ 71784 h 1737071"/>
              <a:gd name="connsiteX4216" fmla="*/ 683306 w 3956050"/>
              <a:gd name="connsiteY4216" fmla="*/ 79722 h 1737071"/>
              <a:gd name="connsiteX4217" fmla="*/ 677183 w 3956050"/>
              <a:gd name="connsiteY4217" fmla="*/ 75753 h 1737071"/>
              <a:gd name="connsiteX4218" fmla="*/ 673100 w 3956050"/>
              <a:gd name="connsiteY4218" fmla="*/ 67816 h 1737071"/>
              <a:gd name="connsiteX4219" fmla="*/ 675142 w 3956050"/>
              <a:gd name="connsiteY4219" fmla="*/ 65335 h 1737071"/>
              <a:gd name="connsiteX4220" fmla="*/ 780521 w 3956050"/>
              <a:gd name="connsiteY4220" fmla="*/ 63846 h 1737071"/>
              <a:gd name="connsiteX4221" fmla="*/ 782637 w 3956050"/>
              <a:gd name="connsiteY4221" fmla="*/ 67021 h 1737071"/>
              <a:gd name="connsiteX4222" fmla="*/ 776287 w 3956050"/>
              <a:gd name="connsiteY4222" fmla="*/ 67021 h 1737071"/>
              <a:gd name="connsiteX4223" fmla="*/ 780521 w 3956050"/>
              <a:gd name="connsiteY4223" fmla="*/ 63846 h 1737071"/>
              <a:gd name="connsiteX4224" fmla="*/ 752248 w 3956050"/>
              <a:gd name="connsiteY4224" fmla="*/ 63846 h 1737071"/>
              <a:gd name="connsiteX4225" fmla="*/ 756330 w 3956050"/>
              <a:gd name="connsiteY4225" fmla="*/ 69561 h 1737071"/>
              <a:gd name="connsiteX4226" fmla="*/ 748165 w 3956050"/>
              <a:gd name="connsiteY4226" fmla="*/ 67656 h 1737071"/>
              <a:gd name="connsiteX4227" fmla="*/ 752248 w 3956050"/>
              <a:gd name="connsiteY4227" fmla="*/ 63846 h 1737071"/>
              <a:gd name="connsiteX4228" fmla="*/ 657225 w 3956050"/>
              <a:gd name="connsiteY4228" fmla="*/ 60989 h 1737071"/>
              <a:gd name="connsiteX4229" fmla="*/ 661194 w 3956050"/>
              <a:gd name="connsiteY4229" fmla="*/ 60989 h 1737071"/>
              <a:gd name="connsiteX4230" fmla="*/ 665163 w 3956050"/>
              <a:gd name="connsiteY4230" fmla="*/ 62894 h 1737071"/>
              <a:gd name="connsiteX4231" fmla="*/ 663179 w 3956050"/>
              <a:gd name="connsiteY4231" fmla="*/ 68609 h 1737071"/>
              <a:gd name="connsiteX4232" fmla="*/ 657225 w 3956050"/>
              <a:gd name="connsiteY4232" fmla="*/ 60989 h 1737071"/>
              <a:gd name="connsiteX4233" fmla="*/ 726831 w 3956050"/>
              <a:gd name="connsiteY4233" fmla="*/ 56363 h 1737071"/>
              <a:gd name="connsiteX4234" fmla="*/ 730983 w 3956050"/>
              <a:gd name="connsiteY4234" fmla="*/ 60445 h 1737071"/>
              <a:gd name="connsiteX4235" fmla="*/ 739287 w 3956050"/>
              <a:gd name="connsiteY4235" fmla="*/ 60445 h 1737071"/>
              <a:gd name="connsiteX4236" fmla="*/ 739287 w 3956050"/>
              <a:gd name="connsiteY4236" fmla="*/ 66569 h 1737071"/>
              <a:gd name="connsiteX4237" fmla="*/ 728907 w 3956050"/>
              <a:gd name="connsiteY4237" fmla="*/ 64528 h 1737071"/>
              <a:gd name="connsiteX4238" fmla="*/ 718527 w 3956050"/>
              <a:gd name="connsiteY4238" fmla="*/ 66569 h 1737071"/>
              <a:gd name="connsiteX4239" fmla="*/ 714375 w 3956050"/>
              <a:gd name="connsiteY4239" fmla="*/ 62487 h 1737071"/>
              <a:gd name="connsiteX4240" fmla="*/ 718527 w 3956050"/>
              <a:gd name="connsiteY4240" fmla="*/ 60445 h 1737071"/>
              <a:gd name="connsiteX4241" fmla="*/ 720603 w 3956050"/>
              <a:gd name="connsiteY4241" fmla="*/ 58404 h 1737071"/>
              <a:gd name="connsiteX4242" fmla="*/ 722679 w 3956050"/>
              <a:gd name="connsiteY4242" fmla="*/ 58404 h 1737071"/>
              <a:gd name="connsiteX4243" fmla="*/ 726831 w 3956050"/>
              <a:gd name="connsiteY4243" fmla="*/ 56363 h 1737071"/>
              <a:gd name="connsiteX4244" fmla="*/ 684213 w 3956050"/>
              <a:gd name="connsiteY4244" fmla="*/ 53264 h 1737071"/>
              <a:gd name="connsiteX4245" fmla="*/ 688182 w 3956050"/>
              <a:gd name="connsiteY4245" fmla="*/ 55380 h 1737071"/>
              <a:gd name="connsiteX4246" fmla="*/ 694135 w 3956050"/>
              <a:gd name="connsiteY4246" fmla="*/ 53264 h 1737071"/>
              <a:gd name="connsiteX4247" fmla="*/ 702072 w 3956050"/>
              <a:gd name="connsiteY4247" fmla="*/ 57497 h 1737071"/>
              <a:gd name="connsiteX4248" fmla="*/ 708026 w 3956050"/>
              <a:gd name="connsiteY4248" fmla="*/ 57497 h 1737071"/>
              <a:gd name="connsiteX4249" fmla="*/ 710010 w 3956050"/>
              <a:gd name="connsiteY4249" fmla="*/ 55380 h 1737071"/>
              <a:gd name="connsiteX4250" fmla="*/ 713979 w 3956050"/>
              <a:gd name="connsiteY4250" fmla="*/ 55380 h 1737071"/>
              <a:gd name="connsiteX4251" fmla="*/ 710010 w 3956050"/>
              <a:gd name="connsiteY4251" fmla="*/ 61730 h 1737071"/>
              <a:gd name="connsiteX4252" fmla="*/ 700088 w 3956050"/>
              <a:gd name="connsiteY4252" fmla="*/ 61730 h 1737071"/>
              <a:gd name="connsiteX4253" fmla="*/ 694135 w 3956050"/>
              <a:gd name="connsiteY4253" fmla="*/ 59614 h 1737071"/>
              <a:gd name="connsiteX4254" fmla="*/ 682228 w 3956050"/>
              <a:gd name="connsiteY4254" fmla="*/ 59614 h 1737071"/>
              <a:gd name="connsiteX4255" fmla="*/ 678260 w 3956050"/>
              <a:gd name="connsiteY4255" fmla="*/ 55380 h 1737071"/>
              <a:gd name="connsiteX4256" fmla="*/ 684213 w 3956050"/>
              <a:gd name="connsiteY4256" fmla="*/ 53264 h 1737071"/>
              <a:gd name="connsiteX4257" fmla="*/ 844498 w 3956050"/>
              <a:gd name="connsiteY4257" fmla="*/ 51146 h 1737071"/>
              <a:gd name="connsiteX4258" fmla="*/ 850490 w 3956050"/>
              <a:gd name="connsiteY4258" fmla="*/ 53107 h 1737071"/>
              <a:gd name="connsiteX4259" fmla="*/ 852487 w 3956050"/>
              <a:gd name="connsiteY4259" fmla="*/ 62912 h 1737071"/>
              <a:gd name="connsiteX4260" fmla="*/ 850490 w 3956050"/>
              <a:gd name="connsiteY4260" fmla="*/ 66834 h 1737071"/>
              <a:gd name="connsiteX4261" fmla="*/ 848493 w 3956050"/>
              <a:gd name="connsiteY4261" fmla="*/ 70756 h 1737071"/>
              <a:gd name="connsiteX4262" fmla="*/ 844498 w 3956050"/>
              <a:gd name="connsiteY4262" fmla="*/ 74678 h 1737071"/>
              <a:gd name="connsiteX4263" fmla="*/ 840504 w 3956050"/>
              <a:gd name="connsiteY4263" fmla="*/ 78600 h 1737071"/>
              <a:gd name="connsiteX4264" fmla="*/ 824527 w 3956050"/>
              <a:gd name="connsiteY4264" fmla="*/ 80561 h 1737071"/>
              <a:gd name="connsiteX4265" fmla="*/ 820532 w 3956050"/>
              <a:gd name="connsiteY4265" fmla="*/ 74678 h 1737071"/>
              <a:gd name="connsiteX4266" fmla="*/ 806552 w 3956050"/>
              <a:gd name="connsiteY4266" fmla="*/ 80561 h 1737071"/>
              <a:gd name="connsiteX4267" fmla="*/ 794569 w 3956050"/>
              <a:gd name="connsiteY4267" fmla="*/ 76639 h 1737071"/>
              <a:gd name="connsiteX4268" fmla="*/ 794569 w 3956050"/>
              <a:gd name="connsiteY4268" fmla="*/ 64873 h 1737071"/>
              <a:gd name="connsiteX4269" fmla="*/ 796566 w 3956050"/>
              <a:gd name="connsiteY4269" fmla="*/ 57029 h 1737071"/>
              <a:gd name="connsiteX4270" fmla="*/ 808549 w 3956050"/>
              <a:gd name="connsiteY4270" fmla="*/ 53107 h 1737071"/>
              <a:gd name="connsiteX4271" fmla="*/ 808549 w 3956050"/>
              <a:gd name="connsiteY4271" fmla="*/ 55068 h 1737071"/>
              <a:gd name="connsiteX4272" fmla="*/ 814541 w 3956050"/>
              <a:gd name="connsiteY4272" fmla="*/ 55068 h 1737071"/>
              <a:gd name="connsiteX4273" fmla="*/ 822529 w 3956050"/>
              <a:gd name="connsiteY4273" fmla="*/ 57029 h 1737071"/>
              <a:gd name="connsiteX4274" fmla="*/ 834513 w 3956050"/>
              <a:gd name="connsiteY4274" fmla="*/ 55068 h 1737071"/>
              <a:gd name="connsiteX4275" fmla="*/ 844498 w 3956050"/>
              <a:gd name="connsiteY4275" fmla="*/ 51146 h 1737071"/>
              <a:gd name="connsiteX4276" fmla="*/ 1215284 w 3956050"/>
              <a:gd name="connsiteY4276" fmla="*/ 49559 h 1737071"/>
              <a:gd name="connsiteX4277" fmla="*/ 1219306 w 3956050"/>
              <a:gd name="connsiteY4277" fmla="*/ 49559 h 1737071"/>
              <a:gd name="connsiteX4278" fmla="*/ 1225338 w 3956050"/>
              <a:gd name="connsiteY4278" fmla="*/ 49559 h 1737071"/>
              <a:gd name="connsiteX4279" fmla="*/ 1231371 w 3956050"/>
              <a:gd name="connsiteY4279" fmla="*/ 53528 h 1737071"/>
              <a:gd name="connsiteX4280" fmla="*/ 1241425 w 3956050"/>
              <a:gd name="connsiteY4280" fmla="*/ 53528 h 1737071"/>
              <a:gd name="connsiteX4281" fmla="*/ 1241425 w 3956050"/>
              <a:gd name="connsiteY4281" fmla="*/ 61465 h 1737071"/>
              <a:gd name="connsiteX4282" fmla="*/ 1237404 w 3956050"/>
              <a:gd name="connsiteY4282" fmla="*/ 63450 h 1737071"/>
              <a:gd name="connsiteX4283" fmla="*/ 1227349 w 3956050"/>
              <a:gd name="connsiteY4283" fmla="*/ 61465 h 1737071"/>
              <a:gd name="connsiteX4284" fmla="*/ 1215284 w 3956050"/>
              <a:gd name="connsiteY4284" fmla="*/ 57496 h 1737071"/>
              <a:gd name="connsiteX4285" fmla="*/ 1211262 w 3956050"/>
              <a:gd name="connsiteY4285" fmla="*/ 51543 h 1737071"/>
              <a:gd name="connsiteX4286" fmla="*/ 1215284 w 3956050"/>
              <a:gd name="connsiteY4286" fmla="*/ 49559 h 1737071"/>
              <a:gd name="connsiteX4287" fmla="*/ 533362 w 3956050"/>
              <a:gd name="connsiteY4287" fmla="*/ 49559 h 1737071"/>
              <a:gd name="connsiteX4288" fmla="*/ 543429 w 3956050"/>
              <a:gd name="connsiteY4288" fmla="*/ 51570 h 1737071"/>
              <a:gd name="connsiteX4289" fmla="*/ 547455 w 3956050"/>
              <a:gd name="connsiteY4289" fmla="*/ 51570 h 1737071"/>
              <a:gd name="connsiteX4290" fmla="*/ 553496 w 3956050"/>
              <a:gd name="connsiteY4290" fmla="*/ 53581 h 1737071"/>
              <a:gd name="connsiteX4291" fmla="*/ 555509 w 3956050"/>
              <a:gd name="connsiteY4291" fmla="*/ 53581 h 1737071"/>
              <a:gd name="connsiteX4292" fmla="*/ 557523 w 3956050"/>
              <a:gd name="connsiteY4292" fmla="*/ 53581 h 1737071"/>
              <a:gd name="connsiteX4293" fmla="*/ 561549 w 3956050"/>
              <a:gd name="connsiteY4293" fmla="*/ 57602 h 1737071"/>
              <a:gd name="connsiteX4294" fmla="*/ 563563 w 3956050"/>
              <a:gd name="connsiteY4294" fmla="*/ 63635 h 1737071"/>
              <a:gd name="connsiteX4295" fmla="*/ 561549 w 3956050"/>
              <a:gd name="connsiteY4295" fmla="*/ 63635 h 1737071"/>
              <a:gd name="connsiteX4296" fmla="*/ 557523 w 3956050"/>
              <a:gd name="connsiteY4296" fmla="*/ 61624 h 1737071"/>
              <a:gd name="connsiteX4297" fmla="*/ 549469 w 3956050"/>
              <a:gd name="connsiteY4297" fmla="*/ 61624 h 1737071"/>
              <a:gd name="connsiteX4298" fmla="*/ 547455 w 3956050"/>
              <a:gd name="connsiteY4298" fmla="*/ 59613 h 1737071"/>
              <a:gd name="connsiteX4299" fmla="*/ 543429 w 3956050"/>
              <a:gd name="connsiteY4299" fmla="*/ 57602 h 1737071"/>
              <a:gd name="connsiteX4300" fmla="*/ 537388 w 3956050"/>
              <a:gd name="connsiteY4300" fmla="*/ 61624 h 1737071"/>
              <a:gd name="connsiteX4301" fmla="*/ 535375 w 3956050"/>
              <a:gd name="connsiteY4301" fmla="*/ 67657 h 1737071"/>
              <a:gd name="connsiteX4302" fmla="*/ 533362 w 3956050"/>
              <a:gd name="connsiteY4302" fmla="*/ 67657 h 1737071"/>
              <a:gd name="connsiteX4303" fmla="*/ 525308 w 3956050"/>
              <a:gd name="connsiteY4303" fmla="*/ 67657 h 1737071"/>
              <a:gd name="connsiteX4304" fmla="*/ 521281 w 3956050"/>
              <a:gd name="connsiteY4304" fmla="*/ 71678 h 1737071"/>
              <a:gd name="connsiteX4305" fmla="*/ 517254 w 3956050"/>
              <a:gd name="connsiteY4305" fmla="*/ 75700 h 1737071"/>
              <a:gd name="connsiteX4306" fmla="*/ 513227 w 3956050"/>
              <a:gd name="connsiteY4306" fmla="*/ 79722 h 1737071"/>
              <a:gd name="connsiteX4307" fmla="*/ 507187 w 3956050"/>
              <a:gd name="connsiteY4307" fmla="*/ 75700 h 1737071"/>
              <a:gd name="connsiteX4308" fmla="*/ 507187 w 3956050"/>
              <a:gd name="connsiteY4308" fmla="*/ 69668 h 1737071"/>
              <a:gd name="connsiteX4309" fmla="*/ 503160 w 3956050"/>
              <a:gd name="connsiteY4309" fmla="*/ 73689 h 1737071"/>
              <a:gd name="connsiteX4310" fmla="*/ 499133 w 3956050"/>
              <a:gd name="connsiteY4310" fmla="*/ 75700 h 1737071"/>
              <a:gd name="connsiteX4311" fmla="*/ 495107 w 3956050"/>
              <a:gd name="connsiteY4311" fmla="*/ 73689 h 1737071"/>
              <a:gd name="connsiteX4312" fmla="*/ 491080 w 3956050"/>
              <a:gd name="connsiteY4312" fmla="*/ 71678 h 1737071"/>
              <a:gd name="connsiteX4313" fmla="*/ 485040 w 3956050"/>
              <a:gd name="connsiteY4313" fmla="*/ 69668 h 1737071"/>
              <a:gd name="connsiteX4314" fmla="*/ 487053 w 3956050"/>
              <a:gd name="connsiteY4314" fmla="*/ 65646 h 1737071"/>
              <a:gd name="connsiteX4315" fmla="*/ 491080 w 3956050"/>
              <a:gd name="connsiteY4315" fmla="*/ 67657 h 1737071"/>
              <a:gd name="connsiteX4316" fmla="*/ 499133 w 3956050"/>
              <a:gd name="connsiteY4316" fmla="*/ 65646 h 1737071"/>
              <a:gd name="connsiteX4317" fmla="*/ 503160 w 3956050"/>
              <a:gd name="connsiteY4317" fmla="*/ 65646 h 1737071"/>
              <a:gd name="connsiteX4318" fmla="*/ 505174 w 3956050"/>
              <a:gd name="connsiteY4318" fmla="*/ 65646 h 1737071"/>
              <a:gd name="connsiteX4319" fmla="*/ 509201 w 3956050"/>
              <a:gd name="connsiteY4319" fmla="*/ 65646 h 1737071"/>
              <a:gd name="connsiteX4320" fmla="*/ 513227 w 3956050"/>
              <a:gd name="connsiteY4320" fmla="*/ 63635 h 1737071"/>
              <a:gd name="connsiteX4321" fmla="*/ 515241 w 3956050"/>
              <a:gd name="connsiteY4321" fmla="*/ 63635 h 1737071"/>
              <a:gd name="connsiteX4322" fmla="*/ 519268 w 3956050"/>
              <a:gd name="connsiteY4322" fmla="*/ 61624 h 1737071"/>
              <a:gd name="connsiteX4323" fmla="*/ 525308 w 3956050"/>
              <a:gd name="connsiteY4323" fmla="*/ 59613 h 1737071"/>
              <a:gd name="connsiteX4324" fmla="*/ 533362 w 3956050"/>
              <a:gd name="connsiteY4324" fmla="*/ 49559 h 1737071"/>
              <a:gd name="connsiteX4325" fmla="*/ 780617 w 3956050"/>
              <a:gd name="connsiteY4325" fmla="*/ 48425 h 1737071"/>
              <a:gd name="connsiteX4326" fmla="*/ 780617 w 3956050"/>
              <a:gd name="connsiteY4326" fmla="*/ 52507 h 1737071"/>
              <a:gd name="connsiteX4327" fmla="*/ 774555 w 3956050"/>
              <a:gd name="connsiteY4327" fmla="*/ 58630 h 1737071"/>
              <a:gd name="connsiteX4328" fmla="*/ 760412 w 3956050"/>
              <a:gd name="connsiteY4328" fmla="*/ 54548 h 1737071"/>
              <a:gd name="connsiteX4329" fmla="*/ 766474 w 3956050"/>
              <a:gd name="connsiteY4329" fmla="*/ 52507 h 1737071"/>
              <a:gd name="connsiteX4330" fmla="*/ 772535 w 3956050"/>
              <a:gd name="connsiteY4330" fmla="*/ 50466 h 1737071"/>
              <a:gd name="connsiteX4331" fmla="*/ 780617 w 3956050"/>
              <a:gd name="connsiteY4331" fmla="*/ 48425 h 1737071"/>
              <a:gd name="connsiteX4332" fmla="*/ 593066 w 3956050"/>
              <a:gd name="connsiteY4332" fmla="*/ 48399 h 1737071"/>
              <a:gd name="connsiteX4333" fmla="*/ 597020 w 3956050"/>
              <a:gd name="connsiteY4333" fmla="*/ 50414 h 1737071"/>
              <a:gd name="connsiteX4334" fmla="*/ 597020 w 3956050"/>
              <a:gd name="connsiteY4334" fmla="*/ 54444 h 1737071"/>
              <a:gd name="connsiteX4335" fmla="*/ 600973 w 3956050"/>
              <a:gd name="connsiteY4335" fmla="*/ 50414 h 1737071"/>
              <a:gd name="connsiteX4336" fmla="*/ 604927 w 3956050"/>
              <a:gd name="connsiteY4336" fmla="*/ 48399 h 1737071"/>
              <a:gd name="connsiteX4337" fmla="*/ 604927 w 3956050"/>
              <a:gd name="connsiteY4337" fmla="*/ 56459 h 1737071"/>
              <a:gd name="connsiteX4338" fmla="*/ 600973 w 3956050"/>
              <a:gd name="connsiteY4338" fmla="*/ 58473 h 1737071"/>
              <a:gd name="connsiteX4339" fmla="*/ 597020 w 3956050"/>
              <a:gd name="connsiteY4339" fmla="*/ 60488 h 1737071"/>
              <a:gd name="connsiteX4340" fmla="*/ 602950 w 3956050"/>
              <a:gd name="connsiteY4340" fmla="*/ 60488 h 1737071"/>
              <a:gd name="connsiteX4341" fmla="*/ 606904 w 3956050"/>
              <a:gd name="connsiteY4341" fmla="*/ 58473 h 1737071"/>
              <a:gd name="connsiteX4342" fmla="*/ 612835 w 3956050"/>
              <a:gd name="connsiteY4342" fmla="*/ 58473 h 1737071"/>
              <a:gd name="connsiteX4343" fmla="*/ 616788 w 3956050"/>
              <a:gd name="connsiteY4343" fmla="*/ 56459 h 1737071"/>
              <a:gd name="connsiteX4344" fmla="*/ 618765 w 3956050"/>
              <a:gd name="connsiteY4344" fmla="*/ 58473 h 1737071"/>
              <a:gd name="connsiteX4345" fmla="*/ 620742 w 3956050"/>
              <a:gd name="connsiteY4345" fmla="*/ 58473 h 1737071"/>
              <a:gd name="connsiteX4346" fmla="*/ 628650 w 3956050"/>
              <a:gd name="connsiteY4346" fmla="*/ 62503 h 1737071"/>
              <a:gd name="connsiteX4347" fmla="*/ 622720 w 3956050"/>
              <a:gd name="connsiteY4347" fmla="*/ 68548 h 1737071"/>
              <a:gd name="connsiteX4348" fmla="*/ 612835 w 3956050"/>
              <a:gd name="connsiteY4348" fmla="*/ 72578 h 1737071"/>
              <a:gd name="connsiteX4349" fmla="*/ 600973 w 3956050"/>
              <a:gd name="connsiteY4349" fmla="*/ 72578 h 1737071"/>
              <a:gd name="connsiteX4350" fmla="*/ 595043 w 3956050"/>
              <a:gd name="connsiteY4350" fmla="*/ 72578 h 1737071"/>
              <a:gd name="connsiteX4351" fmla="*/ 591089 w 3956050"/>
              <a:gd name="connsiteY4351" fmla="*/ 74593 h 1737071"/>
              <a:gd name="connsiteX4352" fmla="*/ 587135 w 3956050"/>
              <a:gd name="connsiteY4352" fmla="*/ 76608 h 1737071"/>
              <a:gd name="connsiteX4353" fmla="*/ 573297 w 3956050"/>
              <a:gd name="connsiteY4353" fmla="*/ 76608 h 1737071"/>
              <a:gd name="connsiteX4354" fmla="*/ 571320 w 3956050"/>
              <a:gd name="connsiteY4354" fmla="*/ 82653 h 1737071"/>
              <a:gd name="connsiteX4355" fmla="*/ 575274 w 3956050"/>
              <a:gd name="connsiteY4355" fmla="*/ 88697 h 1737071"/>
              <a:gd name="connsiteX4356" fmla="*/ 571320 w 3956050"/>
              <a:gd name="connsiteY4356" fmla="*/ 90712 h 1737071"/>
              <a:gd name="connsiteX4357" fmla="*/ 565389 w 3956050"/>
              <a:gd name="connsiteY4357" fmla="*/ 90712 h 1737071"/>
              <a:gd name="connsiteX4358" fmla="*/ 563412 w 3956050"/>
              <a:gd name="connsiteY4358" fmla="*/ 94742 h 1737071"/>
              <a:gd name="connsiteX4359" fmla="*/ 557482 w 3956050"/>
              <a:gd name="connsiteY4359" fmla="*/ 92727 h 1737071"/>
              <a:gd name="connsiteX4360" fmla="*/ 553528 w 3956050"/>
              <a:gd name="connsiteY4360" fmla="*/ 96757 h 1737071"/>
              <a:gd name="connsiteX4361" fmla="*/ 545621 w 3956050"/>
              <a:gd name="connsiteY4361" fmla="*/ 96757 h 1737071"/>
              <a:gd name="connsiteX4362" fmla="*/ 545621 w 3956050"/>
              <a:gd name="connsiteY4362" fmla="*/ 90712 h 1737071"/>
              <a:gd name="connsiteX4363" fmla="*/ 549574 w 3956050"/>
              <a:gd name="connsiteY4363" fmla="*/ 88697 h 1737071"/>
              <a:gd name="connsiteX4364" fmla="*/ 551551 w 3956050"/>
              <a:gd name="connsiteY4364" fmla="*/ 84667 h 1737071"/>
              <a:gd name="connsiteX4365" fmla="*/ 541667 w 3956050"/>
              <a:gd name="connsiteY4365" fmla="*/ 86682 h 1737071"/>
              <a:gd name="connsiteX4366" fmla="*/ 529805 w 3956050"/>
              <a:gd name="connsiteY4366" fmla="*/ 90712 h 1737071"/>
              <a:gd name="connsiteX4367" fmla="*/ 523875 w 3956050"/>
              <a:gd name="connsiteY4367" fmla="*/ 84667 h 1737071"/>
              <a:gd name="connsiteX4368" fmla="*/ 525852 w 3956050"/>
              <a:gd name="connsiteY4368" fmla="*/ 80638 h 1737071"/>
              <a:gd name="connsiteX4369" fmla="*/ 535736 w 3956050"/>
              <a:gd name="connsiteY4369" fmla="*/ 78623 h 1737071"/>
              <a:gd name="connsiteX4370" fmla="*/ 541667 w 3956050"/>
              <a:gd name="connsiteY4370" fmla="*/ 80638 h 1737071"/>
              <a:gd name="connsiteX4371" fmla="*/ 545621 w 3956050"/>
              <a:gd name="connsiteY4371" fmla="*/ 78623 h 1737071"/>
              <a:gd name="connsiteX4372" fmla="*/ 541667 w 3956050"/>
              <a:gd name="connsiteY4372" fmla="*/ 74593 h 1737071"/>
              <a:gd name="connsiteX4373" fmla="*/ 539690 w 3956050"/>
              <a:gd name="connsiteY4373" fmla="*/ 70563 h 1737071"/>
              <a:gd name="connsiteX4374" fmla="*/ 547597 w 3956050"/>
              <a:gd name="connsiteY4374" fmla="*/ 70563 h 1737071"/>
              <a:gd name="connsiteX4375" fmla="*/ 551551 w 3956050"/>
              <a:gd name="connsiteY4375" fmla="*/ 68548 h 1737071"/>
              <a:gd name="connsiteX4376" fmla="*/ 557482 w 3956050"/>
              <a:gd name="connsiteY4376" fmla="*/ 68548 h 1737071"/>
              <a:gd name="connsiteX4377" fmla="*/ 563412 w 3956050"/>
              <a:gd name="connsiteY4377" fmla="*/ 68548 h 1737071"/>
              <a:gd name="connsiteX4378" fmla="*/ 569343 w 3956050"/>
              <a:gd name="connsiteY4378" fmla="*/ 68548 h 1737071"/>
              <a:gd name="connsiteX4379" fmla="*/ 573297 w 3956050"/>
              <a:gd name="connsiteY4379" fmla="*/ 66533 h 1737071"/>
              <a:gd name="connsiteX4380" fmla="*/ 579228 w 3956050"/>
              <a:gd name="connsiteY4380" fmla="*/ 64518 h 1737071"/>
              <a:gd name="connsiteX4381" fmla="*/ 575274 w 3956050"/>
              <a:gd name="connsiteY4381" fmla="*/ 60488 h 1737071"/>
              <a:gd name="connsiteX4382" fmla="*/ 569343 w 3956050"/>
              <a:gd name="connsiteY4382" fmla="*/ 54444 h 1737071"/>
              <a:gd name="connsiteX4383" fmla="*/ 577251 w 3956050"/>
              <a:gd name="connsiteY4383" fmla="*/ 52429 h 1737071"/>
              <a:gd name="connsiteX4384" fmla="*/ 585158 w 3956050"/>
              <a:gd name="connsiteY4384" fmla="*/ 50414 h 1737071"/>
              <a:gd name="connsiteX4385" fmla="*/ 593066 w 3956050"/>
              <a:gd name="connsiteY4385" fmla="*/ 48399 h 1737071"/>
              <a:gd name="connsiteX4386" fmla="*/ 764222 w 3956050"/>
              <a:gd name="connsiteY4386" fmla="*/ 43209 h 1737071"/>
              <a:gd name="connsiteX4387" fmla="*/ 764222 w 3956050"/>
              <a:gd name="connsiteY4387" fmla="*/ 45193 h 1737071"/>
              <a:gd name="connsiteX4388" fmla="*/ 768032 w 3956050"/>
              <a:gd name="connsiteY4388" fmla="*/ 49162 h 1737071"/>
              <a:gd name="connsiteX4389" fmla="*/ 764222 w 3956050"/>
              <a:gd name="connsiteY4389" fmla="*/ 49162 h 1737071"/>
              <a:gd name="connsiteX4390" fmla="*/ 762317 w 3956050"/>
              <a:gd name="connsiteY4390" fmla="*/ 49162 h 1737071"/>
              <a:gd name="connsiteX4391" fmla="*/ 760412 w 3956050"/>
              <a:gd name="connsiteY4391" fmla="*/ 45193 h 1737071"/>
              <a:gd name="connsiteX4392" fmla="*/ 764222 w 3956050"/>
              <a:gd name="connsiteY4392" fmla="*/ 43209 h 1737071"/>
              <a:gd name="connsiteX4393" fmla="*/ 688270 w 3956050"/>
              <a:gd name="connsiteY4393" fmla="*/ 40467 h 1737071"/>
              <a:gd name="connsiteX4394" fmla="*/ 706526 w 3956050"/>
              <a:gd name="connsiteY4394" fmla="*/ 44508 h 1737071"/>
              <a:gd name="connsiteX4395" fmla="*/ 716669 w 3956050"/>
              <a:gd name="connsiteY4395" fmla="*/ 42488 h 1737071"/>
              <a:gd name="connsiteX4396" fmla="*/ 724783 w 3956050"/>
              <a:gd name="connsiteY4396" fmla="*/ 46529 h 1737071"/>
              <a:gd name="connsiteX4397" fmla="*/ 732897 w 3956050"/>
              <a:gd name="connsiteY4397" fmla="*/ 48549 h 1737071"/>
              <a:gd name="connsiteX4398" fmla="*/ 743039 w 3956050"/>
              <a:gd name="connsiteY4398" fmla="*/ 50570 h 1737071"/>
              <a:gd name="connsiteX4399" fmla="*/ 749124 w 3956050"/>
              <a:gd name="connsiteY4399" fmla="*/ 52590 h 1737071"/>
              <a:gd name="connsiteX4400" fmla="*/ 757238 w 3956050"/>
              <a:gd name="connsiteY4400" fmla="*/ 56631 h 1737071"/>
              <a:gd name="connsiteX4401" fmla="*/ 751153 w 3956050"/>
              <a:gd name="connsiteY4401" fmla="*/ 60672 h 1737071"/>
              <a:gd name="connsiteX4402" fmla="*/ 743039 w 3956050"/>
              <a:gd name="connsiteY4402" fmla="*/ 56631 h 1737071"/>
              <a:gd name="connsiteX4403" fmla="*/ 730868 w 3956050"/>
              <a:gd name="connsiteY4403" fmla="*/ 52590 h 1737071"/>
              <a:gd name="connsiteX4404" fmla="*/ 726811 w 3956050"/>
              <a:gd name="connsiteY4404" fmla="*/ 54611 h 1737071"/>
              <a:gd name="connsiteX4405" fmla="*/ 720726 w 3956050"/>
              <a:gd name="connsiteY4405" fmla="*/ 54611 h 1737071"/>
              <a:gd name="connsiteX4406" fmla="*/ 710583 w 3956050"/>
              <a:gd name="connsiteY4406" fmla="*/ 52590 h 1737071"/>
              <a:gd name="connsiteX4407" fmla="*/ 704498 w 3956050"/>
              <a:gd name="connsiteY4407" fmla="*/ 50570 h 1737071"/>
              <a:gd name="connsiteX4408" fmla="*/ 698413 w 3956050"/>
              <a:gd name="connsiteY4408" fmla="*/ 50570 h 1737071"/>
              <a:gd name="connsiteX4409" fmla="*/ 692327 w 3956050"/>
              <a:gd name="connsiteY4409" fmla="*/ 48549 h 1737071"/>
              <a:gd name="connsiteX4410" fmla="*/ 686242 w 3956050"/>
              <a:gd name="connsiteY4410" fmla="*/ 48549 h 1737071"/>
              <a:gd name="connsiteX4411" fmla="*/ 684213 w 3956050"/>
              <a:gd name="connsiteY4411" fmla="*/ 42488 h 1737071"/>
              <a:gd name="connsiteX4412" fmla="*/ 688270 w 3956050"/>
              <a:gd name="connsiteY4412" fmla="*/ 40467 h 1737071"/>
              <a:gd name="connsiteX4413" fmla="*/ 722685 w 3956050"/>
              <a:gd name="connsiteY4413" fmla="*/ 38843 h 1737071"/>
              <a:gd name="connsiteX4414" fmla="*/ 728568 w 3956050"/>
              <a:gd name="connsiteY4414" fmla="*/ 38843 h 1737071"/>
              <a:gd name="connsiteX4415" fmla="*/ 734452 w 3956050"/>
              <a:gd name="connsiteY4415" fmla="*/ 38843 h 1737071"/>
              <a:gd name="connsiteX4416" fmla="*/ 738374 w 3956050"/>
              <a:gd name="connsiteY4416" fmla="*/ 42812 h 1737071"/>
              <a:gd name="connsiteX4417" fmla="*/ 744257 w 3956050"/>
              <a:gd name="connsiteY4417" fmla="*/ 44796 h 1737071"/>
              <a:gd name="connsiteX4418" fmla="*/ 748179 w 3956050"/>
              <a:gd name="connsiteY4418" fmla="*/ 44796 h 1737071"/>
              <a:gd name="connsiteX4419" fmla="*/ 752101 w 3956050"/>
              <a:gd name="connsiteY4419" fmla="*/ 46781 h 1737071"/>
              <a:gd name="connsiteX4420" fmla="*/ 752101 w 3956050"/>
              <a:gd name="connsiteY4420" fmla="*/ 50750 h 1737071"/>
              <a:gd name="connsiteX4421" fmla="*/ 746218 w 3956050"/>
              <a:gd name="connsiteY4421" fmla="*/ 48765 h 1737071"/>
              <a:gd name="connsiteX4422" fmla="*/ 740335 w 3956050"/>
              <a:gd name="connsiteY4422" fmla="*/ 46781 h 1737071"/>
              <a:gd name="connsiteX4423" fmla="*/ 736413 w 3956050"/>
              <a:gd name="connsiteY4423" fmla="*/ 44796 h 1737071"/>
              <a:gd name="connsiteX4424" fmla="*/ 728568 w 3956050"/>
              <a:gd name="connsiteY4424" fmla="*/ 42812 h 1737071"/>
              <a:gd name="connsiteX4425" fmla="*/ 722685 w 3956050"/>
              <a:gd name="connsiteY4425" fmla="*/ 38843 h 1737071"/>
              <a:gd name="connsiteX4426" fmla="*/ 828146 w 3956050"/>
              <a:gd name="connsiteY4426" fmla="*/ 38446 h 1737071"/>
              <a:gd name="connsiteX4427" fmla="*/ 835907 w 3956050"/>
              <a:gd name="connsiteY4427" fmla="*/ 38446 h 1737071"/>
              <a:gd name="connsiteX4428" fmla="*/ 837847 w 3956050"/>
              <a:gd name="connsiteY4428" fmla="*/ 42679 h 1737071"/>
              <a:gd name="connsiteX4429" fmla="*/ 832026 w 3956050"/>
              <a:gd name="connsiteY4429" fmla="*/ 46913 h 1737071"/>
              <a:gd name="connsiteX4430" fmla="*/ 828146 w 3956050"/>
              <a:gd name="connsiteY4430" fmla="*/ 51146 h 1737071"/>
              <a:gd name="connsiteX4431" fmla="*/ 820384 w 3956050"/>
              <a:gd name="connsiteY4431" fmla="*/ 51146 h 1737071"/>
              <a:gd name="connsiteX4432" fmla="*/ 816504 w 3956050"/>
              <a:gd name="connsiteY4432" fmla="*/ 49029 h 1737071"/>
              <a:gd name="connsiteX4433" fmla="*/ 806803 w 3956050"/>
              <a:gd name="connsiteY4433" fmla="*/ 49029 h 1737071"/>
              <a:gd name="connsiteX4434" fmla="*/ 806803 w 3956050"/>
              <a:gd name="connsiteY4434" fmla="*/ 46913 h 1737071"/>
              <a:gd name="connsiteX4435" fmla="*/ 828146 w 3956050"/>
              <a:gd name="connsiteY4435" fmla="*/ 38446 h 1737071"/>
              <a:gd name="connsiteX4436" fmla="*/ 758560 w 3956050"/>
              <a:gd name="connsiteY4436" fmla="*/ 35271 h 1737071"/>
              <a:gd name="connsiteX4437" fmla="*/ 760412 w 3956050"/>
              <a:gd name="connsiteY4437" fmla="*/ 37255 h 1737071"/>
              <a:gd name="connsiteX4438" fmla="*/ 754856 w 3956050"/>
              <a:gd name="connsiteY4438" fmla="*/ 43208 h 1737071"/>
              <a:gd name="connsiteX4439" fmla="*/ 749299 w 3956050"/>
              <a:gd name="connsiteY4439" fmla="*/ 39239 h 1737071"/>
              <a:gd name="connsiteX4440" fmla="*/ 753004 w 3956050"/>
              <a:gd name="connsiteY4440" fmla="*/ 37255 h 1737071"/>
              <a:gd name="connsiteX4441" fmla="*/ 758560 w 3956050"/>
              <a:gd name="connsiteY4441" fmla="*/ 35271 h 1737071"/>
              <a:gd name="connsiteX4442" fmla="*/ 906065 w 3956050"/>
              <a:gd name="connsiteY4442" fmla="*/ 30509 h 1737071"/>
              <a:gd name="connsiteX4443" fmla="*/ 912018 w 3956050"/>
              <a:gd name="connsiteY4443" fmla="*/ 34636 h 1737071"/>
              <a:gd name="connsiteX4444" fmla="*/ 914003 w 3956050"/>
              <a:gd name="connsiteY4444" fmla="*/ 42891 h 1737071"/>
              <a:gd name="connsiteX4445" fmla="*/ 914003 w 3956050"/>
              <a:gd name="connsiteY4445" fmla="*/ 55274 h 1737071"/>
              <a:gd name="connsiteX4446" fmla="*/ 910034 w 3956050"/>
              <a:gd name="connsiteY4446" fmla="*/ 59401 h 1737071"/>
              <a:gd name="connsiteX4447" fmla="*/ 904081 w 3956050"/>
              <a:gd name="connsiteY4447" fmla="*/ 63529 h 1737071"/>
              <a:gd name="connsiteX4448" fmla="*/ 898128 w 3956050"/>
              <a:gd name="connsiteY4448" fmla="*/ 63529 h 1737071"/>
              <a:gd name="connsiteX4449" fmla="*/ 892175 w 3956050"/>
              <a:gd name="connsiteY4449" fmla="*/ 65593 h 1737071"/>
              <a:gd name="connsiteX4450" fmla="*/ 882253 w 3956050"/>
              <a:gd name="connsiteY4450" fmla="*/ 65593 h 1737071"/>
              <a:gd name="connsiteX4451" fmla="*/ 878284 w 3956050"/>
              <a:gd name="connsiteY4451" fmla="*/ 69720 h 1737071"/>
              <a:gd name="connsiteX4452" fmla="*/ 872331 w 3956050"/>
              <a:gd name="connsiteY4452" fmla="*/ 67656 h 1737071"/>
              <a:gd name="connsiteX4453" fmla="*/ 868362 w 3956050"/>
              <a:gd name="connsiteY4453" fmla="*/ 65593 h 1737071"/>
              <a:gd name="connsiteX4454" fmla="*/ 860424 w 3956050"/>
              <a:gd name="connsiteY4454" fmla="*/ 59401 h 1737071"/>
              <a:gd name="connsiteX4455" fmla="*/ 866377 w 3956050"/>
              <a:gd name="connsiteY4455" fmla="*/ 51146 h 1737071"/>
              <a:gd name="connsiteX4456" fmla="*/ 870346 w 3956050"/>
              <a:gd name="connsiteY4456" fmla="*/ 51146 h 1737071"/>
              <a:gd name="connsiteX4457" fmla="*/ 872331 w 3956050"/>
              <a:gd name="connsiteY4457" fmla="*/ 47019 h 1737071"/>
              <a:gd name="connsiteX4458" fmla="*/ 874315 w 3956050"/>
              <a:gd name="connsiteY4458" fmla="*/ 49083 h 1737071"/>
              <a:gd name="connsiteX4459" fmla="*/ 878284 w 3956050"/>
              <a:gd name="connsiteY4459" fmla="*/ 49083 h 1737071"/>
              <a:gd name="connsiteX4460" fmla="*/ 882253 w 3956050"/>
              <a:gd name="connsiteY4460" fmla="*/ 49083 h 1737071"/>
              <a:gd name="connsiteX4461" fmla="*/ 890190 w 3956050"/>
              <a:gd name="connsiteY4461" fmla="*/ 49083 h 1737071"/>
              <a:gd name="connsiteX4462" fmla="*/ 890190 w 3956050"/>
              <a:gd name="connsiteY4462" fmla="*/ 38764 h 1737071"/>
              <a:gd name="connsiteX4463" fmla="*/ 896143 w 3956050"/>
              <a:gd name="connsiteY4463" fmla="*/ 32573 h 1737071"/>
              <a:gd name="connsiteX4464" fmla="*/ 906065 w 3956050"/>
              <a:gd name="connsiteY4464" fmla="*/ 30509 h 1737071"/>
              <a:gd name="connsiteX4465" fmla="*/ 599017 w 3956050"/>
              <a:gd name="connsiteY4465" fmla="*/ 30509 h 1737071"/>
              <a:gd name="connsiteX4466" fmla="*/ 606426 w 3956050"/>
              <a:gd name="connsiteY4466" fmla="*/ 34591 h 1737071"/>
              <a:gd name="connsiteX4467" fmla="*/ 602721 w 3956050"/>
              <a:gd name="connsiteY4467" fmla="*/ 38674 h 1737071"/>
              <a:gd name="connsiteX4468" fmla="*/ 600869 w 3956050"/>
              <a:gd name="connsiteY4468" fmla="*/ 44797 h 1737071"/>
              <a:gd name="connsiteX4469" fmla="*/ 595313 w 3956050"/>
              <a:gd name="connsiteY4469" fmla="*/ 42756 h 1737071"/>
              <a:gd name="connsiteX4470" fmla="*/ 595313 w 3956050"/>
              <a:gd name="connsiteY4470" fmla="*/ 36632 h 1737071"/>
              <a:gd name="connsiteX4471" fmla="*/ 599017 w 3956050"/>
              <a:gd name="connsiteY4471" fmla="*/ 30509 h 1737071"/>
              <a:gd name="connsiteX4472" fmla="*/ 1572668 w 3956050"/>
              <a:gd name="connsiteY4472" fmla="*/ 26729 h 1737071"/>
              <a:gd name="connsiteX4473" fmla="*/ 1582341 w 3956050"/>
              <a:gd name="connsiteY4473" fmla="*/ 31637 h 1737071"/>
              <a:gd name="connsiteX4474" fmla="*/ 1588294 w 3956050"/>
              <a:gd name="connsiteY4474" fmla="*/ 37528 h 1737071"/>
              <a:gd name="connsiteX4475" fmla="*/ 1594248 w 3956050"/>
              <a:gd name="connsiteY4475" fmla="*/ 43418 h 1737071"/>
              <a:gd name="connsiteX4476" fmla="*/ 1600201 w 3956050"/>
              <a:gd name="connsiteY4476" fmla="*/ 47345 h 1737071"/>
              <a:gd name="connsiteX4477" fmla="*/ 1604169 w 3956050"/>
              <a:gd name="connsiteY4477" fmla="*/ 51272 h 1737071"/>
              <a:gd name="connsiteX4478" fmla="*/ 1606154 w 3956050"/>
              <a:gd name="connsiteY4478" fmla="*/ 51272 h 1737071"/>
              <a:gd name="connsiteX4479" fmla="*/ 1610123 w 3956050"/>
              <a:gd name="connsiteY4479" fmla="*/ 53236 h 1737071"/>
              <a:gd name="connsiteX4480" fmla="*/ 1618060 w 3956050"/>
              <a:gd name="connsiteY4480" fmla="*/ 55199 h 1737071"/>
              <a:gd name="connsiteX4481" fmla="*/ 1624013 w 3956050"/>
              <a:gd name="connsiteY4481" fmla="*/ 59126 h 1737071"/>
              <a:gd name="connsiteX4482" fmla="*/ 1618060 w 3956050"/>
              <a:gd name="connsiteY4482" fmla="*/ 61089 h 1737071"/>
              <a:gd name="connsiteX4483" fmla="*/ 1612107 w 3956050"/>
              <a:gd name="connsiteY4483" fmla="*/ 65016 h 1737071"/>
              <a:gd name="connsiteX4484" fmla="*/ 1616076 w 3956050"/>
              <a:gd name="connsiteY4484" fmla="*/ 72870 h 1737071"/>
              <a:gd name="connsiteX4485" fmla="*/ 1618060 w 3956050"/>
              <a:gd name="connsiteY4485" fmla="*/ 78761 h 1737071"/>
              <a:gd name="connsiteX4486" fmla="*/ 1618060 w 3956050"/>
              <a:gd name="connsiteY4486" fmla="*/ 80724 h 1737071"/>
              <a:gd name="connsiteX4487" fmla="*/ 1610123 w 3956050"/>
              <a:gd name="connsiteY4487" fmla="*/ 86615 h 1737071"/>
              <a:gd name="connsiteX4488" fmla="*/ 1604169 w 3956050"/>
              <a:gd name="connsiteY4488" fmla="*/ 86615 h 1737071"/>
              <a:gd name="connsiteX4489" fmla="*/ 1588294 w 3956050"/>
              <a:gd name="connsiteY4489" fmla="*/ 86615 h 1737071"/>
              <a:gd name="connsiteX4490" fmla="*/ 1578372 w 3956050"/>
              <a:gd name="connsiteY4490" fmla="*/ 90542 h 1737071"/>
              <a:gd name="connsiteX4491" fmla="*/ 1570435 w 3956050"/>
              <a:gd name="connsiteY4491" fmla="*/ 92505 h 1737071"/>
              <a:gd name="connsiteX4492" fmla="*/ 1554560 w 3956050"/>
              <a:gd name="connsiteY4492" fmla="*/ 96432 h 1737071"/>
              <a:gd name="connsiteX4493" fmla="*/ 1542654 w 3956050"/>
              <a:gd name="connsiteY4493" fmla="*/ 96432 h 1737071"/>
              <a:gd name="connsiteX4494" fmla="*/ 1536700 w 3956050"/>
              <a:gd name="connsiteY4494" fmla="*/ 92505 h 1737071"/>
              <a:gd name="connsiteX4495" fmla="*/ 1530747 w 3956050"/>
              <a:gd name="connsiteY4495" fmla="*/ 92505 h 1737071"/>
              <a:gd name="connsiteX4496" fmla="*/ 1522810 w 3956050"/>
              <a:gd name="connsiteY4496" fmla="*/ 90542 h 1737071"/>
              <a:gd name="connsiteX4497" fmla="*/ 1516857 w 3956050"/>
              <a:gd name="connsiteY4497" fmla="*/ 90542 h 1737071"/>
              <a:gd name="connsiteX4498" fmla="*/ 1512888 w 3956050"/>
              <a:gd name="connsiteY4498" fmla="*/ 88578 h 1737071"/>
              <a:gd name="connsiteX4499" fmla="*/ 1506935 w 3956050"/>
              <a:gd name="connsiteY4499" fmla="*/ 88578 h 1737071"/>
              <a:gd name="connsiteX4500" fmla="*/ 1500982 w 3956050"/>
              <a:gd name="connsiteY4500" fmla="*/ 82688 h 1737071"/>
              <a:gd name="connsiteX4501" fmla="*/ 1493044 w 3956050"/>
              <a:gd name="connsiteY4501" fmla="*/ 78761 h 1737071"/>
              <a:gd name="connsiteX4502" fmla="*/ 1500982 w 3956050"/>
              <a:gd name="connsiteY4502" fmla="*/ 72870 h 1737071"/>
              <a:gd name="connsiteX4503" fmla="*/ 1514872 w 3956050"/>
              <a:gd name="connsiteY4503" fmla="*/ 70907 h 1737071"/>
              <a:gd name="connsiteX4504" fmla="*/ 1514872 w 3956050"/>
              <a:gd name="connsiteY4504" fmla="*/ 59126 h 1737071"/>
              <a:gd name="connsiteX4505" fmla="*/ 1522810 w 3956050"/>
              <a:gd name="connsiteY4505" fmla="*/ 55199 h 1737071"/>
              <a:gd name="connsiteX4506" fmla="*/ 1548607 w 3956050"/>
              <a:gd name="connsiteY4506" fmla="*/ 45382 h 1737071"/>
              <a:gd name="connsiteX4507" fmla="*/ 1560513 w 3956050"/>
              <a:gd name="connsiteY4507" fmla="*/ 39491 h 1737071"/>
              <a:gd name="connsiteX4508" fmla="*/ 1564482 w 3956050"/>
              <a:gd name="connsiteY4508" fmla="*/ 27710 h 1737071"/>
              <a:gd name="connsiteX4509" fmla="*/ 1572668 w 3956050"/>
              <a:gd name="connsiteY4509" fmla="*/ 26729 h 1737071"/>
              <a:gd name="connsiteX4510" fmla="*/ 753109 w 3956050"/>
              <a:gd name="connsiteY4510" fmla="*/ 11459 h 1737071"/>
              <a:gd name="connsiteX4511" fmla="*/ 765174 w 3956050"/>
              <a:gd name="connsiteY4511" fmla="*/ 32951 h 1737071"/>
              <a:gd name="connsiteX4512" fmla="*/ 761153 w 3956050"/>
              <a:gd name="connsiteY4512" fmla="*/ 32951 h 1737071"/>
              <a:gd name="connsiteX4513" fmla="*/ 759142 w 3956050"/>
              <a:gd name="connsiteY4513" fmla="*/ 29044 h 1737071"/>
              <a:gd name="connsiteX4514" fmla="*/ 755120 w 3956050"/>
              <a:gd name="connsiteY4514" fmla="*/ 27090 h 1737071"/>
              <a:gd name="connsiteX4515" fmla="*/ 751098 w 3956050"/>
              <a:gd name="connsiteY4515" fmla="*/ 25136 h 1737071"/>
              <a:gd name="connsiteX4516" fmla="*/ 749088 w 3956050"/>
              <a:gd name="connsiteY4516" fmla="*/ 23182 h 1737071"/>
              <a:gd name="connsiteX4517" fmla="*/ 745066 w 3956050"/>
              <a:gd name="connsiteY4517" fmla="*/ 23182 h 1737071"/>
              <a:gd name="connsiteX4518" fmla="*/ 741044 w 3956050"/>
              <a:gd name="connsiteY4518" fmla="*/ 23182 h 1737071"/>
              <a:gd name="connsiteX4519" fmla="*/ 735012 w 3956050"/>
              <a:gd name="connsiteY4519" fmla="*/ 23182 h 1737071"/>
              <a:gd name="connsiteX4520" fmla="*/ 735012 w 3956050"/>
              <a:gd name="connsiteY4520" fmla="*/ 25136 h 1737071"/>
              <a:gd name="connsiteX4521" fmla="*/ 745066 w 3956050"/>
              <a:gd name="connsiteY4521" fmla="*/ 29044 h 1737071"/>
              <a:gd name="connsiteX4522" fmla="*/ 753109 w 3956050"/>
              <a:gd name="connsiteY4522" fmla="*/ 29044 h 1737071"/>
              <a:gd name="connsiteX4523" fmla="*/ 753109 w 3956050"/>
              <a:gd name="connsiteY4523" fmla="*/ 32951 h 1737071"/>
              <a:gd name="connsiteX4524" fmla="*/ 745066 w 3956050"/>
              <a:gd name="connsiteY4524" fmla="*/ 34905 h 1737071"/>
              <a:gd name="connsiteX4525" fmla="*/ 737023 w 3956050"/>
              <a:gd name="connsiteY4525" fmla="*/ 34905 h 1737071"/>
              <a:gd name="connsiteX4526" fmla="*/ 730990 w 3956050"/>
              <a:gd name="connsiteY4526" fmla="*/ 34905 h 1737071"/>
              <a:gd name="connsiteX4527" fmla="*/ 724958 w 3956050"/>
              <a:gd name="connsiteY4527" fmla="*/ 32951 h 1737071"/>
              <a:gd name="connsiteX4528" fmla="*/ 714903 w 3956050"/>
              <a:gd name="connsiteY4528" fmla="*/ 34905 h 1737071"/>
              <a:gd name="connsiteX4529" fmla="*/ 706860 w 3956050"/>
              <a:gd name="connsiteY4529" fmla="*/ 30997 h 1737071"/>
              <a:gd name="connsiteX4530" fmla="*/ 708871 w 3956050"/>
              <a:gd name="connsiteY4530" fmla="*/ 25136 h 1737071"/>
              <a:gd name="connsiteX4531" fmla="*/ 710882 w 3956050"/>
              <a:gd name="connsiteY4531" fmla="*/ 27090 h 1737071"/>
              <a:gd name="connsiteX4532" fmla="*/ 718925 w 3956050"/>
              <a:gd name="connsiteY4532" fmla="*/ 29044 h 1737071"/>
              <a:gd name="connsiteX4533" fmla="*/ 720936 w 3956050"/>
              <a:gd name="connsiteY4533" fmla="*/ 25136 h 1737071"/>
              <a:gd name="connsiteX4534" fmla="*/ 728979 w 3956050"/>
              <a:gd name="connsiteY4534" fmla="*/ 23182 h 1737071"/>
              <a:gd name="connsiteX4535" fmla="*/ 730990 w 3956050"/>
              <a:gd name="connsiteY4535" fmla="*/ 17320 h 1737071"/>
              <a:gd name="connsiteX4536" fmla="*/ 743055 w 3956050"/>
              <a:gd name="connsiteY4536" fmla="*/ 17320 h 1737071"/>
              <a:gd name="connsiteX4537" fmla="*/ 749088 w 3956050"/>
              <a:gd name="connsiteY4537" fmla="*/ 13413 h 1737071"/>
              <a:gd name="connsiteX4538" fmla="*/ 753109 w 3956050"/>
              <a:gd name="connsiteY4538" fmla="*/ 11459 h 1737071"/>
              <a:gd name="connsiteX4539" fmla="*/ 865822 w 3956050"/>
              <a:gd name="connsiteY4539" fmla="*/ 800 h 1737071"/>
              <a:gd name="connsiteX4540" fmla="*/ 869844 w 3956050"/>
              <a:gd name="connsiteY4540" fmla="*/ 800 h 1737071"/>
              <a:gd name="connsiteX4541" fmla="*/ 877887 w 3956050"/>
              <a:gd name="connsiteY4541" fmla="*/ 4882 h 1737071"/>
              <a:gd name="connsiteX4542" fmla="*/ 869844 w 3956050"/>
              <a:gd name="connsiteY4542" fmla="*/ 13046 h 1737071"/>
              <a:gd name="connsiteX4543" fmla="*/ 861800 w 3956050"/>
              <a:gd name="connsiteY4543" fmla="*/ 11005 h 1737071"/>
              <a:gd name="connsiteX4544" fmla="*/ 857779 w 3956050"/>
              <a:gd name="connsiteY4544" fmla="*/ 8964 h 1737071"/>
              <a:gd name="connsiteX4545" fmla="*/ 849735 w 3956050"/>
              <a:gd name="connsiteY4545" fmla="*/ 8964 h 1737071"/>
              <a:gd name="connsiteX4546" fmla="*/ 847724 w 3956050"/>
              <a:gd name="connsiteY4546" fmla="*/ 4882 h 1737071"/>
              <a:gd name="connsiteX4547" fmla="*/ 851746 w 3956050"/>
              <a:gd name="connsiteY4547" fmla="*/ 4882 h 1737071"/>
              <a:gd name="connsiteX4548" fmla="*/ 857779 w 3956050"/>
              <a:gd name="connsiteY4548" fmla="*/ 4882 h 1737071"/>
              <a:gd name="connsiteX4549" fmla="*/ 865822 w 3956050"/>
              <a:gd name="connsiteY4549" fmla="*/ 800 h 17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Lst>
            <a:rect l="l" t="t" r="r" b="b"/>
            <a:pathLst>
              <a:path w="3956050" h="1737071">
                <a:moveTo>
                  <a:pt x="3204105" y="1640134"/>
                </a:moveTo>
                <a:cubicBezTo>
                  <a:pt x="3205163" y="1640134"/>
                  <a:pt x="3206222" y="1640630"/>
                  <a:pt x="3206222" y="1640630"/>
                </a:cubicBezTo>
                <a:cubicBezTo>
                  <a:pt x="3206222" y="1640630"/>
                  <a:pt x="3208338" y="1640630"/>
                  <a:pt x="3208338" y="1642615"/>
                </a:cubicBezTo>
                <a:cubicBezTo>
                  <a:pt x="3208338" y="1644599"/>
                  <a:pt x="3201988" y="1646583"/>
                  <a:pt x="3201988" y="1642615"/>
                </a:cubicBezTo>
                <a:cubicBezTo>
                  <a:pt x="3201988" y="1640630"/>
                  <a:pt x="3203047" y="1640134"/>
                  <a:pt x="3204105" y="1640134"/>
                </a:cubicBezTo>
                <a:close/>
                <a:moveTo>
                  <a:pt x="3214159" y="1633619"/>
                </a:moveTo>
                <a:cubicBezTo>
                  <a:pt x="3214688" y="1634413"/>
                  <a:pt x="3214688" y="1636529"/>
                  <a:pt x="3214688" y="1637588"/>
                </a:cubicBezTo>
                <a:cubicBezTo>
                  <a:pt x="3214688" y="1639704"/>
                  <a:pt x="3210455" y="1641821"/>
                  <a:pt x="3210455" y="1641821"/>
                </a:cubicBezTo>
                <a:cubicBezTo>
                  <a:pt x="3208338" y="1641821"/>
                  <a:pt x="3210455" y="1637588"/>
                  <a:pt x="3210455" y="1637588"/>
                </a:cubicBezTo>
                <a:cubicBezTo>
                  <a:pt x="3212571" y="1633354"/>
                  <a:pt x="3213630" y="1632825"/>
                  <a:pt x="3214159" y="1633619"/>
                </a:cubicBezTo>
                <a:close/>
                <a:moveTo>
                  <a:pt x="3193654" y="1619914"/>
                </a:moveTo>
                <a:cubicBezTo>
                  <a:pt x="3195638" y="1621819"/>
                  <a:pt x="3193654" y="1623724"/>
                  <a:pt x="3189685" y="1627534"/>
                </a:cubicBezTo>
                <a:cubicBezTo>
                  <a:pt x="3185716" y="1629439"/>
                  <a:pt x="3185716" y="1631344"/>
                  <a:pt x="3185716" y="1633249"/>
                </a:cubicBezTo>
                <a:cubicBezTo>
                  <a:pt x="3185716" y="1635154"/>
                  <a:pt x="3183732" y="1638964"/>
                  <a:pt x="3181747" y="1638964"/>
                </a:cubicBezTo>
                <a:cubicBezTo>
                  <a:pt x="3179763" y="1638964"/>
                  <a:pt x="3179763" y="1642774"/>
                  <a:pt x="3177778" y="1644679"/>
                </a:cubicBezTo>
                <a:cubicBezTo>
                  <a:pt x="3177778" y="1646584"/>
                  <a:pt x="3173810" y="1646584"/>
                  <a:pt x="3173810" y="1642774"/>
                </a:cubicBezTo>
                <a:cubicBezTo>
                  <a:pt x="3171825" y="1638964"/>
                  <a:pt x="3175794" y="1635154"/>
                  <a:pt x="3175794" y="1635154"/>
                </a:cubicBezTo>
                <a:cubicBezTo>
                  <a:pt x="3175794" y="1635154"/>
                  <a:pt x="3177778" y="1635154"/>
                  <a:pt x="3179763" y="1631344"/>
                </a:cubicBezTo>
                <a:cubicBezTo>
                  <a:pt x="3179763" y="1627534"/>
                  <a:pt x="3183732" y="1627534"/>
                  <a:pt x="3185716" y="1623724"/>
                </a:cubicBezTo>
                <a:cubicBezTo>
                  <a:pt x="3185716" y="1619914"/>
                  <a:pt x="3193654" y="1618009"/>
                  <a:pt x="3193654" y="1619914"/>
                </a:cubicBezTo>
                <a:close/>
                <a:moveTo>
                  <a:pt x="3238018" y="1577148"/>
                </a:moveTo>
                <a:cubicBezTo>
                  <a:pt x="3242021" y="1575146"/>
                  <a:pt x="3248026" y="1575146"/>
                  <a:pt x="3246025" y="1579149"/>
                </a:cubicBezTo>
                <a:cubicBezTo>
                  <a:pt x="3246025" y="1581151"/>
                  <a:pt x="3244023" y="1585154"/>
                  <a:pt x="3242021" y="1585154"/>
                </a:cubicBezTo>
                <a:cubicBezTo>
                  <a:pt x="3238018" y="1583153"/>
                  <a:pt x="3236016" y="1585154"/>
                  <a:pt x="3236016" y="1587156"/>
                </a:cubicBezTo>
                <a:cubicBezTo>
                  <a:pt x="3236016" y="1589157"/>
                  <a:pt x="3232013" y="1593161"/>
                  <a:pt x="3228010" y="1595162"/>
                </a:cubicBezTo>
                <a:cubicBezTo>
                  <a:pt x="3226008" y="1597164"/>
                  <a:pt x="3222005" y="1597164"/>
                  <a:pt x="3222005" y="1597164"/>
                </a:cubicBezTo>
                <a:cubicBezTo>
                  <a:pt x="3222005" y="1597164"/>
                  <a:pt x="3220003" y="1597164"/>
                  <a:pt x="3220003" y="1601167"/>
                </a:cubicBezTo>
                <a:cubicBezTo>
                  <a:pt x="3218001" y="1603169"/>
                  <a:pt x="3213998" y="1607172"/>
                  <a:pt x="3213998" y="1607172"/>
                </a:cubicBezTo>
                <a:cubicBezTo>
                  <a:pt x="3207993" y="1615178"/>
                  <a:pt x="3207993" y="1615178"/>
                  <a:pt x="3207993" y="1615178"/>
                </a:cubicBezTo>
                <a:cubicBezTo>
                  <a:pt x="3207993" y="1615178"/>
                  <a:pt x="3205992" y="1621183"/>
                  <a:pt x="3203990" y="1619182"/>
                </a:cubicBezTo>
                <a:cubicBezTo>
                  <a:pt x="3201988" y="1615178"/>
                  <a:pt x="3203990" y="1611175"/>
                  <a:pt x="3205992" y="1611175"/>
                </a:cubicBezTo>
                <a:cubicBezTo>
                  <a:pt x="3207993" y="1611175"/>
                  <a:pt x="3207993" y="1609173"/>
                  <a:pt x="3209995" y="1607172"/>
                </a:cubicBezTo>
                <a:cubicBezTo>
                  <a:pt x="3209995" y="1605170"/>
                  <a:pt x="3213998" y="1601167"/>
                  <a:pt x="3213998" y="1601167"/>
                </a:cubicBezTo>
                <a:cubicBezTo>
                  <a:pt x="3213998" y="1601167"/>
                  <a:pt x="3216000" y="1599165"/>
                  <a:pt x="3213998" y="1597164"/>
                </a:cubicBezTo>
                <a:cubicBezTo>
                  <a:pt x="3213998" y="1593161"/>
                  <a:pt x="3216000" y="1593161"/>
                  <a:pt x="3218001" y="1593161"/>
                </a:cubicBezTo>
                <a:cubicBezTo>
                  <a:pt x="3220003" y="1593161"/>
                  <a:pt x="3220003" y="1591159"/>
                  <a:pt x="3220003" y="1589157"/>
                </a:cubicBezTo>
                <a:cubicBezTo>
                  <a:pt x="3220003" y="1589157"/>
                  <a:pt x="3218001" y="1583153"/>
                  <a:pt x="3222005" y="1583153"/>
                </a:cubicBezTo>
                <a:cubicBezTo>
                  <a:pt x="3226008" y="1583153"/>
                  <a:pt x="3228010" y="1585154"/>
                  <a:pt x="3228010" y="1585154"/>
                </a:cubicBezTo>
                <a:cubicBezTo>
                  <a:pt x="3228010" y="1585154"/>
                  <a:pt x="3230011" y="1589157"/>
                  <a:pt x="3232013" y="1585154"/>
                </a:cubicBezTo>
                <a:cubicBezTo>
                  <a:pt x="3234015" y="1583153"/>
                  <a:pt x="3234015" y="1577148"/>
                  <a:pt x="3238018" y="1577148"/>
                </a:cubicBezTo>
                <a:close/>
                <a:moveTo>
                  <a:pt x="3274060" y="1553355"/>
                </a:moveTo>
                <a:cubicBezTo>
                  <a:pt x="3275965" y="1551334"/>
                  <a:pt x="3279775" y="1553355"/>
                  <a:pt x="3277870" y="1555375"/>
                </a:cubicBezTo>
                <a:cubicBezTo>
                  <a:pt x="3277870" y="1557395"/>
                  <a:pt x="3275965" y="1561436"/>
                  <a:pt x="3275965" y="1561436"/>
                </a:cubicBezTo>
                <a:cubicBezTo>
                  <a:pt x="3275965" y="1561436"/>
                  <a:pt x="3275965" y="1565477"/>
                  <a:pt x="3274060" y="1565477"/>
                </a:cubicBezTo>
                <a:cubicBezTo>
                  <a:pt x="3272155" y="1565477"/>
                  <a:pt x="3270250" y="1567498"/>
                  <a:pt x="3270250" y="1567498"/>
                </a:cubicBezTo>
                <a:cubicBezTo>
                  <a:pt x="3270250" y="1567498"/>
                  <a:pt x="3266440" y="1573559"/>
                  <a:pt x="3264535" y="1571539"/>
                </a:cubicBezTo>
                <a:cubicBezTo>
                  <a:pt x="3260725" y="1569518"/>
                  <a:pt x="3260725" y="1567498"/>
                  <a:pt x="3262630" y="1567498"/>
                </a:cubicBezTo>
                <a:cubicBezTo>
                  <a:pt x="3264535" y="1567498"/>
                  <a:pt x="3266440" y="1563457"/>
                  <a:pt x="3266440" y="1563457"/>
                </a:cubicBezTo>
                <a:lnTo>
                  <a:pt x="3270250" y="1561436"/>
                </a:lnTo>
                <a:cubicBezTo>
                  <a:pt x="3270250" y="1561436"/>
                  <a:pt x="3272155" y="1555375"/>
                  <a:pt x="3274060" y="1553355"/>
                </a:cubicBezTo>
                <a:close/>
                <a:moveTo>
                  <a:pt x="3306367" y="1527839"/>
                </a:moveTo>
                <a:cubicBezTo>
                  <a:pt x="3308351" y="1525934"/>
                  <a:pt x="3308351" y="1529744"/>
                  <a:pt x="3308351" y="1529744"/>
                </a:cubicBezTo>
                <a:cubicBezTo>
                  <a:pt x="3306367" y="1531649"/>
                  <a:pt x="3308351" y="1533554"/>
                  <a:pt x="3304382" y="1533554"/>
                </a:cubicBezTo>
                <a:cubicBezTo>
                  <a:pt x="3302398" y="1535459"/>
                  <a:pt x="3300413" y="1535459"/>
                  <a:pt x="3300413" y="1531649"/>
                </a:cubicBezTo>
                <a:cubicBezTo>
                  <a:pt x="3300413" y="1527839"/>
                  <a:pt x="3306367" y="1527839"/>
                  <a:pt x="3306367" y="1527839"/>
                </a:cubicBezTo>
                <a:close/>
                <a:moveTo>
                  <a:pt x="3312319" y="1519901"/>
                </a:moveTo>
                <a:cubicBezTo>
                  <a:pt x="3314304" y="1517996"/>
                  <a:pt x="3314304" y="1517996"/>
                  <a:pt x="3316288" y="1519901"/>
                </a:cubicBezTo>
                <a:cubicBezTo>
                  <a:pt x="3316288" y="1521806"/>
                  <a:pt x="3316288" y="1523711"/>
                  <a:pt x="3314304" y="1525616"/>
                </a:cubicBezTo>
                <a:cubicBezTo>
                  <a:pt x="3312319" y="1525616"/>
                  <a:pt x="3310335" y="1527521"/>
                  <a:pt x="3308350" y="1525616"/>
                </a:cubicBezTo>
                <a:cubicBezTo>
                  <a:pt x="3308350" y="1525616"/>
                  <a:pt x="3308350" y="1523711"/>
                  <a:pt x="3312319" y="1519901"/>
                </a:cubicBezTo>
                <a:close/>
                <a:moveTo>
                  <a:pt x="3326342" y="1491009"/>
                </a:moveTo>
                <a:cubicBezTo>
                  <a:pt x="3326342" y="1491009"/>
                  <a:pt x="3328459" y="1491009"/>
                  <a:pt x="3328459" y="1494978"/>
                </a:cubicBezTo>
                <a:cubicBezTo>
                  <a:pt x="3330575" y="1496962"/>
                  <a:pt x="3324225" y="1498946"/>
                  <a:pt x="3324225" y="1494978"/>
                </a:cubicBezTo>
                <a:cubicBezTo>
                  <a:pt x="3324225" y="1491009"/>
                  <a:pt x="3326342" y="1491009"/>
                  <a:pt x="3326342" y="1491009"/>
                </a:cubicBezTo>
                <a:close/>
                <a:moveTo>
                  <a:pt x="3328459" y="1478309"/>
                </a:moveTo>
                <a:cubicBezTo>
                  <a:pt x="3328459" y="1478309"/>
                  <a:pt x="3330575" y="1479896"/>
                  <a:pt x="3330575" y="1479896"/>
                </a:cubicBezTo>
                <a:cubicBezTo>
                  <a:pt x="3330575" y="1481484"/>
                  <a:pt x="3326342" y="1483071"/>
                  <a:pt x="3326342" y="1479896"/>
                </a:cubicBezTo>
                <a:cubicBezTo>
                  <a:pt x="3324225" y="1478309"/>
                  <a:pt x="3328459" y="1478309"/>
                  <a:pt x="3328459" y="1478309"/>
                </a:cubicBezTo>
                <a:close/>
                <a:moveTo>
                  <a:pt x="3340101" y="1454496"/>
                </a:moveTo>
                <a:cubicBezTo>
                  <a:pt x="3340101" y="1454496"/>
                  <a:pt x="3341688" y="1454496"/>
                  <a:pt x="3341688" y="1456084"/>
                </a:cubicBezTo>
                <a:cubicBezTo>
                  <a:pt x="3341688" y="1457671"/>
                  <a:pt x="3340101" y="1457671"/>
                  <a:pt x="3340101" y="1456084"/>
                </a:cubicBezTo>
                <a:cubicBezTo>
                  <a:pt x="3338513" y="1454496"/>
                  <a:pt x="3340101" y="1454496"/>
                  <a:pt x="3340101" y="1454496"/>
                </a:cubicBezTo>
                <a:close/>
                <a:moveTo>
                  <a:pt x="3345657" y="1440209"/>
                </a:moveTo>
                <a:cubicBezTo>
                  <a:pt x="3345657" y="1440209"/>
                  <a:pt x="3348038" y="1440209"/>
                  <a:pt x="3348038" y="1441797"/>
                </a:cubicBezTo>
                <a:cubicBezTo>
                  <a:pt x="3348038" y="1443384"/>
                  <a:pt x="3343275" y="1443384"/>
                  <a:pt x="3343275" y="1441797"/>
                </a:cubicBezTo>
                <a:cubicBezTo>
                  <a:pt x="3343275" y="1440209"/>
                  <a:pt x="3345657" y="1440209"/>
                  <a:pt x="3345657" y="1440209"/>
                </a:cubicBezTo>
                <a:close/>
                <a:moveTo>
                  <a:pt x="3350155" y="1424334"/>
                </a:moveTo>
                <a:cubicBezTo>
                  <a:pt x="3352272" y="1424334"/>
                  <a:pt x="3354388" y="1424334"/>
                  <a:pt x="3354388" y="1428303"/>
                </a:cubicBezTo>
                <a:cubicBezTo>
                  <a:pt x="3352272" y="1428303"/>
                  <a:pt x="3354388" y="1432272"/>
                  <a:pt x="3354388" y="1434256"/>
                </a:cubicBezTo>
                <a:cubicBezTo>
                  <a:pt x="3354388" y="1436240"/>
                  <a:pt x="3352272" y="1440209"/>
                  <a:pt x="3350155" y="1438225"/>
                </a:cubicBezTo>
                <a:cubicBezTo>
                  <a:pt x="3348038" y="1436240"/>
                  <a:pt x="3348038" y="1434256"/>
                  <a:pt x="3348038" y="1434256"/>
                </a:cubicBezTo>
                <a:cubicBezTo>
                  <a:pt x="3348038" y="1432272"/>
                  <a:pt x="3350155" y="1426319"/>
                  <a:pt x="3350155" y="1426319"/>
                </a:cubicBezTo>
                <a:cubicBezTo>
                  <a:pt x="3350155" y="1426319"/>
                  <a:pt x="3348038" y="1424334"/>
                  <a:pt x="3350155" y="1424334"/>
                </a:cubicBezTo>
                <a:close/>
                <a:moveTo>
                  <a:pt x="3365501" y="1380236"/>
                </a:moveTo>
                <a:cubicBezTo>
                  <a:pt x="3367542" y="1380236"/>
                  <a:pt x="3373665" y="1378296"/>
                  <a:pt x="3375706" y="1380236"/>
                </a:cubicBezTo>
                <a:cubicBezTo>
                  <a:pt x="3377747" y="1380236"/>
                  <a:pt x="3379788" y="1382177"/>
                  <a:pt x="3375706" y="1384117"/>
                </a:cubicBezTo>
                <a:cubicBezTo>
                  <a:pt x="3371624" y="1386057"/>
                  <a:pt x="3369583" y="1386057"/>
                  <a:pt x="3371624" y="1387998"/>
                </a:cubicBezTo>
                <a:cubicBezTo>
                  <a:pt x="3371624" y="1389938"/>
                  <a:pt x="3375706" y="1389938"/>
                  <a:pt x="3371624" y="1391878"/>
                </a:cubicBezTo>
                <a:cubicBezTo>
                  <a:pt x="3369583" y="1393818"/>
                  <a:pt x="3367542" y="1393818"/>
                  <a:pt x="3367542" y="1395759"/>
                </a:cubicBezTo>
                <a:cubicBezTo>
                  <a:pt x="3367542" y="1399639"/>
                  <a:pt x="3365501" y="1403520"/>
                  <a:pt x="3363460" y="1403520"/>
                </a:cubicBezTo>
                <a:cubicBezTo>
                  <a:pt x="3363460" y="1403520"/>
                  <a:pt x="3361419" y="1403520"/>
                  <a:pt x="3361419" y="1405460"/>
                </a:cubicBezTo>
                <a:cubicBezTo>
                  <a:pt x="3359378" y="1409341"/>
                  <a:pt x="3357336" y="1413221"/>
                  <a:pt x="3355295" y="1411281"/>
                </a:cubicBezTo>
                <a:cubicBezTo>
                  <a:pt x="3353254" y="1407400"/>
                  <a:pt x="3355295" y="1405460"/>
                  <a:pt x="3355295" y="1405460"/>
                </a:cubicBezTo>
                <a:cubicBezTo>
                  <a:pt x="3355295" y="1405460"/>
                  <a:pt x="3357336" y="1403520"/>
                  <a:pt x="3353254" y="1401579"/>
                </a:cubicBezTo>
                <a:cubicBezTo>
                  <a:pt x="3351213" y="1401579"/>
                  <a:pt x="3351213" y="1399639"/>
                  <a:pt x="3353254" y="1397699"/>
                </a:cubicBezTo>
                <a:cubicBezTo>
                  <a:pt x="3357336" y="1397699"/>
                  <a:pt x="3357336" y="1397699"/>
                  <a:pt x="3359378" y="1395759"/>
                </a:cubicBezTo>
                <a:cubicBezTo>
                  <a:pt x="3361419" y="1391878"/>
                  <a:pt x="3363460" y="1386057"/>
                  <a:pt x="3363460" y="1386057"/>
                </a:cubicBezTo>
                <a:cubicBezTo>
                  <a:pt x="3363460" y="1386057"/>
                  <a:pt x="3361419" y="1382177"/>
                  <a:pt x="3365501" y="1380236"/>
                </a:cubicBezTo>
                <a:close/>
                <a:moveTo>
                  <a:pt x="2994845" y="1246933"/>
                </a:moveTo>
                <a:cubicBezTo>
                  <a:pt x="2996842" y="1248920"/>
                  <a:pt x="3000836" y="1248920"/>
                  <a:pt x="3000836" y="1246933"/>
                </a:cubicBezTo>
                <a:cubicBezTo>
                  <a:pt x="3000836" y="1244946"/>
                  <a:pt x="3002833" y="1246933"/>
                  <a:pt x="3002833" y="1246933"/>
                </a:cubicBezTo>
                <a:cubicBezTo>
                  <a:pt x="3002833" y="1246933"/>
                  <a:pt x="3004830" y="1248920"/>
                  <a:pt x="3004830" y="1250907"/>
                </a:cubicBezTo>
                <a:cubicBezTo>
                  <a:pt x="3004830" y="1252893"/>
                  <a:pt x="3008825" y="1254880"/>
                  <a:pt x="3008825" y="1254880"/>
                </a:cubicBezTo>
                <a:cubicBezTo>
                  <a:pt x="3012819" y="1258854"/>
                  <a:pt x="3012819" y="1258854"/>
                  <a:pt x="3012819" y="1258854"/>
                </a:cubicBezTo>
                <a:cubicBezTo>
                  <a:pt x="3012819" y="1264814"/>
                  <a:pt x="3012819" y="1264814"/>
                  <a:pt x="3012819" y="1264814"/>
                </a:cubicBezTo>
                <a:cubicBezTo>
                  <a:pt x="3012819" y="1264814"/>
                  <a:pt x="3012819" y="1268788"/>
                  <a:pt x="3016814" y="1270775"/>
                </a:cubicBezTo>
                <a:cubicBezTo>
                  <a:pt x="3016814" y="1272761"/>
                  <a:pt x="3020808" y="1274748"/>
                  <a:pt x="3020808" y="1278722"/>
                </a:cubicBezTo>
                <a:cubicBezTo>
                  <a:pt x="3018811" y="1280709"/>
                  <a:pt x="3020808" y="1284682"/>
                  <a:pt x="3022805" y="1286669"/>
                </a:cubicBezTo>
                <a:cubicBezTo>
                  <a:pt x="3022805" y="1288656"/>
                  <a:pt x="3026799" y="1288656"/>
                  <a:pt x="3026799" y="1294616"/>
                </a:cubicBezTo>
                <a:cubicBezTo>
                  <a:pt x="3024802" y="1300577"/>
                  <a:pt x="3026799" y="1300577"/>
                  <a:pt x="3028797" y="1304550"/>
                </a:cubicBezTo>
                <a:cubicBezTo>
                  <a:pt x="3030794" y="1306537"/>
                  <a:pt x="3032791" y="1308524"/>
                  <a:pt x="3032791" y="1310511"/>
                </a:cubicBezTo>
                <a:cubicBezTo>
                  <a:pt x="3034788" y="1312498"/>
                  <a:pt x="3036785" y="1316471"/>
                  <a:pt x="3036785" y="1316471"/>
                </a:cubicBezTo>
                <a:cubicBezTo>
                  <a:pt x="3036785" y="1316471"/>
                  <a:pt x="3036785" y="1318458"/>
                  <a:pt x="3036785" y="1322432"/>
                </a:cubicBezTo>
                <a:cubicBezTo>
                  <a:pt x="3034788" y="1324419"/>
                  <a:pt x="3034788" y="1328392"/>
                  <a:pt x="3036785" y="1328392"/>
                </a:cubicBezTo>
                <a:cubicBezTo>
                  <a:pt x="3038783" y="1330379"/>
                  <a:pt x="3040780" y="1332366"/>
                  <a:pt x="3040780" y="1336339"/>
                </a:cubicBezTo>
                <a:cubicBezTo>
                  <a:pt x="3040780" y="1340313"/>
                  <a:pt x="3048768" y="1350247"/>
                  <a:pt x="3050766" y="1352234"/>
                </a:cubicBezTo>
                <a:cubicBezTo>
                  <a:pt x="3052763" y="1356207"/>
                  <a:pt x="3054760" y="1362168"/>
                  <a:pt x="3054760" y="1364155"/>
                </a:cubicBezTo>
                <a:cubicBezTo>
                  <a:pt x="3054760" y="1366142"/>
                  <a:pt x="3052763" y="1368128"/>
                  <a:pt x="3056757" y="1370115"/>
                </a:cubicBezTo>
                <a:cubicBezTo>
                  <a:pt x="3058754" y="1372102"/>
                  <a:pt x="3066743" y="1384023"/>
                  <a:pt x="3066743" y="1387996"/>
                </a:cubicBezTo>
                <a:cubicBezTo>
                  <a:pt x="3066743" y="1391970"/>
                  <a:pt x="3074732" y="1403891"/>
                  <a:pt x="3074732" y="1403891"/>
                </a:cubicBezTo>
                <a:cubicBezTo>
                  <a:pt x="3074732" y="1403891"/>
                  <a:pt x="3078726" y="1415812"/>
                  <a:pt x="3082720" y="1415812"/>
                </a:cubicBezTo>
                <a:cubicBezTo>
                  <a:pt x="3086715" y="1415812"/>
                  <a:pt x="3086715" y="1417799"/>
                  <a:pt x="3086715" y="1419785"/>
                </a:cubicBezTo>
                <a:cubicBezTo>
                  <a:pt x="3086715" y="1421772"/>
                  <a:pt x="3090709" y="1427733"/>
                  <a:pt x="3090709" y="1427733"/>
                </a:cubicBezTo>
                <a:cubicBezTo>
                  <a:pt x="3090709" y="1427733"/>
                  <a:pt x="3094703" y="1431706"/>
                  <a:pt x="3094703" y="1437667"/>
                </a:cubicBezTo>
                <a:cubicBezTo>
                  <a:pt x="3096701" y="1441640"/>
                  <a:pt x="3100695" y="1445614"/>
                  <a:pt x="3102692" y="1447601"/>
                </a:cubicBezTo>
                <a:cubicBezTo>
                  <a:pt x="3104689" y="1449588"/>
                  <a:pt x="3108684" y="1455548"/>
                  <a:pt x="3108684" y="1455548"/>
                </a:cubicBezTo>
                <a:cubicBezTo>
                  <a:pt x="3108684" y="1455548"/>
                  <a:pt x="3114675" y="1459522"/>
                  <a:pt x="3114675" y="1463495"/>
                </a:cubicBezTo>
                <a:cubicBezTo>
                  <a:pt x="3114675" y="1467469"/>
                  <a:pt x="3112678" y="1469456"/>
                  <a:pt x="3110681" y="1471442"/>
                </a:cubicBezTo>
                <a:cubicBezTo>
                  <a:pt x="3108684" y="1471442"/>
                  <a:pt x="3108684" y="1471442"/>
                  <a:pt x="3106687" y="1467469"/>
                </a:cubicBezTo>
                <a:cubicBezTo>
                  <a:pt x="3104689" y="1465482"/>
                  <a:pt x="3102692" y="1463495"/>
                  <a:pt x="3102692" y="1463495"/>
                </a:cubicBezTo>
                <a:cubicBezTo>
                  <a:pt x="3102692" y="1463495"/>
                  <a:pt x="3098698" y="1463495"/>
                  <a:pt x="3098698" y="1459522"/>
                </a:cubicBezTo>
                <a:cubicBezTo>
                  <a:pt x="3100695" y="1455548"/>
                  <a:pt x="3100695" y="1451574"/>
                  <a:pt x="3098698" y="1449588"/>
                </a:cubicBezTo>
                <a:cubicBezTo>
                  <a:pt x="3098698" y="1447601"/>
                  <a:pt x="3090709" y="1441640"/>
                  <a:pt x="3090709" y="1441640"/>
                </a:cubicBezTo>
                <a:cubicBezTo>
                  <a:pt x="3090709" y="1441640"/>
                  <a:pt x="3084718" y="1439653"/>
                  <a:pt x="3082720" y="1439653"/>
                </a:cubicBezTo>
                <a:cubicBezTo>
                  <a:pt x="3080723" y="1437667"/>
                  <a:pt x="3076729" y="1437667"/>
                  <a:pt x="3072735" y="1439653"/>
                </a:cubicBezTo>
                <a:cubicBezTo>
                  <a:pt x="3068740" y="1441640"/>
                  <a:pt x="3064746" y="1441640"/>
                  <a:pt x="3064746" y="1441640"/>
                </a:cubicBezTo>
                <a:cubicBezTo>
                  <a:pt x="3064746" y="1441640"/>
                  <a:pt x="3062749" y="1443627"/>
                  <a:pt x="3062749" y="1447601"/>
                </a:cubicBezTo>
                <a:cubicBezTo>
                  <a:pt x="3062749" y="1449588"/>
                  <a:pt x="3066743" y="1453561"/>
                  <a:pt x="3064746" y="1457535"/>
                </a:cubicBezTo>
                <a:cubicBezTo>
                  <a:pt x="3064746" y="1461508"/>
                  <a:pt x="3064746" y="1467469"/>
                  <a:pt x="3062749" y="1471442"/>
                </a:cubicBezTo>
                <a:cubicBezTo>
                  <a:pt x="3060751" y="1477403"/>
                  <a:pt x="3060751" y="1487337"/>
                  <a:pt x="3062749" y="1491311"/>
                </a:cubicBezTo>
                <a:cubicBezTo>
                  <a:pt x="3064746" y="1495284"/>
                  <a:pt x="3066743" y="1501245"/>
                  <a:pt x="3072735" y="1503231"/>
                </a:cubicBezTo>
                <a:cubicBezTo>
                  <a:pt x="3078726" y="1505218"/>
                  <a:pt x="3080723" y="1503231"/>
                  <a:pt x="3080723" y="1509192"/>
                </a:cubicBezTo>
                <a:cubicBezTo>
                  <a:pt x="3080723" y="1515152"/>
                  <a:pt x="3084718" y="1523100"/>
                  <a:pt x="3086715" y="1527073"/>
                </a:cubicBezTo>
                <a:cubicBezTo>
                  <a:pt x="3088712" y="1529060"/>
                  <a:pt x="3092706" y="1533034"/>
                  <a:pt x="3096701" y="1531047"/>
                </a:cubicBezTo>
                <a:cubicBezTo>
                  <a:pt x="3100695" y="1529060"/>
                  <a:pt x="3100695" y="1531047"/>
                  <a:pt x="3100695" y="1533034"/>
                </a:cubicBezTo>
                <a:cubicBezTo>
                  <a:pt x="3098698" y="1537007"/>
                  <a:pt x="3100695" y="1540981"/>
                  <a:pt x="3102692" y="1544954"/>
                </a:cubicBezTo>
                <a:cubicBezTo>
                  <a:pt x="3106687" y="1548928"/>
                  <a:pt x="3104689" y="1550915"/>
                  <a:pt x="3104689" y="1550915"/>
                </a:cubicBezTo>
                <a:cubicBezTo>
                  <a:pt x="3104689" y="1550915"/>
                  <a:pt x="3102692" y="1554888"/>
                  <a:pt x="3100695" y="1552902"/>
                </a:cubicBezTo>
                <a:cubicBezTo>
                  <a:pt x="3098698" y="1550915"/>
                  <a:pt x="3100695" y="1546941"/>
                  <a:pt x="3100695" y="1546941"/>
                </a:cubicBezTo>
                <a:cubicBezTo>
                  <a:pt x="3100695" y="1546941"/>
                  <a:pt x="3100695" y="1544954"/>
                  <a:pt x="3096701" y="1546941"/>
                </a:cubicBezTo>
                <a:cubicBezTo>
                  <a:pt x="3092706" y="1546941"/>
                  <a:pt x="3090709" y="1544954"/>
                  <a:pt x="3090709" y="1544954"/>
                </a:cubicBezTo>
                <a:cubicBezTo>
                  <a:pt x="3090709" y="1544954"/>
                  <a:pt x="3084718" y="1542968"/>
                  <a:pt x="3080723" y="1542968"/>
                </a:cubicBezTo>
                <a:cubicBezTo>
                  <a:pt x="3078726" y="1542968"/>
                  <a:pt x="3076729" y="1544954"/>
                  <a:pt x="3076729" y="1548928"/>
                </a:cubicBezTo>
                <a:cubicBezTo>
                  <a:pt x="3076729" y="1554888"/>
                  <a:pt x="3074732" y="1560849"/>
                  <a:pt x="3074732" y="1560849"/>
                </a:cubicBezTo>
                <a:cubicBezTo>
                  <a:pt x="3074732" y="1560849"/>
                  <a:pt x="3076729" y="1564823"/>
                  <a:pt x="3072735" y="1566809"/>
                </a:cubicBezTo>
                <a:cubicBezTo>
                  <a:pt x="3068740" y="1568796"/>
                  <a:pt x="3066743" y="1558862"/>
                  <a:pt x="3066743" y="1558862"/>
                </a:cubicBezTo>
                <a:cubicBezTo>
                  <a:pt x="3066743" y="1558862"/>
                  <a:pt x="3062749" y="1548928"/>
                  <a:pt x="3060751" y="1546941"/>
                </a:cubicBezTo>
                <a:cubicBezTo>
                  <a:pt x="3060751" y="1546941"/>
                  <a:pt x="3058754" y="1540981"/>
                  <a:pt x="3058754" y="1537007"/>
                </a:cubicBezTo>
                <a:cubicBezTo>
                  <a:pt x="3060751" y="1533034"/>
                  <a:pt x="3060751" y="1523100"/>
                  <a:pt x="3060751" y="1523100"/>
                </a:cubicBezTo>
                <a:cubicBezTo>
                  <a:pt x="3060751" y="1523100"/>
                  <a:pt x="3060751" y="1517139"/>
                  <a:pt x="3058754" y="1517139"/>
                </a:cubicBezTo>
                <a:cubicBezTo>
                  <a:pt x="3058754" y="1517139"/>
                  <a:pt x="3054760" y="1517139"/>
                  <a:pt x="3054760" y="1507205"/>
                </a:cubicBezTo>
                <a:cubicBezTo>
                  <a:pt x="3054760" y="1497271"/>
                  <a:pt x="3054760" y="1491311"/>
                  <a:pt x="3054760" y="1491311"/>
                </a:cubicBezTo>
                <a:cubicBezTo>
                  <a:pt x="3054760" y="1491311"/>
                  <a:pt x="3056757" y="1487337"/>
                  <a:pt x="3052763" y="1485350"/>
                </a:cubicBezTo>
                <a:cubicBezTo>
                  <a:pt x="3048768" y="1483363"/>
                  <a:pt x="3044774" y="1477403"/>
                  <a:pt x="3044774" y="1477403"/>
                </a:cubicBezTo>
                <a:cubicBezTo>
                  <a:pt x="3044774" y="1477403"/>
                  <a:pt x="3040780" y="1475416"/>
                  <a:pt x="3042777" y="1471442"/>
                </a:cubicBezTo>
                <a:cubicBezTo>
                  <a:pt x="3042777" y="1465482"/>
                  <a:pt x="3040780" y="1455548"/>
                  <a:pt x="3040780" y="1455548"/>
                </a:cubicBezTo>
                <a:cubicBezTo>
                  <a:pt x="3040780" y="1455548"/>
                  <a:pt x="3038783" y="1445614"/>
                  <a:pt x="3038783" y="1441640"/>
                </a:cubicBezTo>
                <a:cubicBezTo>
                  <a:pt x="3038783" y="1439653"/>
                  <a:pt x="3038783" y="1423759"/>
                  <a:pt x="3036785" y="1421772"/>
                </a:cubicBezTo>
                <a:cubicBezTo>
                  <a:pt x="3036785" y="1419785"/>
                  <a:pt x="3034788" y="1411838"/>
                  <a:pt x="3032791" y="1409851"/>
                </a:cubicBezTo>
                <a:cubicBezTo>
                  <a:pt x="3032791" y="1409851"/>
                  <a:pt x="3030794" y="1407865"/>
                  <a:pt x="3030794" y="1403891"/>
                </a:cubicBezTo>
                <a:cubicBezTo>
                  <a:pt x="3028797" y="1399917"/>
                  <a:pt x="3024802" y="1370115"/>
                  <a:pt x="3024802" y="1370115"/>
                </a:cubicBezTo>
                <a:cubicBezTo>
                  <a:pt x="3024802" y="1370115"/>
                  <a:pt x="3024802" y="1362168"/>
                  <a:pt x="3016814" y="1356207"/>
                </a:cubicBezTo>
                <a:cubicBezTo>
                  <a:pt x="3012819" y="1352234"/>
                  <a:pt x="3004830" y="1344287"/>
                  <a:pt x="3002833" y="1340313"/>
                </a:cubicBezTo>
                <a:cubicBezTo>
                  <a:pt x="3002833" y="1336339"/>
                  <a:pt x="3000836" y="1330379"/>
                  <a:pt x="3000836" y="1326405"/>
                </a:cubicBezTo>
                <a:cubicBezTo>
                  <a:pt x="3000836" y="1324419"/>
                  <a:pt x="2998839" y="1316471"/>
                  <a:pt x="2998839" y="1312498"/>
                </a:cubicBezTo>
                <a:cubicBezTo>
                  <a:pt x="2998839" y="1308524"/>
                  <a:pt x="2998839" y="1302564"/>
                  <a:pt x="2994845" y="1296603"/>
                </a:cubicBezTo>
                <a:cubicBezTo>
                  <a:pt x="2992847" y="1290643"/>
                  <a:pt x="2990850" y="1284682"/>
                  <a:pt x="2994845" y="1280709"/>
                </a:cubicBezTo>
                <a:cubicBezTo>
                  <a:pt x="2998839" y="1276735"/>
                  <a:pt x="3002833" y="1280709"/>
                  <a:pt x="3002833" y="1280709"/>
                </a:cubicBezTo>
                <a:cubicBezTo>
                  <a:pt x="3002833" y="1282696"/>
                  <a:pt x="3002833" y="1286669"/>
                  <a:pt x="3004830" y="1286669"/>
                </a:cubicBezTo>
                <a:cubicBezTo>
                  <a:pt x="3004830" y="1286669"/>
                  <a:pt x="3004830" y="1288656"/>
                  <a:pt x="3006828" y="1284682"/>
                </a:cubicBezTo>
                <a:cubicBezTo>
                  <a:pt x="3008825" y="1280709"/>
                  <a:pt x="3008825" y="1276735"/>
                  <a:pt x="3008825" y="1276735"/>
                </a:cubicBezTo>
                <a:cubicBezTo>
                  <a:pt x="3008825" y="1276735"/>
                  <a:pt x="3008825" y="1272761"/>
                  <a:pt x="3004830" y="1266801"/>
                </a:cubicBezTo>
                <a:cubicBezTo>
                  <a:pt x="3000836" y="1260841"/>
                  <a:pt x="2996842" y="1258854"/>
                  <a:pt x="2994845" y="1256867"/>
                </a:cubicBezTo>
                <a:cubicBezTo>
                  <a:pt x="2992847" y="1252893"/>
                  <a:pt x="2992847" y="1252893"/>
                  <a:pt x="2992847" y="1252893"/>
                </a:cubicBezTo>
                <a:cubicBezTo>
                  <a:pt x="2992847" y="1252893"/>
                  <a:pt x="2992847" y="1246933"/>
                  <a:pt x="2994845" y="1246933"/>
                </a:cubicBezTo>
                <a:close/>
                <a:moveTo>
                  <a:pt x="3602744" y="1224706"/>
                </a:moveTo>
                <a:cubicBezTo>
                  <a:pt x="3606624" y="1226690"/>
                  <a:pt x="3610505" y="1230659"/>
                  <a:pt x="3612445" y="1232643"/>
                </a:cubicBezTo>
                <a:cubicBezTo>
                  <a:pt x="3616326" y="1234627"/>
                  <a:pt x="3616326" y="1238596"/>
                  <a:pt x="3614386" y="1238596"/>
                </a:cubicBezTo>
                <a:cubicBezTo>
                  <a:pt x="3612445" y="1238596"/>
                  <a:pt x="3612445" y="1236612"/>
                  <a:pt x="3610505" y="1236612"/>
                </a:cubicBezTo>
                <a:cubicBezTo>
                  <a:pt x="3608565" y="1236612"/>
                  <a:pt x="3606624" y="1236612"/>
                  <a:pt x="3604684" y="1234627"/>
                </a:cubicBezTo>
                <a:cubicBezTo>
                  <a:pt x="3604684" y="1232643"/>
                  <a:pt x="3600803" y="1230659"/>
                  <a:pt x="3600803" y="1230659"/>
                </a:cubicBezTo>
                <a:lnTo>
                  <a:pt x="3598863" y="1226690"/>
                </a:lnTo>
                <a:cubicBezTo>
                  <a:pt x="3598863" y="1226690"/>
                  <a:pt x="3598863" y="1222721"/>
                  <a:pt x="3602744" y="1224706"/>
                </a:cubicBezTo>
                <a:close/>
                <a:moveTo>
                  <a:pt x="34409" y="1216786"/>
                </a:moveTo>
                <a:cubicBezTo>
                  <a:pt x="34409" y="1214784"/>
                  <a:pt x="38457" y="1218787"/>
                  <a:pt x="38457" y="1218787"/>
                </a:cubicBezTo>
                <a:cubicBezTo>
                  <a:pt x="38457" y="1218787"/>
                  <a:pt x="44529" y="1224792"/>
                  <a:pt x="46553" y="1224792"/>
                </a:cubicBezTo>
                <a:cubicBezTo>
                  <a:pt x="46553" y="1226794"/>
                  <a:pt x="50602" y="1226794"/>
                  <a:pt x="52626" y="1228795"/>
                </a:cubicBezTo>
                <a:cubicBezTo>
                  <a:pt x="54650" y="1228795"/>
                  <a:pt x="60722" y="1230797"/>
                  <a:pt x="62746" y="1230797"/>
                </a:cubicBezTo>
                <a:cubicBezTo>
                  <a:pt x="64770" y="1230797"/>
                  <a:pt x="68818" y="1232799"/>
                  <a:pt x="72866" y="1234800"/>
                </a:cubicBezTo>
                <a:cubicBezTo>
                  <a:pt x="74891" y="1236802"/>
                  <a:pt x="80963" y="1240805"/>
                  <a:pt x="80963" y="1242807"/>
                </a:cubicBezTo>
                <a:cubicBezTo>
                  <a:pt x="80963" y="1242807"/>
                  <a:pt x="80963" y="1248811"/>
                  <a:pt x="78939" y="1248811"/>
                </a:cubicBezTo>
                <a:cubicBezTo>
                  <a:pt x="78939" y="1250813"/>
                  <a:pt x="76915" y="1256818"/>
                  <a:pt x="76915" y="1256818"/>
                </a:cubicBezTo>
                <a:cubicBezTo>
                  <a:pt x="76915" y="1256818"/>
                  <a:pt x="70842" y="1258820"/>
                  <a:pt x="68818" y="1258820"/>
                </a:cubicBezTo>
                <a:cubicBezTo>
                  <a:pt x="66794" y="1258820"/>
                  <a:pt x="60722" y="1258820"/>
                  <a:pt x="60722" y="1258820"/>
                </a:cubicBezTo>
                <a:cubicBezTo>
                  <a:pt x="60722" y="1258820"/>
                  <a:pt x="56674" y="1260821"/>
                  <a:pt x="54650" y="1260821"/>
                </a:cubicBezTo>
                <a:cubicBezTo>
                  <a:pt x="50602" y="1260821"/>
                  <a:pt x="42505" y="1260821"/>
                  <a:pt x="40481" y="1260821"/>
                </a:cubicBezTo>
                <a:cubicBezTo>
                  <a:pt x="38457" y="1260821"/>
                  <a:pt x="28337" y="1260821"/>
                  <a:pt x="26313" y="1260821"/>
                </a:cubicBezTo>
                <a:cubicBezTo>
                  <a:pt x="24289" y="1260821"/>
                  <a:pt x="20241" y="1258820"/>
                  <a:pt x="20241" y="1258820"/>
                </a:cubicBezTo>
                <a:cubicBezTo>
                  <a:pt x="18216" y="1258820"/>
                  <a:pt x="16192" y="1258820"/>
                  <a:pt x="14168" y="1258820"/>
                </a:cubicBezTo>
                <a:cubicBezTo>
                  <a:pt x="12144" y="1260821"/>
                  <a:pt x="10120" y="1260821"/>
                  <a:pt x="8096" y="1260821"/>
                </a:cubicBezTo>
                <a:cubicBezTo>
                  <a:pt x="6072" y="1258820"/>
                  <a:pt x="4048" y="1254816"/>
                  <a:pt x="4048" y="1254816"/>
                </a:cubicBezTo>
                <a:lnTo>
                  <a:pt x="0" y="1248811"/>
                </a:lnTo>
                <a:cubicBezTo>
                  <a:pt x="0" y="1246810"/>
                  <a:pt x="6072" y="1244808"/>
                  <a:pt x="6072" y="1244808"/>
                </a:cubicBezTo>
                <a:cubicBezTo>
                  <a:pt x="6072" y="1244808"/>
                  <a:pt x="10120" y="1242807"/>
                  <a:pt x="14168" y="1242807"/>
                </a:cubicBezTo>
                <a:cubicBezTo>
                  <a:pt x="16192" y="1242807"/>
                  <a:pt x="16192" y="1240805"/>
                  <a:pt x="16192" y="1240805"/>
                </a:cubicBezTo>
                <a:cubicBezTo>
                  <a:pt x="16192" y="1240805"/>
                  <a:pt x="14168" y="1240805"/>
                  <a:pt x="12144" y="1240805"/>
                </a:cubicBezTo>
                <a:cubicBezTo>
                  <a:pt x="10120" y="1240805"/>
                  <a:pt x="6072" y="1240805"/>
                  <a:pt x="4048" y="1240805"/>
                </a:cubicBezTo>
                <a:cubicBezTo>
                  <a:pt x="0" y="1242807"/>
                  <a:pt x="0" y="1238803"/>
                  <a:pt x="0" y="1234800"/>
                </a:cubicBezTo>
                <a:cubicBezTo>
                  <a:pt x="0" y="1230797"/>
                  <a:pt x="6072" y="1228795"/>
                  <a:pt x="8096" y="1228795"/>
                </a:cubicBezTo>
                <a:cubicBezTo>
                  <a:pt x="10120" y="1228795"/>
                  <a:pt x="14168" y="1226794"/>
                  <a:pt x="14168" y="1226794"/>
                </a:cubicBezTo>
                <a:cubicBezTo>
                  <a:pt x="16192" y="1226794"/>
                  <a:pt x="18216" y="1224792"/>
                  <a:pt x="20241" y="1222791"/>
                </a:cubicBezTo>
                <a:cubicBezTo>
                  <a:pt x="20241" y="1222791"/>
                  <a:pt x="20241" y="1226794"/>
                  <a:pt x="20241" y="1226794"/>
                </a:cubicBezTo>
                <a:cubicBezTo>
                  <a:pt x="20241" y="1230797"/>
                  <a:pt x="24289" y="1230797"/>
                  <a:pt x="26313" y="1230797"/>
                </a:cubicBezTo>
                <a:cubicBezTo>
                  <a:pt x="30361" y="1230797"/>
                  <a:pt x="32385" y="1224792"/>
                  <a:pt x="30361" y="1220789"/>
                </a:cubicBezTo>
                <a:cubicBezTo>
                  <a:pt x="30361" y="1216786"/>
                  <a:pt x="32385" y="1216786"/>
                  <a:pt x="34409" y="1216786"/>
                </a:cubicBezTo>
                <a:close/>
                <a:moveTo>
                  <a:pt x="2852512" y="1216769"/>
                </a:moveTo>
                <a:cubicBezTo>
                  <a:pt x="2854553" y="1214784"/>
                  <a:pt x="2860676" y="1214784"/>
                  <a:pt x="2860676" y="1216769"/>
                </a:cubicBezTo>
                <a:cubicBezTo>
                  <a:pt x="2860676" y="1220737"/>
                  <a:pt x="2858635" y="1220737"/>
                  <a:pt x="2858635" y="1222722"/>
                </a:cubicBezTo>
                <a:cubicBezTo>
                  <a:pt x="2858635" y="1226690"/>
                  <a:pt x="2856594" y="1228675"/>
                  <a:pt x="2854553" y="1228675"/>
                </a:cubicBezTo>
                <a:cubicBezTo>
                  <a:pt x="2854553" y="1228675"/>
                  <a:pt x="2852512" y="1228675"/>
                  <a:pt x="2852512" y="1226690"/>
                </a:cubicBezTo>
                <a:cubicBezTo>
                  <a:pt x="2852512" y="1226690"/>
                  <a:pt x="2854553" y="1224706"/>
                  <a:pt x="2850471" y="1224706"/>
                </a:cubicBezTo>
                <a:cubicBezTo>
                  <a:pt x="2848429" y="1226690"/>
                  <a:pt x="2846388" y="1230659"/>
                  <a:pt x="2846388" y="1226690"/>
                </a:cubicBezTo>
                <a:cubicBezTo>
                  <a:pt x="2846388" y="1222722"/>
                  <a:pt x="2846388" y="1222722"/>
                  <a:pt x="2846388" y="1222722"/>
                </a:cubicBezTo>
                <a:cubicBezTo>
                  <a:pt x="2846388" y="1222722"/>
                  <a:pt x="2848429" y="1216769"/>
                  <a:pt x="2852512" y="1216769"/>
                </a:cubicBezTo>
                <a:close/>
                <a:moveTo>
                  <a:pt x="2877185" y="1212005"/>
                </a:moveTo>
                <a:cubicBezTo>
                  <a:pt x="2877185" y="1210021"/>
                  <a:pt x="2882900" y="1212005"/>
                  <a:pt x="2880995" y="1215974"/>
                </a:cubicBezTo>
                <a:cubicBezTo>
                  <a:pt x="2877185" y="1217958"/>
                  <a:pt x="2879090" y="1217958"/>
                  <a:pt x="2879090" y="1217958"/>
                </a:cubicBezTo>
                <a:cubicBezTo>
                  <a:pt x="2879090" y="1217958"/>
                  <a:pt x="2882900" y="1215974"/>
                  <a:pt x="2882900" y="1219943"/>
                </a:cubicBezTo>
                <a:cubicBezTo>
                  <a:pt x="2882900" y="1221927"/>
                  <a:pt x="2880995" y="1223911"/>
                  <a:pt x="2880995" y="1223911"/>
                </a:cubicBezTo>
                <a:cubicBezTo>
                  <a:pt x="2880995" y="1223911"/>
                  <a:pt x="2882900" y="1225896"/>
                  <a:pt x="2880995" y="1229864"/>
                </a:cubicBezTo>
                <a:cubicBezTo>
                  <a:pt x="2879090" y="1229864"/>
                  <a:pt x="2877185" y="1233833"/>
                  <a:pt x="2875280" y="1231849"/>
                </a:cubicBezTo>
                <a:cubicBezTo>
                  <a:pt x="2873375" y="1229864"/>
                  <a:pt x="2873375" y="1229864"/>
                  <a:pt x="2873375" y="1229864"/>
                </a:cubicBezTo>
                <a:cubicBezTo>
                  <a:pt x="2873375" y="1229864"/>
                  <a:pt x="2875280" y="1225896"/>
                  <a:pt x="2871470" y="1227880"/>
                </a:cubicBezTo>
                <a:cubicBezTo>
                  <a:pt x="2869565" y="1227880"/>
                  <a:pt x="2863850" y="1231849"/>
                  <a:pt x="2865755" y="1225896"/>
                </a:cubicBezTo>
                <a:cubicBezTo>
                  <a:pt x="2865755" y="1221927"/>
                  <a:pt x="2867660" y="1215974"/>
                  <a:pt x="2867660" y="1215974"/>
                </a:cubicBezTo>
                <a:cubicBezTo>
                  <a:pt x="2867660" y="1215974"/>
                  <a:pt x="2867660" y="1212005"/>
                  <a:pt x="2869565" y="1213990"/>
                </a:cubicBezTo>
                <a:cubicBezTo>
                  <a:pt x="2869565" y="1213990"/>
                  <a:pt x="2871470" y="1213990"/>
                  <a:pt x="2871470" y="1213990"/>
                </a:cubicBezTo>
                <a:cubicBezTo>
                  <a:pt x="2871470" y="1213990"/>
                  <a:pt x="2875280" y="1213990"/>
                  <a:pt x="2877185" y="1212005"/>
                </a:cubicBezTo>
                <a:close/>
                <a:moveTo>
                  <a:pt x="3561777" y="1198572"/>
                </a:moveTo>
                <a:cubicBezTo>
                  <a:pt x="3563717" y="1199346"/>
                  <a:pt x="3565172" y="1200894"/>
                  <a:pt x="3565172" y="1201925"/>
                </a:cubicBezTo>
                <a:cubicBezTo>
                  <a:pt x="3565172" y="1206053"/>
                  <a:pt x="3565172" y="1208117"/>
                  <a:pt x="3567113" y="1212244"/>
                </a:cubicBezTo>
                <a:cubicBezTo>
                  <a:pt x="3569053" y="1212244"/>
                  <a:pt x="3572933" y="1214308"/>
                  <a:pt x="3572933" y="1216372"/>
                </a:cubicBezTo>
                <a:cubicBezTo>
                  <a:pt x="3574874" y="1218435"/>
                  <a:pt x="3578754" y="1220499"/>
                  <a:pt x="3578754" y="1220499"/>
                </a:cubicBezTo>
                <a:cubicBezTo>
                  <a:pt x="3578754" y="1220499"/>
                  <a:pt x="3580694" y="1222563"/>
                  <a:pt x="3582635" y="1224627"/>
                </a:cubicBezTo>
                <a:cubicBezTo>
                  <a:pt x="3584575" y="1228754"/>
                  <a:pt x="3584575" y="1234945"/>
                  <a:pt x="3582635" y="1234945"/>
                </a:cubicBezTo>
                <a:cubicBezTo>
                  <a:pt x="3580694" y="1237009"/>
                  <a:pt x="3578754" y="1234945"/>
                  <a:pt x="3578754" y="1232882"/>
                </a:cubicBezTo>
                <a:cubicBezTo>
                  <a:pt x="3580694" y="1230818"/>
                  <a:pt x="3578754" y="1228754"/>
                  <a:pt x="3576814" y="1228754"/>
                </a:cubicBezTo>
                <a:cubicBezTo>
                  <a:pt x="3572933" y="1228754"/>
                  <a:pt x="3569053" y="1228754"/>
                  <a:pt x="3570993" y="1226690"/>
                </a:cubicBezTo>
                <a:cubicBezTo>
                  <a:pt x="3570993" y="1222563"/>
                  <a:pt x="3570993" y="1222563"/>
                  <a:pt x="3569053" y="1222563"/>
                </a:cubicBezTo>
                <a:cubicBezTo>
                  <a:pt x="3567113" y="1222563"/>
                  <a:pt x="3565172" y="1222563"/>
                  <a:pt x="3565172" y="1220499"/>
                </a:cubicBezTo>
                <a:cubicBezTo>
                  <a:pt x="3565172" y="1216372"/>
                  <a:pt x="3561292" y="1212244"/>
                  <a:pt x="3559351" y="1210180"/>
                </a:cubicBezTo>
                <a:cubicBezTo>
                  <a:pt x="3555471" y="1210180"/>
                  <a:pt x="3549650" y="1208117"/>
                  <a:pt x="3549650" y="1208117"/>
                </a:cubicBezTo>
                <a:cubicBezTo>
                  <a:pt x="3549650" y="1208117"/>
                  <a:pt x="3553531" y="1203989"/>
                  <a:pt x="3553531" y="1203989"/>
                </a:cubicBezTo>
                <a:cubicBezTo>
                  <a:pt x="3555471" y="1203989"/>
                  <a:pt x="3553531" y="1201925"/>
                  <a:pt x="3555471" y="1199862"/>
                </a:cubicBezTo>
                <a:cubicBezTo>
                  <a:pt x="3557411" y="1197798"/>
                  <a:pt x="3559836" y="1197798"/>
                  <a:pt x="3561777" y="1198572"/>
                </a:cubicBezTo>
                <a:close/>
                <a:moveTo>
                  <a:pt x="3467101" y="1048470"/>
                </a:moveTo>
                <a:cubicBezTo>
                  <a:pt x="3467101" y="1046509"/>
                  <a:pt x="3471069" y="1046509"/>
                  <a:pt x="3471069" y="1048470"/>
                </a:cubicBezTo>
                <a:cubicBezTo>
                  <a:pt x="3471069" y="1050431"/>
                  <a:pt x="3471069" y="1052392"/>
                  <a:pt x="3473054" y="1054353"/>
                </a:cubicBezTo>
                <a:cubicBezTo>
                  <a:pt x="3473054" y="1056314"/>
                  <a:pt x="3475038" y="1060236"/>
                  <a:pt x="3473054" y="1062197"/>
                </a:cubicBezTo>
                <a:cubicBezTo>
                  <a:pt x="3471069" y="1064158"/>
                  <a:pt x="3467101" y="1066119"/>
                  <a:pt x="3465116" y="1064158"/>
                </a:cubicBezTo>
                <a:cubicBezTo>
                  <a:pt x="3465116" y="1064158"/>
                  <a:pt x="3461147" y="1066119"/>
                  <a:pt x="3459163" y="1068080"/>
                </a:cubicBezTo>
                <a:cubicBezTo>
                  <a:pt x="3459163" y="1072002"/>
                  <a:pt x="3455194" y="1075924"/>
                  <a:pt x="3455194" y="1075924"/>
                </a:cubicBezTo>
                <a:cubicBezTo>
                  <a:pt x="3455194" y="1075924"/>
                  <a:pt x="3451225" y="1079846"/>
                  <a:pt x="3451225" y="1077885"/>
                </a:cubicBezTo>
                <a:cubicBezTo>
                  <a:pt x="3451225" y="1073963"/>
                  <a:pt x="3451225" y="1072002"/>
                  <a:pt x="3451225" y="1072002"/>
                </a:cubicBezTo>
                <a:cubicBezTo>
                  <a:pt x="3453210" y="1072002"/>
                  <a:pt x="3453210" y="1068080"/>
                  <a:pt x="3453210" y="1068080"/>
                </a:cubicBezTo>
                <a:cubicBezTo>
                  <a:pt x="3453210" y="1068080"/>
                  <a:pt x="3451225" y="1064158"/>
                  <a:pt x="3453210" y="1064158"/>
                </a:cubicBezTo>
                <a:cubicBezTo>
                  <a:pt x="3455194" y="1062197"/>
                  <a:pt x="3455194" y="1062197"/>
                  <a:pt x="3455194" y="1060236"/>
                </a:cubicBezTo>
                <a:cubicBezTo>
                  <a:pt x="3455194" y="1058275"/>
                  <a:pt x="3453210" y="1058275"/>
                  <a:pt x="3453210" y="1058275"/>
                </a:cubicBezTo>
                <a:cubicBezTo>
                  <a:pt x="3453210" y="1058275"/>
                  <a:pt x="3453210" y="1056314"/>
                  <a:pt x="3455194" y="1056314"/>
                </a:cubicBezTo>
                <a:cubicBezTo>
                  <a:pt x="3457178" y="1054353"/>
                  <a:pt x="3459163" y="1054353"/>
                  <a:pt x="3459163" y="1052392"/>
                </a:cubicBezTo>
                <a:cubicBezTo>
                  <a:pt x="3459163" y="1052392"/>
                  <a:pt x="3459163" y="1052392"/>
                  <a:pt x="3463132" y="1052392"/>
                </a:cubicBezTo>
                <a:cubicBezTo>
                  <a:pt x="3465116" y="1052392"/>
                  <a:pt x="3467101" y="1050431"/>
                  <a:pt x="3467101" y="1048470"/>
                </a:cubicBezTo>
                <a:close/>
                <a:moveTo>
                  <a:pt x="838597" y="637464"/>
                </a:moveTo>
                <a:cubicBezTo>
                  <a:pt x="840581" y="635347"/>
                  <a:pt x="842566" y="635347"/>
                  <a:pt x="844550" y="637464"/>
                </a:cubicBezTo>
                <a:cubicBezTo>
                  <a:pt x="844550" y="637464"/>
                  <a:pt x="842566" y="637464"/>
                  <a:pt x="840581" y="641697"/>
                </a:cubicBezTo>
                <a:cubicBezTo>
                  <a:pt x="840581" y="643814"/>
                  <a:pt x="838597" y="643814"/>
                  <a:pt x="838597" y="643814"/>
                </a:cubicBezTo>
                <a:cubicBezTo>
                  <a:pt x="838597" y="643814"/>
                  <a:pt x="836613" y="643814"/>
                  <a:pt x="832644" y="645930"/>
                </a:cubicBezTo>
                <a:cubicBezTo>
                  <a:pt x="828675" y="648047"/>
                  <a:pt x="828675" y="648047"/>
                  <a:pt x="828675" y="643814"/>
                </a:cubicBezTo>
                <a:cubicBezTo>
                  <a:pt x="830660" y="639580"/>
                  <a:pt x="832644" y="639580"/>
                  <a:pt x="832644" y="639580"/>
                </a:cubicBezTo>
                <a:cubicBezTo>
                  <a:pt x="832644" y="639580"/>
                  <a:pt x="836613" y="639580"/>
                  <a:pt x="838597" y="637464"/>
                </a:cubicBezTo>
                <a:close/>
                <a:moveTo>
                  <a:pt x="642449" y="613122"/>
                </a:moveTo>
                <a:cubicBezTo>
                  <a:pt x="648494" y="613122"/>
                  <a:pt x="648494" y="617250"/>
                  <a:pt x="648494" y="617250"/>
                </a:cubicBezTo>
                <a:cubicBezTo>
                  <a:pt x="648494" y="617250"/>
                  <a:pt x="652524" y="621377"/>
                  <a:pt x="656554" y="623441"/>
                </a:cubicBezTo>
                <a:cubicBezTo>
                  <a:pt x="662599" y="623441"/>
                  <a:pt x="666629" y="621377"/>
                  <a:pt x="670658" y="625505"/>
                </a:cubicBezTo>
                <a:cubicBezTo>
                  <a:pt x="674688" y="627568"/>
                  <a:pt x="668643" y="629632"/>
                  <a:pt x="668643" y="629632"/>
                </a:cubicBezTo>
                <a:cubicBezTo>
                  <a:pt x="668643" y="629632"/>
                  <a:pt x="668643" y="629632"/>
                  <a:pt x="668643" y="631696"/>
                </a:cubicBezTo>
                <a:cubicBezTo>
                  <a:pt x="666629" y="635823"/>
                  <a:pt x="666629" y="637887"/>
                  <a:pt x="662599" y="637887"/>
                </a:cubicBezTo>
                <a:cubicBezTo>
                  <a:pt x="658569" y="639951"/>
                  <a:pt x="654539" y="639951"/>
                  <a:pt x="652524" y="644078"/>
                </a:cubicBezTo>
                <a:cubicBezTo>
                  <a:pt x="652524" y="648206"/>
                  <a:pt x="648494" y="648206"/>
                  <a:pt x="648494" y="648206"/>
                </a:cubicBezTo>
                <a:cubicBezTo>
                  <a:pt x="648494" y="648206"/>
                  <a:pt x="642449" y="650270"/>
                  <a:pt x="638420" y="650270"/>
                </a:cubicBezTo>
                <a:cubicBezTo>
                  <a:pt x="634390" y="650270"/>
                  <a:pt x="634390" y="648206"/>
                  <a:pt x="634390" y="648206"/>
                </a:cubicBezTo>
                <a:cubicBezTo>
                  <a:pt x="634390" y="648206"/>
                  <a:pt x="632375" y="648206"/>
                  <a:pt x="630360" y="650270"/>
                </a:cubicBezTo>
                <a:cubicBezTo>
                  <a:pt x="628345" y="652333"/>
                  <a:pt x="632375" y="654397"/>
                  <a:pt x="626330" y="654397"/>
                </a:cubicBezTo>
                <a:cubicBezTo>
                  <a:pt x="622300" y="654397"/>
                  <a:pt x="624315" y="646142"/>
                  <a:pt x="624315" y="646142"/>
                </a:cubicBezTo>
                <a:cubicBezTo>
                  <a:pt x="624315" y="646142"/>
                  <a:pt x="624315" y="631696"/>
                  <a:pt x="624315" y="629632"/>
                </a:cubicBezTo>
                <a:cubicBezTo>
                  <a:pt x="626330" y="629632"/>
                  <a:pt x="626330" y="621377"/>
                  <a:pt x="628345" y="617250"/>
                </a:cubicBezTo>
                <a:cubicBezTo>
                  <a:pt x="630360" y="615186"/>
                  <a:pt x="636405" y="613122"/>
                  <a:pt x="642449" y="613122"/>
                </a:cubicBezTo>
                <a:close/>
                <a:moveTo>
                  <a:pt x="864306" y="609947"/>
                </a:moveTo>
                <a:cubicBezTo>
                  <a:pt x="868187" y="609947"/>
                  <a:pt x="872067" y="615768"/>
                  <a:pt x="872067" y="615768"/>
                </a:cubicBezTo>
                <a:cubicBezTo>
                  <a:pt x="872067" y="615768"/>
                  <a:pt x="872067" y="617708"/>
                  <a:pt x="874008" y="619648"/>
                </a:cubicBezTo>
                <a:cubicBezTo>
                  <a:pt x="875948" y="619648"/>
                  <a:pt x="877888" y="625469"/>
                  <a:pt x="875948" y="627409"/>
                </a:cubicBezTo>
                <a:cubicBezTo>
                  <a:pt x="875948" y="627409"/>
                  <a:pt x="874008" y="627409"/>
                  <a:pt x="874008" y="625469"/>
                </a:cubicBezTo>
                <a:cubicBezTo>
                  <a:pt x="872067" y="621588"/>
                  <a:pt x="870127" y="621588"/>
                  <a:pt x="868187" y="621588"/>
                </a:cubicBezTo>
                <a:cubicBezTo>
                  <a:pt x="870127" y="621588"/>
                  <a:pt x="864306" y="613828"/>
                  <a:pt x="864306" y="613828"/>
                </a:cubicBezTo>
                <a:cubicBezTo>
                  <a:pt x="864306" y="613828"/>
                  <a:pt x="860425" y="609947"/>
                  <a:pt x="864306" y="609947"/>
                </a:cubicBezTo>
                <a:close/>
                <a:moveTo>
                  <a:pt x="3237972" y="567084"/>
                </a:moveTo>
                <a:cubicBezTo>
                  <a:pt x="3237972" y="567084"/>
                  <a:pt x="3240088" y="567084"/>
                  <a:pt x="3240088" y="571317"/>
                </a:cubicBezTo>
                <a:cubicBezTo>
                  <a:pt x="3240088" y="573434"/>
                  <a:pt x="3233738" y="573434"/>
                  <a:pt x="3233738" y="571317"/>
                </a:cubicBezTo>
                <a:cubicBezTo>
                  <a:pt x="3233738" y="567084"/>
                  <a:pt x="3237972" y="567084"/>
                  <a:pt x="3237972" y="567084"/>
                </a:cubicBezTo>
                <a:close/>
                <a:moveTo>
                  <a:pt x="854134" y="565893"/>
                </a:moveTo>
                <a:cubicBezTo>
                  <a:pt x="854134" y="565893"/>
                  <a:pt x="858132" y="563909"/>
                  <a:pt x="862130" y="565893"/>
                </a:cubicBezTo>
                <a:cubicBezTo>
                  <a:pt x="866128" y="565893"/>
                  <a:pt x="868127" y="569862"/>
                  <a:pt x="874124" y="571846"/>
                </a:cubicBezTo>
                <a:cubicBezTo>
                  <a:pt x="878122" y="571846"/>
                  <a:pt x="878122" y="579784"/>
                  <a:pt x="884120" y="579784"/>
                </a:cubicBezTo>
                <a:cubicBezTo>
                  <a:pt x="890117" y="579784"/>
                  <a:pt x="888118" y="581768"/>
                  <a:pt x="890117" y="585737"/>
                </a:cubicBezTo>
                <a:cubicBezTo>
                  <a:pt x="890117" y="591690"/>
                  <a:pt x="892116" y="589705"/>
                  <a:pt x="896114" y="589705"/>
                </a:cubicBezTo>
                <a:cubicBezTo>
                  <a:pt x="900112" y="591690"/>
                  <a:pt x="900112" y="593674"/>
                  <a:pt x="896114" y="597643"/>
                </a:cubicBezTo>
                <a:cubicBezTo>
                  <a:pt x="890117" y="601612"/>
                  <a:pt x="888118" y="601612"/>
                  <a:pt x="884120" y="603596"/>
                </a:cubicBezTo>
                <a:cubicBezTo>
                  <a:pt x="880122" y="603596"/>
                  <a:pt x="876123" y="601612"/>
                  <a:pt x="878122" y="599627"/>
                </a:cubicBezTo>
                <a:cubicBezTo>
                  <a:pt x="880122" y="595659"/>
                  <a:pt x="876123" y="595659"/>
                  <a:pt x="876123" y="595659"/>
                </a:cubicBezTo>
                <a:cubicBezTo>
                  <a:pt x="876123" y="595659"/>
                  <a:pt x="870126" y="593674"/>
                  <a:pt x="870126" y="597643"/>
                </a:cubicBezTo>
                <a:cubicBezTo>
                  <a:pt x="868127" y="601612"/>
                  <a:pt x="862130" y="597643"/>
                  <a:pt x="862130" y="595659"/>
                </a:cubicBezTo>
                <a:cubicBezTo>
                  <a:pt x="860131" y="591690"/>
                  <a:pt x="860131" y="595659"/>
                  <a:pt x="858132" y="593674"/>
                </a:cubicBezTo>
                <a:cubicBezTo>
                  <a:pt x="854134" y="591690"/>
                  <a:pt x="854134" y="589705"/>
                  <a:pt x="854134" y="585737"/>
                </a:cubicBezTo>
                <a:cubicBezTo>
                  <a:pt x="854134" y="583752"/>
                  <a:pt x="852134" y="581768"/>
                  <a:pt x="850135" y="579784"/>
                </a:cubicBezTo>
                <a:cubicBezTo>
                  <a:pt x="848136" y="577799"/>
                  <a:pt x="846137" y="579784"/>
                  <a:pt x="848136" y="573831"/>
                </a:cubicBezTo>
                <a:cubicBezTo>
                  <a:pt x="850135" y="569862"/>
                  <a:pt x="854134" y="565893"/>
                  <a:pt x="854134" y="565893"/>
                </a:cubicBezTo>
                <a:close/>
                <a:moveTo>
                  <a:pt x="3213894" y="554384"/>
                </a:moveTo>
                <a:cubicBezTo>
                  <a:pt x="3213894" y="554384"/>
                  <a:pt x="3217863" y="554384"/>
                  <a:pt x="3217863" y="557559"/>
                </a:cubicBezTo>
                <a:cubicBezTo>
                  <a:pt x="3217863" y="559146"/>
                  <a:pt x="3215879" y="559146"/>
                  <a:pt x="3211910" y="555971"/>
                </a:cubicBezTo>
                <a:cubicBezTo>
                  <a:pt x="3209925" y="554384"/>
                  <a:pt x="3213894" y="554384"/>
                  <a:pt x="3213894" y="554384"/>
                </a:cubicBezTo>
                <a:close/>
                <a:moveTo>
                  <a:pt x="3208020" y="541684"/>
                </a:moveTo>
                <a:cubicBezTo>
                  <a:pt x="3208020" y="541684"/>
                  <a:pt x="3212466" y="543668"/>
                  <a:pt x="3212466" y="545652"/>
                </a:cubicBezTo>
                <a:cubicBezTo>
                  <a:pt x="3214688" y="547637"/>
                  <a:pt x="3208020" y="549621"/>
                  <a:pt x="3205798" y="545652"/>
                </a:cubicBezTo>
                <a:cubicBezTo>
                  <a:pt x="3203575" y="541684"/>
                  <a:pt x="3208020" y="541684"/>
                  <a:pt x="3208020" y="541684"/>
                </a:cubicBezTo>
                <a:close/>
                <a:moveTo>
                  <a:pt x="3185887" y="541684"/>
                </a:moveTo>
                <a:cubicBezTo>
                  <a:pt x="3192010" y="543668"/>
                  <a:pt x="3194051" y="549621"/>
                  <a:pt x="3194051" y="549621"/>
                </a:cubicBezTo>
                <a:cubicBezTo>
                  <a:pt x="3194051" y="549621"/>
                  <a:pt x="3194051" y="557559"/>
                  <a:pt x="3189969" y="557559"/>
                </a:cubicBezTo>
                <a:cubicBezTo>
                  <a:pt x="3185887" y="557559"/>
                  <a:pt x="3183846" y="555575"/>
                  <a:pt x="3185887" y="553590"/>
                </a:cubicBezTo>
                <a:cubicBezTo>
                  <a:pt x="3185887" y="551606"/>
                  <a:pt x="3187928" y="549621"/>
                  <a:pt x="3185887" y="545653"/>
                </a:cubicBezTo>
                <a:cubicBezTo>
                  <a:pt x="3185887" y="545653"/>
                  <a:pt x="3179763" y="541684"/>
                  <a:pt x="3185887" y="541684"/>
                </a:cubicBezTo>
                <a:close/>
                <a:moveTo>
                  <a:pt x="708025" y="524510"/>
                </a:moveTo>
                <a:cubicBezTo>
                  <a:pt x="708025" y="524510"/>
                  <a:pt x="708025" y="524510"/>
                  <a:pt x="710010" y="524510"/>
                </a:cubicBezTo>
                <a:cubicBezTo>
                  <a:pt x="711994" y="524510"/>
                  <a:pt x="713978" y="524510"/>
                  <a:pt x="715963" y="524510"/>
                </a:cubicBezTo>
                <a:cubicBezTo>
                  <a:pt x="717947" y="522634"/>
                  <a:pt x="717947" y="526386"/>
                  <a:pt x="717947" y="528262"/>
                </a:cubicBezTo>
                <a:cubicBezTo>
                  <a:pt x="717947" y="530138"/>
                  <a:pt x="719931" y="532014"/>
                  <a:pt x="721916" y="532014"/>
                </a:cubicBezTo>
                <a:cubicBezTo>
                  <a:pt x="723900" y="532014"/>
                  <a:pt x="721916" y="533890"/>
                  <a:pt x="721916" y="535767"/>
                </a:cubicBezTo>
                <a:cubicBezTo>
                  <a:pt x="721916" y="537643"/>
                  <a:pt x="719931" y="543271"/>
                  <a:pt x="719931" y="543271"/>
                </a:cubicBezTo>
                <a:cubicBezTo>
                  <a:pt x="719931" y="543271"/>
                  <a:pt x="711994" y="532014"/>
                  <a:pt x="710010" y="530138"/>
                </a:cubicBezTo>
                <a:cubicBezTo>
                  <a:pt x="708025" y="528262"/>
                  <a:pt x="708025" y="524510"/>
                  <a:pt x="708025" y="524510"/>
                </a:cubicBezTo>
                <a:close/>
                <a:moveTo>
                  <a:pt x="3609274" y="503980"/>
                </a:moveTo>
                <a:cubicBezTo>
                  <a:pt x="3613261" y="501996"/>
                  <a:pt x="3619242" y="503980"/>
                  <a:pt x="3619242" y="503980"/>
                </a:cubicBezTo>
                <a:cubicBezTo>
                  <a:pt x="3619242" y="503980"/>
                  <a:pt x="3625223" y="507949"/>
                  <a:pt x="3629210" y="505965"/>
                </a:cubicBezTo>
                <a:cubicBezTo>
                  <a:pt x="3631204" y="503980"/>
                  <a:pt x="3639178" y="501996"/>
                  <a:pt x="3641172" y="503980"/>
                </a:cubicBezTo>
                <a:cubicBezTo>
                  <a:pt x="3645159" y="505965"/>
                  <a:pt x="3651140" y="511918"/>
                  <a:pt x="3651140" y="511918"/>
                </a:cubicBezTo>
                <a:cubicBezTo>
                  <a:pt x="3653133" y="513902"/>
                  <a:pt x="3657121" y="513902"/>
                  <a:pt x="3657121" y="515887"/>
                </a:cubicBezTo>
                <a:cubicBezTo>
                  <a:pt x="3659114" y="517871"/>
                  <a:pt x="3663101" y="517871"/>
                  <a:pt x="3665095" y="517871"/>
                </a:cubicBezTo>
                <a:cubicBezTo>
                  <a:pt x="3667089" y="515887"/>
                  <a:pt x="3675063" y="517871"/>
                  <a:pt x="3675063" y="519855"/>
                </a:cubicBezTo>
                <a:cubicBezTo>
                  <a:pt x="3675063" y="521840"/>
                  <a:pt x="3675063" y="525808"/>
                  <a:pt x="3675063" y="527793"/>
                </a:cubicBezTo>
                <a:cubicBezTo>
                  <a:pt x="3675063" y="527793"/>
                  <a:pt x="3675063" y="527793"/>
                  <a:pt x="3671076" y="531762"/>
                </a:cubicBezTo>
                <a:cubicBezTo>
                  <a:pt x="3667089" y="533746"/>
                  <a:pt x="3663101" y="535730"/>
                  <a:pt x="3663101" y="535730"/>
                </a:cubicBezTo>
                <a:cubicBezTo>
                  <a:pt x="3663101" y="535730"/>
                  <a:pt x="3663101" y="537715"/>
                  <a:pt x="3659114" y="537715"/>
                </a:cubicBezTo>
                <a:cubicBezTo>
                  <a:pt x="3657121" y="537715"/>
                  <a:pt x="3653133" y="537715"/>
                  <a:pt x="3653133" y="537715"/>
                </a:cubicBezTo>
                <a:cubicBezTo>
                  <a:pt x="3651140" y="537715"/>
                  <a:pt x="3649146" y="539699"/>
                  <a:pt x="3649146" y="539699"/>
                </a:cubicBezTo>
                <a:cubicBezTo>
                  <a:pt x="3643165" y="537715"/>
                  <a:pt x="3643165" y="537715"/>
                  <a:pt x="3643165" y="537715"/>
                </a:cubicBezTo>
                <a:cubicBezTo>
                  <a:pt x="3641172" y="539699"/>
                  <a:pt x="3641172" y="539699"/>
                  <a:pt x="3641172" y="539699"/>
                </a:cubicBezTo>
                <a:cubicBezTo>
                  <a:pt x="3637185" y="541683"/>
                  <a:pt x="3637185" y="541683"/>
                  <a:pt x="3637185" y="541683"/>
                </a:cubicBezTo>
                <a:cubicBezTo>
                  <a:pt x="3637185" y="541683"/>
                  <a:pt x="3635191" y="543668"/>
                  <a:pt x="3635191" y="541683"/>
                </a:cubicBezTo>
                <a:cubicBezTo>
                  <a:pt x="3635191" y="541683"/>
                  <a:pt x="3633197" y="539699"/>
                  <a:pt x="3633197" y="539699"/>
                </a:cubicBezTo>
                <a:cubicBezTo>
                  <a:pt x="3631204" y="537715"/>
                  <a:pt x="3631204" y="537715"/>
                  <a:pt x="3631204" y="537715"/>
                </a:cubicBezTo>
                <a:cubicBezTo>
                  <a:pt x="3629210" y="537715"/>
                  <a:pt x="3629210" y="537715"/>
                  <a:pt x="3629210" y="537715"/>
                </a:cubicBezTo>
                <a:cubicBezTo>
                  <a:pt x="3625223" y="537715"/>
                  <a:pt x="3625223" y="537715"/>
                  <a:pt x="3625223" y="537715"/>
                </a:cubicBezTo>
                <a:cubicBezTo>
                  <a:pt x="3625223" y="537715"/>
                  <a:pt x="3625223" y="539699"/>
                  <a:pt x="3623229" y="539699"/>
                </a:cubicBezTo>
                <a:cubicBezTo>
                  <a:pt x="3623229" y="539699"/>
                  <a:pt x="3621236" y="541683"/>
                  <a:pt x="3621236" y="541683"/>
                </a:cubicBezTo>
                <a:cubicBezTo>
                  <a:pt x="3621236" y="541683"/>
                  <a:pt x="3619242" y="543668"/>
                  <a:pt x="3619242" y="543668"/>
                </a:cubicBezTo>
                <a:cubicBezTo>
                  <a:pt x="3619242" y="545652"/>
                  <a:pt x="3619242" y="545652"/>
                  <a:pt x="3619242" y="545652"/>
                </a:cubicBezTo>
                <a:cubicBezTo>
                  <a:pt x="3617248" y="547637"/>
                  <a:pt x="3615255" y="549621"/>
                  <a:pt x="3615255" y="549621"/>
                </a:cubicBezTo>
                <a:cubicBezTo>
                  <a:pt x="3615255" y="549621"/>
                  <a:pt x="3613261" y="547637"/>
                  <a:pt x="3611268" y="547637"/>
                </a:cubicBezTo>
                <a:cubicBezTo>
                  <a:pt x="3611268" y="547637"/>
                  <a:pt x="3611268" y="545652"/>
                  <a:pt x="3609274" y="545652"/>
                </a:cubicBezTo>
                <a:cubicBezTo>
                  <a:pt x="3607280" y="545652"/>
                  <a:pt x="3607280" y="545652"/>
                  <a:pt x="3607280" y="547637"/>
                </a:cubicBezTo>
                <a:cubicBezTo>
                  <a:pt x="3605287" y="547637"/>
                  <a:pt x="3605287" y="549621"/>
                  <a:pt x="3603293" y="549621"/>
                </a:cubicBezTo>
                <a:cubicBezTo>
                  <a:pt x="3603293" y="549621"/>
                  <a:pt x="3601300" y="547637"/>
                  <a:pt x="3601300" y="547637"/>
                </a:cubicBezTo>
                <a:cubicBezTo>
                  <a:pt x="3599306" y="545652"/>
                  <a:pt x="3599306" y="543668"/>
                  <a:pt x="3599306" y="543668"/>
                </a:cubicBezTo>
                <a:cubicBezTo>
                  <a:pt x="3597312" y="541683"/>
                  <a:pt x="3597312" y="541683"/>
                  <a:pt x="3597312" y="541683"/>
                </a:cubicBezTo>
                <a:cubicBezTo>
                  <a:pt x="3597312" y="541683"/>
                  <a:pt x="3595319" y="539699"/>
                  <a:pt x="3595319" y="539699"/>
                </a:cubicBezTo>
                <a:cubicBezTo>
                  <a:pt x="3593325" y="539699"/>
                  <a:pt x="3593325" y="539699"/>
                  <a:pt x="3591332" y="539699"/>
                </a:cubicBezTo>
                <a:cubicBezTo>
                  <a:pt x="3591332" y="539699"/>
                  <a:pt x="3589338" y="539699"/>
                  <a:pt x="3589338" y="537715"/>
                </a:cubicBezTo>
                <a:cubicBezTo>
                  <a:pt x="3589338" y="537715"/>
                  <a:pt x="3589338" y="533746"/>
                  <a:pt x="3589338" y="533746"/>
                </a:cubicBezTo>
                <a:cubicBezTo>
                  <a:pt x="3589338" y="533746"/>
                  <a:pt x="3591332" y="533746"/>
                  <a:pt x="3591332" y="533746"/>
                </a:cubicBezTo>
                <a:cubicBezTo>
                  <a:pt x="3591332" y="531762"/>
                  <a:pt x="3593325" y="531762"/>
                  <a:pt x="3593325" y="531762"/>
                </a:cubicBezTo>
                <a:cubicBezTo>
                  <a:pt x="3593325" y="527793"/>
                  <a:pt x="3593325" y="527793"/>
                  <a:pt x="3593325" y="527793"/>
                </a:cubicBezTo>
                <a:cubicBezTo>
                  <a:pt x="3595319" y="523824"/>
                  <a:pt x="3595319" y="523824"/>
                  <a:pt x="3595319" y="523824"/>
                </a:cubicBezTo>
                <a:cubicBezTo>
                  <a:pt x="3597312" y="521840"/>
                  <a:pt x="3597312" y="521840"/>
                  <a:pt x="3597312" y="521840"/>
                </a:cubicBezTo>
                <a:cubicBezTo>
                  <a:pt x="3599306" y="519855"/>
                  <a:pt x="3599306" y="519855"/>
                  <a:pt x="3599306" y="519855"/>
                </a:cubicBezTo>
                <a:cubicBezTo>
                  <a:pt x="3599306" y="517871"/>
                  <a:pt x="3599306" y="517871"/>
                  <a:pt x="3599306" y="517871"/>
                </a:cubicBezTo>
                <a:cubicBezTo>
                  <a:pt x="3599306" y="517871"/>
                  <a:pt x="3599306" y="515887"/>
                  <a:pt x="3601300" y="515887"/>
                </a:cubicBezTo>
                <a:cubicBezTo>
                  <a:pt x="3603293" y="515887"/>
                  <a:pt x="3603293" y="513902"/>
                  <a:pt x="3603293" y="513902"/>
                </a:cubicBezTo>
                <a:cubicBezTo>
                  <a:pt x="3605287" y="513902"/>
                  <a:pt x="3607280" y="513902"/>
                  <a:pt x="3607280" y="513902"/>
                </a:cubicBezTo>
                <a:cubicBezTo>
                  <a:pt x="3607280" y="511918"/>
                  <a:pt x="3607280" y="511918"/>
                  <a:pt x="3607280" y="511918"/>
                </a:cubicBezTo>
                <a:lnTo>
                  <a:pt x="3607280" y="509933"/>
                </a:lnTo>
                <a:cubicBezTo>
                  <a:pt x="3607280" y="509933"/>
                  <a:pt x="3607280" y="503980"/>
                  <a:pt x="3609274" y="503980"/>
                </a:cubicBezTo>
                <a:close/>
                <a:moveTo>
                  <a:pt x="1272071" y="459035"/>
                </a:moveTo>
                <a:cubicBezTo>
                  <a:pt x="1274936" y="459035"/>
                  <a:pt x="1277541" y="459531"/>
                  <a:pt x="1277541" y="459531"/>
                </a:cubicBezTo>
                <a:cubicBezTo>
                  <a:pt x="1277541" y="459531"/>
                  <a:pt x="1285875" y="459531"/>
                  <a:pt x="1283792" y="465484"/>
                </a:cubicBezTo>
                <a:cubicBezTo>
                  <a:pt x="1281708" y="471437"/>
                  <a:pt x="1279624" y="471437"/>
                  <a:pt x="1277541" y="473422"/>
                </a:cubicBezTo>
                <a:cubicBezTo>
                  <a:pt x="1275457" y="477390"/>
                  <a:pt x="1275457" y="479375"/>
                  <a:pt x="1271290" y="477390"/>
                </a:cubicBezTo>
                <a:cubicBezTo>
                  <a:pt x="1267123" y="477390"/>
                  <a:pt x="1262955" y="477390"/>
                  <a:pt x="1260872" y="479375"/>
                </a:cubicBezTo>
                <a:cubicBezTo>
                  <a:pt x="1260872" y="479375"/>
                  <a:pt x="1254621" y="481359"/>
                  <a:pt x="1254621" y="479375"/>
                </a:cubicBezTo>
                <a:cubicBezTo>
                  <a:pt x="1252537" y="477390"/>
                  <a:pt x="1252537" y="475406"/>
                  <a:pt x="1254621" y="473422"/>
                </a:cubicBezTo>
                <a:cubicBezTo>
                  <a:pt x="1256704" y="473422"/>
                  <a:pt x="1260872" y="471437"/>
                  <a:pt x="1260872" y="469453"/>
                </a:cubicBezTo>
                <a:cubicBezTo>
                  <a:pt x="1260872" y="467469"/>
                  <a:pt x="1260872" y="467469"/>
                  <a:pt x="1260872" y="467469"/>
                </a:cubicBezTo>
                <a:cubicBezTo>
                  <a:pt x="1260872" y="467469"/>
                  <a:pt x="1260872" y="463500"/>
                  <a:pt x="1265039" y="461516"/>
                </a:cubicBezTo>
                <a:cubicBezTo>
                  <a:pt x="1266081" y="459531"/>
                  <a:pt x="1269206" y="459035"/>
                  <a:pt x="1272071" y="459035"/>
                </a:cubicBezTo>
                <a:close/>
                <a:moveTo>
                  <a:pt x="1294823" y="434101"/>
                </a:moveTo>
                <a:cubicBezTo>
                  <a:pt x="1296843" y="432147"/>
                  <a:pt x="1296843" y="432147"/>
                  <a:pt x="1296843" y="436055"/>
                </a:cubicBezTo>
                <a:cubicBezTo>
                  <a:pt x="1296843" y="438008"/>
                  <a:pt x="1298864" y="439962"/>
                  <a:pt x="1300884" y="439962"/>
                </a:cubicBezTo>
                <a:cubicBezTo>
                  <a:pt x="1304925" y="441916"/>
                  <a:pt x="1302905" y="445824"/>
                  <a:pt x="1302905" y="447778"/>
                </a:cubicBezTo>
                <a:cubicBezTo>
                  <a:pt x="1302905" y="449732"/>
                  <a:pt x="1302905" y="451685"/>
                  <a:pt x="1302905" y="451685"/>
                </a:cubicBezTo>
                <a:cubicBezTo>
                  <a:pt x="1302905" y="451685"/>
                  <a:pt x="1304925" y="455593"/>
                  <a:pt x="1300884" y="455593"/>
                </a:cubicBezTo>
                <a:cubicBezTo>
                  <a:pt x="1300884" y="457547"/>
                  <a:pt x="1294823" y="453639"/>
                  <a:pt x="1290782" y="451685"/>
                </a:cubicBezTo>
                <a:cubicBezTo>
                  <a:pt x="1288762" y="451685"/>
                  <a:pt x="1286741" y="451685"/>
                  <a:pt x="1284721" y="449732"/>
                </a:cubicBezTo>
                <a:cubicBezTo>
                  <a:pt x="1282700" y="447778"/>
                  <a:pt x="1284721" y="443870"/>
                  <a:pt x="1286741" y="443870"/>
                </a:cubicBezTo>
                <a:cubicBezTo>
                  <a:pt x="1288762" y="443870"/>
                  <a:pt x="1292803" y="439962"/>
                  <a:pt x="1292803" y="439962"/>
                </a:cubicBezTo>
                <a:cubicBezTo>
                  <a:pt x="1292803" y="439962"/>
                  <a:pt x="1292803" y="439962"/>
                  <a:pt x="1292803" y="438008"/>
                </a:cubicBezTo>
                <a:cubicBezTo>
                  <a:pt x="1292803" y="436055"/>
                  <a:pt x="1294823" y="436055"/>
                  <a:pt x="1294823" y="434101"/>
                </a:cubicBezTo>
                <a:close/>
                <a:moveTo>
                  <a:pt x="1238449" y="427742"/>
                </a:moveTo>
                <a:cubicBezTo>
                  <a:pt x="1239937" y="428019"/>
                  <a:pt x="1241425" y="429131"/>
                  <a:pt x="1241425" y="432464"/>
                </a:cubicBezTo>
                <a:cubicBezTo>
                  <a:pt x="1239441" y="436909"/>
                  <a:pt x="1235472" y="434687"/>
                  <a:pt x="1233487" y="430242"/>
                </a:cubicBezTo>
                <a:cubicBezTo>
                  <a:pt x="1233487" y="428019"/>
                  <a:pt x="1235472" y="428019"/>
                  <a:pt x="1235472" y="428019"/>
                </a:cubicBezTo>
                <a:cubicBezTo>
                  <a:pt x="1235472" y="428019"/>
                  <a:pt x="1236960" y="427464"/>
                  <a:pt x="1238449" y="427742"/>
                </a:cubicBezTo>
                <a:close/>
                <a:moveTo>
                  <a:pt x="1219427" y="413626"/>
                </a:moveTo>
                <a:cubicBezTo>
                  <a:pt x="1225550" y="411509"/>
                  <a:pt x="1221468" y="415742"/>
                  <a:pt x="1221468" y="419976"/>
                </a:cubicBezTo>
                <a:cubicBezTo>
                  <a:pt x="1223509" y="424209"/>
                  <a:pt x="1213303" y="422092"/>
                  <a:pt x="1213303" y="419976"/>
                </a:cubicBezTo>
                <a:cubicBezTo>
                  <a:pt x="1211262" y="417859"/>
                  <a:pt x="1219427" y="413626"/>
                  <a:pt x="1219427" y="413626"/>
                </a:cubicBezTo>
                <a:close/>
                <a:moveTo>
                  <a:pt x="1101574" y="413592"/>
                </a:moveTo>
                <a:cubicBezTo>
                  <a:pt x="1105505" y="413592"/>
                  <a:pt x="1103540" y="413592"/>
                  <a:pt x="1107470" y="413592"/>
                </a:cubicBezTo>
                <a:cubicBezTo>
                  <a:pt x="1109436" y="411509"/>
                  <a:pt x="1111401" y="415676"/>
                  <a:pt x="1111401" y="417760"/>
                </a:cubicBezTo>
                <a:cubicBezTo>
                  <a:pt x="1113367" y="419843"/>
                  <a:pt x="1113367" y="424010"/>
                  <a:pt x="1113367" y="428177"/>
                </a:cubicBezTo>
                <a:cubicBezTo>
                  <a:pt x="1113367" y="430261"/>
                  <a:pt x="1117298" y="430261"/>
                  <a:pt x="1117298" y="430261"/>
                </a:cubicBezTo>
                <a:cubicBezTo>
                  <a:pt x="1117298" y="430261"/>
                  <a:pt x="1121229" y="430261"/>
                  <a:pt x="1123194" y="430261"/>
                </a:cubicBezTo>
                <a:cubicBezTo>
                  <a:pt x="1123194" y="432345"/>
                  <a:pt x="1125160" y="432345"/>
                  <a:pt x="1127125" y="434428"/>
                </a:cubicBezTo>
                <a:cubicBezTo>
                  <a:pt x="1127125" y="436512"/>
                  <a:pt x="1123194" y="438595"/>
                  <a:pt x="1123194" y="438595"/>
                </a:cubicBezTo>
                <a:cubicBezTo>
                  <a:pt x="1121229" y="438595"/>
                  <a:pt x="1119263" y="438595"/>
                  <a:pt x="1119263" y="438595"/>
                </a:cubicBezTo>
                <a:cubicBezTo>
                  <a:pt x="1117298" y="440679"/>
                  <a:pt x="1113367" y="440679"/>
                  <a:pt x="1111401" y="440679"/>
                </a:cubicBezTo>
                <a:cubicBezTo>
                  <a:pt x="1109436" y="438595"/>
                  <a:pt x="1105505" y="438595"/>
                  <a:pt x="1105505" y="438595"/>
                </a:cubicBezTo>
                <a:cubicBezTo>
                  <a:pt x="1105505" y="438595"/>
                  <a:pt x="1101574" y="440679"/>
                  <a:pt x="1099609" y="440679"/>
                </a:cubicBezTo>
                <a:cubicBezTo>
                  <a:pt x="1097643" y="440679"/>
                  <a:pt x="1095678" y="438595"/>
                  <a:pt x="1093712" y="438595"/>
                </a:cubicBezTo>
                <a:cubicBezTo>
                  <a:pt x="1093712" y="436512"/>
                  <a:pt x="1093712" y="438595"/>
                  <a:pt x="1093712" y="440679"/>
                </a:cubicBezTo>
                <a:cubicBezTo>
                  <a:pt x="1093712" y="442762"/>
                  <a:pt x="1091747" y="444846"/>
                  <a:pt x="1087816" y="444846"/>
                </a:cubicBezTo>
                <a:cubicBezTo>
                  <a:pt x="1085850" y="442762"/>
                  <a:pt x="1085850" y="434428"/>
                  <a:pt x="1085850" y="432345"/>
                </a:cubicBezTo>
                <a:cubicBezTo>
                  <a:pt x="1085850" y="430261"/>
                  <a:pt x="1089781" y="428177"/>
                  <a:pt x="1089781" y="426094"/>
                </a:cubicBezTo>
                <a:cubicBezTo>
                  <a:pt x="1089781" y="424010"/>
                  <a:pt x="1087816" y="426094"/>
                  <a:pt x="1087816" y="421927"/>
                </a:cubicBezTo>
                <a:cubicBezTo>
                  <a:pt x="1087816" y="417760"/>
                  <a:pt x="1095678" y="415676"/>
                  <a:pt x="1095678" y="415676"/>
                </a:cubicBezTo>
                <a:cubicBezTo>
                  <a:pt x="1095678" y="415676"/>
                  <a:pt x="1099609" y="415676"/>
                  <a:pt x="1101574" y="413592"/>
                </a:cubicBezTo>
                <a:close/>
                <a:moveTo>
                  <a:pt x="2694612" y="400564"/>
                </a:moveTo>
                <a:cubicBezTo>
                  <a:pt x="2696340" y="400313"/>
                  <a:pt x="2697821" y="400814"/>
                  <a:pt x="2697821" y="400814"/>
                </a:cubicBezTo>
                <a:cubicBezTo>
                  <a:pt x="2697821" y="400814"/>
                  <a:pt x="2707695" y="400814"/>
                  <a:pt x="2711644" y="400814"/>
                </a:cubicBezTo>
                <a:cubicBezTo>
                  <a:pt x="2715594" y="400814"/>
                  <a:pt x="2717568" y="400814"/>
                  <a:pt x="2719543" y="402819"/>
                </a:cubicBezTo>
                <a:cubicBezTo>
                  <a:pt x="2721518" y="404825"/>
                  <a:pt x="2723492" y="404825"/>
                  <a:pt x="2723492" y="404825"/>
                </a:cubicBezTo>
                <a:cubicBezTo>
                  <a:pt x="2723492" y="404825"/>
                  <a:pt x="2723492" y="406830"/>
                  <a:pt x="2727442" y="404825"/>
                </a:cubicBezTo>
                <a:cubicBezTo>
                  <a:pt x="2729416" y="402819"/>
                  <a:pt x="2733366" y="406830"/>
                  <a:pt x="2733366" y="406830"/>
                </a:cubicBezTo>
                <a:cubicBezTo>
                  <a:pt x="2735341" y="408835"/>
                  <a:pt x="2737315" y="412846"/>
                  <a:pt x="2739290" y="412846"/>
                </a:cubicBezTo>
                <a:cubicBezTo>
                  <a:pt x="2741265" y="412846"/>
                  <a:pt x="2747189" y="420867"/>
                  <a:pt x="2745214" y="422872"/>
                </a:cubicBezTo>
                <a:cubicBezTo>
                  <a:pt x="2745214" y="426883"/>
                  <a:pt x="2747189" y="426883"/>
                  <a:pt x="2747189" y="426883"/>
                </a:cubicBezTo>
                <a:cubicBezTo>
                  <a:pt x="2747189" y="426883"/>
                  <a:pt x="2751138" y="430893"/>
                  <a:pt x="2749164" y="432898"/>
                </a:cubicBezTo>
                <a:cubicBezTo>
                  <a:pt x="2749164" y="436909"/>
                  <a:pt x="2741265" y="436909"/>
                  <a:pt x="2741265" y="434904"/>
                </a:cubicBezTo>
                <a:cubicBezTo>
                  <a:pt x="2739290" y="432898"/>
                  <a:pt x="2737315" y="432898"/>
                  <a:pt x="2735341" y="430893"/>
                </a:cubicBezTo>
                <a:cubicBezTo>
                  <a:pt x="2731391" y="428888"/>
                  <a:pt x="2721518" y="430893"/>
                  <a:pt x="2721518" y="430893"/>
                </a:cubicBezTo>
                <a:cubicBezTo>
                  <a:pt x="2719543" y="430893"/>
                  <a:pt x="2713619" y="430893"/>
                  <a:pt x="2709669" y="428888"/>
                </a:cubicBezTo>
                <a:cubicBezTo>
                  <a:pt x="2705720" y="424877"/>
                  <a:pt x="2699796" y="426883"/>
                  <a:pt x="2699796" y="426883"/>
                </a:cubicBezTo>
                <a:cubicBezTo>
                  <a:pt x="2699796" y="426883"/>
                  <a:pt x="2697821" y="428888"/>
                  <a:pt x="2695846" y="426883"/>
                </a:cubicBezTo>
                <a:cubicBezTo>
                  <a:pt x="2695846" y="424877"/>
                  <a:pt x="2691897" y="422872"/>
                  <a:pt x="2689922" y="426883"/>
                </a:cubicBezTo>
                <a:cubicBezTo>
                  <a:pt x="2689922" y="428888"/>
                  <a:pt x="2683998" y="428888"/>
                  <a:pt x="2680049" y="430893"/>
                </a:cubicBezTo>
                <a:cubicBezTo>
                  <a:pt x="2678074" y="430893"/>
                  <a:pt x="2672150" y="432898"/>
                  <a:pt x="2672150" y="428888"/>
                </a:cubicBezTo>
                <a:cubicBezTo>
                  <a:pt x="2670175" y="424877"/>
                  <a:pt x="2674125" y="422872"/>
                  <a:pt x="2678074" y="422872"/>
                </a:cubicBezTo>
                <a:cubicBezTo>
                  <a:pt x="2682023" y="420867"/>
                  <a:pt x="2687948" y="418862"/>
                  <a:pt x="2687948" y="418862"/>
                </a:cubicBezTo>
                <a:cubicBezTo>
                  <a:pt x="2687948" y="418862"/>
                  <a:pt x="2687948" y="418862"/>
                  <a:pt x="2687948" y="416856"/>
                </a:cubicBezTo>
                <a:cubicBezTo>
                  <a:pt x="2687948" y="414851"/>
                  <a:pt x="2687948" y="410841"/>
                  <a:pt x="2687948" y="410841"/>
                </a:cubicBezTo>
                <a:cubicBezTo>
                  <a:pt x="2687948" y="410841"/>
                  <a:pt x="2687948" y="408835"/>
                  <a:pt x="2689922" y="404825"/>
                </a:cubicBezTo>
                <a:cubicBezTo>
                  <a:pt x="2690910" y="401817"/>
                  <a:pt x="2692885" y="400814"/>
                  <a:pt x="2694612" y="400564"/>
                </a:cubicBezTo>
                <a:close/>
                <a:moveTo>
                  <a:pt x="1396206" y="395634"/>
                </a:moveTo>
                <a:cubicBezTo>
                  <a:pt x="1396206" y="395634"/>
                  <a:pt x="1400175" y="397751"/>
                  <a:pt x="1398191" y="397751"/>
                </a:cubicBezTo>
                <a:cubicBezTo>
                  <a:pt x="1398191" y="399867"/>
                  <a:pt x="1392237" y="401984"/>
                  <a:pt x="1392237" y="397751"/>
                </a:cubicBezTo>
                <a:cubicBezTo>
                  <a:pt x="1392237" y="395634"/>
                  <a:pt x="1396206" y="395634"/>
                  <a:pt x="1396206" y="395634"/>
                </a:cubicBezTo>
                <a:close/>
                <a:moveTo>
                  <a:pt x="1358900" y="390872"/>
                </a:moveTo>
                <a:cubicBezTo>
                  <a:pt x="1358900" y="390872"/>
                  <a:pt x="1361017" y="390872"/>
                  <a:pt x="1363134" y="392459"/>
                </a:cubicBezTo>
                <a:cubicBezTo>
                  <a:pt x="1365250" y="394047"/>
                  <a:pt x="1358900" y="395634"/>
                  <a:pt x="1358900" y="394047"/>
                </a:cubicBezTo>
                <a:cubicBezTo>
                  <a:pt x="1358900" y="390872"/>
                  <a:pt x="1358900" y="390872"/>
                  <a:pt x="1358900" y="390872"/>
                </a:cubicBezTo>
                <a:close/>
                <a:moveTo>
                  <a:pt x="1379220" y="387697"/>
                </a:moveTo>
                <a:cubicBezTo>
                  <a:pt x="1379220" y="387697"/>
                  <a:pt x="1381125" y="387697"/>
                  <a:pt x="1381125" y="391930"/>
                </a:cubicBezTo>
                <a:cubicBezTo>
                  <a:pt x="1381125" y="394047"/>
                  <a:pt x="1381125" y="394047"/>
                  <a:pt x="1377315" y="394047"/>
                </a:cubicBezTo>
                <a:cubicBezTo>
                  <a:pt x="1373505" y="394047"/>
                  <a:pt x="1371600" y="394047"/>
                  <a:pt x="1371600" y="389814"/>
                </a:cubicBezTo>
                <a:cubicBezTo>
                  <a:pt x="1371600" y="387697"/>
                  <a:pt x="1375410" y="389814"/>
                  <a:pt x="1375410" y="389814"/>
                </a:cubicBezTo>
                <a:cubicBezTo>
                  <a:pt x="1375410" y="389814"/>
                  <a:pt x="1375410" y="389814"/>
                  <a:pt x="1377315" y="389814"/>
                </a:cubicBezTo>
                <a:cubicBezTo>
                  <a:pt x="1379220" y="389814"/>
                  <a:pt x="1379220" y="387697"/>
                  <a:pt x="1379220" y="387697"/>
                </a:cubicBezTo>
                <a:close/>
                <a:moveTo>
                  <a:pt x="2570004" y="386109"/>
                </a:moveTo>
                <a:cubicBezTo>
                  <a:pt x="2572067" y="386109"/>
                  <a:pt x="2574131" y="388173"/>
                  <a:pt x="2574131" y="390236"/>
                </a:cubicBezTo>
                <a:cubicBezTo>
                  <a:pt x="2574131" y="394364"/>
                  <a:pt x="2578259" y="398491"/>
                  <a:pt x="2580323" y="398491"/>
                </a:cubicBezTo>
                <a:cubicBezTo>
                  <a:pt x="2584450" y="398491"/>
                  <a:pt x="2584450" y="402619"/>
                  <a:pt x="2584450" y="402619"/>
                </a:cubicBezTo>
                <a:cubicBezTo>
                  <a:pt x="2584450" y="402619"/>
                  <a:pt x="2584450" y="406746"/>
                  <a:pt x="2580323" y="404682"/>
                </a:cubicBezTo>
                <a:cubicBezTo>
                  <a:pt x="2578259" y="404682"/>
                  <a:pt x="2572067" y="402619"/>
                  <a:pt x="2570004" y="400555"/>
                </a:cubicBezTo>
                <a:cubicBezTo>
                  <a:pt x="2570004" y="398491"/>
                  <a:pt x="2565876" y="394364"/>
                  <a:pt x="2563812" y="390236"/>
                </a:cubicBezTo>
                <a:cubicBezTo>
                  <a:pt x="2563812" y="386109"/>
                  <a:pt x="2570004" y="386109"/>
                  <a:pt x="2570004" y="386109"/>
                </a:cubicBezTo>
                <a:close/>
                <a:moveTo>
                  <a:pt x="2669453" y="381527"/>
                </a:moveTo>
                <a:cubicBezTo>
                  <a:pt x="2671474" y="381779"/>
                  <a:pt x="2673494" y="382790"/>
                  <a:pt x="2673494" y="383800"/>
                </a:cubicBezTo>
                <a:cubicBezTo>
                  <a:pt x="2673494" y="383800"/>
                  <a:pt x="2677535" y="383800"/>
                  <a:pt x="2679555" y="381779"/>
                </a:cubicBezTo>
                <a:cubicBezTo>
                  <a:pt x="2681576" y="379759"/>
                  <a:pt x="2683596" y="383800"/>
                  <a:pt x="2683596" y="385820"/>
                </a:cubicBezTo>
                <a:cubicBezTo>
                  <a:pt x="2685617" y="387841"/>
                  <a:pt x="2687637" y="393902"/>
                  <a:pt x="2687637" y="393902"/>
                </a:cubicBezTo>
                <a:cubicBezTo>
                  <a:pt x="2687637" y="393902"/>
                  <a:pt x="2687637" y="395923"/>
                  <a:pt x="2687637" y="397943"/>
                </a:cubicBezTo>
                <a:cubicBezTo>
                  <a:pt x="2685617" y="401984"/>
                  <a:pt x="2679555" y="401984"/>
                  <a:pt x="2679555" y="401984"/>
                </a:cubicBezTo>
                <a:cubicBezTo>
                  <a:pt x="2679555" y="401984"/>
                  <a:pt x="2675515" y="401984"/>
                  <a:pt x="2671474" y="401984"/>
                </a:cubicBezTo>
                <a:cubicBezTo>
                  <a:pt x="2667433" y="401984"/>
                  <a:pt x="2665412" y="397943"/>
                  <a:pt x="2665412" y="393902"/>
                </a:cubicBezTo>
                <a:cubicBezTo>
                  <a:pt x="2665412" y="387841"/>
                  <a:pt x="2665412" y="383800"/>
                  <a:pt x="2665412" y="383800"/>
                </a:cubicBezTo>
                <a:cubicBezTo>
                  <a:pt x="2665412" y="381779"/>
                  <a:pt x="2667433" y="381274"/>
                  <a:pt x="2669453" y="381527"/>
                </a:cubicBezTo>
                <a:close/>
                <a:moveTo>
                  <a:pt x="1406525" y="372218"/>
                </a:moveTo>
                <a:cubicBezTo>
                  <a:pt x="1406525" y="370234"/>
                  <a:pt x="1408642" y="372218"/>
                  <a:pt x="1408642" y="372218"/>
                </a:cubicBezTo>
                <a:cubicBezTo>
                  <a:pt x="1412875" y="370234"/>
                  <a:pt x="1412875" y="374202"/>
                  <a:pt x="1410759" y="376187"/>
                </a:cubicBezTo>
                <a:cubicBezTo>
                  <a:pt x="1408642" y="378171"/>
                  <a:pt x="1406525" y="376187"/>
                  <a:pt x="1406525" y="372218"/>
                </a:cubicBezTo>
                <a:close/>
                <a:moveTo>
                  <a:pt x="2029619" y="371822"/>
                </a:moveTo>
                <a:cubicBezTo>
                  <a:pt x="2033588" y="373898"/>
                  <a:pt x="2037556" y="373898"/>
                  <a:pt x="2041525" y="375974"/>
                </a:cubicBezTo>
                <a:cubicBezTo>
                  <a:pt x="2043510" y="375974"/>
                  <a:pt x="2047478" y="375974"/>
                  <a:pt x="2047478" y="375974"/>
                </a:cubicBezTo>
                <a:cubicBezTo>
                  <a:pt x="2047478" y="375974"/>
                  <a:pt x="2051447" y="373898"/>
                  <a:pt x="2053431" y="375974"/>
                </a:cubicBezTo>
                <a:cubicBezTo>
                  <a:pt x="2057400" y="375974"/>
                  <a:pt x="2055416" y="380126"/>
                  <a:pt x="2053431" y="384277"/>
                </a:cubicBezTo>
                <a:cubicBezTo>
                  <a:pt x="2051447" y="386353"/>
                  <a:pt x="2051447" y="388429"/>
                  <a:pt x="2051447" y="388429"/>
                </a:cubicBezTo>
                <a:cubicBezTo>
                  <a:pt x="2051447" y="388429"/>
                  <a:pt x="2049463" y="392581"/>
                  <a:pt x="2045494" y="394657"/>
                </a:cubicBezTo>
                <a:cubicBezTo>
                  <a:pt x="2043510" y="394657"/>
                  <a:pt x="2039541" y="398809"/>
                  <a:pt x="2039541" y="394657"/>
                </a:cubicBezTo>
                <a:cubicBezTo>
                  <a:pt x="2037556" y="392581"/>
                  <a:pt x="2035572" y="390505"/>
                  <a:pt x="2031603" y="390505"/>
                </a:cubicBezTo>
                <a:cubicBezTo>
                  <a:pt x="2029619" y="390505"/>
                  <a:pt x="2025650" y="392581"/>
                  <a:pt x="2025650" y="388429"/>
                </a:cubicBezTo>
                <a:cubicBezTo>
                  <a:pt x="2027635" y="384277"/>
                  <a:pt x="2029619" y="384277"/>
                  <a:pt x="2029619" y="380126"/>
                </a:cubicBezTo>
                <a:cubicBezTo>
                  <a:pt x="2027635" y="378050"/>
                  <a:pt x="2027635" y="378050"/>
                  <a:pt x="2027635" y="378050"/>
                </a:cubicBezTo>
                <a:lnTo>
                  <a:pt x="2027635" y="375974"/>
                </a:lnTo>
                <a:cubicBezTo>
                  <a:pt x="2027635" y="375974"/>
                  <a:pt x="2025650" y="371822"/>
                  <a:pt x="2029619" y="371822"/>
                </a:cubicBezTo>
                <a:close/>
                <a:moveTo>
                  <a:pt x="1430867" y="371722"/>
                </a:moveTo>
                <a:cubicBezTo>
                  <a:pt x="1431925" y="371722"/>
                  <a:pt x="1432984" y="372218"/>
                  <a:pt x="1432984" y="372218"/>
                </a:cubicBezTo>
                <a:cubicBezTo>
                  <a:pt x="1432984" y="372218"/>
                  <a:pt x="1435100" y="372218"/>
                  <a:pt x="1435100" y="376187"/>
                </a:cubicBezTo>
                <a:cubicBezTo>
                  <a:pt x="1435100" y="378171"/>
                  <a:pt x="1428750" y="378171"/>
                  <a:pt x="1428750" y="374202"/>
                </a:cubicBezTo>
                <a:cubicBezTo>
                  <a:pt x="1428750" y="372218"/>
                  <a:pt x="1429809" y="371722"/>
                  <a:pt x="1430867" y="371722"/>
                </a:cubicBezTo>
                <a:close/>
                <a:moveTo>
                  <a:pt x="1421210" y="368647"/>
                </a:moveTo>
                <a:cubicBezTo>
                  <a:pt x="1425179" y="368647"/>
                  <a:pt x="1427163" y="370552"/>
                  <a:pt x="1427163" y="374362"/>
                </a:cubicBezTo>
                <a:cubicBezTo>
                  <a:pt x="1427163" y="378172"/>
                  <a:pt x="1421210" y="378172"/>
                  <a:pt x="1419225" y="374362"/>
                </a:cubicBezTo>
                <a:cubicBezTo>
                  <a:pt x="1419225" y="370552"/>
                  <a:pt x="1421210" y="368647"/>
                  <a:pt x="1421210" y="368647"/>
                </a:cubicBezTo>
                <a:close/>
                <a:moveTo>
                  <a:pt x="1292870" y="368488"/>
                </a:moveTo>
                <a:cubicBezTo>
                  <a:pt x="1293614" y="368488"/>
                  <a:pt x="1294606" y="368964"/>
                  <a:pt x="1294606" y="368964"/>
                </a:cubicBezTo>
                <a:cubicBezTo>
                  <a:pt x="1294606" y="368964"/>
                  <a:pt x="1298575" y="372774"/>
                  <a:pt x="1296591" y="374679"/>
                </a:cubicBezTo>
                <a:cubicBezTo>
                  <a:pt x="1292622" y="376584"/>
                  <a:pt x="1292622" y="374679"/>
                  <a:pt x="1292622" y="370869"/>
                </a:cubicBezTo>
                <a:cubicBezTo>
                  <a:pt x="1291629" y="368964"/>
                  <a:pt x="1292126" y="368488"/>
                  <a:pt x="1292870" y="368488"/>
                </a:cubicBezTo>
                <a:close/>
                <a:moveTo>
                  <a:pt x="1418999" y="356264"/>
                </a:moveTo>
                <a:cubicBezTo>
                  <a:pt x="1423081" y="354359"/>
                  <a:pt x="1425122" y="356264"/>
                  <a:pt x="1427163" y="358169"/>
                </a:cubicBezTo>
                <a:cubicBezTo>
                  <a:pt x="1427163" y="360074"/>
                  <a:pt x="1427163" y="361979"/>
                  <a:pt x="1425122" y="361979"/>
                </a:cubicBezTo>
                <a:cubicBezTo>
                  <a:pt x="1423081" y="363884"/>
                  <a:pt x="1423081" y="361979"/>
                  <a:pt x="1423081" y="361979"/>
                </a:cubicBezTo>
                <a:cubicBezTo>
                  <a:pt x="1423081" y="361979"/>
                  <a:pt x="1412875" y="361979"/>
                  <a:pt x="1412875" y="360074"/>
                </a:cubicBezTo>
                <a:cubicBezTo>
                  <a:pt x="1412875" y="356264"/>
                  <a:pt x="1418999" y="356264"/>
                  <a:pt x="1418999" y="356264"/>
                </a:cubicBezTo>
                <a:close/>
                <a:moveTo>
                  <a:pt x="1334559" y="324593"/>
                </a:moveTo>
                <a:cubicBezTo>
                  <a:pt x="1336675" y="322609"/>
                  <a:pt x="1340909" y="322609"/>
                  <a:pt x="1340909" y="324593"/>
                </a:cubicBezTo>
                <a:cubicBezTo>
                  <a:pt x="1340909" y="326578"/>
                  <a:pt x="1340909" y="326578"/>
                  <a:pt x="1340909" y="326578"/>
                </a:cubicBezTo>
                <a:cubicBezTo>
                  <a:pt x="1338792" y="328562"/>
                  <a:pt x="1340909" y="328562"/>
                  <a:pt x="1340909" y="328562"/>
                </a:cubicBezTo>
                <a:cubicBezTo>
                  <a:pt x="1340909" y="328562"/>
                  <a:pt x="1343025" y="330546"/>
                  <a:pt x="1343025" y="330546"/>
                </a:cubicBezTo>
                <a:cubicBezTo>
                  <a:pt x="1343025" y="332531"/>
                  <a:pt x="1340909" y="334515"/>
                  <a:pt x="1340909" y="334515"/>
                </a:cubicBezTo>
                <a:cubicBezTo>
                  <a:pt x="1340909" y="334515"/>
                  <a:pt x="1338792" y="334515"/>
                  <a:pt x="1338792" y="336500"/>
                </a:cubicBezTo>
                <a:cubicBezTo>
                  <a:pt x="1338792" y="338484"/>
                  <a:pt x="1334559" y="338484"/>
                  <a:pt x="1334559" y="338484"/>
                </a:cubicBezTo>
                <a:cubicBezTo>
                  <a:pt x="1334559" y="338484"/>
                  <a:pt x="1334559" y="338484"/>
                  <a:pt x="1330325" y="338484"/>
                </a:cubicBezTo>
                <a:cubicBezTo>
                  <a:pt x="1330325" y="338484"/>
                  <a:pt x="1330325" y="334515"/>
                  <a:pt x="1330325" y="332531"/>
                </a:cubicBezTo>
                <a:cubicBezTo>
                  <a:pt x="1330325" y="330546"/>
                  <a:pt x="1334559" y="328562"/>
                  <a:pt x="1334559" y="328562"/>
                </a:cubicBezTo>
                <a:cubicBezTo>
                  <a:pt x="1334559" y="328562"/>
                  <a:pt x="1334559" y="326578"/>
                  <a:pt x="1334559" y="324593"/>
                </a:cubicBezTo>
                <a:close/>
                <a:moveTo>
                  <a:pt x="2775730" y="315052"/>
                </a:moveTo>
                <a:cubicBezTo>
                  <a:pt x="2779685" y="313084"/>
                  <a:pt x="2783640" y="320958"/>
                  <a:pt x="2783640" y="320958"/>
                </a:cubicBezTo>
                <a:cubicBezTo>
                  <a:pt x="2789572" y="326863"/>
                  <a:pt x="2789572" y="326863"/>
                  <a:pt x="2789572" y="326863"/>
                </a:cubicBezTo>
                <a:cubicBezTo>
                  <a:pt x="2789572" y="326863"/>
                  <a:pt x="2791549" y="328832"/>
                  <a:pt x="2795504" y="328832"/>
                </a:cubicBezTo>
                <a:cubicBezTo>
                  <a:pt x="2797482" y="328832"/>
                  <a:pt x="2799459" y="328832"/>
                  <a:pt x="2801437" y="326863"/>
                </a:cubicBezTo>
                <a:cubicBezTo>
                  <a:pt x="2803414" y="326863"/>
                  <a:pt x="2807369" y="326863"/>
                  <a:pt x="2807369" y="326863"/>
                </a:cubicBezTo>
                <a:cubicBezTo>
                  <a:pt x="2807369" y="326863"/>
                  <a:pt x="2811324" y="324895"/>
                  <a:pt x="2813301" y="326863"/>
                </a:cubicBezTo>
                <a:cubicBezTo>
                  <a:pt x="2813301" y="326863"/>
                  <a:pt x="2813301" y="328832"/>
                  <a:pt x="2817256" y="328832"/>
                </a:cubicBezTo>
                <a:cubicBezTo>
                  <a:pt x="2821211" y="328832"/>
                  <a:pt x="2827143" y="326863"/>
                  <a:pt x="2829120" y="330800"/>
                </a:cubicBezTo>
                <a:cubicBezTo>
                  <a:pt x="2831098" y="332769"/>
                  <a:pt x="2831098" y="334737"/>
                  <a:pt x="2833075" y="334737"/>
                </a:cubicBezTo>
                <a:cubicBezTo>
                  <a:pt x="2837030" y="332769"/>
                  <a:pt x="2837030" y="332769"/>
                  <a:pt x="2839008" y="332769"/>
                </a:cubicBezTo>
                <a:cubicBezTo>
                  <a:pt x="2839008" y="334737"/>
                  <a:pt x="2842962" y="332769"/>
                  <a:pt x="2842962" y="330800"/>
                </a:cubicBezTo>
                <a:cubicBezTo>
                  <a:pt x="2842962" y="328832"/>
                  <a:pt x="2844940" y="326863"/>
                  <a:pt x="2846917" y="328832"/>
                </a:cubicBezTo>
                <a:cubicBezTo>
                  <a:pt x="2850872" y="328832"/>
                  <a:pt x="2854827" y="330800"/>
                  <a:pt x="2858782" y="330800"/>
                </a:cubicBezTo>
                <a:cubicBezTo>
                  <a:pt x="2860759" y="330800"/>
                  <a:pt x="2864714" y="328832"/>
                  <a:pt x="2864714" y="328832"/>
                </a:cubicBezTo>
                <a:cubicBezTo>
                  <a:pt x="2866691" y="328832"/>
                  <a:pt x="2868669" y="328832"/>
                  <a:pt x="2870646" y="330800"/>
                </a:cubicBezTo>
                <a:cubicBezTo>
                  <a:pt x="2870646" y="332769"/>
                  <a:pt x="2872624" y="332769"/>
                  <a:pt x="2874601" y="332769"/>
                </a:cubicBezTo>
                <a:cubicBezTo>
                  <a:pt x="2876579" y="332769"/>
                  <a:pt x="2878556" y="330800"/>
                  <a:pt x="2882511" y="332769"/>
                </a:cubicBezTo>
                <a:cubicBezTo>
                  <a:pt x="2884488" y="334737"/>
                  <a:pt x="2884488" y="334737"/>
                  <a:pt x="2884488" y="334737"/>
                </a:cubicBezTo>
                <a:cubicBezTo>
                  <a:pt x="2884488" y="334737"/>
                  <a:pt x="2880533" y="338674"/>
                  <a:pt x="2882511" y="340643"/>
                </a:cubicBezTo>
                <a:cubicBezTo>
                  <a:pt x="2882511" y="342611"/>
                  <a:pt x="2882511" y="346548"/>
                  <a:pt x="2882511" y="346548"/>
                </a:cubicBezTo>
                <a:cubicBezTo>
                  <a:pt x="2882511" y="346548"/>
                  <a:pt x="2880533" y="346548"/>
                  <a:pt x="2882511" y="350485"/>
                </a:cubicBezTo>
                <a:cubicBezTo>
                  <a:pt x="2882511" y="352454"/>
                  <a:pt x="2880533" y="356390"/>
                  <a:pt x="2878556" y="356390"/>
                </a:cubicBezTo>
                <a:cubicBezTo>
                  <a:pt x="2876579" y="356390"/>
                  <a:pt x="2870646" y="360327"/>
                  <a:pt x="2870646" y="360327"/>
                </a:cubicBezTo>
                <a:cubicBezTo>
                  <a:pt x="2870646" y="360327"/>
                  <a:pt x="2864714" y="362296"/>
                  <a:pt x="2862737" y="360327"/>
                </a:cubicBezTo>
                <a:cubicBezTo>
                  <a:pt x="2860759" y="360327"/>
                  <a:pt x="2860759" y="358359"/>
                  <a:pt x="2856804" y="358359"/>
                </a:cubicBezTo>
                <a:cubicBezTo>
                  <a:pt x="2852850" y="358359"/>
                  <a:pt x="2850872" y="358359"/>
                  <a:pt x="2850872" y="360327"/>
                </a:cubicBezTo>
                <a:cubicBezTo>
                  <a:pt x="2848895" y="360327"/>
                  <a:pt x="2844940" y="360327"/>
                  <a:pt x="2842962" y="360327"/>
                </a:cubicBezTo>
                <a:cubicBezTo>
                  <a:pt x="2839008" y="360327"/>
                  <a:pt x="2837030" y="358359"/>
                  <a:pt x="2835053" y="358359"/>
                </a:cubicBezTo>
                <a:cubicBezTo>
                  <a:pt x="2831098" y="360327"/>
                  <a:pt x="2825166" y="360327"/>
                  <a:pt x="2823188" y="356390"/>
                </a:cubicBezTo>
                <a:cubicBezTo>
                  <a:pt x="2821211" y="352454"/>
                  <a:pt x="2817256" y="350485"/>
                  <a:pt x="2813301" y="350485"/>
                </a:cubicBezTo>
                <a:cubicBezTo>
                  <a:pt x="2809346" y="350485"/>
                  <a:pt x="2803414" y="350485"/>
                  <a:pt x="2799459" y="346548"/>
                </a:cubicBezTo>
                <a:cubicBezTo>
                  <a:pt x="2793527" y="344580"/>
                  <a:pt x="2797482" y="342611"/>
                  <a:pt x="2793527" y="342611"/>
                </a:cubicBezTo>
                <a:cubicBezTo>
                  <a:pt x="2791549" y="342611"/>
                  <a:pt x="2789572" y="340643"/>
                  <a:pt x="2783640" y="338674"/>
                </a:cubicBezTo>
                <a:cubicBezTo>
                  <a:pt x="2779685" y="336706"/>
                  <a:pt x="2775730" y="336706"/>
                  <a:pt x="2773753" y="334737"/>
                </a:cubicBezTo>
                <a:cubicBezTo>
                  <a:pt x="2773753" y="330800"/>
                  <a:pt x="2773753" y="328832"/>
                  <a:pt x="2775730" y="326863"/>
                </a:cubicBezTo>
                <a:cubicBezTo>
                  <a:pt x="2777708" y="326863"/>
                  <a:pt x="2775730" y="320958"/>
                  <a:pt x="2775730" y="320958"/>
                </a:cubicBezTo>
                <a:cubicBezTo>
                  <a:pt x="2775730" y="320958"/>
                  <a:pt x="2771775" y="317021"/>
                  <a:pt x="2775730" y="315052"/>
                </a:cubicBezTo>
                <a:close/>
                <a:moveTo>
                  <a:pt x="2539471" y="305147"/>
                </a:moveTo>
                <a:cubicBezTo>
                  <a:pt x="2545821" y="305147"/>
                  <a:pt x="2545821" y="309002"/>
                  <a:pt x="2545821" y="310930"/>
                </a:cubicBezTo>
                <a:cubicBezTo>
                  <a:pt x="2547937" y="312858"/>
                  <a:pt x="2547937" y="314785"/>
                  <a:pt x="2550054" y="314785"/>
                </a:cubicBezTo>
                <a:cubicBezTo>
                  <a:pt x="2552171" y="316713"/>
                  <a:pt x="2554287" y="322496"/>
                  <a:pt x="2552171" y="324423"/>
                </a:cubicBezTo>
                <a:cubicBezTo>
                  <a:pt x="2550054" y="324423"/>
                  <a:pt x="2550054" y="326351"/>
                  <a:pt x="2552171" y="330206"/>
                </a:cubicBezTo>
                <a:cubicBezTo>
                  <a:pt x="2552171" y="332134"/>
                  <a:pt x="2550054" y="332134"/>
                  <a:pt x="2547937" y="332134"/>
                </a:cubicBezTo>
                <a:cubicBezTo>
                  <a:pt x="2543704" y="330206"/>
                  <a:pt x="2545821" y="326351"/>
                  <a:pt x="2545821" y="324423"/>
                </a:cubicBezTo>
                <a:cubicBezTo>
                  <a:pt x="2545821" y="322496"/>
                  <a:pt x="2543704" y="322496"/>
                  <a:pt x="2543704" y="318640"/>
                </a:cubicBezTo>
                <a:cubicBezTo>
                  <a:pt x="2541587" y="316713"/>
                  <a:pt x="2541587" y="316713"/>
                  <a:pt x="2541587" y="314785"/>
                </a:cubicBezTo>
                <a:cubicBezTo>
                  <a:pt x="2541587" y="312858"/>
                  <a:pt x="2539471" y="312858"/>
                  <a:pt x="2537354" y="309002"/>
                </a:cubicBezTo>
                <a:cubicBezTo>
                  <a:pt x="2535237" y="307075"/>
                  <a:pt x="2539471" y="307075"/>
                  <a:pt x="2539471" y="305147"/>
                </a:cubicBezTo>
                <a:close/>
                <a:moveTo>
                  <a:pt x="1329532" y="301277"/>
                </a:moveTo>
                <a:cubicBezTo>
                  <a:pt x="1330325" y="301773"/>
                  <a:pt x="1331384" y="302765"/>
                  <a:pt x="1331384" y="302765"/>
                </a:cubicBezTo>
                <a:cubicBezTo>
                  <a:pt x="1331384" y="302765"/>
                  <a:pt x="1333500" y="302765"/>
                  <a:pt x="1333500" y="304750"/>
                </a:cubicBezTo>
                <a:cubicBezTo>
                  <a:pt x="1333500" y="304750"/>
                  <a:pt x="1333500" y="306734"/>
                  <a:pt x="1331384" y="306734"/>
                </a:cubicBezTo>
                <a:cubicBezTo>
                  <a:pt x="1331384" y="306734"/>
                  <a:pt x="1329267" y="304750"/>
                  <a:pt x="1329267" y="302765"/>
                </a:cubicBezTo>
                <a:cubicBezTo>
                  <a:pt x="1328208" y="300781"/>
                  <a:pt x="1328738" y="300781"/>
                  <a:pt x="1329532" y="301277"/>
                </a:cubicBezTo>
                <a:close/>
                <a:moveTo>
                  <a:pt x="1343555" y="300384"/>
                </a:moveTo>
                <a:cubicBezTo>
                  <a:pt x="1350963" y="302765"/>
                  <a:pt x="1347259" y="305146"/>
                  <a:pt x="1347259" y="305146"/>
                </a:cubicBezTo>
                <a:cubicBezTo>
                  <a:pt x="1347259" y="305146"/>
                  <a:pt x="1339850" y="305146"/>
                  <a:pt x="1339850" y="302765"/>
                </a:cubicBezTo>
                <a:cubicBezTo>
                  <a:pt x="1339850" y="300384"/>
                  <a:pt x="1343555" y="300384"/>
                  <a:pt x="1343555" y="300384"/>
                </a:cubicBezTo>
                <a:close/>
                <a:moveTo>
                  <a:pt x="2649935" y="291255"/>
                </a:moveTo>
                <a:cubicBezTo>
                  <a:pt x="2653904" y="289271"/>
                  <a:pt x="2655888" y="293239"/>
                  <a:pt x="2653904" y="295224"/>
                </a:cubicBezTo>
                <a:cubicBezTo>
                  <a:pt x="2649935" y="297208"/>
                  <a:pt x="2649935" y="295224"/>
                  <a:pt x="2647950" y="293239"/>
                </a:cubicBezTo>
                <a:cubicBezTo>
                  <a:pt x="2647950" y="291255"/>
                  <a:pt x="2649935" y="291255"/>
                  <a:pt x="2649935" y="291255"/>
                </a:cubicBezTo>
                <a:close/>
                <a:moveTo>
                  <a:pt x="2604316" y="287865"/>
                </a:moveTo>
                <a:cubicBezTo>
                  <a:pt x="2606553" y="288117"/>
                  <a:pt x="2608542" y="289128"/>
                  <a:pt x="2609536" y="290138"/>
                </a:cubicBezTo>
                <a:cubicBezTo>
                  <a:pt x="2609536" y="294179"/>
                  <a:pt x="2617491" y="296199"/>
                  <a:pt x="2619480" y="298220"/>
                </a:cubicBezTo>
                <a:cubicBezTo>
                  <a:pt x="2621469" y="298220"/>
                  <a:pt x="2627435" y="298220"/>
                  <a:pt x="2627435" y="302261"/>
                </a:cubicBezTo>
                <a:cubicBezTo>
                  <a:pt x="2629424" y="308322"/>
                  <a:pt x="2633401" y="308322"/>
                  <a:pt x="2633401" y="308322"/>
                </a:cubicBezTo>
                <a:cubicBezTo>
                  <a:pt x="2635390" y="308322"/>
                  <a:pt x="2635390" y="306301"/>
                  <a:pt x="2639367" y="306301"/>
                </a:cubicBezTo>
                <a:cubicBezTo>
                  <a:pt x="2641356" y="306301"/>
                  <a:pt x="2647322" y="304281"/>
                  <a:pt x="2647322" y="308322"/>
                </a:cubicBezTo>
                <a:cubicBezTo>
                  <a:pt x="2647322" y="314383"/>
                  <a:pt x="2647322" y="316404"/>
                  <a:pt x="2651300" y="316404"/>
                </a:cubicBezTo>
                <a:cubicBezTo>
                  <a:pt x="2655277" y="316404"/>
                  <a:pt x="2659255" y="316404"/>
                  <a:pt x="2657266" y="314383"/>
                </a:cubicBezTo>
                <a:cubicBezTo>
                  <a:pt x="2655277" y="310342"/>
                  <a:pt x="2653288" y="306301"/>
                  <a:pt x="2653288" y="302261"/>
                </a:cubicBezTo>
                <a:cubicBezTo>
                  <a:pt x="2653288" y="298220"/>
                  <a:pt x="2659255" y="296199"/>
                  <a:pt x="2659255" y="296199"/>
                </a:cubicBezTo>
                <a:cubicBezTo>
                  <a:pt x="2659255" y="296199"/>
                  <a:pt x="2659255" y="296199"/>
                  <a:pt x="2659255" y="294179"/>
                </a:cubicBezTo>
                <a:cubicBezTo>
                  <a:pt x="2657266" y="292158"/>
                  <a:pt x="2657266" y="288117"/>
                  <a:pt x="2659255" y="288117"/>
                </a:cubicBezTo>
                <a:cubicBezTo>
                  <a:pt x="2661243" y="288117"/>
                  <a:pt x="2661243" y="290138"/>
                  <a:pt x="2665221" y="294179"/>
                </a:cubicBezTo>
                <a:cubicBezTo>
                  <a:pt x="2667210" y="298220"/>
                  <a:pt x="2669198" y="298220"/>
                  <a:pt x="2673176" y="300240"/>
                </a:cubicBezTo>
                <a:cubicBezTo>
                  <a:pt x="2679142" y="302261"/>
                  <a:pt x="2683119" y="302261"/>
                  <a:pt x="2687097" y="304281"/>
                </a:cubicBezTo>
                <a:cubicBezTo>
                  <a:pt x="2691074" y="306301"/>
                  <a:pt x="2697041" y="306301"/>
                  <a:pt x="2699029" y="306301"/>
                </a:cubicBezTo>
                <a:cubicBezTo>
                  <a:pt x="2703007" y="304281"/>
                  <a:pt x="2706984" y="300240"/>
                  <a:pt x="2712951" y="302261"/>
                </a:cubicBezTo>
                <a:cubicBezTo>
                  <a:pt x="2716928" y="302261"/>
                  <a:pt x="2720905" y="304281"/>
                  <a:pt x="2720905" y="306301"/>
                </a:cubicBezTo>
                <a:cubicBezTo>
                  <a:pt x="2720905" y="308322"/>
                  <a:pt x="2722894" y="308322"/>
                  <a:pt x="2724883" y="308322"/>
                </a:cubicBezTo>
                <a:cubicBezTo>
                  <a:pt x="2728860" y="308322"/>
                  <a:pt x="2732838" y="308322"/>
                  <a:pt x="2736815" y="310342"/>
                </a:cubicBezTo>
                <a:cubicBezTo>
                  <a:pt x="2738804" y="312363"/>
                  <a:pt x="2740793" y="314383"/>
                  <a:pt x="2744770" y="316404"/>
                </a:cubicBezTo>
                <a:cubicBezTo>
                  <a:pt x="2748748" y="316404"/>
                  <a:pt x="2752725" y="318424"/>
                  <a:pt x="2750737" y="322465"/>
                </a:cubicBezTo>
                <a:cubicBezTo>
                  <a:pt x="2748748" y="324486"/>
                  <a:pt x="2746759" y="324486"/>
                  <a:pt x="2746759" y="324486"/>
                </a:cubicBezTo>
                <a:cubicBezTo>
                  <a:pt x="2746759" y="324486"/>
                  <a:pt x="2744770" y="324486"/>
                  <a:pt x="2744770" y="330547"/>
                </a:cubicBezTo>
                <a:cubicBezTo>
                  <a:pt x="2744770" y="334588"/>
                  <a:pt x="2742782" y="344690"/>
                  <a:pt x="2742782" y="344690"/>
                </a:cubicBezTo>
                <a:cubicBezTo>
                  <a:pt x="2742782" y="344690"/>
                  <a:pt x="2740793" y="352772"/>
                  <a:pt x="2738804" y="352772"/>
                </a:cubicBezTo>
                <a:cubicBezTo>
                  <a:pt x="2734827" y="352772"/>
                  <a:pt x="2732838" y="352772"/>
                  <a:pt x="2730849" y="352772"/>
                </a:cubicBezTo>
                <a:cubicBezTo>
                  <a:pt x="2728860" y="352772"/>
                  <a:pt x="2726872" y="352772"/>
                  <a:pt x="2726872" y="350751"/>
                </a:cubicBezTo>
                <a:cubicBezTo>
                  <a:pt x="2726872" y="346711"/>
                  <a:pt x="2724883" y="342670"/>
                  <a:pt x="2720905" y="342670"/>
                </a:cubicBezTo>
                <a:cubicBezTo>
                  <a:pt x="2716928" y="342670"/>
                  <a:pt x="2712951" y="344690"/>
                  <a:pt x="2710962" y="340649"/>
                </a:cubicBezTo>
                <a:cubicBezTo>
                  <a:pt x="2706984" y="336608"/>
                  <a:pt x="2704996" y="338629"/>
                  <a:pt x="2701018" y="334588"/>
                </a:cubicBezTo>
                <a:cubicBezTo>
                  <a:pt x="2699029" y="328526"/>
                  <a:pt x="2695052" y="326506"/>
                  <a:pt x="2697041" y="322465"/>
                </a:cubicBezTo>
                <a:cubicBezTo>
                  <a:pt x="2699029" y="318424"/>
                  <a:pt x="2701018" y="316404"/>
                  <a:pt x="2699029" y="314383"/>
                </a:cubicBezTo>
                <a:cubicBezTo>
                  <a:pt x="2695052" y="312363"/>
                  <a:pt x="2693063" y="312363"/>
                  <a:pt x="2689086" y="312363"/>
                </a:cubicBezTo>
                <a:cubicBezTo>
                  <a:pt x="2685108" y="314383"/>
                  <a:pt x="2683119" y="316404"/>
                  <a:pt x="2683119" y="318424"/>
                </a:cubicBezTo>
                <a:cubicBezTo>
                  <a:pt x="2685108" y="322465"/>
                  <a:pt x="2689086" y="326506"/>
                  <a:pt x="2689086" y="328526"/>
                </a:cubicBezTo>
                <a:cubicBezTo>
                  <a:pt x="2691074" y="332567"/>
                  <a:pt x="2691074" y="332567"/>
                  <a:pt x="2691074" y="334588"/>
                </a:cubicBezTo>
                <a:cubicBezTo>
                  <a:pt x="2691074" y="338629"/>
                  <a:pt x="2701018" y="340649"/>
                  <a:pt x="2701018" y="340649"/>
                </a:cubicBezTo>
                <a:cubicBezTo>
                  <a:pt x="2701018" y="340649"/>
                  <a:pt x="2708973" y="342670"/>
                  <a:pt x="2708973" y="344690"/>
                </a:cubicBezTo>
                <a:cubicBezTo>
                  <a:pt x="2706984" y="346711"/>
                  <a:pt x="2710962" y="346711"/>
                  <a:pt x="2712951" y="346711"/>
                </a:cubicBezTo>
                <a:cubicBezTo>
                  <a:pt x="2714939" y="346711"/>
                  <a:pt x="2718917" y="346711"/>
                  <a:pt x="2720905" y="348731"/>
                </a:cubicBezTo>
                <a:cubicBezTo>
                  <a:pt x="2724883" y="350751"/>
                  <a:pt x="2726872" y="352772"/>
                  <a:pt x="2728860" y="354792"/>
                </a:cubicBezTo>
                <a:cubicBezTo>
                  <a:pt x="2730849" y="356813"/>
                  <a:pt x="2732838" y="358833"/>
                  <a:pt x="2728860" y="358833"/>
                </a:cubicBezTo>
                <a:cubicBezTo>
                  <a:pt x="2724883" y="358833"/>
                  <a:pt x="2720905" y="358833"/>
                  <a:pt x="2720905" y="358833"/>
                </a:cubicBezTo>
                <a:cubicBezTo>
                  <a:pt x="2720905" y="358833"/>
                  <a:pt x="2716928" y="358833"/>
                  <a:pt x="2714939" y="356813"/>
                </a:cubicBezTo>
                <a:cubicBezTo>
                  <a:pt x="2712951" y="352772"/>
                  <a:pt x="2710962" y="354792"/>
                  <a:pt x="2708973" y="356813"/>
                </a:cubicBezTo>
                <a:cubicBezTo>
                  <a:pt x="2708973" y="358833"/>
                  <a:pt x="2704996" y="360854"/>
                  <a:pt x="2701018" y="358833"/>
                </a:cubicBezTo>
                <a:cubicBezTo>
                  <a:pt x="2699029" y="356813"/>
                  <a:pt x="2695052" y="354792"/>
                  <a:pt x="2687097" y="354792"/>
                </a:cubicBezTo>
                <a:cubicBezTo>
                  <a:pt x="2681131" y="352772"/>
                  <a:pt x="2675165" y="350751"/>
                  <a:pt x="2671187" y="356813"/>
                </a:cubicBezTo>
                <a:cubicBezTo>
                  <a:pt x="2669198" y="360854"/>
                  <a:pt x="2665221" y="360854"/>
                  <a:pt x="2661243" y="360854"/>
                </a:cubicBezTo>
                <a:cubicBezTo>
                  <a:pt x="2657266" y="360854"/>
                  <a:pt x="2649311" y="360854"/>
                  <a:pt x="2649311" y="360854"/>
                </a:cubicBezTo>
                <a:cubicBezTo>
                  <a:pt x="2649311" y="360854"/>
                  <a:pt x="2645333" y="360854"/>
                  <a:pt x="2647322" y="358833"/>
                </a:cubicBezTo>
                <a:cubicBezTo>
                  <a:pt x="2647322" y="356813"/>
                  <a:pt x="2647322" y="354792"/>
                  <a:pt x="2645333" y="352772"/>
                </a:cubicBezTo>
                <a:cubicBezTo>
                  <a:pt x="2645333" y="350751"/>
                  <a:pt x="2641356" y="354792"/>
                  <a:pt x="2641356" y="356813"/>
                </a:cubicBezTo>
                <a:cubicBezTo>
                  <a:pt x="2641356" y="360854"/>
                  <a:pt x="2643345" y="364895"/>
                  <a:pt x="2639367" y="368936"/>
                </a:cubicBezTo>
                <a:cubicBezTo>
                  <a:pt x="2639367" y="370956"/>
                  <a:pt x="2637379" y="374997"/>
                  <a:pt x="2633401" y="370956"/>
                </a:cubicBezTo>
                <a:cubicBezTo>
                  <a:pt x="2629424" y="368936"/>
                  <a:pt x="2619480" y="366915"/>
                  <a:pt x="2619480" y="366915"/>
                </a:cubicBezTo>
                <a:cubicBezTo>
                  <a:pt x="2619480" y="366915"/>
                  <a:pt x="2611525" y="368936"/>
                  <a:pt x="2607548" y="364895"/>
                </a:cubicBezTo>
                <a:cubicBezTo>
                  <a:pt x="2601581" y="360854"/>
                  <a:pt x="2603570" y="360854"/>
                  <a:pt x="2603570" y="360854"/>
                </a:cubicBezTo>
                <a:cubicBezTo>
                  <a:pt x="2601581" y="358833"/>
                  <a:pt x="2601581" y="358833"/>
                  <a:pt x="2601581" y="358833"/>
                </a:cubicBezTo>
                <a:cubicBezTo>
                  <a:pt x="2601581" y="354792"/>
                  <a:pt x="2601581" y="354792"/>
                  <a:pt x="2601581" y="354792"/>
                </a:cubicBezTo>
                <a:cubicBezTo>
                  <a:pt x="2601581" y="354792"/>
                  <a:pt x="2597604" y="350751"/>
                  <a:pt x="2595615" y="350751"/>
                </a:cubicBezTo>
                <a:cubicBezTo>
                  <a:pt x="2593626" y="350751"/>
                  <a:pt x="2589649" y="352772"/>
                  <a:pt x="2589649" y="348731"/>
                </a:cubicBezTo>
                <a:cubicBezTo>
                  <a:pt x="2587660" y="346711"/>
                  <a:pt x="2587660" y="342670"/>
                  <a:pt x="2583683" y="342670"/>
                </a:cubicBezTo>
                <a:cubicBezTo>
                  <a:pt x="2579705" y="340649"/>
                  <a:pt x="2573739" y="336608"/>
                  <a:pt x="2573739" y="334588"/>
                </a:cubicBezTo>
                <a:cubicBezTo>
                  <a:pt x="2573739" y="332567"/>
                  <a:pt x="2577716" y="332567"/>
                  <a:pt x="2577716" y="332567"/>
                </a:cubicBezTo>
                <a:cubicBezTo>
                  <a:pt x="2577716" y="332567"/>
                  <a:pt x="2581694" y="330547"/>
                  <a:pt x="2579705" y="328526"/>
                </a:cubicBezTo>
                <a:cubicBezTo>
                  <a:pt x="2577716" y="326506"/>
                  <a:pt x="2573739" y="326506"/>
                  <a:pt x="2573739" y="320445"/>
                </a:cubicBezTo>
                <a:cubicBezTo>
                  <a:pt x="2575728" y="314383"/>
                  <a:pt x="2577716" y="316404"/>
                  <a:pt x="2577716" y="316404"/>
                </a:cubicBezTo>
                <a:cubicBezTo>
                  <a:pt x="2577716" y="316404"/>
                  <a:pt x="2579705" y="312363"/>
                  <a:pt x="2579705" y="312363"/>
                </a:cubicBezTo>
                <a:cubicBezTo>
                  <a:pt x="2579705" y="310342"/>
                  <a:pt x="2571750" y="306301"/>
                  <a:pt x="2571750" y="306301"/>
                </a:cubicBezTo>
                <a:cubicBezTo>
                  <a:pt x="2571750" y="306301"/>
                  <a:pt x="2579705" y="302261"/>
                  <a:pt x="2581694" y="302261"/>
                </a:cubicBezTo>
                <a:cubicBezTo>
                  <a:pt x="2585671" y="302261"/>
                  <a:pt x="2587660" y="300240"/>
                  <a:pt x="2587660" y="300240"/>
                </a:cubicBezTo>
                <a:cubicBezTo>
                  <a:pt x="2587660" y="298220"/>
                  <a:pt x="2585671" y="294179"/>
                  <a:pt x="2589649" y="292158"/>
                </a:cubicBezTo>
                <a:cubicBezTo>
                  <a:pt x="2593626" y="290138"/>
                  <a:pt x="2593626" y="292158"/>
                  <a:pt x="2597604" y="290138"/>
                </a:cubicBezTo>
                <a:cubicBezTo>
                  <a:pt x="2599592" y="288117"/>
                  <a:pt x="2602078" y="287612"/>
                  <a:pt x="2604316" y="287865"/>
                </a:cubicBezTo>
                <a:close/>
                <a:moveTo>
                  <a:pt x="2907242" y="286626"/>
                </a:moveTo>
                <a:cubicBezTo>
                  <a:pt x="2911475" y="284509"/>
                  <a:pt x="2911475" y="290859"/>
                  <a:pt x="2911475" y="290859"/>
                </a:cubicBezTo>
                <a:cubicBezTo>
                  <a:pt x="2911475" y="290859"/>
                  <a:pt x="2911475" y="297209"/>
                  <a:pt x="2907242" y="297209"/>
                </a:cubicBezTo>
                <a:cubicBezTo>
                  <a:pt x="2905125" y="297209"/>
                  <a:pt x="2905125" y="295092"/>
                  <a:pt x="2905125" y="290859"/>
                </a:cubicBezTo>
                <a:cubicBezTo>
                  <a:pt x="2905125" y="286626"/>
                  <a:pt x="2907242" y="286626"/>
                  <a:pt x="2907242" y="286626"/>
                </a:cubicBezTo>
                <a:close/>
                <a:moveTo>
                  <a:pt x="2777597" y="278159"/>
                </a:moveTo>
                <a:cubicBezTo>
                  <a:pt x="2779713" y="282392"/>
                  <a:pt x="2777597" y="284509"/>
                  <a:pt x="2775480" y="284509"/>
                </a:cubicBezTo>
                <a:cubicBezTo>
                  <a:pt x="2773363" y="284509"/>
                  <a:pt x="2773363" y="284509"/>
                  <a:pt x="2773363" y="280276"/>
                </a:cubicBezTo>
                <a:cubicBezTo>
                  <a:pt x="2775480" y="278159"/>
                  <a:pt x="2777597" y="278159"/>
                  <a:pt x="2777597" y="278159"/>
                </a:cubicBezTo>
                <a:close/>
                <a:moveTo>
                  <a:pt x="1661716" y="278159"/>
                </a:moveTo>
                <a:cubicBezTo>
                  <a:pt x="1663700" y="278159"/>
                  <a:pt x="1663700" y="282241"/>
                  <a:pt x="1663700" y="284282"/>
                </a:cubicBezTo>
                <a:cubicBezTo>
                  <a:pt x="1663700" y="286323"/>
                  <a:pt x="1661716" y="286323"/>
                  <a:pt x="1663700" y="288364"/>
                </a:cubicBezTo>
                <a:cubicBezTo>
                  <a:pt x="1663700" y="290405"/>
                  <a:pt x="1663700" y="292446"/>
                  <a:pt x="1659731" y="292446"/>
                </a:cubicBezTo>
                <a:cubicBezTo>
                  <a:pt x="1657747" y="292446"/>
                  <a:pt x="1655762" y="292446"/>
                  <a:pt x="1655762" y="290405"/>
                </a:cubicBezTo>
                <a:cubicBezTo>
                  <a:pt x="1657747" y="288364"/>
                  <a:pt x="1661716" y="284282"/>
                  <a:pt x="1657747" y="282241"/>
                </a:cubicBezTo>
                <a:cubicBezTo>
                  <a:pt x="1657747" y="282241"/>
                  <a:pt x="1657747" y="278159"/>
                  <a:pt x="1661716" y="278159"/>
                </a:cubicBezTo>
                <a:close/>
                <a:moveTo>
                  <a:pt x="1620441" y="268634"/>
                </a:moveTo>
                <a:cubicBezTo>
                  <a:pt x="1620441" y="268634"/>
                  <a:pt x="1622425" y="268634"/>
                  <a:pt x="1622425" y="270751"/>
                </a:cubicBezTo>
                <a:cubicBezTo>
                  <a:pt x="1622425" y="272867"/>
                  <a:pt x="1622425" y="274984"/>
                  <a:pt x="1618456" y="270751"/>
                </a:cubicBezTo>
                <a:cubicBezTo>
                  <a:pt x="1614487" y="268634"/>
                  <a:pt x="1620441" y="268634"/>
                  <a:pt x="1620441" y="268634"/>
                </a:cubicBezTo>
                <a:close/>
                <a:moveTo>
                  <a:pt x="1629727" y="267047"/>
                </a:moveTo>
                <a:cubicBezTo>
                  <a:pt x="1629727" y="267047"/>
                  <a:pt x="1631632" y="268634"/>
                  <a:pt x="1633537" y="268634"/>
                </a:cubicBezTo>
                <a:cubicBezTo>
                  <a:pt x="1633537" y="270222"/>
                  <a:pt x="1633537" y="271809"/>
                  <a:pt x="1627822" y="270222"/>
                </a:cubicBezTo>
                <a:cubicBezTo>
                  <a:pt x="1624012" y="268634"/>
                  <a:pt x="1629727" y="267047"/>
                  <a:pt x="1629727" y="267047"/>
                </a:cubicBezTo>
                <a:close/>
                <a:moveTo>
                  <a:pt x="1638300" y="263872"/>
                </a:moveTo>
                <a:cubicBezTo>
                  <a:pt x="1643062" y="263872"/>
                  <a:pt x="1643062" y="266094"/>
                  <a:pt x="1640681" y="270539"/>
                </a:cubicBezTo>
                <a:cubicBezTo>
                  <a:pt x="1640681" y="274984"/>
                  <a:pt x="1635918" y="272762"/>
                  <a:pt x="1635918" y="268317"/>
                </a:cubicBezTo>
                <a:cubicBezTo>
                  <a:pt x="1633537" y="263872"/>
                  <a:pt x="1638300" y="263872"/>
                  <a:pt x="1638300" y="263872"/>
                </a:cubicBezTo>
                <a:close/>
                <a:moveTo>
                  <a:pt x="3017044" y="260696"/>
                </a:moveTo>
                <a:cubicBezTo>
                  <a:pt x="3021013" y="264929"/>
                  <a:pt x="3015060" y="267046"/>
                  <a:pt x="3013075" y="262813"/>
                </a:cubicBezTo>
                <a:cubicBezTo>
                  <a:pt x="3013075" y="260696"/>
                  <a:pt x="3017044" y="260696"/>
                  <a:pt x="3017044" y="260696"/>
                </a:cubicBezTo>
                <a:close/>
                <a:moveTo>
                  <a:pt x="2811287" y="259109"/>
                </a:moveTo>
                <a:cubicBezTo>
                  <a:pt x="2811287" y="259109"/>
                  <a:pt x="2813227" y="259109"/>
                  <a:pt x="2817108" y="259109"/>
                </a:cubicBezTo>
                <a:cubicBezTo>
                  <a:pt x="2820988" y="259109"/>
                  <a:pt x="2819048" y="262919"/>
                  <a:pt x="2817108" y="266729"/>
                </a:cubicBezTo>
                <a:cubicBezTo>
                  <a:pt x="2817108" y="268634"/>
                  <a:pt x="2811287" y="266729"/>
                  <a:pt x="2809346" y="264824"/>
                </a:cubicBezTo>
                <a:cubicBezTo>
                  <a:pt x="2807406" y="264824"/>
                  <a:pt x="2805466" y="266729"/>
                  <a:pt x="2805466" y="264824"/>
                </a:cubicBezTo>
                <a:cubicBezTo>
                  <a:pt x="2803525" y="262919"/>
                  <a:pt x="2805466" y="262919"/>
                  <a:pt x="2805466" y="262919"/>
                </a:cubicBezTo>
                <a:cubicBezTo>
                  <a:pt x="2803525" y="259109"/>
                  <a:pt x="2811287" y="259109"/>
                  <a:pt x="2811287" y="259109"/>
                </a:cubicBezTo>
                <a:close/>
                <a:moveTo>
                  <a:pt x="998591" y="251172"/>
                </a:moveTo>
                <a:cubicBezTo>
                  <a:pt x="998591" y="251172"/>
                  <a:pt x="1012608" y="253161"/>
                  <a:pt x="1014611" y="255151"/>
                </a:cubicBezTo>
                <a:cubicBezTo>
                  <a:pt x="1014611" y="259130"/>
                  <a:pt x="1018616" y="257140"/>
                  <a:pt x="1018616" y="257140"/>
                </a:cubicBezTo>
                <a:cubicBezTo>
                  <a:pt x="1018616" y="257140"/>
                  <a:pt x="1020618" y="255151"/>
                  <a:pt x="1024623" y="255151"/>
                </a:cubicBezTo>
                <a:cubicBezTo>
                  <a:pt x="1026625" y="255151"/>
                  <a:pt x="1030630" y="255151"/>
                  <a:pt x="1028628" y="259130"/>
                </a:cubicBezTo>
                <a:cubicBezTo>
                  <a:pt x="1028628" y="263108"/>
                  <a:pt x="1032632" y="263108"/>
                  <a:pt x="1032632" y="263108"/>
                </a:cubicBezTo>
                <a:cubicBezTo>
                  <a:pt x="1034635" y="263108"/>
                  <a:pt x="1036637" y="265098"/>
                  <a:pt x="1036637" y="267087"/>
                </a:cubicBezTo>
                <a:cubicBezTo>
                  <a:pt x="1034635" y="271066"/>
                  <a:pt x="1032632" y="271066"/>
                  <a:pt x="1034635" y="271066"/>
                </a:cubicBezTo>
                <a:cubicBezTo>
                  <a:pt x="1036637" y="273055"/>
                  <a:pt x="1034635" y="277034"/>
                  <a:pt x="1032632" y="279024"/>
                </a:cubicBezTo>
                <a:cubicBezTo>
                  <a:pt x="1028628" y="279024"/>
                  <a:pt x="1028628" y="283002"/>
                  <a:pt x="1026625" y="284992"/>
                </a:cubicBezTo>
                <a:cubicBezTo>
                  <a:pt x="1026625" y="288971"/>
                  <a:pt x="1020618" y="288971"/>
                  <a:pt x="1016613" y="288971"/>
                </a:cubicBezTo>
                <a:cubicBezTo>
                  <a:pt x="1014611" y="286981"/>
                  <a:pt x="1012608" y="288971"/>
                  <a:pt x="1012608" y="290960"/>
                </a:cubicBezTo>
                <a:cubicBezTo>
                  <a:pt x="1010606" y="290960"/>
                  <a:pt x="1008603" y="292949"/>
                  <a:pt x="1006601" y="292949"/>
                </a:cubicBezTo>
                <a:cubicBezTo>
                  <a:pt x="1002596" y="292949"/>
                  <a:pt x="996589" y="298918"/>
                  <a:pt x="996589" y="298918"/>
                </a:cubicBezTo>
                <a:cubicBezTo>
                  <a:pt x="996589" y="298918"/>
                  <a:pt x="994587" y="300907"/>
                  <a:pt x="990582" y="300907"/>
                </a:cubicBezTo>
                <a:cubicBezTo>
                  <a:pt x="986577" y="298918"/>
                  <a:pt x="986577" y="300907"/>
                  <a:pt x="986577" y="302896"/>
                </a:cubicBezTo>
                <a:cubicBezTo>
                  <a:pt x="986577" y="304886"/>
                  <a:pt x="976565" y="306875"/>
                  <a:pt x="976565" y="306875"/>
                </a:cubicBezTo>
                <a:cubicBezTo>
                  <a:pt x="976565" y="306875"/>
                  <a:pt x="972560" y="306875"/>
                  <a:pt x="970558" y="306875"/>
                </a:cubicBezTo>
                <a:cubicBezTo>
                  <a:pt x="966553" y="304886"/>
                  <a:pt x="964550" y="306875"/>
                  <a:pt x="964550" y="308864"/>
                </a:cubicBezTo>
                <a:cubicBezTo>
                  <a:pt x="960545" y="308864"/>
                  <a:pt x="954538" y="308864"/>
                  <a:pt x="954538" y="308864"/>
                </a:cubicBezTo>
                <a:cubicBezTo>
                  <a:pt x="954538" y="308864"/>
                  <a:pt x="950533" y="310854"/>
                  <a:pt x="948531" y="310854"/>
                </a:cubicBezTo>
                <a:cubicBezTo>
                  <a:pt x="946529" y="312843"/>
                  <a:pt x="940521" y="312843"/>
                  <a:pt x="938519" y="312843"/>
                </a:cubicBezTo>
                <a:cubicBezTo>
                  <a:pt x="936517" y="314833"/>
                  <a:pt x="932512" y="316822"/>
                  <a:pt x="930509" y="312843"/>
                </a:cubicBezTo>
                <a:cubicBezTo>
                  <a:pt x="930509" y="308864"/>
                  <a:pt x="928507" y="312843"/>
                  <a:pt x="928507" y="312843"/>
                </a:cubicBezTo>
                <a:cubicBezTo>
                  <a:pt x="928507" y="312843"/>
                  <a:pt x="920497" y="320801"/>
                  <a:pt x="916492" y="326769"/>
                </a:cubicBezTo>
                <a:cubicBezTo>
                  <a:pt x="914490" y="330748"/>
                  <a:pt x="910485" y="328758"/>
                  <a:pt x="906480" y="326769"/>
                </a:cubicBezTo>
                <a:cubicBezTo>
                  <a:pt x="902475" y="326769"/>
                  <a:pt x="902475" y="328758"/>
                  <a:pt x="902475" y="332737"/>
                </a:cubicBezTo>
                <a:cubicBezTo>
                  <a:pt x="902475" y="336716"/>
                  <a:pt x="902475" y="334727"/>
                  <a:pt x="896468" y="336716"/>
                </a:cubicBezTo>
                <a:cubicBezTo>
                  <a:pt x="892463" y="338705"/>
                  <a:pt x="886456" y="342684"/>
                  <a:pt x="882451" y="346663"/>
                </a:cubicBezTo>
                <a:cubicBezTo>
                  <a:pt x="880449" y="348652"/>
                  <a:pt x="874442" y="348652"/>
                  <a:pt x="870437" y="348652"/>
                </a:cubicBezTo>
                <a:cubicBezTo>
                  <a:pt x="866432" y="346663"/>
                  <a:pt x="864430" y="348652"/>
                  <a:pt x="864430" y="352631"/>
                </a:cubicBezTo>
                <a:cubicBezTo>
                  <a:pt x="864430" y="356610"/>
                  <a:pt x="864430" y="356610"/>
                  <a:pt x="862427" y="356610"/>
                </a:cubicBezTo>
                <a:cubicBezTo>
                  <a:pt x="858422" y="358599"/>
                  <a:pt x="862427" y="360589"/>
                  <a:pt x="860425" y="362578"/>
                </a:cubicBezTo>
                <a:cubicBezTo>
                  <a:pt x="858422" y="366557"/>
                  <a:pt x="854417" y="368546"/>
                  <a:pt x="846408" y="370536"/>
                </a:cubicBezTo>
                <a:cubicBezTo>
                  <a:pt x="838398" y="370536"/>
                  <a:pt x="838398" y="368546"/>
                  <a:pt x="834393" y="366557"/>
                </a:cubicBezTo>
                <a:cubicBezTo>
                  <a:pt x="830389" y="364568"/>
                  <a:pt x="832391" y="368546"/>
                  <a:pt x="832391" y="372525"/>
                </a:cubicBezTo>
                <a:cubicBezTo>
                  <a:pt x="832391" y="376504"/>
                  <a:pt x="832391" y="376504"/>
                  <a:pt x="832391" y="376504"/>
                </a:cubicBezTo>
                <a:cubicBezTo>
                  <a:pt x="832391" y="376504"/>
                  <a:pt x="828386" y="376504"/>
                  <a:pt x="824381" y="376504"/>
                </a:cubicBezTo>
                <a:cubicBezTo>
                  <a:pt x="822379" y="376504"/>
                  <a:pt x="826384" y="380483"/>
                  <a:pt x="826384" y="382472"/>
                </a:cubicBezTo>
                <a:cubicBezTo>
                  <a:pt x="828386" y="384462"/>
                  <a:pt x="826384" y="392419"/>
                  <a:pt x="820376" y="392419"/>
                </a:cubicBezTo>
                <a:cubicBezTo>
                  <a:pt x="816372" y="392419"/>
                  <a:pt x="820376" y="398387"/>
                  <a:pt x="820376" y="400377"/>
                </a:cubicBezTo>
                <a:cubicBezTo>
                  <a:pt x="818374" y="404356"/>
                  <a:pt x="814369" y="400377"/>
                  <a:pt x="812367" y="400377"/>
                </a:cubicBezTo>
                <a:cubicBezTo>
                  <a:pt x="808362" y="398387"/>
                  <a:pt x="806360" y="394409"/>
                  <a:pt x="804357" y="396398"/>
                </a:cubicBezTo>
                <a:cubicBezTo>
                  <a:pt x="802355" y="398387"/>
                  <a:pt x="806360" y="400377"/>
                  <a:pt x="808362" y="402366"/>
                </a:cubicBezTo>
                <a:cubicBezTo>
                  <a:pt x="810364" y="402366"/>
                  <a:pt x="810364" y="408334"/>
                  <a:pt x="810364" y="408334"/>
                </a:cubicBezTo>
                <a:cubicBezTo>
                  <a:pt x="810364" y="408334"/>
                  <a:pt x="810364" y="408334"/>
                  <a:pt x="810364" y="410324"/>
                </a:cubicBezTo>
                <a:cubicBezTo>
                  <a:pt x="810364" y="410324"/>
                  <a:pt x="812367" y="412313"/>
                  <a:pt x="810364" y="414303"/>
                </a:cubicBezTo>
                <a:cubicBezTo>
                  <a:pt x="810364" y="416292"/>
                  <a:pt x="806360" y="412313"/>
                  <a:pt x="806360" y="412313"/>
                </a:cubicBezTo>
                <a:cubicBezTo>
                  <a:pt x="806360" y="412313"/>
                  <a:pt x="806360" y="412313"/>
                  <a:pt x="802355" y="410324"/>
                </a:cubicBezTo>
                <a:cubicBezTo>
                  <a:pt x="802355" y="410324"/>
                  <a:pt x="800352" y="408334"/>
                  <a:pt x="796347" y="408334"/>
                </a:cubicBezTo>
                <a:cubicBezTo>
                  <a:pt x="794345" y="408334"/>
                  <a:pt x="794345" y="410324"/>
                  <a:pt x="794345" y="410324"/>
                </a:cubicBezTo>
                <a:cubicBezTo>
                  <a:pt x="794345" y="410324"/>
                  <a:pt x="794345" y="410324"/>
                  <a:pt x="798350" y="412313"/>
                </a:cubicBezTo>
                <a:cubicBezTo>
                  <a:pt x="798350" y="412313"/>
                  <a:pt x="806360" y="414303"/>
                  <a:pt x="804357" y="418281"/>
                </a:cubicBezTo>
                <a:cubicBezTo>
                  <a:pt x="804357" y="422260"/>
                  <a:pt x="800352" y="420271"/>
                  <a:pt x="796347" y="418281"/>
                </a:cubicBezTo>
                <a:cubicBezTo>
                  <a:pt x="794345" y="414303"/>
                  <a:pt x="796347" y="420271"/>
                  <a:pt x="796347" y="420271"/>
                </a:cubicBezTo>
                <a:cubicBezTo>
                  <a:pt x="796347" y="420271"/>
                  <a:pt x="796347" y="424250"/>
                  <a:pt x="796347" y="426239"/>
                </a:cubicBezTo>
                <a:cubicBezTo>
                  <a:pt x="794345" y="426239"/>
                  <a:pt x="794345" y="428228"/>
                  <a:pt x="794345" y="430218"/>
                </a:cubicBezTo>
                <a:cubicBezTo>
                  <a:pt x="794345" y="432207"/>
                  <a:pt x="792343" y="432207"/>
                  <a:pt x="792343" y="432207"/>
                </a:cubicBezTo>
                <a:cubicBezTo>
                  <a:pt x="792343" y="432207"/>
                  <a:pt x="778326" y="430218"/>
                  <a:pt x="774321" y="428228"/>
                </a:cubicBezTo>
                <a:cubicBezTo>
                  <a:pt x="772318" y="426239"/>
                  <a:pt x="768314" y="428228"/>
                  <a:pt x="764309" y="428228"/>
                </a:cubicBezTo>
                <a:cubicBezTo>
                  <a:pt x="760304" y="428228"/>
                  <a:pt x="760304" y="430218"/>
                  <a:pt x="764309" y="432207"/>
                </a:cubicBezTo>
                <a:cubicBezTo>
                  <a:pt x="768314" y="434197"/>
                  <a:pt x="772318" y="434197"/>
                  <a:pt x="778326" y="436186"/>
                </a:cubicBezTo>
                <a:cubicBezTo>
                  <a:pt x="784333" y="438175"/>
                  <a:pt x="782331" y="440165"/>
                  <a:pt x="782331" y="440165"/>
                </a:cubicBezTo>
                <a:cubicBezTo>
                  <a:pt x="782331" y="440165"/>
                  <a:pt x="780328" y="444144"/>
                  <a:pt x="778326" y="448122"/>
                </a:cubicBezTo>
                <a:cubicBezTo>
                  <a:pt x="778326" y="452101"/>
                  <a:pt x="778326" y="452101"/>
                  <a:pt x="774321" y="452101"/>
                </a:cubicBezTo>
                <a:cubicBezTo>
                  <a:pt x="770316" y="454091"/>
                  <a:pt x="772318" y="456080"/>
                  <a:pt x="774321" y="460059"/>
                </a:cubicBezTo>
                <a:cubicBezTo>
                  <a:pt x="778326" y="462048"/>
                  <a:pt x="774321" y="464038"/>
                  <a:pt x="772318" y="464038"/>
                </a:cubicBezTo>
                <a:cubicBezTo>
                  <a:pt x="768314" y="464038"/>
                  <a:pt x="768314" y="468016"/>
                  <a:pt x="770316" y="470006"/>
                </a:cubicBezTo>
                <a:cubicBezTo>
                  <a:pt x="774321" y="470006"/>
                  <a:pt x="772318" y="473985"/>
                  <a:pt x="772318" y="473985"/>
                </a:cubicBezTo>
                <a:cubicBezTo>
                  <a:pt x="772318" y="477963"/>
                  <a:pt x="772318" y="479953"/>
                  <a:pt x="774321" y="481942"/>
                </a:cubicBezTo>
                <a:cubicBezTo>
                  <a:pt x="776323" y="483932"/>
                  <a:pt x="776323" y="485921"/>
                  <a:pt x="776323" y="489900"/>
                </a:cubicBezTo>
                <a:cubicBezTo>
                  <a:pt x="774321" y="491889"/>
                  <a:pt x="776323" y="495868"/>
                  <a:pt x="776323" y="495868"/>
                </a:cubicBezTo>
                <a:cubicBezTo>
                  <a:pt x="776323" y="495868"/>
                  <a:pt x="778326" y="499847"/>
                  <a:pt x="776323" y="501836"/>
                </a:cubicBezTo>
                <a:cubicBezTo>
                  <a:pt x="776323" y="503826"/>
                  <a:pt x="776323" y="505815"/>
                  <a:pt x="778326" y="507804"/>
                </a:cubicBezTo>
                <a:cubicBezTo>
                  <a:pt x="778326" y="511783"/>
                  <a:pt x="782331" y="519741"/>
                  <a:pt x="784333" y="523720"/>
                </a:cubicBezTo>
                <a:cubicBezTo>
                  <a:pt x="788338" y="527698"/>
                  <a:pt x="790340" y="527698"/>
                  <a:pt x="790340" y="527698"/>
                </a:cubicBezTo>
                <a:cubicBezTo>
                  <a:pt x="790340" y="527698"/>
                  <a:pt x="792343" y="529688"/>
                  <a:pt x="796347" y="531677"/>
                </a:cubicBezTo>
                <a:cubicBezTo>
                  <a:pt x="800352" y="531677"/>
                  <a:pt x="802355" y="533667"/>
                  <a:pt x="802355" y="535656"/>
                </a:cubicBezTo>
                <a:cubicBezTo>
                  <a:pt x="802355" y="537645"/>
                  <a:pt x="806360" y="539635"/>
                  <a:pt x="806360" y="539635"/>
                </a:cubicBezTo>
                <a:cubicBezTo>
                  <a:pt x="806360" y="539635"/>
                  <a:pt x="816372" y="549582"/>
                  <a:pt x="820376" y="551571"/>
                </a:cubicBezTo>
                <a:cubicBezTo>
                  <a:pt x="824381" y="553561"/>
                  <a:pt x="822379" y="555550"/>
                  <a:pt x="822379" y="555550"/>
                </a:cubicBezTo>
                <a:cubicBezTo>
                  <a:pt x="822379" y="555550"/>
                  <a:pt x="822379" y="557539"/>
                  <a:pt x="820376" y="557539"/>
                </a:cubicBezTo>
                <a:cubicBezTo>
                  <a:pt x="816372" y="557539"/>
                  <a:pt x="818374" y="559529"/>
                  <a:pt x="818374" y="559529"/>
                </a:cubicBezTo>
                <a:cubicBezTo>
                  <a:pt x="818374" y="559529"/>
                  <a:pt x="818374" y="561518"/>
                  <a:pt x="816372" y="561518"/>
                </a:cubicBezTo>
                <a:cubicBezTo>
                  <a:pt x="814369" y="561518"/>
                  <a:pt x="812367" y="561518"/>
                  <a:pt x="812367" y="559529"/>
                </a:cubicBezTo>
                <a:cubicBezTo>
                  <a:pt x="812367" y="557539"/>
                  <a:pt x="810364" y="557539"/>
                  <a:pt x="808362" y="557539"/>
                </a:cubicBezTo>
                <a:cubicBezTo>
                  <a:pt x="806360" y="557539"/>
                  <a:pt x="804357" y="555550"/>
                  <a:pt x="804357" y="553561"/>
                </a:cubicBezTo>
                <a:cubicBezTo>
                  <a:pt x="806360" y="553561"/>
                  <a:pt x="802355" y="549582"/>
                  <a:pt x="802355" y="553561"/>
                </a:cubicBezTo>
                <a:cubicBezTo>
                  <a:pt x="800352" y="557539"/>
                  <a:pt x="800352" y="557539"/>
                  <a:pt x="802355" y="561518"/>
                </a:cubicBezTo>
                <a:cubicBezTo>
                  <a:pt x="804357" y="561518"/>
                  <a:pt x="806360" y="563508"/>
                  <a:pt x="800352" y="563508"/>
                </a:cubicBezTo>
                <a:cubicBezTo>
                  <a:pt x="794345" y="563508"/>
                  <a:pt x="798350" y="561518"/>
                  <a:pt x="796347" y="559529"/>
                </a:cubicBezTo>
                <a:cubicBezTo>
                  <a:pt x="794345" y="557539"/>
                  <a:pt x="792343" y="559529"/>
                  <a:pt x="792343" y="559529"/>
                </a:cubicBezTo>
                <a:cubicBezTo>
                  <a:pt x="792343" y="559529"/>
                  <a:pt x="792343" y="561518"/>
                  <a:pt x="788338" y="561518"/>
                </a:cubicBezTo>
                <a:cubicBezTo>
                  <a:pt x="784333" y="561518"/>
                  <a:pt x="782331" y="557539"/>
                  <a:pt x="782331" y="555550"/>
                </a:cubicBezTo>
                <a:cubicBezTo>
                  <a:pt x="782331" y="553561"/>
                  <a:pt x="780328" y="553561"/>
                  <a:pt x="778326" y="553561"/>
                </a:cubicBezTo>
                <a:cubicBezTo>
                  <a:pt x="774321" y="553561"/>
                  <a:pt x="776323" y="551571"/>
                  <a:pt x="776323" y="551571"/>
                </a:cubicBezTo>
                <a:cubicBezTo>
                  <a:pt x="776323" y="551571"/>
                  <a:pt x="776323" y="549582"/>
                  <a:pt x="774321" y="549582"/>
                </a:cubicBezTo>
                <a:cubicBezTo>
                  <a:pt x="772318" y="551571"/>
                  <a:pt x="774321" y="555550"/>
                  <a:pt x="774321" y="557539"/>
                </a:cubicBezTo>
                <a:cubicBezTo>
                  <a:pt x="776323" y="557539"/>
                  <a:pt x="776323" y="563508"/>
                  <a:pt x="772318" y="563508"/>
                </a:cubicBezTo>
                <a:cubicBezTo>
                  <a:pt x="768314" y="565497"/>
                  <a:pt x="764309" y="559529"/>
                  <a:pt x="764309" y="557539"/>
                </a:cubicBezTo>
                <a:cubicBezTo>
                  <a:pt x="764309" y="553561"/>
                  <a:pt x="762306" y="553561"/>
                  <a:pt x="760304" y="555550"/>
                </a:cubicBezTo>
                <a:cubicBezTo>
                  <a:pt x="760304" y="555550"/>
                  <a:pt x="756299" y="553561"/>
                  <a:pt x="756299" y="553561"/>
                </a:cubicBezTo>
                <a:cubicBezTo>
                  <a:pt x="756299" y="553561"/>
                  <a:pt x="756299" y="553561"/>
                  <a:pt x="752294" y="553561"/>
                </a:cubicBezTo>
                <a:cubicBezTo>
                  <a:pt x="752294" y="553561"/>
                  <a:pt x="748290" y="557539"/>
                  <a:pt x="746287" y="553561"/>
                </a:cubicBezTo>
                <a:cubicBezTo>
                  <a:pt x="746287" y="551571"/>
                  <a:pt x="742282" y="551571"/>
                  <a:pt x="742282" y="553561"/>
                </a:cubicBezTo>
                <a:cubicBezTo>
                  <a:pt x="740280" y="553561"/>
                  <a:pt x="736275" y="553561"/>
                  <a:pt x="734273" y="551571"/>
                </a:cubicBezTo>
                <a:cubicBezTo>
                  <a:pt x="732270" y="551571"/>
                  <a:pt x="734273" y="549582"/>
                  <a:pt x="736275" y="549582"/>
                </a:cubicBezTo>
                <a:cubicBezTo>
                  <a:pt x="740280" y="547592"/>
                  <a:pt x="740280" y="547592"/>
                  <a:pt x="738277" y="543614"/>
                </a:cubicBezTo>
                <a:cubicBezTo>
                  <a:pt x="738277" y="539635"/>
                  <a:pt x="736275" y="539635"/>
                  <a:pt x="736275" y="539635"/>
                </a:cubicBezTo>
                <a:cubicBezTo>
                  <a:pt x="736275" y="537645"/>
                  <a:pt x="734273" y="535656"/>
                  <a:pt x="740280" y="531677"/>
                </a:cubicBezTo>
                <a:cubicBezTo>
                  <a:pt x="746287" y="529688"/>
                  <a:pt x="748290" y="533667"/>
                  <a:pt x="748290" y="529688"/>
                </a:cubicBezTo>
                <a:cubicBezTo>
                  <a:pt x="748290" y="525709"/>
                  <a:pt x="742282" y="527698"/>
                  <a:pt x="736275" y="527698"/>
                </a:cubicBezTo>
                <a:cubicBezTo>
                  <a:pt x="730268" y="527698"/>
                  <a:pt x="730268" y="519741"/>
                  <a:pt x="730268" y="517751"/>
                </a:cubicBezTo>
                <a:cubicBezTo>
                  <a:pt x="730268" y="513773"/>
                  <a:pt x="722258" y="513773"/>
                  <a:pt x="718253" y="515762"/>
                </a:cubicBezTo>
                <a:cubicBezTo>
                  <a:pt x="714248" y="519741"/>
                  <a:pt x="710244" y="519741"/>
                  <a:pt x="710244" y="519741"/>
                </a:cubicBezTo>
                <a:cubicBezTo>
                  <a:pt x="710244" y="519741"/>
                  <a:pt x="710244" y="511783"/>
                  <a:pt x="708241" y="509794"/>
                </a:cubicBezTo>
                <a:cubicBezTo>
                  <a:pt x="708241" y="505815"/>
                  <a:pt x="704236" y="507804"/>
                  <a:pt x="702234" y="511783"/>
                </a:cubicBezTo>
                <a:cubicBezTo>
                  <a:pt x="702234" y="515762"/>
                  <a:pt x="692222" y="515762"/>
                  <a:pt x="688217" y="513773"/>
                </a:cubicBezTo>
                <a:cubicBezTo>
                  <a:pt x="684212" y="511783"/>
                  <a:pt x="686215" y="493879"/>
                  <a:pt x="688217" y="489900"/>
                </a:cubicBezTo>
                <a:cubicBezTo>
                  <a:pt x="688217" y="485921"/>
                  <a:pt x="694224" y="487910"/>
                  <a:pt x="696227" y="489900"/>
                </a:cubicBezTo>
                <a:cubicBezTo>
                  <a:pt x="700232" y="491889"/>
                  <a:pt x="700232" y="487910"/>
                  <a:pt x="700232" y="487910"/>
                </a:cubicBezTo>
                <a:cubicBezTo>
                  <a:pt x="700232" y="487910"/>
                  <a:pt x="702234" y="483932"/>
                  <a:pt x="704236" y="479953"/>
                </a:cubicBezTo>
                <a:cubicBezTo>
                  <a:pt x="704236" y="477963"/>
                  <a:pt x="706239" y="475974"/>
                  <a:pt x="706239" y="475974"/>
                </a:cubicBezTo>
                <a:cubicBezTo>
                  <a:pt x="706239" y="475974"/>
                  <a:pt x="706239" y="475974"/>
                  <a:pt x="710244" y="475974"/>
                </a:cubicBezTo>
                <a:cubicBezTo>
                  <a:pt x="710244" y="475974"/>
                  <a:pt x="710244" y="475974"/>
                  <a:pt x="708241" y="473985"/>
                </a:cubicBezTo>
                <a:cubicBezTo>
                  <a:pt x="706239" y="471995"/>
                  <a:pt x="706239" y="470006"/>
                  <a:pt x="708241" y="468016"/>
                </a:cubicBezTo>
                <a:cubicBezTo>
                  <a:pt x="708241" y="466027"/>
                  <a:pt x="706239" y="462048"/>
                  <a:pt x="706239" y="460059"/>
                </a:cubicBezTo>
                <a:cubicBezTo>
                  <a:pt x="706239" y="460059"/>
                  <a:pt x="702234" y="454091"/>
                  <a:pt x="704236" y="454091"/>
                </a:cubicBezTo>
                <a:cubicBezTo>
                  <a:pt x="706239" y="452101"/>
                  <a:pt x="706239" y="454091"/>
                  <a:pt x="708241" y="448122"/>
                </a:cubicBezTo>
                <a:cubicBezTo>
                  <a:pt x="710244" y="444144"/>
                  <a:pt x="712246" y="444144"/>
                  <a:pt x="712246" y="444144"/>
                </a:cubicBezTo>
                <a:cubicBezTo>
                  <a:pt x="712246" y="444144"/>
                  <a:pt x="712246" y="444144"/>
                  <a:pt x="712246" y="442154"/>
                </a:cubicBezTo>
                <a:cubicBezTo>
                  <a:pt x="712246" y="442154"/>
                  <a:pt x="712246" y="438175"/>
                  <a:pt x="714248" y="438175"/>
                </a:cubicBezTo>
                <a:cubicBezTo>
                  <a:pt x="716251" y="438175"/>
                  <a:pt x="718253" y="436186"/>
                  <a:pt x="720256" y="432207"/>
                </a:cubicBezTo>
                <a:cubicBezTo>
                  <a:pt x="722258" y="430218"/>
                  <a:pt x="726263" y="430218"/>
                  <a:pt x="726263" y="430218"/>
                </a:cubicBezTo>
                <a:cubicBezTo>
                  <a:pt x="726263" y="430218"/>
                  <a:pt x="732270" y="432207"/>
                  <a:pt x="736275" y="428228"/>
                </a:cubicBezTo>
                <a:cubicBezTo>
                  <a:pt x="740280" y="424250"/>
                  <a:pt x="748290" y="426239"/>
                  <a:pt x="748290" y="426239"/>
                </a:cubicBezTo>
                <a:cubicBezTo>
                  <a:pt x="748290" y="426239"/>
                  <a:pt x="748290" y="426239"/>
                  <a:pt x="748290" y="422260"/>
                </a:cubicBezTo>
                <a:cubicBezTo>
                  <a:pt x="748290" y="422260"/>
                  <a:pt x="746287" y="422260"/>
                  <a:pt x="738277" y="424250"/>
                </a:cubicBezTo>
                <a:cubicBezTo>
                  <a:pt x="730268" y="428228"/>
                  <a:pt x="730268" y="424250"/>
                  <a:pt x="730268" y="422260"/>
                </a:cubicBezTo>
                <a:cubicBezTo>
                  <a:pt x="730268" y="420271"/>
                  <a:pt x="726263" y="420271"/>
                  <a:pt x="724261" y="418281"/>
                </a:cubicBezTo>
                <a:cubicBezTo>
                  <a:pt x="720256" y="418281"/>
                  <a:pt x="718253" y="418281"/>
                  <a:pt x="718253" y="416292"/>
                </a:cubicBezTo>
                <a:cubicBezTo>
                  <a:pt x="718253" y="412313"/>
                  <a:pt x="720256" y="410324"/>
                  <a:pt x="722258" y="412313"/>
                </a:cubicBezTo>
                <a:cubicBezTo>
                  <a:pt x="724261" y="412313"/>
                  <a:pt x="726263" y="410324"/>
                  <a:pt x="726263" y="408334"/>
                </a:cubicBezTo>
                <a:cubicBezTo>
                  <a:pt x="726263" y="406345"/>
                  <a:pt x="728265" y="406345"/>
                  <a:pt x="728265" y="406345"/>
                </a:cubicBezTo>
                <a:cubicBezTo>
                  <a:pt x="728265" y="406345"/>
                  <a:pt x="732270" y="408334"/>
                  <a:pt x="734273" y="406345"/>
                </a:cubicBezTo>
                <a:cubicBezTo>
                  <a:pt x="736275" y="404356"/>
                  <a:pt x="738277" y="406345"/>
                  <a:pt x="742282" y="404356"/>
                </a:cubicBezTo>
                <a:cubicBezTo>
                  <a:pt x="744285" y="402366"/>
                  <a:pt x="742282" y="402366"/>
                  <a:pt x="742282" y="398387"/>
                </a:cubicBezTo>
                <a:cubicBezTo>
                  <a:pt x="742282" y="394409"/>
                  <a:pt x="748290" y="394409"/>
                  <a:pt x="752294" y="396398"/>
                </a:cubicBezTo>
                <a:cubicBezTo>
                  <a:pt x="758302" y="398387"/>
                  <a:pt x="766311" y="394409"/>
                  <a:pt x="766311" y="394409"/>
                </a:cubicBezTo>
                <a:cubicBezTo>
                  <a:pt x="766311" y="394409"/>
                  <a:pt x="766311" y="394409"/>
                  <a:pt x="758302" y="392419"/>
                </a:cubicBezTo>
                <a:cubicBezTo>
                  <a:pt x="758302" y="392419"/>
                  <a:pt x="758302" y="392419"/>
                  <a:pt x="748290" y="390430"/>
                </a:cubicBezTo>
                <a:cubicBezTo>
                  <a:pt x="748290" y="390430"/>
                  <a:pt x="748290" y="390430"/>
                  <a:pt x="752294" y="386451"/>
                </a:cubicBezTo>
                <a:cubicBezTo>
                  <a:pt x="752294" y="386451"/>
                  <a:pt x="752294" y="386451"/>
                  <a:pt x="750292" y="384462"/>
                </a:cubicBezTo>
                <a:cubicBezTo>
                  <a:pt x="750292" y="384462"/>
                  <a:pt x="748290" y="382472"/>
                  <a:pt x="748290" y="380483"/>
                </a:cubicBezTo>
                <a:cubicBezTo>
                  <a:pt x="748290" y="378493"/>
                  <a:pt x="752294" y="378493"/>
                  <a:pt x="754297" y="380483"/>
                </a:cubicBezTo>
                <a:cubicBezTo>
                  <a:pt x="756299" y="380483"/>
                  <a:pt x="758302" y="378493"/>
                  <a:pt x="758302" y="376504"/>
                </a:cubicBezTo>
                <a:cubicBezTo>
                  <a:pt x="758302" y="374515"/>
                  <a:pt x="758302" y="374515"/>
                  <a:pt x="756299" y="374515"/>
                </a:cubicBezTo>
                <a:cubicBezTo>
                  <a:pt x="754297" y="374515"/>
                  <a:pt x="754297" y="370536"/>
                  <a:pt x="754297" y="370536"/>
                </a:cubicBezTo>
                <a:cubicBezTo>
                  <a:pt x="754297" y="370536"/>
                  <a:pt x="754297" y="370536"/>
                  <a:pt x="758302" y="370536"/>
                </a:cubicBezTo>
                <a:cubicBezTo>
                  <a:pt x="758302" y="370536"/>
                  <a:pt x="764309" y="372525"/>
                  <a:pt x="764309" y="370536"/>
                </a:cubicBezTo>
                <a:cubicBezTo>
                  <a:pt x="764309" y="368546"/>
                  <a:pt x="766311" y="368546"/>
                  <a:pt x="768314" y="368546"/>
                </a:cubicBezTo>
                <a:cubicBezTo>
                  <a:pt x="772318" y="370536"/>
                  <a:pt x="774321" y="368546"/>
                  <a:pt x="774321" y="368546"/>
                </a:cubicBezTo>
                <a:cubicBezTo>
                  <a:pt x="774321" y="366557"/>
                  <a:pt x="772318" y="364568"/>
                  <a:pt x="768314" y="364568"/>
                </a:cubicBezTo>
                <a:cubicBezTo>
                  <a:pt x="764309" y="364568"/>
                  <a:pt x="766311" y="364568"/>
                  <a:pt x="764309" y="364568"/>
                </a:cubicBezTo>
                <a:cubicBezTo>
                  <a:pt x="760304" y="364568"/>
                  <a:pt x="760304" y="364568"/>
                  <a:pt x="760304" y="360589"/>
                </a:cubicBezTo>
                <a:cubicBezTo>
                  <a:pt x="760304" y="356610"/>
                  <a:pt x="758302" y="358599"/>
                  <a:pt x="756299" y="358599"/>
                </a:cubicBezTo>
                <a:cubicBezTo>
                  <a:pt x="754297" y="358599"/>
                  <a:pt x="752294" y="352631"/>
                  <a:pt x="752294" y="346663"/>
                </a:cubicBezTo>
                <a:cubicBezTo>
                  <a:pt x="752294" y="342684"/>
                  <a:pt x="752294" y="340695"/>
                  <a:pt x="754297" y="340695"/>
                </a:cubicBezTo>
                <a:cubicBezTo>
                  <a:pt x="756299" y="338705"/>
                  <a:pt x="758302" y="340695"/>
                  <a:pt x="760304" y="346663"/>
                </a:cubicBezTo>
                <a:cubicBezTo>
                  <a:pt x="760304" y="350642"/>
                  <a:pt x="766311" y="348652"/>
                  <a:pt x="770316" y="346663"/>
                </a:cubicBezTo>
                <a:cubicBezTo>
                  <a:pt x="772318" y="346663"/>
                  <a:pt x="780328" y="344674"/>
                  <a:pt x="782331" y="342684"/>
                </a:cubicBezTo>
                <a:cubicBezTo>
                  <a:pt x="786335" y="340695"/>
                  <a:pt x="790340" y="340695"/>
                  <a:pt x="790340" y="340695"/>
                </a:cubicBezTo>
                <a:cubicBezTo>
                  <a:pt x="790340" y="340695"/>
                  <a:pt x="794345" y="342684"/>
                  <a:pt x="798350" y="342684"/>
                </a:cubicBezTo>
                <a:cubicBezTo>
                  <a:pt x="800352" y="342684"/>
                  <a:pt x="798350" y="334727"/>
                  <a:pt x="796347" y="332737"/>
                </a:cubicBezTo>
                <a:cubicBezTo>
                  <a:pt x="794345" y="330748"/>
                  <a:pt x="798350" y="326769"/>
                  <a:pt x="798350" y="326769"/>
                </a:cubicBezTo>
                <a:cubicBezTo>
                  <a:pt x="798350" y="326769"/>
                  <a:pt x="802355" y="322790"/>
                  <a:pt x="802355" y="322790"/>
                </a:cubicBezTo>
                <a:cubicBezTo>
                  <a:pt x="804357" y="318811"/>
                  <a:pt x="808362" y="322790"/>
                  <a:pt x="808362" y="322790"/>
                </a:cubicBezTo>
                <a:cubicBezTo>
                  <a:pt x="808362" y="322790"/>
                  <a:pt x="810364" y="322790"/>
                  <a:pt x="812367" y="322790"/>
                </a:cubicBezTo>
                <a:cubicBezTo>
                  <a:pt x="814369" y="322790"/>
                  <a:pt x="814369" y="320801"/>
                  <a:pt x="814369" y="316822"/>
                </a:cubicBezTo>
                <a:cubicBezTo>
                  <a:pt x="814369" y="314833"/>
                  <a:pt x="820376" y="312843"/>
                  <a:pt x="824381" y="314833"/>
                </a:cubicBezTo>
                <a:cubicBezTo>
                  <a:pt x="826384" y="314833"/>
                  <a:pt x="828386" y="314833"/>
                  <a:pt x="828386" y="312843"/>
                </a:cubicBezTo>
                <a:cubicBezTo>
                  <a:pt x="830389" y="310854"/>
                  <a:pt x="836396" y="308864"/>
                  <a:pt x="838398" y="308864"/>
                </a:cubicBezTo>
                <a:cubicBezTo>
                  <a:pt x="840401" y="306875"/>
                  <a:pt x="840401" y="304886"/>
                  <a:pt x="840401" y="304886"/>
                </a:cubicBezTo>
                <a:cubicBezTo>
                  <a:pt x="840401" y="304886"/>
                  <a:pt x="844405" y="300907"/>
                  <a:pt x="844405" y="296928"/>
                </a:cubicBezTo>
                <a:cubicBezTo>
                  <a:pt x="846408" y="292949"/>
                  <a:pt x="850413" y="294939"/>
                  <a:pt x="850413" y="294939"/>
                </a:cubicBezTo>
                <a:cubicBezTo>
                  <a:pt x="850413" y="296928"/>
                  <a:pt x="852415" y="298918"/>
                  <a:pt x="852415" y="298918"/>
                </a:cubicBezTo>
                <a:cubicBezTo>
                  <a:pt x="852415" y="298918"/>
                  <a:pt x="856420" y="298918"/>
                  <a:pt x="854417" y="302896"/>
                </a:cubicBezTo>
                <a:cubicBezTo>
                  <a:pt x="854417" y="306875"/>
                  <a:pt x="858422" y="304886"/>
                  <a:pt x="858422" y="302896"/>
                </a:cubicBezTo>
                <a:cubicBezTo>
                  <a:pt x="858422" y="300907"/>
                  <a:pt x="864430" y="300907"/>
                  <a:pt x="866432" y="300907"/>
                </a:cubicBezTo>
                <a:cubicBezTo>
                  <a:pt x="866432" y="298918"/>
                  <a:pt x="866432" y="300907"/>
                  <a:pt x="864430" y="294939"/>
                </a:cubicBezTo>
                <a:cubicBezTo>
                  <a:pt x="862427" y="288971"/>
                  <a:pt x="870437" y="290960"/>
                  <a:pt x="870437" y="290960"/>
                </a:cubicBezTo>
                <a:cubicBezTo>
                  <a:pt x="870437" y="290960"/>
                  <a:pt x="874442" y="288971"/>
                  <a:pt x="878446" y="288971"/>
                </a:cubicBezTo>
                <a:cubicBezTo>
                  <a:pt x="880449" y="288971"/>
                  <a:pt x="880449" y="292949"/>
                  <a:pt x="880449" y="292949"/>
                </a:cubicBezTo>
                <a:cubicBezTo>
                  <a:pt x="880449" y="292949"/>
                  <a:pt x="880449" y="292949"/>
                  <a:pt x="886456" y="292949"/>
                </a:cubicBezTo>
                <a:cubicBezTo>
                  <a:pt x="886456" y="292949"/>
                  <a:pt x="888459" y="292949"/>
                  <a:pt x="892463" y="292949"/>
                </a:cubicBezTo>
                <a:cubicBezTo>
                  <a:pt x="896468" y="290960"/>
                  <a:pt x="896468" y="292949"/>
                  <a:pt x="896468" y="294939"/>
                </a:cubicBezTo>
                <a:cubicBezTo>
                  <a:pt x="896468" y="296928"/>
                  <a:pt x="896468" y="296928"/>
                  <a:pt x="898471" y="296928"/>
                </a:cubicBezTo>
                <a:cubicBezTo>
                  <a:pt x="900473" y="296928"/>
                  <a:pt x="902475" y="296928"/>
                  <a:pt x="902475" y="292949"/>
                </a:cubicBezTo>
                <a:cubicBezTo>
                  <a:pt x="904478" y="290960"/>
                  <a:pt x="908483" y="292949"/>
                  <a:pt x="908483" y="292949"/>
                </a:cubicBezTo>
                <a:cubicBezTo>
                  <a:pt x="908483" y="292949"/>
                  <a:pt x="908483" y="292949"/>
                  <a:pt x="916492" y="292949"/>
                </a:cubicBezTo>
                <a:cubicBezTo>
                  <a:pt x="916492" y="292949"/>
                  <a:pt x="920497" y="292949"/>
                  <a:pt x="922500" y="290960"/>
                </a:cubicBezTo>
                <a:cubicBezTo>
                  <a:pt x="924502" y="288971"/>
                  <a:pt x="926504" y="288971"/>
                  <a:pt x="928507" y="290960"/>
                </a:cubicBezTo>
                <a:cubicBezTo>
                  <a:pt x="930509" y="292949"/>
                  <a:pt x="934514" y="292949"/>
                  <a:pt x="940521" y="290960"/>
                </a:cubicBezTo>
                <a:cubicBezTo>
                  <a:pt x="944526" y="288971"/>
                  <a:pt x="946529" y="286981"/>
                  <a:pt x="946529" y="283002"/>
                </a:cubicBezTo>
                <a:cubicBezTo>
                  <a:pt x="948531" y="277034"/>
                  <a:pt x="950533" y="277034"/>
                  <a:pt x="954538" y="279024"/>
                </a:cubicBezTo>
                <a:cubicBezTo>
                  <a:pt x="958543" y="279024"/>
                  <a:pt x="960545" y="281013"/>
                  <a:pt x="958543" y="277034"/>
                </a:cubicBezTo>
                <a:cubicBezTo>
                  <a:pt x="958543" y="273055"/>
                  <a:pt x="962548" y="273055"/>
                  <a:pt x="964550" y="273055"/>
                </a:cubicBezTo>
                <a:cubicBezTo>
                  <a:pt x="968555" y="273055"/>
                  <a:pt x="968555" y="271066"/>
                  <a:pt x="966553" y="269077"/>
                </a:cubicBezTo>
                <a:cubicBezTo>
                  <a:pt x="964550" y="265098"/>
                  <a:pt x="976565" y="261119"/>
                  <a:pt x="976565" y="261119"/>
                </a:cubicBezTo>
                <a:cubicBezTo>
                  <a:pt x="976565" y="261119"/>
                  <a:pt x="992584" y="257140"/>
                  <a:pt x="992584" y="255151"/>
                </a:cubicBezTo>
                <a:cubicBezTo>
                  <a:pt x="992584" y="251172"/>
                  <a:pt x="998591" y="251172"/>
                  <a:pt x="998591" y="251172"/>
                </a:cubicBezTo>
                <a:close/>
                <a:moveTo>
                  <a:pt x="1616711" y="242123"/>
                </a:moveTo>
                <a:cubicBezTo>
                  <a:pt x="1620838" y="244186"/>
                  <a:pt x="1620838" y="248314"/>
                  <a:pt x="1618774" y="250377"/>
                </a:cubicBezTo>
                <a:cubicBezTo>
                  <a:pt x="1616711" y="250377"/>
                  <a:pt x="1616711" y="250377"/>
                  <a:pt x="1616711" y="254505"/>
                </a:cubicBezTo>
                <a:cubicBezTo>
                  <a:pt x="1616711" y="258632"/>
                  <a:pt x="1614647" y="258632"/>
                  <a:pt x="1610519" y="258632"/>
                </a:cubicBezTo>
                <a:cubicBezTo>
                  <a:pt x="1608455" y="256569"/>
                  <a:pt x="1606392" y="254505"/>
                  <a:pt x="1606392" y="258632"/>
                </a:cubicBezTo>
                <a:cubicBezTo>
                  <a:pt x="1604328" y="260696"/>
                  <a:pt x="1600200" y="254505"/>
                  <a:pt x="1600200" y="254505"/>
                </a:cubicBezTo>
                <a:cubicBezTo>
                  <a:pt x="1600200" y="254505"/>
                  <a:pt x="1600200" y="250377"/>
                  <a:pt x="1602264" y="250377"/>
                </a:cubicBezTo>
                <a:cubicBezTo>
                  <a:pt x="1604328" y="250377"/>
                  <a:pt x="1606392" y="250377"/>
                  <a:pt x="1606392" y="250377"/>
                </a:cubicBezTo>
                <a:cubicBezTo>
                  <a:pt x="1606392" y="250377"/>
                  <a:pt x="1610519" y="250377"/>
                  <a:pt x="1610519" y="248314"/>
                </a:cubicBezTo>
                <a:cubicBezTo>
                  <a:pt x="1612583" y="246250"/>
                  <a:pt x="1614647" y="240059"/>
                  <a:pt x="1616711" y="242123"/>
                </a:cubicBezTo>
                <a:close/>
                <a:moveTo>
                  <a:pt x="1488281" y="235297"/>
                </a:moveTo>
                <a:cubicBezTo>
                  <a:pt x="1488281" y="235297"/>
                  <a:pt x="1495425" y="237202"/>
                  <a:pt x="1493044" y="241012"/>
                </a:cubicBezTo>
                <a:cubicBezTo>
                  <a:pt x="1490663" y="244822"/>
                  <a:pt x="1485900" y="242917"/>
                  <a:pt x="1485900" y="239107"/>
                </a:cubicBezTo>
                <a:cubicBezTo>
                  <a:pt x="1485900" y="237202"/>
                  <a:pt x="1488281" y="235297"/>
                  <a:pt x="1488281" y="235297"/>
                </a:cubicBezTo>
                <a:close/>
                <a:moveTo>
                  <a:pt x="1862138" y="230534"/>
                </a:moveTo>
                <a:cubicBezTo>
                  <a:pt x="1862138" y="230534"/>
                  <a:pt x="1862138" y="230534"/>
                  <a:pt x="1862138" y="232915"/>
                </a:cubicBezTo>
                <a:cubicBezTo>
                  <a:pt x="1862138" y="235296"/>
                  <a:pt x="1859757" y="235296"/>
                  <a:pt x="1857375" y="232915"/>
                </a:cubicBezTo>
                <a:cubicBezTo>
                  <a:pt x="1857375" y="230534"/>
                  <a:pt x="1862138" y="230534"/>
                  <a:pt x="1862138" y="230534"/>
                </a:cubicBezTo>
                <a:close/>
                <a:moveTo>
                  <a:pt x="1890077" y="228947"/>
                </a:moveTo>
                <a:cubicBezTo>
                  <a:pt x="1893887" y="228947"/>
                  <a:pt x="1893887" y="234503"/>
                  <a:pt x="1893887" y="236355"/>
                </a:cubicBezTo>
                <a:cubicBezTo>
                  <a:pt x="1893887" y="240059"/>
                  <a:pt x="1890077" y="240059"/>
                  <a:pt x="1888172" y="238207"/>
                </a:cubicBezTo>
                <a:cubicBezTo>
                  <a:pt x="1886267" y="238207"/>
                  <a:pt x="1884362" y="236355"/>
                  <a:pt x="1886267" y="232651"/>
                </a:cubicBezTo>
                <a:cubicBezTo>
                  <a:pt x="1886267" y="230799"/>
                  <a:pt x="1890077" y="228947"/>
                  <a:pt x="1890077" y="228947"/>
                </a:cubicBezTo>
                <a:close/>
                <a:moveTo>
                  <a:pt x="1870339" y="223628"/>
                </a:moveTo>
                <a:cubicBezTo>
                  <a:pt x="1871133" y="224343"/>
                  <a:pt x="1871662" y="225771"/>
                  <a:pt x="1871662" y="226724"/>
                </a:cubicBezTo>
                <a:cubicBezTo>
                  <a:pt x="1871662" y="228629"/>
                  <a:pt x="1869546" y="230534"/>
                  <a:pt x="1867429" y="228629"/>
                </a:cubicBezTo>
                <a:cubicBezTo>
                  <a:pt x="1865312" y="228629"/>
                  <a:pt x="1867429" y="224819"/>
                  <a:pt x="1867429" y="224819"/>
                </a:cubicBezTo>
                <a:cubicBezTo>
                  <a:pt x="1868487" y="222914"/>
                  <a:pt x="1869546" y="222914"/>
                  <a:pt x="1870339" y="223628"/>
                </a:cubicBezTo>
                <a:close/>
                <a:moveTo>
                  <a:pt x="1534319" y="215452"/>
                </a:moveTo>
                <a:cubicBezTo>
                  <a:pt x="1538288" y="211484"/>
                  <a:pt x="1538288" y="219421"/>
                  <a:pt x="1534319" y="219421"/>
                </a:cubicBezTo>
                <a:cubicBezTo>
                  <a:pt x="1530350" y="219421"/>
                  <a:pt x="1534319" y="215452"/>
                  <a:pt x="1534319" y="215452"/>
                </a:cubicBezTo>
                <a:close/>
                <a:moveTo>
                  <a:pt x="1806140" y="210804"/>
                </a:moveTo>
                <a:cubicBezTo>
                  <a:pt x="1807886" y="211303"/>
                  <a:pt x="1809382" y="212300"/>
                  <a:pt x="1809382" y="212300"/>
                </a:cubicBezTo>
                <a:cubicBezTo>
                  <a:pt x="1809382" y="212300"/>
                  <a:pt x="1813372" y="216292"/>
                  <a:pt x="1817362" y="214296"/>
                </a:cubicBezTo>
                <a:cubicBezTo>
                  <a:pt x="1821352" y="214296"/>
                  <a:pt x="1823347" y="216292"/>
                  <a:pt x="1823347" y="216292"/>
                </a:cubicBezTo>
                <a:cubicBezTo>
                  <a:pt x="1823347" y="216292"/>
                  <a:pt x="1823347" y="216292"/>
                  <a:pt x="1827337" y="220284"/>
                </a:cubicBezTo>
                <a:cubicBezTo>
                  <a:pt x="1827337" y="220284"/>
                  <a:pt x="1835318" y="220284"/>
                  <a:pt x="1837313" y="222279"/>
                </a:cubicBezTo>
                <a:cubicBezTo>
                  <a:pt x="1839308" y="226271"/>
                  <a:pt x="1841303" y="222279"/>
                  <a:pt x="1845293" y="218288"/>
                </a:cubicBezTo>
                <a:cubicBezTo>
                  <a:pt x="1849283" y="214296"/>
                  <a:pt x="1853273" y="218288"/>
                  <a:pt x="1851278" y="222279"/>
                </a:cubicBezTo>
                <a:cubicBezTo>
                  <a:pt x="1849283" y="224275"/>
                  <a:pt x="1849283" y="224275"/>
                  <a:pt x="1853273" y="228267"/>
                </a:cubicBezTo>
                <a:cubicBezTo>
                  <a:pt x="1857263" y="234254"/>
                  <a:pt x="1853273" y="234254"/>
                  <a:pt x="1849283" y="234254"/>
                </a:cubicBezTo>
                <a:cubicBezTo>
                  <a:pt x="1847288" y="232258"/>
                  <a:pt x="1841303" y="238246"/>
                  <a:pt x="1839308" y="238246"/>
                </a:cubicBezTo>
                <a:cubicBezTo>
                  <a:pt x="1839308" y="240241"/>
                  <a:pt x="1825342" y="246229"/>
                  <a:pt x="1821352" y="246229"/>
                </a:cubicBezTo>
                <a:cubicBezTo>
                  <a:pt x="1815367" y="246229"/>
                  <a:pt x="1815367" y="250220"/>
                  <a:pt x="1815367" y="250220"/>
                </a:cubicBezTo>
                <a:cubicBezTo>
                  <a:pt x="1815367" y="252216"/>
                  <a:pt x="1821352" y="252216"/>
                  <a:pt x="1821352" y="250220"/>
                </a:cubicBezTo>
                <a:cubicBezTo>
                  <a:pt x="1821352" y="250220"/>
                  <a:pt x="1825342" y="250220"/>
                  <a:pt x="1827337" y="250220"/>
                </a:cubicBezTo>
                <a:cubicBezTo>
                  <a:pt x="1827337" y="250220"/>
                  <a:pt x="1831327" y="250220"/>
                  <a:pt x="1831327" y="250220"/>
                </a:cubicBezTo>
                <a:cubicBezTo>
                  <a:pt x="1831327" y="250220"/>
                  <a:pt x="1835318" y="248224"/>
                  <a:pt x="1837313" y="248224"/>
                </a:cubicBezTo>
                <a:cubicBezTo>
                  <a:pt x="1839308" y="248224"/>
                  <a:pt x="1843298" y="244233"/>
                  <a:pt x="1843298" y="242237"/>
                </a:cubicBezTo>
                <a:cubicBezTo>
                  <a:pt x="1845293" y="240241"/>
                  <a:pt x="1849283" y="242237"/>
                  <a:pt x="1851278" y="242237"/>
                </a:cubicBezTo>
                <a:cubicBezTo>
                  <a:pt x="1855268" y="242237"/>
                  <a:pt x="1857263" y="248224"/>
                  <a:pt x="1853273" y="248224"/>
                </a:cubicBezTo>
                <a:cubicBezTo>
                  <a:pt x="1849283" y="248224"/>
                  <a:pt x="1849283" y="252216"/>
                  <a:pt x="1847288" y="254212"/>
                </a:cubicBezTo>
                <a:cubicBezTo>
                  <a:pt x="1847288" y="258203"/>
                  <a:pt x="1851278" y="256207"/>
                  <a:pt x="1853273" y="252216"/>
                </a:cubicBezTo>
                <a:cubicBezTo>
                  <a:pt x="1853273" y="250220"/>
                  <a:pt x="1857263" y="248224"/>
                  <a:pt x="1859258" y="250220"/>
                </a:cubicBezTo>
                <a:cubicBezTo>
                  <a:pt x="1863248" y="250220"/>
                  <a:pt x="1863248" y="248224"/>
                  <a:pt x="1867238" y="248224"/>
                </a:cubicBezTo>
                <a:cubicBezTo>
                  <a:pt x="1869233" y="246229"/>
                  <a:pt x="1869233" y="248224"/>
                  <a:pt x="1871228" y="250220"/>
                </a:cubicBezTo>
                <a:cubicBezTo>
                  <a:pt x="1871228" y="252216"/>
                  <a:pt x="1875218" y="254212"/>
                  <a:pt x="1875218" y="250220"/>
                </a:cubicBezTo>
                <a:cubicBezTo>
                  <a:pt x="1875218" y="248224"/>
                  <a:pt x="1881204" y="248224"/>
                  <a:pt x="1881204" y="250220"/>
                </a:cubicBezTo>
                <a:cubicBezTo>
                  <a:pt x="1883199" y="254212"/>
                  <a:pt x="1885194" y="250220"/>
                  <a:pt x="1887189" y="254212"/>
                </a:cubicBezTo>
                <a:cubicBezTo>
                  <a:pt x="1887189" y="258203"/>
                  <a:pt x="1885194" y="262195"/>
                  <a:pt x="1881204" y="262195"/>
                </a:cubicBezTo>
                <a:cubicBezTo>
                  <a:pt x="1877213" y="264191"/>
                  <a:pt x="1877213" y="266186"/>
                  <a:pt x="1877213" y="270178"/>
                </a:cubicBezTo>
                <a:cubicBezTo>
                  <a:pt x="1877213" y="274169"/>
                  <a:pt x="1873223" y="274169"/>
                  <a:pt x="1871228" y="276165"/>
                </a:cubicBezTo>
                <a:cubicBezTo>
                  <a:pt x="1867238" y="278161"/>
                  <a:pt x="1879209" y="278161"/>
                  <a:pt x="1881204" y="276165"/>
                </a:cubicBezTo>
                <a:cubicBezTo>
                  <a:pt x="1885194" y="276165"/>
                  <a:pt x="1891179" y="276165"/>
                  <a:pt x="1897164" y="278161"/>
                </a:cubicBezTo>
                <a:cubicBezTo>
                  <a:pt x="1903149" y="278161"/>
                  <a:pt x="1905144" y="272174"/>
                  <a:pt x="1905144" y="272174"/>
                </a:cubicBezTo>
                <a:cubicBezTo>
                  <a:pt x="1901154" y="272174"/>
                  <a:pt x="1903149" y="268182"/>
                  <a:pt x="1905144" y="264191"/>
                </a:cubicBezTo>
                <a:cubicBezTo>
                  <a:pt x="1907139" y="260199"/>
                  <a:pt x="1913124" y="260199"/>
                  <a:pt x="1913124" y="266186"/>
                </a:cubicBezTo>
                <a:cubicBezTo>
                  <a:pt x="1913124" y="270178"/>
                  <a:pt x="1919109" y="268182"/>
                  <a:pt x="1919109" y="268182"/>
                </a:cubicBezTo>
                <a:cubicBezTo>
                  <a:pt x="1919109" y="268182"/>
                  <a:pt x="1925095" y="264191"/>
                  <a:pt x="1927090" y="266186"/>
                </a:cubicBezTo>
                <a:cubicBezTo>
                  <a:pt x="1931080" y="266186"/>
                  <a:pt x="1933075" y="266186"/>
                  <a:pt x="1935070" y="264191"/>
                </a:cubicBezTo>
                <a:cubicBezTo>
                  <a:pt x="1939060" y="262195"/>
                  <a:pt x="1947040" y="266186"/>
                  <a:pt x="1949035" y="268182"/>
                </a:cubicBezTo>
                <a:cubicBezTo>
                  <a:pt x="1949035" y="272174"/>
                  <a:pt x="1951030" y="268182"/>
                  <a:pt x="1955020" y="264191"/>
                </a:cubicBezTo>
                <a:cubicBezTo>
                  <a:pt x="1959010" y="258203"/>
                  <a:pt x="1968986" y="262195"/>
                  <a:pt x="1968986" y="262195"/>
                </a:cubicBezTo>
                <a:cubicBezTo>
                  <a:pt x="1968986" y="262195"/>
                  <a:pt x="1972976" y="262195"/>
                  <a:pt x="1972976" y="264191"/>
                </a:cubicBezTo>
                <a:cubicBezTo>
                  <a:pt x="1972976" y="266186"/>
                  <a:pt x="1976966" y="266186"/>
                  <a:pt x="1976966" y="266186"/>
                </a:cubicBezTo>
                <a:cubicBezTo>
                  <a:pt x="1976966" y="266186"/>
                  <a:pt x="1980956" y="264191"/>
                  <a:pt x="1980956" y="268182"/>
                </a:cubicBezTo>
                <a:cubicBezTo>
                  <a:pt x="1980956" y="272174"/>
                  <a:pt x="1984946" y="272174"/>
                  <a:pt x="1988936" y="272174"/>
                </a:cubicBezTo>
                <a:cubicBezTo>
                  <a:pt x="1992926" y="272174"/>
                  <a:pt x="1996916" y="276165"/>
                  <a:pt x="2002901" y="278161"/>
                </a:cubicBezTo>
                <a:cubicBezTo>
                  <a:pt x="2006891" y="282153"/>
                  <a:pt x="2008886" y="278161"/>
                  <a:pt x="2006891" y="276165"/>
                </a:cubicBezTo>
                <a:cubicBezTo>
                  <a:pt x="2006891" y="274169"/>
                  <a:pt x="2006891" y="274169"/>
                  <a:pt x="2002901" y="272174"/>
                </a:cubicBezTo>
                <a:cubicBezTo>
                  <a:pt x="1998911" y="272174"/>
                  <a:pt x="1998911" y="270178"/>
                  <a:pt x="1998911" y="268182"/>
                </a:cubicBezTo>
                <a:cubicBezTo>
                  <a:pt x="1996916" y="266186"/>
                  <a:pt x="2002901" y="266186"/>
                  <a:pt x="2008886" y="266186"/>
                </a:cubicBezTo>
                <a:cubicBezTo>
                  <a:pt x="2014872" y="268182"/>
                  <a:pt x="2014872" y="274169"/>
                  <a:pt x="2012877" y="274169"/>
                </a:cubicBezTo>
                <a:cubicBezTo>
                  <a:pt x="2008886" y="276165"/>
                  <a:pt x="2010882" y="280157"/>
                  <a:pt x="2010882" y="280157"/>
                </a:cubicBezTo>
                <a:cubicBezTo>
                  <a:pt x="2010882" y="280157"/>
                  <a:pt x="2016867" y="282153"/>
                  <a:pt x="2016867" y="286144"/>
                </a:cubicBezTo>
                <a:cubicBezTo>
                  <a:pt x="2016867" y="288140"/>
                  <a:pt x="2016867" y="292131"/>
                  <a:pt x="2018862" y="292131"/>
                </a:cubicBezTo>
                <a:cubicBezTo>
                  <a:pt x="2022852" y="292131"/>
                  <a:pt x="2018862" y="294127"/>
                  <a:pt x="2018862" y="298119"/>
                </a:cubicBezTo>
                <a:cubicBezTo>
                  <a:pt x="2018862" y="300114"/>
                  <a:pt x="2024847" y="300114"/>
                  <a:pt x="2026842" y="298119"/>
                </a:cubicBezTo>
                <a:cubicBezTo>
                  <a:pt x="2026842" y="296123"/>
                  <a:pt x="2026842" y="294127"/>
                  <a:pt x="2022852" y="294127"/>
                </a:cubicBezTo>
                <a:cubicBezTo>
                  <a:pt x="2018862" y="292131"/>
                  <a:pt x="2022852" y="290136"/>
                  <a:pt x="2024847" y="286144"/>
                </a:cubicBezTo>
                <a:cubicBezTo>
                  <a:pt x="2026842" y="284148"/>
                  <a:pt x="2022852" y="286144"/>
                  <a:pt x="2022852" y="280157"/>
                </a:cubicBezTo>
                <a:cubicBezTo>
                  <a:pt x="2024847" y="276165"/>
                  <a:pt x="2030832" y="282153"/>
                  <a:pt x="2028837" y="284148"/>
                </a:cubicBezTo>
                <a:cubicBezTo>
                  <a:pt x="2026842" y="286144"/>
                  <a:pt x="2030832" y="286144"/>
                  <a:pt x="2030832" y="286144"/>
                </a:cubicBezTo>
                <a:cubicBezTo>
                  <a:pt x="2030832" y="286144"/>
                  <a:pt x="2034822" y="286144"/>
                  <a:pt x="2032827" y="288140"/>
                </a:cubicBezTo>
                <a:cubicBezTo>
                  <a:pt x="2030832" y="292131"/>
                  <a:pt x="2032827" y="292131"/>
                  <a:pt x="2036817" y="296123"/>
                </a:cubicBezTo>
                <a:cubicBezTo>
                  <a:pt x="2042802" y="296123"/>
                  <a:pt x="2040807" y="300114"/>
                  <a:pt x="2042802" y="304106"/>
                </a:cubicBezTo>
                <a:cubicBezTo>
                  <a:pt x="2044797" y="310093"/>
                  <a:pt x="2044797" y="310093"/>
                  <a:pt x="2046792" y="310093"/>
                </a:cubicBezTo>
                <a:cubicBezTo>
                  <a:pt x="2050782" y="308098"/>
                  <a:pt x="2050782" y="314085"/>
                  <a:pt x="2050782" y="314085"/>
                </a:cubicBezTo>
                <a:cubicBezTo>
                  <a:pt x="2050782" y="314085"/>
                  <a:pt x="2052777" y="324064"/>
                  <a:pt x="2050782" y="324064"/>
                </a:cubicBezTo>
                <a:cubicBezTo>
                  <a:pt x="2048787" y="324064"/>
                  <a:pt x="2048787" y="324064"/>
                  <a:pt x="2046792" y="320072"/>
                </a:cubicBezTo>
                <a:cubicBezTo>
                  <a:pt x="2044797" y="316081"/>
                  <a:pt x="2040807" y="316081"/>
                  <a:pt x="2038812" y="316081"/>
                </a:cubicBezTo>
                <a:cubicBezTo>
                  <a:pt x="2036817" y="316081"/>
                  <a:pt x="2032827" y="316081"/>
                  <a:pt x="2030832" y="312089"/>
                </a:cubicBezTo>
                <a:cubicBezTo>
                  <a:pt x="2028837" y="308098"/>
                  <a:pt x="2024847" y="308098"/>
                  <a:pt x="2024847" y="308098"/>
                </a:cubicBezTo>
                <a:cubicBezTo>
                  <a:pt x="2024847" y="308098"/>
                  <a:pt x="2020857" y="306102"/>
                  <a:pt x="2020857" y="310093"/>
                </a:cubicBezTo>
                <a:cubicBezTo>
                  <a:pt x="2022852" y="314085"/>
                  <a:pt x="2026842" y="316081"/>
                  <a:pt x="2028837" y="318076"/>
                </a:cubicBezTo>
                <a:cubicBezTo>
                  <a:pt x="2030832" y="322068"/>
                  <a:pt x="2034822" y="322068"/>
                  <a:pt x="2038812" y="322068"/>
                </a:cubicBezTo>
                <a:cubicBezTo>
                  <a:pt x="2040807" y="320072"/>
                  <a:pt x="2042802" y="322068"/>
                  <a:pt x="2042802" y="326060"/>
                </a:cubicBezTo>
                <a:cubicBezTo>
                  <a:pt x="2044797" y="330051"/>
                  <a:pt x="2048787" y="328055"/>
                  <a:pt x="2052777" y="328055"/>
                </a:cubicBezTo>
                <a:cubicBezTo>
                  <a:pt x="2054772" y="326060"/>
                  <a:pt x="2054772" y="332047"/>
                  <a:pt x="2052777" y="334043"/>
                </a:cubicBezTo>
                <a:cubicBezTo>
                  <a:pt x="2052777" y="334043"/>
                  <a:pt x="2046792" y="342026"/>
                  <a:pt x="2046792" y="344021"/>
                </a:cubicBezTo>
                <a:cubicBezTo>
                  <a:pt x="2044797" y="348013"/>
                  <a:pt x="2040807" y="352005"/>
                  <a:pt x="2036817" y="354000"/>
                </a:cubicBezTo>
                <a:cubicBezTo>
                  <a:pt x="2034822" y="354000"/>
                  <a:pt x="2028837" y="359988"/>
                  <a:pt x="2026842" y="361983"/>
                </a:cubicBezTo>
                <a:cubicBezTo>
                  <a:pt x="2024847" y="365975"/>
                  <a:pt x="2020857" y="367971"/>
                  <a:pt x="2012877" y="367971"/>
                </a:cubicBezTo>
                <a:cubicBezTo>
                  <a:pt x="2006891" y="367971"/>
                  <a:pt x="2000906" y="373958"/>
                  <a:pt x="1998911" y="375954"/>
                </a:cubicBezTo>
                <a:cubicBezTo>
                  <a:pt x="1996916" y="377950"/>
                  <a:pt x="1986941" y="383937"/>
                  <a:pt x="1984946" y="383937"/>
                </a:cubicBezTo>
                <a:cubicBezTo>
                  <a:pt x="1980956" y="385933"/>
                  <a:pt x="1978961" y="387928"/>
                  <a:pt x="1978961" y="391920"/>
                </a:cubicBezTo>
                <a:cubicBezTo>
                  <a:pt x="1976966" y="395912"/>
                  <a:pt x="1972976" y="397907"/>
                  <a:pt x="1968986" y="397907"/>
                </a:cubicBezTo>
                <a:cubicBezTo>
                  <a:pt x="1964995" y="397907"/>
                  <a:pt x="1959010" y="407886"/>
                  <a:pt x="1959010" y="407886"/>
                </a:cubicBezTo>
                <a:cubicBezTo>
                  <a:pt x="1959010" y="407886"/>
                  <a:pt x="1947040" y="415869"/>
                  <a:pt x="1943050" y="417865"/>
                </a:cubicBezTo>
                <a:cubicBezTo>
                  <a:pt x="1937065" y="419861"/>
                  <a:pt x="1933075" y="415869"/>
                  <a:pt x="1927090" y="413874"/>
                </a:cubicBezTo>
                <a:cubicBezTo>
                  <a:pt x="1923100" y="411878"/>
                  <a:pt x="1925095" y="419861"/>
                  <a:pt x="1925095" y="419861"/>
                </a:cubicBezTo>
                <a:cubicBezTo>
                  <a:pt x="1925095" y="419861"/>
                  <a:pt x="1923100" y="429840"/>
                  <a:pt x="1919109" y="429840"/>
                </a:cubicBezTo>
                <a:cubicBezTo>
                  <a:pt x="1913124" y="429840"/>
                  <a:pt x="1915119" y="431835"/>
                  <a:pt x="1911129" y="437823"/>
                </a:cubicBezTo>
                <a:cubicBezTo>
                  <a:pt x="1905144" y="441814"/>
                  <a:pt x="1907139" y="445806"/>
                  <a:pt x="1905144" y="451793"/>
                </a:cubicBezTo>
                <a:cubicBezTo>
                  <a:pt x="1901154" y="455785"/>
                  <a:pt x="1893174" y="459776"/>
                  <a:pt x="1893174" y="459776"/>
                </a:cubicBezTo>
                <a:cubicBezTo>
                  <a:pt x="1893174" y="459776"/>
                  <a:pt x="1885194" y="463768"/>
                  <a:pt x="1883199" y="465764"/>
                </a:cubicBezTo>
                <a:cubicBezTo>
                  <a:pt x="1881204" y="469755"/>
                  <a:pt x="1871228" y="473747"/>
                  <a:pt x="1869233" y="475742"/>
                </a:cubicBezTo>
                <a:cubicBezTo>
                  <a:pt x="1865243" y="475742"/>
                  <a:pt x="1859258" y="475742"/>
                  <a:pt x="1857263" y="475742"/>
                </a:cubicBezTo>
                <a:cubicBezTo>
                  <a:pt x="1855268" y="475742"/>
                  <a:pt x="1851278" y="483726"/>
                  <a:pt x="1851278" y="487717"/>
                </a:cubicBezTo>
                <a:cubicBezTo>
                  <a:pt x="1851278" y="493704"/>
                  <a:pt x="1857263" y="485721"/>
                  <a:pt x="1857263" y="481730"/>
                </a:cubicBezTo>
                <a:cubicBezTo>
                  <a:pt x="1857263" y="477738"/>
                  <a:pt x="1867238" y="477738"/>
                  <a:pt x="1867238" y="477738"/>
                </a:cubicBezTo>
                <a:cubicBezTo>
                  <a:pt x="1867238" y="477738"/>
                  <a:pt x="1871228" y="479734"/>
                  <a:pt x="1875218" y="475742"/>
                </a:cubicBezTo>
                <a:cubicBezTo>
                  <a:pt x="1877213" y="473747"/>
                  <a:pt x="1881204" y="475742"/>
                  <a:pt x="1883199" y="475742"/>
                </a:cubicBezTo>
                <a:cubicBezTo>
                  <a:pt x="1885194" y="475742"/>
                  <a:pt x="1889184" y="473747"/>
                  <a:pt x="1891179" y="469755"/>
                </a:cubicBezTo>
                <a:cubicBezTo>
                  <a:pt x="1893174" y="465764"/>
                  <a:pt x="1895169" y="465764"/>
                  <a:pt x="1897164" y="465764"/>
                </a:cubicBezTo>
                <a:cubicBezTo>
                  <a:pt x="1901154" y="463768"/>
                  <a:pt x="1899159" y="461772"/>
                  <a:pt x="1901154" y="459776"/>
                </a:cubicBezTo>
                <a:cubicBezTo>
                  <a:pt x="1905144" y="457781"/>
                  <a:pt x="1905144" y="457781"/>
                  <a:pt x="1909134" y="457781"/>
                </a:cubicBezTo>
                <a:cubicBezTo>
                  <a:pt x="1911129" y="457781"/>
                  <a:pt x="1913124" y="455785"/>
                  <a:pt x="1917114" y="455785"/>
                </a:cubicBezTo>
                <a:cubicBezTo>
                  <a:pt x="1919109" y="453789"/>
                  <a:pt x="1921104" y="449797"/>
                  <a:pt x="1919109" y="449797"/>
                </a:cubicBezTo>
                <a:cubicBezTo>
                  <a:pt x="1917114" y="447802"/>
                  <a:pt x="1917114" y="445806"/>
                  <a:pt x="1917114" y="441814"/>
                </a:cubicBezTo>
                <a:cubicBezTo>
                  <a:pt x="1917114" y="435827"/>
                  <a:pt x="1923100" y="439819"/>
                  <a:pt x="1925095" y="439819"/>
                </a:cubicBezTo>
                <a:cubicBezTo>
                  <a:pt x="1927090" y="441814"/>
                  <a:pt x="1931080" y="441814"/>
                  <a:pt x="1935070" y="441814"/>
                </a:cubicBezTo>
                <a:cubicBezTo>
                  <a:pt x="1939060" y="443810"/>
                  <a:pt x="1941055" y="441814"/>
                  <a:pt x="1943050" y="441814"/>
                </a:cubicBezTo>
                <a:cubicBezTo>
                  <a:pt x="1947040" y="439819"/>
                  <a:pt x="1951030" y="439819"/>
                  <a:pt x="1951030" y="439819"/>
                </a:cubicBezTo>
                <a:cubicBezTo>
                  <a:pt x="1951030" y="439819"/>
                  <a:pt x="1951030" y="439819"/>
                  <a:pt x="1959010" y="439819"/>
                </a:cubicBezTo>
                <a:cubicBezTo>
                  <a:pt x="1959010" y="439819"/>
                  <a:pt x="1966991" y="435827"/>
                  <a:pt x="1972976" y="433831"/>
                </a:cubicBezTo>
                <a:cubicBezTo>
                  <a:pt x="1976966" y="431835"/>
                  <a:pt x="1974971" y="425848"/>
                  <a:pt x="1974971" y="425848"/>
                </a:cubicBezTo>
                <a:cubicBezTo>
                  <a:pt x="1974971" y="425848"/>
                  <a:pt x="1972976" y="417865"/>
                  <a:pt x="1974971" y="417865"/>
                </a:cubicBezTo>
                <a:cubicBezTo>
                  <a:pt x="1976966" y="417865"/>
                  <a:pt x="1976966" y="419861"/>
                  <a:pt x="1980956" y="423852"/>
                </a:cubicBezTo>
                <a:cubicBezTo>
                  <a:pt x="1984946" y="429840"/>
                  <a:pt x="1990931" y="423852"/>
                  <a:pt x="1992926" y="421857"/>
                </a:cubicBezTo>
                <a:cubicBezTo>
                  <a:pt x="1992926" y="417865"/>
                  <a:pt x="1998911" y="415869"/>
                  <a:pt x="2002901" y="417865"/>
                </a:cubicBezTo>
                <a:cubicBezTo>
                  <a:pt x="2004896" y="417865"/>
                  <a:pt x="2006891" y="415869"/>
                  <a:pt x="2006891" y="413874"/>
                </a:cubicBezTo>
                <a:cubicBezTo>
                  <a:pt x="2006891" y="409882"/>
                  <a:pt x="2002901" y="409882"/>
                  <a:pt x="1998911" y="409882"/>
                </a:cubicBezTo>
                <a:cubicBezTo>
                  <a:pt x="1996916" y="409882"/>
                  <a:pt x="1994921" y="411878"/>
                  <a:pt x="1994921" y="411878"/>
                </a:cubicBezTo>
                <a:cubicBezTo>
                  <a:pt x="1994921" y="411878"/>
                  <a:pt x="1988936" y="417865"/>
                  <a:pt x="1984946" y="417865"/>
                </a:cubicBezTo>
                <a:cubicBezTo>
                  <a:pt x="1982951" y="415869"/>
                  <a:pt x="1980956" y="407886"/>
                  <a:pt x="1980956" y="407886"/>
                </a:cubicBezTo>
                <a:cubicBezTo>
                  <a:pt x="1980956" y="407886"/>
                  <a:pt x="1982951" y="405890"/>
                  <a:pt x="1982951" y="401899"/>
                </a:cubicBezTo>
                <a:cubicBezTo>
                  <a:pt x="1982951" y="397907"/>
                  <a:pt x="1986941" y="399903"/>
                  <a:pt x="1986941" y="399903"/>
                </a:cubicBezTo>
                <a:cubicBezTo>
                  <a:pt x="1986941" y="399903"/>
                  <a:pt x="2000906" y="397907"/>
                  <a:pt x="2002901" y="397907"/>
                </a:cubicBezTo>
                <a:cubicBezTo>
                  <a:pt x="2004896" y="397907"/>
                  <a:pt x="2006891" y="397907"/>
                  <a:pt x="2008886" y="401899"/>
                </a:cubicBezTo>
                <a:cubicBezTo>
                  <a:pt x="2010882" y="403895"/>
                  <a:pt x="2016867" y="397907"/>
                  <a:pt x="2016867" y="397907"/>
                </a:cubicBezTo>
                <a:cubicBezTo>
                  <a:pt x="2016867" y="397907"/>
                  <a:pt x="2018862" y="397907"/>
                  <a:pt x="2020857" y="397907"/>
                </a:cubicBezTo>
                <a:cubicBezTo>
                  <a:pt x="2022852" y="395912"/>
                  <a:pt x="2026842" y="401899"/>
                  <a:pt x="2022852" y="403895"/>
                </a:cubicBezTo>
                <a:cubicBezTo>
                  <a:pt x="2018862" y="405890"/>
                  <a:pt x="2022852" y="407886"/>
                  <a:pt x="2024847" y="411878"/>
                </a:cubicBezTo>
                <a:cubicBezTo>
                  <a:pt x="2026842" y="415869"/>
                  <a:pt x="2036817" y="417865"/>
                  <a:pt x="2036817" y="417865"/>
                </a:cubicBezTo>
                <a:cubicBezTo>
                  <a:pt x="2036817" y="417865"/>
                  <a:pt x="2048787" y="417865"/>
                  <a:pt x="2052777" y="417865"/>
                </a:cubicBezTo>
                <a:cubicBezTo>
                  <a:pt x="2056768" y="417865"/>
                  <a:pt x="2054772" y="413874"/>
                  <a:pt x="2054772" y="409882"/>
                </a:cubicBezTo>
                <a:cubicBezTo>
                  <a:pt x="2054772" y="405890"/>
                  <a:pt x="2054772" y="401899"/>
                  <a:pt x="2056768" y="401899"/>
                </a:cubicBezTo>
                <a:cubicBezTo>
                  <a:pt x="2060758" y="401899"/>
                  <a:pt x="2066743" y="407886"/>
                  <a:pt x="2066743" y="407886"/>
                </a:cubicBezTo>
                <a:cubicBezTo>
                  <a:pt x="2066743" y="407886"/>
                  <a:pt x="2078713" y="419861"/>
                  <a:pt x="2074723" y="421857"/>
                </a:cubicBezTo>
                <a:cubicBezTo>
                  <a:pt x="2072728" y="423852"/>
                  <a:pt x="2076718" y="427844"/>
                  <a:pt x="2076718" y="427844"/>
                </a:cubicBezTo>
                <a:cubicBezTo>
                  <a:pt x="2076718" y="427844"/>
                  <a:pt x="2080708" y="431835"/>
                  <a:pt x="2078713" y="433831"/>
                </a:cubicBezTo>
                <a:cubicBezTo>
                  <a:pt x="2078713" y="435827"/>
                  <a:pt x="2078713" y="435827"/>
                  <a:pt x="2082703" y="439819"/>
                </a:cubicBezTo>
                <a:cubicBezTo>
                  <a:pt x="2086693" y="441814"/>
                  <a:pt x="2086693" y="435827"/>
                  <a:pt x="2084698" y="433831"/>
                </a:cubicBezTo>
                <a:cubicBezTo>
                  <a:pt x="2082703" y="431835"/>
                  <a:pt x="2082703" y="431835"/>
                  <a:pt x="2084698" y="429840"/>
                </a:cubicBezTo>
                <a:cubicBezTo>
                  <a:pt x="2084698" y="425848"/>
                  <a:pt x="2082703" y="425848"/>
                  <a:pt x="2082703" y="425848"/>
                </a:cubicBezTo>
                <a:cubicBezTo>
                  <a:pt x="2082703" y="425848"/>
                  <a:pt x="2080708" y="423852"/>
                  <a:pt x="2082703" y="419861"/>
                </a:cubicBezTo>
                <a:cubicBezTo>
                  <a:pt x="2082703" y="415869"/>
                  <a:pt x="2090683" y="417865"/>
                  <a:pt x="2094673" y="417865"/>
                </a:cubicBezTo>
                <a:cubicBezTo>
                  <a:pt x="2098663" y="415869"/>
                  <a:pt x="2104649" y="411878"/>
                  <a:pt x="2106644" y="409882"/>
                </a:cubicBezTo>
                <a:cubicBezTo>
                  <a:pt x="2108639" y="409882"/>
                  <a:pt x="2114624" y="409882"/>
                  <a:pt x="2116619" y="411878"/>
                </a:cubicBezTo>
                <a:cubicBezTo>
                  <a:pt x="2118614" y="413874"/>
                  <a:pt x="2120609" y="411878"/>
                  <a:pt x="2120609" y="411878"/>
                </a:cubicBezTo>
                <a:cubicBezTo>
                  <a:pt x="2120609" y="411878"/>
                  <a:pt x="2124599" y="411878"/>
                  <a:pt x="2128589" y="409882"/>
                </a:cubicBezTo>
                <a:cubicBezTo>
                  <a:pt x="2130584" y="409882"/>
                  <a:pt x="2134574" y="411878"/>
                  <a:pt x="2138564" y="413874"/>
                </a:cubicBezTo>
                <a:cubicBezTo>
                  <a:pt x="2140559" y="413874"/>
                  <a:pt x="2146545" y="413874"/>
                  <a:pt x="2150535" y="413874"/>
                </a:cubicBezTo>
                <a:cubicBezTo>
                  <a:pt x="2152530" y="411878"/>
                  <a:pt x="2158515" y="413874"/>
                  <a:pt x="2158515" y="413874"/>
                </a:cubicBezTo>
                <a:cubicBezTo>
                  <a:pt x="2158515" y="413874"/>
                  <a:pt x="2166495" y="413874"/>
                  <a:pt x="2172480" y="415869"/>
                </a:cubicBezTo>
                <a:cubicBezTo>
                  <a:pt x="2178465" y="415869"/>
                  <a:pt x="2176470" y="413874"/>
                  <a:pt x="2176470" y="413874"/>
                </a:cubicBezTo>
                <a:cubicBezTo>
                  <a:pt x="2176470" y="413874"/>
                  <a:pt x="2176470" y="413874"/>
                  <a:pt x="2182455" y="411878"/>
                </a:cubicBezTo>
                <a:cubicBezTo>
                  <a:pt x="2188440" y="409882"/>
                  <a:pt x="2196421" y="413874"/>
                  <a:pt x="2198416" y="415869"/>
                </a:cubicBezTo>
                <a:cubicBezTo>
                  <a:pt x="2200411" y="419861"/>
                  <a:pt x="2198416" y="421857"/>
                  <a:pt x="2196421" y="421857"/>
                </a:cubicBezTo>
                <a:cubicBezTo>
                  <a:pt x="2196421" y="421857"/>
                  <a:pt x="2192431" y="419861"/>
                  <a:pt x="2192431" y="421857"/>
                </a:cubicBezTo>
                <a:cubicBezTo>
                  <a:pt x="2192431" y="423852"/>
                  <a:pt x="2192431" y="423852"/>
                  <a:pt x="2190436" y="423852"/>
                </a:cubicBezTo>
                <a:cubicBezTo>
                  <a:pt x="2188440" y="421857"/>
                  <a:pt x="2188440" y="423852"/>
                  <a:pt x="2186445" y="425848"/>
                </a:cubicBezTo>
                <a:cubicBezTo>
                  <a:pt x="2184450" y="427844"/>
                  <a:pt x="2184450" y="431835"/>
                  <a:pt x="2194426" y="431835"/>
                </a:cubicBezTo>
                <a:cubicBezTo>
                  <a:pt x="2202406" y="433831"/>
                  <a:pt x="2210386" y="437823"/>
                  <a:pt x="2214376" y="439819"/>
                </a:cubicBezTo>
                <a:cubicBezTo>
                  <a:pt x="2216371" y="441814"/>
                  <a:pt x="2218366" y="439819"/>
                  <a:pt x="2220361" y="435827"/>
                </a:cubicBezTo>
                <a:cubicBezTo>
                  <a:pt x="2222356" y="431835"/>
                  <a:pt x="2224351" y="433831"/>
                  <a:pt x="2228341" y="433831"/>
                </a:cubicBezTo>
                <a:cubicBezTo>
                  <a:pt x="2232331" y="433831"/>
                  <a:pt x="2232331" y="435827"/>
                  <a:pt x="2234327" y="439819"/>
                </a:cubicBezTo>
                <a:cubicBezTo>
                  <a:pt x="2234327" y="441814"/>
                  <a:pt x="2240312" y="441814"/>
                  <a:pt x="2240312" y="441814"/>
                </a:cubicBezTo>
                <a:cubicBezTo>
                  <a:pt x="2240312" y="441814"/>
                  <a:pt x="2244302" y="439819"/>
                  <a:pt x="2246297" y="441814"/>
                </a:cubicBezTo>
                <a:cubicBezTo>
                  <a:pt x="2248292" y="443810"/>
                  <a:pt x="2252282" y="443810"/>
                  <a:pt x="2254277" y="445806"/>
                </a:cubicBezTo>
                <a:cubicBezTo>
                  <a:pt x="2256272" y="447802"/>
                  <a:pt x="2262257" y="443810"/>
                  <a:pt x="2264252" y="443810"/>
                </a:cubicBezTo>
                <a:cubicBezTo>
                  <a:pt x="2266247" y="441814"/>
                  <a:pt x="2272232" y="441814"/>
                  <a:pt x="2272232" y="443810"/>
                </a:cubicBezTo>
                <a:cubicBezTo>
                  <a:pt x="2272232" y="447802"/>
                  <a:pt x="2276222" y="445806"/>
                  <a:pt x="2276222" y="443810"/>
                </a:cubicBezTo>
                <a:cubicBezTo>
                  <a:pt x="2278217" y="443810"/>
                  <a:pt x="2282208" y="443810"/>
                  <a:pt x="2284203" y="445806"/>
                </a:cubicBezTo>
                <a:cubicBezTo>
                  <a:pt x="2284203" y="447802"/>
                  <a:pt x="2288193" y="445806"/>
                  <a:pt x="2288193" y="441814"/>
                </a:cubicBezTo>
                <a:cubicBezTo>
                  <a:pt x="2288193" y="439819"/>
                  <a:pt x="2292183" y="441814"/>
                  <a:pt x="2292183" y="441814"/>
                </a:cubicBezTo>
                <a:cubicBezTo>
                  <a:pt x="2292183" y="441814"/>
                  <a:pt x="2294178" y="441814"/>
                  <a:pt x="2300163" y="443810"/>
                </a:cubicBezTo>
                <a:cubicBezTo>
                  <a:pt x="2304153" y="447802"/>
                  <a:pt x="2304153" y="441814"/>
                  <a:pt x="2304153" y="439819"/>
                </a:cubicBezTo>
                <a:cubicBezTo>
                  <a:pt x="2304153" y="435827"/>
                  <a:pt x="2306148" y="435827"/>
                  <a:pt x="2306148" y="433831"/>
                </a:cubicBezTo>
                <a:cubicBezTo>
                  <a:pt x="2306148" y="433831"/>
                  <a:pt x="2306148" y="429840"/>
                  <a:pt x="2304153" y="427844"/>
                </a:cubicBezTo>
                <a:cubicBezTo>
                  <a:pt x="2302158" y="423852"/>
                  <a:pt x="2298168" y="419861"/>
                  <a:pt x="2298168" y="417865"/>
                </a:cubicBezTo>
                <a:cubicBezTo>
                  <a:pt x="2298168" y="415869"/>
                  <a:pt x="2298168" y="411878"/>
                  <a:pt x="2302158" y="411878"/>
                </a:cubicBezTo>
                <a:cubicBezTo>
                  <a:pt x="2306148" y="411878"/>
                  <a:pt x="2312133" y="405890"/>
                  <a:pt x="2312133" y="403895"/>
                </a:cubicBezTo>
                <a:cubicBezTo>
                  <a:pt x="2312133" y="401899"/>
                  <a:pt x="2314128" y="401899"/>
                  <a:pt x="2314128" y="401899"/>
                </a:cubicBezTo>
                <a:cubicBezTo>
                  <a:pt x="2314128" y="401899"/>
                  <a:pt x="2316123" y="401899"/>
                  <a:pt x="2322108" y="401899"/>
                </a:cubicBezTo>
                <a:cubicBezTo>
                  <a:pt x="2326099" y="401899"/>
                  <a:pt x="2328094" y="403895"/>
                  <a:pt x="2328094" y="405890"/>
                </a:cubicBezTo>
                <a:cubicBezTo>
                  <a:pt x="2330089" y="405890"/>
                  <a:pt x="2330089" y="407886"/>
                  <a:pt x="2334079" y="405890"/>
                </a:cubicBezTo>
                <a:cubicBezTo>
                  <a:pt x="2340064" y="405890"/>
                  <a:pt x="2340064" y="407886"/>
                  <a:pt x="2342059" y="409882"/>
                </a:cubicBezTo>
                <a:cubicBezTo>
                  <a:pt x="2342059" y="409882"/>
                  <a:pt x="2344054" y="411878"/>
                  <a:pt x="2346049" y="409882"/>
                </a:cubicBezTo>
                <a:cubicBezTo>
                  <a:pt x="2348044" y="409882"/>
                  <a:pt x="2350039" y="413874"/>
                  <a:pt x="2352034" y="413874"/>
                </a:cubicBezTo>
                <a:cubicBezTo>
                  <a:pt x="2356024" y="411878"/>
                  <a:pt x="2352034" y="407886"/>
                  <a:pt x="2358019" y="405890"/>
                </a:cubicBezTo>
                <a:cubicBezTo>
                  <a:pt x="2362009" y="405890"/>
                  <a:pt x="2365999" y="407886"/>
                  <a:pt x="2367994" y="411878"/>
                </a:cubicBezTo>
                <a:cubicBezTo>
                  <a:pt x="2369990" y="413874"/>
                  <a:pt x="2373980" y="413874"/>
                  <a:pt x="2375975" y="409882"/>
                </a:cubicBezTo>
                <a:cubicBezTo>
                  <a:pt x="2379965" y="405890"/>
                  <a:pt x="2381960" y="407886"/>
                  <a:pt x="2381960" y="409882"/>
                </a:cubicBezTo>
                <a:cubicBezTo>
                  <a:pt x="2383955" y="409882"/>
                  <a:pt x="2387945" y="409882"/>
                  <a:pt x="2395925" y="407886"/>
                </a:cubicBezTo>
                <a:cubicBezTo>
                  <a:pt x="2401910" y="405890"/>
                  <a:pt x="2407895" y="415869"/>
                  <a:pt x="2407895" y="415869"/>
                </a:cubicBezTo>
                <a:cubicBezTo>
                  <a:pt x="2407895" y="415869"/>
                  <a:pt x="2411885" y="421857"/>
                  <a:pt x="2415876" y="421857"/>
                </a:cubicBezTo>
                <a:cubicBezTo>
                  <a:pt x="2417871" y="421857"/>
                  <a:pt x="2419866" y="425848"/>
                  <a:pt x="2419866" y="427844"/>
                </a:cubicBezTo>
                <a:cubicBezTo>
                  <a:pt x="2421861" y="431835"/>
                  <a:pt x="2421861" y="431835"/>
                  <a:pt x="2423856" y="433831"/>
                </a:cubicBezTo>
                <a:cubicBezTo>
                  <a:pt x="2427846" y="433831"/>
                  <a:pt x="2427846" y="427844"/>
                  <a:pt x="2435826" y="433831"/>
                </a:cubicBezTo>
                <a:cubicBezTo>
                  <a:pt x="2443806" y="439819"/>
                  <a:pt x="2441811" y="447802"/>
                  <a:pt x="2443806" y="451793"/>
                </a:cubicBezTo>
                <a:cubicBezTo>
                  <a:pt x="2443806" y="453789"/>
                  <a:pt x="2441811" y="455785"/>
                  <a:pt x="2441811" y="461772"/>
                </a:cubicBezTo>
                <a:cubicBezTo>
                  <a:pt x="2441811" y="465764"/>
                  <a:pt x="2445801" y="465764"/>
                  <a:pt x="2447796" y="467759"/>
                </a:cubicBezTo>
                <a:cubicBezTo>
                  <a:pt x="2449791" y="469755"/>
                  <a:pt x="2451786" y="481730"/>
                  <a:pt x="2451786" y="485721"/>
                </a:cubicBezTo>
                <a:cubicBezTo>
                  <a:pt x="2451786" y="487717"/>
                  <a:pt x="2449791" y="489713"/>
                  <a:pt x="2445801" y="489713"/>
                </a:cubicBezTo>
                <a:cubicBezTo>
                  <a:pt x="2441811" y="487717"/>
                  <a:pt x="2439816" y="489713"/>
                  <a:pt x="2435826" y="491709"/>
                </a:cubicBezTo>
                <a:cubicBezTo>
                  <a:pt x="2431836" y="493704"/>
                  <a:pt x="2435826" y="493704"/>
                  <a:pt x="2437821" y="497696"/>
                </a:cubicBezTo>
                <a:cubicBezTo>
                  <a:pt x="2437821" y="501688"/>
                  <a:pt x="2441811" y="503683"/>
                  <a:pt x="2443806" y="501688"/>
                </a:cubicBezTo>
                <a:cubicBezTo>
                  <a:pt x="2447796" y="501688"/>
                  <a:pt x="2443806" y="501688"/>
                  <a:pt x="2445801" y="497696"/>
                </a:cubicBezTo>
                <a:cubicBezTo>
                  <a:pt x="2449791" y="493704"/>
                  <a:pt x="2453781" y="497696"/>
                  <a:pt x="2453781" y="497696"/>
                </a:cubicBezTo>
                <a:cubicBezTo>
                  <a:pt x="2453781" y="497696"/>
                  <a:pt x="2457771" y="505679"/>
                  <a:pt x="2453781" y="505679"/>
                </a:cubicBezTo>
                <a:cubicBezTo>
                  <a:pt x="2449791" y="507675"/>
                  <a:pt x="2451786" y="509671"/>
                  <a:pt x="2451786" y="509671"/>
                </a:cubicBezTo>
                <a:cubicBezTo>
                  <a:pt x="2451786" y="509671"/>
                  <a:pt x="2457771" y="513662"/>
                  <a:pt x="2459767" y="517654"/>
                </a:cubicBezTo>
                <a:cubicBezTo>
                  <a:pt x="2459767" y="521645"/>
                  <a:pt x="2461762" y="521645"/>
                  <a:pt x="2469742" y="521645"/>
                </a:cubicBezTo>
                <a:cubicBezTo>
                  <a:pt x="2475727" y="521645"/>
                  <a:pt x="2473732" y="523641"/>
                  <a:pt x="2475727" y="527633"/>
                </a:cubicBezTo>
                <a:cubicBezTo>
                  <a:pt x="2475727" y="529628"/>
                  <a:pt x="2479717" y="529628"/>
                  <a:pt x="2481712" y="529628"/>
                </a:cubicBezTo>
                <a:cubicBezTo>
                  <a:pt x="2485702" y="529628"/>
                  <a:pt x="2485702" y="531624"/>
                  <a:pt x="2487697" y="535616"/>
                </a:cubicBezTo>
                <a:cubicBezTo>
                  <a:pt x="2489692" y="541603"/>
                  <a:pt x="2491687" y="541603"/>
                  <a:pt x="2497672" y="541603"/>
                </a:cubicBezTo>
                <a:cubicBezTo>
                  <a:pt x="2501662" y="541603"/>
                  <a:pt x="2501662" y="541603"/>
                  <a:pt x="2501662" y="543599"/>
                </a:cubicBezTo>
                <a:cubicBezTo>
                  <a:pt x="2501662" y="545595"/>
                  <a:pt x="2503658" y="545595"/>
                  <a:pt x="2505653" y="545595"/>
                </a:cubicBezTo>
                <a:cubicBezTo>
                  <a:pt x="2507648" y="545595"/>
                  <a:pt x="2509643" y="545595"/>
                  <a:pt x="2509643" y="549586"/>
                </a:cubicBezTo>
                <a:cubicBezTo>
                  <a:pt x="2509643" y="551582"/>
                  <a:pt x="2513633" y="551582"/>
                  <a:pt x="2517623" y="551582"/>
                </a:cubicBezTo>
                <a:cubicBezTo>
                  <a:pt x="2519618" y="549586"/>
                  <a:pt x="2519618" y="547590"/>
                  <a:pt x="2519618" y="545595"/>
                </a:cubicBezTo>
                <a:cubicBezTo>
                  <a:pt x="2517623" y="543599"/>
                  <a:pt x="2517623" y="541603"/>
                  <a:pt x="2521613" y="541603"/>
                </a:cubicBezTo>
                <a:cubicBezTo>
                  <a:pt x="2523608" y="539607"/>
                  <a:pt x="2523608" y="537611"/>
                  <a:pt x="2521613" y="535616"/>
                </a:cubicBezTo>
                <a:cubicBezTo>
                  <a:pt x="2521613" y="533620"/>
                  <a:pt x="2523608" y="531624"/>
                  <a:pt x="2525603" y="529628"/>
                </a:cubicBezTo>
                <a:cubicBezTo>
                  <a:pt x="2527598" y="527633"/>
                  <a:pt x="2527598" y="523641"/>
                  <a:pt x="2525603" y="523641"/>
                </a:cubicBezTo>
                <a:cubicBezTo>
                  <a:pt x="2523608" y="523641"/>
                  <a:pt x="2523608" y="519649"/>
                  <a:pt x="2523608" y="517654"/>
                </a:cubicBezTo>
                <a:cubicBezTo>
                  <a:pt x="2523608" y="513662"/>
                  <a:pt x="2523608" y="503683"/>
                  <a:pt x="2525603" y="499692"/>
                </a:cubicBezTo>
                <a:cubicBezTo>
                  <a:pt x="2525603" y="493704"/>
                  <a:pt x="2527598" y="491709"/>
                  <a:pt x="2529593" y="491709"/>
                </a:cubicBezTo>
                <a:cubicBezTo>
                  <a:pt x="2533583" y="491709"/>
                  <a:pt x="2533583" y="501688"/>
                  <a:pt x="2533583" y="505679"/>
                </a:cubicBezTo>
                <a:cubicBezTo>
                  <a:pt x="2533583" y="511666"/>
                  <a:pt x="2535578" y="507675"/>
                  <a:pt x="2539568" y="507675"/>
                </a:cubicBezTo>
                <a:cubicBezTo>
                  <a:pt x="2543558" y="505679"/>
                  <a:pt x="2547548" y="511666"/>
                  <a:pt x="2547548" y="513662"/>
                </a:cubicBezTo>
                <a:cubicBezTo>
                  <a:pt x="2547548" y="515658"/>
                  <a:pt x="2553534" y="515658"/>
                  <a:pt x="2555529" y="515658"/>
                </a:cubicBezTo>
                <a:cubicBezTo>
                  <a:pt x="2559519" y="515658"/>
                  <a:pt x="2559519" y="517654"/>
                  <a:pt x="2561514" y="519649"/>
                </a:cubicBezTo>
                <a:cubicBezTo>
                  <a:pt x="2561514" y="521645"/>
                  <a:pt x="2567499" y="523641"/>
                  <a:pt x="2569494" y="521645"/>
                </a:cubicBezTo>
                <a:cubicBezTo>
                  <a:pt x="2573484" y="519649"/>
                  <a:pt x="2573484" y="519649"/>
                  <a:pt x="2577474" y="519649"/>
                </a:cubicBezTo>
                <a:cubicBezTo>
                  <a:pt x="2579469" y="521645"/>
                  <a:pt x="2585454" y="521645"/>
                  <a:pt x="2587449" y="519649"/>
                </a:cubicBezTo>
                <a:cubicBezTo>
                  <a:pt x="2591439" y="519649"/>
                  <a:pt x="2589444" y="517654"/>
                  <a:pt x="2589444" y="515658"/>
                </a:cubicBezTo>
                <a:cubicBezTo>
                  <a:pt x="2589444" y="515658"/>
                  <a:pt x="2593435" y="509671"/>
                  <a:pt x="2597425" y="505679"/>
                </a:cubicBezTo>
                <a:cubicBezTo>
                  <a:pt x="2601415" y="501688"/>
                  <a:pt x="2607400" y="505679"/>
                  <a:pt x="2611390" y="509671"/>
                </a:cubicBezTo>
                <a:cubicBezTo>
                  <a:pt x="2615380" y="511666"/>
                  <a:pt x="2619370" y="511666"/>
                  <a:pt x="2619370" y="511666"/>
                </a:cubicBezTo>
                <a:cubicBezTo>
                  <a:pt x="2619370" y="511666"/>
                  <a:pt x="2625355" y="511666"/>
                  <a:pt x="2627350" y="513662"/>
                </a:cubicBezTo>
                <a:cubicBezTo>
                  <a:pt x="2631340" y="513662"/>
                  <a:pt x="2635330" y="517654"/>
                  <a:pt x="2635330" y="519649"/>
                </a:cubicBezTo>
                <a:cubicBezTo>
                  <a:pt x="2637326" y="519649"/>
                  <a:pt x="2639321" y="519649"/>
                  <a:pt x="2645306" y="519649"/>
                </a:cubicBezTo>
                <a:cubicBezTo>
                  <a:pt x="2649296" y="519649"/>
                  <a:pt x="2651291" y="523641"/>
                  <a:pt x="2653286" y="523641"/>
                </a:cubicBezTo>
                <a:cubicBezTo>
                  <a:pt x="2653286" y="527633"/>
                  <a:pt x="2655281" y="527633"/>
                  <a:pt x="2659271" y="527633"/>
                </a:cubicBezTo>
                <a:cubicBezTo>
                  <a:pt x="2661266" y="527633"/>
                  <a:pt x="2665256" y="527633"/>
                  <a:pt x="2665256" y="527633"/>
                </a:cubicBezTo>
                <a:cubicBezTo>
                  <a:pt x="2665256" y="527633"/>
                  <a:pt x="2667251" y="529628"/>
                  <a:pt x="2669246" y="529628"/>
                </a:cubicBezTo>
                <a:cubicBezTo>
                  <a:pt x="2669246" y="527633"/>
                  <a:pt x="2669246" y="525637"/>
                  <a:pt x="2667251" y="523641"/>
                </a:cubicBezTo>
                <a:cubicBezTo>
                  <a:pt x="2665256" y="521645"/>
                  <a:pt x="2667251" y="517654"/>
                  <a:pt x="2669246" y="513662"/>
                </a:cubicBezTo>
                <a:cubicBezTo>
                  <a:pt x="2669246" y="507675"/>
                  <a:pt x="2673236" y="507675"/>
                  <a:pt x="2679221" y="507675"/>
                </a:cubicBezTo>
                <a:cubicBezTo>
                  <a:pt x="2683212" y="505679"/>
                  <a:pt x="2685207" y="511666"/>
                  <a:pt x="2685207" y="513662"/>
                </a:cubicBezTo>
                <a:cubicBezTo>
                  <a:pt x="2683212" y="515658"/>
                  <a:pt x="2685207" y="515658"/>
                  <a:pt x="2685207" y="515658"/>
                </a:cubicBezTo>
                <a:cubicBezTo>
                  <a:pt x="2687202" y="515658"/>
                  <a:pt x="2689197" y="517654"/>
                  <a:pt x="2689197" y="517654"/>
                </a:cubicBezTo>
                <a:cubicBezTo>
                  <a:pt x="2689197" y="517654"/>
                  <a:pt x="2693187" y="519649"/>
                  <a:pt x="2693187" y="519649"/>
                </a:cubicBezTo>
                <a:cubicBezTo>
                  <a:pt x="2695182" y="517654"/>
                  <a:pt x="2697177" y="515658"/>
                  <a:pt x="2701167" y="513662"/>
                </a:cubicBezTo>
                <a:cubicBezTo>
                  <a:pt x="2703162" y="511666"/>
                  <a:pt x="2703162" y="515658"/>
                  <a:pt x="2705157" y="515658"/>
                </a:cubicBezTo>
                <a:cubicBezTo>
                  <a:pt x="2707152" y="515658"/>
                  <a:pt x="2707152" y="513662"/>
                  <a:pt x="2705157" y="511666"/>
                </a:cubicBezTo>
                <a:cubicBezTo>
                  <a:pt x="2705157" y="509671"/>
                  <a:pt x="2703162" y="507675"/>
                  <a:pt x="2701167" y="507675"/>
                </a:cubicBezTo>
                <a:cubicBezTo>
                  <a:pt x="2697177" y="505679"/>
                  <a:pt x="2699172" y="501688"/>
                  <a:pt x="2699172" y="499692"/>
                </a:cubicBezTo>
                <a:cubicBezTo>
                  <a:pt x="2699172" y="495700"/>
                  <a:pt x="2697177" y="497696"/>
                  <a:pt x="2697177" y="497696"/>
                </a:cubicBezTo>
                <a:cubicBezTo>
                  <a:pt x="2697177" y="497696"/>
                  <a:pt x="2693187" y="497696"/>
                  <a:pt x="2691192" y="495700"/>
                </a:cubicBezTo>
                <a:cubicBezTo>
                  <a:pt x="2689197" y="493704"/>
                  <a:pt x="2689197" y="491709"/>
                  <a:pt x="2691192" y="491709"/>
                </a:cubicBezTo>
                <a:cubicBezTo>
                  <a:pt x="2693187" y="489713"/>
                  <a:pt x="2693187" y="489713"/>
                  <a:pt x="2691192" y="485721"/>
                </a:cubicBezTo>
                <a:cubicBezTo>
                  <a:pt x="2691192" y="481730"/>
                  <a:pt x="2695182" y="483726"/>
                  <a:pt x="2695182" y="483726"/>
                </a:cubicBezTo>
                <a:cubicBezTo>
                  <a:pt x="2695182" y="483726"/>
                  <a:pt x="2697177" y="483726"/>
                  <a:pt x="2699172" y="481730"/>
                </a:cubicBezTo>
                <a:cubicBezTo>
                  <a:pt x="2703162" y="479734"/>
                  <a:pt x="2699172" y="477738"/>
                  <a:pt x="2697177" y="477738"/>
                </a:cubicBezTo>
                <a:cubicBezTo>
                  <a:pt x="2695182" y="477738"/>
                  <a:pt x="2693187" y="477738"/>
                  <a:pt x="2689197" y="477738"/>
                </a:cubicBezTo>
                <a:cubicBezTo>
                  <a:pt x="2685207" y="477738"/>
                  <a:pt x="2685207" y="481730"/>
                  <a:pt x="2683212" y="481730"/>
                </a:cubicBezTo>
                <a:cubicBezTo>
                  <a:pt x="2683212" y="483726"/>
                  <a:pt x="2677226" y="487717"/>
                  <a:pt x="2677226" y="481730"/>
                </a:cubicBezTo>
                <a:cubicBezTo>
                  <a:pt x="2677226" y="477738"/>
                  <a:pt x="2679221" y="475742"/>
                  <a:pt x="2681216" y="475742"/>
                </a:cubicBezTo>
                <a:cubicBezTo>
                  <a:pt x="2681216" y="475742"/>
                  <a:pt x="2681216" y="469755"/>
                  <a:pt x="2681216" y="465764"/>
                </a:cubicBezTo>
                <a:cubicBezTo>
                  <a:pt x="2681216" y="463768"/>
                  <a:pt x="2683212" y="461772"/>
                  <a:pt x="2687202" y="461772"/>
                </a:cubicBezTo>
                <a:cubicBezTo>
                  <a:pt x="2693187" y="461772"/>
                  <a:pt x="2697177" y="465764"/>
                  <a:pt x="2699172" y="465764"/>
                </a:cubicBezTo>
                <a:cubicBezTo>
                  <a:pt x="2701167" y="465764"/>
                  <a:pt x="2707152" y="465764"/>
                  <a:pt x="2707152" y="463768"/>
                </a:cubicBezTo>
                <a:cubicBezTo>
                  <a:pt x="2707152" y="461772"/>
                  <a:pt x="2709147" y="461772"/>
                  <a:pt x="2711142" y="461772"/>
                </a:cubicBezTo>
                <a:cubicBezTo>
                  <a:pt x="2713137" y="459776"/>
                  <a:pt x="2715132" y="461772"/>
                  <a:pt x="2713137" y="457781"/>
                </a:cubicBezTo>
                <a:cubicBezTo>
                  <a:pt x="2713137" y="455785"/>
                  <a:pt x="2707152" y="451793"/>
                  <a:pt x="2707152" y="451793"/>
                </a:cubicBezTo>
                <a:cubicBezTo>
                  <a:pt x="2705157" y="449797"/>
                  <a:pt x="2699172" y="449797"/>
                  <a:pt x="2699172" y="445806"/>
                </a:cubicBezTo>
                <a:cubicBezTo>
                  <a:pt x="2699172" y="441814"/>
                  <a:pt x="2709147" y="443810"/>
                  <a:pt x="2709147" y="443810"/>
                </a:cubicBezTo>
                <a:cubicBezTo>
                  <a:pt x="2709147" y="443810"/>
                  <a:pt x="2715132" y="443810"/>
                  <a:pt x="2715132" y="445806"/>
                </a:cubicBezTo>
                <a:cubicBezTo>
                  <a:pt x="2715132" y="447802"/>
                  <a:pt x="2719122" y="449797"/>
                  <a:pt x="2721117" y="451793"/>
                </a:cubicBezTo>
                <a:cubicBezTo>
                  <a:pt x="2725107" y="451793"/>
                  <a:pt x="2729098" y="453789"/>
                  <a:pt x="2733088" y="451793"/>
                </a:cubicBezTo>
                <a:cubicBezTo>
                  <a:pt x="2739073" y="451793"/>
                  <a:pt x="2739073" y="453789"/>
                  <a:pt x="2739073" y="453789"/>
                </a:cubicBezTo>
                <a:cubicBezTo>
                  <a:pt x="2739073" y="453789"/>
                  <a:pt x="2743063" y="457781"/>
                  <a:pt x="2745058" y="455785"/>
                </a:cubicBezTo>
                <a:cubicBezTo>
                  <a:pt x="2749048" y="455785"/>
                  <a:pt x="2755033" y="457781"/>
                  <a:pt x="2759023" y="459776"/>
                </a:cubicBezTo>
                <a:cubicBezTo>
                  <a:pt x="2763013" y="459776"/>
                  <a:pt x="2774984" y="461772"/>
                  <a:pt x="2780969" y="459776"/>
                </a:cubicBezTo>
                <a:cubicBezTo>
                  <a:pt x="2784959" y="459776"/>
                  <a:pt x="2792939" y="461772"/>
                  <a:pt x="2798924" y="463768"/>
                </a:cubicBezTo>
                <a:cubicBezTo>
                  <a:pt x="2804909" y="463768"/>
                  <a:pt x="2804909" y="461772"/>
                  <a:pt x="2814884" y="463768"/>
                </a:cubicBezTo>
                <a:cubicBezTo>
                  <a:pt x="2826855" y="467759"/>
                  <a:pt x="2838825" y="469755"/>
                  <a:pt x="2838825" y="469755"/>
                </a:cubicBezTo>
                <a:cubicBezTo>
                  <a:pt x="2838825" y="469755"/>
                  <a:pt x="2844810" y="473747"/>
                  <a:pt x="2842815" y="475742"/>
                </a:cubicBezTo>
                <a:cubicBezTo>
                  <a:pt x="2842815" y="475742"/>
                  <a:pt x="2840820" y="475742"/>
                  <a:pt x="2838825" y="473747"/>
                </a:cubicBezTo>
                <a:cubicBezTo>
                  <a:pt x="2836830" y="473747"/>
                  <a:pt x="2830845" y="473747"/>
                  <a:pt x="2828850" y="473747"/>
                </a:cubicBezTo>
                <a:cubicBezTo>
                  <a:pt x="2826855" y="473747"/>
                  <a:pt x="2822865" y="473747"/>
                  <a:pt x="2820870" y="471751"/>
                </a:cubicBezTo>
                <a:cubicBezTo>
                  <a:pt x="2818875" y="469755"/>
                  <a:pt x="2812889" y="469755"/>
                  <a:pt x="2808899" y="467759"/>
                </a:cubicBezTo>
                <a:cubicBezTo>
                  <a:pt x="2804909" y="467759"/>
                  <a:pt x="2802914" y="465764"/>
                  <a:pt x="2796929" y="469755"/>
                </a:cubicBezTo>
                <a:cubicBezTo>
                  <a:pt x="2792939" y="471751"/>
                  <a:pt x="2794934" y="473747"/>
                  <a:pt x="2792939" y="477738"/>
                </a:cubicBezTo>
                <a:cubicBezTo>
                  <a:pt x="2792939" y="481730"/>
                  <a:pt x="2790944" y="479734"/>
                  <a:pt x="2786954" y="479734"/>
                </a:cubicBezTo>
                <a:cubicBezTo>
                  <a:pt x="2782964" y="479734"/>
                  <a:pt x="2784959" y="481730"/>
                  <a:pt x="2786954" y="483726"/>
                </a:cubicBezTo>
                <a:cubicBezTo>
                  <a:pt x="2786954" y="485721"/>
                  <a:pt x="2788949" y="485721"/>
                  <a:pt x="2788949" y="485721"/>
                </a:cubicBezTo>
                <a:cubicBezTo>
                  <a:pt x="2788949" y="485721"/>
                  <a:pt x="2790944" y="483726"/>
                  <a:pt x="2796929" y="481730"/>
                </a:cubicBezTo>
                <a:cubicBezTo>
                  <a:pt x="2802914" y="479734"/>
                  <a:pt x="2810894" y="481730"/>
                  <a:pt x="2810894" y="481730"/>
                </a:cubicBezTo>
                <a:cubicBezTo>
                  <a:pt x="2810894" y="481730"/>
                  <a:pt x="2816880" y="481730"/>
                  <a:pt x="2820870" y="481730"/>
                </a:cubicBezTo>
                <a:cubicBezTo>
                  <a:pt x="2824860" y="481730"/>
                  <a:pt x="2824860" y="483726"/>
                  <a:pt x="2824860" y="483726"/>
                </a:cubicBezTo>
                <a:cubicBezTo>
                  <a:pt x="2824860" y="483726"/>
                  <a:pt x="2824860" y="491709"/>
                  <a:pt x="2824860" y="493704"/>
                </a:cubicBezTo>
                <a:cubicBezTo>
                  <a:pt x="2824860" y="495700"/>
                  <a:pt x="2820870" y="495700"/>
                  <a:pt x="2818875" y="495700"/>
                </a:cubicBezTo>
                <a:cubicBezTo>
                  <a:pt x="2816880" y="495700"/>
                  <a:pt x="2814884" y="499692"/>
                  <a:pt x="2816880" y="499692"/>
                </a:cubicBezTo>
                <a:cubicBezTo>
                  <a:pt x="2818875" y="501688"/>
                  <a:pt x="2818875" y="503683"/>
                  <a:pt x="2816880" y="507675"/>
                </a:cubicBezTo>
                <a:cubicBezTo>
                  <a:pt x="2814884" y="509671"/>
                  <a:pt x="2818875" y="509671"/>
                  <a:pt x="2818875" y="509671"/>
                </a:cubicBezTo>
                <a:cubicBezTo>
                  <a:pt x="2818875" y="509671"/>
                  <a:pt x="2824860" y="511666"/>
                  <a:pt x="2826855" y="511666"/>
                </a:cubicBezTo>
                <a:cubicBezTo>
                  <a:pt x="2826855" y="511666"/>
                  <a:pt x="2832840" y="507675"/>
                  <a:pt x="2834835" y="507675"/>
                </a:cubicBezTo>
                <a:cubicBezTo>
                  <a:pt x="2836830" y="505679"/>
                  <a:pt x="2838825" y="503683"/>
                  <a:pt x="2836830" y="501688"/>
                </a:cubicBezTo>
                <a:cubicBezTo>
                  <a:pt x="2834835" y="501688"/>
                  <a:pt x="2834835" y="499692"/>
                  <a:pt x="2832840" y="497696"/>
                </a:cubicBezTo>
                <a:cubicBezTo>
                  <a:pt x="2830845" y="495700"/>
                  <a:pt x="2834835" y="489713"/>
                  <a:pt x="2834835" y="489713"/>
                </a:cubicBezTo>
                <a:cubicBezTo>
                  <a:pt x="2834835" y="485721"/>
                  <a:pt x="2834835" y="485721"/>
                  <a:pt x="2832840" y="485721"/>
                </a:cubicBezTo>
                <a:cubicBezTo>
                  <a:pt x="2830845" y="485721"/>
                  <a:pt x="2828850" y="485721"/>
                  <a:pt x="2828850" y="483726"/>
                </a:cubicBezTo>
                <a:cubicBezTo>
                  <a:pt x="2826855" y="481730"/>
                  <a:pt x="2830845" y="479734"/>
                  <a:pt x="2832840" y="477738"/>
                </a:cubicBezTo>
                <a:cubicBezTo>
                  <a:pt x="2834835" y="477738"/>
                  <a:pt x="2842815" y="477738"/>
                  <a:pt x="2842815" y="481730"/>
                </a:cubicBezTo>
                <a:cubicBezTo>
                  <a:pt x="2844810" y="483726"/>
                  <a:pt x="2842815" y="489713"/>
                  <a:pt x="2842815" y="491709"/>
                </a:cubicBezTo>
                <a:cubicBezTo>
                  <a:pt x="2840820" y="493704"/>
                  <a:pt x="2838825" y="495700"/>
                  <a:pt x="2842815" y="495700"/>
                </a:cubicBezTo>
                <a:cubicBezTo>
                  <a:pt x="2844810" y="497696"/>
                  <a:pt x="2844810" y="493704"/>
                  <a:pt x="2844810" y="493704"/>
                </a:cubicBezTo>
                <a:cubicBezTo>
                  <a:pt x="2844810" y="493704"/>
                  <a:pt x="2846805" y="487717"/>
                  <a:pt x="2846805" y="483726"/>
                </a:cubicBezTo>
                <a:cubicBezTo>
                  <a:pt x="2846805" y="479734"/>
                  <a:pt x="2850795" y="477738"/>
                  <a:pt x="2854785" y="475742"/>
                </a:cubicBezTo>
                <a:cubicBezTo>
                  <a:pt x="2858775" y="473747"/>
                  <a:pt x="2866756" y="475742"/>
                  <a:pt x="2870746" y="475742"/>
                </a:cubicBezTo>
                <a:cubicBezTo>
                  <a:pt x="2872741" y="475742"/>
                  <a:pt x="2874736" y="475742"/>
                  <a:pt x="2876731" y="477738"/>
                </a:cubicBezTo>
                <a:cubicBezTo>
                  <a:pt x="2876731" y="479734"/>
                  <a:pt x="2878726" y="477738"/>
                  <a:pt x="2880721" y="477738"/>
                </a:cubicBezTo>
                <a:cubicBezTo>
                  <a:pt x="2882716" y="475742"/>
                  <a:pt x="2884711" y="477738"/>
                  <a:pt x="2884711" y="477738"/>
                </a:cubicBezTo>
                <a:cubicBezTo>
                  <a:pt x="2884711" y="477738"/>
                  <a:pt x="2884711" y="477738"/>
                  <a:pt x="2894686" y="481730"/>
                </a:cubicBezTo>
                <a:cubicBezTo>
                  <a:pt x="2894686" y="481730"/>
                  <a:pt x="2900671" y="483726"/>
                  <a:pt x="2904662" y="483726"/>
                </a:cubicBezTo>
                <a:cubicBezTo>
                  <a:pt x="2906657" y="483726"/>
                  <a:pt x="2910647" y="485721"/>
                  <a:pt x="2910647" y="485721"/>
                </a:cubicBezTo>
                <a:cubicBezTo>
                  <a:pt x="2910647" y="485721"/>
                  <a:pt x="2924612" y="489713"/>
                  <a:pt x="2926607" y="495700"/>
                </a:cubicBezTo>
                <a:cubicBezTo>
                  <a:pt x="2928602" y="499692"/>
                  <a:pt x="2924612" y="505679"/>
                  <a:pt x="2922617" y="503683"/>
                </a:cubicBezTo>
                <a:cubicBezTo>
                  <a:pt x="2922617" y="501688"/>
                  <a:pt x="2918627" y="501688"/>
                  <a:pt x="2918627" y="501688"/>
                </a:cubicBezTo>
                <a:cubicBezTo>
                  <a:pt x="2916632" y="501688"/>
                  <a:pt x="2916632" y="499692"/>
                  <a:pt x="2914637" y="499692"/>
                </a:cubicBezTo>
                <a:cubicBezTo>
                  <a:pt x="2912642" y="497696"/>
                  <a:pt x="2912642" y="499692"/>
                  <a:pt x="2912642" y="501688"/>
                </a:cubicBezTo>
                <a:cubicBezTo>
                  <a:pt x="2912642" y="503683"/>
                  <a:pt x="2912642" y="503683"/>
                  <a:pt x="2910647" y="505679"/>
                </a:cubicBezTo>
                <a:lnTo>
                  <a:pt x="2910647" y="507675"/>
                </a:lnTo>
                <a:cubicBezTo>
                  <a:pt x="2910647" y="509671"/>
                  <a:pt x="2912642" y="509671"/>
                  <a:pt x="2914637" y="509671"/>
                </a:cubicBezTo>
                <a:cubicBezTo>
                  <a:pt x="2914637" y="507675"/>
                  <a:pt x="2918627" y="509671"/>
                  <a:pt x="2920622" y="511666"/>
                </a:cubicBezTo>
                <a:cubicBezTo>
                  <a:pt x="2920622" y="511666"/>
                  <a:pt x="2924612" y="509671"/>
                  <a:pt x="2926607" y="507675"/>
                </a:cubicBezTo>
                <a:cubicBezTo>
                  <a:pt x="2928602" y="507675"/>
                  <a:pt x="2932592" y="509671"/>
                  <a:pt x="2932592" y="509671"/>
                </a:cubicBezTo>
                <a:cubicBezTo>
                  <a:pt x="2932592" y="509671"/>
                  <a:pt x="2944562" y="513662"/>
                  <a:pt x="2946557" y="515658"/>
                </a:cubicBezTo>
                <a:cubicBezTo>
                  <a:pt x="2950548" y="519649"/>
                  <a:pt x="2956533" y="519649"/>
                  <a:pt x="2956533" y="517654"/>
                </a:cubicBezTo>
                <a:cubicBezTo>
                  <a:pt x="2958528" y="515658"/>
                  <a:pt x="2960523" y="513662"/>
                  <a:pt x="2966508" y="513662"/>
                </a:cubicBezTo>
                <a:cubicBezTo>
                  <a:pt x="2970498" y="513662"/>
                  <a:pt x="2976483" y="517654"/>
                  <a:pt x="2978478" y="519649"/>
                </a:cubicBezTo>
                <a:cubicBezTo>
                  <a:pt x="2980473" y="523641"/>
                  <a:pt x="2984463" y="523641"/>
                  <a:pt x="2988453" y="521645"/>
                </a:cubicBezTo>
                <a:cubicBezTo>
                  <a:pt x="2992443" y="521645"/>
                  <a:pt x="2992443" y="523641"/>
                  <a:pt x="2992443" y="525637"/>
                </a:cubicBezTo>
                <a:cubicBezTo>
                  <a:pt x="2992443" y="529628"/>
                  <a:pt x="2994439" y="529628"/>
                  <a:pt x="2994439" y="533620"/>
                </a:cubicBezTo>
                <a:cubicBezTo>
                  <a:pt x="2994439" y="537611"/>
                  <a:pt x="2994439" y="537611"/>
                  <a:pt x="2992443" y="537611"/>
                </a:cubicBezTo>
                <a:cubicBezTo>
                  <a:pt x="2990448" y="539607"/>
                  <a:pt x="2990448" y="541603"/>
                  <a:pt x="2994439" y="543599"/>
                </a:cubicBezTo>
                <a:cubicBezTo>
                  <a:pt x="2998429" y="543599"/>
                  <a:pt x="2998429" y="545595"/>
                  <a:pt x="3000424" y="547590"/>
                </a:cubicBezTo>
                <a:cubicBezTo>
                  <a:pt x="3000424" y="549586"/>
                  <a:pt x="3002419" y="547590"/>
                  <a:pt x="3006409" y="547590"/>
                </a:cubicBezTo>
                <a:cubicBezTo>
                  <a:pt x="3008404" y="547590"/>
                  <a:pt x="3012394" y="549586"/>
                  <a:pt x="3012394" y="549586"/>
                </a:cubicBezTo>
                <a:cubicBezTo>
                  <a:pt x="3014389" y="551582"/>
                  <a:pt x="3016384" y="549586"/>
                  <a:pt x="3016384" y="547590"/>
                </a:cubicBezTo>
                <a:cubicBezTo>
                  <a:pt x="3018379" y="545595"/>
                  <a:pt x="3020374" y="545595"/>
                  <a:pt x="3022369" y="545595"/>
                </a:cubicBezTo>
                <a:cubicBezTo>
                  <a:pt x="3024364" y="547590"/>
                  <a:pt x="3026359" y="545595"/>
                  <a:pt x="3026359" y="545595"/>
                </a:cubicBezTo>
                <a:cubicBezTo>
                  <a:pt x="3026359" y="543599"/>
                  <a:pt x="3028354" y="543599"/>
                  <a:pt x="3030349" y="545595"/>
                </a:cubicBezTo>
                <a:cubicBezTo>
                  <a:pt x="3030349" y="545595"/>
                  <a:pt x="3030349" y="545595"/>
                  <a:pt x="3032344" y="543599"/>
                </a:cubicBezTo>
                <a:cubicBezTo>
                  <a:pt x="3034339" y="541603"/>
                  <a:pt x="3038330" y="543599"/>
                  <a:pt x="3042320" y="543599"/>
                </a:cubicBezTo>
                <a:cubicBezTo>
                  <a:pt x="3044315" y="543599"/>
                  <a:pt x="3042320" y="545595"/>
                  <a:pt x="3046310" y="547590"/>
                </a:cubicBezTo>
                <a:cubicBezTo>
                  <a:pt x="3052295" y="547590"/>
                  <a:pt x="3050300" y="545595"/>
                  <a:pt x="3052295" y="541603"/>
                </a:cubicBezTo>
                <a:cubicBezTo>
                  <a:pt x="3052295" y="539607"/>
                  <a:pt x="3054290" y="539607"/>
                  <a:pt x="3060275" y="539607"/>
                </a:cubicBezTo>
                <a:cubicBezTo>
                  <a:pt x="3064265" y="539607"/>
                  <a:pt x="3068255" y="541603"/>
                  <a:pt x="3070250" y="539607"/>
                </a:cubicBezTo>
                <a:cubicBezTo>
                  <a:pt x="3072245" y="537611"/>
                  <a:pt x="3076235" y="537611"/>
                  <a:pt x="3078230" y="539607"/>
                </a:cubicBezTo>
                <a:cubicBezTo>
                  <a:pt x="3082220" y="543599"/>
                  <a:pt x="3084216" y="539607"/>
                  <a:pt x="3084216" y="539607"/>
                </a:cubicBezTo>
                <a:cubicBezTo>
                  <a:pt x="3084216" y="539607"/>
                  <a:pt x="3092196" y="533620"/>
                  <a:pt x="3094191" y="533620"/>
                </a:cubicBezTo>
                <a:cubicBezTo>
                  <a:pt x="3096186" y="531624"/>
                  <a:pt x="3100176" y="533620"/>
                  <a:pt x="3104166" y="535616"/>
                </a:cubicBezTo>
                <a:cubicBezTo>
                  <a:pt x="3106161" y="537611"/>
                  <a:pt x="3110151" y="537611"/>
                  <a:pt x="3110151" y="537611"/>
                </a:cubicBezTo>
                <a:cubicBezTo>
                  <a:pt x="3110151" y="537611"/>
                  <a:pt x="3114141" y="537611"/>
                  <a:pt x="3116136" y="537611"/>
                </a:cubicBezTo>
                <a:cubicBezTo>
                  <a:pt x="3118131" y="539607"/>
                  <a:pt x="3122121" y="537611"/>
                  <a:pt x="3122121" y="537611"/>
                </a:cubicBezTo>
                <a:cubicBezTo>
                  <a:pt x="3122121" y="537611"/>
                  <a:pt x="3124116" y="537611"/>
                  <a:pt x="3128107" y="537611"/>
                </a:cubicBezTo>
                <a:cubicBezTo>
                  <a:pt x="3130102" y="537611"/>
                  <a:pt x="3134092" y="537611"/>
                  <a:pt x="3138082" y="541603"/>
                </a:cubicBezTo>
                <a:cubicBezTo>
                  <a:pt x="3142072" y="543599"/>
                  <a:pt x="3152047" y="541603"/>
                  <a:pt x="3156037" y="541603"/>
                </a:cubicBezTo>
                <a:cubicBezTo>
                  <a:pt x="3160027" y="543599"/>
                  <a:pt x="3162022" y="543599"/>
                  <a:pt x="3164017" y="547590"/>
                </a:cubicBezTo>
                <a:cubicBezTo>
                  <a:pt x="3166012" y="551582"/>
                  <a:pt x="3170002" y="553578"/>
                  <a:pt x="3173993" y="555573"/>
                </a:cubicBezTo>
                <a:cubicBezTo>
                  <a:pt x="3179978" y="557569"/>
                  <a:pt x="3179978" y="561561"/>
                  <a:pt x="3179978" y="563556"/>
                </a:cubicBezTo>
                <a:cubicBezTo>
                  <a:pt x="3179978" y="565552"/>
                  <a:pt x="3179978" y="567548"/>
                  <a:pt x="3183968" y="569544"/>
                </a:cubicBezTo>
                <a:cubicBezTo>
                  <a:pt x="3185963" y="571540"/>
                  <a:pt x="3187958" y="573535"/>
                  <a:pt x="3187958" y="573535"/>
                </a:cubicBezTo>
                <a:cubicBezTo>
                  <a:pt x="3187958" y="573535"/>
                  <a:pt x="3187958" y="577527"/>
                  <a:pt x="3187958" y="583514"/>
                </a:cubicBezTo>
                <a:cubicBezTo>
                  <a:pt x="3185963" y="589502"/>
                  <a:pt x="3185963" y="589502"/>
                  <a:pt x="3185963" y="589502"/>
                </a:cubicBezTo>
                <a:cubicBezTo>
                  <a:pt x="3185963" y="589502"/>
                  <a:pt x="3183968" y="589502"/>
                  <a:pt x="3183968" y="593493"/>
                </a:cubicBezTo>
                <a:cubicBezTo>
                  <a:pt x="3183968" y="595489"/>
                  <a:pt x="3187958" y="595489"/>
                  <a:pt x="3191948" y="595489"/>
                </a:cubicBezTo>
                <a:cubicBezTo>
                  <a:pt x="3193943" y="595489"/>
                  <a:pt x="3197933" y="597485"/>
                  <a:pt x="3197933" y="599480"/>
                </a:cubicBezTo>
                <a:cubicBezTo>
                  <a:pt x="3197933" y="601476"/>
                  <a:pt x="3203918" y="601476"/>
                  <a:pt x="3203918" y="601476"/>
                </a:cubicBezTo>
                <a:cubicBezTo>
                  <a:pt x="3203918" y="601476"/>
                  <a:pt x="3203918" y="599480"/>
                  <a:pt x="3207908" y="599480"/>
                </a:cubicBezTo>
                <a:cubicBezTo>
                  <a:pt x="3211898" y="599480"/>
                  <a:pt x="3213893" y="603472"/>
                  <a:pt x="3213893" y="603472"/>
                </a:cubicBezTo>
                <a:cubicBezTo>
                  <a:pt x="3213893" y="603472"/>
                  <a:pt x="3219879" y="601476"/>
                  <a:pt x="3221874" y="605468"/>
                </a:cubicBezTo>
                <a:cubicBezTo>
                  <a:pt x="3223869" y="607463"/>
                  <a:pt x="3227859" y="605468"/>
                  <a:pt x="3227859" y="605468"/>
                </a:cubicBezTo>
                <a:cubicBezTo>
                  <a:pt x="3227859" y="603472"/>
                  <a:pt x="3229854" y="603472"/>
                  <a:pt x="3233844" y="601476"/>
                </a:cubicBezTo>
                <a:cubicBezTo>
                  <a:pt x="3235839" y="599480"/>
                  <a:pt x="3237834" y="601476"/>
                  <a:pt x="3237834" y="601476"/>
                </a:cubicBezTo>
                <a:cubicBezTo>
                  <a:pt x="3237834" y="601476"/>
                  <a:pt x="3243819" y="603472"/>
                  <a:pt x="3247809" y="601476"/>
                </a:cubicBezTo>
                <a:cubicBezTo>
                  <a:pt x="3247809" y="599480"/>
                  <a:pt x="3255789" y="599480"/>
                  <a:pt x="3257784" y="599480"/>
                </a:cubicBezTo>
                <a:cubicBezTo>
                  <a:pt x="3259779" y="599480"/>
                  <a:pt x="3261775" y="599480"/>
                  <a:pt x="3263770" y="599480"/>
                </a:cubicBezTo>
                <a:cubicBezTo>
                  <a:pt x="3267760" y="597485"/>
                  <a:pt x="3269755" y="599480"/>
                  <a:pt x="3273745" y="597485"/>
                </a:cubicBezTo>
                <a:cubicBezTo>
                  <a:pt x="3275740" y="597485"/>
                  <a:pt x="3277735" y="593493"/>
                  <a:pt x="3277735" y="593493"/>
                </a:cubicBezTo>
                <a:cubicBezTo>
                  <a:pt x="3277735" y="593493"/>
                  <a:pt x="3281725" y="587506"/>
                  <a:pt x="3287710" y="591497"/>
                </a:cubicBezTo>
                <a:cubicBezTo>
                  <a:pt x="3293695" y="591497"/>
                  <a:pt x="3293695" y="595489"/>
                  <a:pt x="3293695" y="599480"/>
                </a:cubicBezTo>
                <a:cubicBezTo>
                  <a:pt x="3295690" y="601476"/>
                  <a:pt x="3307661" y="601476"/>
                  <a:pt x="3307661" y="601476"/>
                </a:cubicBezTo>
                <a:cubicBezTo>
                  <a:pt x="3307661" y="601476"/>
                  <a:pt x="3319631" y="603472"/>
                  <a:pt x="3319631" y="601476"/>
                </a:cubicBezTo>
                <a:cubicBezTo>
                  <a:pt x="3319631" y="601476"/>
                  <a:pt x="3323621" y="601476"/>
                  <a:pt x="3325616" y="603472"/>
                </a:cubicBezTo>
                <a:cubicBezTo>
                  <a:pt x="3327611" y="603472"/>
                  <a:pt x="3335591" y="605468"/>
                  <a:pt x="3335591" y="605468"/>
                </a:cubicBezTo>
                <a:cubicBezTo>
                  <a:pt x="3335591" y="605468"/>
                  <a:pt x="3341576" y="605468"/>
                  <a:pt x="3343571" y="605468"/>
                </a:cubicBezTo>
                <a:cubicBezTo>
                  <a:pt x="3343571" y="603472"/>
                  <a:pt x="3349557" y="603472"/>
                  <a:pt x="3349557" y="603472"/>
                </a:cubicBezTo>
                <a:cubicBezTo>
                  <a:pt x="3349557" y="603472"/>
                  <a:pt x="3353547" y="605468"/>
                  <a:pt x="3357537" y="601476"/>
                </a:cubicBezTo>
                <a:cubicBezTo>
                  <a:pt x="3363522" y="597485"/>
                  <a:pt x="3363522" y="593493"/>
                  <a:pt x="3363522" y="593493"/>
                </a:cubicBezTo>
                <a:cubicBezTo>
                  <a:pt x="3363522" y="593493"/>
                  <a:pt x="3363522" y="587506"/>
                  <a:pt x="3367512" y="585510"/>
                </a:cubicBezTo>
                <a:cubicBezTo>
                  <a:pt x="3373497" y="581518"/>
                  <a:pt x="3381477" y="583514"/>
                  <a:pt x="3385467" y="583514"/>
                </a:cubicBezTo>
                <a:cubicBezTo>
                  <a:pt x="3387462" y="585510"/>
                  <a:pt x="3393447" y="587506"/>
                  <a:pt x="3397438" y="587506"/>
                </a:cubicBezTo>
                <a:cubicBezTo>
                  <a:pt x="3403423" y="589502"/>
                  <a:pt x="3405418" y="591497"/>
                  <a:pt x="3405418" y="595489"/>
                </a:cubicBezTo>
                <a:cubicBezTo>
                  <a:pt x="3405418" y="599480"/>
                  <a:pt x="3399433" y="601476"/>
                  <a:pt x="3397438" y="601476"/>
                </a:cubicBezTo>
                <a:cubicBezTo>
                  <a:pt x="3395443" y="603472"/>
                  <a:pt x="3395443" y="603472"/>
                  <a:pt x="3393447" y="603472"/>
                </a:cubicBezTo>
                <a:cubicBezTo>
                  <a:pt x="3389457" y="603472"/>
                  <a:pt x="3387462" y="603472"/>
                  <a:pt x="3385467" y="605468"/>
                </a:cubicBezTo>
                <a:cubicBezTo>
                  <a:pt x="3383472" y="607463"/>
                  <a:pt x="3387462" y="611455"/>
                  <a:pt x="3389457" y="615447"/>
                </a:cubicBezTo>
                <a:cubicBezTo>
                  <a:pt x="3391452" y="617443"/>
                  <a:pt x="3405418" y="619438"/>
                  <a:pt x="3409408" y="619438"/>
                </a:cubicBezTo>
                <a:cubicBezTo>
                  <a:pt x="3413398" y="619438"/>
                  <a:pt x="3417388" y="621434"/>
                  <a:pt x="3419383" y="627421"/>
                </a:cubicBezTo>
                <a:cubicBezTo>
                  <a:pt x="3423373" y="631413"/>
                  <a:pt x="3425368" y="631413"/>
                  <a:pt x="3429358" y="635404"/>
                </a:cubicBezTo>
                <a:cubicBezTo>
                  <a:pt x="3435343" y="641392"/>
                  <a:pt x="3439334" y="639396"/>
                  <a:pt x="3443324" y="637400"/>
                </a:cubicBezTo>
                <a:cubicBezTo>
                  <a:pt x="3447314" y="633409"/>
                  <a:pt x="3449309" y="635404"/>
                  <a:pt x="3451304" y="633409"/>
                </a:cubicBezTo>
                <a:cubicBezTo>
                  <a:pt x="3453299" y="633409"/>
                  <a:pt x="3455294" y="629417"/>
                  <a:pt x="3453299" y="627421"/>
                </a:cubicBezTo>
                <a:cubicBezTo>
                  <a:pt x="3451304" y="625426"/>
                  <a:pt x="3449309" y="613451"/>
                  <a:pt x="3447314" y="611455"/>
                </a:cubicBezTo>
                <a:cubicBezTo>
                  <a:pt x="3445319" y="609459"/>
                  <a:pt x="3443324" y="609459"/>
                  <a:pt x="3439334" y="605468"/>
                </a:cubicBezTo>
                <a:cubicBezTo>
                  <a:pt x="3435343" y="601476"/>
                  <a:pt x="3435343" y="603472"/>
                  <a:pt x="3431353" y="603472"/>
                </a:cubicBezTo>
                <a:cubicBezTo>
                  <a:pt x="3429358" y="603472"/>
                  <a:pt x="3425368" y="601476"/>
                  <a:pt x="3423373" y="599480"/>
                </a:cubicBezTo>
                <a:cubicBezTo>
                  <a:pt x="3421378" y="597485"/>
                  <a:pt x="3425368" y="595489"/>
                  <a:pt x="3427363" y="595489"/>
                </a:cubicBezTo>
                <a:cubicBezTo>
                  <a:pt x="3427363" y="593493"/>
                  <a:pt x="3429358" y="591497"/>
                  <a:pt x="3427363" y="587506"/>
                </a:cubicBezTo>
                <a:cubicBezTo>
                  <a:pt x="3425368" y="583514"/>
                  <a:pt x="3423373" y="581518"/>
                  <a:pt x="3421378" y="577527"/>
                </a:cubicBezTo>
                <a:cubicBezTo>
                  <a:pt x="3417388" y="573535"/>
                  <a:pt x="3425368" y="573535"/>
                  <a:pt x="3427363" y="573535"/>
                </a:cubicBezTo>
                <a:cubicBezTo>
                  <a:pt x="3429358" y="573535"/>
                  <a:pt x="3437338" y="575531"/>
                  <a:pt x="3439334" y="579523"/>
                </a:cubicBezTo>
                <a:cubicBezTo>
                  <a:pt x="3441329" y="581518"/>
                  <a:pt x="3443324" y="579523"/>
                  <a:pt x="3443324" y="579523"/>
                </a:cubicBezTo>
                <a:cubicBezTo>
                  <a:pt x="3443324" y="579523"/>
                  <a:pt x="3451304" y="581518"/>
                  <a:pt x="3455294" y="583514"/>
                </a:cubicBezTo>
                <a:cubicBezTo>
                  <a:pt x="3459284" y="587506"/>
                  <a:pt x="3463274" y="587506"/>
                  <a:pt x="3463274" y="587506"/>
                </a:cubicBezTo>
                <a:cubicBezTo>
                  <a:pt x="3463274" y="587506"/>
                  <a:pt x="3465269" y="587506"/>
                  <a:pt x="3471254" y="587506"/>
                </a:cubicBezTo>
                <a:cubicBezTo>
                  <a:pt x="3477239" y="587506"/>
                  <a:pt x="3473249" y="585510"/>
                  <a:pt x="3475244" y="585510"/>
                </a:cubicBezTo>
                <a:cubicBezTo>
                  <a:pt x="3477239" y="583514"/>
                  <a:pt x="3479234" y="583514"/>
                  <a:pt x="3481229" y="587506"/>
                </a:cubicBezTo>
                <a:cubicBezTo>
                  <a:pt x="3483225" y="593493"/>
                  <a:pt x="3483225" y="589502"/>
                  <a:pt x="3485220" y="587506"/>
                </a:cubicBezTo>
                <a:cubicBezTo>
                  <a:pt x="3489209" y="587506"/>
                  <a:pt x="3489209" y="589502"/>
                  <a:pt x="3491205" y="591497"/>
                </a:cubicBezTo>
                <a:cubicBezTo>
                  <a:pt x="3493199" y="595489"/>
                  <a:pt x="3495195" y="589502"/>
                  <a:pt x="3495195" y="589502"/>
                </a:cubicBezTo>
                <a:cubicBezTo>
                  <a:pt x="3495195" y="589502"/>
                  <a:pt x="3495195" y="587506"/>
                  <a:pt x="3495195" y="585510"/>
                </a:cubicBezTo>
                <a:cubicBezTo>
                  <a:pt x="3495195" y="583514"/>
                  <a:pt x="3499185" y="587506"/>
                  <a:pt x="3501180" y="589502"/>
                </a:cubicBezTo>
                <a:cubicBezTo>
                  <a:pt x="3501180" y="591497"/>
                  <a:pt x="3503175" y="589502"/>
                  <a:pt x="3507165" y="587506"/>
                </a:cubicBezTo>
                <a:cubicBezTo>
                  <a:pt x="3509160" y="583514"/>
                  <a:pt x="3513150" y="587506"/>
                  <a:pt x="3513150" y="587506"/>
                </a:cubicBezTo>
                <a:cubicBezTo>
                  <a:pt x="3513150" y="587506"/>
                  <a:pt x="3517140" y="587506"/>
                  <a:pt x="3523125" y="587506"/>
                </a:cubicBezTo>
                <a:cubicBezTo>
                  <a:pt x="3529111" y="587506"/>
                  <a:pt x="3527115" y="585510"/>
                  <a:pt x="3527115" y="585510"/>
                </a:cubicBezTo>
                <a:cubicBezTo>
                  <a:pt x="3527115" y="585510"/>
                  <a:pt x="3527115" y="583514"/>
                  <a:pt x="3531105" y="583514"/>
                </a:cubicBezTo>
                <a:cubicBezTo>
                  <a:pt x="3537091" y="583514"/>
                  <a:pt x="3539086" y="589502"/>
                  <a:pt x="3541081" y="589502"/>
                </a:cubicBezTo>
                <a:cubicBezTo>
                  <a:pt x="3543076" y="589502"/>
                  <a:pt x="3545071" y="589502"/>
                  <a:pt x="3545071" y="587506"/>
                </a:cubicBezTo>
                <a:cubicBezTo>
                  <a:pt x="3545071" y="585510"/>
                  <a:pt x="3545071" y="583514"/>
                  <a:pt x="3549061" y="583514"/>
                </a:cubicBezTo>
                <a:cubicBezTo>
                  <a:pt x="3551056" y="583514"/>
                  <a:pt x="3551056" y="585510"/>
                  <a:pt x="3551056" y="587506"/>
                </a:cubicBezTo>
                <a:cubicBezTo>
                  <a:pt x="3553051" y="591497"/>
                  <a:pt x="3555046" y="589502"/>
                  <a:pt x="3557041" y="587506"/>
                </a:cubicBezTo>
                <a:cubicBezTo>
                  <a:pt x="3561031" y="587506"/>
                  <a:pt x="3563026" y="587506"/>
                  <a:pt x="3565021" y="589502"/>
                </a:cubicBezTo>
                <a:cubicBezTo>
                  <a:pt x="3565021" y="591497"/>
                  <a:pt x="3567016" y="593493"/>
                  <a:pt x="3573001" y="591497"/>
                </a:cubicBezTo>
                <a:cubicBezTo>
                  <a:pt x="3576991" y="591497"/>
                  <a:pt x="3578987" y="595489"/>
                  <a:pt x="3582977" y="597485"/>
                </a:cubicBezTo>
                <a:cubicBezTo>
                  <a:pt x="3582977" y="597485"/>
                  <a:pt x="3586967" y="597485"/>
                  <a:pt x="3590957" y="595489"/>
                </a:cubicBezTo>
                <a:cubicBezTo>
                  <a:pt x="3594947" y="595489"/>
                  <a:pt x="3596942" y="597485"/>
                  <a:pt x="3600932" y="601476"/>
                </a:cubicBezTo>
                <a:cubicBezTo>
                  <a:pt x="3604922" y="605468"/>
                  <a:pt x="3612902" y="605468"/>
                  <a:pt x="3612902" y="605468"/>
                </a:cubicBezTo>
                <a:cubicBezTo>
                  <a:pt x="3612902" y="605468"/>
                  <a:pt x="3620883" y="605468"/>
                  <a:pt x="3622877" y="605468"/>
                </a:cubicBezTo>
                <a:cubicBezTo>
                  <a:pt x="3626867" y="605468"/>
                  <a:pt x="3628863" y="607463"/>
                  <a:pt x="3628863" y="609459"/>
                </a:cubicBezTo>
                <a:cubicBezTo>
                  <a:pt x="3630858" y="609459"/>
                  <a:pt x="3634848" y="611455"/>
                  <a:pt x="3634848" y="611455"/>
                </a:cubicBezTo>
                <a:cubicBezTo>
                  <a:pt x="3634848" y="611455"/>
                  <a:pt x="3646818" y="615447"/>
                  <a:pt x="3650808" y="615447"/>
                </a:cubicBezTo>
                <a:cubicBezTo>
                  <a:pt x="3652803" y="615447"/>
                  <a:pt x="3656793" y="613451"/>
                  <a:pt x="3658788" y="615447"/>
                </a:cubicBezTo>
                <a:cubicBezTo>
                  <a:pt x="3658788" y="617443"/>
                  <a:pt x="3658788" y="619438"/>
                  <a:pt x="3654798" y="621434"/>
                </a:cubicBezTo>
                <a:cubicBezTo>
                  <a:pt x="3652803" y="621434"/>
                  <a:pt x="3654798" y="623430"/>
                  <a:pt x="3654798" y="623430"/>
                </a:cubicBezTo>
                <a:cubicBezTo>
                  <a:pt x="3654798" y="623430"/>
                  <a:pt x="3658788" y="625426"/>
                  <a:pt x="3660783" y="625426"/>
                </a:cubicBezTo>
                <a:cubicBezTo>
                  <a:pt x="3662779" y="627421"/>
                  <a:pt x="3666769" y="625426"/>
                  <a:pt x="3666769" y="625426"/>
                </a:cubicBezTo>
                <a:cubicBezTo>
                  <a:pt x="3666769" y="625426"/>
                  <a:pt x="3668763" y="625426"/>
                  <a:pt x="3670759" y="629417"/>
                </a:cubicBezTo>
                <a:cubicBezTo>
                  <a:pt x="3672754" y="633409"/>
                  <a:pt x="3674749" y="633409"/>
                  <a:pt x="3676744" y="631413"/>
                </a:cubicBezTo>
                <a:cubicBezTo>
                  <a:pt x="3676744" y="629417"/>
                  <a:pt x="3678739" y="629417"/>
                  <a:pt x="3678739" y="629417"/>
                </a:cubicBezTo>
                <a:cubicBezTo>
                  <a:pt x="3678739" y="629417"/>
                  <a:pt x="3680734" y="629417"/>
                  <a:pt x="3682729" y="629417"/>
                </a:cubicBezTo>
                <a:cubicBezTo>
                  <a:pt x="3684724" y="627421"/>
                  <a:pt x="3684724" y="631413"/>
                  <a:pt x="3682729" y="631413"/>
                </a:cubicBezTo>
                <a:cubicBezTo>
                  <a:pt x="3682729" y="631413"/>
                  <a:pt x="3680734" y="633409"/>
                  <a:pt x="3680734" y="635404"/>
                </a:cubicBezTo>
                <a:cubicBezTo>
                  <a:pt x="3682729" y="637400"/>
                  <a:pt x="3684724" y="639396"/>
                  <a:pt x="3686719" y="637400"/>
                </a:cubicBezTo>
                <a:cubicBezTo>
                  <a:pt x="3688714" y="637400"/>
                  <a:pt x="3692704" y="639396"/>
                  <a:pt x="3694699" y="639396"/>
                </a:cubicBezTo>
                <a:cubicBezTo>
                  <a:pt x="3696694" y="639396"/>
                  <a:pt x="3696694" y="643388"/>
                  <a:pt x="3700684" y="647379"/>
                </a:cubicBezTo>
                <a:cubicBezTo>
                  <a:pt x="3702679" y="651371"/>
                  <a:pt x="3710659" y="653366"/>
                  <a:pt x="3712655" y="653366"/>
                </a:cubicBezTo>
                <a:cubicBezTo>
                  <a:pt x="3714649" y="655362"/>
                  <a:pt x="3714649" y="653366"/>
                  <a:pt x="3716645" y="653366"/>
                </a:cubicBezTo>
                <a:cubicBezTo>
                  <a:pt x="3718640" y="653366"/>
                  <a:pt x="3720635" y="653366"/>
                  <a:pt x="3720635" y="655362"/>
                </a:cubicBezTo>
                <a:cubicBezTo>
                  <a:pt x="3720635" y="659354"/>
                  <a:pt x="3724625" y="659354"/>
                  <a:pt x="3724625" y="659354"/>
                </a:cubicBezTo>
                <a:cubicBezTo>
                  <a:pt x="3724625" y="659354"/>
                  <a:pt x="3726620" y="657358"/>
                  <a:pt x="3728615" y="659354"/>
                </a:cubicBezTo>
                <a:cubicBezTo>
                  <a:pt x="3730610" y="661350"/>
                  <a:pt x="3732605" y="659354"/>
                  <a:pt x="3732605" y="659354"/>
                </a:cubicBezTo>
                <a:cubicBezTo>
                  <a:pt x="3732605" y="659354"/>
                  <a:pt x="3734600" y="657358"/>
                  <a:pt x="3736595" y="657358"/>
                </a:cubicBezTo>
                <a:cubicBezTo>
                  <a:pt x="3738590" y="657358"/>
                  <a:pt x="3738590" y="661350"/>
                  <a:pt x="3738590" y="663345"/>
                </a:cubicBezTo>
                <a:cubicBezTo>
                  <a:pt x="3738590" y="667337"/>
                  <a:pt x="3740585" y="669333"/>
                  <a:pt x="3742580" y="669333"/>
                </a:cubicBezTo>
                <a:cubicBezTo>
                  <a:pt x="3744575" y="669333"/>
                  <a:pt x="3744575" y="665341"/>
                  <a:pt x="3744575" y="663345"/>
                </a:cubicBezTo>
                <a:cubicBezTo>
                  <a:pt x="3744575" y="659354"/>
                  <a:pt x="3748565" y="659354"/>
                  <a:pt x="3750561" y="661350"/>
                </a:cubicBezTo>
                <a:cubicBezTo>
                  <a:pt x="3750561" y="665341"/>
                  <a:pt x="3752555" y="665341"/>
                  <a:pt x="3752555" y="665341"/>
                </a:cubicBezTo>
                <a:cubicBezTo>
                  <a:pt x="3752555" y="665341"/>
                  <a:pt x="3758541" y="667337"/>
                  <a:pt x="3758541" y="671328"/>
                </a:cubicBezTo>
                <a:cubicBezTo>
                  <a:pt x="3756545" y="673324"/>
                  <a:pt x="3758541" y="675320"/>
                  <a:pt x="3760535" y="677316"/>
                </a:cubicBezTo>
                <a:cubicBezTo>
                  <a:pt x="3760535" y="677316"/>
                  <a:pt x="3764526" y="677316"/>
                  <a:pt x="3766521" y="677316"/>
                </a:cubicBezTo>
                <a:cubicBezTo>
                  <a:pt x="3768516" y="677316"/>
                  <a:pt x="3768516" y="681307"/>
                  <a:pt x="3770511" y="681307"/>
                </a:cubicBezTo>
                <a:cubicBezTo>
                  <a:pt x="3770511" y="681307"/>
                  <a:pt x="3774501" y="683303"/>
                  <a:pt x="3776496" y="679311"/>
                </a:cubicBezTo>
                <a:cubicBezTo>
                  <a:pt x="3776496" y="677316"/>
                  <a:pt x="3772506" y="675320"/>
                  <a:pt x="3772506" y="675320"/>
                </a:cubicBezTo>
                <a:cubicBezTo>
                  <a:pt x="3772506" y="675320"/>
                  <a:pt x="3764526" y="673324"/>
                  <a:pt x="3766521" y="671328"/>
                </a:cubicBezTo>
                <a:cubicBezTo>
                  <a:pt x="3768516" y="671328"/>
                  <a:pt x="3772506" y="671328"/>
                  <a:pt x="3772506" y="673324"/>
                </a:cubicBezTo>
                <a:cubicBezTo>
                  <a:pt x="3776496" y="675320"/>
                  <a:pt x="3778491" y="677316"/>
                  <a:pt x="3780486" y="675320"/>
                </a:cubicBezTo>
                <a:cubicBezTo>
                  <a:pt x="3784476" y="675320"/>
                  <a:pt x="3784476" y="681307"/>
                  <a:pt x="3784476" y="679311"/>
                </a:cubicBezTo>
                <a:cubicBezTo>
                  <a:pt x="3782481" y="679311"/>
                  <a:pt x="3780486" y="681307"/>
                  <a:pt x="3782481" y="683303"/>
                </a:cubicBezTo>
                <a:cubicBezTo>
                  <a:pt x="3782481" y="687295"/>
                  <a:pt x="3780486" y="687295"/>
                  <a:pt x="3780486" y="687295"/>
                </a:cubicBezTo>
                <a:cubicBezTo>
                  <a:pt x="3780486" y="687295"/>
                  <a:pt x="3776496" y="689290"/>
                  <a:pt x="3778491" y="689290"/>
                </a:cubicBezTo>
                <a:cubicBezTo>
                  <a:pt x="3780486" y="691286"/>
                  <a:pt x="3784476" y="693282"/>
                  <a:pt x="3788466" y="693282"/>
                </a:cubicBezTo>
                <a:cubicBezTo>
                  <a:pt x="3790461" y="693282"/>
                  <a:pt x="3790461" y="693282"/>
                  <a:pt x="3790461" y="693282"/>
                </a:cubicBezTo>
                <a:cubicBezTo>
                  <a:pt x="3790461" y="693282"/>
                  <a:pt x="3792456" y="695278"/>
                  <a:pt x="3796447" y="697273"/>
                </a:cubicBezTo>
                <a:cubicBezTo>
                  <a:pt x="3798441" y="699269"/>
                  <a:pt x="3798441" y="697273"/>
                  <a:pt x="3796447" y="693282"/>
                </a:cubicBezTo>
                <a:cubicBezTo>
                  <a:pt x="3796447" y="691286"/>
                  <a:pt x="3790461" y="689290"/>
                  <a:pt x="3788466" y="687295"/>
                </a:cubicBezTo>
                <a:cubicBezTo>
                  <a:pt x="3784476" y="685299"/>
                  <a:pt x="3784476" y="685299"/>
                  <a:pt x="3784476" y="683303"/>
                </a:cubicBezTo>
                <a:cubicBezTo>
                  <a:pt x="3784476" y="681307"/>
                  <a:pt x="3786471" y="681307"/>
                  <a:pt x="3788466" y="679311"/>
                </a:cubicBezTo>
                <a:cubicBezTo>
                  <a:pt x="3794451" y="679311"/>
                  <a:pt x="3796447" y="681307"/>
                  <a:pt x="3796447" y="681307"/>
                </a:cubicBezTo>
                <a:cubicBezTo>
                  <a:pt x="3796447" y="681307"/>
                  <a:pt x="3802431" y="685299"/>
                  <a:pt x="3802431" y="687295"/>
                </a:cubicBezTo>
                <a:cubicBezTo>
                  <a:pt x="3802431" y="687295"/>
                  <a:pt x="3804427" y="689290"/>
                  <a:pt x="3804427" y="689290"/>
                </a:cubicBezTo>
                <a:cubicBezTo>
                  <a:pt x="3804427" y="689290"/>
                  <a:pt x="3806422" y="689290"/>
                  <a:pt x="3808417" y="695278"/>
                </a:cubicBezTo>
                <a:cubicBezTo>
                  <a:pt x="3810412" y="699269"/>
                  <a:pt x="3810412" y="697273"/>
                  <a:pt x="3814402" y="697273"/>
                </a:cubicBezTo>
                <a:cubicBezTo>
                  <a:pt x="3814402" y="695278"/>
                  <a:pt x="3816397" y="699269"/>
                  <a:pt x="3814402" y="703261"/>
                </a:cubicBezTo>
                <a:cubicBezTo>
                  <a:pt x="3814402" y="707252"/>
                  <a:pt x="3814402" y="709248"/>
                  <a:pt x="3818392" y="711244"/>
                </a:cubicBezTo>
                <a:cubicBezTo>
                  <a:pt x="3820387" y="713240"/>
                  <a:pt x="3826372" y="719227"/>
                  <a:pt x="3828367" y="723218"/>
                </a:cubicBezTo>
                <a:cubicBezTo>
                  <a:pt x="3830362" y="727210"/>
                  <a:pt x="3832357" y="735193"/>
                  <a:pt x="3830362" y="737189"/>
                </a:cubicBezTo>
                <a:cubicBezTo>
                  <a:pt x="3826372" y="739185"/>
                  <a:pt x="3826372" y="741180"/>
                  <a:pt x="3828367" y="741180"/>
                </a:cubicBezTo>
                <a:cubicBezTo>
                  <a:pt x="3830362" y="741180"/>
                  <a:pt x="3832357" y="741180"/>
                  <a:pt x="3836347" y="741180"/>
                </a:cubicBezTo>
                <a:cubicBezTo>
                  <a:pt x="3840337" y="741180"/>
                  <a:pt x="3842333" y="749164"/>
                  <a:pt x="3844327" y="751159"/>
                </a:cubicBezTo>
                <a:cubicBezTo>
                  <a:pt x="3844327" y="753155"/>
                  <a:pt x="3844327" y="755151"/>
                  <a:pt x="3848317" y="753155"/>
                </a:cubicBezTo>
                <a:cubicBezTo>
                  <a:pt x="3850313" y="751159"/>
                  <a:pt x="3846323" y="743176"/>
                  <a:pt x="3846323" y="741180"/>
                </a:cubicBezTo>
                <a:cubicBezTo>
                  <a:pt x="3844327" y="741180"/>
                  <a:pt x="3844327" y="735193"/>
                  <a:pt x="3846323" y="735193"/>
                </a:cubicBezTo>
                <a:cubicBezTo>
                  <a:pt x="3848317" y="733197"/>
                  <a:pt x="3848317" y="727210"/>
                  <a:pt x="3846323" y="727210"/>
                </a:cubicBezTo>
                <a:cubicBezTo>
                  <a:pt x="3844327" y="725214"/>
                  <a:pt x="3838342" y="719227"/>
                  <a:pt x="3836347" y="715235"/>
                </a:cubicBezTo>
                <a:cubicBezTo>
                  <a:pt x="3834352" y="713240"/>
                  <a:pt x="3840337" y="713240"/>
                  <a:pt x="3842333" y="715235"/>
                </a:cubicBezTo>
                <a:cubicBezTo>
                  <a:pt x="3846323" y="715235"/>
                  <a:pt x="3848317" y="715235"/>
                  <a:pt x="3854303" y="715235"/>
                </a:cubicBezTo>
                <a:cubicBezTo>
                  <a:pt x="3860288" y="715235"/>
                  <a:pt x="3862283" y="719227"/>
                  <a:pt x="3866273" y="721223"/>
                </a:cubicBezTo>
                <a:cubicBezTo>
                  <a:pt x="3868268" y="723218"/>
                  <a:pt x="3870263" y="723218"/>
                  <a:pt x="3874253" y="723218"/>
                </a:cubicBezTo>
                <a:cubicBezTo>
                  <a:pt x="3878243" y="723218"/>
                  <a:pt x="3878243" y="725214"/>
                  <a:pt x="3882233" y="725214"/>
                </a:cubicBezTo>
                <a:cubicBezTo>
                  <a:pt x="3884229" y="727210"/>
                  <a:pt x="3884229" y="723218"/>
                  <a:pt x="3884229" y="723218"/>
                </a:cubicBezTo>
                <a:cubicBezTo>
                  <a:pt x="3882233" y="721223"/>
                  <a:pt x="3880238" y="721223"/>
                  <a:pt x="3880238" y="721223"/>
                </a:cubicBezTo>
                <a:cubicBezTo>
                  <a:pt x="3880238" y="721223"/>
                  <a:pt x="3876248" y="719227"/>
                  <a:pt x="3876248" y="717231"/>
                </a:cubicBezTo>
                <a:cubicBezTo>
                  <a:pt x="3876248" y="715235"/>
                  <a:pt x="3880238" y="717231"/>
                  <a:pt x="3882233" y="717231"/>
                </a:cubicBezTo>
                <a:cubicBezTo>
                  <a:pt x="3882233" y="719227"/>
                  <a:pt x="3882233" y="719227"/>
                  <a:pt x="3884229" y="719227"/>
                </a:cubicBezTo>
                <a:cubicBezTo>
                  <a:pt x="3886223" y="721223"/>
                  <a:pt x="3888219" y="719227"/>
                  <a:pt x="3888219" y="719227"/>
                </a:cubicBezTo>
                <a:cubicBezTo>
                  <a:pt x="3888219" y="719227"/>
                  <a:pt x="3892209" y="719227"/>
                  <a:pt x="3894203" y="719227"/>
                </a:cubicBezTo>
                <a:cubicBezTo>
                  <a:pt x="3898194" y="717231"/>
                  <a:pt x="3902184" y="725214"/>
                  <a:pt x="3902184" y="725214"/>
                </a:cubicBezTo>
                <a:cubicBezTo>
                  <a:pt x="3902184" y="725214"/>
                  <a:pt x="3902184" y="725214"/>
                  <a:pt x="3912159" y="731202"/>
                </a:cubicBezTo>
                <a:cubicBezTo>
                  <a:pt x="3912159" y="731202"/>
                  <a:pt x="3912159" y="731202"/>
                  <a:pt x="3922134" y="737189"/>
                </a:cubicBezTo>
                <a:cubicBezTo>
                  <a:pt x="3922134" y="737189"/>
                  <a:pt x="3932109" y="739185"/>
                  <a:pt x="3934105" y="739185"/>
                </a:cubicBezTo>
                <a:cubicBezTo>
                  <a:pt x="3936099" y="739185"/>
                  <a:pt x="3936099" y="741180"/>
                  <a:pt x="3936099" y="743176"/>
                </a:cubicBezTo>
                <a:cubicBezTo>
                  <a:pt x="3936099" y="747168"/>
                  <a:pt x="3942085" y="747168"/>
                  <a:pt x="3942085" y="747168"/>
                </a:cubicBezTo>
                <a:cubicBezTo>
                  <a:pt x="3942085" y="747168"/>
                  <a:pt x="3948070" y="747168"/>
                  <a:pt x="3948070" y="749164"/>
                </a:cubicBezTo>
                <a:cubicBezTo>
                  <a:pt x="3948070" y="751159"/>
                  <a:pt x="3950065" y="751159"/>
                  <a:pt x="3950065" y="751159"/>
                </a:cubicBezTo>
                <a:cubicBezTo>
                  <a:pt x="3948070" y="751159"/>
                  <a:pt x="3954055" y="751159"/>
                  <a:pt x="3954055" y="753155"/>
                </a:cubicBezTo>
                <a:cubicBezTo>
                  <a:pt x="3954055" y="757147"/>
                  <a:pt x="3952060" y="761138"/>
                  <a:pt x="3952060" y="761138"/>
                </a:cubicBezTo>
                <a:cubicBezTo>
                  <a:pt x="3952060" y="761138"/>
                  <a:pt x="3956050" y="769121"/>
                  <a:pt x="3954055" y="769121"/>
                </a:cubicBezTo>
                <a:cubicBezTo>
                  <a:pt x="3952060" y="769121"/>
                  <a:pt x="3952060" y="775109"/>
                  <a:pt x="3954055" y="777104"/>
                </a:cubicBezTo>
                <a:cubicBezTo>
                  <a:pt x="3954055" y="777104"/>
                  <a:pt x="3954055" y="777104"/>
                  <a:pt x="3956050" y="777104"/>
                </a:cubicBezTo>
                <a:lnTo>
                  <a:pt x="3956050" y="779100"/>
                </a:lnTo>
                <a:cubicBezTo>
                  <a:pt x="3956050" y="779100"/>
                  <a:pt x="3956050" y="781096"/>
                  <a:pt x="3956050" y="781096"/>
                </a:cubicBezTo>
                <a:cubicBezTo>
                  <a:pt x="3954055" y="781096"/>
                  <a:pt x="3954055" y="781096"/>
                  <a:pt x="3954055" y="781096"/>
                </a:cubicBezTo>
                <a:cubicBezTo>
                  <a:pt x="3950065" y="783092"/>
                  <a:pt x="3950065" y="781096"/>
                  <a:pt x="3946075" y="781096"/>
                </a:cubicBezTo>
                <a:cubicBezTo>
                  <a:pt x="3942085" y="781096"/>
                  <a:pt x="3940090" y="783092"/>
                  <a:pt x="3940090" y="785088"/>
                </a:cubicBezTo>
                <a:cubicBezTo>
                  <a:pt x="3940090" y="787083"/>
                  <a:pt x="3938095" y="787083"/>
                  <a:pt x="3936099" y="787083"/>
                </a:cubicBezTo>
                <a:cubicBezTo>
                  <a:pt x="3934105" y="787083"/>
                  <a:pt x="3932109" y="787083"/>
                  <a:pt x="3930115" y="785088"/>
                </a:cubicBezTo>
                <a:cubicBezTo>
                  <a:pt x="3928119" y="785088"/>
                  <a:pt x="3928119" y="787083"/>
                  <a:pt x="3924129" y="789079"/>
                </a:cubicBezTo>
                <a:cubicBezTo>
                  <a:pt x="3920139" y="789079"/>
                  <a:pt x="3920139" y="787083"/>
                  <a:pt x="3918144" y="785088"/>
                </a:cubicBezTo>
                <a:cubicBezTo>
                  <a:pt x="3918144" y="783092"/>
                  <a:pt x="3914154" y="783092"/>
                  <a:pt x="3912159" y="781096"/>
                </a:cubicBezTo>
                <a:cubicBezTo>
                  <a:pt x="3908169" y="781096"/>
                  <a:pt x="3910164" y="779100"/>
                  <a:pt x="3910164" y="777104"/>
                </a:cubicBezTo>
                <a:cubicBezTo>
                  <a:pt x="3910164" y="777104"/>
                  <a:pt x="3908169" y="775109"/>
                  <a:pt x="3906174" y="775109"/>
                </a:cubicBezTo>
                <a:cubicBezTo>
                  <a:pt x="3904179" y="775109"/>
                  <a:pt x="3904179" y="779100"/>
                  <a:pt x="3904179" y="779100"/>
                </a:cubicBezTo>
                <a:cubicBezTo>
                  <a:pt x="3904179" y="779100"/>
                  <a:pt x="3906174" y="781096"/>
                  <a:pt x="3906174" y="781096"/>
                </a:cubicBezTo>
                <a:cubicBezTo>
                  <a:pt x="3904179" y="783092"/>
                  <a:pt x="3908169" y="783092"/>
                  <a:pt x="3908169" y="783092"/>
                </a:cubicBezTo>
                <a:cubicBezTo>
                  <a:pt x="3908169" y="783092"/>
                  <a:pt x="3912159" y="785088"/>
                  <a:pt x="3910164" y="787083"/>
                </a:cubicBezTo>
                <a:cubicBezTo>
                  <a:pt x="3910164" y="789079"/>
                  <a:pt x="3912159" y="791075"/>
                  <a:pt x="3914154" y="789079"/>
                </a:cubicBezTo>
                <a:cubicBezTo>
                  <a:pt x="3916149" y="789079"/>
                  <a:pt x="3918144" y="795066"/>
                  <a:pt x="3916149" y="797062"/>
                </a:cubicBezTo>
                <a:cubicBezTo>
                  <a:pt x="3914154" y="799058"/>
                  <a:pt x="3918144" y="799058"/>
                  <a:pt x="3920139" y="799058"/>
                </a:cubicBezTo>
                <a:cubicBezTo>
                  <a:pt x="3922134" y="799058"/>
                  <a:pt x="3922134" y="801054"/>
                  <a:pt x="3922134" y="803049"/>
                </a:cubicBezTo>
                <a:cubicBezTo>
                  <a:pt x="3922134" y="805045"/>
                  <a:pt x="3920139" y="809037"/>
                  <a:pt x="3916149" y="811033"/>
                </a:cubicBezTo>
                <a:cubicBezTo>
                  <a:pt x="3912159" y="813028"/>
                  <a:pt x="3912159" y="817020"/>
                  <a:pt x="3914154" y="819016"/>
                </a:cubicBezTo>
                <a:cubicBezTo>
                  <a:pt x="3914154" y="819016"/>
                  <a:pt x="3914154" y="821011"/>
                  <a:pt x="3916149" y="823007"/>
                </a:cubicBezTo>
                <a:cubicBezTo>
                  <a:pt x="3916149" y="825003"/>
                  <a:pt x="3922134" y="825003"/>
                  <a:pt x="3926124" y="825003"/>
                </a:cubicBezTo>
                <a:cubicBezTo>
                  <a:pt x="3930115" y="823007"/>
                  <a:pt x="3934105" y="828995"/>
                  <a:pt x="3934105" y="830990"/>
                </a:cubicBezTo>
                <a:cubicBezTo>
                  <a:pt x="3932109" y="832986"/>
                  <a:pt x="3928119" y="834982"/>
                  <a:pt x="3924129" y="834982"/>
                </a:cubicBezTo>
                <a:cubicBezTo>
                  <a:pt x="3920139" y="834982"/>
                  <a:pt x="3920139" y="840969"/>
                  <a:pt x="3918144" y="840969"/>
                </a:cubicBezTo>
                <a:cubicBezTo>
                  <a:pt x="3916149" y="840969"/>
                  <a:pt x="3908169" y="840969"/>
                  <a:pt x="3906174" y="840969"/>
                </a:cubicBezTo>
                <a:cubicBezTo>
                  <a:pt x="3904179" y="836978"/>
                  <a:pt x="3906174" y="836978"/>
                  <a:pt x="3908169" y="834982"/>
                </a:cubicBezTo>
                <a:cubicBezTo>
                  <a:pt x="3908169" y="830990"/>
                  <a:pt x="3906174" y="830990"/>
                  <a:pt x="3904179" y="830990"/>
                </a:cubicBezTo>
                <a:cubicBezTo>
                  <a:pt x="3902184" y="830990"/>
                  <a:pt x="3904179" y="834982"/>
                  <a:pt x="3902184" y="836978"/>
                </a:cubicBezTo>
                <a:cubicBezTo>
                  <a:pt x="3902184" y="838973"/>
                  <a:pt x="3896199" y="840969"/>
                  <a:pt x="3894203" y="838973"/>
                </a:cubicBezTo>
                <a:cubicBezTo>
                  <a:pt x="3892209" y="838973"/>
                  <a:pt x="3892209" y="836978"/>
                  <a:pt x="3894203" y="832986"/>
                </a:cubicBezTo>
                <a:cubicBezTo>
                  <a:pt x="3894203" y="830990"/>
                  <a:pt x="3890213" y="830990"/>
                  <a:pt x="3890213" y="830990"/>
                </a:cubicBezTo>
                <a:cubicBezTo>
                  <a:pt x="3888219" y="830990"/>
                  <a:pt x="3886223" y="830990"/>
                  <a:pt x="3886223" y="826999"/>
                </a:cubicBezTo>
                <a:cubicBezTo>
                  <a:pt x="3886223" y="823007"/>
                  <a:pt x="3884229" y="823007"/>
                  <a:pt x="3882233" y="823007"/>
                </a:cubicBezTo>
                <a:cubicBezTo>
                  <a:pt x="3880238" y="823007"/>
                  <a:pt x="3878243" y="823007"/>
                  <a:pt x="3878243" y="821011"/>
                </a:cubicBezTo>
                <a:cubicBezTo>
                  <a:pt x="3878243" y="821011"/>
                  <a:pt x="3876248" y="819016"/>
                  <a:pt x="3874253" y="821011"/>
                </a:cubicBezTo>
                <a:cubicBezTo>
                  <a:pt x="3870263" y="821011"/>
                  <a:pt x="3870263" y="821011"/>
                  <a:pt x="3870263" y="821011"/>
                </a:cubicBezTo>
                <a:cubicBezTo>
                  <a:pt x="3870263" y="821011"/>
                  <a:pt x="3870263" y="819016"/>
                  <a:pt x="3866273" y="819016"/>
                </a:cubicBezTo>
                <a:cubicBezTo>
                  <a:pt x="3864278" y="819016"/>
                  <a:pt x="3864278" y="817020"/>
                  <a:pt x="3864278" y="815024"/>
                </a:cubicBezTo>
                <a:cubicBezTo>
                  <a:pt x="3866273" y="813028"/>
                  <a:pt x="3868268" y="811033"/>
                  <a:pt x="3866273" y="809037"/>
                </a:cubicBezTo>
                <a:cubicBezTo>
                  <a:pt x="3866273" y="807041"/>
                  <a:pt x="3864278" y="809037"/>
                  <a:pt x="3864278" y="809037"/>
                </a:cubicBezTo>
                <a:cubicBezTo>
                  <a:pt x="3864278" y="809037"/>
                  <a:pt x="3866273" y="815024"/>
                  <a:pt x="3860288" y="813028"/>
                </a:cubicBezTo>
                <a:cubicBezTo>
                  <a:pt x="3856298" y="813028"/>
                  <a:pt x="3858293" y="815024"/>
                  <a:pt x="3858293" y="815024"/>
                </a:cubicBezTo>
                <a:cubicBezTo>
                  <a:pt x="3858293" y="815024"/>
                  <a:pt x="3856298" y="819016"/>
                  <a:pt x="3854303" y="819016"/>
                </a:cubicBezTo>
                <a:cubicBezTo>
                  <a:pt x="3852308" y="819016"/>
                  <a:pt x="3848317" y="815024"/>
                  <a:pt x="3848317" y="815024"/>
                </a:cubicBezTo>
                <a:cubicBezTo>
                  <a:pt x="3846323" y="815024"/>
                  <a:pt x="3844327" y="813028"/>
                  <a:pt x="3844327" y="811033"/>
                </a:cubicBezTo>
                <a:cubicBezTo>
                  <a:pt x="3842333" y="807041"/>
                  <a:pt x="3842333" y="809037"/>
                  <a:pt x="3838342" y="807041"/>
                </a:cubicBezTo>
                <a:cubicBezTo>
                  <a:pt x="3836347" y="807041"/>
                  <a:pt x="3836347" y="803049"/>
                  <a:pt x="3836347" y="801054"/>
                </a:cubicBezTo>
                <a:cubicBezTo>
                  <a:pt x="3836347" y="799058"/>
                  <a:pt x="3836347" y="799058"/>
                  <a:pt x="3834352" y="799058"/>
                </a:cubicBezTo>
                <a:cubicBezTo>
                  <a:pt x="3832357" y="797062"/>
                  <a:pt x="3832357" y="795066"/>
                  <a:pt x="3832357" y="793071"/>
                </a:cubicBezTo>
                <a:cubicBezTo>
                  <a:pt x="3832357" y="791075"/>
                  <a:pt x="3828367" y="791075"/>
                  <a:pt x="3826372" y="791075"/>
                </a:cubicBezTo>
                <a:cubicBezTo>
                  <a:pt x="3822382" y="791075"/>
                  <a:pt x="3826372" y="789079"/>
                  <a:pt x="3826372" y="787083"/>
                </a:cubicBezTo>
                <a:cubicBezTo>
                  <a:pt x="3828367" y="785088"/>
                  <a:pt x="3826372" y="787083"/>
                  <a:pt x="3824377" y="785088"/>
                </a:cubicBezTo>
                <a:cubicBezTo>
                  <a:pt x="3822382" y="783092"/>
                  <a:pt x="3822382" y="785088"/>
                  <a:pt x="3820387" y="785088"/>
                </a:cubicBezTo>
                <a:cubicBezTo>
                  <a:pt x="3818392" y="787083"/>
                  <a:pt x="3814402" y="787083"/>
                  <a:pt x="3814402" y="785088"/>
                </a:cubicBezTo>
                <a:cubicBezTo>
                  <a:pt x="3814402" y="783092"/>
                  <a:pt x="3810412" y="785088"/>
                  <a:pt x="3810412" y="785088"/>
                </a:cubicBezTo>
                <a:cubicBezTo>
                  <a:pt x="3808417" y="787083"/>
                  <a:pt x="3804427" y="787083"/>
                  <a:pt x="3802431" y="785088"/>
                </a:cubicBezTo>
                <a:cubicBezTo>
                  <a:pt x="3802431" y="783092"/>
                  <a:pt x="3802431" y="781096"/>
                  <a:pt x="3804427" y="779100"/>
                </a:cubicBezTo>
                <a:cubicBezTo>
                  <a:pt x="3806422" y="777104"/>
                  <a:pt x="3802431" y="779100"/>
                  <a:pt x="3802431" y="779100"/>
                </a:cubicBezTo>
                <a:cubicBezTo>
                  <a:pt x="3802431" y="779100"/>
                  <a:pt x="3798441" y="779100"/>
                  <a:pt x="3798441" y="781096"/>
                </a:cubicBezTo>
                <a:cubicBezTo>
                  <a:pt x="3798441" y="783092"/>
                  <a:pt x="3798441" y="785088"/>
                  <a:pt x="3798441" y="785088"/>
                </a:cubicBezTo>
                <a:cubicBezTo>
                  <a:pt x="3796447" y="785088"/>
                  <a:pt x="3794451" y="785088"/>
                  <a:pt x="3794451" y="787083"/>
                </a:cubicBezTo>
                <a:cubicBezTo>
                  <a:pt x="3794451" y="789079"/>
                  <a:pt x="3790461" y="789079"/>
                  <a:pt x="3788466" y="787083"/>
                </a:cubicBezTo>
                <a:cubicBezTo>
                  <a:pt x="3786471" y="785088"/>
                  <a:pt x="3782481" y="787083"/>
                  <a:pt x="3782481" y="789079"/>
                </a:cubicBezTo>
                <a:cubicBezTo>
                  <a:pt x="3780486" y="791075"/>
                  <a:pt x="3778491" y="791075"/>
                  <a:pt x="3776496" y="791075"/>
                </a:cubicBezTo>
                <a:cubicBezTo>
                  <a:pt x="3774501" y="789079"/>
                  <a:pt x="3770511" y="791075"/>
                  <a:pt x="3770511" y="791075"/>
                </a:cubicBezTo>
                <a:cubicBezTo>
                  <a:pt x="3770511" y="791075"/>
                  <a:pt x="3764526" y="791075"/>
                  <a:pt x="3764526" y="789079"/>
                </a:cubicBezTo>
                <a:cubicBezTo>
                  <a:pt x="3762531" y="787083"/>
                  <a:pt x="3764526" y="787083"/>
                  <a:pt x="3764526" y="785088"/>
                </a:cubicBezTo>
                <a:cubicBezTo>
                  <a:pt x="3766521" y="785088"/>
                  <a:pt x="3766521" y="781096"/>
                  <a:pt x="3764526" y="781096"/>
                </a:cubicBezTo>
                <a:cubicBezTo>
                  <a:pt x="3762531" y="779100"/>
                  <a:pt x="3764526" y="777104"/>
                  <a:pt x="3764526" y="777104"/>
                </a:cubicBezTo>
                <a:cubicBezTo>
                  <a:pt x="3764526" y="775109"/>
                  <a:pt x="3766521" y="773113"/>
                  <a:pt x="3764526" y="771117"/>
                </a:cubicBezTo>
                <a:cubicBezTo>
                  <a:pt x="3762531" y="771117"/>
                  <a:pt x="3760535" y="773113"/>
                  <a:pt x="3758541" y="773113"/>
                </a:cubicBezTo>
                <a:cubicBezTo>
                  <a:pt x="3754551" y="775109"/>
                  <a:pt x="3754551" y="773113"/>
                  <a:pt x="3754551" y="771117"/>
                </a:cubicBezTo>
                <a:cubicBezTo>
                  <a:pt x="3754551" y="769121"/>
                  <a:pt x="3752555" y="767126"/>
                  <a:pt x="3752555" y="767126"/>
                </a:cubicBezTo>
                <a:cubicBezTo>
                  <a:pt x="3750561" y="767126"/>
                  <a:pt x="3750561" y="767126"/>
                  <a:pt x="3748565" y="765130"/>
                </a:cubicBezTo>
                <a:cubicBezTo>
                  <a:pt x="3748565" y="763134"/>
                  <a:pt x="3750561" y="761138"/>
                  <a:pt x="3750561" y="761138"/>
                </a:cubicBezTo>
                <a:cubicBezTo>
                  <a:pt x="3754551" y="759142"/>
                  <a:pt x="3752555" y="757147"/>
                  <a:pt x="3750561" y="755151"/>
                </a:cubicBezTo>
                <a:cubicBezTo>
                  <a:pt x="3748565" y="755151"/>
                  <a:pt x="3748565" y="751159"/>
                  <a:pt x="3750561" y="751159"/>
                </a:cubicBezTo>
                <a:cubicBezTo>
                  <a:pt x="3752555" y="749164"/>
                  <a:pt x="3754551" y="747168"/>
                  <a:pt x="3752555" y="747168"/>
                </a:cubicBezTo>
                <a:cubicBezTo>
                  <a:pt x="3750561" y="745172"/>
                  <a:pt x="3750561" y="743176"/>
                  <a:pt x="3750561" y="743176"/>
                </a:cubicBezTo>
                <a:cubicBezTo>
                  <a:pt x="3750561" y="743176"/>
                  <a:pt x="3750561" y="739185"/>
                  <a:pt x="3746570" y="739185"/>
                </a:cubicBezTo>
                <a:cubicBezTo>
                  <a:pt x="3744575" y="739185"/>
                  <a:pt x="3746570" y="745172"/>
                  <a:pt x="3746570" y="745172"/>
                </a:cubicBezTo>
                <a:cubicBezTo>
                  <a:pt x="3746570" y="745172"/>
                  <a:pt x="3740585" y="753155"/>
                  <a:pt x="3738590" y="753155"/>
                </a:cubicBezTo>
                <a:cubicBezTo>
                  <a:pt x="3734600" y="753155"/>
                  <a:pt x="3736595" y="749164"/>
                  <a:pt x="3736595" y="745172"/>
                </a:cubicBezTo>
                <a:cubicBezTo>
                  <a:pt x="3736595" y="741180"/>
                  <a:pt x="3734600" y="743176"/>
                  <a:pt x="3732605" y="745172"/>
                </a:cubicBezTo>
                <a:cubicBezTo>
                  <a:pt x="3730610" y="747168"/>
                  <a:pt x="3730610" y="751159"/>
                  <a:pt x="3730610" y="753155"/>
                </a:cubicBezTo>
                <a:cubicBezTo>
                  <a:pt x="3730610" y="755151"/>
                  <a:pt x="3732605" y="757147"/>
                  <a:pt x="3730610" y="757147"/>
                </a:cubicBezTo>
                <a:cubicBezTo>
                  <a:pt x="3726620" y="757147"/>
                  <a:pt x="3726620" y="757147"/>
                  <a:pt x="3724625" y="759142"/>
                </a:cubicBezTo>
                <a:cubicBezTo>
                  <a:pt x="3724625" y="761138"/>
                  <a:pt x="3724625" y="767126"/>
                  <a:pt x="3728615" y="769121"/>
                </a:cubicBezTo>
                <a:cubicBezTo>
                  <a:pt x="3734600" y="771117"/>
                  <a:pt x="3732605" y="773113"/>
                  <a:pt x="3732605" y="775109"/>
                </a:cubicBezTo>
                <a:cubicBezTo>
                  <a:pt x="3732605" y="777104"/>
                  <a:pt x="3734600" y="779100"/>
                  <a:pt x="3736595" y="777104"/>
                </a:cubicBezTo>
                <a:cubicBezTo>
                  <a:pt x="3738590" y="777104"/>
                  <a:pt x="3740585" y="781096"/>
                  <a:pt x="3738590" y="783092"/>
                </a:cubicBezTo>
                <a:cubicBezTo>
                  <a:pt x="3736595" y="785088"/>
                  <a:pt x="3738590" y="787083"/>
                  <a:pt x="3738590" y="787083"/>
                </a:cubicBezTo>
                <a:cubicBezTo>
                  <a:pt x="3738590" y="787083"/>
                  <a:pt x="3738590" y="793071"/>
                  <a:pt x="3740585" y="795066"/>
                </a:cubicBezTo>
                <a:cubicBezTo>
                  <a:pt x="3740585" y="797062"/>
                  <a:pt x="3738590" y="807041"/>
                  <a:pt x="3738590" y="807041"/>
                </a:cubicBezTo>
                <a:cubicBezTo>
                  <a:pt x="3734600" y="805045"/>
                  <a:pt x="3734600" y="807041"/>
                  <a:pt x="3734600" y="807041"/>
                </a:cubicBezTo>
                <a:cubicBezTo>
                  <a:pt x="3734600" y="807041"/>
                  <a:pt x="3734600" y="811033"/>
                  <a:pt x="3732605" y="811033"/>
                </a:cubicBezTo>
                <a:cubicBezTo>
                  <a:pt x="3730610" y="811033"/>
                  <a:pt x="3730610" y="815024"/>
                  <a:pt x="3730610" y="815024"/>
                </a:cubicBezTo>
                <a:cubicBezTo>
                  <a:pt x="3730610" y="815024"/>
                  <a:pt x="3730610" y="819016"/>
                  <a:pt x="3728615" y="819016"/>
                </a:cubicBezTo>
                <a:cubicBezTo>
                  <a:pt x="3726620" y="819016"/>
                  <a:pt x="3726620" y="821011"/>
                  <a:pt x="3726620" y="821011"/>
                </a:cubicBezTo>
                <a:cubicBezTo>
                  <a:pt x="3726620" y="821011"/>
                  <a:pt x="3720635" y="825003"/>
                  <a:pt x="3720635" y="825003"/>
                </a:cubicBezTo>
                <a:cubicBezTo>
                  <a:pt x="3720635" y="826999"/>
                  <a:pt x="3720635" y="828995"/>
                  <a:pt x="3716645" y="828995"/>
                </a:cubicBezTo>
                <a:cubicBezTo>
                  <a:pt x="3714649" y="830990"/>
                  <a:pt x="3714649" y="828995"/>
                  <a:pt x="3714649" y="826999"/>
                </a:cubicBezTo>
                <a:cubicBezTo>
                  <a:pt x="3714649" y="825003"/>
                  <a:pt x="3714649" y="825003"/>
                  <a:pt x="3718640" y="823007"/>
                </a:cubicBezTo>
                <a:cubicBezTo>
                  <a:pt x="3720635" y="821011"/>
                  <a:pt x="3718640" y="821011"/>
                  <a:pt x="3716645" y="819016"/>
                </a:cubicBezTo>
                <a:cubicBezTo>
                  <a:pt x="3714649" y="819016"/>
                  <a:pt x="3714649" y="821011"/>
                  <a:pt x="3712655" y="823007"/>
                </a:cubicBezTo>
                <a:cubicBezTo>
                  <a:pt x="3712655" y="825003"/>
                  <a:pt x="3710659" y="825003"/>
                  <a:pt x="3708665" y="825003"/>
                </a:cubicBezTo>
                <a:cubicBezTo>
                  <a:pt x="3704674" y="825003"/>
                  <a:pt x="3704674" y="825003"/>
                  <a:pt x="3704674" y="825003"/>
                </a:cubicBezTo>
                <a:cubicBezTo>
                  <a:pt x="3702679" y="826999"/>
                  <a:pt x="3702679" y="826999"/>
                  <a:pt x="3700684" y="825003"/>
                </a:cubicBezTo>
                <a:cubicBezTo>
                  <a:pt x="3698689" y="825003"/>
                  <a:pt x="3696694" y="825003"/>
                  <a:pt x="3696694" y="825003"/>
                </a:cubicBezTo>
                <a:cubicBezTo>
                  <a:pt x="3696694" y="825003"/>
                  <a:pt x="3694699" y="826999"/>
                  <a:pt x="3692704" y="826999"/>
                </a:cubicBezTo>
                <a:cubicBezTo>
                  <a:pt x="3690709" y="826999"/>
                  <a:pt x="3690709" y="825003"/>
                  <a:pt x="3690709" y="825003"/>
                </a:cubicBezTo>
                <a:cubicBezTo>
                  <a:pt x="3690709" y="825003"/>
                  <a:pt x="3690709" y="823007"/>
                  <a:pt x="3688714" y="823007"/>
                </a:cubicBezTo>
                <a:cubicBezTo>
                  <a:pt x="3686719" y="821011"/>
                  <a:pt x="3686719" y="819016"/>
                  <a:pt x="3686719" y="819016"/>
                </a:cubicBezTo>
                <a:cubicBezTo>
                  <a:pt x="3686719" y="819016"/>
                  <a:pt x="3686719" y="817020"/>
                  <a:pt x="3684724" y="817020"/>
                </a:cubicBezTo>
                <a:cubicBezTo>
                  <a:pt x="3682729" y="817020"/>
                  <a:pt x="3682729" y="815024"/>
                  <a:pt x="3682729" y="813028"/>
                </a:cubicBezTo>
                <a:cubicBezTo>
                  <a:pt x="3682729" y="811033"/>
                  <a:pt x="3682729" y="811033"/>
                  <a:pt x="3680734" y="811033"/>
                </a:cubicBezTo>
                <a:cubicBezTo>
                  <a:pt x="3678739" y="813028"/>
                  <a:pt x="3676744" y="811033"/>
                  <a:pt x="3674749" y="811033"/>
                </a:cubicBezTo>
                <a:cubicBezTo>
                  <a:pt x="3674749" y="811033"/>
                  <a:pt x="3674749" y="809037"/>
                  <a:pt x="3672754" y="809037"/>
                </a:cubicBezTo>
                <a:cubicBezTo>
                  <a:pt x="3670759" y="809037"/>
                  <a:pt x="3670759" y="811033"/>
                  <a:pt x="3672754" y="813028"/>
                </a:cubicBezTo>
                <a:cubicBezTo>
                  <a:pt x="3672754" y="815024"/>
                  <a:pt x="3674749" y="813028"/>
                  <a:pt x="3674749" y="815024"/>
                </a:cubicBezTo>
                <a:cubicBezTo>
                  <a:pt x="3676744" y="819016"/>
                  <a:pt x="3672754" y="819016"/>
                  <a:pt x="3672754" y="819016"/>
                </a:cubicBezTo>
                <a:cubicBezTo>
                  <a:pt x="3672754" y="819016"/>
                  <a:pt x="3670759" y="821011"/>
                  <a:pt x="3670759" y="819016"/>
                </a:cubicBezTo>
                <a:cubicBezTo>
                  <a:pt x="3668763" y="817020"/>
                  <a:pt x="3666769" y="819016"/>
                  <a:pt x="3664773" y="819016"/>
                </a:cubicBezTo>
                <a:cubicBezTo>
                  <a:pt x="3662779" y="821011"/>
                  <a:pt x="3662779" y="819016"/>
                  <a:pt x="3660783" y="817020"/>
                </a:cubicBezTo>
                <a:cubicBezTo>
                  <a:pt x="3658788" y="817020"/>
                  <a:pt x="3658788" y="819016"/>
                  <a:pt x="3658788" y="823007"/>
                </a:cubicBezTo>
                <a:cubicBezTo>
                  <a:pt x="3658788" y="825003"/>
                  <a:pt x="3662779" y="825003"/>
                  <a:pt x="3664773" y="825003"/>
                </a:cubicBezTo>
                <a:cubicBezTo>
                  <a:pt x="3666769" y="825003"/>
                  <a:pt x="3666769" y="826999"/>
                  <a:pt x="3668763" y="826999"/>
                </a:cubicBezTo>
                <a:cubicBezTo>
                  <a:pt x="3670759" y="828995"/>
                  <a:pt x="3674749" y="825003"/>
                  <a:pt x="3674749" y="825003"/>
                </a:cubicBezTo>
                <a:cubicBezTo>
                  <a:pt x="3674749" y="825003"/>
                  <a:pt x="3676744" y="821011"/>
                  <a:pt x="3678739" y="819016"/>
                </a:cubicBezTo>
                <a:cubicBezTo>
                  <a:pt x="3682729" y="817020"/>
                  <a:pt x="3684724" y="823007"/>
                  <a:pt x="3682729" y="823007"/>
                </a:cubicBezTo>
                <a:cubicBezTo>
                  <a:pt x="3680734" y="825003"/>
                  <a:pt x="3682729" y="825003"/>
                  <a:pt x="3682729" y="826999"/>
                </a:cubicBezTo>
                <a:cubicBezTo>
                  <a:pt x="3680734" y="828995"/>
                  <a:pt x="3682729" y="830990"/>
                  <a:pt x="3684724" y="832986"/>
                </a:cubicBezTo>
                <a:cubicBezTo>
                  <a:pt x="3688714" y="834982"/>
                  <a:pt x="3690709" y="836978"/>
                  <a:pt x="3692704" y="836978"/>
                </a:cubicBezTo>
                <a:cubicBezTo>
                  <a:pt x="3696694" y="836978"/>
                  <a:pt x="3696694" y="838973"/>
                  <a:pt x="3698689" y="840969"/>
                </a:cubicBezTo>
                <a:cubicBezTo>
                  <a:pt x="3698689" y="840969"/>
                  <a:pt x="3700684" y="842965"/>
                  <a:pt x="3702679" y="842965"/>
                </a:cubicBezTo>
                <a:cubicBezTo>
                  <a:pt x="3704674" y="844961"/>
                  <a:pt x="3706669" y="842965"/>
                  <a:pt x="3708665" y="840969"/>
                </a:cubicBezTo>
                <a:cubicBezTo>
                  <a:pt x="3710659" y="840969"/>
                  <a:pt x="3710659" y="838973"/>
                  <a:pt x="3710659" y="836978"/>
                </a:cubicBezTo>
                <a:cubicBezTo>
                  <a:pt x="3708665" y="834982"/>
                  <a:pt x="3710659" y="834982"/>
                  <a:pt x="3712655" y="834982"/>
                </a:cubicBezTo>
                <a:cubicBezTo>
                  <a:pt x="3714649" y="832986"/>
                  <a:pt x="3716645" y="836978"/>
                  <a:pt x="3716645" y="836978"/>
                </a:cubicBezTo>
                <a:cubicBezTo>
                  <a:pt x="3716645" y="836978"/>
                  <a:pt x="3718640" y="842965"/>
                  <a:pt x="3720635" y="842965"/>
                </a:cubicBezTo>
                <a:cubicBezTo>
                  <a:pt x="3722630" y="842965"/>
                  <a:pt x="3726620" y="846956"/>
                  <a:pt x="3722630" y="848952"/>
                </a:cubicBezTo>
                <a:cubicBezTo>
                  <a:pt x="3720635" y="850948"/>
                  <a:pt x="3718640" y="848952"/>
                  <a:pt x="3716645" y="846956"/>
                </a:cubicBezTo>
                <a:cubicBezTo>
                  <a:pt x="3714649" y="846956"/>
                  <a:pt x="3712655" y="846956"/>
                  <a:pt x="3714649" y="848952"/>
                </a:cubicBezTo>
                <a:cubicBezTo>
                  <a:pt x="3714649" y="852944"/>
                  <a:pt x="3716645" y="852944"/>
                  <a:pt x="3720635" y="852944"/>
                </a:cubicBezTo>
                <a:cubicBezTo>
                  <a:pt x="3722630" y="850948"/>
                  <a:pt x="3720635" y="852944"/>
                  <a:pt x="3722630" y="854940"/>
                </a:cubicBezTo>
                <a:cubicBezTo>
                  <a:pt x="3724625" y="856935"/>
                  <a:pt x="3724625" y="854940"/>
                  <a:pt x="3726620" y="854940"/>
                </a:cubicBezTo>
                <a:cubicBezTo>
                  <a:pt x="3728615" y="852944"/>
                  <a:pt x="3732605" y="852944"/>
                  <a:pt x="3732605" y="856935"/>
                </a:cubicBezTo>
                <a:cubicBezTo>
                  <a:pt x="3734600" y="860927"/>
                  <a:pt x="3730610" y="860927"/>
                  <a:pt x="3728615" y="860927"/>
                </a:cubicBezTo>
                <a:cubicBezTo>
                  <a:pt x="3726620" y="862923"/>
                  <a:pt x="3732605" y="864918"/>
                  <a:pt x="3732605" y="864918"/>
                </a:cubicBezTo>
                <a:cubicBezTo>
                  <a:pt x="3732605" y="864918"/>
                  <a:pt x="3734600" y="862923"/>
                  <a:pt x="3738590" y="862923"/>
                </a:cubicBezTo>
                <a:cubicBezTo>
                  <a:pt x="3742580" y="864918"/>
                  <a:pt x="3744575" y="870906"/>
                  <a:pt x="3744575" y="870906"/>
                </a:cubicBezTo>
                <a:cubicBezTo>
                  <a:pt x="3744575" y="870906"/>
                  <a:pt x="3744575" y="870906"/>
                  <a:pt x="3748565" y="874897"/>
                </a:cubicBezTo>
                <a:cubicBezTo>
                  <a:pt x="3748565" y="874897"/>
                  <a:pt x="3752555" y="874897"/>
                  <a:pt x="3754551" y="878889"/>
                </a:cubicBezTo>
                <a:cubicBezTo>
                  <a:pt x="3758541" y="882880"/>
                  <a:pt x="3760535" y="882880"/>
                  <a:pt x="3760535" y="882880"/>
                </a:cubicBezTo>
                <a:cubicBezTo>
                  <a:pt x="3760535" y="882880"/>
                  <a:pt x="3764526" y="882880"/>
                  <a:pt x="3764526" y="884876"/>
                </a:cubicBezTo>
                <a:cubicBezTo>
                  <a:pt x="3766521" y="888868"/>
                  <a:pt x="3764526" y="888868"/>
                  <a:pt x="3764526" y="888868"/>
                </a:cubicBezTo>
                <a:cubicBezTo>
                  <a:pt x="3764526" y="888868"/>
                  <a:pt x="3760535" y="888868"/>
                  <a:pt x="3758541" y="892859"/>
                </a:cubicBezTo>
                <a:cubicBezTo>
                  <a:pt x="3756545" y="894855"/>
                  <a:pt x="3758541" y="894855"/>
                  <a:pt x="3762531" y="894855"/>
                </a:cubicBezTo>
                <a:cubicBezTo>
                  <a:pt x="3766521" y="894855"/>
                  <a:pt x="3766521" y="896851"/>
                  <a:pt x="3766521" y="898847"/>
                </a:cubicBezTo>
                <a:cubicBezTo>
                  <a:pt x="3766521" y="900842"/>
                  <a:pt x="3766521" y="900842"/>
                  <a:pt x="3768516" y="902838"/>
                </a:cubicBezTo>
                <a:cubicBezTo>
                  <a:pt x="3772506" y="902838"/>
                  <a:pt x="3772506" y="904834"/>
                  <a:pt x="3772506" y="904834"/>
                </a:cubicBezTo>
                <a:cubicBezTo>
                  <a:pt x="3772506" y="904834"/>
                  <a:pt x="3770511" y="906830"/>
                  <a:pt x="3772506" y="906830"/>
                </a:cubicBezTo>
                <a:cubicBezTo>
                  <a:pt x="3774501" y="906830"/>
                  <a:pt x="3774501" y="906830"/>
                  <a:pt x="3774501" y="908825"/>
                </a:cubicBezTo>
                <a:cubicBezTo>
                  <a:pt x="3774501" y="908825"/>
                  <a:pt x="3774501" y="912817"/>
                  <a:pt x="3772506" y="912817"/>
                </a:cubicBezTo>
                <a:cubicBezTo>
                  <a:pt x="3770511" y="912817"/>
                  <a:pt x="3768516" y="914813"/>
                  <a:pt x="3770511" y="916809"/>
                </a:cubicBezTo>
                <a:cubicBezTo>
                  <a:pt x="3770511" y="920800"/>
                  <a:pt x="3768516" y="920800"/>
                  <a:pt x="3768516" y="920800"/>
                </a:cubicBezTo>
                <a:cubicBezTo>
                  <a:pt x="3768516" y="920800"/>
                  <a:pt x="3766521" y="920800"/>
                  <a:pt x="3766521" y="922796"/>
                </a:cubicBezTo>
                <a:cubicBezTo>
                  <a:pt x="3764526" y="924792"/>
                  <a:pt x="3768516" y="924792"/>
                  <a:pt x="3768516" y="924792"/>
                </a:cubicBezTo>
                <a:cubicBezTo>
                  <a:pt x="3768516" y="924792"/>
                  <a:pt x="3772506" y="928783"/>
                  <a:pt x="3770511" y="930779"/>
                </a:cubicBezTo>
                <a:cubicBezTo>
                  <a:pt x="3768516" y="934770"/>
                  <a:pt x="3764526" y="930779"/>
                  <a:pt x="3764526" y="930779"/>
                </a:cubicBezTo>
                <a:cubicBezTo>
                  <a:pt x="3764526" y="930779"/>
                  <a:pt x="3760535" y="926787"/>
                  <a:pt x="3760535" y="924792"/>
                </a:cubicBezTo>
                <a:cubicBezTo>
                  <a:pt x="3760535" y="922796"/>
                  <a:pt x="3754551" y="920800"/>
                  <a:pt x="3750561" y="920800"/>
                </a:cubicBezTo>
                <a:cubicBezTo>
                  <a:pt x="3746570" y="920800"/>
                  <a:pt x="3748565" y="918804"/>
                  <a:pt x="3746570" y="916809"/>
                </a:cubicBezTo>
                <a:cubicBezTo>
                  <a:pt x="3746570" y="914813"/>
                  <a:pt x="3736595" y="914813"/>
                  <a:pt x="3732605" y="914813"/>
                </a:cubicBezTo>
                <a:cubicBezTo>
                  <a:pt x="3730610" y="914813"/>
                  <a:pt x="3720635" y="918804"/>
                  <a:pt x="3718640" y="918804"/>
                </a:cubicBezTo>
                <a:cubicBezTo>
                  <a:pt x="3714649" y="918804"/>
                  <a:pt x="3712655" y="916809"/>
                  <a:pt x="3708665" y="918804"/>
                </a:cubicBezTo>
                <a:cubicBezTo>
                  <a:pt x="3706669" y="920800"/>
                  <a:pt x="3706669" y="918804"/>
                  <a:pt x="3704674" y="918804"/>
                </a:cubicBezTo>
                <a:cubicBezTo>
                  <a:pt x="3700684" y="918804"/>
                  <a:pt x="3702679" y="922796"/>
                  <a:pt x="3702679" y="926787"/>
                </a:cubicBezTo>
                <a:cubicBezTo>
                  <a:pt x="3702679" y="928783"/>
                  <a:pt x="3698689" y="930779"/>
                  <a:pt x="3698689" y="930779"/>
                </a:cubicBezTo>
                <a:cubicBezTo>
                  <a:pt x="3698689" y="930779"/>
                  <a:pt x="3696694" y="930779"/>
                  <a:pt x="3694699" y="930779"/>
                </a:cubicBezTo>
                <a:cubicBezTo>
                  <a:pt x="3690709" y="932775"/>
                  <a:pt x="3690709" y="932775"/>
                  <a:pt x="3688714" y="930779"/>
                </a:cubicBezTo>
                <a:cubicBezTo>
                  <a:pt x="3686719" y="930779"/>
                  <a:pt x="3686719" y="930779"/>
                  <a:pt x="3682729" y="932775"/>
                </a:cubicBezTo>
                <a:cubicBezTo>
                  <a:pt x="3680734" y="934770"/>
                  <a:pt x="3678739" y="928783"/>
                  <a:pt x="3678739" y="928783"/>
                </a:cubicBezTo>
                <a:cubicBezTo>
                  <a:pt x="3678739" y="928783"/>
                  <a:pt x="3680734" y="924792"/>
                  <a:pt x="3676744" y="926787"/>
                </a:cubicBezTo>
                <a:cubicBezTo>
                  <a:pt x="3674749" y="926787"/>
                  <a:pt x="3674749" y="934770"/>
                  <a:pt x="3672754" y="938762"/>
                </a:cubicBezTo>
                <a:cubicBezTo>
                  <a:pt x="3672754" y="938762"/>
                  <a:pt x="3670759" y="940758"/>
                  <a:pt x="3666769" y="940758"/>
                </a:cubicBezTo>
                <a:cubicBezTo>
                  <a:pt x="3666769" y="938762"/>
                  <a:pt x="3664773" y="942754"/>
                  <a:pt x="3662779" y="942754"/>
                </a:cubicBezTo>
                <a:cubicBezTo>
                  <a:pt x="3658788" y="944749"/>
                  <a:pt x="3658788" y="942754"/>
                  <a:pt x="3656793" y="942754"/>
                </a:cubicBezTo>
                <a:cubicBezTo>
                  <a:pt x="3654798" y="942754"/>
                  <a:pt x="3654798" y="944749"/>
                  <a:pt x="3654798" y="946745"/>
                </a:cubicBezTo>
                <a:cubicBezTo>
                  <a:pt x="3654798" y="950737"/>
                  <a:pt x="3650808" y="948741"/>
                  <a:pt x="3650808" y="946745"/>
                </a:cubicBezTo>
                <a:cubicBezTo>
                  <a:pt x="3650808" y="944749"/>
                  <a:pt x="3648813" y="942754"/>
                  <a:pt x="3646818" y="940758"/>
                </a:cubicBezTo>
                <a:cubicBezTo>
                  <a:pt x="3644823" y="938762"/>
                  <a:pt x="3642828" y="942754"/>
                  <a:pt x="3642828" y="942754"/>
                </a:cubicBezTo>
                <a:cubicBezTo>
                  <a:pt x="3642828" y="942754"/>
                  <a:pt x="3642828" y="946745"/>
                  <a:pt x="3640833" y="950737"/>
                </a:cubicBezTo>
                <a:cubicBezTo>
                  <a:pt x="3640833" y="952732"/>
                  <a:pt x="3642828" y="954728"/>
                  <a:pt x="3640833" y="956724"/>
                </a:cubicBezTo>
                <a:cubicBezTo>
                  <a:pt x="3638838" y="958720"/>
                  <a:pt x="3636843" y="956724"/>
                  <a:pt x="3636843" y="954728"/>
                </a:cubicBezTo>
                <a:cubicBezTo>
                  <a:pt x="3636843" y="952732"/>
                  <a:pt x="3632853" y="954728"/>
                  <a:pt x="3632853" y="954728"/>
                </a:cubicBezTo>
                <a:cubicBezTo>
                  <a:pt x="3632853" y="954728"/>
                  <a:pt x="3630858" y="956724"/>
                  <a:pt x="3628863" y="960716"/>
                </a:cubicBezTo>
                <a:cubicBezTo>
                  <a:pt x="3628863" y="962711"/>
                  <a:pt x="3630858" y="960716"/>
                  <a:pt x="3634848" y="960716"/>
                </a:cubicBezTo>
                <a:cubicBezTo>
                  <a:pt x="3636843" y="960716"/>
                  <a:pt x="3636843" y="962711"/>
                  <a:pt x="3636843" y="964707"/>
                </a:cubicBezTo>
                <a:cubicBezTo>
                  <a:pt x="3634848" y="968699"/>
                  <a:pt x="3632853" y="966703"/>
                  <a:pt x="3632853" y="966703"/>
                </a:cubicBezTo>
                <a:cubicBezTo>
                  <a:pt x="3632853" y="966703"/>
                  <a:pt x="3628863" y="962711"/>
                  <a:pt x="3628863" y="966703"/>
                </a:cubicBezTo>
                <a:cubicBezTo>
                  <a:pt x="3626867" y="968699"/>
                  <a:pt x="3632853" y="968699"/>
                  <a:pt x="3632853" y="972690"/>
                </a:cubicBezTo>
                <a:cubicBezTo>
                  <a:pt x="3632853" y="974686"/>
                  <a:pt x="3628863" y="974686"/>
                  <a:pt x="3626867" y="972690"/>
                </a:cubicBezTo>
                <a:cubicBezTo>
                  <a:pt x="3624873" y="972690"/>
                  <a:pt x="3624873" y="976682"/>
                  <a:pt x="3624873" y="978677"/>
                </a:cubicBezTo>
                <a:cubicBezTo>
                  <a:pt x="3624873" y="980673"/>
                  <a:pt x="3622877" y="982669"/>
                  <a:pt x="3620883" y="982669"/>
                </a:cubicBezTo>
                <a:cubicBezTo>
                  <a:pt x="3616893" y="982669"/>
                  <a:pt x="3618887" y="986661"/>
                  <a:pt x="3618887" y="986661"/>
                </a:cubicBezTo>
                <a:cubicBezTo>
                  <a:pt x="3618887" y="988656"/>
                  <a:pt x="3614897" y="990652"/>
                  <a:pt x="3612902" y="990652"/>
                </a:cubicBezTo>
                <a:cubicBezTo>
                  <a:pt x="3610907" y="990652"/>
                  <a:pt x="3608912" y="990652"/>
                  <a:pt x="3608912" y="992648"/>
                </a:cubicBezTo>
                <a:cubicBezTo>
                  <a:pt x="3608912" y="994644"/>
                  <a:pt x="3606917" y="994644"/>
                  <a:pt x="3604922" y="992648"/>
                </a:cubicBezTo>
                <a:cubicBezTo>
                  <a:pt x="3602927" y="992648"/>
                  <a:pt x="3600932" y="994644"/>
                  <a:pt x="3600932" y="996639"/>
                </a:cubicBezTo>
                <a:cubicBezTo>
                  <a:pt x="3600932" y="996639"/>
                  <a:pt x="3600932" y="998635"/>
                  <a:pt x="3598937" y="998635"/>
                </a:cubicBezTo>
                <a:cubicBezTo>
                  <a:pt x="3596942" y="998635"/>
                  <a:pt x="3598937" y="1000631"/>
                  <a:pt x="3598937" y="1002627"/>
                </a:cubicBezTo>
                <a:cubicBezTo>
                  <a:pt x="3598937" y="1006618"/>
                  <a:pt x="3594947" y="1004623"/>
                  <a:pt x="3594947" y="1006618"/>
                </a:cubicBezTo>
                <a:cubicBezTo>
                  <a:pt x="3592952" y="1006618"/>
                  <a:pt x="3592952" y="1010610"/>
                  <a:pt x="3594947" y="1010610"/>
                </a:cubicBezTo>
                <a:cubicBezTo>
                  <a:pt x="3596942" y="1010610"/>
                  <a:pt x="3596942" y="1012606"/>
                  <a:pt x="3596942" y="1012606"/>
                </a:cubicBezTo>
                <a:cubicBezTo>
                  <a:pt x="3596942" y="1012606"/>
                  <a:pt x="3598937" y="1018593"/>
                  <a:pt x="3596942" y="1020589"/>
                </a:cubicBezTo>
                <a:cubicBezTo>
                  <a:pt x="3594947" y="1020589"/>
                  <a:pt x="3592952" y="1018593"/>
                  <a:pt x="3590957" y="1018593"/>
                </a:cubicBezTo>
                <a:cubicBezTo>
                  <a:pt x="3590957" y="1016597"/>
                  <a:pt x="3588962" y="1014601"/>
                  <a:pt x="3590957" y="1012606"/>
                </a:cubicBezTo>
                <a:cubicBezTo>
                  <a:pt x="3590957" y="1010610"/>
                  <a:pt x="3588962" y="1008614"/>
                  <a:pt x="3586967" y="1008614"/>
                </a:cubicBezTo>
                <a:cubicBezTo>
                  <a:pt x="3584972" y="1008614"/>
                  <a:pt x="3584972" y="1006618"/>
                  <a:pt x="3584972" y="1006618"/>
                </a:cubicBezTo>
                <a:cubicBezTo>
                  <a:pt x="3584972" y="1004623"/>
                  <a:pt x="3580981" y="1004623"/>
                  <a:pt x="3580981" y="1004623"/>
                </a:cubicBezTo>
                <a:cubicBezTo>
                  <a:pt x="3580981" y="1004623"/>
                  <a:pt x="3578987" y="1002627"/>
                  <a:pt x="3574997" y="1002627"/>
                </a:cubicBezTo>
                <a:cubicBezTo>
                  <a:pt x="3573001" y="1002627"/>
                  <a:pt x="3571006" y="1000631"/>
                  <a:pt x="3571006" y="998635"/>
                </a:cubicBezTo>
                <a:cubicBezTo>
                  <a:pt x="3569011" y="996639"/>
                  <a:pt x="3565021" y="996639"/>
                  <a:pt x="3565021" y="996639"/>
                </a:cubicBezTo>
                <a:cubicBezTo>
                  <a:pt x="3561031" y="996639"/>
                  <a:pt x="3559036" y="996639"/>
                  <a:pt x="3559036" y="994644"/>
                </a:cubicBezTo>
                <a:cubicBezTo>
                  <a:pt x="3559036" y="992648"/>
                  <a:pt x="3559036" y="992648"/>
                  <a:pt x="3557041" y="992648"/>
                </a:cubicBezTo>
                <a:cubicBezTo>
                  <a:pt x="3555046" y="992648"/>
                  <a:pt x="3553051" y="992648"/>
                  <a:pt x="3549061" y="992648"/>
                </a:cubicBezTo>
                <a:cubicBezTo>
                  <a:pt x="3545071" y="994644"/>
                  <a:pt x="3543076" y="992648"/>
                  <a:pt x="3543076" y="992648"/>
                </a:cubicBezTo>
                <a:cubicBezTo>
                  <a:pt x="3541081" y="990652"/>
                  <a:pt x="3537091" y="990652"/>
                  <a:pt x="3537091" y="990652"/>
                </a:cubicBezTo>
                <a:cubicBezTo>
                  <a:pt x="3535095" y="992648"/>
                  <a:pt x="3533101" y="992648"/>
                  <a:pt x="3531105" y="992648"/>
                </a:cubicBezTo>
                <a:cubicBezTo>
                  <a:pt x="3527115" y="992648"/>
                  <a:pt x="3527115" y="994644"/>
                  <a:pt x="3527115" y="996639"/>
                </a:cubicBezTo>
                <a:cubicBezTo>
                  <a:pt x="3525120" y="998635"/>
                  <a:pt x="3523125" y="1000631"/>
                  <a:pt x="3519135" y="1000631"/>
                </a:cubicBezTo>
                <a:cubicBezTo>
                  <a:pt x="3515145" y="1000631"/>
                  <a:pt x="3517140" y="1006618"/>
                  <a:pt x="3515145" y="1006618"/>
                </a:cubicBezTo>
                <a:cubicBezTo>
                  <a:pt x="3513150" y="1006618"/>
                  <a:pt x="3511155" y="1010610"/>
                  <a:pt x="3511155" y="1012606"/>
                </a:cubicBezTo>
                <a:cubicBezTo>
                  <a:pt x="3511155" y="1014601"/>
                  <a:pt x="3509160" y="1018593"/>
                  <a:pt x="3505170" y="1018593"/>
                </a:cubicBezTo>
                <a:cubicBezTo>
                  <a:pt x="3503175" y="1018593"/>
                  <a:pt x="3503175" y="1024580"/>
                  <a:pt x="3503175" y="1026576"/>
                </a:cubicBezTo>
                <a:cubicBezTo>
                  <a:pt x="3501180" y="1030568"/>
                  <a:pt x="3499185" y="1030568"/>
                  <a:pt x="3497190" y="1030568"/>
                </a:cubicBezTo>
                <a:cubicBezTo>
                  <a:pt x="3495195" y="1030568"/>
                  <a:pt x="3497190" y="1024580"/>
                  <a:pt x="3497190" y="1020589"/>
                </a:cubicBezTo>
                <a:cubicBezTo>
                  <a:pt x="3497190" y="1018593"/>
                  <a:pt x="3495195" y="1014601"/>
                  <a:pt x="3495195" y="1012606"/>
                </a:cubicBezTo>
                <a:cubicBezTo>
                  <a:pt x="3493199" y="1010610"/>
                  <a:pt x="3493199" y="1008614"/>
                  <a:pt x="3493199" y="1008614"/>
                </a:cubicBezTo>
                <a:cubicBezTo>
                  <a:pt x="3493199" y="1008614"/>
                  <a:pt x="3495195" y="1006618"/>
                  <a:pt x="3493199" y="1006618"/>
                </a:cubicBezTo>
                <a:cubicBezTo>
                  <a:pt x="3491205" y="1006618"/>
                  <a:pt x="3491205" y="1004623"/>
                  <a:pt x="3489209" y="1002627"/>
                </a:cubicBezTo>
                <a:cubicBezTo>
                  <a:pt x="3487215" y="1000631"/>
                  <a:pt x="3481229" y="1002627"/>
                  <a:pt x="3481229" y="1006618"/>
                </a:cubicBezTo>
                <a:cubicBezTo>
                  <a:pt x="3481229" y="1008614"/>
                  <a:pt x="3477239" y="1010610"/>
                  <a:pt x="3477239" y="1010610"/>
                </a:cubicBezTo>
                <a:cubicBezTo>
                  <a:pt x="3477239" y="1010610"/>
                  <a:pt x="3475244" y="1008614"/>
                  <a:pt x="3475244" y="1010610"/>
                </a:cubicBezTo>
                <a:cubicBezTo>
                  <a:pt x="3475244" y="1014601"/>
                  <a:pt x="3473249" y="1010610"/>
                  <a:pt x="3471254" y="1014601"/>
                </a:cubicBezTo>
                <a:cubicBezTo>
                  <a:pt x="3469259" y="1018593"/>
                  <a:pt x="3473249" y="1024580"/>
                  <a:pt x="3473249" y="1024580"/>
                </a:cubicBezTo>
                <a:cubicBezTo>
                  <a:pt x="3473249" y="1024580"/>
                  <a:pt x="3475244" y="1032563"/>
                  <a:pt x="3471254" y="1032563"/>
                </a:cubicBezTo>
                <a:cubicBezTo>
                  <a:pt x="3465269" y="1032563"/>
                  <a:pt x="3465269" y="1028572"/>
                  <a:pt x="3465269" y="1028572"/>
                </a:cubicBezTo>
                <a:cubicBezTo>
                  <a:pt x="3465269" y="1028572"/>
                  <a:pt x="3465269" y="1026576"/>
                  <a:pt x="3463274" y="1026576"/>
                </a:cubicBezTo>
                <a:cubicBezTo>
                  <a:pt x="3463274" y="1026576"/>
                  <a:pt x="3461279" y="1024580"/>
                  <a:pt x="3461279" y="1022584"/>
                </a:cubicBezTo>
                <a:cubicBezTo>
                  <a:pt x="3459284" y="1020589"/>
                  <a:pt x="3459284" y="1014601"/>
                  <a:pt x="3455294" y="1014601"/>
                </a:cubicBezTo>
                <a:cubicBezTo>
                  <a:pt x="3451304" y="1016597"/>
                  <a:pt x="3451304" y="1020589"/>
                  <a:pt x="3451304" y="1020589"/>
                </a:cubicBezTo>
                <a:cubicBezTo>
                  <a:pt x="3451304" y="1020589"/>
                  <a:pt x="3451304" y="1024580"/>
                  <a:pt x="3449309" y="1024580"/>
                </a:cubicBezTo>
                <a:cubicBezTo>
                  <a:pt x="3445319" y="1022584"/>
                  <a:pt x="3445319" y="1020589"/>
                  <a:pt x="3445319" y="1020589"/>
                </a:cubicBezTo>
                <a:cubicBezTo>
                  <a:pt x="3445319" y="1020589"/>
                  <a:pt x="3447314" y="1018593"/>
                  <a:pt x="3443324" y="1016597"/>
                </a:cubicBezTo>
                <a:cubicBezTo>
                  <a:pt x="3439334" y="1014601"/>
                  <a:pt x="3437338" y="1018593"/>
                  <a:pt x="3437338" y="1018593"/>
                </a:cubicBezTo>
                <a:cubicBezTo>
                  <a:pt x="3437338" y="1018593"/>
                  <a:pt x="3437338" y="1022584"/>
                  <a:pt x="3435343" y="1022584"/>
                </a:cubicBezTo>
                <a:cubicBezTo>
                  <a:pt x="3433348" y="1024580"/>
                  <a:pt x="3435343" y="1026576"/>
                  <a:pt x="3435343" y="1030568"/>
                </a:cubicBezTo>
                <a:cubicBezTo>
                  <a:pt x="3437338" y="1032563"/>
                  <a:pt x="3435343" y="1034559"/>
                  <a:pt x="3433348" y="1036555"/>
                </a:cubicBezTo>
                <a:cubicBezTo>
                  <a:pt x="3431353" y="1036555"/>
                  <a:pt x="3435343" y="1040546"/>
                  <a:pt x="3435343" y="1040546"/>
                </a:cubicBezTo>
                <a:cubicBezTo>
                  <a:pt x="3437338" y="1042542"/>
                  <a:pt x="3441329" y="1044538"/>
                  <a:pt x="3441329" y="1044538"/>
                </a:cubicBezTo>
                <a:cubicBezTo>
                  <a:pt x="3441329" y="1044538"/>
                  <a:pt x="3443324" y="1046534"/>
                  <a:pt x="3441329" y="1048530"/>
                </a:cubicBezTo>
                <a:cubicBezTo>
                  <a:pt x="3439334" y="1048530"/>
                  <a:pt x="3439334" y="1048530"/>
                  <a:pt x="3437338" y="1046534"/>
                </a:cubicBezTo>
                <a:cubicBezTo>
                  <a:pt x="3433348" y="1044538"/>
                  <a:pt x="3435343" y="1048530"/>
                  <a:pt x="3435343" y="1048530"/>
                </a:cubicBezTo>
                <a:cubicBezTo>
                  <a:pt x="3435343" y="1050525"/>
                  <a:pt x="3435343" y="1052521"/>
                  <a:pt x="3433348" y="1054517"/>
                </a:cubicBezTo>
                <a:cubicBezTo>
                  <a:pt x="3429358" y="1054517"/>
                  <a:pt x="3433348" y="1056513"/>
                  <a:pt x="3433348" y="1056513"/>
                </a:cubicBezTo>
                <a:cubicBezTo>
                  <a:pt x="3433348" y="1056513"/>
                  <a:pt x="3437338" y="1056513"/>
                  <a:pt x="3437338" y="1060504"/>
                </a:cubicBezTo>
                <a:cubicBezTo>
                  <a:pt x="3437338" y="1064496"/>
                  <a:pt x="3431353" y="1064496"/>
                  <a:pt x="3429358" y="1064496"/>
                </a:cubicBezTo>
                <a:cubicBezTo>
                  <a:pt x="3427363" y="1064496"/>
                  <a:pt x="3427363" y="1070483"/>
                  <a:pt x="3427363" y="1070483"/>
                </a:cubicBezTo>
                <a:cubicBezTo>
                  <a:pt x="3427363" y="1070483"/>
                  <a:pt x="3425368" y="1074475"/>
                  <a:pt x="3423373" y="1076470"/>
                </a:cubicBezTo>
                <a:cubicBezTo>
                  <a:pt x="3421378" y="1078466"/>
                  <a:pt x="3419383" y="1080462"/>
                  <a:pt x="3421378" y="1080462"/>
                </a:cubicBezTo>
                <a:cubicBezTo>
                  <a:pt x="3421378" y="1082458"/>
                  <a:pt x="3421378" y="1082458"/>
                  <a:pt x="3421378" y="1084453"/>
                </a:cubicBezTo>
                <a:cubicBezTo>
                  <a:pt x="3421378" y="1086449"/>
                  <a:pt x="3423373" y="1088445"/>
                  <a:pt x="3423373" y="1088445"/>
                </a:cubicBezTo>
                <a:cubicBezTo>
                  <a:pt x="3423373" y="1088445"/>
                  <a:pt x="3421378" y="1094432"/>
                  <a:pt x="3423373" y="1094432"/>
                </a:cubicBezTo>
                <a:cubicBezTo>
                  <a:pt x="3425368" y="1094432"/>
                  <a:pt x="3427363" y="1100420"/>
                  <a:pt x="3429358" y="1102415"/>
                </a:cubicBezTo>
                <a:cubicBezTo>
                  <a:pt x="3429358" y="1104411"/>
                  <a:pt x="3429358" y="1108403"/>
                  <a:pt x="3435343" y="1108403"/>
                </a:cubicBezTo>
                <a:cubicBezTo>
                  <a:pt x="3439334" y="1108403"/>
                  <a:pt x="3439334" y="1106407"/>
                  <a:pt x="3441329" y="1104411"/>
                </a:cubicBezTo>
                <a:cubicBezTo>
                  <a:pt x="3441329" y="1100420"/>
                  <a:pt x="3445319" y="1102415"/>
                  <a:pt x="3447314" y="1102415"/>
                </a:cubicBezTo>
                <a:cubicBezTo>
                  <a:pt x="3449309" y="1102415"/>
                  <a:pt x="3449309" y="1102415"/>
                  <a:pt x="3451304" y="1102415"/>
                </a:cubicBezTo>
                <a:cubicBezTo>
                  <a:pt x="3455294" y="1100420"/>
                  <a:pt x="3455294" y="1104411"/>
                  <a:pt x="3457289" y="1106407"/>
                </a:cubicBezTo>
                <a:cubicBezTo>
                  <a:pt x="3461279" y="1108403"/>
                  <a:pt x="3457289" y="1112394"/>
                  <a:pt x="3455294" y="1116386"/>
                </a:cubicBezTo>
                <a:cubicBezTo>
                  <a:pt x="3451304" y="1118382"/>
                  <a:pt x="3451304" y="1120377"/>
                  <a:pt x="3449309" y="1122373"/>
                </a:cubicBezTo>
                <a:cubicBezTo>
                  <a:pt x="3449309" y="1126365"/>
                  <a:pt x="3451304" y="1128360"/>
                  <a:pt x="3455294" y="1132352"/>
                </a:cubicBezTo>
                <a:cubicBezTo>
                  <a:pt x="3459284" y="1136344"/>
                  <a:pt x="3457289" y="1138339"/>
                  <a:pt x="3455294" y="1138339"/>
                </a:cubicBezTo>
                <a:cubicBezTo>
                  <a:pt x="3455294" y="1138339"/>
                  <a:pt x="3453299" y="1140335"/>
                  <a:pt x="3455294" y="1146322"/>
                </a:cubicBezTo>
                <a:cubicBezTo>
                  <a:pt x="3459284" y="1150314"/>
                  <a:pt x="3459284" y="1150314"/>
                  <a:pt x="3463274" y="1150314"/>
                </a:cubicBezTo>
                <a:cubicBezTo>
                  <a:pt x="3465269" y="1152310"/>
                  <a:pt x="3467264" y="1152310"/>
                  <a:pt x="3467264" y="1150314"/>
                </a:cubicBezTo>
                <a:cubicBezTo>
                  <a:pt x="3467264" y="1148318"/>
                  <a:pt x="3467264" y="1148318"/>
                  <a:pt x="3471254" y="1146322"/>
                </a:cubicBezTo>
                <a:cubicBezTo>
                  <a:pt x="3475244" y="1146322"/>
                  <a:pt x="3477239" y="1148318"/>
                  <a:pt x="3477239" y="1150314"/>
                </a:cubicBezTo>
                <a:cubicBezTo>
                  <a:pt x="3475244" y="1154305"/>
                  <a:pt x="3477239" y="1158297"/>
                  <a:pt x="3477239" y="1158297"/>
                </a:cubicBezTo>
                <a:cubicBezTo>
                  <a:pt x="3477239" y="1158297"/>
                  <a:pt x="3479234" y="1164284"/>
                  <a:pt x="3481229" y="1164284"/>
                </a:cubicBezTo>
                <a:cubicBezTo>
                  <a:pt x="3483225" y="1164284"/>
                  <a:pt x="3485220" y="1166280"/>
                  <a:pt x="3485220" y="1166280"/>
                </a:cubicBezTo>
                <a:cubicBezTo>
                  <a:pt x="3485220" y="1166280"/>
                  <a:pt x="3485220" y="1170272"/>
                  <a:pt x="3481229" y="1172267"/>
                </a:cubicBezTo>
                <a:cubicBezTo>
                  <a:pt x="3479234" y="1172267"/>
                  <a:pt x="3479234" y="1174263"/>
                  <a:pt x="3479234" y="1178255"/>
                </a:cubicBezTo>
                <a:cubicBezTo>
                  <a:pt x="3477239" y="1180251"/>
                  <a:pt x="3473249" y="1180251"/>
                  <a:pt x="3473249" y="1178255"/>
                </a:cubicBezTo>
                <a:cubicBezTo>
                  <a:pt x="3471254" y="1178255"/>
                  <a:pt x="3469259" y="1176259"/>
                  <a:pt x="3467264" y="1174263"/>
                </a:cubicBezTo>
                <a:cubicBezTo>
                  <a:pt x="3465269" y="1170272"/>
                  <a:pt x="3469259" y="1168276"/>
                  <a:pt x="3469259" y="1168276"/>
                </a:cubicBezTo>
                <a:cubicBezTo>
                  <a:pt x="3469259" y="1168276"/>
                  <a:pt x="3469259" y="1164284"/>
                  <a:pt x="3471254" y="1162289"/>
                </a:cubicBezTo>
                <a:cubicBezTo>
                  <a:pt x="3473249" y="1160293"/>
                  <a:pt x="3471254" y="1156301"/>
                  <a:pt x="3469259" y="1156301"/>
                </a:cubicBezTo>
                <a:cubicBezTo>
                  <a:pt x="3467264" y="1156301"/>
                  <a:pt x="3465269" y="1158297"/>
                  <a:pt x="3465269" y="1160293"/>
                </a:cubicBezTo>
                <a:cubicBezTo>
                  <a:pt x="3465269" y="1164284"/>
                  <a:pt x="3463274" y="1162289"/>
                  <a:pt x="3463274" y="1162289"/>
                </a:cubicBezTo>
                <a:cubicBezTo>
                  <a:pt x="3461279" y="1162289"/>
                  <a:pt x="3461279" y="1166280"/>
                  <a:pt x="3463274" y="1166280"/>
                </a:cubicBezTo>
                <a:cubicBezTo>
                  <a:pt x="3463274" y="1168276"/>
                  <a:pt x="3463274" y="1170272"/>
                  <a:pt x="3459284" y="1174263"/>
                </a:cubicBezTo>
                <a:cubicBezTo>
                  <a:pt x="3453299" y="1176259"/>
                  <a:pt x="3455294" y="1180251"/>
                  <a:pt x="3455294" y="1180251"/>
                </a:cubicBezTo>
                <a:cubicBezTo>
                  <a:pt x="3455294" y="1180251"/>
                  <a:pt x="3455294" y="1186238"/>
                  <a:pt x="3453299" y="1190229"/>
                </a:cubicBezTo>
                <a:cubicBezTo>
                  <a:pt x="3451304" y="1192225"/>
                  <a:pt x="3451304" y="1200208"/>
                  <a:pt x="3451304" y="1200208"/>
                </a:cubicBezTo>
                <a:cubicBezTo>
                  <a:pt x="3451304" y="1204200"/>
                  <a:pt x="3457289" y="1206196"/>
                  <a:pt x="3455294" y="1208191"/>
                </a:cubicBezTo>
                <a:cubicBezTo>
                  <a:pt x="3455294" y="1208191"/>
                  <a:pt x="3457289" y="1212183"/>
                  <a:pt x="3459284" y="1212183"/>
                </a:cubicBezTo>
                <a:cubicBezTo>
                  <a:pt x="3461279" y="1212183"/>
                  <a:pt x="3461279" y="1216174"/>
                  <a:pt x="3463274" y="1218170"/>
                </a:cubicBezTo>
                <a:cubicBezTo>
                  <a:pt x="3465269" y="1220166"/>
                  <a:pt x="3465269" y="1218170"/>
                  <a:pt x="3469259" y="1218170"/>
                </a:cubicBezTo>
                <a:cubicBezTo>
                  <a:pt x="3471254" y="1216174"/>
                  <a:pt x="3471254" y="1218170"/>
                  <a:pt x="3471254" y="1222162"/>
                </a:cubicBezTo>
                <a:cubicBezTo>
                  <a:pt x="3471254" y="1224158"/>
                  <a:pt x="3473249" y="1222162"/>
                  <a:pt x="3473249" y="1224158"/>
                </a:cubicBezTo>
                <a:cubicBezTo>
                  <a:pt x="3473249" y="1226153"/>
                  <a:pt x="3473249" y="1230145"/>
                  <a:pt x="3471254" y="1230145"/>
                </a:cubicBezTo>
                <a:cubicBezTo>
                  <a:pt x="3467264" y="1232141"/>
                  <a:pt x="3469259" y="1236132"/>
                  <a:pt x="3467264" y="1238128"/>
                </a:cubicBezTo>
                <a:cubicBezTo>
                  <a:pt x="3467264" y="1240124"/>
                  <a:pt x="3459284" y="1240124"/>
                  <a:pt x="3455294" y="1240124"/>
                </a:cubicBezTo>
                <a:cubicBezTo>
                  <a:pt x="3451304" y="1240124"/>
                  <a:pt x="3441329" y="1242119"/>
                  <a:pt x="3441329" y="1242119"/>
                </a:cubicBezTo>
                <a:cubicBezTo>
                  <a:pt x="3441329" y="1242119"/>
                  <a:pt x="3439334" y="1244115"/>
                  <a:pt x="3439334" y="1246111"/>
                </a:cubicBezTo>
                <a:cubicBezTo>
                  <a:pt x="3439334" y="1248107"/>
                  <a:pt x="3435343" y="1250103"/>
                  <a:pt x="3435343" y="1252098"/>
                </a:cubicBezTo>
                <a:cubicBezTo>
                  <a:pt x="3431353" y="1252098"/>
                  <a:pt x="3431353" y="1254094"/>
                  <a:pt x="3429358" y="1260081"/>
                </a:cubicBezTo>
                <a:cubicBezTo>
                  <a:pt x="3427363" y="1268065"/>
                  <a:pt x="3431353" y="1272056"/>
                  <a:pt x="3431353" y="1272056"/>
                </a:cubicBezTo>
                <a:cubicBezTo>
                  <a:pt x="3431353" y="1272056"/>
                  <a:pt x="3435343" y="1276048"/>
                  <a:pt x="3433348" y="1278043"/>
                </a:cubicBezTo>
                <a:cubicBezTo>
                  <a:pt x="3433348" y="1278043"/>
                  <a:pt x="3433348" y="1280039"/>
                  <a:pt x="3433348" y="1284031"/>
                </a:cubicBezTo>
                <a:cubicBezTo>
                  <a:pt x="3435343" y="1286027"/>
                  <a:pt x="3437338" y="1288022"/>
                  <a:pt x="3441329" y="1288022"/>
                </a:cubicBezTo>
                <a:cubicBezTo>
                  <a:pt x="3445319" y="1290018"/>
                  <a:pt x="3443324" y="1294010"/>
                  <a:pt x="3443324" y="1294010"/>
                </a:cubicBezTo>
                <a:cubicBezTo>
                  <a:pt x="3441329" y="1294010"/>
                  <a:pt x="3437338" y="1292014"/>
                  <a:pt x="3435343" y="1292014"/>
                </a:cubicBezTo>
                <a:cubicBezTo>
                  <a:pt x="3435343" y="1292014"/>
                  <a:pt x="3431353" y="1292014"/>
                  <a:pt x="3427363" y="1290018"/>
                </a:cubicBezTo>
                <a:cubicBezTo>
                  <a:pt x="3425368" y="1290018"/>
                  <a:pt x="3425368" y="1288022"/>
                  <a:pt x="3425368" y="1288022"/>
                </a:cubicBezTo>
                <a:cubicBezTo>
                  <a:pt x="3425368" y="1288022"/>
                  <a:pt x="3421378" y="1288022"/>
                  <a:pt x="3421378" y="1292014"/>
                </a:cubicBezTo>
                <a:cubicBezTo>
                  <a:pt x="3419383" y="1294010"/>
                  <a:pt x="3417388" y="1294010"/>
                  <a:pt x="3415393" y="1294010"/>
                </a:cubicBezTo>
                <a:cubicBezTo>
                  <a:pt x="3411403" y="1294010"/>
                  <a:pt x="3411403" y="1301993"/>
                  <a:pt x="3411403" y="1301993"/>
                </a:cubicBezTo>
                <a:cubicBezTo>
                  <a:pt x="3411403" y="1301993"/>
                  <a:pt x="3413398" y="1309976"/>
                  <a:pt x="3411403" y="1311972"/>
                </a:cubicBezTo>
                <a:cubicBezTo>
                  <a:pt x="3409408" y="1313967"/>
                  <a:pt x="3409408" y="1319955"/>
                  <a:pt x="3411403" y="1321950"/>
                </a:cubicBezTo>
                <a:cubicBezTo>
                  <a:pt x="3413398" y="1323946"/>
                  <a:pt x="3411403" y="1329934"/>
                  <a:pt x="3409408" y="1329934"/>
                </a:cubicBezTo>
                <a:cubicBezTo>
                  <a:pt x="3409408" y="1329934"/>
                  <a:pt x="3407413" y="1333925"/>
                  <a:pt x="3407413" y="1337917"/>
                </a:cubicBezTo>
                <a:cubicBezTo>
                  <a:pt x="3407413" y="1339912"/>
                  <a:pt x="3401428" y="1349891"/>
                  <a:pt x="3401428" y="1349891"/>
                </a:cubicBezTo>
                <a:cubicBezTo>
                  <a:pt x="3401428" y="1349891"/>
                  <a:pt x="3397438" y="1353883"/>
                  <a:pt x="3395443" y="1353883"/>
                </a:cubicBezTo>
                <a:cubicBezTo>
                  <a:pt x="3393447" y="1353883"/>
                  <a:pt x="3391452" y="1355879"/>
                  <a:pt x="3391452" y="1357874"/>
                </a:cubicBezTo>
                <a:cubicBezTo>
                  <a:pt x="3391452" y="1361866"/>
                  <a:pt x="3391452" y="1361866"/>
                  <a:pt x="3387462" y="1361866"/>
                </a:cubicBezTo>
                <a:cubicBezTo>
                  <a:pt x="3385467" y="1363862"/>
                  <a:pt x="3383472" y="1369849"/>
                  <a:pt x="3383472" y="1369849"/>
                </a:cubicBezTo>
                <a:cubicBezTo>
                  <a:pt x="3383472" y="1369849"/>
                  <a:pt x="3383472" y="1377832"/>
                  <a:pt x="3379482" y="1375836"/>
                </a:cubicBezTo>
                <a:cubicBezTo>
                  <a:pt x="3375492" y="1375836"/>
                  <a:pt x="3377487" y="1369849"/>
                  <a:pt x="3377487" y="1369849"/>
                </a:cubicBezTo>
                <a:cubicBezTo>
                  <a:pt x="3377487" y="1367853"/>
                  <a:pt x="3379482" y="1365857"/>
                  <a:pt x="3375492" y="1365857"/>
                </a:cubicBezTo>
                <a:cubicBezTo>
                  <a:pt x="3375492" y="1363862"/>
                  <a:pt x="3375492" y="1361866"/>
                  <a:pt x="3375492" y="1359870"/>
                </a:cubicBezTo>
                <a:cubicBezTo>
                  <a:pt x="3375492" y="1357874"/>
                  <a:pt x="3373497" y="1355879"/>
                  <a:pt x="3371502" y="1355879"/>
                </a:cubicBezTo>
                <a:cubicBezTo>
                  <a:pt x="3371502" y="1355879"/>
                  <a:pt x="3369507" y="1353883"/>
                  <a:pt x="3369507" y="1351887"/>
                </a:cubicBezTo>
                <a:cubicBezTo>
                  <a:pt x="3367512" y="1347895"/>
                  <a:pt x="3367512" y="1343904"/>
                  <a:pt x="3369507" y="1341908"/>
                </a:cubicBezTo>
                <a:cubicBezTo>
                  <a:pt x="3369507" y="1339912"/>
                  <a:pt x="3369507" y="1339912"/>
                  <a:pt x="3367512" y="1337917"/>
                </a:cubicBezTo>
                <a:cubicBezTo>
                  <a:pt x="3365517" y="1337917"/>
                  <a:pt x="3367512" y="1337917"/>
                  <a:pt x="3367512" y="1335921"/>
                </a:cubicBezTo>
                <a:cubicBezTo>
                  <a:pt x="3367512" y="1331929"/>
                  <a:pt x="3365517" y="1331929"/>
                  <a:pt x="3363522" y="1331929"/>
                </a:cubicBezTo>
                <a:cubicBezTo>
                  <a:pt x="3361527" y="1329934"/>
                  <a:pt x="3363522" y="1325942"/>
                  <a:pt x="3363522" y="1323946"/>
                </a:cubicBezTo>
                <a:cubicBezTo>
                  <a:pt x="3363522" y="1321950"/>
                  <a:pt x="3361527" y="1323946"/>
                  <a:pt x="3361527" y="1319955"/>
                </a:cubicBezTo>
                <a:cubicBezTo>
                  <a:pt x="3361527" y="1313967"/>
                  <a:pt x="3359532" y="1313967"/>
                  <a:pt x="3359532" y="1313967"/>
                </a:cubicBezTo>
                <a:cubicBezTo>
                  <a:pt x="3359532" y="1313967"/>
                  <a:pt x="3351552" y="1309976"/>
                  <a:pt x="3351552" y="1309976"/>
                </a:cubicBezTo>
                <a:cubicBezTo>
                  <a:pt x="3351552" y="1307980"/>
                  <a:pt x="3349557" y="1305984"/>
                  <a:pt x="3347561" y="1301993"/>
                </a:cubicBezTo>
                <a:cubicBezTo>
                  <a:pt x="3345566" y="1298001"/>
                  <a:pt x="3337586" y="1288022"/>
                  <a:pt x="3337586" y="1284031"/>
                </a:cubicBezTo>
                <a:cubicBezTo>
                  <a:pt x="3337586" y="1280039"/>
                  <a:pt x="3337586" y="1280039"/>
                  <a:pt x="3335591" y="1276048"/>
                </a:cubicBezTo>
                <a:cubicBezTo>
                  <a:pt x="3333596" y="1274052"/>
                  <a:pt x="3331601" y="1270060"/>
                  <a:pt x="3325616" y="1264073"/>
                </a:cubicBezTo>
                <a:cubicBezTo>
                  <a:pt x="3321626" y="1256090"/>
                  <a:pt x="3319631" y="1256090"/>
                  <a:pt x="3319631" y="1254094"/>
                </a:cubicBezTo>
                <a:cubicBezTo>
                  <a:pt x="3319631" y="1250103"/>
                  <a:pt x="3319631" y="1244115"/>
                  <a:pt x="3317636" y="1242119"/>
                </a:cubicBezTo>
                <a:cubicBezTo>
                  <a:pt x="3317636" y="1240124"/>
                  <a:pt x="3313646" y="1234136"/>
                  <a:pt x="3311651" y="1232141"/>
                </a:cubicBezTo>
                <a:cubicBezTo>
                  <a:pt x="3307661" y="1230145"/>
                  <a:pt x="3309656" y="1224158"/>
                  <a:pt x="3309656" y="1222162"/>
                </a:cubicBezTo>
                <a:cubicBezTo>
                  <a:pt x="3309656" y="1222162"/>
                  <a:pt x="3309656" y="1218170"/>
                  <a:pt x="3307661" y="1216174"/>
                </a:cubicBezTo>
                <a:cubicBezTo>
                  <a:pt x="3305666" y="1214179"/>
                  <a:pt x="3305666" y="1214179"/>
                  <a:pt x="3305666" y="1212183"/>
                </a:cubicBezTo>
                <a:cubicBezTo>
                  <a:pt x="3305666" y="1210187"/>
                  <a:pt x="3305666" y="1210187"/>
                  <a:pt x="3303670" y="1206196"/>
                </a:cubicBezTo>
                <a:cubicBezTo>
                  <a:pt x="3299680" y="1202204"/>
                  <a:pt x="3301675" y="1196217"/>
                  <a:pt x="3299680" y="1190229"/>
                </a:cubicBezTo>
                <a:cubicBezTo>
                  <a:pt x="3299680" y="1184242"/>
                  <a:pt x="3297685" y="1180251"/>
                  <a:pt x="3295690" y="1174263"/>
                </a:cubicBezTo>
                <a:cubicBezTo>
                  <a:pt x="3295690" y="1170272"/>
                  <a:pt x="3295690" y="1164284"/>
                  <a:pt x="3295690" y="1154305"/>
                </a:cubicBezTo>
                <a:cubicBezTo>
                  <a:pt x="3297685" y="1146322"/>
                  <a:pt x="3301675" y="1146322"/>
                  <a:pt x="3303670" y="1144327"/>
                </a:cubicBezTo>
                <a:cubicBezTo>
                  <a:pt x="3305666" y="1142331"/>
                  <a:pt x="3305666" y="1140335"/>
                  <a:pt x="3305666" y="1136344"/>
                </a:cubicBezTo>
                <a:cubicBezTo>
                  <a:pt x="3307661" y="1134348"/>
                  <a:pt x="3309656" y="1132352"/>
                  <a:pt x="3313646" y="1132352"/>
                </a:cubicBezTo>
                <a:cubicBezTo>
                  <a:pt x="3315641" y="1132352"/>
                  <a:pt x="3315641" y="1128360"/>
                  <a:pt x="3315641" y="1126365"/>
                </a:cubicBezTo>
                <a:cubicBezTo>
                  <a:pt x="3315641" y="1124369"/>
                  <a:pt x="3311651" y="1124369"/>
                  <a:pt x="3309656" y="1122373"/>
                </a:cubicBezTo>
                <a:cubicBezTo>
                  <a:pt x="3307661" y="1120377"/>
                  <a:pt x="3309656" y="1120377"/>
                  <a:pt x="3309656" y="1118382"/>
                </a:cubicBezTo>
                <a:cubicBezTo>
                  <a:pt x="3311651" y="1116386"/>
                  <a:pt x="3309656" y="1114390"/>
                  <a:pt x="3305666" y="1114390"/>
                </a:cubicBezTo>
                <a:cubicBezTo>
                  <a:pt x="3303670" y="1114390"/>
                  <a:pt x="3303670" y="1114390"/>
                  <a:pt x="3303670" y="1112394"/>
                </a:cubicBezTo>
                <a:cubicBezTo>
                  <a:pt x="3301675" y="1112394"/>
                  <a:pt x="3301675" y="1106407"/>
                  <a:pt x="3307661" y="1106407"/>
                </a:cubicBezTo>
                <a:cubicBezTo>
                  <a:pt x="3313646" y="1106407"/>
                  <a:pt x="3313646" y="1110398"/>
                  <a:pt x="3315641" y="1108403"/>
                </a:cubicBezTo>
                <a:cubicBezTo>
                  <a:pt x="3317636" y="1108403"/>
                  <a:pt x="3315641" y="1108403"/>
                  <a:pt x="3319631" y="1108403"/>
                </a:cubicBezTo>
                <a:cubicBezTo>
                  <a:pt x="3321626" y="1108403"/>
                  <a:pt x="3319631" y="1104411"/>
                  <a:pt x="3319631" y="1104411"/>
                </a:cubicBezTo>
                <a:cubicBezTo>
                  <a:pt x="3319631" y="1104411"/>
                  <a:pt x="3319631" y="1100420"/>
                  <a:pt x="3321626" y="1100420"/>
                </a:cubicBezTo>
                <a:cubicBezTo>
                  <a:pt x="3323621" y="1098424"/>
                  <a:pt x="3327611" y="1102415"/>
                  <a:pt x="3331601" y="1102415"/>
                </a:cubicBezTo>
                <a:cubicBezTo>
                  <a:pt x="3333596" y="1102415"/>
                  <a:pt x="3335591" y="1098424"/>
                  <a:pt x="3337586" y="1098424"/>
                </a:cubicBezTo>
                <a:cubicBezTo>
                  <a:pt x="3337586" y="1096428"/>
                  <a:pt x="3341576" y="1086449"/>
                  <a:pt x="3345566" y="1084453"/>
                </a:cubicBezTo>
                <a:cubicBezTo>
                  <a:pt x="3345566" y="1082458"/>
                  <a:pt x="3357537" y="1066491"/>
                  <a:pt x="3357537" y="1066491"/>
                </a:cubicBezTo>
                <a:cubicBezTo>
                  <a:pt x="3357537" y="1066491"/>
                  <a:pt x="3363522" y="1062500"/>
                  <a:pt x="3361527" y="1060504"/>
                </a:cubicBezTo>
                <a:cubicBezTo>
                  <a:pt x="3359532" y="1060504"/>
                  <a:pt x="3359532" y="1058508"/>
                  <a:pt x="3359532" y="1054517"/>
                </a:cubicBezTo>
                <a:cubicBezTo>
                  <a:pt x="3359532" y="1050525"/>
                  <a:pt x="3363522" y="1050525"/>
                  <a:pt x="3365517" y="1048530"/>
                </a:cubicBezTo>
                <a:cubicBezTo>
                  <a:pt x="3367512" y="1046534"/>
                  <a:pt x="3367512" y="1046534"/>
                  <a:pt x="3367512" y="1042542"/>
                </a:cubicBezTo>
                <a:cubicBezTo>
                  <a:pt x="3367512" y="1038551"/>
                  <a:pt x="3369507" y="1038551"/>
                  <a:pt x="3369507" y="1038551"/>
                </a:cubicBezTo>
                <a:cubicBezTo>
                  <a:pt x="3369507" y="1038551"/>
                  <a:pt x="3371502" y="1036555"/>
                  <a:pt x="3371502" y="1036555"/>
                </a:cubicBezTo>
                <a:cubicBezTo>
                  <a:pt x="3371502" y="1034559"/>
                  <a:pt x="3373497" y="1032563"/>
                  <a:pt x="3375492" y="1032563"/>
                </a:cubicBezTo>
                <a:cubicBezTo>
                  <a:pt x="3377487" y="1032563"/>
                  <a:pt x="3377487" y="1032563"/>
                  <a:pt x="3377487" y="1030568"/>
                </a:cubicBezTo>
                <a:cubicBezTo>
                  <a:pt x="3377487" y="1026576"/>
                  <a:pt x="3377487" y="1026576"/>
                  <a:pt x="3381477" y="1026576"/>
                </a:cubicBezTo>
                <a:cubicBezTo>
                  <a:pt x="3383472" y="1026576"/>
                  <a:pt x="3383472" y="1022584"/>
                  <a:pt x="3383472" y="1022584"/>
                </a:cubicBezTo>
                <a:cubicBezTo>
                  <a:pt x="3383472" y="1020589"/>
                  <a:pt x="3385467" y="1018593"/>
                  <a:pt x="3387462" y="1018593"/>
                </a:cubicBezTo>
                <a:cubicBezTo>
                  <a:pt x="3389457" y="1018593"/>
                  <a:pt x="3389457" y="1014601"/>
                  <a:pt x="3389457" y="1012606"/>
                </a:cubicBezTo>
                <a:cubicBezTo>
                  <a:pt x="3391452" y="1010610"/>
                  <a:pt x="3391452" y="1006618"/>
                  <a:pt x="3391452" y="1004623"/>
                </a:cubicBezTo>
                <a:cubicBezTo>
                  <a:pt x="3389457" y="1000631"/>
                  <a:pt x="3387462" y="1002627"/>
                  <a:pt x="3387462" y="998635"/>
                </a:cubicBezTo>
                <a:cubicBezTo>
                  <a:pt x="3385467" y="996639"/>
                  <a:pt x="3389457" y="996639"/>
                  <a:pt x="3389457" y="996639"/>
                </a:cubicBezTo>
                <a:cubicBezTo>
                  <a:pt x="3389457" y="996639"/>
                  <a:pt x="3389457" y="996639"/>
                  <a:pt x="3399433" y="990652"/>
                </a:cubicBezTo>
                <a:cubicBezTo>
                  <a:pt x="3399433" y="990652"/>
                  <a:pt x="3407413" y="988656"/>
                  <a:pt x="3407413" y="986661"/>
                </a:cubicBezTo>
                <a:cubicBezTo>
                  <a:pt x="3407413" y="984665"/>
                  <a:pt x="3409408" y="984665"/>
                  <a:pt x="3409408" y="984665"/>
                </a:cubicBezTo>
                <a:cubicBezTo>
                  <a:pt x="3409408" y="984665"/>
                  <a:pt x="3409408" y="984665"/>
                  <a:pt x="3413398" y="982669"/>
                </a:cubicBezTo>
                <a:cubicBezTo>
                  <a:pt x="3413398" y="982669"/>
                  <a:pt x="3413398" y="982669"/>
                  <a:pt x="3417388" y="982669"/>
                </a:cubicBezTo>
                <a:cubicBezTo>
                  <a:pt x="3419383" y="980673"/>
                  <a:pt x="3421378" y="980673"/>
                  <a:pt x="3419383" y="978677"/>
                </a:cubicBezTo>
                <a:cubicBezTo>
                  <a:pt x="3419383" y="974686"/>
                  <a:pt x="3417388" y="974686"/>
                  <a:pt x="3417388" y="972690"/>
                </a:cubicBezTo>
                <a:cubicBezTo>
                  <a:pt x="3417388" y="968699"/>
                  <a:pt x="3419383" y="968699"/>
                  <a:pt x="3421378" y="964707"/>
                </a:cubicBezTo>
                <a:cubicBezTo>
                  <a:pt x="3425368" y="962711"/>
                  <a:pt x="3423373" y="958720"/>
                  <a:pt x="3421378" y="958720"/>
                </a:cubicBezTo>
                <a:cubicBezTo>
                  <a:pt x="3419383" y="956724"/>
                  <a:pt x="3415393" y="958720"/>
                  <a:pt x="3415393" y="954728"/>
                </a:cubicBezTo>
                <a:cubicBezTo>
                  <a:pt x="3413398" y="950737"/>
                  <a:pt x="3417388" y="948741"/>
                  <a:pt x="3419383" y="944749"/>
                </a:cubicBezTo>
                <a:cubicBezTo>
                  <a:pt x="3421378" y="938762"/>
                  <a:pt x="3419383" y="934770"/>
                  <a:pt x="3417388" y="932775"/>
                </a:cubicBezTo>
                <a:cubicBezTo>
                  <a:pt x="3413398" y="930779"/>
                  <a:pt x="3415393" y="926787"/>
                  <a:pt x="3415393" y="924792"/>
                </a:cubicBezTo>
                <a:cubicBezTo>
                  <a:pt x="3415393" y="920800"/>
                  <a:pt x="3415393" y="922796"/>
                  <a:pt x="3417388" y="922796"/>
                </a:cubicBezTo>
                <a:cubicBezTo>
                  <a:pt x="3419383" y="922796"/>
                  <a:pt x="3421378" y="920800"/>
                  <a:pt x="3421378" y="918804"/>
                </a:cubicBezTo>
                <a:cubicBezTo>
                  <a:pt x="3421378" y="916809"/>
                  <a:pt x="3425368" y="916809"/>
                  <a:pt x="3425368" y="916809"/>
                </a:cubicBezTo>
                <a:cubicBezTo>
                  <a:pt x="3425368" y="916809"/>
                  <a:pt x="3427363" y="916809"/>
                  <a:pt x="3429358" y="914813"/>
                </a:cubicBezTo>
                <a:cubicBezTo>
                  <a:pt x="3429358" y="912817"/>
                  <a:pt x="3425368" y="910821"/>
                  <a:pt x="3425368" y="910821"/>
                </a:cubicBezTo>
                <a:cubicBezTo>
                  <a:pt x="3425368" y="910821"/>
                  <a:pt x="3419383" y="908825"/>
                  <a:pt x="3419383" y="906830"/>
                </a:cubicBezTo>
                <a:cubicBezTo>
                  <a:pt x="3417388" y="904834"/>
                  <a:pt x="3417388" y="904834"/>
                  <a:pt x="3417388" y="904834"/>
                </a:cubicBezTo>
                <a:cubicBezTo>
                  <a:pt x="3417388" y="906830"/>
                  <a:pt x="3413398" y="906830"/>
                  <a:pt x="3413398" y="906830"/>
                </a:cubicBezTo>
                <a:cubicBezTo>
                  <a:pt x="3413398" y="906830"/>
                  <a:pt x="3411403" y="906830"/>
                  <a:pt x="3409408" y="906830"/>
                </a:cubicBezTo>
                <a:cubicBezTo>
                  <a:pt x="3407413" y="906830"/>
                  <a:pt x="3407413" y="906830"/>
                  <a:pt x="3405418" y="908825"/>
                </a:cubicBezTo>
                <a:cubicBezTo>
                  <a:pt x="3405418" y="910821"/>
                  <a:pt x="3401428" y="910821"/>
                  <a:pt x="3401428" y="908825"/>
                </a:cubicBezTo>
                <a:cubicBezTo>
                  <a:pt x="3399433" y="906830"/>
                  <a:pt x="3395443" y="906830"/>
                  <a:pt x="3393447" y="910821"/>
                </a:cubicBezTo>
                <a:cubicBezTo>
                  <a:pt x="3393447" y="912817"/>
                  <a:pt x="3391452" y="912817"/>
                  <a:pt x="3391452" y="912817"/>
                </a:cubicBezTo>
                <a:cubicBezTo>
                  <a:pt x="3391452" y="912817"/>
                  <a:pt x="3389457" y="912817"/>
                  <a:pt x="3389457" y="914813"/>
                </a:cubicBezTo>
                <a:cubicBezTo>
                  <a:pt x="3389457" y="916809"/>
                  <a:pt x="3391452" y="916809"/>
                  <a:pt x="3393447" y="920800"/>
                </a:cubicBezTo>
                <a:cubicBezTo>
                  <a:pt x="3393447" y="922796"/>
                  <a:pt x="3393447" y="922796"/>
                  <a:pt x="3389457" y="924792"/>
                </a:cubicBezTo>
                <a:cubicBezTo>
                  <a:pt x="3385467" y="926787"/>
                  <a:pt x="3389457" y="928783"/>
                  <a:pt x="3389457" y="928783"/>
                </a:cubicBezTo>
                <a:cubicBezTo>
                  <a:pt x="3389457" y="928783"/>
                  <a:pt x="3395443" y="932775"/>
                  <a:pt x="3393447" y="936766"/>
                </a:cubicBezTo>
                <a:cubicBezTo>
                  <a:pt x="3389457" y="938762"/>
                  <a:pt x="3393447" y="940758"/>
                  <a:pt x="3393447" y="940758"/>
                </a:cubicBezTo>
                <a:cubicBezTo>
                  <a:pt x="3393447" y="940758"/>
                  <a:pt x="3395443" y="940758"/>
                  <a:pt x="3395443" y="942754"/>
                </a:cubicBezTo>
                <a:cubicBezTo>
                  <a:pt x="3395443" y="944749"/>
                  <a:pt x="3397438" y="944749"/>
                  <a:pt x="3397438" y="944749"/>
                </a:cubicBezTo>
                <a:cubicBezTo>
                  <a:pt x="3397438" y="944749"/>
                  <a:pt x="3399433" y="944749"/>
                  <a:pt x="3401428" y="946745"/>
                </a:cubicBezTo>
                <a:cubicBezTo>
                  <a:pt x="3403423" y="948741"/>
                  <a:pt x="3403423" y="950737"/>
                  <a:pt x="3401428" y="950737"/>
                </a:cubicBezTo>
                <a:cubicBezTo>
                  <a:pt x="3397438" y="950737"/>
                  <a:pt x="3399433" y="954728"/>
                  <a:pt x="3401428" y="956724"/>
                </a:cubicBezTo>
                <a:cubicBezTo>
                  <a:pt x="3401428" y="958720"/>
                  <a:pt x="3399433" y="960716"/>
                  <a:pt x="3395443" y="958720"/>
                </a:cubicBezTo>
                <a:cubicBezTo>
                  <a:pt x="3393447" y="958720"/>
                  <a:pt x="3393447" y="956724"/>
                  <a:pt x="3393447" y="954728"/>
                </a:cubicBezTo>
                <a:cubicBezTo>
                  <a:pt x="3395443" y="952732"/>
                  <a:pt x="3395443" y="954728"/>
                  <a:pt x="3395443" y="952732"/>
                </a:cubicBezTo>
                <a:cubicBezTo>
                  <a:pt x="3395443" y="950737"/>
                  <a:pt x="3393447" y="950737"/>
                  <a:pt x="3391452" y="950737"/>
                </a:cubicBezTo>
                <a:cubicBezTo>
                  <a:pt x="3387462" y="950737"/>
                  <a:pt x="3387462" y="952732"/>
                  <a:pt x="3389457" y="954728"/>
                </a:cubicBezTo>
                <a:cubicBezTo>
                  <a:pt x="3391452" y="954728"/>
                  <a:pt x="3389457" y="958720"/>
                  <a:pt x="3387462" y="958720"/>
                </a:cubicBezTo>
                <a:cubicBezTo>
                  <a:pt x="3385467" y="958720"/>
                  <a:pt x="3385467" y="956724"/>
                  <a:pt x="3383472" y="954728"/>
                </a:cubicBezTo>
                <a:cubicBezTo>
                  <a:pt x="3381477" y="952732"/>
                  <a:pt x="3379482" y="956724"/>
                  <a:pt x="3379482" y="956724"/>
                </a:cubicBezTo>
                <a:cubicBezTo>
                  <a:pt x="3379482" y="956724"/>
                  <a:pt x="3379482" y="960716"/>
                  <a:pt x="3379482" y="960716"/>
                </a:cubicBezTo>
                <a:cubicBezTo>
                  <a:pt x="3377487" y="960716"/>
                  <a:pt x="3375492" y="960716"/>
                  <a:pt x="3375492" y="964707"/>
                </a:cubicBezTo>
                <a:cubicBezTo>
                  <a:pt x="3375492" y="966703"/>
                  <a:pt x="3371502" y="966703"/>
                  <a:pt x="3371502" y="966703"/>
                </a:cubicBezTo>
                <a:cubicBezTo>
                  <a:pt x="3369507" y="966703"/>
                  <a:pt x="3367512" y="970694"/>
                  <a:pt x="3367512" y="972690"/>
                </a:cubicBezTo>
                <a:cubicBezTo>
                  <a:pt x="3367512" y="972690"/>
                  <a:pt x="3363522" y="976682"/>
                  <a:pt x="3361527" y="978677"/>
                </a:cubicBezTo>
                <a:cubicBezTo>
                  <a:pt x="3359532" y="980673"/>
                  <a:pt x="3359532" y="984665"/>
                  <a:pt x="3359532" y="986661"/>
                </a:cubicBezTo>
                <a:cubicBezTo>
                  <a:pt x="3359532" y="990652"/>
                  <a:pt x="3355542" y="988656"/>
                  <a:pt x="3353547" y="986661"/>
                </a:cubicBezTo>
                <a:cubicBezTo>
                  <a:pt x="3353547" y="984665"/>
                  <a:pt x="3351552" y="984665"/>
                  <a:pt x="3349557" y="984665"/>
                </a:cubicBezTo>
                <a:cubicBezTo>
                  <a:pt x="3347561" y="986661"/>
                  <a:pt x="3347561" y="990652"/>
                  <a:pt x="3349557" y="992648"/>
                </a:cubicBezTo>
                <a:cubicBezTo>
                  <a:pt x="3349557" y="996639"/>
                  <a:pt x="3345566" y="996639"/>
                  <a:pt x="3343571" y="996639"/>
                </a:cubicBezTo>
                <a:cubicBezTo>
                  <a:pt x="3341576" y="996639"/>
                  <a:pt x="3341576" y="994644"/>
                  <a:pt x="3341576" y="990652"/>
                </a:cubicBezTo>
                <a:cubicBezTo>
                  <a:pt x="3341576" y="986661"/>
                  <a:pt x="3341576" y="988656"/>
                  <a:pt x="3339581" y="986661"/>
                </a:cubicBezTo>
                <a:cubicBezTo>
                  <a:pt x="3339581" y="984665"/>
                  <a:pt x="3343571" y="982669"/>
                  <a:pt x="3343571" y="980673"/>
                </a:cubicBezTo>
                <a:cubicBezTo>
                  <a:pt x="3343571" y="978677"/>
                  <a:pt x="3341576" y="976682"/>
                  <a:pt x="3341576" y="976682"/>
                </a:cubicBezTo>
                <a:cubicBezTo>
                  <a:pt x="3339581" y="974686"/>
                  <a:pt x="3339581" y="974686"/>
                  <a:pt x="3337586" y="974686"/>
                </a:cubicBezTo>
                <a:cubicBezTo>
                  <a:pt x="3335591" y="974686"/>
                  <a:pt x="3335591" y="976682"/>
                  <a:pt x="3335591" y="978677"/>
                </a:cubicBezTo>
                <a:cubicBezTo>
                  <a:pt x="3333596" y="980673"/>
                  <a:pt x="3331601" y="986661"/>
                  <a:pt x="3329606" y="982669"/>
                </a:cubicBezTo>
                <a:cubicBezTo>
                  <a:pt x="3325616" y="978677"/>
                  <a:pt x="3329606" y="974686"/>
                  <a:pt x="3329606" y="972690"/>
                </a:cubicBezTo>
                <a:cubicBezTo>
                  <a:pt x="3329606" y="970694"/>
                  <a:pt x="3329606" y="970694"/>
                  <a:pt x="3329606" y="970694"/>
                </a:cubicBezTo>
                <a:cubicBezTo>
                  <a:pt x="3329606" y="970694"/>
                  <a:pt x="3325616" y="970694"/>
                  <a:pt x="3325616" y="968699"/>
                </a:cubicBezTo>
                <a:cubicBezTo>
                  <a:pt x="3323621" y="968699"/>
                  <a:pt x="3329606" y="964707"/>
                  <a:pt x="3329606" y="964707"/>
                </a:cubicBezTo>
                <a:cubicBezTo>
                  <a:pt x="3329606" y="964707"/>
                  <a:pt x="3331601" y="958720"/>
                  <a:pt x="3329606" y="950737"/>
                </a:cubicBezTo>
                <a:cubicBezTo>
                  <a:pt x="3327611" y="946745"/>
                  <a:pt x="3325616" y="944749"/>
                  <a:pt x="3323621" y="944749"/>
                </a:cubicBezTo>
                <a:cubicBezTo>
                  <a:pt x="3319631" y="944749"/>
                  <a:pt x="3319631" y="950737"/>
                  <a:pt x="3319631" y="950737"/>
                </a:cubicBezTo>
                <a:cubicBezTo>
                  <a:pt x="3317636" y="950737"/>
                  <a:pt x="3315641" y="950737"/>
                  <a:pt x="3315641" y="948741"/>
                </a:cubicBezTo>
                <a:cubicBezTo>
                  <a:pt x="3313646" y="946745"/>
                  <a:pt x="3309656" y="946745"/>
                  <a:pt x="3307661" y="946745"/>
                </a:cubicBezTo>
                <a:cubicBezTo>
                  <a:pt x="3305666" y="946745"/>
                  <a:pt x="3303670" y="946745"/>
                  <a:pt x="3303670" y="946745"/>
                </a:cubicBezTo>
                <a:cubicBezTo>
                  <a:pt x="3303670" y="946745"/>
                  <a:pt x="3303670" y="944749"/>
                  <a:pt x="3301675" y="944749"/>
                </a:cubicBezTo>
                <a:cubicBezTo>
                  <a:pt x="3299680" y="944749"/>
                  <a:pt x="3299680" y="940758"/>
                  <a:pt x="3295690" y="940758"/>
                </a:cubicBezTo>
                <a:cubicBezTo>
                  <a:pt x="3293695" y="940758"/>
                  <a:pt x="3295690" y="942754"/>
                  <a:pt x="3293695" y="944749"/>
                </a:cubicBezTo>
                <a:cubicBezTo>
                  <a:pt x="3293695" y="948741"/>
                  <a:pt x="3291700" y="948741"/>
                  <a:pt x="3291700" y="948741"/>
                </a:cubicBezTo>
                <a:cubicBezTo>
                  <a:pt x="3291700" y="948741"/>
                  <a:pt x="3287710" y="948741"/>
                  <a:pt x="3283720" y="950737"/>
                </a:cubicBezTo>
                <a:cubicBezTo>
                  <a:pt x="3279730" y="950737"/>
                  <a:pt x="3281725" y="948741"/>
                  <a:pt x="3279730" y="948741"/>
                </a:cubicBezTo>
                <a:cubicBezTo>
                  <a:pt x="3275740" y="948741"/>
                  <a:pt x="3277735" y="952732"/>
                  <a:pt x="3273745" y="952732"/>
                </a:cubicBezTo>
                <a:cubicBezTo>
                  <a:pt x="3271750" y="954728"/>
                  <a:pt x="3271750" y="952732"/>
                  <a:pt x="3267760" y="950737"/>
                </a:cubicBezTo>
                <a:cubicBezTo>
                  <a:pt x="3265765" y="950737"/>
                  <a:pt x="3263770" y="954728"/>
                  <a:pt x="3261775" y="958720"/>
                </a:cubicBezTo>
                <a:cubicBezTo>
                  <a:pt x="3259779" y="960716"/>
                  <a:pt x="3255789" y="960716"/>
                  <a:pt x="3253794" y="960716"/>
                </a:cubicBezTo>
                <a:cubicBezTo>
                  <a:pt x="3251799" y="960716"/>
                  <a:pt x="3249804" y="964707"/>
                  <a:pt x="3249804" y="966703"/>
                </a:cubicBezTo>
                <a:cubicBezTo>
                  <a:pt x="3249804" y="970694"/>
                  <a:pt x="3247809" y="972690"/>
                  <a:pt x="3245814" y="972690"/>
                </a:cubicBezTo>
                <a:cubicBezTo>
                  <a:pt x="3243819" y="972690"/>
                  <a:pt x="3241824" y="974686"/>
                  <a:pt x="3241824" y="976682"/>
                </a:cubicBezTo>
                <a:cubicBezTo>
                  <a:pt x="3241824" y="980673"/>
                  <a:pt x="3239829" y="980673"/>
                  <a:pt x="3239829" y="982669"/>
                </a:cubicBezTo>
                <a:cubicBezTo>
                  <a:pt x="3237834" y="982669"/>
                  <a:pt x="3237834" y="986661"/>
                  <a:pt x="3235839" y="988656"/>
                </a:cubicBezTo>
                <a:cubicBezTo>
                  <a:pt x="3235839" y="988656"/>
                  <a:pt x="3233844" y="992648"/>
                  <a:pt x="3233844" y="996639"/>
                </a:cubicBezTo>
                <a:cubicBezTo>
                  <a:pt x="3235839" y="998635"/>
                  <a:pt x="3231849" y="1000631"/>
                  <a:pt x="3229854" y="1000631"/>
                </a:cubicBezTo>
                <a:cubicBezTo>
                  <a:pt x="3227859" y="998635"/>
                  <a:pt x="3227859" y="1002627"/>
                  <a:pt x="3225864" y="1006618"/>
                </a:cubicBezTo>
                <a:cubicBezTo>
                  <a:pt x="3225864" y="1008614"/>
                  <a:pt x="3223869" y="1006618"/>
                  <a:pt x="3221874" y="1010610"/>
                </a:cubicBezTo>
                <a:cubicBezTo>
                  <a:pt x="3219879" y="1012606"/>
                  <a:pt x="3219879" y="1012606"/>
                  <a:pt x="3217884" y="1014601"/>
                </a:cubicBezTo>
                <a:cubicBezTo>
                  <a:pt x="3215889" y="1014601"/>
                  <a:pt x="3215889" y="1020589"/>
                  <a:pt x="3219879" y="1022584"/>
                </a:cubicBezTo>
                <a:cubicBezTo>
                  <a:pt x="3221874" y="1024580"/>
                  <a:pt x="3219879" y="1024580"/>
                  <a:pt x="3219879" y="1024580"/>
                </a:cubicBezTo>
                <a:cubicBezTo>
                  <a:pt x="3219879" y="1024580"/>
                  <a:pt x="3219879" y="1028572"/>
                  <a:pt x="3219879" y="1032563"/>
                </a:cubicBezTo>
                <a:cubicBezTo>
                  <a:pt x="3221874" y="1036555"/>
                  <a:pt x="3219879" y="1036555"/>
                  <a:pt x="3219879" y="1036555"/>
                </a:cubicBezTo>
                <a:cubicBezTo>
                  <a:pt x="3217884" y="1038551"/>
                  <a:pt x="3217884" y="1040546"/>
                  <a:pt x="3217884" y="1042542"/>
                </a:cubicBezTo>
                <a:cubicBezTo>
                  <a:pt x="3217884" y="1044538"/>
                  <a:pt x="3219879" y="1044538"/>
                  <a:pt x="3219879" y="1044538"/>
                </a:cubicBezTo>
                <a:cubicBezTo>
                  <a:pt x="3219879" y="1044538"/>
                  <a:pt x="3221874" y="1044538"/>
                  <a:pt x="3223869" y="1044538"/>
                </a:cubicBezTo>
                <a:cubicBezTo>
                  <a:pt x="3225864" y="1046534"/>
                  <a:pt x="3227859" y="1044538"/>
                  <a:pt x="3227859" y="1040546"/>
                </a:cubicBezTo>
                <a:cubicBezTo>
                  <a:pt x="3227859" y="1038551"/>
                  <a:pt x="3233844" y="1040546"/>
                  <a:pt x="3233844" y="1040546"/>
                </a:cubicBezTo>
                <a:cubicBezTo>
                  <a:pt x="3233844" y="1040546"/>
                  <a:pt x="3237834" y="1044538"/>
                  <a:pt x="3239829" y="1042542"/>
                </a:cubicBezTo>
                <a:cubicBezTo>
                  <a:pt x="3241824" y="1042542"/>
                  <a:pt x="3241824" y="1044538"/>
                  <a:pt x="3241824" y="1046534"/>
                </a:cubicBezTo>
                <a:cubicBezTo>
                  <a:pt x="3241824" y="1048530"/>
                  <a:pt x="3243819" y="1050525"/>
                  <a:pt x="3243819" y="1050525"/>
                </a:cubicBezTo>
                <a:cubicBezTo>
                  <a:pt x="3243819" y="1050525"/>
                  <a:pt x="3247809" y="1052521"/>
                  <a:pt x="3247809" y="1054517"/>
                </a:cubicBezTo>
                <a:cubicBezTo>
                  <a:pt x="3247809" y="1056513"/>
                  <a:pt x="3243819" y="1056513"/>
                  <a:pt x="3241824" y="1056513"/>
                </a:cubicBezTo>
                <a:cubicBezTo>
                  <a:pt x="3239829" y="1054517"/>
                  <a:pt x="3239829" y="1056513"/>
                  <a:pt x="3235839" y="1056513"/>
                </a:cubicBezTo>
                <a:cubicBezTo>
                  <a:pt x="3233844" y="1056513"/>
                  <a:pt x="3235839" y="1052521"/>
                  <a:pt x="3233844" y="1052521"/>
                </a:cubicBezTo>
                <a:cubicBezTo>
                  <a:pt x="3231849" y="1050525"/>
                  <a:pt x="3227859" y="1052521"/>
                  <a:pt x="3227859" y="1052521"/>
                </a:cubicBezTo>
                <a:cubicBezTo>
                  <a:pt x="3227859" y="1052521"/>
                  <a:pt x="3223869" y="1056513"/>
                  <a:pt x="3219879" y="1056513"/>
                </a:cubicBezTo>
                <a:cubicBezTo>
                  <a:pt x="3217884" y="1058508"/>
                  <a:pt x="3213893" y="1054517"/>
                  <a:pt x="3213893" y="1052521"/>
                </a:cubicBezTo>
                <a:cubicBezTo>
                  <a:pt x="3211898" y="1052521"/>
                  <a:pt x="3209903" y="1054517"/>
                  <a:pt x="3209903" y="1054517"/>
                </a:cubicBezTo>
                <a:cubicBezTo>
                  <a:pt x="3207908" y="1054517"/>
                  <a:pt x="3207908" y="1052521"/>
                  <a:pt x="3205913" y="1052521"/>
                </a:cubicBezTo>
                <a:cubicBezTo>
                  <a:pt x="3203918" y="1052521"/>
                  <a:pt x="3203918" y="1054517"/>
                  <a:pt x="3203918" y="1054517"/>
                </a:cubicBezTo>
                <a:cubicBezTo>
                  <a:pt x="3203918" y="1054517"/>
                  <a:pt x="3205913" y="1058508"/>
                  <a:pt x="3203918" y="1058508"/>
                </a:cubicBezTo>
                <a:cubicBezTo>
                  <a:pt x="3201923" y="1058508"/>
                  <a:pt x="3199928" y="1058508"/>
                  <a:pt x="3197933" y="1056513"/>
                </a:cubicBezTo>
                <a:cubicBezTo>
                  <a:pt x="3197933" y="1054517"/>
                  <a:pt x="3195938" y="1056513"/>
                  <a:pt x="3193943" y="1056513"/>
                </a:cubicBezTo>
                <a:cubicBezTo>
                  <a:pt x="3193943" y="1058508"/>
                  <a:pt x="3193943" y="1060504"/>
                  <a:pt x="3193943" y="1060504"/>
                </a:cubicBezTo>
                <a:cubicBezTo>
                  <a:pt x="3193943" y="1062500"/>
                  <a:pt x="3189953" y="1066491"/>
                  <a:pt x="3185963" y="1064496"/>
                </a:cubicBezTo>
                <a:cubicBezTo>
                  <a:pt x="3183968" y="1062500"/>
                  <a:pt x="3183968" y="1058508"/>
                  <a:pt x="3179978" y="1058508"/>
                </a:cubicBezTo>
                <a:cubicBezTo>
                  <a:pt x="3177983" y="1058508"/>
                  <a:pt x="3179978" y="1064496"/>
                  <a:pt x="3179978" y="1066491"/>
                </a:cubicBezTo>
                <a:cubicBezTo>
                  <a:pt x="3179978" y="1066491"/>
                  <a:pt x="3173993" y="1068487"/>
                  <a:pt x="3171998" y="1068487"/>
                </a:cubicBezTo>
                <a:cubicBezTo>
                  <a:pt x="3170002" y="1068487"/>
                  <a:pt x="3168007" y="1068487"/>
                  <a:pt x="3166012" y="1068487"/>
                </a:cubicBezTo>
                <a:cubicBezTo>
                  <a:pt x="3164017" y="1070483"/>
                  <a:pt x="3158032" y="1068487"/>
                  <a:pt x="3156037" y="1066491"/>
                </a:cubicBezTo>
                <a:cubicBezTo>
                  <a:pt x="3154042" y="1062500"/>
                  <a:pt x="3154042" y="1058508"/>
                  <a:pt x="3158032" y="1056513"/>
                </a:cubicBezTo>
                <a:cubicBezTo>
                  <a:pt x="3162022" y="1052521"/>
                  <a:pt x="3166012" y="1054517"/>
                  <a:pt x="3168007" y="1056513"/>
                </a:cubicBezTo>
                <a:cubicBezTo>
                  <a:pt x="3168007" y="1058508"/>
                  <a:pt x="3173993" y="1054517"/>
                  <a:pt x="3173993" y="1052521"/>
                </a:cubicBezTo>
                <a:cubicBezTo>
                  <a:pt x="3173993" y="1048530"/>
                  <a:pt x="3168007" y="1048530"/>
                  <a:pt x="3164017" y="1050525"/>
                </a:cubicBezTo>
                <a:cubicBezTo>
                  <a:pt x="3160027" y="1050525"/>
                  <a:pt x="3160027" y="1046534"/>
                  <a:pt x="3160027" y="1042542"/>
                </a:cubicBezTo>
                <a:cubicBezTo>
                  <a:pt x="3160027" y="1040546"/>
                  <a:pt x="3152047" y="1042542"/>
                  <a:pt x="3150052" y="1042542"/>
                </a:cubicBezTo>
                <a:cubicBezTo>
                  <a:pt x="3148057" y="1042542"/>
                  <a:pt x="3150052" y="1040546"/>
                  <a:pt x="3148057" y="1040546"/>
                </a:cubicBezTo>
                <a:cubicBezTo>
                  <a:pt x="3146062" y="1038551"/>
                  <a:pt x="3144067" y="1042542"/>
                  <a:pt x="3142072" y="1042542"/>
                </a:cubicBezTo>
                <a:cubicBezTo>
                  <a:pt x="3138082" y="1042542"/>
                  <a:pt x="3134092" y="1040546"/>
                  <a:pt x="3132097" y="1038551"/>
                </a:cubicBezTo>
                <a:cubicBezTo>
                  <a:pt x="3130102" y="1038551"/>
                  <a:pt x="3130102" y="1044538"/>
                  <a:pt x="3126111" y="1044538"/>
                </a:cubicBezTo>
                <a:cubicBezTo>
                  <a:pt x="3124116" y="1044538"/>
                  <a:pt x="3122121" y="1040546"/>
                  <a:pt x="3120126" y="1038551"/>
                </a:cubicBezTo>
                <a:cubicBezTo>
                  <a:pt x="3118131" y="1036555"/>
                  <a:pt x="3114141" y="1034559"/>
                  <a:pt x="3112146" y="1034559"/>
                </a:cubicBezTo>
                <a:cubicBezTo>
                  <a:pt x="3112146" y="1034559"/>
                  <a:pt x="3110151" y="1036555"/>
                  <a:pt x="3108156" y="1034559"/>
                </a:cubicBezTo>
                <a:cubicBezTo>
                  <a:pt x="3106161" y="1034559"/>
                  <a:pt x="3102171" y="1034559"/>
                  <a:pt x="3098181" y="1036555"/>
                </a:cubicBezTo>
                <a:cubicBezTo>
                  <a:pt x="3096186" y="1036555"/>
                  <a:pt x="3096186" y="1040546"/>
                  <a:pt x="3098181" y="1042542"/>
                </a:cubicBezTo>
                <a:cubicBezTo>
                  <a:pt x="3098181" y="1044538"/>
                  <a:pt x="3096186" y="1046534"/>
                  <a:pt x="3092196" y="1046534"/>
                </a:cubicBezTo>
                <a:cubicBezTo>
                  <a:pt x="3086211" y="1044538"/>
                  <a:pt x="3088206" y="1050525"/>
                  <a:pt x="3086211" y="1054517"/>
                </a:cubicBezTo>
                <a:cubicBezTo>
                  <a:pt x="3084216" y="1056513"/>
                  <a:pt x="3082220" y="1056513"/>
                  <a:pt x="3082220" y="1052521"/>
                </a:cubicBezTo>
                <a:cubicBezTo>
                  <a:pt x="3082220" y="1048530"/>
                  <a:pt x="3080225" y="1048530"/>
                  <a:pt x="3080225" y="1048530"/>
                </a:cubicBezTo>
                <a:cubicBezTo>
                  <a:pt x="3080225" y="1048530"/>
                  <a:pt x="3080225" y="1048530"/>
                  <a:pt x="3076235" y="1050525"/>
                </a:cubicBezTo>
                <a:cubicBezTo>
                  <a:pt x="3076235" y="1050525"/>
                  <a:pt x="3072245" y="1048530"/>
                  <a:pt x="3072245" y="1050525"/>
                </a:cubicBezTo>
                <a:cubicBezTo>
                  <a:pt x="3072245" y="1052521"/>
                  <a:pt x="3070250" y="1054517"/>
                  <a:pt x="3068255" y="1052521"/>
                </a:cubicBezTo>
                <a:cubicBezTo>
                  <a:pt x="3068255" y="1052521"/>
                  <a:pt x="3066260" y="1052521"/>
                  <a:pt x="3066260" y="1054517"/>
                </a:cubicBezTo>
                <a:cubicBezTo>
                  <a:pt x="3064265" y="1056513"/>
                  <a:pt x="3064265" y="1056513"/>
                  <a:pt x="3062270" y="1054517"/>
                </a:cubicBezTo>
                <a:cubicBezTo>
                  <a:pt x="3060275" y="1052521"/>
                  <a:pt x="3056285" y="1050525"/>
                  <a:pt x="3056285" y="1050525"/>
                </a:cubicBezTo>
                <a:cubicBezTo>
                  <a:pt x="3056285" y="1050525"/>
                  <a:pt x="3052295" y="1052521"/>
                  <a:pt x="3052295" y="1050525"/>
                </a:cubicBezTo>
                <a:cubicBezTo>
                  <a:pt x="3052295" y="1048530"/>
                  <a:pt x="3050300" y="1048530"/>
                  <a:pt x="3046310" y="1048530"/>
                </a:cubicBezTo>
                <a:cubicBezTo>
                  <a:pt x="3040325" y="1048530"/>
                  <a:pt x="3042320" y="1046534"/>
                  <a:pt x="3038330" y="1046534"/>
                </a:cubicBezTo>
                <a:cubicBezTo>
                  <a:pt x="3036334" y="1044538"/>
                  <a:pt x="3036334" y="1050525"/>
                  <a:pt x="3036334" y="1052521"/>
                </a:cubicBezTo>
                <a:cubicBezTo>
                  <a:pt x="3038330" y="1054517"/>
                  <a:pt x="3036334" y="1058508"/>
                  <a:pt x="3030349" y="1058508"/>
                </a:cubicBezTo>
                <a:cubicBezTo>
                  <a:pt x="3026359" y="1060504"/>
                  <a:pt x="3024364" y="1056513"/>
                  <a:pt x="3022369" y="1054517"/>
                </a:cubicBezTo>
                <a:cubicBezTo>
                  <a:pt x="3020374" y="1052521"/>
                  <a:pt x="3022369" y="1050525"/>
                  <a:pt x="3022369" y="1046534"/>
                </a:cubicBezTo>
                <a:cubicBezTo>
                  <a:pt x="3024364" y="1044538"/>
                  <a:pt x="3020374" y="1042542"/>
                  <a:pt x="3016384" y="1044538"/>
                </a:cubicBezTo>
                <a:cubicBezTo>
                  <a:pt x="3014389" y="1048530"/>
                  <a:pt x="3012394" y="1046534"/>
                  <a:pt x="3012394" y="1046534"/>
                </a:cubicBezTo>
                <a:cubicBezTo>
                  <a:pt x="3012394" y="1046534"/>
                  <a:pt x="3012394" y="1044538"/>
                  <a:pt x="3010399" y="1046534"/>
                </a:cubicBezTo>
                <a:cubicBezTo>
                  <a:pt x="3008404" y="1050525"/>
                  <a:pt x="3004414" y="1046534"/>
                  <a:pt x="3004414" y="1046534"/>
                </a:cubicBezTo>
                <a:cubicBezTo>
                  <a:pt x="3004414" y="1046534"/>
                  <a:pt x="3002419" y="1044538"/>
                  <a:pt x="3000424" y="1048530"/>
                </a:cubicBezTo>
                <a:cubicBezTo>
                  <a:pt x="3000424" y="1052521"/>
                  <a:pt x="2994439" y="1050525"/>
                  <a:pt x="2994439" y="1050525"/>
                </a:cubicBezTo>
                <a:cubicBezTo>
                  <a:pt x="2994439" y="1050525"/>
                  <a:pt x="2984463" y="1048530"/>
                  <a:pt x="2982468" y="1048530"/>
                </a:cubicBezTo>
                <a:cubicBezTo>
                  <a:pt x="2978478" y="1050525"/>
                  <a:pt x="2974488" y="1048530"/>
                  <a:pt x="2974488" y="1048530"/>
                </a:cubicBezTo>
                <a:cubicBezTo>
                  <a:pt x="2974488" y="1048530"/>
                  <a:pt x="2966508" y="1048530"/>
                  <a:pt x="2964513" y="1050525"/>
                </a:cubicBezTo>
                <a:cubicBezTo>
                  <a:pt x="2964513" y="1052521"/>
                  <a:pt x="2962518" y="1052521"/>
                  <a:pt x="2960523" y="1052521"/>
                </a:cubicBezTo>
                <a:cubicBezTo>
                  <a:pt x="2956533" y="1050525"/>
                  <a:pt x="2950548" y="1052521"/>
                  <a:pt x="2944562" y="1054517"/>
                </a:cubicBezTo>
                <a:cubicBezTo>
                  <a:pt x="2940572" y="1056513"/>
                  <a:pt x="2938577" y="1058508"/>
                  <a:pt x="2938577" y="1060504"/>
                </a:cubicBezTo>
                <a:cubicBezTo>
                  <a:pt x="2938577" y="1062500"/>
                  <a:pt x="2936582" y="1068487"/>
                  <a:pt x="2936582" y="1068487"/>
                </a:cubicBezTo>
                <a:cubicBezTo>
                  <a:pt x="2936582" y="1068487"/>
                  <a:pt x="2928602" y="1072479"/>
                  <a:pt x="2926607" y="1074475"/>
                </a:cubicBezTo>
                <a:cubicBezTo>
                  <a:pt x="2924612" y="1078466"/>
                  <a:pt x="2920622" y="1082458"/>
                  <a:pt x="2914637" y="1084453"/>
                </a:cubicBezTo>
                <a:cubicBezTo>
                  <a:pt x="2910647" y="1086449"/>
                  <a:pt x="2912642" y="1092437"/>
                  <a:pt x="2912642" y="1092437"/>
                </a:cubicBezTo>
                <a:cubicBezTo>
                  <a:pt x="2912642" y="1092437"/>
                  <a:pt x="2914637" y="1096428"/>
                  <a:pt x="2912642" y="1096428"/>
                </a:cubicBezTo>
                <a:cubicBezTo>
                  <a:pt x="2910647" y="1096428"/>
                  <a:pt x="2908652" y="1102415"/>
                  <a:pt x="2908652" y="1104411"/>
                </a:cubicBezTo>
                <a:cubicBezTo>
                  <a:pt x="2910647" y="1108403"/>
                  <a:pt x="2908652" y="1116386"/>
                  <a:pt x="2906657" y="1114390"/>
                </a:cubicBezTo>
                <a:cubicBezTo>
                  <a:pt x="2904662" y="1112394"/>
                  <a:pt x="2900671" y="1116386"/>
                  <a:pt x="2900671" y="1118382"/>
                </a:cubicBezTo>
                <a:cubicBezTo>
                  <a:pt x="2900671" y="1122373"/>
                  <a:pt x="2900671" y="1126365"/>
                  <a:pt x="2898676" y="1126365"/>
                </a:cubicBezTo>
                <a:cubicBezTo>
                  <a:pt x="2896681" y="1124369"/>
                  <a:pt x="2894686" y="1126365"/>
                  <a:pt x="2894686" y="1126365"/>
                </a:cubicBezTo>
                <a:cubicBezTo>
                  <a:pt x="2894686" y="1126365"/>
                  <a:pt x="2892691" y="1134348"/>
                  <a:pt x="2890696" y="1132352"/>
                </a:cubicBezTo>
                <a:cubicBezTo>
                  <a:pt x="2886706" y="1130356"/>
                  <a:pt x="2884711" y="1138339"/>
                  <a:pt x="2884711" y="1138339"/>
                </a:cubicBezTo>
                <a:cubicBezTo>
                  <a:pt x="2884711" y="1138339"/>
                  <a:pt x="2880721" y="1146322"/>
                  <a:pt x="2876731" y="1144327"/>
                </a:cubicBezTo>
                <a:cubicBezTo>
                  <a:pt x="2872741" y="1140335"/>
                  <a:pt x="2872741" y="1152310"/>
                  <a:pt x="2872741" y="1152310"/>
                </a:cubicBezTo>
                <a:cubicBezTo>
                  <a:pt x="2872741" y="1152310"/>
                  <a:pt x="2874736" y="1158297"/>
                  <a:pt x="2870746" y="1158297"/>
                </a:cubicBezTo>
                <a:cubicBezTo>
                  <a:pt x="2868751" y="1158297"/>
                  <a:pt x="2868751" y="1162289"/>
                  <a:pt x="2868751" y="1162289"/>
                </a:cubicBezTo>
                <a:cubicBezTo>
                  <a:pt x="2868751" y="1162289"/>
                  <a:pt x="2872741" y="1162289"/>
                  <a:pt x="2872741" y="1166280"/>
                </a:cubicBezTo>
                <a:cubicBezTo>
                  <a:pt x="2872741" y="1170272"/>
                  <a:pt x="2868751" y="1172267"/>
                  <a:pt x="2866756" y="1170272"/>
                </a:cubicBezTo>
                <a:cubicBezTo>
                  <a:pt x="2866756" y="1166280"/>
                  <a:pt x="2860771" y="1168276"/>
                  <a:pt x="2862766" y="1172267"/>
                </a:cubicBezTo>
                <a:cubicBezTo>
                  <a:pt x="2864761" y="1178255"/>
                  <a:pt x="2860771" y="1180251"/>
                  <a:pt x="2856780" y="1180251"/>
                </a:cubicBezTo>
                <a:cubicBezTo>
                  <a:pt x="2852790" y="1180251"/>
                  <a:pt x="2854785" y="1188234"/>
                  <a:pt x="2852790" y="1192225"/>
                </a:cubicBezTo>
                <a:cubicBezTo>
                  <a:pt x="2852790" y="1196217"/>
                  <a:pt x="2842815" y="1198212"/>
                  <a:pt x="2842815" y="1198212"/>
                </a:cubicBezTo>
                <a:cubicBezTo>
                  <a:pt x="2842815" y="1198212"/>
                  <a:pt x="2842815" y="1202204"/>
                  <a:pt x="2838825" y="1202204"/>
                </a:cubicBezTo>
                <a:cubicBezTo>
                  <a:pt x="2832840" y="1202204"/>
                  <a:pt x="2838825" y="1212183"/>
                  <a:pt x="2834835" y="1212183"/>
                </a:cubicBezTo>
                <a:cubicBezTo>
                  <a:pt x="2830845" y="1212183"/>
                  <a:pt x="2830845" y="1214179"/>
                  <a:pt x="2830845" y="1214179"/>
                </a:cubicBezTo>
                <a:cubicBezTo>
                  <a:pt x="2830845" y="1214179"/>
                  <a:pt x="2830845" y="1214179"/>
                  <a:pt x="2826855" y="1216174"/>
                </a:cubicBezTo>
                <a:cubicBezTo>
                  <a:pt x="2826855" y="1216174"/>
                  <a:pt x="2824860" y="1220166"/>
                  <a:pt x="2818875" y="1222162"/>
                </a:cubicBezTo>
                <a:cubicBezTo>
                  <a:pt x="2812889" y="1222162"/>
                  <a:pt x="2814884" y="1228149"/>
                  <a:pt x="2814884" y="1228149"/>
                </a:cubicBezTo>
                <a:cubicBezTo>
                  <a:pt x="2814884" y="1228149"/>
                  <a:pt x="2820870" y="1230145"/>
                  <a:pt x="2822865" y="1232141"/>
                </a:cubicBezTo>
                <a:cubicBezTo>
                  <a:pt x="2822865" y="1234136"/>
                  <a:pt x="2830845" y="1234136"/>
                  <a:pt x="2830845" y="1234136"/>
                </a:cubicBezTo>
                <a:cubicBezTo>
                  <a:pt x="2830845" y="1234136"/>
                  <a:pt x="2834835" y="1232141"/>
                  <a:pt x="2834835" y="1236132"/>
                </a:cubicBezTo>
                <a:cubicBezTo>
                  <a:pt x="2834835" y="1240124"/>
                  <a:pt x="2840820" y="1240124"/>
                  <a:pt x="2840820" y="1240124"/>
                </a:cubicBezTo>
                <a:cubicBezTo>
                  <a:pt x="2840820" y="1240124"/>
                  <a:pt x="2846805" y="1234136"/>
                  <a:pt x="2846805" y="1238128"/>
                </a:cubicBezTo>
                <a:cubicBezTo>
                  <a:pt x="2846805" y="1242119"/>
                  <a:pt x="2850795" y="1238128"/>
                  <a:pt x="2850795" y="1238128"/>
                </a:cubicBezTo>
                <a:cubicBezTo>
                  <a:pt x="2850795" y="1238128"/>
                  <a:pt x="2856780" y="1236132"/>
                  <a:pt x="2860771" y="1236132"/>
                </a:cubicBezTo>
                <a:cubicBezTo>
                  <a:pt x="2864761" y="1238128"/>
                  <a:pt x="2856780" y="1252098"/>
                  <a:pt x="2862766" y="1254094"/>
                </a:cubicBezTo>
                <a:cubicBezTo>
                  <a:pt x="2866756" y="1254094"/>
                  <a:pt x="2864761" y="1266069"/>
                  <a:pt x="2868751" y="1266069"/>
                </a:cubicBezTo>
                <a:cubicBezTo>
                  <a:pt x="2870746" y="1268065"/>
                  <a:pt x="2872741" y="1264073"/>
                  <a:pt x="2872741" y="1260081"/>
                </a:cubicBezTo>
                <a:cubicBezTo>
                  <a:pt x="2870746" y="1256090"/>
                  <a:pt x="2870746" y="1254094"/>
                  <a:pt x="2872741" y="1248107"/>
                </a:cubicBezTo>
                <a:cubicBezTo>
                  <a:pt x="2874736" y="1242119"/>
                  <a:pt x="2876731" y="1248107"/>
                  <a:pt x="2878726" y="1246111"/>
                </a:cubicBezTo>
                <a:cubicBezTo>
                  <a:pt x="2882716" y="1242119"/>
                  <a:pt x="2882716" y="1246111"/>
                  <a:pt x="2882716" y="1246111"/>
                </a:cubicBezTo>
                <a:cubicBezTo>
                  <a:pt x="2882716" y="1246111"/>
                  <a:pt x="2880721" y="1250103"/>
                  <a:pt x="2878726" y="1252098"/>
                </a:cubicBezTo>
                <a:cubicBezTo>
                  <a:pt x="2876731" y="1252098"/>
                  <a:pt x="2874736" y="1254094"/>
                  <a:pt x="2878726" y="1260081"/>
                </a:cubicBezTo>
                <a:cubicBezTo>
                  <a:pt x="2882716" y="1264073"/>
                  <a:pt x="2884711" y="1262077"/>
                  <a:pt x="2888701" y="1264073"/>
                </a:cubicBezTo>
                <a:cubicBezTo>
                  <a:pt x="2892691" y="1264073"/>
                  <a:pt x="2884711" y="1270060"/>
                  <a:pt x="2884711" y="1270060"/>
                </a:cubicBezTo>
                <a:cubicBezTo>
                  <a:pt x="2884711" y="1270060"/>
                  <a:pt x="2884711" y="1274052"/>
                  <a:pt x="2882716" y="1274052"/>
                </a:cubicBezTo>
                <a:cubicBezTo>
                  <a:pt x="2880721" y="1272056"/>
                  <a:pt x="2880721" y="1274052"/>
                  <a:pt x="2878726" y="1276048"/>
                </a:cubicBezTo>
                <a:cubicBezTo>
                  <a:pt x="2876731" y="1280039"/>
                  <a:pt x="2880721" y="1280039"/>
                  <a:pt x="2880721" y="1280039"/>
                </a:cubicBezTo>
                <a:cubicBezTo>
                  <a:pt x="2880721" y="1280039"/>
                  <a:pt x="2886706" y="1274052"/>
                  <a:pt x="2888701" y="1278043"/>
                </a:cubicBezTo>
                <a:cubicBezTo>
                  <a:pt x="2892691" y="1282035"/>
                  <a:pt x="2894686" y="1276048"/>
                  <a:pt x="2894686" y="1276048"/>
                </a:cubicBezTo>
                <a:cubicBezTo>
                  <a:pt x="2894686" y="1276048"/>
                  <a:pt x="2894686" y="1272056"/>
                  <a:pt x="2898676" y="1274052"/>
                </a:cubicBezTo>
                <a:cubicBezTo>
                  <a:pt x="2902666" y="1274052"/>
                  <a:pt x="2902666" y="1268065"/>
                  <a:pt x="2902666" y="1268065"/>
                </a:cubicBezTo>
                <a:cubicBezTo>
                  <a:pt x="2902666" y="1268065"/>
                  <a:pt x="2902666" y="1260081"/>
                  <a:pt x="2906657" y="1260081"/>
                </a:cubicBezTo>
                <a:cubicBezTo>
                  <a:pt x="2910647" y="1262077"/>
                  <a:pt x="2910647" y="1270060"/>
                  <a:pt x="2908652" y="1270060"/>
                </a:cubicBezTo>
                <a:cubicBezTo>
                  <a:pt x="2904662" y="1270060"/>
                  <a:pt x="2904662" y="1276048"/>
                  <a:pt x="2906657" y="1278043"/>
                </a:cubicBezTo>
                <a:cubicBezTo>
                  <a:pt x="2910647" y="1280039"/>
                  <a:pt x="2906657" y="1276048"/>
                  <a:pt x="2910647" y="1276048"/>
                </a:cubicBezTo>
                <a:cubicBezTo>
                  <a:pt x="2914637" y="1274052"/>
                  <a:pt x="2912642" y="1270060"/>
                  <a:pt x="2912642" y="1270060"/>
                </a:cubicBezTo>
                <a:cubicBezTo>
                  <a:pt x="2912642" y="1270060"/>
                  <a:pt x="2912642" y="1264073"/>
                  <a:pt x="2914637" y="1260081"/>
                </a:cubicBezTo>
                <a:cubicBezTo>
                  <a:pt x="2914637" y="1254094"/>
                  <a:pt x="2910647" y="1254094"/>
                  <a:pt x="2910647" y="1254094"/>
                </a:cubicBezTo>
                <a:cubicBezTo>
                  <a:pt x="2910647" y="1254094"/>
                  <a:pt x="2906657" y="1246111"/>
                  <a:pt x="2914637" y="1250103"/>
                </a:cubicBezTo>
                <a:cubicBezTo>
                  <a:pt x="2922617" y="1254094"/>
                  <a:pt x="2918627" y="1256090"/>
                  <a:pt x="2922617" y="1258086"/>
                </a:cubicBezTo>
                <a:cubicBezTo>
                  <a:pt x="2924612" y="1258086"/>
                  <a:pt x="2928602" y="1254094"/>
                  <a:pt x="2928602" y="1250103"/>
                </a:cubicBezTo>
                <a:cubicBezTo>
                  <a:pt x="2930597" y="1248107"/>
                  <a:pt x="2938577" y="1246111"/>
                  <a:pt x="2940572" y="1252098"/>
                </a:cubicBezTo>
                <a:cubicBezTo>
                  <a:pt x="2940572" y="1260081"/>
                  <a:pt x="2944562" y="1260081"/>
                  <a:pt x="2944562" y="1260081"/>
                </a:cubicBezTo>
                <a:cubicBezTo>
                  <a:pt x="2944562" y="1260081"/>
                  <a:pt x="2952543" y="1262077"/>
                  <a:pt x="2950548" y="1268065"/>
                </a:cubicBezTo>
                <a:cubicBezTo>
                  <a:pt x="2948552" y="1274052"/>
                  <a:pt x="2954538" y="1274052"/>
                  <a:pt x="2956533" y="1274052"/>
                </a:cubicBezTo>
                <a:cubicBezTo>
                  <a:pt x="2958528" y="1274052"/>
                  <a:pt x="2960523" y="1282035"/>
                  <a:pt x="2964513" y="1284031"/>
                </a:cubicBezTo>
                <a:cubicBezTo>
                  <a:pt x="2966508" y="1284031"/>
                  <a:pt x="2972493" y="1280039"/>
                  <a:pt x="2970498" y="1284031"/>
                </a:cubicBezTo>
                <a:cubicBezTo>
                  <a:pt x="2970498" y="1288022"/>
                  <a:pt x="2972493" y="1290018"/>
                  <a:pt x="2972493" y="1290018"/>
                </a:cubicBezTo>
                <a:cubicBezTo>
                  <a:pt x="2972493" y="1290018"/>
                  <a:pt x="2974488" y="1290018"/>
                  <a:pt x="2974488" y="1292014"/>
                </a:cubicBezTo>
                <a:cubicBezTo>
                  <a:pt x="2976483" y="1294010"/>
                  <a:pt x="2982468" y="1294010"/>
                  <a:pt x="2982468" y="1294010"/>
                </a:cubicBezTo>
                <a:cubicBezTo>
                  <a:pt x="2982468" y="1294010"/>
                  <a:pt x="2986458" y="1296005"/>
                  <a:pt x="2986458" y="1298001"/>
                </a:cubicBezTo>
                <a:cubicBezTo>
                  <a:pt x="2986458" y="1301993"/>
                  <a:pt x="2986458" y="1305984"/>
                  <a:pt x="2982468" y="1305984"/>
                </a:cubicBezTo>
                <a:cubicBezTo>
                  <a:pt x="2978478" y="1305984"/>
                  <a:pt x="2980473" y="1301993"/>
                  <a:pt x="2978478" y="1301993"/>
                </a:cubicBezTo>
                <a:cubicBezTo>
                  <a:pt x="2974488" y="1301993"/>
                  <a:pt x="2976483" y="1305984"/>
                  <a:pt x="2976483" y="1305984"/>
                </a:cubicBezTo>
                <a:cubicBezTo>
                  <a:pt x="2976483" y="1305984"/>
                  <a:pt x="2978478" y="1309976"/>
                  <a:pt x="2984463" y="1309976"/>
                </a:cubicBezTo>
                <a:cubicBezTo>
                  <a:pt x="2988453" y="1307980"/>
                  <a:pt x="2986458" y="1313967"/>
                  <a:pt x="2990448" y="1315963"/>
                </a:cubicBezTo>
                <a:cubicBezTo>
                  <a:pt x="2992443" y="1317959"/>
                  <a:pt x="2988453" y="1319955"/>
                  <a:pt x="2988453" y="1323946"/>
                </a:cubicBezTo>
                <a:cubicBezTo>
                  <a:pt x="2988453" y="1327938"/>
                  <a:pt x="2990448" y="1327938"/>
                  <a:pt x="2994439" y="1327938"/>
                </a:cubicBezTo>
                <a:cubicBezTo>
                  <a:pt x="2998429" y="1325942"/>
                  <a:pt x="2998429" y="1335921"/>
                  <a:pt x="2994439" y="1335921"/>
                </a:cubicBezTo>
                <a:cubicBezTo>
                  <a:pt x="2992443" y="1335921"/>
                  <a:pt x="2992443" y="1339912"/>
                  <a:pt x="2992443" y="1339912"/>
                </a:cubicBezTo>
                <a:cubicBezTo>
                  <a:pt x="2992443" y="1339912"/>
                  <a:pt x="2992443" y="1339912"/>
                  <a:pt x="2992443" y="1345900"/>
                </a:cubicBezTo>
                <a:cubicBezTo>
                  <a:pt x="2992443" y="1345900"/>
                  <a:pt x="2986458" y="1347895"/>
                  <a:pt x="2988453" y="1351887"/>
                </a:cubicBezTo>
                <a:cubicBezTo>
                  <a:pt x="2990448" y="1355879"/>
                  <a:pt x="2990448" y="1359870"/>
                  <a:pt x="2988453" y="1357874"/>
                </a:cubicBezTo>
                <a:cubicBezTo>
                  <a:pt x="2986458" y="1357874"/>
                  <a:pt x="2986458" y="1363862"/>
                  <a:pt x="2988453" y="1365857"/>
                </a:cubicBezTo>
                <a:cubicBezTo>
                  <a:pt x="2990448" y="1365857"/>
                  <a:pt x="2990448" y="1377832"/>
                  <a:pt x="2988453" y="1377832"/>
                </a:cubicBezTo>
                <a:cubicBezTo>
                  <a:pt x="2986458" y="1377832"/>
                  <a:pt x="2984463" y="1381824"/>
                  <a:pt x="2988453" y="1383819"/>
                </a:cubicBezTo>
                <a:cubicBezTo>
                  <a:pt x="2992443" y="1385815"/>
                  <a:pt x="2986458" y="1391802"/>
                  <a:pt x="2990448" y="1395794"/>
                </a:cubicBezTo>
                <a:cubicBezTo>
                  <a:pt x="2994439" y="1399786"/>
                  <a:pt x="2990448" y="1407769"/>
                  <a:pt x="2994439" y="1407769"/>
                </a:cubicBezTo>
                <a:cubicBezTo>
                  <a:pt x="2998429" y="1407769"/>
                  <a:pt x="2996434" y="1411760"/>
                  <a:pt x="2996434" y="1411760"/>
                </a:cubicBezTo>
                <a:cubicBezTo>
                  <a:pt x="2996434" y="1411760"/>
                  <a:pt x="2994439" y="1419743"/>
                  <a:pt x="2998429" y="1423735"/>
                </a:cubicBezTo>
                <a:cubicBezTo>
                  <a:pt x="3002419" y="1429722"/>
                  <a:pt x="2998429" y="1433714"/>
                  <a:pt x="2996434" y="1435709"/>
                </a:cubicBezTo>
                <a:cubicBezTo>
                  <a:pt x="2994439" y="1437705"/>
                  <a:pt x="3000424" y="1443693"/>
                  <a:pt x="2998429" y="1447684"/>
                </a:cubicBezTo>
                <a:cubicBezTo>
                  <a:pt x="2994439" y="1451676"/>
                  <a:pt x="2996434" y="1455667"/>
                  <a:pt x="2996434" y="1455667"/>
                </a:cubicBezTo>
                <a:cubicBezTo>
                  <a:pt x="2996434" y="1455667"/>
                  <a:pt x="2996434" y="1455667"/>
                  <a:pt x="3002419" y="1457663"/>
                </a:cubicBezTo>
                <a:cubicBezTo>
                  <a:pt x="3002419" y="1457663"/>
                  <a:pt x="3002419" y="1475625"/>
                  <a:pt x="3000424" y="1475625"/>
                </a:cubicBezTo>
                <a:cubicBezTo>
                  <a:pt x="2996434" y="1475625"/>
                  <a:pt x="2994439" y="1483608"/>
                  <a:pt x="2994439" y="1483608"/>
                </a:cubicBezTo>
                <a:cubicBezTo>
                  <a:pt x="2994439" y="1483608"/>
                  <a:pt x="2994439" y="1491591"/>
                  <a:pt x="2990448" y="1491591"/>
                </a:cubicBezTo>
                <a:cubicBezTo>
                  <a:pt x="2988453" y="1491591"/>
                  <a:pt x="2986458" y="1493587"/>
                  <a:pt x="2986458" y="1493587"/>
                </a:cubicBezTo>
                <a:cubicBezTo>
                  <a:pt x="2986458" y="1493587"/>
                  <a:pt x="2988453" y="1501570"/>
                  <a:pt x="2986458" y="1501570"/>
                </a:cubicBezTo>
                <a:cubicBezTo>
                  <a:pt x="2982468" y="1503566"/>
                  <a:pt x="2982468" y="1509553"/>
                  <a:pt x="2982468" y="1511549"/>
                </a:cubicBezTo>
                <a:cubicBezTo>
                  <a:pt x="2982468" y="1515540"/>
                  <a:pt x="2978478" y="1519532"/>
                  <a:pt x="2978478" y="1527515"/>
                </a:cubicBezTo>
                <a:cubicBezTo>
                  <a:pt x="2976483" y="1535498"/>
                  <a:pt x="2974488" y="1533502"/>
                  <a:pt x="2972493" y="1539490"/>
                </a:cubicBezTo>
                <a:cubicBezTo>
                  <a:pt x="2972493" y="1541485"/>
                  <a:pt x="2968503" y="1543481"/>
                  <a:pt x="2970498" y="1547473"/>
                </a:cubicBezTo>
                <a:cubicBezTo>
                  <a:pt x="2972493" y="1551464"/>
                  <a:pt x="2966508" y="1559447"/>
                  <a:pt x="2966508" y="1559447"/>
                </a:cubicBezTo>
                <a:cubicBezTo>
                  <a:pt x="2966508" y="1559447"/>
                  <a:pt x="2960523" y="1567430"/>
                  <a:pt x="2962518" y="1571422"/>
                </a:cubicBezTo>
                <a:cubicBezTo>
                  <a:pt x="2962518" y="1573418"/>
                  <a:pt x="2960523" y="1579405"/>
                  <a:pt x="2956533" y="1581401"/>
                </a:cubicBezTo>
                <a:cubicBezTo>
                  <a:pt x="2952543" y="1583397"/>
                  <a:pt x="2956533" y="1589384"/>
                  <a:pt x="2952543" y="1589384"/>
                </a:cubicBezTo>
                <a:cubicBezTo>
                  <a:pt x="2948552" y="1589384"/>
                  <a:pt x="2946557" y="1597367"/>
                  <a:pt x="2946557" y="1597367"/>
                </a:cubicBezTo>
                <a:cubicBezTo>
                  <a:pt x="2946557" y="1597367"/>
                  <a:pt x="2944562" y="1607346"/>
                  <a:pt x="2942567" y="1607346"/>
                </a:cubicBezTo>
                <a:cubicBezTo>
                  <a:pt x="2940572" y="1607346"/>
                  <a:pt x="2938577" y="1609342"/>
                  <a:pt x="2938577" y="1611337"/>
                </a:cubicBezTo>
                <a:cubicBezTo>
                  <a:pt x="2938577" y="1613333"/>
                  <a:pt x="2936582" y="1615329"/>
                  <a:pt x="2936582" y="1615329"/>
                </a:cubicBezTo>
                <a:cubicBezTo>
                  <a:pt x="2936582" y="1615329"/>
                  <a:pt x="2932592" y="1617325"/>
                  <a:pt x="2932592" y="1619321"/>
                </a:cubicBezTo>
                <a:cubicBezTo>
                  <a:pt x="2932592" y="1623312"/>
                  <a:pt x="2930597" y="1623312"/>
                  <a:pt x="2926607" y="1623312"/>
                </a:cubicBezTo>
                <a:cubicBezTo>
                  <a:pt x="2924612" y="1623312"/>
                  <a:pt x="2926607" y="1631295"/>
                  <a:pt x="2924612" y="1633291"/>
                </a:cubicBezTo>
                <a:cubicBezTo>
                  <a:pt x="2922617" y="1635287"/>
                  <a:pt x="2920622" y="1633291"/>
                  <a:pt x="2918627" y="1639278"/>
                </a:cubicBezTo>
                <a:cubicBezTo>
                  <a:pt x="2918627" y="1645266"/>
                  <a:pt x="2914637" y="1649257"/>
                  <a:pt x="2914637" y="1649257"/>
                </a:cubicBezTo>
                <a:cubicBezTo>
                  <a:pt x="2914637" y="1649257"/>
                  <a:pt x="2902666" y="1665223"/>
                  <a:pt x="2902666" y="1669215"/>
                </a:cubicBezTo>
                <a:cubicBezTo>
                  <a:pt x="2898676" y="1671211"/>
                  <a:pt x="2884711" y="1677198"/>
                  <a:pt x="2880721" y="1677198"/>
                </a:cubicBezTo>
                <a:cubicBezTo>
                  <a:pt x="2876731" y="1677198"/>
                  <a:pt x="2870746" y="1683185"/>
                  <a:pt x="2864761" y="1679194"/>
                </a:cubicBezTo>
                <a:cubicBezTo>
                  <a:pt x="2860771" y="1677198"/>
                  <a:pt x="2862766" y="1677198"/>
                  <a:pt x="2856780" y="1679194"/>
                </a:cubicBezTo>
                <a:cubicBezTo>
                  <a:pt x="2850795" y="1681190"/>
                  <a:pt x="2848800" y="1673206"/>
                  <a:pt x="2848800" y="1673206"/>
                </a:cubicBezTo>
                <a:cubicBezTo>
                  <a:pt x="2848800" y="1673206"/>
                  <a:pt x="2850795" y="1665223"/>
                  <a:pt x="2846805" y="1665223"/>
                </a:cubicBezTo>
                <a:cubicBezTo>
                  <a:pt x="2844810" y="1665223"/>
                  <a:pt x="2846805" y="1671211"/>
                  <a:pt x="2842815" y="1671211"/>
                </a:cubicBezTo>
                <a:cubicBezTo>
                  <a:pt x="2840820" y="1671211"/>
                  <a:pt x="2838825" y="1667219"/>
                  <a:pt x="2834835" y="1665223"/>
                </a:cubicBezTo>
                <a:cubicBezTo>
                  <a:pt x="2832840" y="1661232"/>
                  <a:pt x="2828850" y="1663228"/>
                  <a:pt x="2828850" y="1667219"/>
                </a:cubicBezTo>
                <a:cubicBezTo>
                  <a:pt x="2830845" y="1669215"/>
                  <a:pt x="2828850" y="1675202"/>
                  <a:pt x="2826855" y="1675202"/>
                </a:cubicBezTo>
                <a:cubicBezTo>
                  <a:pt x="2824860" y="1675202"/>
                  <a:pt x="2822865" y="1679194"/>
                  <a:pt x="2822865" y="1679194"/>
                </a:cubicBezTo>
                <a:cubicBezTo>
                  <a:pt x="2822865" y="1679194"/>
                  <a:pt x="2824860" y="1685181"/>
                  <a:pt x="2820870" y="1685181"/>
                </a:cubicBezTo>
                <a:cubicBezTo>
                  <a:pt x="2820870" y="1685181"/>
                  <a:pt x="2820870" y="1685181"/>
                  <a:pt x="2818875" y="1685181"/>
                </a:cubicBezTo>
                <a:cubicBezTo>
                  <a:pt x="2818875" y="1685181"/>
                  <a:pt x="2816880" y="1679194"/>
                  <a:pt x="2816880" y="1679194"/>
                </a:cubicBezTo>
                <a:cubicBezTo>
                  <a:pt x="2816880" y="1677198"/>
                  <a:pt x="2814884" y="1677198"/>
                  <a:pt x="2812889" y="1677198"/>
                </a:cubicBezTo>
                <a:cubicBezTo>
                  <a:pt x="2812889" y="1675202"/>
                  <a:pt x="2810894" y="1675202"/>
                  <a:pt x="2810894" y="1673206"/>
                </a:cubicBezTo>
                <a:cubicBezTo>
                  <a:pt x="2808899" y="1673206"/>
                  <a:pt x="2808899" y="1671211"/>
                  <a:pt x="2808899" y="1671211"/>
                </a:cubicBezTo>
                <a:cubicBezTo>
                  <a:pt x="2808899" y="1669215"/>
                  <a:pt x="2806904" y="1665223"/>
                  <a:pt x="2806904" y="1665223"/>
                </a:cubicBezTo>
                <a:cubicBezTo>
                  <a:pt x="2806904" y="1663228"/>
                  <a:pt x="2806904" y="1661232"/>
                  <a:pt x="2806904" y="1659236"/>
                </a:cubicBezTo>
                <a:cubicBezTo>
                  <a:pt x="2804909" y="1659236"/>
                  <a:pt x="2804909" y="1657240"/>
                  <a:pt x="2802914" y="1657240"/>
                </a:cubicBezTo>
                <a:cubicBezTo>
                  <a:pt x="2802914" y="1657240"/>
                  <a:pt x="2804909" y="1651253"/>
                  <a:pt x="2804909" y="1651253"/>
                </a:cubicBezTo>
                <a:cubicBezTo>
                  <a:pt x="2802914" y="1649257"/>
                  <a:pt x="2804909" y="1649257"/>
                  <a:pt x="2804909" y="1647261"/>
                </a:cubicBezTo>
                <a:cubicBezTo>
                  <a:pt x="2804909" y="1645266"/>
                  <a:pt x="2802914" y="1643270"/>
                  <a:pt x="2802914" y="1643270"/>
                </a:cubicBezTo>
                <a:cubicBezTo>
                  <a:pt x="2802914" y="1643270"/>
                  <a:pt x="2800919" y="1641274"/>
                  <a:pt x="2800919" y="1639278"/>
                </a:cubicBezTo>
                <a:cubicBezTo>
                  <a:pt x="2800919" y="1637283"/>
                  <a:pt x="2798924" y="1635287"/>
                  <a:pt x="2798924" y="1633291"/>
                </a:cubicBezTo>
                <a:cubicBezTo>
                  <a:pt x="2796929" y="1631295"/>
                  <a:pt x="2794934" y="1627304"/>
                  <a:pt x="2794934" y="1627304"/>
                </a:cubicBezTo>
                <a:cubicBezTo>
                  <a:pt x="2794934" y="1625308"/>
                  <a:pt x="2790944" y="1621316"/>
                  <a:pt x="2790944" y="1619321"/>
                </a:cubicBezTo>
                <a:cubicBezTo>
                  <a:pt x="2788949" y="1617325"/>
                  <a:pt x="2786954" y="1619321"/>
                  <a:pt x="2786954" y="1617325"/>
                </a:cubicBezTo>
                <a:cubicBezTo>
                  <a:pt x="2786954" y="1617325"/>
                  <a:pt x="2788949" y="1615329"/>
                  <a:pt x="2788949" y="1615329"/>
                </a:cubicBezTo>
                <a:cubicBezTo>
                  <a:pt x="2788949" y="1613333"/>
                  <a:pt x="2792939" y="1613333"/>
                  <a:pt x="2792939" y="1613333"/>
                </a:cubicBezTo>
                <a:cubicBezTo>
                  <a:pt x="2792939" y="1613333"/>
                  <a:pt x="2796929" y="1611337"/>
                  <a:pt x="2796929" y="1611337"/>
                </a:cubicBezTo>
                <a:cubicBezTo>
                  <a:pt x="2796929" y="1611337"/>
                  <a:pt x="2800919" y="1609342"/>
                  <a:pt x="2800919" y="1609342"/>
                </a:cubicBezTo>
                <a:cubicBezTo>
                  <a:pt x="2800919" y="1609342"/>
                  <a:pt x="2800919" y="1609342"/>
                  <a:pt x="2800919" y="1613333"/>
                </a:cubicBezTo>
                <a:cubicBezTo>
                  <a:pt x="2800919" y="1613333"/>
                  <a:pt x="2804909" y="1613333"/>
                  <a:pt x="2804909" y="1615329"/>
                </a:cubicBezTo>
                <a:cubicBezTo>
                  <a:pt x="2804909" y="1615329"/>
                  <a:pt x="2806904" y="1615329"/>
                  <a:pt x="2806904" y="1617325"/>
                </a:cubicBezTo>
                <a:cubicBezTo>
                  <a:pt x="2808899" y="1617325"/>
                  <a:pt x="2810894" y="1619321"/>
                  <a:pt x="2810894" y="1619321"/>
                </a:cubicBezTo>
                <a:cubicBezTo>
                  <a:pt x="2810894" y="1619321"/>
                  <a:pt x="2812889" y="1623312"/>
                  <a:pt x="2812889" y="1625308"/>
                </a:cubicBezTo>
                <a:cubicBezTo>
                  <a:pt x="2814884" y="1625308"/>
                  <a:pt x="2814884" y="1625308"/>
                  <a:pt x="2816880" y="1625308"/>
                </a:cubicBezTo>
                <a:cubicBezTo>
                  <a:pt x="2816880" y="1625308"/>
                  <a:pt x="2820870" y="1627304"/>
                  <a:pt x="2822865" y="1627304"/>
                </a:cubicBezTo>
                <a:cubicBezTo>
                  <a:pt x="2822865" y="1627304"/>
                  <a:pt x="2826855" y="1625308"/>
                  <a:pt x="2826855" y="1625308"/>
                </a:cubicBezTo>
                <a:cubicBezTo>
                  <a:pt x="2828850" y="1623312"/>
                  <a:pt x="2826855" y="1619321"/>
                  <a:pt x="2826855" y="1619321"/>
                </a:cubicBezTo>
                <a:cubicBezTo>
                  <a:pt x="2826855" y="1619321"/>
                  <a:pt x="2826855" y="1617325"/>
                  <a:pt x="2826855" y="1615329"/>
                </a:cubicBezTo>
                <a:cubicBezTo>
                  <a:pt x="2826855" y="1615329"/>
                  <a:pt x="2826855" y="1613333"/>
                  <a:pt x="2826855" y="1611337"/>
                </a:cubicBezTo>
                <a:cubicBezTo>
                  <a:pt x="2826855" y="1609342"/>
                  <a:pt x="2828850" y="1607346"/>
                  <a:pt x="2828850" y="1607346"/>
                </a:cubicBezTo>
                <a:cubicBezTo>
                  <a:pt x="2830845" y="1607346"/>
                  <a:pt x="2832840" y="1605350"/>
                  <a:pt x="2834835" y="1603354"/>
                </a:cubicBezTo>
                <a:cubicBezTo>
                  <a:pt x="2834835" y="1603354"/>
                  <a:pt x="2838825" y="1601359"/>
                  <a:pt x="2838825" y="1601359"/>
                </a:cubicBezTo>
                <a:cubicBezTo>
                  <a:pt x="2838825" y="1601359"/>
                  <a:pt x="2838825" y="1599363"/>
                  <a:pt x="2840820" y="1599363"/>
                </a:cubicBezTo>
                <a:cubicBezTo>
                  <a:pt x="2840820" y="1599363"/>
                  <a:pt x="2840820" y="1597367"/>
                  <a:pt x="2840820" y="1595371"/>
                </a:cubicBezTo>
                <a:cubicBezTo>
                  <a:pt x="2840820" y="1593376"/>
                  <a:pt x="2840820" y="1593376"/>
                  <a:pt x="2840820" y="1593376"/>
                </a:cubicBezTo>
                <a:cubicBezTo>
                  <a:pt x="2840820" y="1591380"/>
                  <a:pt x="2842815" y="1591380"/>
                  <a:pt x="2844810" y="1591380"/>
                </a:cubicBezTo>
                <a:cubicBezTo>
                  <a:pt x="2844810" y="1589384"/>
                  <a:pt x="2844810" y="1589384"/>
                  <a:pt x="2846805" y="1587388"/>
                </a:cubicBezTo>
                <a:cubicBezTo>
                  <a:pt x="2846805" y="1587388"/>
                  <a:pt x="2846805" y="1583397"/>
                  <a:pt x="2846805" y="1583397"/>
                </a:cubicBezTo>
                <a:cubicBezTo>
                  <a:pt x="2848800" y="1581401"/>
                  <a:pt x="2848800" y="1577409"/>
                  <a:pt x="2848800" y="1575414"/>
                </a:cubicBezTo>
                <a:cubicBezTo>
                  <a:pt x="2850795" y="1573418"/>
                  <a:pt x="2850795" y="1571422"/>
                  <a:pt x="2848800" y="1569426"/>
                </a:cubicBezTo>
                <a:cubicBezTo>
                  <a:pt x="2848800" y="1567430"/>
                  <a:pt x="2848800" y="1561443"/>
                  <a:pt x="2848800" y="1561443"/>
                </a:cubicBezTo>
                <a:cubicBezTo>
                  <a:pt x="2848800" y="1559447"/>
                  <a:pt x="2848800" y="1555456"/>
                  <a:pt x="2848800" y="1553460"/>
                </a:cubicBezTo>
                <a:cubicBezTo>
                  <a:pt x="2848800" y="1553460"/>
                  <a:pt x="2848800" y="1549469"/>
                  <a:pt x="2848800" y="1547473"/>
                </a:cubicBezTo>
                <a:cubicBezTo>
                  <a:pt x="2848800" y="1547473"/>
                  <a:pt x="2846805" y="1545477"/>
                  <a:pt x="2846805" y="1543481"/>
                </a:cubicBezTo>
                <a:cubicBezTo>
                  <a:pt x="2846805" y="1543481"/>
                  <a:pt x="2850795" y="1543481"/>
                  <a:pt x="2850795" y="1543481"/>
                </a:cubicBezTo>
                <a:cubicBezTo>
                  <a:pt x="2852790" y="1541485"/>
                  <a:pt x="2850795" y="1539490"/>
                  <a:pt x="2850795" y="1539490"/>
                </a:cubicBezTo>
                <a:cubicBezTo>
                  <a:pt x="2850795" y="1537494"/>
                  <a:pt x="2850795" y="1535498"/>
                  <a:pt x="2850795" y="1533502"/>
                </a:cubicBezTo>
                <a:cubicBezTo>
                  <a:pt x="2850795" y="1533502"/>
                  <a:pt x="2852790" y="1529511"/>
                  <a:pt x="2852790" y="1529511"/>
                </a:cubicBezTo>
                <a:cubicBezTo>
                  <a:pt x="2852790" y="1527515"/>
                  <a:pt x="2854785" y="1525519"/>
                  <a:pt x="2854785" y="1525519"/>
                </a:cubicBezTo>
                <a:cubicBezTo>
                  <a:pt x="2854785" y="1525519"/>
                  <a:pt x="2858775" y="1521528"/>
                  <a:pt x="2858775" y="1521528"/>
                </a:cubicBezTo>
                <a:cubicBezTo>
                  <a:pt x="2858775" y="1519532"/>
                  <a:pt x="2858775" y="1517536"/>
                  <a:pt x="2858775" y="1515540"/>
                </a:cubicBezTo>
                <a:cubicBezTo>
                  <a:pt x="2858775" y="1515540"/>
                  <a:pt x="2858775" y="1511549"/>
                  <a:pt x="2858775" y="1511549"/>
                </a:cubicBezTo>
                <a:cubicBezTo>
                  <a:pt x="2858775" y="1511549"/>
                  <a:pt x="2858775" y="1507557"/>
                  <a:pt x="2858775" y="1505562"/>
                </a:cubicBezTo>
                <a:cubicBezTo>
                  <a:pt x="2858775" y="1505562"/>
                  <a:pt x="2856780" y="1505562"/>
                  <a:pt x="2856780" y="1505562"/>
                </a:cubicBezTo>
                <a:cubicBezTo>
                  <a:pt x="2856780" y="1505562"/>
                  <a:pt x="2852790" y="1503566"/>
                  <a:pt x="2852790" y="1503566"/>
                </a:cubicBezTo>
                <a:cubicBezTo>
                  <a:pt x="2852790" y="1501570"/>
                  <a:pt x="2852790" y="1499574"/>
                  <a:pt x="2852790" y="1497578"/>
                </a:cubicBezTo>
                <a:cubicBezTo>
                  <a:pt x="2852790" y="1497578"/>
                  <a:pt x="2854785" y="1495583"/>
                  <a:pt x="2854785" y="1495583"/>
                </a:cubicBezTo>
                <a:cubicBezTo>
                  <a:pt x="2854785" y="1493587"/>
                  <a:pt x="2854785" y="1493587"/>
                  <a:pt x="2854785" y="1491591"/>
                </a:cubicBezTo>
                <a:cubicBezTo>
                  <a:pt x="2854785" y="1491591"/>
                  <a:pt x="2854785" y="1487600"/>
                  <a:pt x="2854785" y="1487600"/>
                </a:cubicBezTo>
                <a:cubicBezTo>
                  <a:pt x="2854785" y="1487600"/>
                  <a:pt x="2852790" y="1485604"/>
                  <a:pt x="2852790" y="1483608"/>
                </a:cubicBezTo>
                <a:cubicBezTo>
                  <a:pt x="2850795" y="1483608"/>
                  <a:pt x="2848800" y="1483608"/>
                  <a:pt x="2846805" y="1481612"/>
                </a:cubicBezTo>
                <a:cubicBezTo>
                  <a:pt x="2844810" y="1481612"/>
                  <a:pt x="2842815" y="1483608"/>
                  <a:pt x="2842815" y="1481612"/>
                </a:cubicBezTo>
                <a:cubicBezTo>
                  <a:pt x="2840820" y="1481612"/>
                  <a:pt x="2838825" y="1483608"/>
                  <a:pt x="2838825" y="1483608"/>
                </a:cubicBezTo>
                <a:cubicBezTo>
                  <a:pt x="2838825" y="1483608"/>
                  <a:pt x="2838825" y="1485604"/>
                  <a:pt x="2836830" y="1485604"/>
                </a:cubicBezTo>
                <a:cubicBezTo>
                  <a:pt x="2836830" y="1487600"/>
                  <a:pt x="2834835" y="1487600"/>
                  <a:pt x="2834835" y="1487600"/>
                </a:cubicBezTo>
                <a:cubicBezTo>
                  <a:pt x="2834835" y="1487600"/>
                  <a:pt x="2830845" y="1487600"/>
                  <a:pt x="2830845" y="1487600"/>
                </a:cubicBezTo>
                <a:cubicBezTo>
                  <a:pt x="2828850" y="1487600"/>
                  <a:pt x="2826855" y="1487600"/>
                  <a:pt x="2826855" y="1487600"/>
                </a:cubicBezTo>
                <a:cubicBezTo>
                  <a:pt x="2824860" y="1489595"/>
                  <a:pt x="2824860" y="1489595"/>
                  <a:pt x="2822865" y="1491591"/>
                </a:cubicBezTo>
                <a:cubicBezTo>
                  <a:pt x="2822865" y="1491591"/>
                  <a:pt x="2820870" y="1491591"/>
                  <a:pt x="2820870" y="1493587"/>
                </a:cubicBezTo>
                <a:cubicBezTo>
                  <a:pt x="2818875" y="1493587"/>
                  <a:pt x="2818875" y="1495583"/>
                  <a:pt x="2816880" y="1495583"/>
                </a:cubicBezTo>
                <a:cubicBezTo>
                  <a:pt x="2816880" y="1495583"/>
                  <a:pt x="2812889" y="1497578"/>
                  <a:pt x="2812889" y="1497578"/>
                </a:cubicBezTo>
                <a:cubicBezTo>
                  <a:pt x="2812889" y="1497578"/>
                  <a:pt x="2810894" y="1497578"/>
                  <a:pt x="2810894" y="1497578"/>
                </a:cubicBezTo>
                <a:cubicBezTo>
                  <a:pt x="2808899" y="1497578"/>
                  <a:pt x="2808899" y="1497578"/>
                  <a:pt x="2806904" y="1497578"/>
                </a:cubicBezTo>
                <a:cubicBezTo>
                  <a:pt x="2806904" y="1497578"/>
                  <a:pt x="2806904" y="1499574"/>
                  <a:pt x="2804909" y="1501570"/>
                </a:cubicBezTo>
                <a:cubicBezTo>
                  <a:pt x="2804909" y="1501570"/>
                  <a:pt x="2804909" y="1505562"/>
                  <a:pt x="2804909" y="1505562"/>
                </a:cubicBezTo>
                <a:cubicBezTo>
                  <a:pt x="2804909" y="1507557"/>
                  <a:pt x="2802914" y="1507557"/>
                  <a:pt x="2800919" y="1507557"/>
                </a:cubicBezTo>
                <a:cubicBezTo>
                  <a:pt x="2796929" y="1507557"/>
                  <a:pt x="2794934" y="1507557"/>
                  <a:pt x="2790944" y="1505562"/>
                </a:cubicBezTo>
                <a:cubicBezTo>
                  <a:pt x="2788949" y="1505562"/>
                  <a:pt x="2788949" y="1505562"/>
                  <a:pt x="2788949" y="1505562"/>
                </a:cubicBezTo>
                <a:cubicBezTo>
                  <a:pt x="2788949" y="1505562"/>
                  <a:pt x="2784959" y="1505562"/>
                  <a:pt x="2784959" y="1505562"/>
                </a:cubicBezTo>
                <a:cubicBezTo>
                  <a:pt x="2782964" y="1505562"/>
                  <a:pt x="2782964" y="1505562"/>
                  <a:pt x="2780969" y="1505562"/>
                </a:cubicBezTo>
                <a:cubicBezTo>
                  <a:pt x="2778974" y="1507557"/>
                  <a:pt x="2778974" y="1507557"/>
                  <a:pt x="2776979" y="1505562"/>
                </a:cubicBezTo>
                <a:cubicBezTo>
                  <a:pt x="2774984" y="1505562"/>
                  <a:pt x="2774984" y="1505562"/>
                  <a:pt x="2774984" y="1505562"/>
                </a:cubicBezTo>
                <a:cubicBezTo>
                  <a:pt x="2772989" y="1503566"/>
                  <a:pt x="2770994" y="1503566"/>
                  <a:pt x="2770994" y="1503566"/>
                </a:cubicBezTo>
                <a:cubicBezTo>
                  <a:pt x="2770994" y="1503566"/>
                  <a:pt x="2768998" y="1503566"/>
                  <a:pt x="2768998" y="1503566"/>
                </a:cubicBezTo>
                <a:cubicBezTo>
                  <a:pt x="2767003" y="1503566"/>
                  <a:pt x="2767003" y="1505562"/>
                  <a:pt x="2765008" y="1505562"/>
                </a:cubicBezTo>
                <a:cubicBezTo>
                  <a:pt x="2765008" y="1505562"/>
                  <a:pt x="2763013" y="1505562"/>
                  <a:pt x="2763013" y="1503566"/>
                </a:cubicBezTo>
                <a:cubicBezTo>
                  <a:pt x="2761018" y="1503566"/>
                  <a:pt x="2761018" y="1503566"/>
                  <a:pt x="2761018" y="1501570"/>
                </a:cubicBezTo>
                <a:cubicBezTo>
                  <a:pt x="2759023" y="1501570"/>
                  <a:pt x="2759023" y="1499574"/>
                  <a:pt x="2759023" y="1499574"/>
                </a:cubicBezTo>
                <a:cubicBezTo>
                  <a:pt x="2759023" y="1497578"/>
                  <a:pt x="2759023" y="1495583"/>
                  <a:pt x="2757028" y="1495583"/>
                </a:cubicBezTo>
                <a:cubicBezTo>
                  <a:pt x="2757028" y="1493587"/>
                  <a:pt x="2755033" y="1493587"/>
                  <a:pt x="2755033" y="1493587"/>
                </a:cubicBezTo>
                <a:cubicBezTo>
                  <a:pt x="2755033" y="1491591"/>
                  <a:pt x="2755033" y="1491591"/>
                  <a:pt x="2753038" y="1491591"/>
                </a:cubicBezTo>
                <a:cubicBezTo>
                  <a:pt x="2753038" y="1491591"/>
                  <a:pt x="2751043" y="1491591"/>
                  <a:pt x="2751043" y="1491591"/>
                </a:cubicBezTo>
                <a:cubicBezTo>
                  <a:pt x="2749048" y="1489595"/>
                  <a:pt x="2751043" y="1489595"/>
                  <a:pt x="2751043" y="1487600"/>
                </a:cubicBezTo>
                <a:cubicBezTo>
                  <a:pt x="2751043" y="1487600"/>
                  <a:pt x="2751043" y="1483608"/>
                  <a:pt x="2751043" y="1481612"/>
                </a:cubicBezTo>
                <a:cubicBezTo>
                  <a:pt x="2751043" y="1481612"/>
                  <a:pt x="2747053" y="1477621"/>
                  <a:pt x="2745058" y="1475625"/>
                </a:cubicBezTo>
                <a:cubicBezTo>
                  <a:pt x="2745058" y="1475625"/>
                  <a:pt x="2745058" y="1467642"/>
                  <a:pt x="2745058" y="1465646"/>
                </a:cubicBezTo>
                <a:cubicBezTo>
                  <a:pt x="2745058" y="1465646"/>
                  <a:pt x="2745058" y="1463650"/>
                  <a:pt x="2745058" y="1461655"/>
                </a:cubicBezTo>
                <a:cubicBezTo>
                  <a:pt x="2745058" y="1461655"/>
                  <a:pt x="2743063" y="1459659"/>
                  <a:pt x="2743063" y="1459659"/>
                </a:cubicBezTo>
                <a:cubicBezTo>
                  <a:pt x="2743063" y="1459659"/>
                  <a:pt x="2737078" y="1459659"/>
                  <a:pt x="2737078" y="1459659"/>
                </a:cubicBezTo>
                <a:cubicBezTo>
                  <a:pt x="2737078" y="1459659"/>
                  <a:pt x="2733088" y="1461655"/>
                  <a:pt x="2731093" y="1459659"/>
                </a:cubicBezTo>
                <a:cubicBezTo>
                  <a:pt x="2729098" y="1459659"/>
                  <a:pt x="2729098" y="1459659"/>
                  <a:pt x="2729098" y="1457663"/>
                </a:cubicBezTo>
                <a:cubicBezTo>
                  <a:pt x="2729098" y="1457663"/>
                  <a:pt x="2727103" y="1455667"/>
                  <a:pt x="2727103" y="1453671"/>
                </a:cubicBezTo>
                <a:cubicBezTo>
                  <a:pt x="2727103" y="1453671"/>
                  <a:pt x="2725107" y="1451676"/>
                  <a:pt x="2725107" y="1451676"/>
                </a:cubicBezTo>
                <a:cubicBezTo>
                  <a:pt x="2723112" y="1451676"/>
                  <a:pt x="2721117" y="1449680"/>
                  <a:pt x="2721117" y="1449680"/>
                </a:cubicBezTo>
                <a:cubicBezTo>
                  <a:pt x="2721117" y="1449680"/>
                  <a:pt x="2717127" y="1447684"/>
                  <a:pt x="2717127" y="1447684"/>
                </a:cubicBezTo>
                <a:cubicBezTo>
                  <a:pt x="2715132" y="1447684"/>
                  <a:pt x="2711142" y="1447684"/>
                  <a:pt x="2711142" y="1447684"/>
                </a:cubicBezTo>
                <a:cubicBezTo>
                  <a:pt x="2711142" y="1447684"/>
                  <a:pt x="2707152" y="1443693"/>
                  <a:pt x="2707152" y="1443693"/>
                </a:cubicBezTo>
                <a:cubicBezTo>
                  <a:pt x="2705157" y="1441697"/>
                  <a:pt x="2703162" y="1443693"/>
                  <a:pt x="2701167" y="1443693"/>
                </a:cubicBezTo>
                <a:cubicBezTo>
                  <a:pt x="2699172" y="1441697"/>
                  <a:pt x="2699172" y="1441697"/>
                  <a:pt x="2697177" y="1441697"/>
                </a:cubicBezTo>
                <a:cubicBezTo>
                  <a:pt x="2695182" y="1441697"/>
                  <a:pt x="2693187" y="1443693"/>
                  <a:pt x="2689197" y="1443693"/>
                </a:cubicBezTo>
                <a:cubicBezTo>
                  <a:pt x="2687202" y="1443693"/>
                  <a:pt x="2687202" y="1441697"/>
                  <a:pt x="2685207" y="1441697"/>
                </a:cubicBezTo>
                <a:cubicBezTo>
                  <a:pt x="2685207" y="1441697"/>
                  <a:pt x="2685207" y="1437705"/>
                  <a:pt x="2683212" y="1435709"/>
                </a:cubicBezTo>
                <a:cubicBezTo>
                  <a:pt x="2683212" y="1433714"/>
                  <a:pt x="2681216" y="1433714"/>
                  <a:pt x="2679221" y="1433714"/>
                </a:cubicBezTo>
                <a:cubicBezTo>
                  <a:pt x="2679221" y="1433714"/>
                  <a:pt x="2677226" y="1433714"/>
                  <a:pt x="2675231" y="1433714"/>
                </a:cubicBezTo>
                <a:cubicBezTo>
                  <a:pt x="2673236" y="1433714"/>
                  <a:pt x="2669246" y="1433714"/>
                  <a:pt x="2669246" y="1433714"/>
                </a:cubicBezTo>
                <a:cubicBezTo>
                  <a:pt x="2669246" y="1433714"/>
                  <a:pt x="2667251" y="1429722"/>
                  <a:pt x="2665256" y="1427726"/>
                </a:cubicBezTo>
                <a:cubicBezTo>
                  <a:pt x="2661266" y="1427726"/>
                  <a:pt x="2659271" y="1419743"/>
                  <a:pt x="2659271" y="1417748"/>
                </a:cubicBezTo>
                <a:cubicBezTo>
                  <a:pt x="2657276" y="1415752"/>
                  <a:pt x="2655281" y="1415752"/>
                  <a:pt x="2653286" y="1413756"/>
                </a:cubicBezTo>
                <a:cubicBezTo>
                  <a:pt x="2651291" y="1413756"/>
                  <a:pt x="2653286" y="1409764"/>
                  <a:pt x="2653286" y="1409764"/>
                </a:cubicBezTo>
                <a:cubicBezTo>
                  <a:pt x="2653286" y="1409764"/>
                  <a:pt x="2651291" y="1403777"/>
                  <a:pt x="2651291" y="1401781"/>
                </a:cubicBezTo>
                <a:cubicBezTo>
                  <a:pt x="2649296" y="1399786"/>
                  <a:pt x="2647301" y="1395794"/>
                  <a:pt x="2647301" y="1395794"/>
                </a:cubicBezTo>
                <a:cubicBezTo>
                  <a:pt x="2647301" y="1395794"/>
                  <a:pt x="2647301" y="1393798"/>
                  <a:pt x="2645306" y="1391802"/>
                </a:cubicBezTo>
                <a:cubicBezTo>
                  <a:pt x="2645306" y="1391802"/>
                  <a:pt x="2643311" y="1391802"/>
                  <a:pt x="2643311" y="1391802"/>
                </a:cubicBezTo>
                <a:cubicBezTo>
                  <a:pt x="2641316" y="1389807"/>
                  <a:pt x="2643311" y="1389807"/>
                  <a:pt x="2641316" y="1385815"/>
                </a:cubicBezTo>
                <a:cubicBezTo>
                  <a:pt x="2641316" y="1385815"/>
                  <a:pt x="2641316" y="1383819"/>
                  <a:pt x="2639321" y="1383819"/>
                </a:cubicBezTo>
                <a:cubicBezTo>
                  <a:pt x="2639321" y="1381824"/>
                  <a:pt x="2637326" y="1381824"/>
                  <a:pt x="2635330" y="1381824"/>
                </a:cubicBezTo>
                <a:cubicBezTo>
                  <a:pt x="2635330" y="1379828"/>
                  <a:pt x="2633335" y="1379828"/>
                  <a:pt x="2633335" y="1379828"/>
                </a:cubicBezTo>
                <a:cubicBezTo>
                  <a:pt x="2631340" y="1377832"/>
                  <a:pt x="2631340" y="1377832"/>
                  <a:pt x="2631340" y="1377832"/>
                </a:cubicBezTo>
                <a:cubicBezTo>
                  <a:pt x="2631340" y="1377832"/>
                  <a:pt x="2631340" y="1373841"/>
                  <a:pt x="2631340" y="1371845"/>
                </a:cubicBezTo>
                <a:cubicBezTo>
                  <a:pt x="2631340" y="1369849"/>
                  <a:pt x="2631340" y="1367853"/>
                  <a:pt x="2631340" y="1367853"/>
                </a:cubicBezTo>
                <a:cubicBezTo>
                  <a:pt x="2629345" y="1365857"/>
                  <a:pt x="2627350" y="1365857"/>
                  <a:pt x="2627350" y="1365857"/>
                </a:cubicBezTo>
                <a:cubicBezTo>
                  <a:pt x="2627350" y="1363862"/>
                  <a:pt x="2627350" y="1361866"/>
                  <a:pt x="2625355" y="1361866"/>
                </a:cubicBezTo>
                <a:cubicBezTo>
                  <a:pt x="2623360" y="1361866"/>
                  <a:pt x="2623360" y="1361866"/>
                  <a:pt x="2623360" y="1361866"/>
                </a:cubicBezTo>
                <a:cubicBezTo>
                  <a:pt x="2621365" y="1359870"/>
                  <a:pt x="2621365" y="1359870"/>
                  <a:pt x="2621365" y="1357874"/>
                </a:cubicBezTo>
                <a:cubicBezTo>
                  <a:pt x="2619370" y="1355879"/>
                  <a:pt x="2621365" y="1355879"/>
                  <a:pt x="2621365" y="1353883"/>
                </a:cubicBezTo>
                <a:cubicBezTo>
                  <a:pt x="2621365" y="1353883"/>
                  <a:pt x="2619370" y="1351887"/>
                  <a:pt x="2619370" y="1351887"/>
                </a:cubicBezTo>
                <a:cubicBezTo>
                  <a:pt x="2619370" y="1349891"/>
                  <a:pt x="2617375" y="1345900"/>
                  <a:pt x="2617375" y="1343904"/>
                </a:cubicBezTo>
                <a:cubicBezTo>
                  <a:pt x="2617375" y="1343904"/>
                  <a:pt x="2617375" y="1337917"/>
                  <a:pt x="2617375" y="1337917"/>
                </a:cubicBezTo>
                <a:cubicBezTo>
                  <a:pt x="2617375" y="1337917"/>
                  <a:pt x="2617375" y="1335921"/>
                  <a:pt x="2617375" y="1333925"/>
                </a:cubicBezTo>
                <a:cubicBezTo>
                  <a:pt x="2615380" y="1331929"/>
                  <a:pt x="2615380" y="1331929"/>
                  <a:pt x="2613385" y="1331929"/>
                </a:cubicBezTo>
                <a:cubicBezTo>
                  <a:pt x="2613385" y="1331929"/>
                  <a:pt x="2613385" y="1327938"/>
                  <a:pt x="2613385" y="1327938"/>
                </a:cubicBezTo>
                <a:cubicBezTo>
                  <a:pt x="2613385" y="1323946"/>
                  <a:pt x="2611390" y="1323946"/>
                  <a:pt x="2607400" y="1323946"/>
                </a:cubicBezTo>
                <a:cubicBezTo>
                  <a:pt x="2605405" y="1321950"/>
                  <a:pt x="2605405" y="1321950"/>
                  <a:pt x="2605405" y="1319955"/>
                </a:cubicBezTo>
                <a:cubicBezTo>
                  <a:pt x="2603410" y="1319955"/>
                  <a:pt x="2605405" y="1317959"/>
                  <a:pt x="2603410" y="1317959"/>
                </a:cubicBezTo>
                <a:cubicBezTo>
                  <a:pt x="2603410" y="1315963"/>
                  <a:pt x="2601415" y="1315963"/>
                  <a:pt x="2601415" y="1315963"/>
                </a:cubicBezTo>
                <a:cubicBezTo>
                  <a:pt x="2601415" y="1313967"/>
                  <a:pt x="2599420" y="1313967"/>
                  <a:pt x="2597425" y="1311972"/>
                </a:cubicBezTo>
                <a:cubicBezTo>
                  <a:pt x="2595430" y="1311972"/>
                  <a:pt x="2595430" y="1309976"/>
                  <a:pt x="2593435" y="1309976"/>
                </a:cubicBezTo>
                <a:cubicBezTo>
                  <a:pt x="2591439" y="1307980"/>
                  <a:pt x="2591439" y="1305984"/>
                  <a:pt x="2589444" y="1305984"/>
                </a:cubicBezTo>
                <a:cubicBezTo>
                  <a:pt x="2585454" y="1305984"/>
                  <a:pt x="2585454" y="1305984"/>
                  <a:pt x="2585454" y="1305984"/>
                </a:cubicBezTo>
                <a:cubicBezTo>
                  <a:pt x="2583459" y="1303988"/>
                  <a:pt x="2581464" y="1301993"/>
                  <a:pt x="2581464" y="1301993"/>
                </a:cubicBezTo>
                <a:cubicBezTo>
                  <a:pt x="2579469" y="1301993"/>
                  <a:pt x="2577474" y="1299997"/>
                  <a:pt x="2577474" y="1299997"/>
                </a:cubicBezTo>
                <a:cubicBezTo>
                  <a:pt x="2577474" y="1299997"/>
                  <a:pt x="2569494" y="1301993"/>
                  <a:pt x="2569494" y="1303988"/>
                </a:cubicBezTo>
                <a:cubicBezTo>
                  <a:pt x="2569494" y="1303988"/>
                  <a:pt x="2567499" y="1303988"/>
                  <a:pt x="2565504" y="1301993"/>
                </a:cubicBezTo>
                <a:cubicBezTo>
                  <a:pt x="2563509" y="1301993"/>
                  <a:pt x="2565504" y="1301993"/>
                  <a:pt x="2563509" y="1301993"/>
                </a:cubicBezTo>
                <a:cubicBezTo>
                  <a:pt x="2559519" y="1301993"/>
                  <a:pt x="2559519" y="1301993"/>
                  <a:pt x="2559519" y="1301993"/>
                </a:cubicBezTo>
                <a:cubicBezTo>
                  <a:pt x="2557524" y="1303988"/>
                  <a:pt x="2555529" y="1301993"/>
                  <a:pt x="2553534" y="1301993"/>
                </a:cubicBezTo>
                <a:cubicBezTo>
                  <a:pt x="2551539" y="1299997"/>
                  <a:pt x="2551539" y="1299997"/>
                  <a:pt x="2551539" y="1299997"/>
                </a:cubicBezTo>
                <a:cubicBezTo>
                  <a:pt x="2549544" y="1299997"/>
                  <a:pt x="2547548" y="1298001"/>
                  <a:pt x="2545553" y="1298001"/>
                </a:cubicBezTo>
                <a:cubicBezTo>
                  <a:pt x="2545553" y="1298001"/>
                  <a:pt x="2541563" y="1296005"/>
                  <a:pt x="2539568" y="1294010"/>
                </a:cubicBezTo>
                <a:cubicBezTo>
                  <a:pt x="2535578" y="1294010"/>
                  <a:pt x="2533583" y="1294010"/>
                  <a:pt x="2531588" y="1294010"/>
                </a:cubicBezTo>
                <a:cubicBezTo>
                  <a:pt x="2531588" y="1296005"/>
                  <a:pt x="2529593" y="1296005"/>
                  <a:pt x="2527598" y="1296005"/>
                </a:cubicBezTo>
                <a:cubicBezTo>
                  <a:pt x="2525603" y="1296005"/>
                  <a:pt x="2523608" y="1298001"/>
                  <a:pt x="2521613" y="1298001"/>
                </a:cubicBezTo>
                <a:cubicBezTo>
                  <a:pt x="2519618" y="1298001"/>
                  <a:pt x="2517623" y="1298001"/>
                  <a:pt x="2517623" y="1298001"/>
                </a:cubicBezTo>
                <a:cubicBezTo>
                  <a:pt x="2517623" y="1298001"/>
                  <a:pt x="2515628" y="1298001"/>
                  <a:pt x="2513633" y="1298001"/>
                </a:cubicBezTo>
                <a:cubicBezTo>
                  <a:pt x="2511638" y="1298001"/>
                  <a:pt x="2511638" y="1298001"/>
                  <a:pt x="2507648" y="1298001"/>
                </a:cubicBezTo>
                <a:cubicBezTo>
                  <a:pt x="2503658" y="1298001"/>
                  <a:pt x="2505653" y="1298001"/>
                  <a:pt x="2501662" y="1298001"/>
                </a:cubicBezTo>
                <a:cubicBezTo>
                  <a:pt x="2499667" y="1299997"/>
                  <a:pt x="2497672" y="1301993"/>
                  <a:pt x="2497672" y="1301993"/>
                </a:cubicBezTo>
                <a:cubicBezTo>
                  <a:pt x="2497672" y="1301993"/>
                  <a:pt x="2497672" y="1301993"/>
                  <a:pt x="2493682" y="1301993"/>
                </a:cubicBezTo>
                <a:cubicBezTo>
                  <a:pt x="2493682" y="1301993"/>
                  <a:pt x="2489692" y="1301993"/>
                  <a:pt x="2487697" y="1301993"/>
                </a:cubicBezTo>
                <a:cubicBezTo>
                  <a:pt x="2485702" y="1301993"/>
                  <a:pt x="2485702" y="1301993"/>
                  <a:pt x="2483707" y="1303988"/>
                </a:cubicBezTo>
                <a:cubicBezTo>
                  <a:pt x="2483707" y="1305984"/>
                  <a:pt x="2483707" y="1303988"/>
                  <a:pt x="2479717" y="1303988"/>
                </a:cubicBezTo>
                <a:cubicBezTo>
                  <a:pt x="2475727" y="1303988"/>
                  <a:pt x="2475727" y="1303988"/>
                  <a:pt x="2471737" y="1305984"/>
                </a:cubicBezTo>
                <a:cubicBezTo>
                  <a:pt x="2469742" y="1305984"/>
                  <a:pt x="2471737" y="1305984"/>
                  <a:pt x="2469742" y="1307980"/>
                </a:cubicBezTo>
                <a:cubicBezTo>
                  <a:pt x="2467747" y="1309976"/>
                  <a:pt x="2467747" y="1311972"/>
                  <a:pt x="2467747" y="1315963"/>
                </a:cubicBezTo>
                <a:cubicBezTo>
                  <a:pt x="2469742" y="1317959"/>
                  <a:pt x="2469742" y="1319955"/>
                  <a:pt x="2469742" y="1321950"/>
                </a:cubicBezTo>
                <a:cubicBezTo>
                  <a:pt x="2467747" y="1323946"/>
                  <a:pt x="2469742" y="1325942"/>
                  <a:pt x="2469742" y="1327938"/>
                </a:cubicBezTo>
                <a:cubicBezTo>
                  <a:pt x="2469742" y="1329934"/>
                  <a:pt x="2475727" y="1327938"/>
                  <a:pt x="2475727" y="1327938"/>
                </a:cubicBezTo>
                <a:cubicBezTo>
                  <a:pt x="2475727" y="1327938"/>
                  <a:pt x="2479717" y="1331929"/>
                  <a:pt x="2479717" y="1333925"/>
                </a:cubicBezTo>
                <a:cubicBezTo>
                  <a:pt x="2479717" y="1335921"/>
                  <a:pt x="2479717" y="1339912"/>
                  <a:pt x="2479717" y="1341908"/>
                </a:cubicBezTo>
                <a:cubicBezTo>
                  <a:pt x="2479717" y="1343904"/>
                  <a:pt x="2481712" y="1347895"/>
                  <a:pt x="2481712" y="1347895"/>
                </a:cubicBezTo>
                <a:cubicBezTo>
                  <a:pt x="2481712" y="1349891"/>
                  <a:pt x="2481712" y="1349891"/>
                  <a:pt x="2479717" y="1351887"/>
                </a:cubicBezTo>
                <a:cubicBezTo>
                  <a:pt x="2479717" y="1353883"/>
                  <a:pt x="2479717" y="1353883"/>
                  <a:pt x="2479717" y="1355879"/>
                </a:cubicBezTo>
                <a:cubicBezTo>
                  <a:pt x="2479717" y="1357874"/>
                  <a:pt x="2471737" y="1361866"/>
                  <a:pt x="2471737" y="1361866"/>
                </a:cubicBezTo>
                <a:cubicBezTo>
                  <a:pt x="2471737" y="1361866"/>
                  <a:pt x="2471737" y="1361866"/>
                  <a:pt x="2469742" y="1369849"/>
                </a:cubicBezTo>
                <a:cubicBezTo>
                  <a:pt x="2469742" y="1369849"/>
                  <a:pt x="2469742" y="1377832"/>
                  <a:pt x="2469742" y="1379828"/>
                </a:cubicBezTo>
                <a:cubicBezTo>
                  <a:pt x="2467747" y="1381824"/>
                  <a:pt x="2465752" y="1383819"/>
                  <a:pt x="2465752" y="1385815"/>
                </a:cubicBezTo>
                <a:cubicBezTo>
                  <a:pt x="2465752" y="1387811"/>
                  <a:pt x="2463757" y="1389807"/>
                  <a:pt x="2463757" y="1391802"/>
                </a:cubicBezTo>
                <a:cubicBezTo>
                  <a:pt x="2463757" y="1393798"/>
                  <a:pt x="2461762" y="1397790"/>
                  <a:pt x="2461762" y="1399786"/>
                </a:cubicBezTo>
                <a:cubicBezTo>
                  <a:pt x="2459767" y="1401781"/>
                  <a:pt x="2459767" y="1407769"/>
                  <a:pt x="2459767" y="1411760"/>
                </a:cubicBezTo>
                <a:cubicBezTo>
                  <a:pt x="2459767" y="1413756"/>
                  <a:pt x="2459767" y="1417748"/>
                  <a:pt x="2459767" y="1419743"/>
                </a:cubicBezTo>
                <a:cubicBezTo>
                  <a:pt x="2457771" y="1419743"/>
                  <a:pt x="2457771" y="1419743"/>
                  <a:pt x="2457771" y="1419743"/>
                </a:cubicBezTo>
                <a:cubicBezTo>
                  <a:pt x="2455776" y="1421739"/>
                  <a:pt x="2455776" y="1421739"/>
                  <a:pt x="2453781" y="1423735"/>
                </a:cubicBezTo>
                <a:cubicBezTo>
                  <a:pt x="2453781" y="1423735"/>
                  <a:pt x="2451786" y="1427726"/>
                  <a:pt x="2451786" y="1429722"/>
                </a:cubicBezTo>
                <a:cubicBezTo>
                  <a:pt x="2449791" y="1429722"/>
                  <a:pt x="2447796" y="1429722"/>
                  <a:pt x="2445801" y="1429722"/>
                </a:cubicBezTo>
                <a:cubicBezTo>
                  <a:pt x="2443806" y="1429722"/>
                  <a:pt x="2443806" y="1431718"/>
                  <a:pt x="2441811" y="1431718"/>
                </a:cubicBezTo>
                <a:cubicBezTo>
                  <a:pt x="2441811" y="1431718"/>
                  <a:pt x="2437821" y="1433714"/>
                  <a:pt x="2437821" y="1433714"/>
                </a:cubicBezTo>
                <a:cubicBezTo>
                  <a:pt x="2437821" y="1433714"/>
                  <a:pt x="2437821" y="1433714"/>
                  <a:pt x="2435826" y="1433714"/>
                </a:cubicBezTo>
                <a:cubicBezTo>
                  <a:pt x="2433831" y="1433714"/>
                  <a:pt x="2433831" y="1433714"/>
                  <a:pt x="2431836" y="1433714"/>
                </a:cubicBezTo>
                <a:cubicBezTo>
                  <a:pt x="2429841" y="1433714"/>
                  <a:pt x="2429841" y="1433714"/>
                  <a:pt x="2427846" y="1433714"/>
                </a:cubicBezTo>
                <a:cubicBezTo>
                  <a:pt x="2425851" y="1431718"/>
                  <a:pt x="2419866" y="1431718"/>
                  <a:pt x="2419866" y="1431718"/>
                </a:cubicBezTo>
                <a:cubicBezTo>
                  <a:pt x="2417871" y="1433714"/>
                  <a:pt x="2411885" y="1433714"/>
                  <a:pt x="2409890" y="1433714"/>
                </a:cubicBezTo>
                <a:cubicBezTo>
                  <a:pt x="2407895" y="1431718"/>
                  <a:pt x="2403905" y="1429722"/>
                  <a:pt x="2401910" y="1429722"/>
                </a:cubicBezTo>
                <a:cubicBezTo>
                  <a:pt x="2399915" y="1427726"/>
                  <a:pt x="2399915" y="1427726"/>
                  <a:pt x="2397920" y="1427726"/>
                </a:cubicBezTo>
                <a:cubicBezTo>
                  <a:pt x="2395925" y="1425731"/>
                  <a:pt x="2391935" y="1427726"/>
                  <a:pt x="2389940" y="1427726"/>
                </a:cubicBezTo>
                <a:cubicBezTo>
                  <a:pt x="2387945" y="1427726"/>
                  <a:pt x="2387945" y="1425731"/>
                  <a:pt x="2385950" y="1425731"/>
                </a:cubicBezTo>
                <a:cubicBezTo>
                  <a:pt x="2385950" y="1425731"/>
                  <a:pt x="2381960" y="1421739"/>
                  <a:pt x="2381960" y="1421739"/>
                </a:cubicBezTo>
                <a:cubicBezTo>
                  <a:pt x="2379965" y="1419743"/>
                  <a:pt x="2377970" y="1419743"/>
                  <a:pt x="2375975" y="1419743"/>
                </a:cubicBezTo>
                <a:cubicBezTo>
                  <a:pt x="2371985" y="1419743"/>
                  <a:pt x="2371985" y="1419743"/>
                  <a:pt x="2369990" y="1419743"/>
                </a:cubicBezTo>
                <a:cubicBezTo>
                  <a:pt x="2369990" y="1419743"/>
                  <a:pt x="2367994" y="1419743"/>
                  <a:pt x="2365999" y="1419743"/>
                </a:cubicBezTo>
                <a:cubicBezTo>
                  <a:pt x="2364004" y="1419743"/>
                  <a:pt x="2362009" y="1419743"/>
                  <a:pt x="2362009" y="1419743"/>
                </a:cubicBezTo>
                <a:cubicBezTo>
                  <a:pt x="2362009" y="1419743"/>
                  <a:pt x="2358019" y="1417748"/>
                  <a:pt x="2356024" y="1415752"/>
                </a:cubicBezTo>
                <a:cubicBezTo>
                  <a:pt x="2354029" y="1415752"/>
                  <a:pt x="2354029" y="1415752"/>
                  <a:pt x="2352034" y="1415752"/>
                </a:cubicBezTo>
                <a:cubicBezTo>
                  <a:pt x="2348044" y="1415752"/>
                  <a:pt x="2348044" y="1415752"/>
                  <a:pt x="2346049" y="1413756"/>
                </a:cubicBezTo>
                <a:cubicBezTo>
                  <a:pt x="2346049" y="1411760"/>
                  <a:pt x="2344054" y="1411760"/>
                  <a:pt x="2342059" y="1411760"/>
                </a:cubicBezTo>
                <a:cubicBezTo>
                  <a:pt x="2340064" y="1409764"/>
                  <a:pt x="2340064" y="1411760"/>
                  <a:pt x="2338069" y="1411760"/>
                </a:cubicBezTo>
                <a:cubicBezTo>
                  <a:pt x="2336074" y="1411760"/>
                  <a:pt x="2336074" y="1411760"/>
                  <a:pt x="2334079" y="1413756"/>
                </a:cubicBezTo>
                <a:cubicBezTo>
                  <a:pt x="2332084" y="1413756"/>
                  <a:pt x="2330089" y="1413756"/>
                  <a:pt x="2328094" y="1415752"/>
                </a:cubicBezTo>
                <a:cubicBezTo>
                  <a:pt x="2328094" y="1415752"/>
                  <a:pt x="2326099" y="1415752"/>
                  <a:pt x="2324103" y="1415752"/>
                </a:cubicBezTo>
                <a:cubicBezTo>
                  <a:pt x="2320113" y="1415752"/>
                  <a:pt x="2316123" y="1417748"/>
                  <a:pt x="2314128" y="1417748"/>
                </a:cubicBezTo>
                <a:cubicBezTo>
                  <a:pt x="2312133" y="1417748"/>
                  <a:pt x="2310138" y="1419743"/>
                  <a:pt x="2308143" y="1419743"/>
                </a:cubicBezTo>
                <a:cubicBezTo>
                  <a:pt x="2304153" y="1419743"/>
                  <a:pt x="2304153" y="1421739"/>
                  <a:pt x="2304153" y="1421739"/>
                </a:cubicBezTo>
                <a:cubicBezTo>
                  <a:pt x="2304153" y="1421739"/>
                  <a:pt x="2300163" y="1427726"/>
                  <a:pt x="2298168" y="1429722"/>
                </a:cubicBezTo>
                <a:cubicBezTo>
                  <a:pt x="2296173" y="1433714"/>
                  <a:pt x="2294178" y="1431718"/>
                  <a:pt x="2294178" y="1433714"/>
                </a:cubicBezTo>
                <a:cubicBezTo>
                  <a:pt x="2290188" y="1433714"/>
                  <a:pt x="2290188" y="1435709"/>
                  <a:pt x="2290188" y="1435709"/>
                </a:cubicBezTo>
                <a:cubicBezTo>
                  <a:pt x="2286198" y="1437705"/>
                  <a:pt x="2286198" y="1437705"/>
                  <a:pt x="2284203" y="1437705"/>
                </a:cubicBezTo>
                <a:cubicBezTo>
                  <a:pt x="2280212" y="1437705"/>
                  <a:pt x="2278217" y="1439701"/>
                  <a:pt x="2278217" y="1439701"/>
                </a:cubicBezTo>
                <a:cubicBezTo>
                  <a:pt x="2278217" y="1439701"/>
                  <a:pt x="2274227" y="1439701"/>
                  <a:pt x="2272232" y="1439701"/>
                </a:cubicBezTo>
                <a:cubicBezTo>
                  <a:pt x="2270237" y="1441697"/>
                  <a:pt x="2268242" y="1441697"/>
                  <a:pt x="2266247" y="1441697"/>
                </a:cubicBezTo>
                <a:cubicBezTo>
                  <a:pt x="2266247" y="1441697"/>
                  <a:pt x="2260262" y="1441697"/>
                  <a:pt x="2258267" y="1443693"/>
                </a:cubicBezTo>
                <a:cubicBezTo>
                  <a:pt x="2256272" y="1443693"/>
                  <a:pt x="2246297" y="1445688"/>
                  <a:pt x="2242307" y="1445688"/>
                </a:cubicBezTo>
                <a:cubicBezTo>
                  <a:pt x="2238317" y="1445688"/>
                  <a:pt x="2238317" y="1447684"/>
                  <a:pt x="2234327" y="1447684"/>
                </a:cubicBezTo>
                <a:cubicBezTo>
                  <a:pt x="2232331" y="1449680"/>
                  <a:pt x="2232331" y="1449680"/>
                  <a:pt x="2230336" y="1449680"/>
                </a:cubicBezTo>
                <a:cubicBezTo>
                  <a:pt x="2226346" y="1449680"/>
                  <a:pt x="2226346" y="1449680"/>
                  <a:pt x="2222356" y="1449680"/>
                </a:cubicBezTo>
                <a:cubicBezTo>
                  <a:pt x="2218366" y="1449680"/>
                  <a:pt x="2218366" y="1449680"/>
                  <a:pt x="2216371" y="1449680"/>
                </a:cubicBezTo>
                <a:cubicBezTo>
                  <a:pt x="2214376" y="1449680"/>
                  <a:pt x="2210386" y="1447684"/>
                  <a:pt x="2208391" y="1447684"/>
                </a:cubicBezTo>
                <a:cubicBezTo>
                  <a:pt x="2204401" y="1447684"/>
                  <a:pt x="2204401" y="1445688"/>
                  <a:pt x="2200411" y="1445688"/>
                </a:cubicBezTo>
                <a:cubicBezTo>
                  <a:pt x="2196421" y="1443693"/>
                  <a:pt x="2194426" y="1443693"/>
                  <a:pt x="2192431" y="1443693"/>
                </a:cubicBezTo>
                <a:cubicBezTo>
                  <a:pt x="2192431" y="1441697"/>
                  <a:pt x="2188440" y="1441697"/>
                  <a:pt x="2188440" y="1441697"/>
                </a:cubicBezTo>
                <a:cubicBezTo>
                  <a:pt x="2188440" y="1441697"/>
                  <a:pt x="2186445" y="1439701"/>
                  <a:pt x="2184450" y="1439701"/>
                </a:cubicBezTo>
                <a:cubicBezTo>
                  <a:pt x="2182455" y="1437705"/>
                  <a:pt x="2182455" y="1437705"/>
                  <a:pt x="2180460" y="1435709"/>
                </a:cubicBezTo>
                <a:cubicBezTo>
                  <a:pt x="2180460" y="1433714"/>
                  <a:pt x="2180460" y="1433714"/>
                  <a:pt x="2178465" y="1431718"/>
                </a:cubicBezTo>
                <a:cubicBezTo>
                  <a:pt x="2178465" y="1429722"/>
                  <a:pt x="2176470" y="1427726"/>
                  <a:pt x="2174475" y="1425731"/>
                </a:cubicBezTo>
                <a:cubicBezTo>
                  <a:pt x="2174475" y="1425731"/>
                  <a:pt x="2174475" y="1423735"/>
                  <a:pt x="2172480" y="1423735"/>
                </a:cubicBezTo>
                <a:cubicBezTo>
                  <a:pt x="2172480" y="1421739"/>
                  <a:pt x="2170485" y="1421739"/>
                  <a:pt x="2168490" y="1419743"/>
                </a:cubicBezTo>
                <a:cubicBezTo>
                  <a:pt x="2166495" y="1419743"/>
                  <a:pt x="2166495" y="1419743"/>
                  <a:pt x="2164500" y="1417748"/>
                </a:cubicBezTo>
                <a:cubicBezTo>
                  <a:pt x="2162505" y="1417748"/>
                  <a:pt x="2162505" y="1415752"/>
                  <a:pt x="2162505" y="1413756"/>
                </a:cubicBezTo>
                <a:cubicBezTo>
                  <a:pt x="2160510" y="1411760"/>
                  <a:pt x="2158515" y="1411760"/>
                  <a:pt x="2158515" y="1411760"/>
                </a:cubicBezTo>
                <a:cubicBezTo>
                  <a:pt x="2156520" y="1409764"/>
                  <a:pt x="2148540" y="1407769"/>
                  <a:pt x="2146545" y="1407769"/>
                </a:cubicBezTo>
                <a:cubicBezTo>
                  <a:pt x="2144550" y="1407769"/>
                  <a:pt x="2140559" y="1407769"/>
                  <a:pt x="2136569" y="1407769"/>
                </a:cubicBezTo>
                <a:cubicBezTo>
                  <a:pt x="2134574" y="1407769"/>
                  <a:pt x="2132579" y="1407769"/>
                  <a:pt x="2130584" y="1407769"/>
                </a:cubicBezTo>
                <a:cubicBezTo>
                  <a:pt x="2128589" y="1407769"/>
                  <a:pt x="2126594" y="1407769"/>
                  <a:pt x="2120609" y="1407769"/>
                </a:cubicBezTo>
                <a:cubicBezTo>
                  <a:pt x="2116619" y="1407769"/>
                  <a:pt x="2114624" y="1407769"/>
                  <a:pt x="2110634" y="1407769"/>
                </a:cubicBezTo>
                <a:cubicBezTo>
                  <a:pt x="2108639" y="1407769"/>
                  <a:pt x="2108639" y="1407769"/>
                  <a:pt x="2106644" y="1407769"/>
                </a:cubicBezTo>
                <a:cubicBezTo>
                  <a:pt x="2102654" y="1407769"/>
                  <a:pt x="2102654" y="1409764"/>
                  <a:pt x="2102654" y="1409764"/>
                </a:cubicBezTo>
                <a:cubicBezTo>
                  <a:pt x="2100659" y="1411760"/>
                  <a:pt x="2096668" y="1411760"/>
                  <a:pt x="2096668" y="1411760"/>
                </a:cubicBezTo>
                <a:cubicBezTo>
                  <a:pt x="2096668" y="1411760"/>
                  <a:pt x="2094673" y="1411760"/>
                  <a:pt x="2092678" y="1411760"/>
                </a:cubicBezTo>
                <a:cubicBezTo>
                  <a:pt x="2090683" y="1411760"/>
                  <a:pt x="2086693" y="1411760"/>
                  <a:pt x="2084698" y="1411760"/>
                </a:cubicBezTo>
                <a:cubicBezTo>
                  <a:pt x="2082703" y="1411760"/>
                  <a:pt x="2078713" y="1411760"/>
                  <a:pt x="2076718" y="1411760"/>
                </a:cubicBezTo>
                <a:cubicBezTo>
                  <a:pt x="2074723" y="1413756"/>
                  <a:pt x="2072728" y="1411760"/>
                  <a:pt x="2070733" y="1411760"/>
                </a:cubicBezTo>
                <a:cubicBezTo>
                  <a:pt x="2068738" y="1411760"/>
                  <a:pt x="2064748" y="1409764"/>
                  <a:pt x="2060758" y="1407769"/>
                </a:cubicBezTo>
                <a:cubicBezTo>
                  <a:pt x="2058763" y="1407769"/>
                  <a:pt x="2056768" y="1407769"/>
                  <a:pt x="2056768" y="1407769"/>
                </a:cubicBezTo>
                <a:cubicBezTo>
                  <a:pt x="2054772" y="1407769"/>
                  <a:pt x="2052777" y="1409764"/>
                  <a:pt x="2052777" y="1409764"/>
                </a:cubicBezTo>
                <a:cubicBezTo>
                  <a:pt x="2050782" y="1411760"/>
                  <a:pt x="2042802" y="1411760"/>
                  <a:pt x="2042802" y="1409764"/>
                </a:cubicBezTo>
                <a:cubicBezTo>
                  <a:pt x="2040807" y="1409764"/>
                  <a:pt x="2036817" y="1405773"/>
                  <a:pt x="2036817" y="1403777"/>
                </a:cubicBezTo>
                <a:cubicBezTo>
                  <a:pt x="2034822" y="1403777"/>
                  <a:pt x="2034822" y="1399786"/>
                  <a:pt x="2032827" y="1397790"/>
                </a:cubicBezTo>
                <a:cubicBezTo>
                  <a:pt x="2032827" y="1393798"/>
                  <a:pt x="2032827" y="1391802"/>
                  <a:pt x="2030832" y="1389807"/>
                </a:cubicBezTo>
                <a:cubicBezTo>
                  <a:pt x="2030832" y="1389807"/>
                  <a:pt x="2026842" y="1383819"/>
                  <a:pt x="2026842" y="1381824"/>
                </a:cubicBezTo>
                <a:cubicBezTo>
                  <a:pt x="2026842" y="1379828"/>
                  <a:pt x="2026842" y="1377832"/>
                  <a:pt x="2026842" y="1375836"/>
                </a:cubicBezTo>
                <a:cubicBezTo>
                  <a:pt x="2024847" y="1371845"/>
                  <a:pt x="2024847" y="1371845"/>
                  <a:pt x="2022852" y="1369849"/>
                </a:cubicBezTo>
                <a:cubicBezTo>
                  <a:pt x="2022852" y="1365857"/>
                  <a:pt x="2022852" y="1365857"/>
                  <a:pt x="2020857" y="1363862"/>
                </a:cubicBezTo>
                <a:cubicBezTo>
                  <a:pt x="2018862" y="1361866"/>
                  <a:pt x="2016867" y="1361866"/>
                  <a:pt x="2014872" y="1361866"/>
                </a:cubicBezTo>
                <a:cubicBezTo>
                  <a:pt x="2010882" y="1361866"/>
                  <a:pt x="2010882" y="1359870"/>
                  <a:pt x="2010882" y="1359870"/>
                </a:cubicBezTo>
                <a:cubicBezTo>
                  <a:pt x="2006891" y="1359870"/>
                  <a:pt x="2006891" y="1357874"/>
                  <a:pt x="2002901" y="1355879"/>
                </a:cubicBezTo>
                <a:cubicBezTo>
                  <a:pt x="2000906" y="1355879"/>
                  <a:pt x="2000906" y="1353883"/>
                  <a:pt x="1998911" y="1351887"/>
                </a:cubicBezTo>
                <a:cubicBezTo>
                  <a:pt x="1998911" y="1351887"/>
                  <a:pt x="1994921" y="1349891"/>
                  <a:pt x="1992926" y="1347895"/>
                </a:cubicBezTo>
                <a:cubicBezTo>
                  <a:pt x="1990931" y="1347895"/>
                  <a:pt x="1982951" y="1347895"/>
                  <a:pt x="1980956" y="1347895"/>
                </a:cubicBezTo>
                <a:cubicBezTo>
                  <a:pt x="1980956" y="1347895"/>
                  <a:pt x="1976966" y="1347895"/>
                  <a:pt x="1976966" y="1347895"/>
                </a:cubicBezTo>
                <a:cubicBezTo>
                  <a:pt x="1974971" y="1347895"/>
                  <a:pt x="1970981" y="1351887"/>
                  <a:pt x="1968986" y="1351887"/>
                </a:cubicBezTo>
                <a:cubicBezTo>
                  <a:pt x="1966991" y="1351887"/>
                  <a:pt x="1966991" y="1351887"/>
                  <a:pt x="1964995" y="1351887"/>
                </a:cubicBezTo>
                <a:cubicBezTo>
                  <a:pt x="1961005" y="1351887"/>
                  <a:pt x="1959010" y="1351887"/>
                  <a:pt x="1957015" y="1351887"/>
                </a:cubicBezTo>
                <a:cubicBezTo>
                  <a:pt x="1955020" y="1351887"/>
                  <a:pt x="1951030" y="1347895"/>
                  <a:pt x="1951030" y="1347895"/>
                </a:cubicBezTo>
                <a:cubicBezTo>
                  <a:pt x="1949035" y="1347895"/>
                  <a:pt x="1947040" y="1345900"/>
                  <a:pt x="1945045" y="1343904"/>
                </a:cubicBezTo>
                <a:cubicBezTo>
                  <a:pt x="1943050" y="1343904"/>
                  <a:pt x="1941055" y="1339912"/>
                  <a:pt x="1939060" y="1337917"/>
                </a:cubicBezTo>
                <a:cubicBezTo>
                  <a:pt x="1939060" y="1337917"/>
                  <a:pt x="1937065" y="1339912"/>
                  <a:pt x="1935070" y="1339912"/>
                </a:cubicBezTo>
                <a:cubicBezTo>
                  <a:pt x="1935070" y="1341908"/>
                  <a:pt x="1935070" y="1343904"/>
                  <a:pt x="1933075" y="1345900"/>
                </a:cubicBezTo>
                <a:cubicBezTo>
                  <a:pt x="1933075" y="1347895"/>
                  <a:pt x="1933075" y="1349891"/>
                  <a:pt x="1933075" y="1351887"/>
                </a:cubicBezTo>
                <a:cubicBezTo>
                  <a:pt x="1931080" y="1353883"/>
                  <a:pt x="1931080" y="1353883"/>
                  <a:pt x="1931080" y="1355879"/>
                </a:cubicBezTo>
                <a:cubicBezTo>
                  <a:pt x="1931080" y="1355879"/>
                  <a:pt x="1929085" y="1357874"/>
                  <a:pt x="1927090" y="1359870"/>
                </a:cubicBezTo>
                <a:cubicBezTo>
                  <a:pt x="1925095" y="1361866"/>
                  <a:pt x="1925095" y="1361866"/>
                  <a:pt x="1925095" y="1363862"/>
                </a:cubicBezTo>
                <a:cubicBezTo>
                  <a:pt x="1923100" y="1365857"/>
                  <a:pt x="1923100" y="1369849"/>
                  <a:pt x="1921104" y="1371845"/>
                </a:cubicBezTo>
                <a:cubicBezTo>
                  <a:pt x="1921104" y="1373841"/>
                  <a:pt x="1921104" y="1373841"/>
                  <a:pt x="1921104" y="1375836"/>
                </a:cubicBezTo>
                <a:cubicBezTo>
                  <a:pt x="1921104" y="1377832"/>
                  <a:pt x="1921104" y="1377832"/>
                  <a:pt x="1923100" y="1379828"/>
                </a:cubicBezTo>
                <a:cubicBezTo>
                  <a:pt x="1923100" y="1381824"/>
                  <a:pt x="1925095" y="1385815"/>
                  <a:pt x="1925095" y="1385815"/>
                </a:cubicBezTo>
                <a:cubicBezTo>
                  <a:pt x="1925095" y="1387811"/>
                  <a:pt x="1927090" y="1393798"/>
                  <a:pt x="1927090" y="1393798"/>
                </a:cubicBezTo>
                <a:cubicBezTo>
                  <a:pt x="1927090" y="1393798"/>
                  <a:pt x="1929085" y="1395794"/>
                  <a:pt x="1929085" y="1395794"/>
                </a:cubicBezTo>
                <a:cubicBezTo>
                  <a:pt x="1929085" y="1397790"/>
                  <a:pt x="1933075" y="1399786"/>
                  <a:pt x="1935070" y="1399786"/>
                </a:cubicBezTo>
                <a:cubicBezTo>
                  <a:pt x="1937065" y="1401781"/>
                  <a:pt x="1937065" y="1403777"/>
                  <a:pt x="1937065" y="1403777"/>
                </a:cubicBezTo>
                <a:cubicBezTo>
                  <a:pt x="1937065" y="1405773"/>
                  <a:pt x="1935070" y="1407769"/>
                  <a:pt x="1935070" y="1409764"/>
                </a:cubicBezTo>
                <a:cubicBezTo>
                  <a:pt x="1935070" y="1411760"/>
                  <a:pt x="1935070" y="1411760"/>
                  <a:pt x="1935070" y="1413756"/>
                </a:cubicBezTo>
                <a:cubicBezTo>
                  <a:pt x="1935070" y="1415752"/>
                  <a:pt x="1933075" y="1417748"/>
                  <a:pt x="1931080" y="1419743"/>
                </a:cubicBezTo>
                <a:cubicBezTo>
                  <a:pt x="1931080" y="1421739"/>
                  <a:pt x="1927090" y="1423735"/>
                  <a:pt x="1927090" y="1425731"/>
                </a:cubicBezTo>
                <a:cubicBezTo>
                  <a:pt x="1925095" y="1425731"/>
                  <a:pt x="1921104" y="1425731"/>
                  <a:pt x="1919109" y="1427726"/>
                </a:cubicBezTo>
                <a:cubicBezTo>
                  <a:pt x="1917114" y="1427726"/>
                  <a:pt x="1911129" y="1427726"/>
                  <a:pt x="1909134" y="1427726"/>
                </a:cubicBezTo>
                <a:cubicBezTo>
                  <a:pt x="1905144" y="1425731"/>
                  <a:pt x="1905144" y="1425731"/>
                  <a:pt x="1903149" y="1425731"/>
                </a:cubicBezTo>
                <a:cubicBezTo>
                  <a:pt x="1901154" y="1423735"/>
                  <a:pt x="1899159" y="1423735"/>
                  <a:pt x="1897164" y="1423735"/>
                </a:cubicBezTo>
                <a:cubicBezTo>
                  <a:pt x="1895169" y="1421739"/>
                  <a:pt x="1893174" y="1421739"/>
                  <a:pt x="1893174" y="1421739"/>
                </a:cubicBezTo>
                <a:cubicBezTo>
                  <a:pt x="1893174" y="1421739"/>
                  <a:pt x="1887189" y="1421739"/>
                  <a:pt x="1885194" y="1421739"/>
                </a:cubicBezTo>
                <a:cubicBezTo>
                  <a:pt x="1883199" y="1421739"/>
                  <a:pt x="1881204" y="1421739"/>
                  <a:pt x="1879209" y="1421739"/>
                </a:cubicBezTo>
                <a:cubicBezTo>
                  <a:pt x="1877213" y="1423735"/>
                  <a:pt x="1877213" y="1423735"/>
                  <a:pt x="1875218" y="1423735"/>
                </a:cubicBezTo>
                <a:cubicBezTo>
                  <a:pt x="1873223" y="1423735"/>
                  <a:pt x="1873223" y="1423735"/>
                  <a:pt x="1871228" y="1423735"/>
                </a:cubicBezTo>
                <a:cubicBezTo>
                  <a:pt x="1871228" y="1423735"/>
                  <a:pt x="1869233" y="1423735"/>
                  <a:pt x="1867238" y="1423735"/>
                </a:cubicBezTo>
                <a:cubicBezTo>
                  <a:pt x="1863248" y="1421739"/>
                  <a:pt x="1865243" y="1423735"/>
                  <a:pt x="1863248" y="1423735"/>
                </a:cubicBezTo>
                <a:cubicBezTo>
                  <a:pt x="1863248" y="1423735"/>
                  <a:pt x="1859258" y="1423735"/>
                  <a:pt x="1855268" y="1423735"/>
                </a:cubicBezTo>
                <a:cubicBezTo>
                  <a:pt x="1853273" y="1421739"/>
                  <a:pt x="1853273" y="1421739"/>
                  <a:pt x="1851278" y="1419743"/>
                </a:cubicBezTo>
                <a:cubicBezTo>
                  <a:pt x="1849283" y="1417748"/>
                  <a:pt x="1849283" y="1417748"/>
                  <a:pt x="1847288" y="1415752"/>
                </a:cubicBezTo>
                <a:cubicBezTo>
                  <a:pt x="1847288" y="1413756"/>
                  <a:pt x="1845293" y="1411760"/>
                  <a:pt x="1845293" y="1411760"/>
                </a:cubicBezTo>
                <a:cubicBezTo>
                  <a:pt x="1843298" y="1409764"/>
                  <a:pt x="1841303" y="1407769"/>
                  <a:pt x="1841303" y="1405773"/>
                </a:cubicBezTo>
                <a:cubicBezTo>
                  <a:pt x="1839308" y="1403777"/>
                  <a:pt x="1837313" y="1401781"/>
                  <a:pt x="1833323" y="1399786"/>
                </a:cubicBezTo>
                <a:cubicBezTo>
                  <a:pt x="1831327" y="1397790"/>
                  <a:pt x="1829332" y="1399786"/>
                  <a:pt x="1829332" y="1399786"/>
                </a:cubicBezTo>
                <a:cubicBezTo>
                  <a:pt x="1829332" y="1399786"/>
                  <a:pt x="1825342" y="1399786"/>
                  <a:pt x="1823347" y="1399786"/>
                </a:cubicBezTo>
                <a:cubicBezTo>
                  <a:pt x="1823347" y="1401781"/>
                  <a:pt x="1821352" y="1401781"/>
                  <a:pt x="1819357" y="1401781"/>
                </a:cubicBezTo>
                <a:cubicBezTo>
                  <a:pt x="1819357" y="1403777"/>
                  <a:pt x="1815367" y="1403777"/>
                  <a:pt x="1813372" y="1403777"/>
                </a:cubicBezTo>
                <a:cubicBezTo>
                  <a:pt x="1811377" y="1403777"/>
                  <a:pt x="1809382" y="1403777"/>
                  <a:pt x="1809382" y="1403777"/>
                </a:cubicBezTo>
                <a:cubicBezTo>
                  <a:pt x="1809382" y="1403777"/>
                  <a:pt x="1809382" y="1403777"/>
                  <a:pt x="1803397" y="1403777"/>
                </a:cubicBezTo>
                <a:cubicBezTo>
                  <a:pt x="1803397" y="1403777"/>
                  <a:pt x="1797412" y="1403777"/>
                  <a:pt x="1795417" y="1403777"/>
                </a:cubicBezTo>
                <a:cubicBezTo>
                  <a:pt x="1791427" y="1403777"/>
                  <a:pt x="1793422" y="1401781"/>
                  <a:pt x="1793422" y="1399786"/>
                </a:cubicBezTo>
                <a:cubicBezTo>
                  <a:pt x="1793422" y="1399786"/>
                  <a:pt x="1791427" y="1397790"/>
                  <a:pt x="1791427" y="1395794"/>
                </a:cubicBezTo>
                <a:cubicBezTo>
                  <a:pt x="1789432" y="1393798"/>
                  <a:pt x="1785441" y="1395794"/>
                  <a:pt x="1783446" y="1395794"/>
                </a:cubicBezTo>
                <a:cubicBezTo>
                  <a:pt x="1783446" y="1395794"/>
                  <a:pt x="1777461" y="1395794"/>
                  <a:pt x="1777461" y="1395794"/>
                </a:cubicBezTo>
                <a:cubicBezTo>
                  <a:pt x="1775466" y="1395794"/>
                  <a:pt x="1773471" y="1397790"/>
                  <a:pt x="1771476" y="1397790"/>
                </a:cubicBezTo>
                <a:cubicBezTo>
                  <a:pt x="1769481" y="1399786"/>
                  <a:pt x="1767486" y="1399786"/>
                  <a:pt x="1763496" y="1399786"/>
                </a:cubicBezTo>
                <a:cubicBezTo>
                  <a:pt x="1759506" y="1399786"/>
                  <a:pt x="1759506" y="1401781"/>
                  <a:pt x="1759506" y="1403777"/>
                </a:cubicBezTo>
                <a:cubicBezTo>
                  <a:pt x="1757511" y="1403777"/>
                  <a:pt x="1755516" y="1407769"/>
                  <a:pt x="1755516" y="1407769"/>
                </a:cubicBezTo>
                <a:cubicBezTo>
                  <a:pt x="1753521" y="1409764"/>
                  <a:pt x="1753521" y="1409764"/>
                  <a:pt x="1749531" y="1409764"/>
                </a:cubicBezTo>
                <a:cubicBezTo>
                  <a:pt x="1747536" y="1409764"/>
                  <a:pt x="1747536" y="1409764"/>
                  <a:pt x="1743545" y="1409764"/>
                </a:cubicBezTo>
                <a:cubicBezTo>
                  <a:pt x="1741550" y="1409764"/>
                  <a:pt x="1741550" y="1409764"/>
                  <a:pt x="1739555" y="1411760"/>
                </a:cubicBezTo>
                <a:cubicBezTo>
                  <a:pt x="1737560" y="1413756"/>
                  <a:pt x="1737560" y="1411760"/>
                  <a:pt x="1735565" y="1413756"/>
                </a:cubicBezTo>
                <a:cubicBezTo>
                  <a:pt x="1735565" y="1415752"/>
                  <a:pt x="1735565" y="1415752"/>
                  <a:pt x="1733570" y="1415752"/>
                </a:cubicBezTo>
                <a:cubicBezTo>
                  <a:pt x="1731575" y="1417748"/>
                  <a:pt x="1731575" y="1417748"/>
                  <a:pt x="1729580" y="1419743"/>
                </a:cubicBezTo>
                <a:cubicBezTo>
                  <a:pt x="1729580" y="1419743"/>
                  <a:pt x="1729580" y="1419743"/>
                  <a:pt x="1727585" y="1421739"/>
                </a:cubicBezTo>
                <a:cubicBezTo>
                  <a:pt x="1727585" y="1421739"/>
                  <a:pt x="1725590" y="1423735"/>
                  <a:pt x="1725590" y="1423735"/>
                </a:cubicBezTo>
                <a:cubicBezTo>
                  <a:pt x="1725590" y="1423735"/>
                  <a:pt x="1717610" y="1431718"/>
                  <a:pt x="1717610" y="1431718"/>
                </a:cubicBezTo>
                <a:cubicBezTo>
                  <a:pt x="1715615" y="1433714"/>
                  <a:pt x="1707635" y="1439701"/>
                  <a:pt x="1705640" y="1441697"/>
                </a:cubicBezTo>
                <a:cubicBezTo>
                  <a:pt x="1703645" y="1443693"/>
                  <a:pt x="1697659" y="1445688"/>
                  <a:pt x="1693669" y="1445688"/>
                </a:cubicBezTo>
                <a:cubicBezTo>
                  <a:pt x="1687684" y="1445688"/>
                  <a:pt x="1689679" y="1445688"/>
                  <a:pt x="1687684" y="1445688"/>
                </a:cubicBezTo>
                <a:cubicBezTo>
                  <a:pt x="1685689" y="1447684"/>
                  <a:pt x="1685689" y="1447684"/>
                  <a:pt x="1685689" y="1449680"/>
                </a:cubicBezTo>
                <a:cubicBezTo>
                  <a:pt x="1685689" y="1451676"/>
                  <a:pt x="1685689" y="1453671"/>
                  <a:pt x="1685689" y="1453671"/>
                </a:cubicBezTo>
                <a:cubicBezTo>
                  <a:pt x="1685689" y="1455667"/>
                  <a:pt x="1683694" y="1455667"/>
                  <a:pt x="1681699" y="1453671"/>
                </a:cubicBezTo>
                <a:cubicBezTo>
                  <a:pt x="1679704" y="1453671"/>
                  <a:pt x="1679704" y="1453671"/>
                  <a:pt x="1677709" y="1453671"/>
                </a:cubicBezTo>
                <a:cubicBezTo>
                  <a:pt x="1677709" y="1453671"/>
                  <a:pt x="1675714" y="1453671"/>
                  <a:pt x="1673719" y="1453671"/>
                </a:cubicBezTo>
                <a:cubicBezTo>
                  <a:pt x="1673719" y="1453671"/>
                  <a:pt x="1671724" y="1453671"/>
                  <a:pt x="1669729" y="1453671"/>
                </a:cubicBezTo>
                <a:cubicBezTo>
                  <a:pt x="1667734" y="1451676"/>
                  <a:pt x="1667734" y="1451676"/>
                  <a:pt x="1665739" y="1449680"/>
                </a:cubicBezTo>
                <a:cubicBezTo>
                  <a:pt x="1663744" y="1449680"/>
                  <a:pt x="1661749" y="1447684"/>
                  <a:pt x="1659754" y="1445688"/>
                </a:cubicBezTo>
                <a:cubicBezTo>
                  <a:pt x="1659754" y="1445688"/>
                  <a:pt x="1657759" y="1447684"/>
                  <a:pt x="1655764" y="1447684"/>
                </a:cubicBezTo>
                <a:cubicBezTo>
                  <a:pt x="1655764" y="1447684"/>
                  <a:pt x="1651773" y="1445688"/>
                  <a:pt x="1647783" y="1445688"/>
                </a:cubicBezTo>
                <a:cubicBezTo>
                  <a:pt x="1645788" y="1445688"/>
                  <a:pt x="1645788" y="1445688"/>
                  <a:pt x="1645788" y="1445688"/>
                </a:cubicBezTo>
                <a:cubicBezTo>
                  <a:pt x="1645788" y="1445688"/>
                  <a:pt x="1645788" y="1443693"/>
                  <a:pt x="1643793" y="1441697"/>
                </a:cubicBezTo>
                <a:cubicBezTo>
                  <a:pt x="1643793" y="1439701"/>
                  <a:pt x="1643793" y="1439701"/>
                  <a:pt x="1641798" y="1437705"/>
                </a:cubicBezTo>
                <a:cubicBezTo>
                  <a:pt x="1641798" y="1435709"/>
                  <a:pt x="1639803" y="1435709"/>
                  <a:pt x="1637808" y="1435709"/>
                </a:cubicBezTo>
                <a:cubicBezTo>
                  <a:pt x="1635813" y="1435709"/>
                  <a:pt x="1633818" y="1435709"/>
                  <a:pt x="1631823" y="1435709"/>
                </a:cubicBezTo>
                <a:cubicBezTo>
                  <a:pt x="1629828" y="1435709"/>
                  <a:pt x="1631823" y="1433714"/>
                  <a:pt x="1631823" y="1431718"/>
                </a:cubicBezTo>
                <a:cubicBezTo>
                  <a:pt x="1629828" y="1429722"/>
                  <a:pt x="1629828" y="1431718"/>
                  <a:pt x="1627833" y="1431718"/>
                </a:cubicBezTo>
                <a:cubicBezTo>
                  <a:pt x="1625838" y="1431718"/>
                  <a:pt x="1625838" y="1431718"/>
                  <a:pt x="1623843" y="1431718"/>
                </a:cubicBezTo>
                <a:cubicBezTo>
                  <a:pt x="1621848" y="1431718"/>
                  <a:pt x="1617858" y="1433714"/>
                  <a:pt x="1617858" y="1433714"/>
                </a:cubicBezTo>
                <a:cubicBezTo>
                  <a:pt x="1613868" y="1433714"/>
                  <a:pt x="1613868" y="1431718"/>
                  <a:pt x="1609877" y="1429722"/>
                </a:cubicBezTo>
                <a:cubicBezTo>
                  <a:pt x="1607882" y="1427726"/>
                  <a:pt x="1607882" y="1427726"/>
                  <a:pt x="1605887" y="1425731"/>
                </a:cubicBezTo>
                <a:cubicBezTo>
                  <a:pt x="1605887" y="1423735"/>
                  <a:pt x="1603892" y="1423735"/>
                  <a:pt x="1601897" y="1421739"/>
                </a:cubicBezTo>
                <a:cubicBezTo>
                  <a:pt x="1597907" y="1419743"/>
                  <a:pt x="1597907" y="1419743"/>
                  <a:pt x="1595912" y="1419743"/>
                </a:cubicBezTo>
                <a:cubicBezTo>
                  <a:pt x="1593917" y="1419743"/>
                  <a:pt x="1591922" y="1419743"/>
                  <a:pt x="1589927" y="1419743"/>
                </a:cubicBezTo>
                <a:cubicBezTo>
                  <a:pt x="1587932" y="1419743"/>
                  <a:pt x="1585937" y="1417748"/>
                  <a:pt x="1583942" y="1417748"/>
                </a:cubicBezTo>
                <a:cubicBezTo>
                  <a:pt x="1581947" y="1417748"/>
                  <a:pt x="1579952" y="1413756"/>
                  <a:pt x="1579952" y="1411760"/>
                </a:cubicBezTo>
                <a:cubicBezTo>
                  <a:pt x="1579952" y="1409764"/>
                  <a:pt x="1579952" y="1407769"/>
                  <a:pt x="1577957" y="1405773"/>
                </a:cubicBezTo>
                <a:cubicBezTo>
                  <a:pt x="1577957" y="1405773"/>
                  <a:pt x="1575962" y="1403777"/>
                  <a:pt x="1573967" y="1403777"/>
                </a:cubicBezTo>
                <a:cubicBezTo>
                  <a:pt x="1573967" y="1403777"/>
                  <a:pt x="1573967" y="1399786"/>
                  <a:pt x="1573967" y="1397790"/>
                </a:cubicBezTo>
                <a:cubicBezTo>
                  <a:pt x="1573967" y="1395794"/>
                  <a:pt x="1571972" y="1395794"/>
                  <a:pt x="1569977" y="1395794"/>
                </a:cubicBezTo>
                <a:cubicBezTo>
                  <a:pt x="1567982" y="1395794"/>
                  <a:pt x="1567982" y="1395794"/>
                  <a:pt x="1565987" y="1395794"/>
                </a:cubicBezTo>
                <a:cubicBezTo>
                  <a:pt x="1563991" y="1393798"/>
                  <a:pt x="1563991" y="1393798"/>
                  <a:pt x="1561996" y="1391802"/>
                </a:cubicBezTo>
                <a:cubicBezTo>
                  <a:pt x="1561996" y="1389807"/>
                  <a:pt x="1560001" y="1389807"/>
                  <a:pt x="1560001" y="1387811"/>
                </a:cubicBezTo>
                <a:cubicBezTo>
                  <a:pt x="1558006" y="1387811"/>
                  <a:pt x="1556011" y="1385815"/>
                  <a:pt x="1556011" y="1385815"/>
                </a:cubicBezTo>
                <a:cubicBezTo>
                  <a:pt x="1554016" y="1385815"/>
                  <a:pt x="1552021" y="1385815"/>
                  <a:pt x="1550026" y="1385815"/>
                </a:cubicBezTo>
                <a:cubicBezTo>
                  <a:pt x="1548031" y="1385815"/>
                  <a:pt x="1546036" y="1387811"/>
                  <a:pt x="1546036" y="1389807"/>
                </a:cubicBezTo>
                <a:cubicBezTo>
                  <a:pt x="1544041" y="1389807"/>
                  <a:pt x="1544041" y="1391802"/>
                  <a:pt x="1542046" y="1391802"/>
                </a:cubicBezTo>
                <a:cubicBezTo>
                  <a:pt x="1542046" y="1393798"/>
                  <a:pt x="1542046" y="1395794"/>
                  <a:pt x="1542046" y="1397790"/>
                </a:cubicBezTo>
                <a:cubicBezTo>
                  <a:pt x="1542046" y="1399786"/>
                  <a:pt x="1540051" y="1401781"/>
                  <a:pt x="1538056" y="1401781"/>
                </a:cubicBezTo>
                <a:cubicBezTo>
                  <a:pt x="1536061" y="1401781"/>
                  <a:pt x="1532071" y="1399786"/>
                  <a:pt x="1530076" y="1399786"/>
                </a:cubicBezTo>
                <a:cubicBezTo>
                  <a:pt x="1528081" y="1399786"/>
                  <a:pt x="1524091" y="1397790"/>
                  <a:pt x="1524091" y="1397790"/>
                </a:cubicBezTo>
                <a:cubicBezTo>
                  <a:pt x="1522096" y="1397790"/>
                  <a:pt x="1520100" y="1395794"/>
                  <a:pt x="1518105" y="1395794"/>
                </a:cubicBezTo>
                <a:cubicBezTo>
                  <a:pt x="1516110" y="1395794"/>
                  <a:pt x="1514115" y="1395794"/>
                  <a:pt x="1514115" y="1395794"/>
                </a:cubicBezTo>
                <a:cubicBezTo>
                  <a:pt x="1514115" y="1395794"/>
                  <a:pt x="1512120" y="1393798"/>
                  <a:pt x="1512120" y="1393798"/>
                </a:cubicBezTo>
                <a:cubicBezTo>
                  <a:pt x="1508130" y="1393798"/>
                  <a:pt x="1508130" y="1393798"/>
                  <a:pt x="1508130" y="1393798"/>
                </a:cubicBezTo>
                <a:cubicBezTo>
                  <a:pt x="1504140" y="1393798"/>
                  <a:pt x="1506135" y="1393798"/>
                  <a:pt x="1504140" y="1391802"/>
                </a:cubicBezTo>
                <a:cubicBezTo>
                  <a:pt x="1504140" y="1391802"/>
                  <a:pt x="1504140" y="1389807"/>
                  <a:pt x="1502145" y="1389807"/>
                </a:cubicBezTo>
                <a:cubicBezTo>
                  <a:pt x="1500150" y="1387811"/>
                  <a:pt x="1500150" y="1389807"/>
                  <a:pt x="1500150" y="1389807"/>
                </a:cubicBezTo>
                <a:cubicBezTo>
                  <a:pt x="1500150" y="1389807"/>
                  <a:pt x="1496160" y="1387811"/>
                  <a:pt x="1494165" y="1387811"/>
                </a:cubicBezTo>
                <a:cubicBezTo>
                  <a:pt x="1492170" y="1385815"/>
                  <a:pt x="1492170" y="1385815"/>
                  <a:pt x="1492170" y="1381824"/>
                </a:cubicBezTo>
                <a:cubicBezTo>
                  <a:pt x="1490175" y="1381824"/>
                  <a:pt x="1490175" y="1379828"/>
                  <a:pt x="1490175" y="1377832"/>
                </a:cubicBezTo>
                <a:cubicBezTo>
                  <a:pt x="1490175" y="1377832"/>
                  <a:pt x="1488180" y="1377832"/>
                  <a:pt x="1488180" y="1375836"/>
                </a:cubicBezTo>
                <a:cubicBezTo>
                  <a:pt x="1486185" y="1375836"/>
                  <a:pt x="1482195" y="1373841"/>
                  <a:pt x="1482195" y="1375836"/>
                </a:cubicBezTo>
                <a:cubicBezTo>
                  <a:pt x="1480200" y="1375836"/>
                  <a:pt x="1480200" y="1375836"/>
                  <a:pt x="1480200" y="1377832"/>
                </a:cubicBezTo>
                <a:cubicBezTo>
                  <a:pt x="1480200" y="1379828"/>
                  <a:pt x="1480200" y="1381824"/>
                  <a:pt x="1480200" y="1383819"/>
                </a:cubicBezTo>
                <a:cubicBezTo>
                  <a:pt x="1480200" y="1385815"/>
                  <a:pt x="1480200" y="1385815"/>
                  <a:pt x="1480200" y="1387811"/>
                </a:cubicBezTo>
                <a:cubicBezTo>
                  <a:pt x="1478205" y="1387811"/>
                  <a:pt x="1476209" y="1389807"/>
                  <a:pt x="1476209" y="1389807"/>
                </a:cubicBezTo>
                <a:cubicBezTo>
                  <a:pt x="1474214" y="1391802"/>
                  <a:pt x="1474214" y="1389807"/>
                  <a:pt x="1472219" y="1389807"/>
                </a:cubicBezTo>
                <a:cubicBezTo>
                  <a:pt x="1470224" y="1389807"/>
                  <a:pt x="1470224" y="1389807"/>
                  <a:pt x="1468229" y="1387811"/>
                </a:cubicBezTo>
                <a:cubicBezTo>
                  <a:pt x="1466234" y="1385815"/>
                  <a:pt x="1464239" y="1383819"/>
                  <a:pt x="1464239" y="1381824"/>
                </a:cubicBezTo>
                <a:cubicBezTo>
                  <a:pt x="1462244" y="1379828"/>
                  <a:pt x="1462244" y="1377832"/>
                  <a:pt x="1458254" y="1375836"/>
                </a:cubicBezTo>
                <a:cubicBezTo>
                  <a:pt x="1454264" y="1373841"/>
                  <a:pt x="1456259" y="1375836"/>
                  <a:pt x="1454264" y="1373841"/>
                </a:cubicBezTo>
                <a:cubicBezTo>
                  <a:pt x="1452269" y="1373841"/>
                  <a:pt x="1452269" y="1371845"/>
                  <a:pt x="1452269" y="1369849"/>
                </a:cubicBezTo>
                <a:cubicBezTo>
                  <a:pt x="1450274" y="1369849"/>
                  <a:pt x="1448279" y="1365857"/>
                  <a:pt x="1448279" y="1365857"/>
                </a:cubicBezTo>
                <a:cubicBezTo>
                  <a:pt x="1448279" y="1365857"/>
                  <a:pt x="1444289" y="1359870"/>
                  <a:pt x="1444289" y="1357874"/>
                </a:cubicBezTo>
                <a:cubicBezTo>
                  <a:pt x="1442294" y="1357874"/>
                  <a:pt x="1440299" y="1353883"/>
                  <a:pt x="1440299" y="1351887"/>
                </a:cubicBezTo>
                <a:cubicBezTo>
                  <a:pt x="1440299" y="1351887"/>
                  <a:pt x="1438304" y="1349891"/>
                  <a:pt x="1438304" y="1349891"/>
                </a:cubicBezTo>
                <a:cubicBezTo>
                  <a:pt x="1438304" y="1349891"/>
                  <a:pt x="1434314" y="1343904"/>
                  <a:pt x="1434314" y="1341908"/>
                </a:cubicBezTo>
                <a:cubicBezTo>
                  <a:pt x="1434314" y="1339912"/>
                  <a:pt x="1434314" y="1337917"/>
                  <a:pt x="1432319" y="1337917"/>
                </a:cubicBezTo>
                <a:cubicBezTo>
                  <a:pt x="1430323" y="1335921"/>
                  <a:pt x="1430323" y="1333925"/>
                  <a:pt x="1428328" y="1331929"/>
                </a:cubicBezTo>
                <a:cubicBezTo>
                  <a:pt x="1428328" y="1329934"/>
                  <a:pt x="1426333" y="1327938"/>
                  <a:pt x="1424338" y="1325942"/>
                </a:cubicBezTo>
                <a:cubicBezTo>
                  <a:pt x="1424338" y="1325942"/>
                  <a:pt x="1420348" y="1319955"/>
                  <a:pt x="1418353" y="1317959"/>
                </a:cubicBezTo>
                <a:cubicBezTo>
                  <a:pt x="1416358" y="1315963"/>
                  <a:pt x="1414363" y="1309976"/>
                  <a:pt x="1412368" y="1307980"/>
                </a:cubicBezTo>
                <a:cubicBezTo>
                  <a:pt x="1410373" y="1305984"/>
                  <a:pt x="1408378" y="1303988"/>
                  <a:pt x="1408378" y="1301993"/>
                </a:cubicBezTo>
                <a:cubicBezTo>
                  <a:pt x="1406383" y="1301993"/>
                  <a:pt x="1406383" y="1299997"/>
                  <a:pt x="1404388" y="1298001"/>
                </a:cubicBezTo>
                <a:cubicBezTo>
                  <a:pt x="1402393" y="1296005"/>
                  <a:pt x="1400398" y="1294010"/>
                  <a:pt x="1400398" y="1294010"/>
                </a:cubicBezTo>
                <a:cubicBezTo>
                  <a:pt x="1398403" y="1292014"/>
                  <a:pt x="1398403" y="1292014"/>
                  <a:pt x="1396408" y="1290018"/>
                </a:cubicBezTo>
                <a:cubicBezTo>
                  <a:pt x="1394413" y="1290018"/>
                  <a:pt x="1386432" y="1284031"/>
                  <a:pt x="1386432" y="1284031"/>
                </a:cubicBezTo>
                <a:cubicBezTo>
                  <a:pt x="1384437" y="1284031"/>
                  <a:pt x="1376457" y="1276048"/>
                  <a:pt x="1372467" y="1276048"/>
                </a:cubicBezTo>
                <a:cubicBezTo>
                  <a:pt x="1368477" y="1276048"/>
                  <a:pt x="1366482" y="1274052"/>
                  <a:pt x="1364487" y="1272056"/>
                </a:cubicBezTo>
                <a:cubicBezTo>
                  <a:pt x="1364487" y="1272056"/>
                  <a:pt x="1364487" y="1270060"/>
                  <a:pt x="1366482" y="1268065"/>
                </a:cubicBezTo>
                <a:cubicBezTo>
                  <a:pt x="1368477" y="1266069"/>
                  <a:pt x="1374462" y="1264073"/>
                  <a:pt x="1376457" y="1262077"/>
                </a:cubicBezTo>
                <a:cubicBezTo>
                  <a:pt x="1376457" y="1262077"/>
                  <a:pt x="1376457" y="1258086"/>
                  <a:pt x="1374462" y="1256090"/>
                </a:cubicBezTo>
                <a:cubicBezTo>
                  <a:pt x="1374462" y="1256090"/>
                  <a:pt x="1370472" y="1256090"/>
                  <a:pt x="1368477" y="1256090"/>
                </a:cubicBezTo>
                <a:cubicBezTo>
                  <a:pt x="1368477" y="1256090"/>
                  <a:pt x="1366482" y="1258086"/>
                  <a:pt x="1364487" y="1258086"/>
                </a:cubicBezTo>
                <a:cubicBezTo>
                  <a:pt x="1362492" y="1258086"/>
                  <a:pt x="1360497" y="1262077"/>
                  <a:pt x="1358502" y="1262077"/>
                </a:cubicBezTo>
                <a:cubicBezTo>
                  <a:pt x="1356507" y="1264073"/>
                  <a:pt x="1356507" y="1262077"/>
                  <a:pt x="1354512" y="1262077"/>
                </a:cubicBezTo>
                <a:cubicBezTo>
                  <a:pt x="1354512" y="1262077"/>
                  <a:pt x="1350522" y="1262077"/>
                  <a:pt x="1348527" y="1260081"/>
                </a:cubicBezTo>
                <a:cubicBezTo>
                  <a:pt x="1346532" y="1260081"/>
                  <a:pt x="1344537" y="1262077"/>
                  <a:pt x="1342541" y="1262077"/>
                </a:cubicBezTo>
                <a:cubicBezTo>
                  <a:pt x="1340546" y="1264073"/>
                  <a:pt x="1342541" y="1264073"/>
                  <a:pt x="1340546" y="1264073"/>
                </a:cubicBezTo>
                <a:cubicBezTo>
                  <a:pt x="1340546" y="1266069"/>
                  <a:pt x="1338551" y="1268065"/>
                  <a:pt x="1338551" y="1268065"/>
                </a:cubicBezTo>
                <a:cubicBezTo>
                  <a:pt x="1338551" y="1268065"/>
                  <a:pt x="1336556" y="1270060"/>
                  <a:pt x="1336556" y="1272056"/>
                </a:cubicBezTo>
                <a:cubicBezTo>
                  <a:pt x="1334561" y="1274052"/>
                  <a:pt x="1332566" y="1274052"/>
                  <a:pt x="1330571" y="1274052"/>
                </a:cubicBezTo>
                <a:cubicBezTo>
                  <a:pt x="1328576" y="1274052"/>
                  <a:pt x="1328576" y="1274052"/>
                  <a:pt x="1326581" y="1274052"/>
                </a:cubicBezTo>
                <a:cubicBezTo>
                  <a:pt x="1324586" y="1274052"/>
                  <a:pt x="1324586" y="1276048"/>
                  <a:pt x="1324586" y="1278043"/>
                </a:cubicBezTo>
                <a:cubicBezTo>
                  <a:pt x="1324586" y="1280039"/>
                  <a:pt x="1324586" y="1282035"/>
                  <a:pt x="1322591" y="1282035"/>
                </a:cubicBezTo>
                <a:cubicBezTo>
                  <a:pt x="1320596" y="1282035"/>
                  <a:pt x="1320596" y="1282035"/>
                  <a:pt x="1320596" y="1280039"/>
                </a:cubicBezTo>
                <a:cubicBezTo>
                  <a:pt x="1318601" y="1280039"/>
                  <a:pt x="1310621" y="1278043"/>
                  <a:pt x="1308626" y="1278043"/>
                </a:cubicBezTo>
                <a:cubicBezTo>
                  <a:pt x="1304636" y="1280039"/>
                  <a:pt x="1304636" y="1280039"/>
                  <a:pt x="1304636" y="1280039"/>
                </a:cubicBezTo>
                <a:cubicBezTo>
                  <a:pt x="1302641" y="1282035"/>
                  <a:pt x="1300646" y="1282035"/>
                  <a:pt x="1298651" y="1280039"/>
                </a:cubicBezTo>
                <a:cubicBezTo>
                  <a:pt x="1294660" y="1280039"/>
                  <a:pt x="1296655" y="1278043"/>
                  <a:pt x="1294660" y="1276048"/>
                </a:cubicBezTo>
                <a:cubicBezTo>
                  <a:pt x="1294660" y="1274052"/>
                  <a:pt x="1296655" y="1274052"/>
                  <a:pt x="1296655" y="1272056"/>
                </a:cubicBezTo>
                <a:cubicBezTo>
                  <a:pt x="1296655" y="1272056"/>
                  <a:pt x="1296655" y="1268065"/>
                  <a:pt x="1296655" y="1266069"/>
                </a:cubicBezTo>
                <a:cubicBezTo>
                  <a:pt x="1296655" y="1264073"/>
                  <a:pt x="1290670" y="1264073"/>
                  <a:pt x="1288675" y="1264073"/>
                </a:cubicBezTo>
                <a:cubicBezTo>
                  <a:pt x="1286680" y="1264073"/>
                  <a:pt x="1282690" y="1262077"/>
                  <a:pt x="1280695" y="1262077"/>
                </a:cubicBezTo>
                <a:cubicBezTo>
                  <a:pt x="1280695" y="1262077"/>
                  <a:pt x="1280695" y="1264073"/>
                  <a:pt x="1276705" y="1264073"/>
                </a:cubicBezTo>
                <a:cubicBezTo>
                  <a:pt x="1274710" y="1266069"/>
                  <a:pt x="1268725" y="1260081"/>
                  <a:pt x="1268725" y="1260081"/>
                </a:cubicBezTo>
                <a:cubicBezTo>
                  <a:pt x="1268725" y="1260081"/>
                  <a:pt x="1268725" y="1256090"/>
                  <a:pt x="1268725" y="1254094"/>
                </a:cubicBezTo>
                <a:cubicBezTo>
                  <a:pt x="1268725" y="1254094"/>
                  <a:pt x="1266730" y="1254094"/>
                  <a:pt x="1266730" y="1254094"/>
                </a:cubicBezTo>
                <a:cubicBezTo>
                  <a:pt x="1266730" y="1254094"/>
                  <a:pt x="1262740" y="1256090"/>
                  <a:pt x="1260745" y="1256090"/>
                </a:cubicBezTo>
                <a:cubicBezTo>
                  <a:pt x="1258750" y="1256090"/>
                  <a:pt x="1258750" y="1258086"/>
                  <a:pt x="1256755" y="1258086"/>
                </a:cubicBezTo>
                <a:cubicBezTo>
                  <a:pt x="1254760" y="1260081"/>
                  <a:pt x="1250769" y="1260081"/>
                  <a:pt x="1248774" y="1260081"/>
                </a:cubicBezTo>
                <a:cubicBezTo>
                  <a:pt x="1248774" y="1260081"/>
                  <a:pt x="1244784" y="1260081"/>
                  <a:pt x="1242789" y="1258086"/>
                </a:cubicBezTo>
                <a:cubicBezTo>
                  <a:pt x="1240794" y="1258086"/>
                  <a:pt x="1238799" y="1252098"/>
                  <a:pt x="1238799" y="1250103"/>
                </a:cubicBezTo>
                <a:cubicBezTo>
                  <a:pt x="1236804" y="1248107"/>
                  <a:pt x="1236804" y="1244115"/>
                  <a:pt x="1236804" y="1242119"/>
                </a:cubicBezTo>
                <a:cubicBezTo>
                  <a:pt x="1236804" y="1240124"/>
                  <a:pt x="1236804" y="1238128"/>
                  <a:pt x="1236804" y="1236132"/>
                </a:cubicBezTo>
                <a:cubicBezTo>
                  <a:pt x="1236804" y="1234136"/>
                  <a:pt x="1236804" y="1232141"/>
                  <a:pt x="1234809" y="1230145"/>
                </a:cubicBezTo>
                <a:cubicBezTo>
                  <a:pt x="1234809" y="1228149"/>
                  <a:pt x="1234809" y="1226153"/>
                  <a:pt x="1234809" y="1224158"/>
                </a:cubicBezTo>
                <a:cubicBezTo>
                  <a:pt x="1234809" y="1222162"/>
                  <a:pt x="1232814" y="1222162"/>
                  <a:pt x="1230819" y="1222162"/>
                </a:cubicBezTo>
                <a:cubicBezTo>
                  <a:pt x="1228824" y="1222162"/>
                  <a:pt x="1224834" y="1220166"/>
                  <a:pt x="1224834" y="1220166"/>
                </a:cubicBezTo>
                <a:cubicBezTo>
                  <a:pt x="1224834" y="1220166"/>
                  <a:pt x="1216854" y="1220166"/>
                  <a:pt x="1216854" y="1220166"/>
                </a:cubicBezTo>
                <a:cubicBezTo>
                  <a:pt x="1214859" y="1220166"/>
                  <a:pt x="1212864" y="1220166"/>
                  <a:pt x="1212864" y="1222162"/>
                </a:cubicBezTo>
                <a:cubicBezTo>
                  <a:pt x="1210869" y="1222162"/>
                  <a:pt x="1208874" y="1222162"/>
                  <a:pt x="1208874" y="1222162"/>
                </a:cubicBezTo>
                <a:cubicBezTo>
                  <a:pt x="1206878" y="1220166"/>
                  <a:pt x="1206878" y="1218170"/>
                  <a:pt x="1204883" y="1216174"/>
                </a:cubicBezTo>
                <a:cubicBezTo>
                  <a:pt x="1204883" y="1214179"/>
                  <a:pt x="1202888" y="1212183"/>
                  <a:pt x="1198898" y="1212183"/>
                </a:cubicBezTo>
                <a:cubicBezTo>
                  <a:pt x="1196903" y="1210187"/>
                  <a:pt x="1194908" y="1212183"/>
                  <a:pt x="1192913" y="1212183"/>
                </a:cubicBezTo>
                <a:cubicBezTo>
                  <a:pt x="1190918" y="1212183"/>
                  <a:pt x="1186928" y="1212183"/>
                  <a:pt x="1184933" y="1212183"/>
                </a:cubicBezTo>
                <a:cubicBezTo>
                  <a:pt x="1182938" y="1212183"/>
                  <a:pt x="1178948" y="1214179"/>
                  <a:pt x="1178948" y="1216174"/>
                </a:cubicBezTo>
                <a:cubicBezTo>
                  <a:pt x="1176953" y="1216174"/>
                  <a:pt x="1174958" y="1218170"/>
                  <a:pt x="1174958" y="1220166"/>
                </a:cubicBezTo>
                <a:cubicBezTo>
                  <a:pt x="1172963" y="1222162"/>
                  <a:pt x="1172963" y="1222162"/>
                  <a:pt x="1170968" y="1224158"/>
                </a:cubicBezTo>
                <a:cubicBezTo>
                  <a:pt x="1168973" y="1226153"/>
                  <a:pt x="1168973" y="1228149"/>
                  <a:pt x="1166978" y="1230145"/>
                </a:cubicBezTo>
                <a:cubicBezTo>
                  <a:pt x="1164983" y="1232141"/>
                  <a:pt x="1162987" y="1232141"/>
                  <a:pt x="1160992" y="1234136"/>
                </a:cubicBezTo>
                <a:cubicBezTo>
                  <a:pt x="1158997" y="1234136"/>
                  <a:pt x="1157002" y="1236132"/>
                  <a:pt x="1155007" y="1236132"/>
                </a:cubicBezTo>
                <a:cubicBezTo>
                  <a:pt x="1153012" y="1236132"/>
                  <a:pt x="1145032" y="1236132"/>
                  <a:pt x="1143037" y="1238128"/>
                </a:cubicBezTo>
                <a:cubicBezTo>
                  <a:pt x="1141042" y="1238128"/>
                  <a:pt x="1139047" y="1240124"/>
                  <a:pt x="1137052" y="1240124"/>
                </a:cubicBezTo>
                <a:cubicBezTo>
                  <a:pt x="1135057" y="1240124"/>
                  <a:pt x="1131067" y="1240124"/>
                  <a:pt x="1129072" y="1240124"/>
                </a:cubicBezTo>
                <a:cubicBezTo>
                  <a:pt x="1127077" y="1240124"/>
                  <a:pt x="1125082" y="1240124"/>
                  <a:pt x="1123087" y="1242119"/>
                </a:cubicBezTo>
                <a:cubicBezTo>
                  <a:pt x="1121092" y="1242119"/>
                  <a:pt x="1119097" y="1244115"/>
                  <a:pt x="1117101" y="1244115"/>
                </a:cubicBezTo>
                <a:cubicBezTo>
                  <a:pt x="1115106" y="1246111"/>
                  <a:pt x="1111116" y="1246111"/>
                  <a:pt x="1109121" y="1246111"/>
                </a:cubicBezTo>
                <a:cubicBezTo>
                  <a:pt x="1109121" y="1248107"/>
                  <a:pt x="1105131" y="1250103"/>
                  <a:pt x="1105131" y="1252098"/>
                </a:cubicBezTo>
                <a:cubicBezTo>
                  <a:pt x="1103136" y="1256090"/>
                  <a:pt x="1099146" y="1258086"/>
                  <a:pt x="1097151" y="1258086"/>
                </a:cubicBezTo>
                <a:cubicBezTo>
                  <a:pt x="1093161" y="1260081"/>
                  <a:pt x="1091166" y="1256090"/>
                  <a:pt x="1089171" y="1256090"/>
                </a:cubicBezTo>
                <a:cubicBezTo>
                  <a:pt x="1087176" y="1256090"/>
                  <a:pt x="1085181" y="1256090"/>
                  <a:pt x="1083186" y="1258086"/>
                </a:cubicBezTo>
                <a:cubicBezTo>
                  <a:pt x="1081191" y="1258086"/>
                  <a:pt x="1077201" y="1260081"/>
                  <a:pt x="1077201" y="1262077"/>
                </a:cubicBezTo>
                <a:cubicBezTo>
                  <a:pt x="1075206" y="1262077"/>
                  <a:pt x="1071215" y="1264073"/>
                  <a:pt x="1069220" y="1266069"/>
                </a:cubicBezTo>
                <a:cubicBezTo>
                  <a:pt x="1069220" y="1266069"/>
                  <a:pt x="1059245" y="1266069"/>
                  <a:pt x="1059245" y="1266069"/>
                </a:cubicBezTo>
                <a:cubicBezTo>
                  <a:pt x="1059245" y="1266069"/>
                  <a:pt x="1055255" y="1266069"/>
                  <a:pt x="1051265" y="1266069"/>
                </a:cubicBezTo>
                <a:cubicBezTo>
                  <a:pt x="1049270" y="1266069"/>
                  <a:pt x="1049270" y="1266069"/>
                  <a:pt x="1047275" y="1268065"/>
                </a:cubicBezTo>
                <a:cubicBezTo>
                  <a:pt x="1045280" y="1270060"/>
                  <a:pt x="1045280" y="1270060"/>
                  <a:pt x="1043285" y="1270060"/>
                </a:cubicBezTo>
                <a:cubicBezTo>
                  <a:pt x="1043285" y="1272056"/>
                  <a:pt x="1039295" y="1272056"/>
                  <a:pt x="1039295" y="1272056"/>
                </a:cubicBezTo>
                <a:cubicBezTo>
                  <a:pt x="1037300" y="1272056"/>
                  <a:pt x="1033310" y="1270060"/>
                  <a:pt x="1031315" y="1270060"/>
                </a:cubicBezTo>
                <a:cubicBezTo>
                  <a:pt x="1031315" y="1268065"/>
                  <a:pt x="1027324" y="1268065"/>
                  <a:pt x="1025329" y="1268065"/>
                </a:cubicBezTo>
                <a:cubicBezTo>
                  <a:pt x="1023334" y="1268065"/>
                  <a:pt x="1019344" y="1268065"/>
                  <a:pt x="1017349" y="1268065"/>
                </a:cubicBezTo>
                <a:cubicBezTo>
                  <a:pt x="1015354" y="1268065"/>
                  <a:pt x="1009369" y="1270060"/>
                  <a:pt x="1007374" y="1270060"/>
                </a:cubicBezTo>
                <a:cubicBezTo>
                  <a:pt x="1007374" y="1272056"/>
                  <a:pt x="1003384" y="1274052"/>
                  <a:pt x="1003384" y="1276048"/>
                </a:cubicBezTo>
                <a:cubicBezTo>
                  <a:pt x="1003384" y="1276048"/>
                  <a:pt x="1005379" y="1282035"/>
                  <a:pt x="1005379" y="1284031"/>
                </a:cubicBezTo>
                <a:cubicBezTo>
                  <a:pt x="1007374" y="1284031"/>
                  <a:pt x="1009369" y="1286027"/>
                  <a:pt x="1009369" y="1288022"/>
                </a:cubicBezTo>
                <a:cubicBezTo>
                  <a:pt x="1011364" y="1288022"/>
                  <a:pt x="1009369" y="1290018"/>
                  <a:pt x="1009369" y="1290018"/>
                </a:cubicBezTo>
                <a:cubicBezTo>
                  <a:pt x="1009369" y="1292014"/>
                  <a:pt x="1009369" y="1294010"/>
                  <a:pt x="1009369" y="1296005"/>
                </a:cubicBezTo>
                <a:cubicBezTo>
                  <a:pt x="1009369" y="1298001"/>
                  <a:pt x="1011364" y="1298001"/>
                  <a:pt x="1011364" y="1298001"/>
                </a:cubicBezTo>
                <a:cubicBezTo>
                  <a:pt x="1011364" y="1298001"/>
                  <a:pt x="1015354" y="1298001"/>
                  <a:pt x="1017349" y="1299997"/>
                </a:cubicBezTo>
                <a:cubicBezTo>
                  <a:pt x="1017349" y="1299997"/>
                  <a:pt x="1019344" y="1301993"/>
                  <a:pt x="1019344" y="1301993"/>
                </a:cubicBezTo>
                <a:cubicBezTo>
                  <a:pt x="1021339" y="1301993"/>
                  <a:pt x="1021339" y="1301993"/>
                  <a:pt x="1021339" y="1303988"/>
                </a:cubicBezTo>
                <a:cubicBezTo>
                  <a:pt x="1021339" y="1305984"/>
                  <a:pt x="1021339" y="1305984"/>
                  <a:pt x="1019344" y="1307980"/>
                </a:cubicBezTo>
                <a:cubicBezTo>
                  <a:pt x="1019344" y="1307980"/>
                  <a:pt x="1017349" y="1309976"/>
                  <a:pt x="1013359" y="1307980"/>
                </a:cubicBezTo>
                <a:cubicBezTo>
                  <a:pt x="1011364" y="1307980"/>
                  <a:pt x="1009369" y="1307980"/>
                  <a:pt x="1007374" y="1309976"/>
                </a:cubicBezTo>
                <a:cubicBezTo>
                  <a:pt x="1005379" y="1311972"/>
                  <a:pt x="1001389" y="1313967"/>
                  <a:pt x="1001389" y="1315963"/>
                </a:cubicBezTo>
                <a:cubicBezTo>
                  <a:pt x="999394" y="1317959"/>
                  <a:pt x="999394" y="1317959"/>
                  <a:pt x="1001389" y="1319955"/>
                </a:cubicBezTo>
                <a:cubicBezTo>
                  <a:pt x="1001389" y="1321950"/>
                  <a:pt x="1001389" y="1323946"/>
                  <a:pt x="1003384" y="1325942"/>
                </a:cubicBezTo>
                <a:cubicBezTo>
                  <a:pt x="1003384" y="1327938"/>
                  <a:pt x="1003384" y="1329934"/>
                  <a:pt x="1005379" y="1331929"/>
                </a:cubicBezTo>
                <a:cubicBezTo>
                  <a:pt x="1005379" y="1333925"/>
                  <a:pt x="1005379" y="1335921"/>
                  <a:pt x="1003384" y="1335921"/>
                </a:cubicBezTo>
                <a:cubicBezTo>
                  <a:pt x="1003384" y="1337917"/>
                  <a:pt x="1001389" y="1341908"/>
                  <a:pt x="1001389" y="1343904"/>
                </a:cubicBezTo>
                <a:cubicBezTo>
                  <a:pt x="999394" y="1345900"/>
                  <a:pt x="995404" y="1345900"/>
                  <a:pt x="993409" y="1345900"/>
                </a:cubicBezTo>
                <a:cubicBezTo>
                  <a:pt x="993409" y="1347895"/>
                  <a:pt x="993409" y="1349891"/>
                  <a:pt x="995404" y="1349891"/>
                </a:cubicBezTo>
                <a:cubicBezTo>
                  <a:pt x="995404" y="1351887"/>
                  <a:pt x="997399" y="1353883"/>
                  <a:pt x="997399" y="1353883"/>
                </a:cubicBezTo>
                <a:cubicBezTo>
                  <a:pt x="999394" y="1355879"/>
                  <a:pt x="1001389" y="1357874"/>
                  <a:pt x="1001389" y="1359870"/>
                </a:cubicBezTo>
                <a:cubicBezTo>
                  <a:pt x="1001389" y="1361866"/>
                  <a:pt x="1001389" y="1361866"/>
                  <a:pt x="1003384" y="1363862"/>
                </a:cubicBezTo>
                <a:cubicBezTo>
                  <a:pt x="1003384" y="1365857"/>
                  <a:pt x="1005379" y="1367853"/>
                  <a:pt x="1005379" y="1367853"/>
                </a:cubicBezTo>
                <a:cubicBezTo>
                  <a:pt x="1007374" y="1369849"/>
                  <a:pt x="1011364" y="1369849"/>
                  <a:pt x="1013359" y="1369849"/>
                </a:cubicBezTo>
                <a:cubicBezTo>
                  <a:pt x="1015354" y="1369849"/>
                  <a:pt x="1019344" y="1363862"/>
                  <a:pt x="1021339" y="1365857"/>
                </a:cubicBezTo>
                <a:cubicBezTo>
                  <a:pt x="1023334" y="1365857"/>
                  <a:pt x="1023334" y="1365857"/>
                  <a:pt x="1025329" y="1367853"/>
                </a:cubicBezTo>
                <a:cubicBezTo>
                  <a:pt x="1025329" y="1369849"/>
                  <a:pt x="1025329" y="1371845"/>
                  <a:pt x="1025329" y="1373841"/>
                </a:cubicBezTo>
                <a:cubicBezTo>
                  <a:pt x="1025329" y="1375836"/>
                  <a:pt x="1023334" y="1377832"/>
                  <a:pt x="1023334" y="1379828"/>
                </a:cubicBezTo>
                <a:cubicBezTo>
                  <a:pt x="1021339" y="1381824"/>
                  <a:pt x="1023334" y="1383819"/>
                  <a:pt x="1023334" y="1385815"/>
                </a:cubicBezTo>
                <a:cubicBezTo>
                  <a:pt x="1021339" y="1385815"/>
                  <a:pt x="1023334" y="1389807"/>
                  <a:pt x="1023334" y="1389807"/>
                </a:cubicBezTo>
                <a:cubicBezTo>
                  <a:pt x="1023334" y="1389807"/>
                  <a:pt x="1019344" y="1391802"/>
                  <a:pt x="1017349" y="1393798"/>
                </a:cubicBezTo>
                <a:cubicBezTo>
                  <a:pt x="1015354" y="1393798"/>
                  <a:pt x="1011364" y="1393798"/>
                  <a:pt x="1009369" y="1393798"/>
                </a:cubicBezTo>
                <a:cubicBezTo>
                  <a:pt x="1009369" y="1393798"/>
                  <a:pt x="1007374" y="1393798"/>
                  <a:pt x="1005379" y="1393798"/>
                </a:cubicBezTo>
                <a:cubicBezTo>
                  <a:pt x="1005379" y="1395794"/>
                  <a:pt x="1003384" y="1393798"/>
                  <a:pt x="1003384" y="1391802"/>
                </a:cubicBezTo>
                <a:cubicBezTo>
                  <a:pt x="1001389" y="1389807"/>
                  <a:pt x="1001389" y="1389807"/>
                  <a:pt x="999394" y="1389807"/>
                </a:cubicBezTo>
                <a:cubicBezTo>
                  <a:pt x="997399" y="1389807"/>
                  <a:pt x="995404" y="1389807"/>
                  <a:pt x="993409" y="1389807"/>
                </a:cubicBezTo>
                <a:cubicBezTo>
                  <a:pt x="989419" y="1389807"/>
                  <a:pt x="987424" y="1391802"/>
                  <a:pt x="987424" y="1393798"/>
                </a:cubicBezTo>
                <a:cubicBezTo>
                  <a:pt x="985429" y="1395794"/>
                  <a:pt x="985429" y="1397790"/>
                  <a:pt x="985429" y="1397790"/>
                </a:cubicBezTo>
                <a:cubicBezTo>
                  <a:pt x="985429" y="1397790"/>
                  <a:pt x="983433" y="1397790"/>
                  <a:pt x="979443" y="1397790"/>
                </a:cubicBezTo>
                <a:cubicBezTo>
                  <a:pt x="977448" y="1397790"/>
                  <a:pt x="977448" y="1397790"/>
                  <a:pt x="975453" y="1397790"/>
                </a:cubicBezTo>
                <a:cubicBezTo>
                  <a:pt x="973458" y="1397790"/>
                  <a:pt x="973458" y="1397790"/>
                  <a:pt x="971463" y="1397790"/>
                </a:cubicBezTo>
                <a:cubicBezTo>
                  <a:pt x="969468" y="1397790"/>
                  <a:pt x="969468" y="1397790"/>
                  <a:pt x="967473" y="1397790"/>
                </a:cubicBezTo>
                <a:cubicBezTo>
                  <a:pt x="965478" y="1395794"/>
                  <a:pt x="961488" y="1395794"/>
                  <a:pt x="961488" y="1395794"/>
                </a:cubicBezTo>
                <a:cubicBezTo>
                  <a:pt x="961488" y="1395794"/>
                  <a:pt x="955503" y="1393798"/>
                  <a:pt x="955503" y="1391802"/>
                </a:cubicBezTo>
                <a:cubicBezTo>
                  <a:pt x="953508" y="1389807"/>
                  <a:pt x="955503" y="1387811"/>
                  <a:pt x="953508" y="1387811"/>
                </a:cubicBezTo>
                <a:cubicBezTo>
                  <a:pt x="951513" y="1385815"/>
                  <a:pt x="947523" y="1385815"/>
                  <a:pt x="947523" y="1383819"/>
                </a:cubicBezTo>
                <a:cubicBezTo>
                  <a:pt x="945528" y="1381824"/>
                  <a:pt x="943533" y="1381824"/>
                  <a:pt x="941538" y="1381824"/>
                </a:cubicBezTo>
                <a:cubicBezTo>
                  <a:pt x="939542" y="1381824"/>
                  <a:pt x="937547" y="1379828"/>
                  <a:pt x="935552" y="1381824"/>
                </a:cubicBezTo>
                <a:cubicBezTo>
                  <a:pt x="931562" y="1381824"/>
                  <a:pt x="933557" y="1381824"/>
                  <a:pt x="933557" y="1381824"/>
                </a:cubicBezTo>
                <a:cubicBezTo>
                  <a:pt x="933557" y="1383819"/>
                  <a:pt x="933557" y="1385815"/>
                  <a:pt x="931562" y="1387811"/>
                </a:cubicBezTo>
                <a:cubicBezTo>
                  <a:pt x="929567" y="1389807"/>
                  <a:pt x="931562" y="1387811"/>
                  <a:pt x="927572" y="1387811"/>
                </a:cubicBezTo>
                <a:cubicBezTo>
                  <a:pt x="925577" y="1387811"/>
                  <a:pt x="925577" y="1387811"/>
                  <a:pt x="923582" y="1387811"/>
                </a:cubicBezTo>
                <a:cubicBezTo>
                  <a:pt x="921587" y="1389807"/>
                  <a:pt x="921587" y="1389807"/>
                  <a:pt x="917597" y="1389807"/>
                </a:cubicBezTo>
                <a:cubicBezTo>
                  <a:pt x="915602" y="1391802"/>
                  <a:pt x="911612" y="1391802"/>
                  <a:pt x="911612" y="1391802"/>
                </a:cubicBezTo>
                <a:cubicBezTo>
                  <a:pt x="911612" y="1391802"/>
                  <a:pt x="905627" y="1393798"/>
                  <a:pt x="903632" y="1395794"/>
                </a:cubicBezTo>
                <a:cubicBezTo>
                  <a:pt x="903632" y="1395794"/>
                  <a:pt x="901637" y="1395794"/>
                  <a:pt x="899642" y="1395794"/>
                </a:cubicBezTo>
                <a:cubicBezTo>
                  <a:pt x="895651" y="1395794"/>
                  <a:pt x="895651" y="1395794"/>
                  <a:pt x="895651" y="1395794"/>
                </a:cubicBezTo>
                <a:cubicBezTo>
                  <a:pt x="895651" y="1395794"/>
                  <a:pt x="889666" y="1397790"/>
                  <a:pt x="887671" y="1397790"/>
                </a:cubicBezTo>
                <a:cubicBezTo>
                  <a:pt x="885676" y="1399786"/>
                  <a:pt x="883681" y="1397790"/>
                  <a:pt x="879691" y="1397790"/>
                </a:cubicBezTo>
                <a:cubicBezTo>
                  <a:pt x="875701" y="1397790"/>
                  <a:pt x="875701" y="1395794"/>
                  <a:pt x="875701" y="1393798"/>
                </a:cubicBezTo>
                <a:cubicBezTo>
                  <a:pt x="875701" y="1393798"/>
                  <a:pt x="875701" y="1389807"/>
                  <a:pt x="873706" y="1387811"/>
                </a:cubicBezTo>
                <a:cubicBezTo>
                  <a:pt x="873706" y="1383819"/>
                  <a:pt x="871711" y="1385815"/>
                  <a:pt x="869716" y="1385815"/>
                </a:cubicBezTo>
                <a:cubicBezTo>
                  <a:pt x="867721" y="1387811"/>
                  <a:pt x="867721" y="1387811"/>
                  <a:pt x="867721" y="1389807"/>
                </a:cubicBezTo>
                <a:cubicBezTo>
                  <a:pt x="867721" y="1391802"/>
                  <a:pt x="865726" y="1395794"/>
                  <a:pt x="865726" y="1395794"/>
                </a:cubicBezTo>
                <a:cubicBezTo>
                  <a:pt x="865726" y="1395794"/>
                  <a:pt x="861736" y="1393798"/>
                  <a:pt x="861736" y="1393798"/>
                </a:cubicBezTo>
                <a:cubicBezTo>
                  <a:pt x="859741" y="1391802"/>
                  <a:pt x="859741" y="1389807"/>
                  <a:pt x="857746" y="1387811"/>
                </a:cubicBezTo>
                <a:cubicBezTo>
                  <a:pt x="857746" y="1383819"/>
                  <a:pt x="857746" y="1383819"/>
                  <a:pt x="855751" y="1383819"/>
                </a:cubicBezTo>
                <a:cubicBezTo>
                  <a:pt x="853756" y="1383819"/>
                  <a:pt x="851760" y="1383819"/>
                  <a:pt x="849765" y="1381824"/>
                </a:cubicBezTo>
                <a:cubicBezTo>
                  <a:pt x="847770" y="1381824"/>
                  <a:pt x="845775" y="1377832"/>
                  <a:pt x="843780" y="1377832"/>
                </a:cubicBezTo>
                <a:cubicBezTo>
                  <a:pt x="843780" y="1377832"/>
                  <a:pt x="843780" y="1375836"/>
                  <a:pt x="841785" y="1375836"/>
                </a:cubicBezTo>
                <a:cubicBezTo>
                  <a:pt x="841785" y="1375836"/>
                  <a:pt x="839790" y="1373841"/>
                  <a:pt x="835800" y="1371845"/>
                </a:cubicBezTo>
                <a:cubicBezTo>
                  <a:pt x="833805" y="1371845"/>
                  <a:pt x="833805" y="1369849"/>
                  <a:pt x="831810" y="1367853"/>
                </a:cubicBezTo>
                <a:cubicBezTo>
                  <a:pt x="831810" y="1365857"/>
                  <a:pt x="827820" y="1365857"/>
                  <a:pt x="827820" y="1365857"/>
                </a:cubicBezTo>
                <a:cubicBezTo>
                  <a:pt x="825825" y="1363862"/>
                  <a:pt x="821835" y="1363862"/>
                  <a:pt x="819840" y="1363862"/>
                </a:cubicBezTo>
                <a:cubicBezTo>
                  <a:pt x="815850" y="1363862"/>
                  <a:pt x="815850" y="1363862"/>
                  <a:pt x="811860" y="1365857"/>
                </a:cubicBezTo>
                <a:cubicBezTo>
                  <a:pt x="809865" y="1365857"/>
                  <a:pt x="809865" y="1365857"/>
                  <a:pt x="807870" y="1367853"/>
                </a:cubicBezTo>
                <a:cubicBezTo>
                  <a:pt x="803879" y="1367853"/>
                  <a:pt x="803879" y="1367853"/>
                  <a:pt x="799889" y="1367853"/>
                </a:cubicBezTo>
                <a:cubicBezTo>
                  <a:pt x="797894" y="1369849"/>
                  <a:pt x="795899" y="1369849"/>
                  <a:pt x="793904" y="1369849"/>
                </a:cubicBezTo>
                <a:cubicBezTo>
                  <a:pt x="793904" y="1371845"/>
                  <a:pt x="791909" y="1373841"/>
                  <a:pt x="789914" y="1375836"/>
                </a:cubicBezTo>
                <a:cubicBezTo>
                  <a:pt x="789914" y="1375836"/>
                  <a:pt x="787919" y="1373841"/>
                  <a:pt x="785924" y="1373841"/>
                </a:cubicBezTo>
                <a:cubicBezTo>
                  <a:pt x="783929" y="1371845"/>
                  <a:pt x="783929" y="1371845"/>
                  <a:pt x="781934" y="1373841"/>
                </a:cubicBezTo>
                <a:cubicBezTo>
                  <a:pt x="779939" y="1373841"/>
                  <a:pt x="779939" y="1371845"/>
                  <a:pt x="779939" y="1369849"/>
                </a:cubicBezTo>
                <a:cubicBezTo>
                  <a:pt x="777944" y="1369849"/>
                  <a:pt x="779939" y="1365857"/>
                  <a:pt x="779939" y="1363862"/>
                </a:cubicBezTo>
                <a:cubicBezTo>
                  <a:pt x="777944" y="1361866"/>
                  <a:pt x="777944" y="1361866"/>
                  <a:pt x="771959" y="1361866"/>
                </a:cubicBezTo>
                <a:cubicBezTo>
                  <a:pt x="767969" y="1359870"/>
                  <a:pt x="771959" y="1361866"/>
                  <a:pt x="769964" y="1361866"/>
                </a:cubicBezTo>
                <a:cubicBezTo>
                  <a:pt x="767969" y="1363862"/>
                  <a:pt x="767969" y="1365857"/>
                  <a:pt x="765974" y="1367853"/>
                </a:cubicBezTo>
                <a:cubicBezTo>
                  <a:pt x="763979" y="1369849"/>
                  <a:pt x="763979" y="1369849"/>
                  <a:pt x="763979" y="1371845"/>
                </a:cubicBezTo>
                <a:cubicBezTo>
                  <a:pt x="761983" y="1373841"/>
                  <a:pt x="759988" y="1371845"/>
                  <a:pt x="757993" y="1371845"/>
                </a:cubicBezTo>
                <a:cubicBezTo>
                  <a:pt x="755998" y="1371845"/>
                  <a:pt x="755998" y="1373841"/>
                  <a:pt x="755998" y="1373841"/>
                </a:cubicBezTo>
                <a:cubicBezTo>
                  <a:pt x="755998" y="1375836"/>
                  <a:pt x="754003" y="1377832"/>
                  <a:pt x="752008" y="1377832"/>
                </a:cubicBezTo>
                <a:cubicBezTo>
                  <a:pt x="750013" y="1379828"/>
                  <a:pt x="748018" y="1379828"/>
                  <a:pt x="748018" y="1377832"/>
                </a:cubicBezTo>
                <a:cubicBezTo>
                  <a:pt x="746023" y="1377832"/>
                  <a:pt x="742033" y="1377832"/>
                  <a:pt x="742033" y="1377832"/>
                </a:cubicBezTo>
                <a:cubicBezTo>
                  <a:pt x="740038" y="1377832"/>
                  <a:pt x="738043" y="1381824"/>
                  <a:pt x="738043" y="1383819"/>
                </a:cubicBezTo>
                <a:cubicBezTo>
                  <a:pt x="738043" y="1385815"/>
                  <a:pt x="738043" y="1387811"/>
                  <a:pt x="740038" y="1389807"/>
                </a:cubicBezTo>
                <a:cubicBezTo>
                  <a:pt x="740038" y="1389807"/>
                  <a:pt x="740038" y="1391802"/>
                  <a:pt x="738043" y="1393798"/>
                </a:cubicBezTo>
                <a:cubicBezTo>
                  <a:pt x="738043" y="1395794"/>
                  <a:pt x="734053" y="1395794"/>
                  <a:pt x="732058" y="1397790"/>
                </a:cubicBezTo>
                <a:cubicBezTo>
                  <a:pt x="730063" y="1397790"/>
                  <a:pt x="730063" y="1399786"/>
                  <a:pt x="728068" y="1399786"/>
                </a:cubicBezTo>
                <a:cubicBezTo>
                  <a:pt x="728068" y="1401781"/>
                  <a:pt x="726073" y="1401781"/>
                  <a:pt x="724078" y="1401781"/>
                </a:cubicBezTo>
                <a:cubicBezTo>
                  <a:pt x="722083" y="1399786"/>
                  <a:pt x="718092" y="1401781"/>
                  <a:pt x="718092" y="1403777"/>
                </a:cubicBezTo>
                <a:cubicBezTo>
                  <a:pt x="718092" y="1405773"/>
                  <a:pt x="722083" y="1409764"/>
                  <a:pt x="722083" y="1409764"/>
                </a:cubicBezTo>
                <a:cubicBezTo>
                  <a:pt x="724078" y="1411760"/>
                  <a:pt x="726073" y="1413756"/>
                  <a:pt x="726073" y="1413756"/>
                </a:cubicBezTo>
                <a:cubicBezTo>
                  <a:pt x="726073" y="1413756"/>
                  <a:pt x="728068" y="1419743"/>
                  <a:pt x="728068" y="1421739"/>
                </a:cubicBezTo>
                <a:cubicBezTo>
                  <a:pt x="728068" y="1423735"/>
                  <a:pt x="726073" y="1431718"/>
                  <a:pt x="726073" y="1431718"/>
                </a:cubicBezTo>
                <a:cubicBezTo>
                  <a:pt x="726073" y="1431718"/>
                  <a:pt x="720088" y="1429722"/>
                  <a:pt x="718092" y="1427726"/>
                </a:cubicBezTo>
                <a:cubicBezTo>
                  <a:pt x="718092" y="1425731"/>
                  <a:pt x="718092" y="1425731"/>
                  <a:pt x="716097" y="1421739"/>
                </a:cubicBezTo>
                <a:cubicBezTo>
                  <a:pt x="714102" y="1419743"/>
                  <a:pt x="712107" y="1419743"/>
                  <a:pt x="710112" y="1419743"/>
                </a:cubicBezTo>
                <a:cubicBezTo>
                  <a:pt x="708117" y="1417748"/>
                  <a:pt x="708117" y="1415752"/>
                  <a:pt x="708117" y="1415752"/>
                </a:cubicBezTo>
                <a:cubicBezTo>
                  <a:pt x="708117" y="1415752"/>
                  <a:pt x="706122" y="1413756"/>
                  <a:pt x="706122" y="1411760"/>
                </a:cubicBezTo>
                <a:cubicBezTo>
                  <a:pt x="706122" y="1407769"/>
                  <a:pt x="702132" y="1407769"/>
                  <a:pt x="700137" y="1405773"/>
                </a:cubicBezTo>
                <a:cubicBezTo>
                  <a:pt x="698142" y="1403777"/>
                  <a:pt x="692157" y="1405773"/>
                  <a:pt x="692157" y="1407769"/>
                </a:cubicBezTo>
                <a:cubicBezTo>
                  <a:pt x="690162" y="1411760"/>
                  <a:pt x="692157" y="1415752"/>
                  <a:pt x="692157" y="1417748"/>
                </a:cubicBezTo>
                <a:cubicBezTo>
                  <a:pt x="692157" y="1419743"/>
                  <a:pt x="688167" y="1421739"/>
                  <a:pt x="688167" y="1423735"/>
                </a:cubicBezTo>
                <a:cubicBezTo>
                  <a:pt x="688167" y="1425731"/>
                  <a:pt x="684177" y="1429722"/>
                  <a:pt x="684177" y="1429722"/>
                </a:cubicBezTo>
                <a:cubicBezTo>
                  <a:pt x="684177" y="1429722"/>
                  <a:pt x="684177" y="1435709"/>
                  <a:pt x="684177" y="1439701"/>
                </a:cubicBezTo>
                <a:cubicBezTo>
                  <a:pt x="684177" y="1441697"/>
                  <a:pt x="684177" y="1445688"/>
                  <a:pt x="684177" y="1445688"/>
                </a:cubicBezTo>
                <a:cubicBezTo>
                  <a:pt x="684177" y="1445688"/>
                  <a:pt x="684177" y="1445688"/>
                  <a:pt x="684177" y="1457663"/>
                </a:cubicBezTo>
                <a:cubicBezTo>
                  <a:pt x="684177" y="1457663"/>
                  <a:pt x="684177" y="1469638"/>
                  <a:pt x="684177" y="1471633"/>
                </a:cubicBezTo>
                <a:cubicBezTo>
                  <a:pt x="684177" y="1473629"/>
                  <a:pt x="682182" y="1477621"/>
                  <a:pt x="682182" y="1479616"/>
                </a:cubicBezTo>
                <a:cubicBezTo>
                  <a:pt x="680187" y="1481612"/>
                  <a:pt x="680187" y="1483608"/>
                  <a:pt x="682182" y="1485604"/>
                </a:cubicBezTo>
                <a:cubicBezTo>
                  <a:pt x="684177" y="1487600"/>
                  <a:pt x="686172" y="1487600"/>
                  <a:pt x="688167" y="1487600"/>
                </a:cubicBezTo>
                <a:cubicBezTo>
                  <a:pt x="692157" y="1487600"/>
                  <a:pt x="694152" y="1493587"/>
                  <a:pt x="696147" y="1495583"/>
                </a:cubicBezTo>
                <a:cubicBezTo>
                  <a:pt x="696147" y="1495583"/>
                  <a:pt x="696147" y="1499574"/>
                  <a:pt x="696147" y="1501570"/>
                </a:cubicBezTo>
                <a:cubicBezTo>
                  <a:pt x="696147" y="1505562"/>
                  <a:pt x="696147" y="1509553"/>
                  <a:pt x="696147" y="1509553"/>
                </a:cubicBezTo>
                <a:cubicBezTo>
                  <a:pt x="696147" y="1511549"/>
                  <a:pt x="698142" y="1513545"/>
                  <a:pt x="702132" y="1513545"/>
                </a:cubicBezTo>
                <a:cubicBezTo>
                  <a:pt x="704127" y="1513545"/>
                  <a:pt x="706122" y="1509553"/>
                  <a:pt x="708117" y="1509553"/>
                </a:cubicBezTo>
                <a:cubicBezTo>
                  <a:pt x="710112" y="1507557"/>
                  <a:pt x="712107" y="1509553"/>
                  <a:pt x="712107" y="1509553"/>
                </a:cubicBezTo>
                <a:cubicBezTo>
                  <a:pt x="714102" y="1509553"/>
                  <a:pt x="718092" y="1509553"/>
                  <a:pt x="718092" y="1509553"/>
                </a:cubicBezTo>
                <a:cubicBezTo>
                  <a:pt x="718092" y="1509553"/>
                  <a:pt x="718092" y="1511549"/>
                  <a:pt x="718092" y="1511549"/>
                </a:cubicBezTo>
                <a:cubicBezTo>
                  <a:pt x="718092" y="1513545"/>
                  <a:pt x="720088" y="1515540"/>
                  <a:pt x="720088" y="1515540"/>
                </a:cubicBezTo>
                <a:cubicBezTo>
                  <a:pt x="722083" y="1517536"/>
                  <a:pt x="724078" y="1519532"/>
                  <a:pt x="724078" y="1519532"/>
                </a:cubicBezTo>
                <a:cubicBezTo>
                  <a:pt x="724078" y="1519532"/>
                  <a:pt x="726073" y="1523523"/>
                  <a:pt x="726073" y="1525519"/>
                </a:cubicBezTo>
                <a:cubicBezTo>
                  <a:pt x="726073" y="1525519"/>
                  <a:pt x="732058" y="1529511"/>
                  <a:pt x="734053" y="1531507"/>
                </a:cubicBezTo>
                <a:cubicBezTo>
                  <a:pt x="734053" y="1533502"/>
                  <a:pt x="736048" y="1537494"/>
                  <a:pt x="738043" y="1537494"/>
                </a:cubicBezTo>
                <a:cubicBezTo>
                  <a:pt x="738043" y="1539490"/>
                  <a:pt x="738043" y="1543481"/>
                  <a:pt x="738043" y="1543481"/>
                </a:cubicBezTo>
                <a:cubicBezTo>
                  <a:pt x="738043" y="1543481"/>
                  <a:pt x="738043" y="1543481"/>
                  <a:pt x="748018" y="1543481"/>
                </a:cubicBezTo>
                <a:cubicBezTo>
                  <a:pt x="748018" y="1543481"/>
                  <a:pt x="748018" y="1543481"/>
                  <a:pt x="752008" y="1549469"/>
                </a:cubicBezTo>
                <a:cubicBezTo>
                  <a:pt x="752008" y="1549469"/>
                  <a:pt x="750013" y="1551464"/>
                  <a:pt x="748018" y="1553460"/>
                </a:cubicBezTo>
                <a:cubicBezTo>
                  <a:pt x="748018" y="1555456"/>
                  <a:pt x="742033" y="1561443"/>
                  <a:pt x="742033" y="1561443"/>
                </a:cubicBezTo>
                <a:cubicBezTo>
                  <a:pt x="742033" y="1561443"/>
                  <a:pt x="736048" y="1563439"/>
                  <a:pt x="734053" y="1563439"/>
                </a:cubicBezTo>
                <a:cubicBezTo>
                  <a:pt x="734053" y="1565435"/>
                  <a:pt x="734053" y="1569426"/>
                  <a:pt x="732058" y="1569426"/>
                </a:cubicBezTo>
                <a:cubicBezTo>
                  <a:pt x="730063" y="1571422"/>
                  <a:pt x="728068" y="1571422"/>
                  <a:pt x="728068" y="1571422"/>
                </a:cubicBezTo>
                <a:cubicBezTo>
                  <a:pt x="726073" y="1573418"/>
                  <a:pt x="726073" y="1577409"/>
                  <a:pt x="724078" y="1577409"/>
                </a:cubicBezTo>
                <a:cubicBezTo>
                  <a:pt x="722083" y="1579405"/>
                  <a:pt x="718092" y="1581401"/>
                  <a:pt x="716097" y="1581401"/>
                </a:cubicBezTo>
                <a:cubicBezTo>
                  <a:pt x="714102" y="1581401"/>
                  <a:pt x="710112" y="1581401"/>
                  <a:pt x="708117" y="1581401"/>
                </a:cubicBezTo>
                <a:cubicBezTo>
                  <a:pt x="706122" y="1581401"/>
                  <a:pt x="704127" y="1583397"/>
                  <a:pt x="702132" y="1585392"/>
                </a:cubicBezTo>
                <a:cubicBezTo>
                  <a:pt x="700137" y="1587388"/>
                  <a:pt x="700137" y="1595371"/>
                  <a:pt x="700137" y="1597367"/>
                </a:cubicBezTo>
                <a:cubicBezTo>
                  <a:pt x="698142" y="1601359"/>
                  <a:pt x="696147" y="1605350"/>
                  <a:pt x="694152" y="1609342"/>
                </a:cubicBezTo>
                <a:cubicBezTo>
                  <a:pt x="694152" y="1611337"/>
                  <a:pt x="690162" y="1615329"/>
                  <a:pt x="690162" y="1615329"/>
                </a:cubicBezTo>
                <a:cubicBezTo>
                  <a:pt x="688167" y="1615329"/>
                  <a:pt x="688167" y="1621316"/>
                  <a:pt x="688167" y="1623312"/>
                </a:cubicBezTo>
                <a:cubicBezTo>
                  <a:pt x="688167" y="1625308"/>
                  <a:pt x="690162" y="1625308"/>
                  <a:pt x="690162" y="1625308"/>
                </a:cubicBezTo>
                <a:cubicBezTo>
                  <a:pt x="690162" y="1625308"/>
                  <a:pt x="692157" y="1627304"/>
                  <a:pt x="694152" y="1629299"/>
                </a:cubicBezTo>
                <a:cubicBezTo>
                  <a:pt x="694152" y="1631295"/>
                  <a:pt x="700137" y="1633291"/>
                  <a:pt x="702132" y="1635287"/>
                </a:cubicBezTo>
                <a:cubicBezTo>
                  <a:pt x="702132" y="1635287"/>
                  <a:pt x="702132" y="1635287"/>
                  <a:pt x="702132" y="1639278"/>
                </a:cubicBezTo>
                <a:cubicBezTo>
                  <a:pt x="702132" y="1641274"/>
                  <a:pt x="706122" y="1641274"/>
                  <a:pt x="706122" y="1641274"/>
                </a:cubicBezTo>
                <a:cubicBezTo>
                  <a:pt x="708117" y="1643270"/>
                  <a:pt x="712107" y="1639278"/>
                  <a:pt x="712107" y="1639278"/>
                </a:cubicBezTo>
                <a:cubicBezTo>
                  <a:pt x="714102" y="1639278"/>
                  <a:pt x="712107" y="1649257"/>
                  <a:pt x="712107" y="1649257"/>
                </a:cubicBezTo>
                <a:cubicBezTo>
                  <a:pt x="712107" y="1651253"/>
                  <a:pt x="710112" y="1655245"/>
                  <a:pt x="708117" y="1657240"/>
                </a:cubicBezTo>
                <a:cubicBezTo>
                  <a:pt x="708117" y="1659236"/>
                  <a:pt x="710112" y="1659236"/>
                  <a:pt x="710112" y="1661232"/>
                </a:cubicBezTo>
                <a:cubicBezTo>
                  <a:pt x="710112" y="1663228"/>
                  <a:pt x="710112" y="1665223"/>
                  <a:pt x="710112" y="1667219"/>
                </a:cubicBezTo>
                <a:cubicBezTo>
                  <a:pt x="710112" y="1669215"/>
                  <a:pt x="708117" y="1673206"/>
                  <a:pt x="710112" y="1673206"/>
                </a:cubicBezTo>
                <a:cubicBezTo>
                  <a:pt x="710112" y="1675202"/>
                  <a:pt x="714102" y="1679194"/>
                  <a:pt x="714102" y="1679194"/>
                </a:cubicBezTo>
                <a:cubicBezTo>
                  <a:pt x="716097" y="1681190"/>
                  <a:pt x="716097" y="1685181"/>
                  <a:pt x="716097" y="1687177"/>
                </a:cubicBezTo>
                <a:cubicBezTo>
                  <a:pt x="716097" y="1689173"/>
                  <a:pt x="716097" y="1689173"/>
                  <a:pt x="718092" y="1691168"/>
                </a:cubicBezTo>
                <a:cubicBezTo>
                  <a:pt x="718092" y="1693164"/>
                  <a:pt x="718092" y="1693164"/>
                  <a:pt x="720088" y="1695160"/>
                </a:cubicBezTo>
                <a:cubicBezTo>
                  <a:pt x="722083" y="1697156"/>
                  <a:pt x="724078" y="1699152"/>
                  <a:pt x="726073" y="1699152"/>
                </a:cubicBezTo>
                <a:cubicBezTo>
                  <a:pt x="726073" y="1701147"/>
                  <a:pt x="728068" y="1703143"/>
                  <a:pt x="728068" y="1705139"/>
                </a:cubicBezTo>
                <a:cubicBezTo>
                  <a:pt x="730063" y="1705139"/>
                  <a:pt x="730063" y="1709130"/>
                  <a:pt x="730063" y="1711126"/>
                </a:cubicBezTo>
                <a:cubicBezTo>
                  <a:pt x="732058" y="1711126"/>
                  <a:pt x="734053" y="1713122"/>
                  <a:pt x="734053" y="1715118"/>
                </a:cubicBezTo>
                <a:cubicBezTo>
                  <a:pt x="736048" y="1715118"/>
                  <a:pt x="738043" y="1715118"/>
                  <a:pt x="738043" y="1715118"/>
                </a:cubicBezTo>
                <a:cubicBezTo>
                  <a:pt x="738043" y="1715118"/>
                  <a:pt x="736048" y="1717113"/>
                  <a:pt x="734053" y="1717113"/>
                </a:cubicBezTo>
                <a:cubicBezTo>
                  <a:pt x="734053" y="1719109"/>
                  <a:pt x="732058" y="1721105"/>
                  <a:pt x="730063" y="1723101"/>
                </a:cubicBezTo>
                <a:cubicBezTo>
                  <a:pt x="730063" y="1725097"/>
                  <a:pt x="726073" y="1727092"/>
                  <a:pt x="722083" y="1729088"/>
                </a:cubicBezTo>
                <a:cubicBezTo>
                  <a:pt x="720088" y="1731084"/>
                  <a:pt x="720088" y="1733080"/>
                  <a:pt x="718092" y="1733080"/>
                </a:cubicBezTo>
                <a:cubicBezTo>
                  <a:pt x="716097" y="1737071"/>
                  <a:pt x="714102" y="1737071"/>
                  <a:pt x="712107" y="1737071"/>
                </a:cubicBezTo>
                <a:cubicBezTo>
                  <a:pt x="712107" y="1737071"/>
                  <a:pt x="710112" y="1733080"/>
                  <a:pt x="708117" y="1731084"/>
                </a:cubicBezTo>
                <a:cubicBezTo>
                  <a:pt x="706122" y="1729088"/>
                  <a:pt x="702132" y="1727092"/>
                  <a:pt x="702132" y="1727092"/>
                </a:cubicBezTo>
                <a:cubicBezTo>
                  <a:pt x="702132" y="1727092"/>
                  <a:pt x="698142" y="1723101"/>
                  <a:pt x="696147" y="1723101"/>
                </a:cubicBezTo>
                <a:cubicBezTo>
                  <a:pt x="694152" y="1723101"/>
                  <a:pt x="694152" y="1725097"/>
                  <a:pt x="692157" y="1725097"/>
                </a:cubicBezTo>
                <a:cubicBezTo>
                  <a:pt x="690162" y="1727092"/>
                  <a:pt x="686172" y="1725097"/>
                  <a:pt x="686172" y="1725097"/>
                </a:cubicBezTo>
                <a:cubicBezTo>
                  <a:pt x="686172" y="1725097"/>
                  <a:pt x="684177" y="1727092"/>
                  <a:pt x="684177" y="1729088"/>
                </a:cubicBezTo>
                <a:cubicBezTo>
                  <a:pt x="684177" y="1729088"/>
                  <a:pt x="684177" y="1729088"/>
                  <a:pt x="682182" y="1729088"/>
                </a:cubicBezTo>
                <a:cubicBezTo>
                  <a:pt x="680187" y="1725097"/>
                  <a:pt x="676197" y="1721105"/>
                  <a:pt x="676197" y="1721105"/>
                </a:cubicBezTo>
                <a:cubicBezTo>
                  <a:pt x="676197" y="1719109"/>
                  <a:pt x="676197" y="1717113"/>
                  <a:pt x="676197" y="1715118"/>
                </a:cubicBezTo>
                <a:cubicBezTo>
                  <a:pt x="674202" y="1713122"/>
                  <a:pt x="670211" y="1713122"/>
                  <a:pt x="670211" y="1711126"/>
                </a:cubicBezTo>
                <a:cubicBezTo>
                  <a:pt x="670211" y="1709130"/>
                  <a:pt x="668216" y="1705139"/>
                  <a:pt x="668216" y="1703143"/>
                </a:cubicBezTo>
                <a:cubicBezTo>
                  <a:pt x="666221" y="1701147"/>
                  <a:pt x="664226" y="1701147"/>
                  <a:pt x="662231" y="1701147"/>
                </a:cubicBezTo>
                <a:cubicBezTo>
                  <a:pt x="660236" y="1701147"/>
                  <a:pt x="658241" y="1699152"/>
                  <a:pt x="658241" y="1699152"/>
                </a:cubicBezTo>
                <a:cubicBezTo>
                  <a:pt x="658241" y="1697156"/>
                  <a:pt x="662231" y="1693164"/>
                  <a:pt x="662231" y="1691168"/>
                </a:cubicBezTo>
                <a:cubicBezTo>
                  <a:pt x="662231" y="1689173"/>
                  <a:pt x="662231" y="1687177"/>
                  <a:pt x="660236" y="1687177"/>
                </a:cubicBezTo>
                <a:cubicBezTo>
                  <a:pt x="658241" y="1685181"/>
                  <a:pt x="654251" y="1685181"/>
                  <a:pt x="652256" y="1685181"/>
                </a:cubicBezTo>
                <a:cubicBezTo>
                  <a:pt x="648266" y="1685181"/>
                  <a:pt x="648266" y="1685181"/>
                  <a:pt x="644276" y="1687177"/>
                </a:cubicBezTo>
                <a:cubicBezTo>
                  <a:pt x="640286" y="1687177"/>
                  <a:pt x="640286" y="1687177"/>
                  <a:pt x="638291" y="1687177"/>
                </a:cubicBezTo>
                <a:cubicBezTo>
                  <a:pt x="636296" y="1687177"/>
                  <a:pt x="634301" y="1685181"/>
                  <a:pt x="630311" y="1685181"/>
                </a:cubicBezTo>
                <a:cubicBezTo>
                  <a:pt x="628315" y="1685181"/>
                  <a:pt x="628315" y="1689173"/>
                  <a:pt x="628315" y="1689173"/>
                </a:cubicBezTo>
                <a:cubicBezTo>
                  <a:pt x="628315" y="1689173"/>
                  <a:pt x="622330" y="1691168"/>
                  <a:pt x="622330" y="1691168"/>
                </a:cubicBezTo>
                <a:cubicBezTo>
                  <a:pt x="620335" y="1693164"/>
                  <a:pt x="614350" y="1695160"/>
                  <a:pt x="614350" y="1695160"/>
                </a:cubicBezTo>
                <a:cubicBezTo>
                  <a:pt x="614350" y="1695160"/>
                  <a:pt x="614350" y="1695160"/>
                  <a:pt x="612355" y="1691168"/>
                </a:cubicBezTo>
                <a:cubicBezTo>
                  <a:pt x="612355" y="1691168"/>
                  <a:pt x="608365" y="1691168"/>
                  <a:pt x="608365" y="1689173"/>
                </a:cubicBezTo>
                <a:cubicBezTo>
                  <a:pt x="608365" y="1687177"/>
                  <a:pt x="606370" y="1685181"/>
                  <a:pt x="606370" y="1683185"/>
                </a:cubicBezTo>
                <a:cubicBezTo>
                  <a:pt x="604374" y="1681190"/>
                  <a:pt x="606370" y="1681190"/>
                  <a:pt x="602379" y="1681190"/>
                </a:cubicBezTo>
                <a:cubicBezTo>
                  <a:pt x="600384" y="1679194"/>
                  <a:pt x="600384" y="1677198"/>
                  <a:pt x="598389" y="1675202"/>
                </a:cubicBezTo>
                <a:cubicBezTo>
                  <a:pt x="596394" y="1673206"/>
                  <a:pt x="594399" y="1671211"/>
                  <a:pt x="592404" y="1669215"/>
                </a:cubicBezTo>
                <a:cubicBezTo>
                  <a:pt x="590409" y="1669215"/>
                  <a:pt x="586419" y="1665223"/>
                  <a:pt x="586419" y="1665223"/>
                </a:cubicBezTo>
                <a:cubicBezTo>
                  <a:pt x="586419" y="1665223"/>
                  <a:pt x="582429" y="1665223"/>
                  <a:pt x="580434" y="1665223"/>
                </a:cubicBezTo>
                <a:cubicBezTo>
                  <a:pt x="578439" y="1663228"/>
                  <a:pt x="578439" y="1663228"/>
                  <a:pt x="576444" y="1661232"/>
                </a:cubicBezTo>
                <a:cubicBezTo>
                  <a:pt x="574449" y="1661232"/>
                  <a:pt x="572454" y="1661232"/>
                  <a:pt x="570459" y="1661232"/>
                </a:cubicBezTo>
                <a:cubicBezTo>
                  <a:pt x="566469" y="1661232"/>
                  <a:pt x="560484" y="1659236"/>
                  <a:pt x="558488" y="1657240"/>
                </a:cubicBezTo>
                <a:cubicBezTo>
                  <a:pt x="554498" y="1657240"/>
                  <a:pt x="554498" y="1659236"/>
                  <a:pt x="552503" y="1659236"/>
                </a:cubicBezTo>
                <a:cubicBezTo>
                  <a:pt x="550508" y="1659236"/>
                  <a:pt x="548513" y="1659236"/>
                  <a:pt x="546518" y="1659236"/>
                </a:cubicBezTo>
                <a:cubicBezTo>
                  <a:pt x="544523" y="1659236"/>
                  <a:pt x="540533" y="1657240"/>
                  <a:pt x="538538" y="1657240"/>
                </a:cubicBezTo>
                <a:cubicBezTo>
                  <a:pt x="536543" y="1657240"/>
                  <a:pt x="532553" y="1659236"/>
                  <a:pt x="530558" y="1661232"/>
                </a:cubicBezTo>
                <a:cubicBezTo>
                  <a:pt x="530558" y="1661232"/>
                  <a:pt x="526568" y="1661232"/>
                  <a:pt x="526568" y="1661232"/>
                </a:cubicBezTo>
                <a:cubicBezTo>
                  <a:pt x="526568" y="1661232"/>
                  <a:pt x="526568" y="1661232"/>
                  <a:pt x="510607" y="1647261"/>
                </a:cubicBezTo>
                <a:cubicBezTo>
                  <a:pt x="510607" y="1647261"/>
                  <a:pt x="510607" y="1647261"/>
                  <a:pt x="500632" y="1639278"/>
                </a:cubicBezTo>
                <a:cubicBezTo>
                  <a:pt x="500632" y="1639278"/>
                  <a:pt x="500632" y="1639278"/>
                  <a:pt x="490657" y="1635287"/>
                </a:cubicBezTo>
                <a:cubicBezTo>
                  <a:pt x="490657" y="1635287"/>
                  <a:pt x="488662" y="1633291"/>
                  <a:pt x="484672" y="1629299"/>
                </a:cubicBezTo>
                <a:cubicBezTo>
                  <a:pt x="480682" y="1625308"/>
                  <a:pt x="478687" y="1625308"/>
                  <a:pt x="478687" y="1625308"/>
                </a:cubicBezTo>
                <a:cubicBezTo>
                  <a:pt x="478687" y="1625308"/>
                  <a:pt x="478687" y="1625308"/>
                  <a:pt x="468711" y="1619321"/>
                </a:cubicBezTo>
                <a:cubicBezTo>
                  <a:pt x="468711" y="1619321"/>
                  <a:pt x="466716" y="1619321"/>
                  <a:pt x="466716" y="1617325"/>
                </a:cubicBezTo>
                <a:cubicBezTo>
                  <a:pt x="466716" y="1615329"/>
                  <a:pt x="464721" y="1613333"/>
                  <a:pt x="464721" y="1613333"/>
                </a:cubicBezTo>
                <a:cubicBezTo>
                  <a:pt x="464721" y="1613333"/>
                  <a:pt x="464721" y="1613333"/>
                  <a:pt x="458736" y="1617325"/>
                </a:cubicBezTo>
                <a:cubicBezTo>
                  <a:pt x="458736" y="1617325"/>
                  <a:pt x="454746" y="1615329"/>
                  <a:pt x="452751" y="1613333"/>
                </a:cubicBezTo>
                <a:cubicBezTo>
                  <a:pt x="452751" y="1613333"/>
                  <a:pt x="452751" y="1611337"/>
                  <a:pt x="452751" y="1611337"/>
                </a:cubicBezTo>
                <a:cubicBezTo>
                  <a:pt x="452751" y="1609342"/>
                  <a:pt x="450756" y="1607346"/>
                  <a:pt x="448761" y="1607346"/>
                </a:cubicBezTo>
                <a:cubicBezTo>
                  <a:pt x="446766" y="1605350"/>
                  <a:pt x="444771" y="1605350"/>
                  <a:pt x="442776" y="1603354"/>
                </a:cubicBezTo>
                <a:cubicBezTo>
                  <a:pt x="440781" y="1603354"/>
                  <a:pt x="436791" y="1601359"/>
                  <a:pt x="434796" y="1601359"/>
                </a:cubicBezTo>
                <a:cubicBezTo>
                  <a:pt x="432801" y="1599363"/>
                  <a:pt x="432801" y="1599363"/>
                  <a:pt x="432801" y="1599363"/>
                </a:cubicBezTo>
                <a:cubicBezTo>
                  <a:pt x="432801" y="1599363"/>
                  <a:pt x="432801" y="1597367"/>
                  <a:pt x="430806" y="1597367"/>
                </a:cubicBezTo>
                <a:cubicBezTo>
                  <a:pt x="430806" y="1597367"/>
                  <a:pt x="430806" y="1595371"/>
                  <a:pt x="430806" y="1595371"/>
                </a:cubicBezTo>
                <a:cubicBezTo>
                  <a:pt x="430806" y="1595371"/>
                  <a:pt x="430806" y="1595371"/>
                  <a:pt x="434796" y="1595371"/>
                </a:cubicBezTo>
                <a:cubicBezTo>
                  <a:pt x="434796" y="1595371"/>
                  <a:pt x="434796" y="1595371"/>
                  <a:pt x="434796" y="1589384"/>
                </a:cubicBezTo>
                <a:cubicBezTo>
                  <a:pt x="434796" y="1589384"/>
                  <a:pt x="438786" y="1589384"/>
                  <a:pt x="438786" y="1589384"/>
                </a:cubicBezTo>
                <a:cubicBezTo>
                  <a:pt x="440781" y="1589384"/>
                  <a:pt x="442776" y="1591380"/>
                  <a:pt x="444771" y="1591380"/>
                </a:cubicBezTo>
                <a:cubicBezTo>
                  <a:pt x="446766" y="1593376"/>
                  <a:pt x="448761" y="1593376"/>
                  <a:pt x="450756" y="1593376"/>
                </a:cubicBezTo>
                <a:cubicBezTo>
                  <a:pt x="450756" y="1593376"/>
                  <a:pt x="452751" y="1591380"/>
                  <a:pt x="452751" y="1591380"/>
                </a:cubicBezTo>
                <a:cubicBezTo>
                  <a:pt x="452751" y="1591380"/>
                  <a:pt x="454746" y="1589384"/>
                  <a:pt x="456741" y="1589384"/>
                </a:cubicBezTo>
                <a:cubicBezTo>
                  <a:pt x="456741" y="1589384"/>
                  <a:pt x="458736" y="1589384"/>
                  <a:pt x="458736" y="1589384"/>
                </a:cubicBezTo>
                <a:cubicBezTo>
                  <a:pt x="458736" y="1589384"/>
                  <a:pt x="454746" y="1585392"/>
                  <a:pt x="454746" y="1583397"/>
                </a:cubicBezTo>
                <a:cubicBezTo>
                  <a:pt x="454746" y="1583397"/>
                  <a:pt x="452751" y="1579405"/>
                  <a:pt x="454746" y="1577409"/>
                </a:cubicBezTo>
                <a:cubicBezTo>
                  <a:pt x="454746" y="1575414"/>
                  <a:pt x="458736" y="1573418"/>
                  <a:pt x="458736" y="1573418"/>
                </a:cubicBezTo>
                <a:cubicBezTo>
                  <a:pt x="460731" y="1571422"/>
                  <a:pt x="458736" y="1569426"/>
                  <a:pt x="458736" y="1567430"/>
                </a:cubicBezTo>
                <a:cubicBezTo>
                  <a:pt x="456741" y="1567430"/>
                  <a:pt x="458736" y="1565435"/>
                  <a:pt x="460731" y="1563439"/>
                </a:cubicBezTo>
                <a:cubicBezTo>
                  <a:pt x="460731" y="1563439"/>
                  <a:pt x="462726" y="1565435"/>
                  <a:pt x="462726" y="1565435"/>
                </a:cubicBezTo>
                <a:cubicBezTo>
                  <a:pt x="462726" y="1565435"/>
                  <a:pt x="462726" y="1565435"/>
                  <a:pt x="464721" y="1565435"/>
                </a:cubicBezTo>
                <a:cubicBezTo>
                  <a:pt x="464721" y="1565435"/>
                  <a:pt x="466716" y="1563439"/>
                  <a:pt x="466716" y="1563439"/>
                </a:cubicBezTo>
                <a:cubicBezTo>
                  <a:pt x="468711" y="1563439"/>
                  <a:pt x="468711" y="1563439"/>
                  <a:pt x="470706" y="1563439"/>
                </a:cubicBezTo>
                <a:cubicBezTo>
                  <a:pt x="470706" y="1563439"/>
                  <a:pt x="470706" y="1563439"/>
                  <a:pt x="470706" y="1565435"/>
                </a:cubicBezTo>
                <a:cubicBezTo>
                  <a:pt x="472702" y="1565435"/>
                  <a:pt x="474697" y="1565435"/>
                  <a:pt x="474697" y="1563439"/>
                </a:cubicBezTo>
                <a:cubicBezTo>
                  <a:pt x="476692" y="1563439"/>
                  <a:pt x="474697" y="1563439"/>
                  <a:pt x="472702" y="1561443"/>
                </a:cubicBezTo>
                <a:cubicBezTo>
                  <a:pt x="472702" y="1559447"/>
                  <a:pt x="472702" y="1559447"/>
                  <a:pt x="472702" y="1557452"/>
                </a:cubicBezTo>
                <a:cubicBezTo>
                  <a:pt x="470706" y="1555456"/>
                  <a:pt x="466716" y="1553460"/>
                  <a:pt x="466716" y="1553460"/>
                </a:cubicBezTo>
                <a:cubicBezTo>
                  <a:pt x="464721" y="1553460"/>
                  <a:pt x="460731" y="1555456"/>
                  <a:pt x="460731" y="1555456"/>
                </a:cubicBezTo>
                <a:cubicBezTo>
                  <a:pt x="460731" y="1555456"/>
                  <a:pt x="460731" y="1551464"/>
                  <a:pt x="460731" y="1549469"/>
                </a:cubicBezTo>
                <a:cubicBezTo>
                  <a:pt x="462726" y="1547473"/>
                  <a:pt x="462726" y="1547473"/>
                  <a:pt x="464721" y="1547473"/>
                </a:cubicBezTo>
                <a:cubicBezTo>
                  <a:pt x="466716" y="1547473"/>
                  <a:pt x="472702" y="1547473"/>
                  <a:pt x="474697" y="1547473"/>
                </a:cubicBezTo>
                <a:cubicBezTo>
                  <a:pt x="474697" y="1547473"/>
                  <a:pt x="476692" y="1547473"/>
                  <a:pt x="476692" y="1547473"/>
                </a:cubicBezTo>
                <a:cubicBezTo>
                  <a:pt x="476692" y="1545477"/>
                  <a:pt x="476692" y="1545477"/>
                  <a:pt x="474697" y="1543481"/>
                </a:cubicBezTo>
                <a:cubicBezTo>
                  <a:pt x="474697" y="1541485"/>
                  <a:pt x="474697" y="1539490"/>
                  <a:pt x="476692" y="1539490"/>
                </a:cubicBezTo>
                <a:cubicBezTo>
                  <a:pt x="478687" y="1537494"/>
                  <a:pt x="480682" y="1535498"/>
                  <a:pt x="482677" y="1535498"/>
                </a:cubicBezTo>
                <a:cubicBezTo>
                  <a:pt x="482677" y="1535498"/>
                  <a:pt x="482677" y="1533502"/>
                  <a:pt x="482677" y="1533502"/>
                </a:cubicBezTo>
                <a:cubicBezTo>
                  <a:pt x="482677" y="1533502"/>
                  <a:pt x="482677" y="1533502"/>
                  <a:pt x="484672" y="1533502"/>
                </a:cubicBezTo>
                <a:cubicBezTo>
                  <a:pt x="484672" y="1533502"/>
                  <a:pt x="486667" y="1531507"/>
                  <a:pt x="488662" y="1531507"/>
                </a:cubicBezTo>
                <a:cubicBezTo>
                  <a:pt x="488662" y="1531507"/>
                  <a:pt x="490657" y="1527515"/>
                  <a:pt x="490657" y="1527515"/>
                </a:cubicBezTo>
                <a:cubicBezTo>
                  <a:pt x="490657" y="1527515"/>
                  <a:pt x="490657" y="1527515"/>
                  <a:pt x="488662" y="1525519"/>
                </a:cubicBezTo>
                <a:cubicBezTo>
                  <a:pt x="488662" y="1525519"/>
                  <a:pt x="488662" y="1525519"/>
                  <a:pt x="488662" y="1521528"/>
                </a:cubicBezTo>
                <a:cubicBezTo>
                  <a:pt x="488662" y="1521528"/>
                  <a:pt x="486667" y="1521528"/>
                  <a:pt x="484672" y="1519532"/>
                </a:cubicBezTo>
                <a:cubicBezTo>
                  <a:pt x="482677" y="1519532"/>
                  <a:pt x="480682" y="1521528"/>
                  <a:pt x="478687" y="1521528"/>
                </a:cubicBezTo>
                <a:cubicBezTo>
                  <a:pt x="476692" y="1521528"/>
                  <a:pt x="472702" y="1525519"/>
                  <a:pt x="472702" y="1525519"/>
                </a:cubicBezTo>
                <a:cubicBezTo>
                  <a:pt x="470706" y="1525519"/>
                  <a:pt x="466716" y="1529511"/>
                  <a:pt x="466716" y="1529511"/>
                </a:cubicBezTo>
                <a:cubicBezTo>
                  <a:pt x="464721" y="1529511"/>
                  <a:pt x="460731" y="1525519"/>
                  <a:pt x="460731" y="1525519"/>
                </a:cubicBezTo>
                <a:cubicBezTo>
                  <a:pt x="460731" y="1525519"/>
                  <a:pt x="460731" y="1525519"/>
                  <a:pt x="462726" y="1523523"/>
                </a:cubicBezTo>
                <a:cubicBezTo>
                  <a:pt x="462726" y="1523523"/>
                  <a:pt x="462726" y="1517536"/>
                  <a:pt x="462726" y="1513545"/>
                </a:cubicBezTo>
                <a:cubicBezTo>
                  <a:pt x="460731" y="1511549"/>
                  <a:pt x="462726" y="1509553"/>
                  <a:pt x="464721" y="1507557"/>
                </a:cubicBezTo>
                <a:cubicBezTo>
                  <a:pt x="468711" y="1505562"/>
                  <a:pt x="472702" y="1505562"/>
                  <a:pt x="472702" y="1503566"/>
                </a:cubicBezTo>
                <a:cubicBezTo>
                  <a:pt x="476692" y="1503566"/>
                  <a:pt x="480682" y="1501570"/>
                  <a:pt x="480682" y="1501570"/>
                </a:cubicBezTo>
                <a:cubicBezTo>
                  <a:pt x="480682" y="1501570"/>
                  <a:pt x="480682" y="1501570"/>
                  <a:pt x="490657" y="1497578"/>
                </a:cubicBezTo>
                <a:cubicBezTo>
                  <a:pt x="490657" y="1497578"/>
                  <a:pt x="490657" y="1497578"/>
                  <a:pt x="498637" y="1491591"/>
                </a:cubicBezTo>
                <a:cubicBezTo>
                  <a:pt x="498637" y="1491591"/>
                  <a:pt x="498637" y="1485604"/>
                  <a:pt x="498637" y="1481612"/>
                </a:cubicBezTo>
                <a:cubicBezTo>
                  <a:pt x="498637" y="1479616"/>
                  <a:pt x="496642" y="1475625"/>
                  <a:pt x="496642" y="1475625"/>
                </a:cubicBezTo>
                <a:cubicBezTo>
                  <a:pt x="496642" y="1475625"/>
                  <a:pt x="496642" y="1475625"/>
                  <a:pt x="490657" y="1465646"/>
                </a:cubicBezTo>
                <a:cubicBezTo>
                  <a:pt x="490657" y="1465646"/>
                  <a:pt x="490657" y="1461655"/>
                  <a:pt x="490657" y="1457663"/>
                </a:cubicBezTo>
                <a:cubicBezTo>
                  <a:pt x="492652" y="1453671"/>
                  <a:pt x="498637" y="1445688"/>
                  <a:pt x="498637" y="1443693"/>
                </a:cubicBezTo>
                <a:cubicBezTo>
                  <a:pt x="498637" y="1443693"/>
                  <a:pt x="500632" y="1441697"/>
                  <a:pt x="500632" y="1439701"/>
                </a:cubicBezTo>
                <a:cubicBezTo>
                  <a:pt x="500632" y="1437705"/>
                  <a:pt x="496642" y="1437705"/>
                  <a:pt x="494647" y="1435709"/>
                </a:cubicBezTo>
                <a:cubicBezTo>
                  <a:pt x="492652" y="1433714"/>
                  <a:pt x="490657" y="1433714"/>
                  <a:pt x="488662" y="1431718"/>
                </a:cubicBezTo>
                <a:cubicBezTo>
                  <a:pt x="486667" y="1429722"/>
                  <a:pt x="482677" y="1427726"/>
                  <a:pt x="482677" y="1427726"/>
                </a:cubicBezTo>
                <a:cubicBezTo>
                  <a:pt x="482677" y="1427726"/>
                  <a:pt x="476692" y="1423735"/>
                  <a:pt x="474697" y="1421739"/>
                </a:cubicBezTo>
                <a:cubicBezTo>
                  <a:pt x="472702" y="1419743"/>
                  <a:pt x="472702" y="1419743"/>
                  <a:pt x="470706" y="1417748"/>
                </a:cubicBezTo>
                <a:cubicBezTo>
                  <a:pt x="470706" y="1417748"/>
                  <a:pt x="460731" y="1417748"/>
                  <a:pt x="458736" y="1417748"/>
                </a:cubicBezTo>
                <a:cubicBezTo>
                  <a:pt x="456741" y="1415752"/>
                  <a:pt x="454746" y="1415752"/>
                  <a:pt x="452751" y="1413756"/>
                </a:cubicBezTo>
                <a:cubicBezTo>
                  <a:pt x="450756" y="1413756"/>
                  <a:pt x="442776" y="1411760"/>
                  <a:pt x="442776" y="1411760"/>
                </a:cubicBezTo>
                <a:cubicBezTo>
                  <a:pt x="442776" y="1411760"/>
                  <a:pt x="436791" y="1411760"/>
                  <a:pt x="436791" y="1411760"/>
                </a:cubicBezTo>
                <a:cubicBezTo>
                  <a:pt x="436791" y="1411760"/>
                  <a:pt x="432801" y="1411760"/>
                  <a:pt x="430806" y="1411760"/>
                </a:cubicBezTo>
                <a:cubicBezTo>
                  <a:pt x="430806" y="1411760"/>
                  <a:pt x="422825" y="1409764"/>
                  <a:pt x="420830" y="1409764"/>
                </a:cubicBezTo>
                <a:cubicBezTo>
                  <a:pt x="420830" y="1409764"/>
                  <a:pt x="414845" y="1407769"/>
                  <a:pt x="412850" y="1407769"/>
                </a:cubicBezTo>
                <a:cubicBezTo>
                  <a:pt x="410855" y="1407769"/>
                  <a:pt x="406865" y="1405773"/>
                  <a:pt x="406865" y="1405773"/>
                </a:cubicBezTo>
                <a:cubicBezTo>
                  <a:pt x="404870" y="1405773"/>
                  <a:pt x="398885" y="1403777"/>
                  <a:pt x="396890" y="1401781"/>
                </a:cubicBezTo>
                <a:cubicBezTo>
                  <a:pt x="394895" y="1401781"/>
                  <a:pt x="386915" y="1399786"/>
                  <a:pt x="386915" y="1399786"/>
                </a:cubicBezTo>
                <a:cubicBezTo>
                  <a:pt x="384920" y="1397790"/>
                  <a:pt x="382925" y="1395794"/>
                  <a:pt x="380929" y="1393798"/>
                </a:cubicBezTo>
                <a:cubicBezTo>
                  <a:pt x="380929" y="1391802"/>
                  <a:pt x="380929" y="1385815"/>
                  <a:pt x="380929" y="1385815"/>
                </a:cubicBezTo>
                <a:cubicBezTo>
                  <a:pt x="380929" y="1385815"/>
                  <a:pt x="380929" y="1385815"/>
                  <a:pt x="378934" y="1377832"/>
                </a:cubicBezTo>
                <a:cubicBezTo>
                  <a:pt x="378934" y="1377832"/>
                  <a:pt x="378934" y="1377832"/>
                  <a:pt x="372949" y="1373841"/>
                </a:cubicBezTo>
                <a:cubicBezTo>
                  <a:pt x="372949" y="1373841"/>
                  <a:pt x="366964" y="1373841"/>
                  <a:pt x="362974" y="1373841"/>
                </a:cubicBezTo>
                <a:cubicBezTo>
                  <a:pt x="358984" y="1373841"/>
                  <a:pt x="360979" y="1373841"/>
                  <a:pt x="356989" y="1371845"/>
                </a:cubicBezTo>
                <a:cubicBezTo>
                  <a:pt x="352999" y="1369849"/>
                  <a:pt x="352999" y="1365857"/>
                  <a:pt x="352999" y="1363862"/>
                </a:cubicBezTo>
                <a:cubicBezTo>
                  <a:pt x="352999" y="1359870"/>
                  <a:pt x="352999" y="1357874"/>
                  <a:pt x="352999" y="1357874"/>
                </a:cubicBezTo>
                <a:cubicBezTo>
                  <a:pt x="352999" y="1357874"/>
                  <a:pt x="352999" y="1357874"/>
                  <a:pt x="356989" y="1351887"/>
                </a:cubicBezTo>
                <a:cubicBezTo>
                  <a:pt x="356989" y="1351887"/>
                  <a:pt x="354994" y="1343904"/>
                  <a:pt x="354994" y="1343904"/>
                </a:cubicBezTo>
                <a:cubicBezTo>
                  <a:pt x="352999" y="1341908"/>
                  <a:pt x="351004" y="1335921"/>
                  <a:pt x="349009" y="1335921"/>
                </a:cubicBezTo>
                <a:cubicBezTo>
                  <a:pt x="347014" y="1333925"/>
                  <a:pt x="345019" y="1327938"/>
                  <a:pt x="345019" y="1327938"/>
                </a:cubicBezTo>
                <a:cubicBezTo>
                  <a:pt x="345019" y="1327938"/>
                  <a:pt x="339034" y="1329934"/>
                  <a:pt x="337038" y="1329934"/>
                </a:cubicBezTo>
                <a:cubicBezTo>
                  <a:pt x="335043" y="1329934"/>
                  <a:pt x="329058" y="1329934"/>
                  <a:pt x="329058" y="1329934"/>
                </a:cubicBezTo>
                <a:cubicBezTo>
                  <a:pt x="329058" y="1329934"/>
                  <a:pt x="329058" y="1329934"/>
                  <a:pt x="323073" y="1331929"/>
                </a:cubicBezTo>
                <a:cubicBezTo>
                  <a:pt x="323073" y="1331929"/>
                  <a:pt x="323073" y="1331929"/>
                  <a:pt x="315093" y="1331929"/>
                </a:cubicBezTo>
                <a:cubicBezTo>
                  <a:pt x="315093" y="1331929"/>
                  <a:pt x="315093" y="1331929"/>
                  <a:pt x="307113" y="1333925"/>
                </a:cubicBezTo>
                <a:cubicBezTo>
                  <a:pt x="307113" y="1333925"/>
                  <a:pt x="307113" y="1333925"/>
                  <a:pt x="301128" y="1339912"/>
                </a:cubicBezTo>
                <a:cubicBezTo>
                  <a:pt x="301128" y="1339912"/>
                  <a:pt x="295143" y="1337917"/>
                  <a:pt x="291152" y="1337917"/>
                </a:cubicBezTo>
                <a:cubicBezTo>
                  <a:pt x="289157" y="1337917"/>
                  <a:pt x="289157" y="1335921"/>
                  <a:pt x="287162" y="1333925"/>
                </a:cubicBezTo>
                <a:cubicBezTo>
                  <a:pt x="287162" y="1333925"/>
                  <a:pt x="287162" y="1331929"/>
                  <a:pt x="287162" y="1331929"/>
                </a:cubicBezTo>
                <a:cubicBezTo>
                  <a:pt x="285167" y="1329934"/>
                  <a:pt x="285167" y="1325942"/>
                  <a:pt x="285167" y="1323946"/>
                </a:cubicBezTo>
                <a:cubicBezTo>
                  <a:pt x="285167" y="1323946"/>
                  <a:pt x="285167" y="1319955"/>
                  <a:pt x="285167" y="1317959"/>
                </a:cubicBezTo>
                <a:cubicBezTo>
                  <a:pt x="285167" y="1317959"/>
                  <a:pt x="283172" y="1311972"/>
                  <a:pt x="283172" y="1311972"/>
                </a:cubicBezTo>
                <a:cubicBezTo>
                  <a:pt x="283172" y="1311972"/>
                  <a:pt x="281177" y="1307980"/>
                  <a:pt x="279182" y="1305984"/>
                </a:cubicBezTo>
                <a:cubicBezTo>
                  <a:pt x="279182" y="1303988"/>
                  <a:pt x="279182" y="1299997"/>
                  <a:pt x="281177" y="1299997"/>
                </a:cubicBezTo>
                <a:cubicBezTo>
                  <a:pt x="281177" y="1298001"/>
                  <a:pt x="287162" y="1298001"/>
                  <a:pt x="287162" y="1298001"/>
                </a:cubicBezTo>
                <a:cubicBezTo>
                  <a:pt x="287162" y="1298001"/>
                  <a:pt x="293147" y="1301993"/>
                  <a:pt x="295143" y="1303988"/>
                </a:cubicBezTo>
                <a:cubicBezTo>
                  <a:pt x="297138" y="1303988"/>
                  <a:pt x="301128" y="1303988"/>
                  <a:pt x="303123" y="1301993"/>
                </a:cubicBezTo>
                <a:cubicBezTo>
                  <a:pt x="303123" y="1301993"/>
                  <a:pt x="307113" y="1298001"/>
                  <a:pt x="309108" y="1298001"/>
                </a:cubicBezTo>
                <a:cubicBezTo>
                  <a:pt x="311103" y="1296005"/>
                  <a:pt x="307113" y="1288022"/>
                  <a:pt x="307113" y="1288022"/>
                </a:cubicBezTo>
                <a:cubicBezTo>
                  <a:pt x="307113" y="1288022"/>
                  <a:pt x="303123" y="1282035"/>
                  <a:pt x="301128" y="1280039"/>
                </a:cubicBezTo>
                <a:cubicBezTo>
                  <a:pt x="299133" y="1278043"/>
                  <a:pt x="291152" y="1278043"/>
                  <a:pt x="291152" y="1278043"/>
                </a:cubicBezTo>
                <a:cubicBezTo>
                  <a:pt x="291152" y="1278043"/>
                  <a:pt x="289157" y="1272056"/>
                  <a:pt x="289157" y="1272056"/>
                </a:cubicBezTo>
                <a:cubicBezTo>
                  <a:pt x="287162" y="1270060"/>
                  <a:pt x="293147" y="1266069"/>
                  <a:pt x="293147" y="1266069"/>
                </a:cubicBezTo>
                <a:cubicBezTo>
                  <a:pt x="293147" y="1266069"/>
                  <a:pt x="293147" y="1264073"/>
                  <a:pt x="291152" y="1262077"/>
                </a:cubicBezTo>
                <a:cubicBezTo>
                  <a:pt x="291152" y="1260081"/>
                  <a:pt x="275192" y="1254094"/>
                  <a:pt x="273197" y="1252098"/>
                </a:cubicBezTo>
                <a:cubicBezTo>
                  <a:pt x="271202" y="1248107"/>
                  <a:pt x="273197" y="1236132"/>
                  <a:pt x="273197" y="1234136"/>
                </a:cubicBezTo>
                <a:cubicBezTo>
                  <a:pt x="273197" y="1230145"/>
                  <a:pt x="269207" y="1230145"/>
                  <a:pt x="269207" y="1226153"/>
                </a:cubicBezTo>
                <a:cubicBezTo>
                  <a:pt x="267212" y="1224158"/>
                  <a:pt x="267212" y="1218170"/>
                  <a:pt x="267212" y="1218170"/>
                </a:cubicBezTo>
                <a:cubicBezTo>
                  <a:pt x="267212" y="1218170"/>
                  <a:pt x="267212" y="1208191"/>
                  <a:pt x="265217" y="1206196"/>
                </a:cubicBezTo>
                <a:cubicBezTo>
                  <a:pt x="265217" y="1204200"/>
                  <a:pt x="261227" y="1200208"/>
                  <a:pt x="257237" y="1202204"/>
                </a:cubicBezTo>
                <a:cubicBezTo>
                  <a:pt x="255242" y="1202204"/>
                  <a:pt x="257237" y="1200208"/>
                  <a:pt x="253247" y="1196217"/>
                </a:cubicBezTo>
                <a:cubicBezTo>
                  <a:pt x="249257" y="1194221"/>
                  <a:pt x="243271" y="1192225"/>
                  <a:pt x="241276" y="1192225"/>
                </a:cubicBezTo>
                <a:cubicBezTo>
                  <a:pt x="239281" y="1192225"/>
                  <a:pt x="233296" y="1194221"/>
                  <a:pt x="231301" y="1196217"/>
                </a:cubicBezTo>
                <a:cubicBezTo>
                  <a:pt x="229306" y="1198212"/>
                  <a:pt x="227311" y="1198212"/>
                  <a:pt x="225316" y="1196217"/>
                </a:cubicBezTo>
                <a:cubicBezTo>
                  <a:pt x="223321" y="1192225"/>
                  <a:pt x="219331" y="1188234"/>
                  <a:pt x="219331" y="1188234"/>
                </a:cubicBezTo>
                <a:cubicBezTo>
                  <a:pt x="219331" y="1188234"/>
                  <a:pt x="215341" y="1188234"/>
                  <a:pt x="213346" y="1186238"/>
                </a:cubicBezTo>
                <a:cubicBezTo>
                  <a:pt x="211351" y="1186238"/>
                  <a:pt x="205366" y="1180251"/>
                  <a:pt x="205366" y="1180251"/>
                </a:cubicBezTo>
                <a:cubicBezTo>
                  <a:pt x="205366" y="1180251"/>
                  <a:pt x="199380" y="1180251"/>
                  <a:pt x="197385" y="1180251"/>
                </a:cubicBezTo>
                <a:cubicBezTo>
                  <a:pt x="197385" y="1180251"/>
                  <a:pt x="197385" y="1180251"/>
                  <a:pt x="197385" y="1176259"/>
                </a:cubicBezTo>
                <a:cubicBezTo>
                  <a:pt x="197385" y="1176259"/>
                  <a:pt x="197385" y="1166280"/>
                  <a:pt x="195390" y="1164284"/>
                </a:cubicBezTo>
                <a:cubicBezTo>
                  <a:pt x="195390" y="1162289"/>
                  <a:pt x="193395" y="1158297"/>
                  <a:pt x="191400" y="1156301"/>
                </a:cubicBezTo>
                <a:cubicBezTo>
                  <a:pt x="189405" y="1154305"/>
                  <a:pt x="189405" y="1150314"/>
                  <a:pt x="189405" y="1146322"/>
                </a:cubicBezTo>
                <a:cubicBezTo>
                  <a:pt x="189405" y="1144327"/>
                  <a:pt x="187410" y="1140335"/>
                  <a:pt x="187410" y="1138339"/>
                </a:cubicBezTo>
                <a:cubicBezTo>
                  <a:pt x="187410" y="1136344"/>
                  <a:pt x="183420" y="1128360"/>
                  <a:pt x="181425" y="1128360"/>
                </a:cubicBezTo>
                <a:cubicBezTo>
                  <a:pt x="181425" y="1128360"/>
                  <a:pt x="175440" y="1120377"/>
                  <a:pt x="171450" y="1120377"/>
                </a:cubicBezTo>
                <a:cubicBezTo>
                  <a:pt x="171450" y="1120377"/>
                  <a:pt x="173445" y="1114390"/>
                  <a:pt x="173445" y="1112394"/>
                </a:cubicBezTo>
                <a:cubicBezTo>
                  <a:pt x="173445" y="1112394"/>
                  <a:pt x="175440" y="1108403"/>
                  <a:pt x="175440" y="1104411"/>
                </a:cubicBezTo>
                <a:cubicBezTo>
                  <a:pt x="177435" y="1106407"/>
                  <a:pt x="177435" y="1108403"/>
                  <a:pt x="181425" y="1110398"/>
                </a:cubicBezTo>
                <a:cubicBezTo>
                  <a:pt x="185415" y="1116386"/>
                  <a:pt x="187410" y="1114390"/>
                  <a:pt x="191400" y="1116386"/>
                </a:cubicBezTo>
                <a:cubicBezTo>
                  <a:pt x="195390" y="1120377"/>
                  <a:pt x="195390" y="1112394"/>
                  <a:pt x="195390" y="1108403"/>
                </a:cubicBezTo>
                <a:cubicBezTo>
                  <a:pt x="195390" y="1106407"/>
                  <a:pt x="193395" y="1104411"/>
                  <a:pt x="193395" y="1102415"/>
                </a:cubicBezTo>
                <a:cubicBezTo>
                  <a:pt x="193395" y="1100420"/>
                  <a:pt x="189405" y="1100420"/>
                  <a:pt x="187410" y="1102415"/>
                </a:cubicBezTo>
                <a:cubicBezTo>
                  <a:pt x="185415" y="1102415"/>
                  <a:pt x="181425" y="1102415"/>
                  <a:pt x="179430" y="1100420"/>
                </a:cubicBezTo>
                <a:cubicBezTo>
                  <a:pt x="177435" y="1098424"/>
                  <a:pt x="177435" y="1094432"/>
                  <a:pt x="179430" y="1094432"/>
                </a:cubicBezTo>
                <a:cubicBezTo>
                  <a:pt x="181425" y="1096428"/>
                  <a:pt x="181425" y="1090441"/>
                  <a:pt x="181425" y="1090441"/>
                </a:cubicBezTo>
                <a:cubicBezTo>
                  <a:pt x="181425" y="1090441"/>
                  <a:pt x="181425" y="1086449"/>
                  <a:pt x="183420" y="1084453"/>
                </a:cubicBezTo>
                <a:cubicBezTo>
                  <a:pt x="185415" y="1082458"/>
                  <a:pt x="185415" y="1076470"/>
                  <a:pt x="183420" y="1072479"/>
                </a:cubicBezTo>
                <a:cubicBezTo>
                  <a:pt x="181425" y="1068487"/>
                  <a:pt x="183420" y="1068487"/>
                  <a:pt x="181425" y="1066491"/>
                </a:cubicBezTo>
                <a:cubicBezTo>
                  <a:pt x="179430" y="1062500"/>
                  <a:pt x="181425" y="1056513"/>
                  <a:pt x="183420" y="1052521"/>
                </a:cubicBezTo>
                <a:cubicBezTo>
                  <a:pt x="185415" y="1050525"/>
                  <a:pt x="189405" y="1050525"/>
                  <a:pt x="189405" y="1048530"/>
                </a:cubicBezTo>
                <a:cubicBezTo>
                  <a:pt x="189405" y="1044538"/>
                  <a:pt x="185415" y="1042542"/>
                  <a:pt x="185415" y="1042542"/>
                </a:cubicBezTo>
                <a:cubicBezTo>
                  <a:pt x="185415" y="1042542"/>
                  <a:pt x="183420" y="1038551"/>
                  <a:pt x="185415" y="1036555"/>
                </a:cubicBezTo>
                <a:cubicBezTo>
                  <a:pt x="189405" y="1034559"/>
                  <a:pt x="189405" y="1036555"/>
                  <a:pt x="193395" y="1040546"/>
                </a:cubicBezTo>
                <a:cubicBezTo>
                  <a:pt x="195390" y="1046534"/>
                  <a:pt x="195390" y="1040546"/>
                  <a:pt x="195390" y="1034559"/>
                </a:cubicBezTo>
                <a:cubicBezTo>
                  <a:pt x="197385" y="1030568"/>
                  <a:pt x="201375" y="1036555"/>
                  <a:pt x="201375" y="1036555"/>
                </a:cubicBezTo>
                <a:cubicBezTo>
                  <a:pt x="201375" y="1036555"/>
                  <a:pt x="201375" y="1038551"/>
                  <a:pt x="205366" y="1040546"/>
                </a:cubicBezTo>
                <a:cubicBezTo>
                  <a:pt x="211351" y="1042542"/>
                  <a:pt x="211351" y="1034559"/>
                  <a:pt x="211351" y="1034559"/>
                </a:cubicBezTo>
                <a:cubicBezTo>
                  <a:pt x="213346" y="1032563"/>
                  <a:pt x="215341" y="1028572"/>
                  <a:pt x="219331" y="1030568"/>
                </a:cubicBezTo>
                <a:cubicBezTo>
                  <a:pt x="221326" y="1032563"/>
                  <a:pt x="225316" y="1030568"/>
                  <a:pt x="231301" y="1030568"/>
                </a:cubicBezTo>
                <a:cubicBezTo>
                  <a:pt x="235291" y="1030568"/>
                  <a:pt x="235291" y="1028572"/>
                  <a:pt x="231301" y="1026576"/>
                </a:cubicBezTo>
                <a:cubicBezTo>
                  <a:pt x="229306" y="1022584"/>
                  <a:pt x="223321" y="1020589"/>
                  <a:pt x="221326" y="1020589"/>
                </a:cubicBezTo>
                <a:cubicBezTo>
                  <a:pt x="219331" y="1020589"/>
                  <a:pt x="211351" y="1020589"/>
                  <a:pt x="205366" y="1016597"/>
                </a:cubicBezTo>
                <a:cubicBezTo>
                  <a:pt x="201375" y="1014601"/>
                  <a:pt x="199380" y="1010610"/>
                  <a:pt x="197385" y="1006618"/>
                </a:cubicBezTo>
                <a:cubicBezTo>
                  <a:pt x="197385" y="1006618"/>
                  <a:pt x="197385" y="1006618"/>
                  <a:pt x="199380" y="1002627"/>
                </a:cubicBezTo>
                <a:cubicBezTo>
                  <a:pt x="199380" y="1002627"/>
                  <a:pt x="203370" y="1004623"/>
                  <a:pt x="205366" y="1004623"/>
                </a:cubicBezTo>
                <a:cubicBezTo>
                  <a:pt x="207361" y="1002627"/>
                  <a:pt x="207361" y="996639"/>
                  <a:pt x="209356" y="994644"/>
                </a:cubicBezTo>
                <a:cubicBezTo>
                  <a:pt x="209356" y="992648"/>
                  <a:pt x="211351" y="990652"/>
                  <a:pt x="211351" y="988656"/>
                </a:cubicBezTo>
                <a:cubicBezTo>
                  <a:pt x="213346" y="988656"/>
                  <a:pt x="219331" y="974686"/>
                  <a:pt x="219331" y="974686"/>
                </a:cubicBezTo>
                <a:cubicBezTo>
                  <a:pt x="219331" y="974686"/>
                  <a:pt x="223321" y="968699"/>
                  <a:pt x="225316" y="966703"/>
                </a:cubicBezTo>
                <a:cubicBezTo>
                  <a:pt x="225316" y="966703"/>
                  <a:pt x="227311" y="964707"/>
                  <a:pt x="227311" y="962711"/>
                </a:cubicBezTo>
                <a:cubicBezTo>
                  <a:pt x="227311" y="960716"/>
                  <a:pt x="229306" y="958720"/>
                  <a:pt x="229306" y="958720"/>
                </a:cubicBezTo>
                <a:cubicBezTo>
                  <a:pt x="231301" y="956724"/>
                  <a:pt x="233296" y="950737"/>
                  <a:pt x="235291" y="950737"/>
                </a:cubicBezTo>
                <a:cubicBezTo>
                  <a:pt x="235291" y="946745"/>
                  <a:pt x="245266" y="940758"/>
                  <a:pt x="245266" y="938762"/>
                </a:cubicBezTo>
                <a:cubicBezTo>
                  <a:pt x="247261" y="938762"/>
                  <a:pt x="247261" y="936766"/>
                  <a:pt x="249257" y="934770"/>
                </a:cubicBezTo>
                <a:cubicBezTo>
                  <a:pt x="251252" y="932775"/>
                  <a:pt x="253247" y="934770"/>
                  <a:pt x="253247" y="932775"/>
                </a:cubicBezTo>
                <a:cubicBezTo>
                  <a:pt x="255242" y="930779"/>
                  <a:pt x="253247" y="924792"/>
                  <a:pt x="253247" y="922796"/>
                </a:cubicBezTo>
                <a:cubicBezTo>
                  <a:pt x="253247" y="920800"/>
                  <a:pt x="257237" y="916809"/>
                  <a:pt x="257237" y="916809"/>
                </a:cubicBezTo>
                <a:cubicBezTo>
                  <a:pt x="257237" y="916809"/>
                  <a:pt x="255242" y="910821"/>
                  <a:pt x="253247" y="908825"/>
                </a:cubicBezTo>
                <a:cubicBezTo>
                  <a:pt x="251252" y="908825"/>
                  <a:pt x="249257" y="904834"/>
                  <a:pt x="247261" y="902838"/>
                </a:cubicBezTo>
                <a:cubicBezTo>
                  <a:pt x="243271" y="900842"/>
                  <a:pt x="243271" y="898847"/>
                  <a:pt x="241276" y="896851"/>
                </a:cubicBezTo>
                <a:cubicBezTo>
                  <a:pt x="237286" y="894855"/>
                  <a:pt x="235291" y="892859"/>
                  <a:pt x="235291" y="892859"/>
                </a:cubicBezTo>
                <a:cubicBezTo>
                  <a:pt x="233296" y="892859"/>
                  <a:pt x="231301" y="888868"/>
                  <a:pt x="229306" y="886872"/>
                </a:cubicBezTo>
                <a:cubicBezTo>
                  <a:pt x="227311" y="884876"/>
                  <a:pt x="231301" y="878889"/>
                  <a:pt x="231301" y="878889"/>
                </a:cubicBezTo>
                <a:cubicBezTo>
                  <a:pt x="233296" y="876893"/>
                  <a:pt x="235291" y="870906"/>
                  <a:pt x="233296" y="866914"/>
                </a:cubicBezTo>
                <a:cubicBezTo>
                  <a:pt x="233296" y="864918"/>
                  <a:pt x="231301" y="860927"/>
                  <a:pt x="229306" y="860927"/>
                </a:cubicBezTo>
                <a:cubicBezTo>
                  <a:pt x="227311" y="858931"/>
                  <a:pt x="223321" y="856935"/>
                  <a:pt x="223321" y="854940"/>
                </a:cubicBezTo>
                <a:cubicBezTo>
                  <a:pt x="223321" y="852944"/>
                  <a:pt x="223321" y="852944"/>
                  <a:pt x="223321" y="848952"/>
                </a:cubicBezTo>
                <a:cubicBezTo>
                  <a:pt x="223321" y="846956"/>
                  <a:pt x="221326" y="842965"/>
                  <a:pt x="221326" y="840969"/>
                </a:cubicBezTo>
                <a:cubicBezTo>
                  <a:pt x="219331" y="838973"/>
                  <a:pt x="219331" y="836978"/>
                  <a:pt x="217336" y="834982"/>
                </a:cubicBezTo>
                <a:cubicBezTo>
                  <a:pt x="215341" y="832986"/>
                  <a:pt x="215341" y="832986"/>
                  <a:pt x="215341" y="828995"/>
                </a:cubicBezTo>
                <a:cubicBezTo>
                  <a:pt x="215341" y="826999"/>
                  <a:pt x="215341" y="826999"/>
                  <a:pt x="217336" y="826999"/>
                </a:cubicBezTo>
                <a:cubicBezTo>
                  <a:pt x="217336" y="825003"/>
                  <a:pt x="219331" y="823007"/>
                  <a:pt x="219331" y="821011"/>
                </a:cubicBezTo>
                <a:cubicBezTo>
                  <a:pt x="219331" y="819016"/>
                  <a:pt x="215341" y="817020"/>
                  <a:pt x="213346" y="815024"/>
                </a:cubicBezTo>
                <a:cubicBezTo>
                  <a:pt x="213346" y="815024"/>
                  <a:pt x="213346" y="811033"/>
                  <a:pt x="213346" y="809037"/>
                </a:cubicBezTo>
                <a:cubicBezTo>
                  <a:pt x="213346" y="807041"/>
                  <a:pt x="217336" y="803049"/>
                  <a:pt x="219331" y="801054"/>
                </a:cubicBezTo>
                <a:cubicBezTo>
                  <a:pt x="219331" y="799058"/>
                  <a:pt x="221326" y="795066"/>
                  <a:pt x="223321" y="795066"/>
                </a:cubicBezTo>
                <a:cubicBezTo>
                  <a:pt x="223321" y="793071"/>
                  <a:pt x="223321" y="791075"/>
                  <a:pt x="223321" y="789079"/>
                </a:cubicBezTo>
                <a:cubicBezTo>
                  <a:pt x="223321" y="789079"/>
                  <a:pt x="223321" y="787083"/>
                  <a:pt x="223321" y="785088"/>
                </a:cubicBezTo>
                <a:cubicBezTo>
                  <a:pt x="221326" y="783092"/>
                  <a:pt x="223321" y="781096"/>
                  <a:pt x="221326" y="779100"/>
                </a:cubicBezTo>
                <a:cubicBezTo>
                  <a:pt x="221326" y="775109"/>
                  <a:pt x="219331" y="775109"/>
                  <a:pt x="219331" y="773113"/>
                </a:cubicBezTo>
                <a:cubicBezTo>
                  <a:pt x="217336" y="771117"/>
                  <a:pt x="215341" y="771117"/>
                  <a:pt x="213346" y="769121"/>
                </a:cubicBezTo>
                <a:cubicBezTo>
                  <a:pt x="211351" y="767126"/>
                  <a:pt x="211351" y="765130"/>
                  <a:pt x="211351" y="763134"/>
                </a:cubicBezTo>
                <a:cubicBezTo>
                  <a:pt x="211351" y="761138"/>
                  <a:pt x="209356" y="761138"/>
                  <a:pt x="209356" y="757147"/>
                </a:cubicBezTo>
                <a:cubicBezTo>
                  <a:pt x="207361" y="755151"/>
                  <a:pt x="205366" y="753155"/>
                  <a:pt x="205366" y="751159"/>
                </a:cubicBezTo>
                <a:cubicBezTo>
                  <a:pt x="203370" y="749164"/>
                  <a:pt x="201375" y="749164"/>
                  <a:pt x="201375" y="749164"/>
                </a:cubicBezTo>
                <a:cubicBezTo>
                  <a:pt x="201375" y="747168"/>
                  <a:pt x="199380" y="743176"/>
                  <a:pt x="197385" y="741180"/>
                </a:cubicBezTo>
                <a:cubicBezTo>
                  <a:pt x="195390" y="739185"/>
                  <a:pt x="195390" y="735193"/>
                  <a:pt x="197385" y="733197"/>
                </a:cubicBezTo>
                <a:cubicBezTo>
                  <a:pt x="197385" y="731202"/>
                  <a:pt x="199380" y="729206"/>
                  <a:pt x="201375" y="727210"/>
                </a:cubicBezTo>
                <a:cubicBezTo>
                  <a:pt x="203370" y="727210"/>
                  <a:pt x="207361" y="725214"/>
                  <a:pt x="207361" y="725214"/>
                </a:cubicBezTo>
                <a:cubicBezTo>
                  <a:pt x="207361" y="725214"/>
                  <a:pt x="207361" y="725214"/>
                  <a:pt x="209356" y="719227"/>
                </a:cubicBezTo>
                <a:cubicBezTo>
                  <a:pt x="209356" y="719227"/>
                  <a:pt x="217336" y="715235"/>
                  <a:pt x="217336" y="713240"/>
                </a:cubicBezTo>
                <a:cubicBezTo>
                  <a:pt x="217336" y="711244"/>
                  <a:pt x="213346" y="709248"/>
                  <a:pt x="211351" y="709248"/>
                </a:cubicBezTo>
                <a:cubicBezTo>
                  <a:pt x="209356" y="709248"/>
                  <a:pt x="207361" y="709248"/>
                  <a:pt x="207361" y="707252"/>
                </a:cubicBezTo>
                <a:cubicBezTo>
                  <a:pt x="205366" y="705257"/>
                  <a:pt x="205366" y="703261"/>
                  <a:pt x="203370" y="701265"/>
                </a:cubicBezTo>
                <a:cubicBezTo>
                  <a:pt x="201375" y="699269"/>
                  <a:pt x="197385" y="699269"/>
                  <a:pt x="195390" y="697273"/>
                </a:cubicBezTo>
                <a:cubicBezTo>
                  <a:pt x="193395" y="695278"/>
                  <a:pt x="193395" y="695278"/>
                  <a:pt x="191400" y="693282"/>
                </a:cubicBezTo>
                <a:cubicBezTo>
                  <a:pt x="189405" y="691286"/>
                  <a:pt x="187410" y="689290"/>
                  <a:pt x="185415" y="687295"/>
                </a:cubicBezTo>
                <a:cubicBezTo>
                  <a:pt x="185415" y="685299"/>
                  <a:pt x="183420" y="681307"/>
                  <a:pt x="183420" y="681307"/>
                </a:cubicBezTo>
                <a:cubicBezTo>
                  <a:pt x="183420" y="681307"/>
                  <a:pt x="185415" y="681307"/>
                  <a:pt x="185415" y="679311"/>
                </a:cubicBezTo>
                <a:cubicBezTo>
                  <a:pt x="185415" y="677316"/>
                  <a:pt x="185415" y="675320"/>
                  <a:pt x="185415" y="673324"/>
                </a:cubicBezTo>
                <a:cubicBezTo>
                  <a:pt x="185415" y="671328"/>
                  <a:pt x="185415" y="669333"/>
                  <a:pt x="187410" y="667337"/>
                </a:cubicBezTo>
                <a:cubicBezTo>
                  <a:pt x="187410" y="665341"/>
                  <a:pt x="185415" y="661350"/>
                  <a:pt x="185415" y="657358"/>
                </a:cubicBezTo>
                <a:cubicBezTo>
                  <a:pt x="183420" y="653366"/>
                  <a:pt x="185415" y="647379"/>
                  <a:pt x="185415" y="645383"/>
                </a:cubicBezTo>
                <a:cubicBezTo>
                  <a:pt x="185415" y="645383"/>
                  <a:pt x="185415" y="637400"/>
                  <a:pt x="185415" y="637400"/>
                </a:cubicBezTo>
                <a:cubicBezTo>
                  <a:pt x="185415" y="635404"/>
                  <a:pt x="189405" y="633409"/>
                  <a:pt x="189405" y="633409"/>
                </a:cubicBezTo>
                <a:cubicBezTo>
                  <a:pt x="189405" y="633409"/>
                  <a:pt x="189405" y="631413"/>
                  <a:pt x="189405" y="629417"/>
                </a:cubicBezTo>
                <a:cubicBezTo>
                  <a:pt x="189405" y="629417"/>
                  <a:pt x="191400" y="629417"/>
                  <a:pt x="191400" y="627421"/>
                </a:cubicBezTo>
                <a:cubicBezTo>
                  <a:pt x="193395" y="629417"/>
                  <a:pt x="195390" y="629417"/>
                  <a:pt x="197385" y="629417"/>
                </a:cubicBezTo>
                <a:cubicBezTo>
                  <a:pt x="197385" y="627421"/>
                  <a:pt x="197385" y="625426"/>
                  <a:pt x="199380" y="627421"/>
                </a:cubicBezTo>
                <a:cubicBezTo>
                  <a:pt x="201375" y="627421"/>
                  <a:pt x="197385" y="629417"/>
                  <a:pt x="199380" y="629417"/>
                </a:cubicBezTo>
                <a:cubicBezTo>
                  <a:pt x="203370" y="631413"/>
                  <a:pt x="207361" y="631413"/>
                  <a:pt x="207361" y="631413"/>
                </a:cubicBezTo>
                <a:cubicBezTo>
                  <a:pt x="209356" y="631413"/>
                  <a:pt x="213346" y="633409"/>
                  <a:pt x="215341" y="635404"/>
                </a:cubicBezTo>
                <a:cubicBezTo>
                  <a:pt x="217336" y="635404"/>
                  <a:pt x="221326" y="637400"/>
                  <a:pt x="225316" y="637400"/>
                </a:cubicBezTo>
                <a:cubicBezTo>
                  <a:pt x="227311" y="637400"/>
                  <a:pt x="229306" y="637400"/>
                  <a:pt x="227311" y="633409"/>
                </a:cubicBezTo>
                <a:cubicBezTo>
                  <a:pt x="227311" y="631413"/>
                  <a:pt x="227311" y="629417"/>
                  <a:pt x="227311" y="627421"/>
                </a:cubicBezTo>
                <a:cubicBezTo>
                  <a:pt x="227311" y="625426"/>
                  <a:pt x="229306" y="625426"/>
                  <a:pt x="229306" y="623430"/>
                </a:cubicBezTo>
                <a:cubicBezTo>
                  <a:pt x="231301" y="621434"/>
                  <a:pt x="231301" y="617443"/>
                  <a:pt x="231301" y="613451"/>
                </a:cubicBezTo>
                <a:cubicBezTo>
                  <a:pt x="231301" y="611455"/>
                  <a:pt x="231301" y="609459"/>
                  <a:pt x="231301" y="607463"/>
                </a:cubicBezTo>
                <a:cubicBezTo>
                  <a:pt x="231301" y="605468"/>
                  <a:pt x="233296" y="605468"/>
                  <a:pt x="233296" y="605468"/>
                </a:cubicBezTo>
                <a:cubicBezTo>
                  <a:pt x="235291" y="605468"/>
                  <a:pt x="235291" y="605468"/>
                  <a:pt x="237286" y="605468"/>
                </a:cubicBezTo>
                <a:cubicBezTo>
                  <a:pt x="241276" y="607463"/>
                  <a:pt x="241276" y="603472"/>
                  <a:pt x="241276" y="603472"/>
                </a:cubicBezTo>
                <a:cubicBezTo>
                  <a:pt x="241276" y="603472"/>
                  <a:pt x="241276" y="599480"/>
                  <a:pt x="243271" y="595489"/>
                </a:cubicBezTo>
                <a:cubicBezTo>
                  <a:pt x="245266" y="591497"/>
                  <a:pt x="249257" y="593493"/>
                  <a:pt x="251252" y="595489"/>
                </a:cubicBezTo>
                <a:cubicBezTo>
                  <a:pt x="251252" y="597485"/>
                  <a:pt x="257237" y="597485"/>
                  <a:pt x="257237" y="597485"/>
                </a:cubicBezTo>
                <a:cubicBezTo>
                  <a:pt x="257237" y="597485"/>
                  <a:pt x="265217" y="599480"/>
                  <a:pt x="269207" y="599480"/>
                </a:cubicBezTo>
                <a:cubicBezTo>
                  <a:pt x="273197" y="599480"/>
                  <a:pt x="275192" y="601476"/>
                  <a:pt x="275192" y="605468"/>
                </a:cubicBezTo>
                <a:cubicBezTo>
                  <a:pt x="275192" y="607463"/>
                  <a:pt x="269207" y="607463"/>
                  <a:pt x="267212" y="607463"/>
                </a:cubicBezTo>
                <a:cubicBezTo>
                  <a:pt x="265217" y="605468"/>
                  <a:pt x="259232" y="605468"/>
                  <a:pt x="259232" y="605468"/>
                </a:cubicBezTo>
                <a:cubicBezTo>
                  <a:pt x="259232" y="605468"/>
                  <a:pt x="253247" y="603472"/>
                  <a:pt x="249257" y="603472"/>
                </a:cubicBezTo>
                <a:cubicBezTo>
                  <a:pt x="247261" y="603472"/>
                  <a:pt x="245266" y="605468"/>
                  <a:pt x="245266" y="607463"/>
                </a:cubicBezTo>
                <a:cubicBezTo>
                  <a:pt x="245266" y="609459"/>
                  <a:pt x="249257" y="611455"/>
                  <a:pt x="249257" y="609459"/>
                </a:cubicBezTo>
                <a:cubicBezTo>
                  <a:pt x="249257" y="609459"/>
                  <a:pt x="253247" y="609459"/>
                  <a:pt x="253247" y="609459"/>
                </a:cubicBezTo>
                <a:cubicBezTo>
                  <a:pt x="253247" y="609459"/>
                  <a:pt x="257237" y="607463"/>
                  <a:pt x="257237" y="611455"/>
                </a:cubicBezTo>
                <a:cubicBezTo>
                  <a:pt x="259232" y="615447"/>
                  <a:pt x="265217" y="613451"/>
                  <a:pt x="267212" y="613451"/>
                </a:cubicBezTo>
                <a:cubicBezTo>
                  <a:pt x="269207" y="613451"/>
                  <a:pt x="271202" y="615447"/>
                  <a:pt x="271202" y="617443"/>
                </a:cubicBezTo>
                <a:cubicBezTo>
                  <a:pt x="271202" y="619438"/>
                  <a:pt x="275192" y="617443"/>
                  <a:pt x="277187" y="617443"/>
                </a:cubicBezTo>
                <a:cubicBezTo>
                  <a:pt x="279182" y="617443"/>
                  <a:pt x="283172" y="619438"/>
                  <a:pt x="281177" y="621434"/>
                </a:cubicBezTo>
                <a:cubicBezTo>
                  <a:pt x="279182" y="623430"/>
                  <a:pt x="281177" y="625426"/>
                  <a:pt x="281177" y="625426"/>
                </a:cubicBezTo>
                <a:cubicBezTo>
                  <a:pt x="281177" y="625426"/>
                  <a:pt x="283172" y="627421"/>
                  <a:pt x="281177" y="631413"/>
                </a:cubicBezTo>
                <a:cubicBezTo>
                  <a:pt x="279182" y="633409"/>
                  <a:pt x="283172" y="631413"/>
                  <a:pt x="285167" y="631413"/>
                </a:cubicBezTo>
                <a:cubicBezTo>
                  <a:pt x="287162" y="631413"/>
                  <a:pt x="287162" y="627421"/>
                  <a:pt x="287162" y="625426"/>
                </a:cubicBezTo>
                <a:cubicBezTo>
                  <a:pt x="285167" y="623430"/>
                  <a:pt x="289157" y="619438"/>
                  <a:pt x="291152" y="619438"/>
                </a:cubicBezTo>
                <a:cubicBezTo>
                  <a:pt x="291152" y="619438"/>
                  <a:pt x="295143" y="617443"/>
                  <a:pt x="295143" y="615447"/>
                </a:cubicBezTo>
                <a:cubicBezTo>
                  <a:pt x="295143" y="611455"/>
                  <a:pt x="299133" y="615447"/>
                  <a:pt x="299133" y="617443"/>
                </a:cubicBezTo>
                <a:cubicBezTo>
                  <a:pt x="301128" y="621434"/>
                  <a:pt x="305118" y="621434"/>
                  <a:pt x="309108" y="621434"/>
                </a:cubicBezTo>
                <a:cubicBezTo>
                  <a:pt x="313098" y="621434"/>
                  <a:pt x="313098" y="621434"/>
                  <a:pt x="315093" y="623430"/>
                </a:cubicBezTo>
                <a:cubicBezTo>
                  <a:pt x="317088" y="627421"/>
                  <a:pt x="321078" y="629417"/>
                  <a:pt x="327063" y="629417"/>
                </a:cubicBezTo>
                <a:cubicBezTo>
                  <a:pt x="331053" y="629417"/>
                  <a:pt x="339034" y="627421"/>
                  <a:pt x="343024" y="627421"/>
                </a:cubicBezTo>
                <a:cubicBezTo>
                  <a:pt x="347014" y="627421"/>
                  <a:pt x="351004" y="629417"/>
                  <a:pt x="351004" y="629417"/>
                </a:cubicBezTo>
                <a:cubicBezTo>
                  <a:pt x="351004" y="629417"/>
                  <a:pt x="351004" y="629417"/>
                  <a:pt x="358984" y="635404"/>
                </a:cubicBezTo>
                <a:cubicBezTo>
                  <a:pt x="358984" y="635404"/>
                  <a:pt x="366964" y="639396"/>
                  <a:pt x="370954" y="639396"/>
                </a:cubicBezTo>
                <a:cubicBezTo>
                  <a:pt x="372949" y="641392"/>
                  <a:pt x="376939" y="641392"/>
                  <a:pt x="380929" y="645383"/>
                </a:cubicBezTo>
                <a:cubicBezTo>
                  <a:pt x="386915" y="649375"/>
                  <a:pt x="400880" y="661350"/>
                  <a:pt x="402875" y="665341"/>
                </a:cubicBezTo>
                <a:cubicBezTo>
                  <a:pt x="404870" y="669333"/>
                  <a:pt x="404870" y="667337"/>
                  <a:pt x="406865" y="665341"/>
                </a:cubicBezTo>
                <a:cubicBezTo>
                  <a:pt x="406865" y="663345"/>
                  <a:pt x="412850" y="665341"/>
                  <a:pt x="414845" y="667337"/>
                </a:cubicBezTo>
                <a:cubicBezTo>
                  <a:pt x="416840" y="669333"/>
                  <a:pt x="420830" y="671328"/>
                  <a:pt x="420830" y="671328"/>
                </a:cubicBezTo>
                <a:cubicBezTo>
                  <a:pt x="420830" y="671328"/>
                  <a:pt x="426815" y="673324"/>
                  <a:pt x="426815" y="675320"/>
                </a:cubicBezTo>
                <a:cubicBezTo>
                  <a:pt x="428811" y="679311"/>
                  <a:pt x="430806" y="677316"/>
                  <a:pt x="432801" y="677316"/>
                </a:cubicBezTo>
                <a:cubicBezTo>
                  <a:pt x="436791" y="677316"/>
                  <a:pt x="436791" y="673324"/>
                  <a:pt x="436791" y="673324"/>
                </a:cubicBezTo>
                <a:cubicBezTo>
                  <a:pt x="436791" y="673324"/>
                  <a:pt x="436791" y="673324"/>
                  <a:pt x="438786" y="675320"/>
                </a:cubicBezTo>
                <a:cubicBezTo>
                  <a:pt x="442776" y="675320"/>
                  <a:pt x="442776" y="675320"/>
                  <a:pt x="442776" y="677316"/>
                </a:cubicBezTo>
                <a:cubicBezTo>
                  <a:pt x="442776" y="679311"/>
                  <a:pt x="444771" y="683303"/>
                  <a:pt x="448761" y="685299"/>
                </a:cubicBezTo>
                <a:cubicBezTo>
                  <a:pt x="452751" y="689290"/>
                  <a:pt x="458736" y="691286"/>
                  <a:pt x="458736" y="691286"/>
                </a:cubicBezTo>
                <a:cubicBezTo>
                  <a:pt x="460731" y="691286"/>
                  <a:pt x="462726" y="691286"/>
                  <a:pt x="462726" y="693282"/>
                </a:cubicBezTo>
                <a:cubicBezTo>
                  <a:pt x="462726" y="697273"/>
                  <a:pt x="462726" y="695278"/>
                  <a:pt x="464721" y="699269"/>
                </a:cubicBezTo>
                <a:cubicBezTo>
                  <a:pt x="466716" y="703261"/>
                  <a:pt x="464721" y="709248"/>
                  <a:pt x="466716" y="713240"/>
                </a:cubicBezTo>
                <a:cubicBezTo>
                  <a:pt x="470706" y="717231"/>
                  <a:pt x="468711" y="719227"/>
                  <a:pt x="468711" y="719227"/>
                </a:cubicBezTo>
                <a:cubicBezTo>
                  <a:pt x="468711" y="719227"/>
                  <a:pt x="464721" y="723218"/>
                  <a:pt x="466716" y="725214"/>
                </a:cubicBezTo>
                <a:cubicBezTo>
                  <a:pt x="468711" y="727210"/>
                  <a:pt x="466716" y="729206"/>
                  <a:pt x="466716" y="729206"/>
                </a:cubicBezTo>
                <a:cubicBezTo>
                  <a:pt x="466716" y="729206"/>
                  <a:pt x="458736" y="737189"/>
                  <a:pt x="456741" y="739185"/>
                </a:cubicBezTo>
                <a:cubicBezTo>
                  <a:pt x="454746" y="741180"/>
                  <a:pt x="450756" y="745172"/>
                  <a:pt x="448761" y="745172"/>
                </a:cubicBezTo>
                <a:cubicBezTo>
                  <a:pt x="446766" y="743176"/>
                  <a:pt x="444771" y="745172"/>
                  <a:pt x="444771" y="747168"/>
                </a:cubicBezTo>
                <a:cubicBezTo>
                  <a:pt x="442776" y="749164"/>
                  <a:pt x="440781" y="749164"/>
                  <a:pt x="434796" y="751159"/>
                </a:cubicBezTo>
                <a:cubicBezTo>
                  <a:pt x="430806" y="753155"/>
                  <a:pt x="428811" y="755151"/>
                  <a:pt x="428811" y="755151"/>
                </a:cubicBezTo>
                <a:cubicBezTo>
                  <a:pt x="428811" y="755151"/>
                  <a:pt x="424820" y="761138"/>
                  <a:pt x="420830" y="761138"/>
                </a:cubicBezTo>
                <a:cubicBezTo>
                  <a:pt x="416840" y="759142"/>
                  <a:pt x="410855" y="759142"/>
                  <a:pt x="410855" y="759142"/>
                </a:cubicBezTo>
                <a:cubicBezTo>
                  <a:pt x="410855" y="759142"/>
                  <a:pt x="404870" y="759142"/>
                  <a:pt x="402875" y="757147"/>
                </a:cubicBezTo>
                <a:cubicBezTo>
                  <a:pt x="400880" y="757147"/>
                  <a:pt x="398885" y="755151"/>
                  <a:pt x="394895" y="755151"/>
                </a:cubicBezTo>
                <a:cubicBezTo>
                  <a:pt x="390905" y="755151"/>
                  <a:pt x="386915" y="753155"/>
                  <a:pt x="378934" y="751159"/>
                </a:cubicBezTo>
                <a:cubicBezTo>
                  <a:pt x="370954" y="747168"/>
                  <a:pt x="364969" y="747168"/>
                  <a:pt x="364969" y="747168"/>
                </a:cubicBezTo>
                <a:cubicBezTo>
                  <a:pt x="364969" y="747168"/>
                  <a:pt x="352999" y="747168"/>
                  <a:pt x="349009" y="747168"/>
                </a:cubicBezTo>
                <a:cubicBezTo>
                  <a:pt x="347014" y="745172"/>
                  <a:pt x="335043" y="745172"/>
                  <a:pt x="335043" y="741180"/>
                </a:cubicBezTo>
                <a:cubicBezTo>
                  <a:pt x="333048" y="739185"/>
                  <a:pt x="333048" y="737189"/>
                  <a:pt x="327063" y="737189"/>
                </a:cubicBezTo>
                <a:cubicBezTo>
                  <a:pt x="321078" y="737189"/>
                  <a:pt x="321078" y="737189"/>
                  <a:pt x="321078" y="739185"/>
                </a:cubicBezTo>
                <a:cubicBezTo>
                  <a:pt x="319083" y="739185"/>
                  <a:pt x="315093" y="741180"/>
                  <a:pt x="315093" y="741180"/>
                </a:cubicBezTo>
                <a:cubicBezTo>
                  <a:pt x="315093" y="741180"/>
                  <a:pt x="309108" y="743176"/>
                  <a:pt x="309108" y="739185"/>
                </a:cubicBezTo>
                <a:cubicBezTo>
                  <a:pt x="307113" y="733197"/>
                  <a:pt x="301128" y="733197"/>
                  <a:pt x="301128" y="733197"/>
                </a:cubicBezTo>
                <a:cubicBezTo>
                  <a:pt x="301128" y="733197"/>
                  <a:pt x="293147" y="731202"/>
                  <a:pt x="287162" y="729206"/>
                </a:cubicBezTo>
                <a:cubicBezTo>
                  <a:pt x="283172" y="727210"/>
                  <a:pt x="279182" y="725214"/>
                  <a:pt x="279182" y="723218"/>
                </a:cubicBezTo>
                <a:cubicBezTo>
                  <a:pt x="277187" y="719227"/>
                  <a:pt x="273197" y="719227"/>
                  <a:pt x="269207" y="719227"/>
                </a:cubicBezTo>
                <a:cubicBezTo>
                  <a:pt x="263222" y="719227"/>
                  <a:pt x="269207" y="721223"/>
                  <a:pt x="271202" y="723218"/>
                </a:cubicBezTo>
                <a:cubicBezTo>
                  <a:pt x="275192" y="727210"/>
                  <a:pt x="279182" y="733197"/>
                  <a:pt x="281177" y="737189"/>
                </a:cubicBezTo>
                <a:cubicBezTo>
                  <a:pt x="283172" y="741180"/>
                  <a:pt x="287162" y="739185"/>
                  <a:pt x="291152" y="739185"/>
                </a:cubicBezTo>
                <a:cubicBezTo>
                  <a:pt x="297138" y="739185"/>
                  <a:pt x="301128" y="743176"/>
                  <a:pt x="299133" y="747168"/>
                </a:cubicBezTo>
                <a:cubicBezTo>
                  <a:pt x="295143" y="751159"/>
                  <a:pt x="299133" y="749164"/>
                  <a:pt x="297138" y="755151"/>
                </a:cubicBezTo>
                <a:cubicBezTo>
                  <a:pt x="295143" y="761138"/>
                  <a:pt x="301128" y="757147"/>
                  <a:pt x="301128" y="757147"/>
                </a:cubicBezTo>
                <a:cubicBezTo>
                  <a:pt x="301128" y="757147"/>
                  <a:pt x="305118" y="755151"/>
                  <a:pt x="307113" y="757147"/>
                </a:cubicBezTo>
                <a:cubicBezTo>
                  <a:pt x="307113" y="759142"/>
                  <a:pt x="311103" y="757147"/>
                  <a:pt x="313098" y="757147"/>
                </a:cubicBezTo>
                <a:cubicBezTo>
                  <a:pt x="315093" y="757147"/>
                  <a:pt x="321078" y="761138"/>
                  <a:pt x="323073" y="765130"/>
                </a:cubicBezTo>
                <a:cubicBezTo>
                  <a:pt x="323073" y="769121"/>
                  <a:pt x="329058" y="771117"/>
                  <a:pt x="331053" y="775109"/>
                </a:cubicBezTo>
                <a:cubicBezTo>
                  <a:pt x="333048" y="779100"/>
                  <a:pt x="333048" y="783092"/>
                  <a:pt x="329058" y="783092"/>
                </a:cubicBezTo>
                <a:cubicBezTo>
                  <a:pt x="327063" y="785088"/>
                  <a:pt x="329058" y="787083"/>
                  <a:pt x="329058" y="787083"/>
                </a:cubicBezTo>
                <a:cubicBezTo>
                  <a:pt x="329058" y="787083"/>
                  <a:pt x="329058" y="789079"/>
                  <a:pt x="327063" y="791075"/>
                </a:cubicBezTo>
                <a:cubicBezTo>
                  <a:pt x="325068" y="793071"/>
                  <a:pt x="325068" y="795066"/>
                  <a:pt x="325068" y="799058"/>
                </a:cubicBezTo>
                <a:cubicBezTo>
                  <a:pt x="327063" y="803049"/>
                  <a:pt x="333048" y="811033"/>
                  <a:pt x="333048" y="811033"/>
                </a:cubicBezTo>
                <a:cubicBezTo>
                  <a:pt x="333048" y="811033"/>
                  <a:pt x="337038" y="826999"/>
                  <a:pt x="337038" y="830990"/>
                </a:cubicBezTo>
                <a:cubicBezTo>
                  <a:pt x="337038" y="834982"/>
                  <a:pt x="339034" y="834982"/>
                  <a:pt x="341029" y="836978"/>
                </a:cubicBezTo>
                <a:cubicBezTo>
                  <a:pt x="341029" y="840969"/>
                  <a:pt x="352999" y="840969"/>
                  <a:pt x="352999" y="840969"/>
                </a:cubicBezTo>
                <a:cubicBezTo>
                  <a:pt x="352999" y="840969"/>
                  <a:pt x="356989" y="840969"/>
                  <a:pt x="356989" y="842965"/>
                </a:cubicBezTo>
                <a:cubicBezTo>
                  <a:pt x="356989" y="844961"/>
                  <a:pt x="360979" y="846956"/>
                  <a:pt x="360979" y="846956"/>
                </a:cubicBezTo>
                <a:cubicBezTo>
                  <a:pt x="360979" y="846956"/>
                  <a:pt x="366964" y="848952"/>
                  <a:pt x="366964" y="850948"/>
                </a:cubicBezTo>
                <a:cubicBezTo>
                  <a:pt x="366964" y="854940"/>
                  <a:pt x="366964" y="856935"/>
                  <a:pt x="366964" y="856935"/>
                </a:cubicBezTo>
                <a:cubicBezTo>
                  <a:pt x="366964" y="856935"/>
                  <a:pt x="370954" y="858931"/>
                  <a:pt x="374944" y="860927"/>
                </a:cubicBezTo>
                <a:cubicBezTo>
                  <a:pt x="378934" y="862923"/>
                  <a:pt x="380929" y="860927"/>
                  <a:pt x="384920" y="860927"/>
                </a:cubicBezTo>
                <a:cubicBezTo>
                  <a:pt x="386915" y="860927"/>
                  <a:pt x="390905" y="862923"/>
                  <a:pt x="390905" y="864918"/>
                </a:cubicBezTo>
                <a:cubicBezTo>
                  <a:pt x="390905" y="864918"/>
                  <a:pt x="390905" y="866914"/>
                  <a:pt x="394895" y="868910"/>
                </a:cubicBezTo>
                <a:cubicBezTo>
                  <a:pt x="398885" y="870906"/>
                  <a:pt x="398885" y="866914"/>
                  <a:pt x="398885" y="866914"/>
                </a:cubicBezTo>
                <a:cubicBezTo>
                  <a:pt x="398885" y="866914"/>
                  <a:pt x="398885" y="866914"/>
                  <a:pt x="400880" y="866914"/>
                </a:cubicBezTo>
                <a:cubicBezTo>
                  <a:pt x="400880" y="866914"/>
                  <a:pt x="402875" y="866914"/>
                  <a:pt x="402875" y="864918"/>
                </a:cubicBezTo>
                <a:cubicBezTo>
                  <a:pt x="402875" y="864918"/>
                  <a:pt x="404870" y="860927"/>
                  <a:pt x="406865" y="862923"/>
                </a:cubicBezTo>
                <a:cubicBezTo>
                  <a:pt x="408860" y="866914"/>
                  <a:pt x="412850" y="862923"/>
                  <a:pt x="410855" y="860927"/>
                </a:cubicBezTo>
                <a:cubicBezTo>
                  <a:pt x="408860" y="858931"/>
                  <a:pt x="408860" y="852944"/>
                  <a:pt x="408860" y="850948"/>
                </a:cubicBezTo>
                <a:cubicBezTo>
                  <a:pt x="408860" y="846956"/>
                  <a:pt x="408860" y="844961"/>
                  <a:pt x="404870" y="842965"/>
                </a:cubicBezTo>
                <a:cubicBezTo>
                  <a:pt x="402875" y="840969"/>
                  <a:pt x="396890" y="844961"/>
                  <a:pt x="392900" y="844961"/>
                </a:cubicBezTo>
                <a:cubicBezTo>
                  <a:pt x="388910" y="846956"/>
                  <a:pt x="380929" y="840969"/>
                  <a:pt x="380929" y="840969"/>
                </a:cubicBezTo>
                <a:cubicBezTo>
                  <a:pt x="380929" y="840969"/>
                  <a:pt x="370954" y="832986"/>
                  <a:pt x="368959" y="830990"/>
                </a:cubicBezTo>
                <a:cubicBezTo>
                  <a:pt x="366964" y="828995"/>
                  <a:pt x="362974" y="821011"/>
                  <a:pt x="360979" y="819016"/>
                </a:cubicBezTo>
                <a:cubicBezTo>
                  <a:pt x="360979" y="817020"/>
                  <a:pt x="368959" y="817020"/>
                  <a:pt x="374944" y="817020"/>
                </a:cubicBezTo>
                <a:cubicBezTo>
                  <a:pt x="378934" y="817020"/>
                  <a:pt x="374944" y="811033"/>
                  <a:pt x="374944" y="811033"/>
                </a:cubicBezTo>
                <a:cubicBezTo>
                  <a:pt x="374944" y="811033"/>
                  <a:pt x="374944" y="807041"/>
                  <a:pt x="372949" y="803049"/>
                </a:cubicBezTo>
                <a:cubicBezTo>
                  <a:pt x="372949" y="799058"/>
                  <a:pt x="376939" y="801054"/>
                  <a:pt x="378934" y="803049"/>
                </a:cubicBezTo>
                <a:cubicBezTo>
                  <a:pt x="380929" y="805045"/>
                  <a:pt x="390905" y="807041"/>
                  <a:pt x="392900" y="807041"/>
                </a:cubicBezTo>
                <a:cubicBezTo>
                  <a:pt x="394895" y="807041"/>
                  <a:pt x="400880" y="811033"/>
                  <a:pt x="402875" y="813028"/>
                </a:cubicBezTo>
                <a:cubicBezTo>
                  <a:pt x="402875" y="815024"/>
                  <a:pt x="408860" y="817020"/>
                  <a:pt x="408860" y="817020"/>
                </a:cubicBezTo>
                <a:cubicBezTo>
                  <a:pt x="408860" y="817020"/>
                  <a:pt x="414845" y="817020"/>
                  <a:pt x="416840" y="819016"/>
                </a:cubicBezTo>
                <a:cubicBezTo>
                  <a:pt x="416840" y="821011"/>
                  <a:pt x="416840" y="823007"/>
                  <a:pt x="412850" y="823007"/>
                </a:cubicBezTo>
                <a:cubicBezTo>
                  <a:pt x="410855" y="821011"/>
                  <a:pt x="410855" y="823007"/>
                  <a:pt x="410855" y="825003"/>
                </a:cubicBezTo>
                <a:cubicBezTo>
                  <a:pt x="410855" y="826999"/>
                  <a:pt x="410855" y="828995"/>
                  <a:pt x="412850" y="830990"/>
                </a:cubicBezTo>
                <a:cubicBezTo>
                  <a:pt x="414845" y="830990"/>
                  <a:pt x="416840" y="828995"/>
                  <a:pt x="416840" y="826999"/>
                </a:cubicBezTo>
                <a:cubicBezTo>
                  <a:pt x="414845" y="825003"/>
                  <a:pt x="416840" y="821011"/>
                  <a:pt x="416840" y="821011"/>
                </a:cubicBezTo>
                <a:cubicBezTo>
                  <a:pt x="416840" y="821011"/>
                  <a:pt x="416840" y="821011"/>
                  <a:pt x="418835" y="821011"/>
                </a:cubicBezTo>
                <a:cubicBezTo>
                  <a:pt x="422825" y="823007"/>
                  <a:pt x="430806" y="823007"/>
                  <a:pt x="434796" y="823007"/>
                </a:cubicBezTo>
                <a:cubicBezTo>
                  <a:pt x="436791" y="821011"/>
                  <a:pt x="436791" y="825003"/>
                  <a:pt x="436791" y="825003"/>
                </a:cubicBezTo>
                <a:cubicBezTo>
                  <a:pt x="436791" y="825003"/>
                  <a:pt x="440781" y="828995"/>
                  <a:pt x="442776" y="830990"/>
                </a:cubicBezTo>
                <a:cubicBezTo>
                  <a:pt x="442776" y="832986"/>
                  <a:pt x="444771" y="832986"/>
                  <a:pt x="446766" y="832986"/>
                </a:cubicBezTo>
                <a:cubicBezTo>
                  <a:pt x="448761" y="832986"/>
                  <a:pt x="450756" y="828995"/>
                  <a:pt x="450756" y="828995"/>
                </a:cubicBezTo>
                <a:cubicBezTo>
                  <a:pt x="450756" y="828995"/>
                  <a:pt x="454746" y="828995"/>
                  <a:pt x="456741" y="830990"/>
                </a:cubicBezTo>
                <a:cubicBezTo>
                  <a:pt x="460731" y="832986"/>
                  <a:pt x="462726" y="836978"/>
                  <a:pt x="464721" y="838973"/>
                </a:cubicBezTo>
                <a:cubicBezTo>
                  <a:pt x="466716" y="840969"/>
                  <a:pt x="468711" y="842965"/>
                  <a:pt x="472702" y="840969"/>
                </a:cubicBezTo>
                <a:cubicBezTo>
                  <a:pt x="474697" y="840969"/>
                  <a:pt x="470706" y="838973"/>
                  <a:pt x="468711" y="836978"/>
                </a:cubicBezTo>
                <a:cubicBezTo>
                  <a:pt x="466716" y="832986"/>
                  <a:pt x="466716" y="828995"/>
                  <a:pt x="466716" y="821011"/>
                </a:cubicBezTo>
                <a:cubicBezTo>
                  <a:pt x="466716" y="813028"/>
                  <a:pt x="458736" y="807041"/>
                  <a:pt x="458736" y="807041"/>
                </a:cubicBezTo>
                <a:cubicBezTo>
                  <a:pt x="458736" y="807041"/>
                  <a:pt x="448761" y="803049"/>
                  <a:pt x="446766" y="795066"/>
                </a:cubicBezTo>
                <a:cubicBezTo>
                  <a:pt x="444771" y="787083"/>
                  <a:pt x="448761" y="783092"/>
                  <a:pt x="452751" y="783092"/>
                </a:cubicBezTo>
                <a:cubicBezTo>
                  <a:pt x="456741" y="783092"/>
                  <a:pt x="462726" y="775109"/>
                  <a:pt x="462726" y="775109"/>
                </a:cubicBezTo>
                <a:cubicBezTo>
                  <a:pt x="462726" y="775109"/>
                  <a:pt x="466716" y="769121"/>
                  <a:pt x="470706" y="769121"/>
                </a:cubicBezTo>
                <a:cubicBezTo>
                  <a:pt x="472702" y="769121"/>
                  <a:pt x="480682" y="763134"/>
                  <a:pt x="480682" y="763134"/>
                </a:cubicBezTo>
                <a:cubicBezTo>
                  <a:pt x="480682" y="763134"/>
                  <a:pt x="488662" y="755151"/>
                  <a:pt x="488662" y="753155"/>
                </a:cubicBezTo>
                <a:cubicBezTo>
                  <a:pt x="488662" y="751159"/>
                  <a:pt x="490657" y="749164"/>
                  <a:pt x="490657" y="749164"/>
                </a:cubicBezTo>
                <a:cubicBezTo>
                  <a:pt x="490657" y="749164"/>
                  <a:pt x="492652" y="747168"/>
                  <a:pt x="496642" y="745172"/>
                </a:cubicBezTo>
                <a:cubicBezTo>
                  <a:pt x="498637" y="743176"/>
                  <a:pt x="500632" y="745172"/>
                  <a:pt x="500632" y="745172"/>
                </a:cubicBezTo>
                <a:cubicBezTo>
                  <a:pt x="500632" y="745172"/>
                  <a:pt x="504622" y="747168"/>
                  <a:pt x="504622" y="749164"/>
                </a:cubicBezTo>
                <a:cubicBezTo>
                  <a:pt x="504622" y="753155"/>
                  <a:pt x="508612" y="753155"/>
                  <a:pt x="512602" y="753155"/>
                </a:cubicBezTo>
                <a:cubicBezTo>
                  <a:pt x="516593" y="755151"/>
                  <a:pt x="522578" y="753155"/>
                  <a:pt x="524573" y="753155"/>
                </a:cubicBezTo>
                <a:cubicBezTo>
                  <a:pt x="526568" y="753155"/>
                  <a:pt x="530558" y="753155"/>
                  <a:pt x="530558" y="757147"/>
                </a:cubicBezTo>
                <a:cubicBezTo>
                  <a:pt x="530558" y="759142"/>
                  <a:pt x="532553" y="759142"/>
                  <a:pt x="532553" y="759142"/>
                </a:cubicBezTo>
                <a:cubicBezTo>
                  <a:pt x="534548" y="759142"/>
                  <a:pt x="538538" y="761138"/>
                  <a:pt x="540533" y="765130"/>
                </a:cubicBezTo>
                <a:cubicBezTo>
                  <a:pt x="542528" y="769121"/>
                  <a:pt x="544523" y="771117"/>
                  <a:pt x="544523" y="769121"/>
                </a:cubicBezTo>
                <a:cubicBezTo>
                  <a:pt x="546518" y="765130"/>
                  <a:pt x="544523" y="757147"/>
                  <a:pt x="544523" y="755151"/>
                </a:cubicBezTo>
                <a:cubicBezTo>
                  <a:pt x="544523" y="753155"/>
                  <a:pt x="544523" y="751159"/>
                  <a:pt x="544523" y="747168"/>
                </a:cubicBezTo>
                <a:cubicBezTo>
                  <a:pt x="544523" y="743176"/>
                  <a:pt x="546518" y="745172"/>
                  <a:pt x="544523" y="743176"/>
                </a:cubicBezTo>
                <a:cubicBezTo>
                  <a:pt x="542528" y="741180"/>
                  <a:pt x="544523" y="733197"/>
                  <a:pt x="542528" y="729206"/>
                </a:cubicBezTo>
                <a:cubicBezTo>
                  <a:pt x="542528" y="723218"/>
                  <a:pt x="538538" y="725214"/>
                  <a:pt x="534548" y="721223"/>
                </a:cubicBezTo>
                <a:cubicBezTo>
                  <a:pt x="530558" y="715235"/>
                  <a:pt x="534548" y="707252"/>
                  <a:pt x="536543" y="703261"/>
                </a:cubicBezTo>
                <a:cubicBezTo>
                  <a:pt x="536543" y="697273"/>
                  <a:pt x="536543" y="691286"/>
                  <a:pt x="536543" y="687295"/>
                </a:cubicBezTo>
                <a:cubicBezTo>
                  <a:pt x="536543" y="685299"/>
                  <a:pt x="536543" y="675320"/>
                  <a:pt x="536543" y="671328"/>
                </a:cubicBezTo>
                <a:cubicBezTo>
                  <a:pt x="536543" y="669333"/>
                  <a:pt x="530558" y="665341"/>
                  <a:pt x="528563" y="663345"/>
                </a:cubicBezTo>
                <a:cubicBezTo>
                  <a:pt x="526568" y="663345"/>
                  <a:pt x="520583" y="655362"/>
                  <a:pt x="520583" y="653366"/>
                </a:cubicBezTo>
                <a:cubicBezTo>
                  <a:pt x="518588" y="651371"/>
                  <a:pt x="514597" y="649375"/>
                  <a:pt x="512602" y="649375"/>
                </a:cubicBezTo>
                <a:cubicBezTo>
                  <a:pt x="510607" y="649375"/>
                  <a:pt x="508612" y="645383"/>
                  <a:pt x="510607" y="643388"/>
                </a:cubicBezTo>
                <a:cubicBezTo>
                  <a:pt x="510607" y="639396"/>
                  <a:pt x="516593" y="643388"/>
                  <a:pt x="518588" y="645383"/>
                </a:cubicBezTo>
                <a:cubicBezTo>
                  <a:pt x="520583" y="647379"/>
                  <a:pt x="528563" y="649375"/>
                  <a:pt x="528563" y="649375"/>
                </a:cubicBezTo>
                <a:cubicBezTo>
                  <a:pt x="530558" y="651371"/>
                  <a:pt x="538538" y="651371"/>
                  <a:pt x="540533" y="649375"/>
                </a:cubicBezTo>
                <a:cubicBezTo>
                  <a:pt x="544523" y="645383"/>
                  <a:pt x="556493" y="647379"/>
                  <a:pt x="556493" y="647379"/>
                </a:cubicBezTo>
                <a:cubicBezTo>
                  <a:pt x="556493" y="647379"/>
                  <a:pt x="566469" y="651371"/>
                  <a:pt x="568464" y="651371"/>
                </a:cubicBezTo>
                <a:cubicBezTo>
                  <a:pt x="570459" y="651371"/>
                  <a:pt x="572454" y="653366"/>
                  <a:pt x="572454" y="653366"/>
                </a:cubicBezTo>
                <a:cubicBezTo>
                  <a:pt x="572454" y="653366"/>
                  <a:pt x="574449" y="659354"/>
                  <a:pt x="574449" y="661350"/>
                </a:cubicBezTo>
                <a:cubicBezTo>
                  <a:pt x="574449" y="663345"/>
                  <a:pt x="578439" y="663345"/>
                  <a:pt x="580434" y="665341"/>
                </a:cubicBezTo>
                <a:cubicBezTo>
                  <a:pt x="582429" y="665341"/>
                  <a:pt x="582429" y="667337"/>
                  <a:pt x="582429" y="667337"/>
                </a:cubicBezTo>
                <a:cubicBezTo>
                  <a:pt x="582429" y="669333"/>
                  <a:pt x="584424" y="673324"/>
                  <a:pt x="584424" y="673324"/>
                </a:cubicBezTo>
                <a:cubicBezTo>
                  <a:pt x="584424" y="673324"/>
                  <a:pt x="588414" y="679311"/>
                  <a:pt x="590409" y="683303"/>
                </a:cubicBezTo>
                <a:cubicBezTo>
                  <a:pt x="590409" y="687295"/>
                  <a:pt x="582429" y="689290"/>
                  <a:pt x="580434" y="687295"/>
                </a:cubicBezTo>
                <a:cubicBezTo>
                  <a:pt x="578439" y="685299"/>
                  <a:pt x="576444" y="685299"/>
                  <a:pt x="574449" y="687295"/>
                </a:cubicBezTo>
                <a:cubicBezTo>
                  <a:pt x="574449" y="689290"/>
                  <a:pt x="572454" y="689290"/>
                  <a:pt x="568464" y="689290"/>
                </a:cubicBezTo>
                <a:cubicBezTo>
                  <a:pt x="566469" y="689290"/>
                  <a:pt x="564474" y="693282"/>
                  <a:pt x="564474" y="695278"/>
                </a:cubicBezTo>
                <a:cubicBezTo>
                  <a:pt x="564474" y="697273"/>
                  <a:pt x="562479" y="699269"/>
                  <a:pt x="562479" y="699269"/>
                </a:cubicBezTo>
                <a:cubicBezTo>
                  <a:pt x="562479" y="699269"/>
                  <a:pt x="560484" y="699269"/>
                  <a:pt x="558488" y="701265"/>
                </a:cubicBezTo>
                <a:cubicBezTo>
                  <a:pt x="556493" y="705257"/>
                  <a:pt x="562479" y="707252"/>
                  <a:pt x="566469" y="709248"/>
                </a:cubicBezTo>
                <a:cubicBezTo>
                  <a:pt x="570459" y="713240"/>
                  <a:pt x="570459" y="719227"/>
                  <a:pt x="570459" y="721223"/>
                </a:cubicBezTo>
                <a:cubicBezTo>
                  <a:pt x="570459" y="723218"/>
                  <a:pt x="574449" y="727210"/>
                  <a:pt x="576444" y="729206"/>
                </a:cubicBezTo>
                <a:cubicBezTo>
                  <a:pt x="580434" y="731202"/>
                  <a:pt x="582429" y="733197"/>
                  <a:pt x="582429" y="735193"/>
                </a:cubicBezTo>
                <a:cubicBezTo>
                  <a:pt x="584424" y="739185"/>
                  <a:pt x="588414" y="735193"/>
                  <a:pt x="590409" y="733197"/>
                </a:cubicBezTo>
                <a:cubicBezTo>
                  <a:pt x="590409" y="731202"/>
                  <a:pt x="594399" y="731202"/>
                  <a:pt x="594399" y="731202"/>
                </a:cubicBezTo>
                <a:cubicBezTo>
                  <a:pt x="594399" y="731202"/>
                  <a:pt x="600384" y="733197"/>
                  <a:pt x="604374" y="733197"/>
                </a:cubicBezTo>
                <a:cubicBezTo>
                  <a:pt x="610360" y="735193"/>
                  <a:pt x="612355" y="733197"/>
                  <a:pt x="614350" y="731202"/>
                </a:cubicBezTo>
                <a:cubicBezTo>
                  <a:pt x="614350" y="729206"/>
                  <a:pt x="618340" y="729206"/>
                  <a:pt x="620335" y="729206"/>
                </a:cubicBezTo>
                <a:cubicBezTo>
                  <a:pt x="624325" y="729206"/>
                  <a:pt x="624325" y="727210"/>
                  <a:pt x="624325" y="719227"/>
                </a:cubicBezTo>
                <a:cubicBezTo>
                  <a:pt x="624325" y="713240"/>
                  <a:pt x="622330" y="713240"/>
                  <a:pt x="624325" y="707252"/>
                </a:cubicBezTo>
                <a:cubicBezTo>
                  <a:pt x="628315" y="701265"/>
                  <a:pt x="636296" y="701265"/>
                  <a:pt x="642281" y="701265"/>
                </a:cubicBezTo>
                <a:cubicBezTo>
                  <a:pt x="646271" y="699269"/>
                  <a:pt x="644276" y="695278"/>
                  <a:pt x="644276" y="695278"/>
                </a:cubicBezTo>
                <a:cubicBezTo>
                  <a:pt x="644276" y="695278"/>
                  <a:pt x="642281" y="689290"/>
                  <a:pt x="646271" y="689290"/>
                </a:cubicBezTo>
                <a:cubicBezTo>
                  <a:pt x="646271" y="687295"/>
                  <a:pt x="650261" y="691286"/>
                  <a:pt x="654251" y="691286"/>
                </a:cubicBezTo>
                <a:cubicBezTo>
                  <a:pt x="658241" y="691286"/>
                  <a:pt x="662231" y="689290"/>
                  <a:pt x="662231" y="685299"/>
                </a:cubicBezTo>
                <a:cubicBezTo>
                  <a:pt x="662231" y="681307"/>
                  <a:pt x="672206" y="677316"/>
                  <a:pt x="672206" y="677316"/>
                </a:cubicBezTo>
                <a:cubicBezTo>
                  <a:pt x="672206" y="677316"/>
                  <a:pt x="680187" y="669333"/>
                  <a:pt x="684177" y="663345"/>
                </a:cubicBezTo>
                <a:cubicBezTo>
                  <a:pt x="688167" y="659354"/>
                  <a:pt x="694152" y="659354"/>
                  <a:pt x="694152" y="659354"/>
                </a:cubicBezTo>
                <a:cubicBezTo>
                  <a:pt x="694152" y="659354"/>
                  <a:pt x="700137" y="659354"/>
                  <a:pt x="702132" y="661350"/>
                </a:cubicBezTo>
                <a:cubicBezTo>
                  <a:pt x="704127" y="663345"/>
                  <a:pt x="700137" y="665341"/>
                  <a:pt x="700137" y="665341"/>
                </a:cubicBezTo>
                <a:cubicBezTo>
                  <a:pt x="700137" y="665341"/>
                  <a:pt x="698142" y="665341"/>
                  <a:pt x="692157" y="665341"/>
                </a:cubicBezTo>
                <a:cubicBezTo>
                  <a:pt x="684177" y="667337"/>
                  <a:pt x="692157" y="669333"/>
                  <a:pt x="692157" y="669333"/>
                </a:cubicBezTo>
                <a:cubicBezTo>
                  <a:pt x="692157" y="669333"/>
                  <a:pt x="700137" y="667337"/>
                  <a:pt x="704127" y="667337"/>
                </a:cubicBezTo>
                <a:cubicBezTo>
                  <a:pt x="708117" y="667337"/>
                  <a:pt x="706122" y="665341"/>
                  <a:pt x="708117" y="661350"/>
                </a:cubicBezTo>
                <a:cubicBezTo>
                  <a:pt x="708117" y="657358"/>
                  <a:pt x="714102" y="659354"/>
                  <a:pt x="714102" y="659354"/>
                </a:cubicBezTo>
                <a:cubicBezTo>
                  <a:pt x="714102" y="659354"/>
                  <a:pt x="714102" y="659354"/>
                  <a:pt x="718092" y="659354"/>
                </a:cubicBezTo>
                <a:cubicBezTo>
                  <a:pt x="720088" y="659354"/>
                  <a:pt x="718092" y="655362"/>
                  <a:pt x="720088" y="655362"/>
                </a:cubicBezTo>
                <a:cubicBezTo>
                  <a:pt x="724078" y="655362"/>
                  <a:pt x="724078" y="661350"/>
                  <a:pt x="724078" y="661350"/>
                </a:cubicBezTo>
                <a:cubicBezTo>
                  <a:pt x="724078" y="661350"/>
                  <a:pt x="722083" y="663345"/>
                  <a:pt x="722083" y="665341"/>
                </a:cubicBezTo>
                <a:cubicBezTo>
                  <a:pt x="726073" y="667337"/>
                  <a:pt x="726073" y="665341"/>
                  <a:pt x="726073" y="663345"/>
                </a:cubicBezTo>
                <a:cubicBezTo>
                  <a:pt x="728068" y="663345"/>
                  <a:pt x="730063" y="663345"/>
                  <a:pt x="730063" y="661350"/>
                </a:cubicBezTo>
                <a:cubicBezTo>
                  <a:pt x="732058" y="659354"/>
                  <a:pt x="728068" y="655362"/>
                  <a:pt x="728068" y="655362"/>
                </a:cubicBezTo>
                <a:cubicBezTo>
                  <a:pt x="728068" y="655362"/>
                  <a:pt x="726073" y="651371"/>
                  <a:pt x="728068" y="649375"/>
                </a:cubicBezTo>
                <a:cubicBezTo>
                  <a:pt x="730063" y="647379"/>
                  <a:pt x="738043" y="641392"/>
                  <a:pt x="738043" y="641392"/>
                </a:cubicBezTo>
                <a:cubicBezTo>
                  <a:pt x="738043" y="641392"/>
                  <a:pt x="744028" y="637400"/>
                  <a:pt x="748018" y="635404"/>
                </a:cubicBezTo>
                <a:cubicBezTo>
                  <a:pt x="752008" y="633409"/>
                  <a:pt x="759988" y="633409"/>
                  <a:pt x="763979" y="633409"/>
                </a:cubicBezTo>
                <a:cubicBezTo>
                  <a:pt x="765974" y="633409"/>
                  <a:pt x="767969" y="633409"/>
                  <a:pt x="769964" y="637400"/>
                </a:cubicBezTo>
                <a:cubicBezTo>
                  <a:pt x="769964" y="639396"/>
                  <a:pt x="763979" y="639396"/>
                  <a:pt x="763979" y="639396"/>
                </a:cubicBezTo>
                <a:cubicBezTo>
                  <a:pt x="763979" y="639396"/>
                  <a:pt x="759988" y="637400"/>
                  <a:pt x="755998" y="637400"/>
                </a:cubicBezTo>
                <a:cubicBezTo>
                  <a:pt x="752008" y="637400"/>
                  <a:pt x="754003" y="639396"/>
                  <a:pt x="755998" y="639396"/>
                </a:cubicBezTo>
                <a:cubicBezTo>
                  <a:pt x="755998" y="641392"/>
                  <a:pt x="755998" y="643388"/>
                  <a:pt x="754003" y="645383"/>
                </a:cubicBezTo>
                <a:cubicBezTo>
                  <a:pt x="752008" y="645383"/>
                  <a:pt x="754003" y="647379"/>
                  <a:pt x="754003" y="649375"/>
                </a:cubicBezTo>
                <a:cubicBezTo>
                  <a:pt x="754003" y="653366"/>
                  <a:pt x="754003" y="655362"/>
                  <a:pt x="757993" y="657358"/>
                </a:cubicBezTo>
                <a:cubicBezTo>
                  <a:pt x="761983" y="659354"/>
                  <a:pt x="757993" y="661350"/>
                  <a:pt x="757993" y="661350"/>
                </a:cubicBezTo>
                <a:cubicBezTo>
                  <a:pt x="757993" y="661350"/>
                  <a:pt x="752008" y="661350"/>
                  <a:pt x="750013" y="659354"/>
                </a:cubicBezTo>
                <a:cubicBezTo>
                  <a:pt x="748018" y="659354"/>
                  <a:pt x="742033" y="659354"/>
                  <a:pt x="740038" y="663345"/>
                </a:cubicBezTo>
                <a:cubicBezTo>
                  <a:pt x="740038" y="665341"/>
                  <a:pt x="746023" y="665341"/>
                  <a:pt x="746023" y="665341"/>
                </a:cubicBezTo>
                <a:cubicBezTo>
                  <a:pt x="746023" y="665341"/>
                  <a:pt x="746023" y="665341"/>
                  <a:pt x="752008" y="665341"/>
                </a:cubicBezTo>
                <a:cubicBezTo>
                  <a:pt x="752008" y="665341"/>
                  <a:pt x="765974" y="667337"/>
                  <a:pt x="765974" y="665341"/>
                </a:cubicBezTo>
                <a:cubicBezTo>
                  <a:pt x="765974" y="663345"/>
                  <a:pt x="769964" y="667337"/>
                  <a:pt x="769964" y="663345"/>
                </a:cubicBezTo>
                <a:cubicBezTo>
                  <a:pt x="769964" y="659354"/>
                  <a:pt x="767969" y="663345"/>
                  <a:pt x="769964" y="657358"/>
                </a:cubicBezTo>
                <a:cubicBezTo>
                  <a:pt x="769964" y="653366"/>
                  <a:pt x="771959" y="657358"/>
                  <a:pt x="771959" y="659354"/>
                </a:cubicBezTo>
                <a:cubicBezTo>
                  <a:pt x="771959" y="659354"/>
                  <a:pt x="775949" y="661350"/>
                  <a:pt x="777944" y="667337"/>
                </a:cubicBezTo>
                <a:cubicBezTo>
                  <a:pt x="777944" y="671328"/>
                  <a:pt x="779939" y="669333"/>
                  <a:pt x="781934" y="667337"/>
                </a:cubicBezTo>
                <a:cubicBezTo>
                  <a:pt x="781934" y="665341"/>
                  <a:pt x="781934" y="663345"/>
                  <a:pt x="781934" y="659354"/>
                </a:cubicBezTo>
                <a:cubicBezTo>
                  <a:pt x="779939" y="659354"/>
                  <a:pt x="781934" y="655362"/>
                  <a:pt x="783929" y="653366"/>
                </a:cubicBezTo>
                <a:cubicBezTo>
                  <a:pt x="785924" y="649375"/>
                  <a:pt x="785924" y="649375"/>
                  <a:pt x="789914" y="651371"/>
                </a:cubicBezTo>
                <a:cubicBezTo>
                  <a:pt x="791909" y="651371"/>
                  <a:pt x="795899" y="649375"/>
                  <a:pt x="795899" y="649375"/>
                </a:cubicBezTo>
                <a:cubicBezTo>
                  <a:pt x="795899" y="649375"/>
                  <a:pt x="797894" y="647379"/>
                  <a:pt x="801884" y="647379"/>
                </a:cubicBezTo>
                <a:cubicBezTo>
                  <a:pt x="803879" y="645383"/>
                  <a:pt x="807870" y="647379"/>
                  <a:pt x="809865" y="649375"/>
                </a:cubicBezTo>
                <a:cubicBezTo>
                  <a:pt x="811860" y="649375"/>
                  <a:pt x="813855" y="649375"/>
                  <a:pt x="813855" y="649375"/>
                </a:cubicBezTo>
                <a:cubicBezTo>
                  <a:pt x="813855" y="649375"/>
                  <a:pt x="815850" y="649375"/>
                  <a:pt x="817845" y="647379"/>
                </a:cubicBezTo>
                <a:cubicBezTo>
                  <a:pt x="821835" y="647379"/>
                  <a:pt x="825825" y="649375"/>
                  <a:pt x="829815" y="653366"/>
                </a:cubicBezTo>
                <a:cubicBezTo>
                  <a:pt x="833805" y="657358"/>
                  <a:pt x="837795" y="651371"/>
                  <a:pt x="841785" y="645383"/>
                </a:cubicBezTo>
                <a:cubicBezTo>
                  <a:pt x="843780" y="641392"/>
                  <a:pt x="847770" y="641392"/>
                  <a:pt x="855751" y="637400"/>
                </a:cubicBezTo>
                <a:cubicBezTo>
                  <a:pt x="865726" y="635404"/>
                  <a:pt x="875701" y="633409"/>
                  <a:pt x="877696" y="635404"/>
                </a:cubicBezTo>
                <a:cubicBezTo>
                  <a:pt x="879691" y="635404"/>
                  <a:pt x="881686" y="635404"/>
                  <a:pt x="879691" y="637400"/>
                </a:cubicBezTo>
                <a:cubicBezTo>
                  <a:pt x="877696" y="639396"/>
                  <a:pt x="877696" y="643388"/>
                  <a:pt x="879691" y="643388"/>
                </a:cubicBezTo>
                <a:cubicBezTo>
                  <a:pt x="881686" y="643388"/>
                  <a:pt x="881686" y="649375"/>
                  <a:pt x="881686" y="649375"/>
                </a:cubicBezTo>
                <a:cubicBezTo>
                  <a:pt x="881686" y="649375"/>
                  <a:pt x="877696" y="655362"/>
                  <a:pt x="877696" y="659354"/>
                </a:cubicBezTo>
                <a:cubicBezTo>
                  <a:pt x="877696" y="663345"/>
                  <a:pt x="885676" y="665341"/>
                  <a:pt x="885676" y="665341"/>
                </a:cubicBezTo>
                <a:cubicBezTo>
                  <a:pt x="885676" y="665341"/>
                  <a:pt x="889666" y="667337"/>
                  <a:pt x="895651" y="665341"/>
                </a:cubicBezTo>
                <a:cubicBezTo>
                  <a:pt x="899642" y="665341"/>
                  <a:pt x="897647" y="661350"/>
                  <a:pt x="897647" y="661350"/>
                </a:cubicBezTo>
                <a:cubicBezTo>
                  <a:pt x="897647" y="661350"/>
                  <a:pt x="891661" y="655362"/>
                  <a:pt x="895651" y="653366"/>
                </a:cubicBezTo>
                <a:cubicBezTo>
                  <a:pt x="895651" y="649375"/>
                  <a:pt x="901637" y="651371"/>
                  <a:pt x="901637" y="651371"/>
                </a:cubicBezTo>
                <a:cubicBezTo>
                  <a:pt x="901637" y="651371"/>
                  <a:pt x="903632" y="653366"/>
                  <a:pt x="907622" y="653366"/>
                </a:cubicBezTo>
                <a:cubicBezTo>
                  <a:pt x="911612" y="651371"/>
                  <a:pt x="911612" y="647379"/>
                  <a:pt x="911612" y="647379"/>
                </a:cubicBezTo>
                <a:cubicBezTo>
                  <a:pt x="911612" y="647379"/>
                  <a:pt x="913607" y="643388"/>
                  <a:pt x="915602" y="643388"/>
                </a:cubicBezTo>
                <a:cubicBezTo>
                  <a:pt x="917597" y="643388"/>
                  <a:pt x="917597" y="639396"/>
                  <a:pt x="917597" y="639396"/>
                </a:cubicBezTo>
                <a:cubicBezTo>
                  <a:pt x="917597" y="639396"/>
                  <a:pt x="917597" y="639396"/>
                  <a:pt x="917597" y="633409"/>
                </a:cubicBezTo>
                <a:cubicBezTo>
                  <a:pt x="917597" y="633409"/>
                  <a:pt x="917597" y="629417"/>
                  <a:pt x="913607" y="629417"/>
                </a:cubicBezTo>
                <a:cubicBezTo>
                  <a:pt x="909617" y="629417"/>
                  <a:pt x="909617" y="625426"/>
                  <a:pt x="909617" y="625426"/>
                </a:cubicBezTo>
                <a:cubicBezTo>
                  <a:pt x="909617" y="625426"/>
                  <a:pt x="907622" y="617443"/>
                  <a:pt x="905627" y="615447"/>
                </a:cubicBezTo>
                <a:cubicBezTo>
                  <a:pt x="901637" y="613451"/>
                  <a:pt x="903632" y="613451"/>
                  <a:pt x="899642" y="611455"/>
                </a:cubicBezTo>
                <a:cubicBezTo>
                  <a:pt x="897647" y="609459"/>
                  <a:pt x="895651" y="607463"/>
                  <a:pt x="893656" y="605468"/>
                </a:cubicBezTo>
                <a:cubicBezTo>
                  <a:pt x="891661" y="601476"/>
                  <a:pt x="897647" y="601476"/>
                  <a:pt x="901637" y="601476"/>
                </a:cubicBezTo>
                <a:cubicBezTo>
                  <a:pt x="903632" y="601476"/>
                  <a:pt x="907622" y="599480"/>
                  <a:pt x="907622" y="599480"/>
                </a:cubicBezTo>
                <a:cubicBezTo>
                  <a:pt x="907622" y="599480"/>
                  <a:pt x="907622" y="595489"/>
                  <a:pt x="907622" y="591497"/>
                </a:cubicBezTo>
                <a:cubicBezTo>
                  <a:pt x="907622" y="587506"/>
                  <a:pt x="921587" y="593493"/>
                  <a:pt x="921587" y="593493"/>
                </a:cubicBezTo>
                <a:cubicBezTo>
                  <a:pt x="921587" y="593493"/>
                  <a:pt x="927572" y="597485"/>
                  <a:pt x="933557" y="595489"/>
                </a:cubicBezTo>
                <a:cubicBezTo>
                  <a:pt x="939542" y="593493"/>
                  <a:pt x="943533" y="595489"/>
                  <a:pt x="943533" y="595489"/>
                </a:cubicBezTo>
                <a:cubicBezTo>
                  <a:pt x="945528" y="595489"/>
                  <a:pt x="961488" y="597485"/>
                  <a:pt x="961488" y="597485"/>
                </a:cubicBezTo>
                <a:cubicBezTo>
                  <a:pt x="961488" y="597485"/>
                  <a:pt x="969468" y="597485"/>
                  <a:pt x="975453" y="599480"/>
                </a:cubicBezTo>
                <a:cubicBezTo>
                  <a:pt x="981438" y="599480"/>
                  <a:pt x="995404" y="609459"/>
                  <a:pt x="999394" y="611455"/>
                </a:cubicBezTo>
                <a:cubicBezTo>
                  <a:pt x="1001389" y="611455"/>
                  <a:pt x="1009369" y="613451"/>
                  <a:pt x="1017349" y="617443"/>
                </a:cubicBezTo>
                <a:cubicBezTo>
                  <a:pt x="1025329" y="621434"/>
                  <a:pt x="1029319" y="629417"/>
                  <a:pt x="1029319" y="629417"/>
                </a:cubicBezTo>
                <a:cubicBezTo>
                  <a:pt x="1029319" y="629417"/>
                  <a:pt x="1029319" y="629417"/>
                  <a:pt x="1039295" y="629417"/>
                </a:cubicBezTo>
                <a:cubicBezTo>
                  <a:pt x="1039295" y="629417"/>
                  <a:pt x="1043285" y="629417"/>
                  <a:pt x="1043285" y="633409"/>
                </a:cubicBezTo>
                <a:cubicBezTo>
                  <a:pt x="1043285" y="635404"/>
                  <a:pt x="1051265" y="639396"/>
                  <a:pt x="1051265" y="639396"/>
                </a:cubicBezTo>
                <a:cubicBezTo>
                  <a:pt x="1051265" y="639396"/>
                  <a:pt x="1053260" y="639396"/>
                  <a:pt x="1067225" y="647379"/>
                </a:cubicBezTo>
                <a:cubicBezTo>
                  <a:pt x="1081191" y="657358"/>
                  <a:pt x="1091166" y="671328"/>
                  <a:pt x="1091166" y="671328"/>
                </a:cubicBezTo>
                <a:cubicBezTo>
                  <a:pt x="1091166" y="671328"/>
                  <a:pt x="1095156" y="671328"/>
                  <a:pt x="1099146" y="667337"/>
                </a:cubicBezTo>
                <a:cubicBezTo>
                  <a:pt x="1103136" y="663345"/>
                  <a:pt x="1101141" y="659354"/>
                  <a:pt x="1101141" y="657358"/>
                </a:cubicBezTo>
                <a:cubicBezTo>
                  <a:pt x="1101141" y="653366"/>
                  <a:pt x="1103136" y="651371"/>
                  <a:pt x="1103136" y="651371"/>
                </a:cubicBezTo>
                <a:cubicBezTo>
                  <a:pt x="1103136" y="651371"/>
                  <a:pt x="1107126" y="651371"/>
                  <a:pt x="1109121" y="649375"/>
                </a:cubicBezTo>
                <a:cubicBezTo>
                  <a:pt x="1109121" y="647379"/>
                  <a:pt x="1101141" y="643388"/>
                  <a:pt x="1097151" y="643388"/>
                </a:cubicBezTo>
                <a:cubicBezTo>
                  <a:pt x="1095156" y="641392"/>
                  <a:pt x="1089171" y="637400"/>
                  <a:pt x="1085181" y="631413"/>
                </a:cubicBezTo>
                <a:cubicBezTo>
                  <a:pt x="1081191" y="625426"/>
                  <a:pt x="1083186" y="619438"/>
                  <a:pt x="1083186" y="615447"/>
                </a:cubicBezTo>
                <a:cubicBezTo>
                  <a:pt x="1083186" y="611455"/>
                  <a:pt x="1079196" y="611455"/>
                  <a:pt x="1077201" y="611455"/>
                </a:cubicBezTo>
                <a:cubicBezTo>
                  <a:pt x="1073210" y="611455"/>
                  <a:pt x="1073210" y="615447"/>
                  <a:pt x="1073210" y="615447"/>
                </a:cubicBezTo>
                <a:cubicBezTo>
                  <a:pt x="1073210" y="615447"/>
                  <a:pt x="1069220" y="613451"/>
                  <a:pt x="1069220" y="611455"/>
                </a:cubicBezTo>
                <a:cubicBezTo>
                  <a:pt x="1067225" y="611455"/>
                  <a:pt x="1061240" y="613451"/>
                  <a:pt x="1057250" y="611455"/>
                </a:cubicBezTo>
                <a:cubicBezTo>
                  <a:pt x="1053260" y="609459"/>
                  <a:pt x="1049270" y="605468"/>
                  <a:pt x="1049270" y="605468"/>
                </a:cubicBezTo>
                <a:cubicBezTo>
                  <a:pt x="1049270" y="605468"/>
                  <a:pt x="1047275" y="599480"/>
                  <a:pt x="1047275" y="593493"/>
                </a:cubicBezTo>
                <a:cubicBezTo>
                  <a:pt x="1045280" y="589502"/>
                  <a:pt x="1047275" y="587506"/>
                  <a:pt x="1049270" y="587506"/>
                </a:cubicBezTo>
                <a:cubicBezTo>
                  <a:pt x="1051265" y="587506"/>
                  <a:pt x="1051265" y="583514"/>
                  <a:pt x="1049270" y="579523"/>
                </a:cubicBezTo>
                <a:cubicBezTo>
                  <a:pt x="1045280" y="573535"/>
                  <a:pt x="1047275" y="561561"/>
                  <a:pt x="1047275" y="557569"/>
                </a:cubicBezTo>
                <a:cubicBezTo>
                  <a:pt x="1043285" y="553578"/>
                  <a:pt x="1041290" y="551582"/>
                  <a:pt x="1037300" y="553578"/>
                </a:cubicBezTo>
                <a:cubicBezTo>
                  <a:pt x="1031315" y="553578"/>
                  <a:pt x="1031315" y="549586"/>
                  <a:pt x="1031315" y="549586"/>
                </a:cubicBezTo>
                <a:cubicBezTo>
                  <a:pt x="1031315" y="549586"/>
                  <a:pt x="1029319" y="537611"/>
                  <a:pt x="1033310" y="531624"/>
                </a:cubicBezTo>
                <a:cubicBezTo>
                  <a:pt x="1037300" y="525637"/>
                  <a:pt x="1049270" y="523641"/>
                  <a:pt x="1049270" y="523641"/>
                </a:cubicBezTo>
                <a:cubicBezTo>
                  <a:pt x="1049270" y="523641"/>
                  <a:pt x="1055255" y="521645"/>
                  <a:pt x="1061240" y="513662"/>
                </a:cubicBezTo>
                <a:cubicBezTo>
                  <a:pt x="1069220" y="507675"/>
                  <a:pt x="1069220" y="481730"/>
                  <a:pt x="1069220" y="479734"/>
                </a:cubicBezTo>
                <a:cubicBezTo>
                  <a:pt x="1069220" y="477738"/>
                  <a:pt x="1069220" y="471751"/>
                  <a:pt x="1073210" y="467759"/>
                </a:cubicBezTo>
                <a:cubicBezTo>
                  <a:pt x="1073210" y="465764"/>
                  <a:pt x="1077201" y="457781"/>
                  <a:pt x="1077201" y="453789"/>
                </a:cubicBezTo>
                <a:cubicBezTo>
                  <a:pt x="1077201" y="451793"/>
                  <a:pt x="1077201" y="449797"/>
                  <a:pt x="1079196" y="447802"/>
                </a:cubicBezTo>
                <a:cubicBezTo>
                  <a:pt x="1081191" y="447802"/>
                  <a:pt x="1087176" y="449797"/>
                  <a:pt x="1087176" y="451793"/>
                </a:cubicBezTo>
                <a:cubicBezTo>
                  <a:pt x="1087176" y="451793"/>
                  <a:pt x="1089171" y="453789"/>
                  <a:pt x="1089171" y="453789"/>
                </a:cubicBezTo>
                <a:cubicBezTo>
                  <a:pt x="1089171" y="453789"/>
                  <a:pt x="1089171" y="453789"/>
                  <a:pt x="1105131" y="451793"/>
                </a:cubicBezTo>
                <a:cubicBezTo>
                  <a:pt x="1105131" y="451793"/>
                  <a:pt x="1105131" y="451793"/>
                  <a:pt x="1129072" y="447802"/>
                </a:cubicBezTo>
                <a:cubicBezTo>
                  <a:pt x="1129072" y="447802"/>
                  <a:pt x="1139047" y="447802"/>
                  <a:pt x="1141042" y="449797"/>
                </a:cubicBezTo>
                <a:cubicBezTo>
                  <a:pt x="1141042" y="451793"/>
                  <a:pt x="1145032" y="449797"/>
                  <a:pt x="1145032" y="449797"/>
                </a:cubicBezTo>
                <a:cubicBezTo>
                  <a:pt x="1145032" y="449797"/>
                  <a:pt x="1147027" y="449797"/>
                  <a:pt x="1153012" y="451793"/>
                </a:cubicBezTo>
                <a:cubicBezTo>
                  <a:pt x="1157002" y="453789"/>
                  <a:pt x="1157002" y="455785"/>
                  <a:pt x="1157002" y="457781"/>
                </a:cubicBezTo>
                <a:cubicBezTo>
                  <a:pt x="1155007" y="461772"/>
                  <a:pt x="1157002" y="469755"/>
                  <a:pt x="1158997" y="471751"/>
                </a:cubicBezTo>
                <a:cubicBezTo>
                  <a:pt x="1160992" y="473747"/>
                  <a:pt x="1160992" y="477738"/>
                  <a:pt x="1160992" y="481730"/>
                </a:cubicBezTo>
                <a:cubicBezTo>
                  <a:pt x="1160992" y="483726"/>
                  <a:pt x="1158997" y="487717"/>
                  <a:pt x="1158997" y="487717"/>
                </a:cubicBezTo>
                <a:cubicBezTo>
                  <a:pt x="1158997" y="487717"/>
                  <a:pt x="1157002" y="493704"/>
                  <a:pt x="1155007" y="495700"/>
                </a:cubicBezTo>
                <a:cubicBezTo>
                  <a:pt x="1153012" y="495700"/>
                  <a:pt x="1153012" y="503683"/>
                  <a:pt x="1153012" y="503683"/>
                </a:cubicBezTo>
                <a:cubicBezTo>
                  <a:pt x="1153012" y="503683"/>
                  <a:pt x="1153012" y="503683"/>
                  <a:pt x="1149022" y="515658"/>
                </a:cubicBezTo>
                <a:cubicBezTo>
                  <a:pt x="1149022" y="515658"/>
                  <a:pt x="1149022" y="515658"/>
                  <a:pt x="1153012" y="523641"/>
                </a:cubicBezTo>
                <a:cubicBezTo>
                  <a:pt x="1153012" y="523641"/>
                  <a:pt x="1160992" y="533620"/>
                  <a:pt x="1162987" y="535616"/>
                </a:cubicBezTo>
                <a:cubicBezTo>
                  <a:pt x="1164983" y="537611"/>
                  <a:pt x="1166978" y="537611"/>
                  <a:pt x="1168973" y="535616"/>
                </a:cubicBezTo>
                <a:cubicBezTo>
                  <a:pt x="1172963" y="535616"/>
                  <a:pt x="1174958" y="541603"/>
                  <a:pt x="1174958" y="543599"/>
                </a:cubicBezTo>
                <a:cubicBezTo>
                  <a:pt x="1172963" y="547590"/>
                  <a:pt x="1176953" y="555573"/>
                  <a:pt x="1176953" y="555573"/>
                </a:cubicBezTo>
                <a:cubicBezTo>
                  <a:pt x="1176953" y="555573"/>
                  <a:pt x="1180943" y="567548"/>
                  <a:pt x="1178948" y="569544"/>
                </a:cubicBezTo>
                <a:cubicBezTo>
                  <a:pt x="1174958" y="571540"/>
                  <a:pt x="1178948" y="575531"/>
                  <a:pt x="1178948" y="575531"/>
                </a:cubicBezTo>
                <a:cubicBezTo>
                  <a:pt x="1178948" y="575531"/>
                  <a:pt x="1182938" y="583514"/>
                  <a:pt x="1180943" y="587506"/>
                </a:cubicBezTo>
                <a:cubicBezTo>
                  <a:pt x="1178948" y="591497"/>
                  <a:pt x="1184933" y="597485"/>
                  <a:pt x="1184933" y="597485"/>
                </a:cubicBezTo>
                <a:cubicBezTo>
                  <a:pt x="1184933" y="597485"/>
                  <a:pt x="1188923" y="607463"/>
                  <a:pt x="1188923" y="611455"/>
                </a:cubicBezTo>
                <a:cubicBezTo>
                  <a:pt x="1186928" y="615447"/>
                  <a:pt x="1188923" y="631413"/>
                  <a:pt x="1190918" y="637400"/>
                </a:cubicBezTo>
                <a:cubicBezTo>
                  <a:pt x="1190918" y="641392"/>
                  <a:pt x="1192913" y="643388"/>
                  <a:pt x="1192913" y="643388"/>
                </a:cubicBezTo>
                <a:cubicBezTo>
                  <a:pt x="1192913" y="643388"/>
                  <a:pt x="1192913" y="643388"/>
                  <a:pt x="1196903" y="645383"/>
                </a:cubicBezTo>
                <a:cubicBezTo>
                  <a:pt x="1196903" y="645383"/>
                  <a:pt x="1196903" y="645383"/>
                  <a:pt x="1204883" y="651371"/>
                </a:cubicBezTo>
                <a:cubicBezTo>
                  <a:pt x="1204883" y="651371"/>
                  <a:pt x="1204883" y="651371"/>
                  <a:pt x="1208874" y="655362"/>
                </a:cubicBezTo>
                <a:cubicBezTo>
                  <a:pt x="1208874" y="655362"/>
                  <a:pt x="1208874" y="655362"/>
                  <a:pt x="1206878" y="661350"/>
                </a:cubicBezTo>
                <a:cubicBezTo>
                  <a:pt x="1206878" y="661350"/>
                  <a:pt x="1206878" y="669333"/>
                  <a:pt x="1206878" y="671328"/>
                </a:cubicBezTo>
                <a:cubicBezTo>
                  <a:pt x="1206878" y="675320"/>
                  <a:pt x="1208874" y="679311"/>
                  <a:pt x="1208874" y="679311"/>
                </a:cubicBezTo>
                <a:cubicBezTo>
                  <a:pt x="1208874" y="679311"/>
                  <a:pt x="1208874" y="689290"/>
                  <a:pt x="1206878" y="691286"/>
                </a:cubicBezTo>
                <a:cubicBezTo>
                  <a:pt x="1202888" y="693282"/>
                  <a:pt x="1198898" y="697273"/>
                  <a:pt x="1198898" y="697273"/>
                </a:cubicBezTo>
                <a:cubicBezTo>
                  <a:pt x="1198898" y="697273"/>
                  <a:pt x="1198898" y="703261"/>
                  <a:pt x="1196903" y="705257"/>
                </a:cubicBezTo>
                <a:cubicBezTo>
                  <a:pt x="1192913" y="709248"/>
                  <a:pt x="1194908" y="711244"/>
                  <a:pt x="1194908" y="711244"/>
                </a:cubicBezTo>
                <a:cubicBezTo>
                  <a:pt x="1194908" y="711244"/>
                  <a:pt x="1196903" y="717231"/>
                  <a:pt x="1194908" y="719227"/>
                </a:cubicBezTo>
                <a:cubicBezTo>
                  <a:pt x="1192913" y="721223"/>
                  <a:pt x="1190918" y="725214"/>
                  <a:pt x="1190918" y="727210"/>
                </a:cubicBezTo>
                <a:cubicBezTo>
                  <a:pt x="1190918" y="731202"/>
                  <a:pt x="1188923" y="733197"/>
                  <a:pt x="1184933" y="731202"/>
                </a:cubicBezTo>
                <a:cubicBezTo>
                  <a:pt x="1182938" y="731202"/>
                  <a:pt x="1182938" y="737189"/>
                  <a:pt x="1182938" y="741180"/>
                </a:cubicBezTo>
                <a:cubicBezTo>
                  <a:pt x="1182938" y="743176"/>
                  <a:pt x="1170968" y="745172"/>
                  <a:pt x="1170968" y="745172"/>
                </a:cubicBezTo>
                <a:cubicBezTo>
                  <a:pt x="1170968" y="745172"/>
                  <a:pt x="1162987" y="749164"/>
                  <a:pt x="1160992" y="747168"/>
                </a:cubicBezTo>
                <a:cubicBezTo>
                  <a:pt x="1157002" y="743176"/>
                  <a:pt x="1160992" y="741180"/>
                  <a:pt x="1158997" y="739185"/>
                </a:cubicBezTo>
                <a:cubicBezTo>
                  <a:pt x="1157002" y="739185"/>
                  <a:pt x="1153012" y="737189"/>
                  <a:pt x="1153012" y="737189"/>
                </a:cubicBezTo>
                <a:cubicBezTo>
                  <a:pt x="1153012" y="737189"/>
                  <a:pt x="1149022" y="733197"/>
                  <a:pt x="1145032" y="733197"/>
                </a:cubicBezTo>
                <a:cubicBezTo>
                  <a:pt x="1141042" y="733197"/>
                  <a:pt x="1145032" y="737189"/>
                  <a:pt x="1147027" y="741180"/>
                </a:cubicBezTo>
                <a:cubicBezTo>
                  <a:pt x="1149022" y="743176"/>
                  <a:pt x="1149022" y="749164"/>
                  <a:pt x="1145032" y="749164"/>
                </a:cubicBezTo>
                <a:cubicBezTo>
                  <a:pt x="1139047" y="749164"/>
                  <a:pt x="1137052" y="741180"/>
                  <a:pt x="1137052" y="741180"/>
                </a:cubicBezTo>
                <a:cubicBezTo>
                  <a:pt x="1137052" y="741180"/>
                  <a:pt x="1135057" y="733197"/>
                  <a:pt x="1131067" y="731202"/>
                </a:cubicBezTo>
                <a:cubicBezTo>
                  <a:pt x="1127077" y="727210"/>
                  <a:pt x="1119097" y="731202"/>
                  <a:pt x="1119097" y="731202"/>
                </a:cubicBezTo>
                <a:cubicBezTo>
                  <a:pt x="1119097" y="731202"/>
                  <a:pt x="1107126" y="735193"/>
                  <a:pt x="1111116" y="739185"/>
                </a:cubicBezTo>
                <a:cubicBezTo>
                  <a:pt x="1113111" y="743176"/>
                  <a:pt x="1119097" y="739185"/>
                  <a:pt x="1119097" y="739185"/>
                </a:cubicBezTo>
                <a:cubicBezTo>
                  <a:pt x="1119097" y="739185"/>
                  <a:pt x="1123087" y="735193"/>
                  <a:pt x="1127077" y="733197"/>
                </a:cubicBezTo>
                <a:cubicBezTo>
                  <a:pt x="1131067" y="733197"/>
                  <a:pt x="1131067" y="739185"/>
                  <a:pt x="1131067" y="741180"/>
                </a:cubicBezTo>
                <a:cubicBezTo>
                  <a:pt x="1131067" y="743176"/>
                  <a:pt x="1131067" y="747168"/>
                  <a:pt x="1137052" y="749164"/>
                </a:cubicBezTo>
                <a:cubicBezTo>
                  <a:pt x="1141042" y="753155"/>
                  <a:pt x="1157002" y="753155"/>
                  <a:pt x="1157002" y="753155"/>
                </a:cubicBezTo>
                <a:cubicBezTo>
                  <a:pt x="1157002" y="753155"/>
                  <a:pt x="1166978" y="753155"/>
                  <a:pt x="1174958" y="751159"/>
                </a:cubicBezTo>
                <a:cubicBezTo>
                  <a:pt x="1182938" y="749164"/>
                  <a:pt x="1186928" y="755151"/>
                  <a:pt x="1190918" y="757147"/>
                </a:cubicBezTo>
                <a:cubicBezTo>
                  <a:pt x="1194908" y="761138"/>
                  <a:pt x="1196903" y="759142"/>
                  <a:pt x="1200893" y="759142"/>
                </a:cubicBezTo>
                <a:cubicBezTo>
                  <a:pt x="1202888" y="759142"/>
                  <a:pt x="1202888" y="753155"/>
                  <a:pt x="1202888" y="749164"/>
                </a:cubicBezTo>
                <a:cubicBezTo>
                  <a:pt x="1202888" y="743176"/>
                  <a:pt x="1206878" y="743176"/>
                  <a:pt x="1206878" y="743176"/>
                </a:cubicBezTo>
                <a:cubicBezTo>
                  <a:pt x="1206878" y="743176"/>
                  <a:pt x="1212864" y="741180"/>
                  <a:pt x="1214859" y="739185"/>
                </a:cubicBezTo>
                <a:cubicBezTo>
                  <a:pt x="1214859" y="735193"/>
                  <a:pt x="1220844" y="731202"/>
                  <a:pt x="1220844" y="731202"/>
                </a:cubicBezTo>
                <a:cubicBezTo>
                  <a:pt x="1220844" y="731202"/>
                  <a:pt x="1228824" y="727210"/>
                  <a:pt x="1230819" y="727210"/>
                </a:cubicBezTo>
                <a:cubicBezTo>
                  <a:pt x="1232814" y="725214"/>
                  <a:pt x="1232814" y="719227"/>
                  <a:pt x="1232814" y="715235"/>
                </a:cubicBezTo>
                <a:cubicBezTo>
                  <a:pt x="1232814" y="713240"/>
                  <a:pt x="1236804" y="701265"/>
                  <a:pt x="1238799" y="699269"/>
                </a:cubicBezTo>
                <a:cubicBezTo>
                  <a:pt x="1242789" y="697273"/>
                  <a:pt x="1246779" y="685299"/>
                  <a:pt x="1246779" y="683303"/>
                </a:cubicBezTo>
                <a:cubicBezTo>
                  <a:pt x="1248774" y="679311"/>
                  <a:pt x="1244784" y="679311"/>
                  <a:pt x="1244784" y="675320"/>
                </a:cubicBezTo>
                <a:cubicBezTo>
                  <a:pt x="1244784" y="671328"/>
                  <a:pt x="1240794" y="667337"/>
                  <a:pt x="1238799" y="665341"/>
                </a:cubicBezTo>
                <a:cubicBezTo>
                  <a:pt x="1234809" y="663345"/>
                  <a:pt x="1232814" y="659354"/>
                  <a:pt x="1232814" y="657358"/>
                </a:cubicBezTo>
                <a:cubicBezTo>
                  <a:pt x="1234809" y="655362"/>
                  <a:pt x="1234809" y="653366"/>
                  <a:pt x="1234809" y="649375"/>
                </a:cubicBezTo>
                <a:cubicBezTo>
                  <a:pt x="1234809" y="645383"/>
                  <a:pt x="1238799" y="643388"/>
                  <a:pt x="1242789" y="643388"/>
                </a:cubicBezTo>
                <a:cubicBezTo>
                  <a:pt x="1244784" y="641392"/>
                  <a:pt x="1248774" y="639396"/>
                  <a:pt x="1252764" y="637400"/>
                </a:cubicBezTo>
                <a:cubicBezTo>
                  <a:pt x="1256755" y="635404"/>
                  <a:pt x="1270720" y="631413"/>
                  <a:pt x="1278700" y="633409"/>
                </a:cubicBezTo>
                <a:cubicBezTo>
                  <a:pt x="1284685" y="635404"/>
                  <a:pt x="1284685" y="643388"/>
                  <a:pt x="1284685" y="645383"/>
                </a:cubicBezTo>
                <a:cubicBezTo>
                  <a:pt x="1284685" y="649375"/>
                  <a:pt x="1288675" y="651371"/>
                  <a:pt x="1288675" y="651371"/>
                </a:cubicBezTo>
                <a:cubicBezTo>
                  <a:pt x="1288675" y="651371"/>
                  <a:pt x="1294660" y="655362"/>
                  <a:pt x="1296655" y="655362"/>
                </a:cubicBezTo>
                <a:cubicBezTo>
                  <a:pt x="1298651" y="655362"/>
                  <a:pt x="1300646" y="659354"/>
                  <a:pt x="1300646" y="659354"/>
                </a:cubicBezTo>
                <a:cubicBezTo>
                  <a:pt x="1300646" y="659354"/>
                  <a:pt x="1300646" y="659354"/>
                  <a:pt x="1300646" y="667337"/>
                </a:cubicBezTo>
                <a:cubicBezTo>
                  <a:pt x="1300646" y="667337"/>
                  <a:pt x="1304636" y="683303"/>
                  <a:pt x="1304636" y="687295"/>
                </a:cubicBezTo>
                <a:cubicBezTo>
                  <a:pt x="1304636" y="691286"/>
                  <a:pt x="1306631" y="693282"/>
                  <a:pt x="1308626" y="693282"/>
                </a:cubicBezTo>
                <a:cubicBezTo>
                  <a:pt x="1310621" y="693282"/>
                  <a:pt x="1314611" y="697273"/>
                  <a:pt x="1314611" y="697273"/>
                </a:cubicBezTo>
                <a:cubicBezTo>
                  <a:pt x="1314611" y="697273"/>
                  <a:pt x="1314611" y="697273"/>
                  <a:pt x="1316606" y="699269"/>
                </a:cubicBezTo>
                <a:cubicBezTo>
                  <a:pt x="1316606" y="699269"/>
                  <a:pt x="1316606" y="699269"/>
                  <a:pt x="1318601" y="699269"/>
                </a:cubicBezTo>
                <a:cubicBezTo>
                  <a:pt x="1318601" y="699269"/>
                  <a:pt x="1318601" y="699269"/>
                  <a:pt x="1326581" y="699269"/>
                </a:cubicBezTo>
                <a:cubicBezTo>
                  <a:pt x="1326581" y="699269"/>
                  <a:pt x="1332566" y="701265"/>
                  <a:pt x="1338551" y="701265"/>
                </a:cubicBezTo>
                <a:cubicBezTo>
                  <a:pt x="1346532" y="701265"/>
                  <a:pt x="1344537" y="703261"/>
                  <a:pt x="1348527" y="701265"/>
                </a:cubicBezTo>
                <a:cubicBezTo>
                  <a:pt x="1350522" y="701265"/>
                  <a:pt x="1348527" y="695278"/>
                  <a:pt x="1346532" y="693282"/>
                </a:cubicBezTo>
                <a:cubicBezTo>
                  <a:pt x="1346532" y="693282"/>
                  <a:pt x="1342541" y="691286"/>
                  <a:pt x="1340546" y="693282"/>
                </a:cubicBezTo>
                <a:cubicBezTo>
                  <a:pt x="1340546" y="693282"/>
                  <a:pt x="1338551" y="695278"/>
                  <a:pt x="1336556" y="693282"/>
                </a:cubicBezTo>
                <a:cubicBezTo>
                  <a:pt x="1334561" y="693282"/>
                  <a:pt x="1328576" y="691286"/>
                  <a:pt x="1324586" y="691286"/>
                </a:cubicBezTo>
                <a:cubicBezTo>
                  <a:pt x="1318601" y="693282"/>
                  <a:pt x="1318601" y="691286"/>
                  <a:pt x="1318601" y="691286"/>
                </a:cubicBezTo>
                <a:cubicBezTo>
                  <a:pt x="1318601" y="691286"/>
                  <a:pt x="1318601" y="687295"/>
                  <a:pt x="1314611" y="687295"/>
                </a:cubicBezTo>
                <a:cubicBezTo>
                  <a:pt x="1310621" y="687295"/>
                  <a:pt x="1310621" y="681307"/>
                  <a:pt x="1310621" y="681307"/>
                </a:cubicBezTo>
                <a:cubicBezTo>
                  <a:pt x="1310621" y="681307"/>
                  <a:pt x="1312616" y="679311"/>
                  <a:pt x="1308626" y="677316"/>
                </a:cubicBezTo>
                <a:cubicBezTo>
                  <a:pt x="1308626" y="677316"/>
                  <a:pt x="1308626" y="673324"/>
                  <a:pt x="1308626" y="669333"/>
                </a:cubicBezTo>
                <a:cubicBezTo>
                  <a:pt x="1310621" y="665341"/>
                  <a:pt x="1314611" y="667337"/>
                  <a:pt x="1314611" y="667337"/>
                </a:cubicBezTo>
                <a:cubicBezTo>
                  <a:pt x="1314611" y="667337"/>
                  <a:pt x="1318601" y="669333"/>
                  <a:pt x="1318601" y="667337"/>
                </a:cubicBezTo>
                <a:cubicBezTo>
                  <a:pt x="1322591" y="665341"/>
                  <a:pt x="1318601" y="657358"/>
                  <a:pt x="1318601" y="657358"/>
                </a:cubicBezTo>
                <a:cubicBezTo>
                  <a:pt x="1316606" y="657358"/>
                  <a:pt x="1312616" y="651371"/>
                  <a:pt x="1312616" y="647379"/>
                </a:cubicBezTo>
                <a:cubicBezTo>
                  <a:pt x="1310621" y="643388"/>
                  <a:pt x="1302641" y="637400"/>
                  <a:pt x="1296655" y="637400"/>
                </a:cubicBezTo>
                <a:cubicBezTo>
                  <a:pt x="1292665" y="635404"/>
                  <a:pt x="1288675" y="631413"/>
                  <a:pt x="1288675" y="631413"/>
                </a:cubicBezTo>
                <a:cubicBezTo>
                  <a:pt x="1288675" y="629417"/>
                  <a:pt x="1286680" y="625426"/>
                  <a:pt x="1284685" y="625426"/>
                </a:cubicBezTo>
                <a:cubicBezTo>
                  <a:pt x="1282690" y="625426"/>
                  <a:pt x="1278700" y="625426"/>
                  <a:pt x="1276705" y="621434"/>
                </a:cubicBezTo>
                <a:cubicBezTo>
                  <a:pt x="1274710" y="619438"/>
                  <a:pt x="1264735" y="617443"/>
                  <a:pt x="1258750" y="617443"/>
                </a:cubicBezTo>
                <a:cubicBezTo>
                  <a:pt x="1254760" y="615447"/>
                  <a:pt x="1250769" y="619438"/>
                  <a:pt x="1248774" y="623430"/>
                </a:cubicBezTo>
                <a:cubicBezTo>
                  <a:pt x="1244784" y="629417"/>
                  <a:pt x="1238799" y="627421"/>
                  <a:pt x="1236804" y="625426"/>
                </a:cubicBezTo>
                <a:cubicBezTo>
                  <a:pt x="1232814" y="623430"/>
                  <a:pt x="1226829" y="625426"/>
                  <a:pt x="1226829" y="625426"/>
                </a:cubicBezTo>
                <a:cubicBezTo>
                  <a:pt x="1226829" y="625426"/>
                  <a:pt x="1220844" y="627421"/>
                  <a:pt x="1214859" y="627421"/>
                </a:cubicBezTo>
                <a:cubicBezTo>
                  <a:pt x="1208874" y="625426"/>
                  <a:pt x="1212864" y="619438"/>
                  <a:pt x="1212864" y="615447"/>
                </a:cubicBezTo>
                <a:cubicBezTo>
                  <a:pt x="1210869" y="609459"/>
                  <a:pt x="1206878" y="607463"/>
                  <a:pt x="1202888" y="603472"/>
                </a:cubicBezTo>
                <a:cubicBezTo>
                  <a:pt x="1198898" y="599480"/>
                  <a:pt x="1202888" y="595489"/>
                  <a:pt x="1202888" y="593493"/>
                </a:cubicBezTo>
                <a:cubicBezTo>
                  <a:pt x="1202888" y="591497"/>
                  <a:pt x="1204883" y="587506"/>
                  <a:pt x="1204883" y="587506"/>
                </a:cubicBezTo>
                <a:cubicBezTo>
                  <a:pt x="1204883" y="587506"/>
                  <a:pt x="1204883" y="583514"/>
                  <a:pt x="1202888" y="577527"/>
                </a:cubicBezTo>
                <a:cubicBezTo>
                  <a:pt x="1202888" y="573535"/>
                  <a:pt x="1208874" y="567548"/>
                  <a:pt x="1208874" y="567548"/>
                </a:cubicBezTo>
                <a:cubicBezTo>
                  <a:pt x="1208874" y="567548"/>
                  <a:pt x="1208874" y="561561"/>
                  <a:pt x="1208874" y="557569"/>
                </a:cubicBezTo>
                <a:cubicBezTo>
                  <a:pt x="1208874" y="553578"/>
                  <a:pt x="1200893" y="545595"/>
                  <a:pt x="1196903" y="543599"/>
                </a:cubicBezTo>
                <a:cubicBezTo>
                  <a:pt x="1192913" y="541603"/>
                  <a:pt x="1190918" y="539607"/>
                  <a:pt x="1190918" y="537611"/>
                </a:cubicBezTo>
                <a:cubicBezTo>
                  <a:pt x="1188923" y="533620"/>
                  <a:pt x="1184933" y="531624"/>
                  <a:pt x="1180943" y="529628"/>
                </a:cubicBezTo>
                <a:cubicBezTo>
                  <a:pt x="1178948" y="529628"/>
                  <a:pt x="1178948" y="527633"/>
                  <a:pt x="1174958" y="523641"/>
                </a:cubicBezTo>
                <a:cubicBezTo>
                  <a:pt x="1172963" y="519649"/>
                  <a:pt x="1178948" y="519649"/>
                  <a:pt x="1178948" y="519649"/>
                </a:cubicBezTo>
                <a:cubicBezTo>
                  <a:pt x="1178948" y="519649"/>
                  <a:pt x="1184933" y="513662"/>
                  <a:pt x="1182938" y="507675"/>
                </a:cubicBezTo>
                <a:cubicBezTo>
                  <a:pt x="1182938" y="503683"/>
                  <a:pt x="1190918" y="501688"/>
                  <a:pt x="1190918" y="501688"/>
                </a:cubicBezTo>
                <a:cubicBezTo>
                  <a:pt x="1190918" y="501688"/>
                  <a:pt x="1192913" y="499692"/>
                  <a:pt x="1200893" y="497696"/>
                </a:cubicBezTo>
                <a:cubicBezTo>
                  <a:pt x="1208874" y="493704"/>
                  <a:pt x="1210869" y="485721"/>
                  <a:pt x="1210869" y="485721"/>
                </a:cubicBezTo>
                <a:cubicBezTo>
                  <a:pt x="1210869" y="485721"/>
                  <a:pt x="1210869" y="479734"/>
                  <a:pt x="1210869" y="475742"/>
                </a:cubicBezTo>
                <a:cubicBezTo>
                  <a:pt x="1210869" y="471751"/>
                  <a:pt x="1208874" y="461772"/>
                  <a:pt x="1206878" y="457781"/>
                </a:cubicBezTo>
                <a:cubicBezTo>
                  <a:pt x="1204883" y="453789"/>
                  <a:pt x="1198898" y="451793"/>
                  <a:pt x="1194908" y="449797"/>
                </a:cubicBezTo>
                <a:cubicBezTo>
                  <a:pt x="1188923" y="449797"/>
                  <a:pt x="1188923" y="447802"/>
                  <a:pt x="1188923" y="443810"/>
                </a:cubicBezTo>
                <a:cubicBezTo>
                  <a:pt x="1188923" y="439819"/>
                  <a:pt x="1192913" y="439819"/>
                  <a:pt x="1198898" y="439819"/>
                </a:cubicBezTo>
                <a:cubicBezTo>
                  <a:pt x="1202888" y="439819"/>
                  <a:pt x="1202888" y="441814"/>
                  <a:pt x="1200893" y="441814"/>
                </a:cubicBezTo>
                <a:cubicBezTo>
                  <a:pt x="1198898" y="443810"/>
                  <a:pt x="1198898" y="443810"/>
                  <a:pt x="1200893" y="445806"/>
                </a:cubicBezTo>
                <a:cubicBezTo>
                  <a:pt x="1202888" y="447802"/>
                  <a:pt x="1202888" y="447802"/>
                  <a:pt x="1206878" y="447802"/>
                </a:cubicBezTo>
                <a:cubicBezTo>
                  <a:pt x="1210869" y="447802"/>
                  <a:pt x="1212864" y="451793"/>
                  <a:pt x="1214859" y="451793"/>
                </a:cubicBezTo>
                <a:cubicBezTo>
                  <a:pt x="1216854" y="451793"/>
                  <a:pt x="1218849" y="453789"/>
                  <a:pt x="1216854" y="455785"/>
                </a:cubicBezTo>
                <a:cubicBezTo>
                  <a:pt x="1214859" y="459776"/>
                  <a:pt x="1216854" y="461772"/>
                  <a:pt x="1218849" y="461772"/>
                </a:cubicBezTo>
                <a:cubicBezTo>
                  <a:pt x="1220844" y="463768"/>
                  <a:pt x="1218849" y="467759"/>
                  <a:pt x="1218849" y="473747"/>
                </a:cubicBezTo>
                <a:cubicBezTo>
                  <a:pt x="1218849" y="479734"/>
                  <a:pt x="1220844" y="479734"/>
                  <a:pt x="1222839" y="481730"/>
                </a:cubicBezTo>
                <a:cubicBezTo>
                  <a:pt x="1224834" y="481730"/>
                  <a:pt x="1224834" y="491709"/>
                  <a:pt x="1222839" y="493704"/>
                </a:cubicBezTo>
                <a:cubicBezTo>
                  <a:pt x="1222839" y="497696"/>
                  <a:pt x="1220844" y="499692"/>
                  <a:pt x="1220844" y="501688"/>
                </a:cubicBezTo>
                <a:cubicBezTo>
                  <a:pt x="1222839" y="503683"/>
                  <a:pt x="1226829" y="507675"/>
                  <a:pt x="1226829" y="507675"/>
                </a:cubicBezTo>
                <a:cubicBezTo>
                  <a:pt x="1226829" y="507675"/>
                  <a:pt x="1228824" y="521645"/>
                  <a:pt x="1226829" y="521645"/>
                </a:cubicBezTo>
                <a:cubicBezTo>
                  <a:pt x="1224834" y="521645"/>
                  <a:pt x="1226829" y="523641"/>
                  <a:pt x="1226829" y="523641"/>
                </a:cubicBezTo>
                <a:cubicBezTo>
                  <a:pt x="1226829" y="523641"/>
                  <a:pt x="1230819" y="527633"/>
                  <a:pt x="1232814" y="527633"/>
                </a:cubicBezTo>
                <a:cubicBezTo>
                  <a:pt x="1236804" y="527633"/>
                  <a:pt x="1238799" y="531624"/>
                  <a:pt x="1238799" y="531624"/>
                </a:cubicBezTo>
                <a:cubicBezTo>
                  <a:pt x="1238799" y="531624"/>
                  <a:pt x="1238799" y="531624"/>
                  <a:pt x="1240794" y="531624"/>
                </a:cubicBezTo>
                <a:cubicBezTo>
                  <a:pt x="1244784" y="531624"/>
                  <a:pt x="1248774" y="531624"/>
                  <a:pt x="1250769" y="533620"/>
                </a:cubicBezTo>
                <a:cubicBezTo>
                  <a:pt x="1250769" y="535616"/>
                  <a:pt x="1254760" y="533620"/>
                  <a:pt x="1254760" y="533620"/>
                </a:cubicBezTo>
                <a:cubicBezTo>
                  <a:pt x="1254760" y="533620"/>
                  <a:pt x="1256755" y="533620"/>
                  <a:pt x="1258750" y="533620"/>
                </a:cubicBezTo>
                <a:cubicBezTo>
                  <a:pt x="1262740" y="533620"/>
                  <a:pt x="1268725" y="533620"/>
                  <a:pt x="1268725" y="533620"/>
                </a:cubicBezTo>
                <a:cubicBezTo>
                  <a:pt x="1268725" y="533620"/>
                  <a:pt x="1276705" y="537611"/>
                  <a:pt x="1276705" y="535616"/>
                </a:cubicBezTo>
                <a:cubicBezTo>
                  <a:pt x="1276705" y="533620"/>
                  <a:pt x="1280695" y="535616"/>
                  <a:pt x="1280695" y="535616"/>
                </a:cubicBezTo>
                <a:cubicBezTo>
                  <a:pt x="1280695" y="535616"/>
                  <a:pt x="1284685" y="537611"/>
                  <a:pt x="1288675" y="537611"/>
                </a:cubicBezTo>
                <a:cubicBezTo>
                  <a:pt x="1290670" y="537611"/>
                  <a:pt x="1288675" y="541603"/>
                  <a:pt x="1290670" y="543599"/>
                </a:cubicBezTo>
                <a:cubicBezTo>
                  <a:pt x="1292665" y="545595"/>
                  <a:pt x="1298651" y="545595"/>
                  <a:pt x="1300646" y="545595"/>
                </a:cubicBezTo>
                <a:cubicBezTo>
                  <a:pt x="1302641" y="545595"/>
                  <a:pt x="1304636" y="547590"/>
                  <a:pt x="1308626" y="547590"/>
                </a:cubicBezTo>
                <a:cubicBezTo>
                  <a:pt x="1312616" y="545595"/>
                  <a:pt x="1310621" y="541603"/>
                  <a:pt x="1306631" y="541603"/>
                </a:cubicBezTo>
                <a:cubicBezTo>
                  <a:pt x="1304636" y="543599"/>
                  <a:pt x="1300646" y="541603"/>
                  <a:pt x="1298651" y="541603"/>
                </a:cubicBezTo>
                <a:cubicBezTo>
                  <a:pt x="1296655" y="539607"/>
                  <a:pt x="1296655" y="535616"/>
                  <a:pt x="1296655" y="533620"/>
                </a:cubicBezTo>
                <a:cubicBezTo>
                  <a:pt x="1294660" y="529628"/>
                  <a:pt x="1286680" y="527633"/>
                  <a:pt x="1284685" y="527633"/>
                </a:cubicBezTo>
                <a:cubicBezTo>
                  <a:pt x="1280695" y="527633"/>
                  <a:pt x="1274710" y="527633"/>
                  <a:pt x="1272715" y="527633"/>
                </a:cubicBezTo>
                <a:cubicBezTo>
                  <a:pt x="1270720" y="525637"/>
                  <a:pt x="1266730" y="523641"/>
                  <a:pt x="1266730" y="523641"/>
                </a:cubicBezTo>
                <a:cubicBezTo>
                  <a:pt x="1266730" y="523641"/>
                  <a:pt x="1260745" y="523641"/>
                  <a:pt x="1258750" y="521645"/>
                </a:cubicBezTo>
                <a:cubicBezTo>
                  <a:pt x="1258750" y="521645"/>
                  <a:pt x="1252764" y="519649"/>
                  <a:pt x="1248774" y="517654"/>
                </a:cubicBezTo>
                <a:cubicBezTo>
                  <a:pt x="1244784" y="515658"/>
                  <a:pt x="1236804" y="505679"/>
                  <a:pt x="1236804" y="501688"/>
                </a:cubicBezTo>
                <a:cubicBezTo>
                  <a:pt x="1236804" y="497696"/>
                  <a:pt x="1240794" y="497696"/>
                  <a:pt x="1240794" y="497696"/>
                </a:cubicBezTo>
                <a:cubicBezTo>
                  <a:pt x="1240794" y="497696"/>
                  <a:pt x="1240794" y="497696"/>
                  <a:pt x="1242789" y="497696"/>
                </a:cubicBezTo>
                <a:cubicBezTo>
                  <a:pt x="1242789" y="497696"/>
                  <a:pt x="1246779" y="495700"/>
                  <a:pt x="1246779" y="493704"/>
                </a:cubicBezTo>
                <a:cubicBezTo>
                  <a:pt x="1246779" y="491709"/>
                  <a:pt x="1250769" y="489713"/>
                  <a:pt x="1252764" y="489713"/>
                </a:cubicBezTo>
                <a:cubicBezTo>
                  <a:pt x="1254760" y="491709"/>
                  <a:pt x="1252764" y="489713"/>
                  <a:pt x="1256755" y="489713"/>
                </a:cubicBezTo>
                <a:cubicBezTo>
                  <a:pt x="1258750" y="487717"/>
                  <a:pt x="1260745" y="489713"/>
                  <a:pt x="1260745" y="493704"/>
                </a:cubicBezTo>
                <a:cubicBezTo>
                  <a:pt x="1260745" y="497696"/>
                  <a:pt x="1264735" y="499692"/>
                  <a:pt x="1266730" y="499692"/>
                </a:cubicBezTo>
                <a:cubicBezTo>
                  <a:pt x="1270720" y="499692"/>
                  <a:pt x="1280695" y="511666"/>
                  <a:pt x="1284685" y="507675"/>
                </a:cubicBezTo>
                <a:cubicBezTo>
                  <a:pt x="1290670" y="501688"/>
                  <a:pt x="1288675" y="495700"/>
                  <a:pt x="1286680" y="493704"/>
                </a:cubicBezTo>
                <a:cubicBezTo>
                  <a:pt x="1284685" y="489713"/>
                  <a:pt x="1278700" y="491709"/>
                  <a:pt x="1274710" y="491709"/>
                </a:cubicBezTo>
                <a:cubicBezTo>
                  <a:pt x="1272715" y="493704"/>
                  <a:pt x="1270720" y="491709"/>
                  <a:pt x="1268725" y="489713"/>
                </a:cubicBezTo>
                <a:cubicBezTo>
                  <a:pt x="1266730" y="487717"/>
                  <a:pt x="1268725" y="485721"/>
                  <a:pt x="1272715" y="485721"/>
                </a:cubicBezTo>
                <a:cubicBezTo>
                  <a:pt x="1276705" y="485721"/>
                  <a:pt x="1278700" y="481730"/>
                  <a:pt x="1280695" y="479734"/>
                </a:cubicBezTo>
                <a:cubicBezTo>
                  <a:pt x="1282690" y="475742"/>
                  <a:pt x="1288675" y="475742"/>
                  <a:pt x="1288675" y="475742"/>
                </a:cubicBezTo>
                <a:cubicBezTo>
                  <a:pt x="1288675" y="475742"/>
                  <a:pt x="1288675" y="475742"/>
                  <a:pt x="1294660" y="473747"/>
                </a:cubicBezTo>
                <a:cubicBezTo>
                  <a:pt x="1294660" y="473747"/>
                  <a:pt x="1294660" y="473747"/>
                  <a:pt x="1314611" y="479734"/>
                </a:cubicBezTo>
                <a:cubicBezTo>
                  <a:pt x="1314611" y="479734"/>
                  <a:pt x="1328576" y="485721"/>
                  <a:pt x="1328576" y="485721"/>
                </a:cubicBezTo>
                <a:cubicBezTo>
                  <a:pt x="1328576" y="487717"/>
                  <a:pt x="1330571" y="489713"/>
                  <a:pt x="1336556" y="487717"/>
                </a:cubicBezTo>
                <a:cubicBezTo>
                  <a:pt x="1342541" y="487717"/>
                  <a:pt x="1344537" y="491709"/>
                  <a:pt x="1346532" y="497696"/>
                </a:cubicBezTo>
                <a:cubicBezTo>
                  <a:pt x="1346532" y="501688"/>
                  <a:pt x="1352517" y="503683"/>
                  <a:pt x="1352517" y="503683"/>
                </a:cubicBezTo>
                <a:cubicBezTo>
                  <a:pt x="1352517" y="503683"/>
                  <a:pt x="1352517" y="503683"/>
                  <a:pt x="1362492" y="509671"/>
                </a:cubicBezTo>
                <a:cubicBezTo>
                  <a:pt x="1362492" y="509671"/>
                  <a:pt x="1362492" y="509671"/>
                  <a:pt x="1370472" y="511666"/>
                </a:cubicBezTo>
                <a:cubicBezTo>
                  <a:pt x="1370472" y="511666"/>
                  <a:pt x="1376457" y="513662"/>
                  <a:pt x="1380447" y="511666"/>
                </a:cubicBezTo>
                <a:cubicBezTo>
                  <a:pt x="1384437" y="509671"/>
                  <a:pt x="1392418" y="511666"/>
                  <a:pt x="1392418" y="511666"/>
                </a:cubicBezTo>
                <a:cubicBezTo>
                  <a:pt x="1392418" y="511666"/>
                  <a:pt x="1398403" y="511666"/>
                  <a:pt x="1398403" y="515658"/>
                </a:cubicBezTo>
                <a:cubicBezTo>
                  <a:pt x="1398403" y="519649"/>
                  <a:pt x="1394413" y="523641"/>
                  <a:pt x="1394413" y="523641"/>
                </a:cubicBezTo>
                <a:cubicBezTo>
                  <a:pt x="1394413" y="523641"/>
                  <a:pt x="1392418" y="521645"/>
                  <a:pt x="1386432" y="527633"/>
                </a:cubicBezTo>
                <a:cubicBezTo>
                  <a:pt x="1380447" y="533620"/>
                  <a:pt x="1386432" y="537611"/>
                  <a:pt x="1386432" y="537611"/>
                </a:cubicBezTo>
                <a:cubicBezTo>
                  <a:pt x="1386432" y="537611"/>
                  <a:pt x="1390423" y="543599"/>
                  <a:pt x="1390423" y="545595"/>
                </a:cubicBezTo>
                <a:cubicBezTo>
                  <a:pt x="1388428" y="547590"/>
                  <a:pt x="1390423" y="553578"/>
                  <a:pt x="1390423" y="553578"/>
                </a:cubicBezTo>
                <a:cubicBezTo>
                  <a:pt x="1390423" y="553578"/>
                  <a:pt x="1386432" y="559565"/>
                  <a:pt x="1390423" y="563556"/>
                </a:cubicBezTo>
                <a:cubicBezTo>
                  <a:pt x="1392418" y="565552"/>
                  <a:pt x="1394413" y="561561"/>
                  <a:pt x="1394413" y="561561"/>
                </a:cubicBezTo>
                <a:cubicBezTo>
                  <a:pt x="1394413" y="561561"/>
                  <a:pt x="1394413" y="561561"/>
                  <a:pt x="1400398" y="549586"/>
                </a:cubicBezTo>
                <a:cubicBezTo>
                  <a:pt x="1400398" y="549586"/>
                  <a:pt x="1398403" y="545595"/>
                  <a:pt x="1404388" y="545595"/>
                </a:cubicBezTo>
                <a:cubicBezTo>
                  <a:pt x="1410373" y="545595"/>
                  <a:pt x="1410373" y="551582"/>
                  <a:pt x="1408378" y="555573"/>
                </a:cubicBezTo>
                <a:cubicBezTo>
                  <a:pt x="1406383" y="557569"/>
                  <a:pt x="1406383" y="561561"/>
                  <a:pt x="1406383" y="561561"/>
                </a:cubicBezTo>
                <a:cubicBezTo>
                  <a:pt x="1406383" y="561561"/>
                  <a:pt x="1408378" y="571540"/>
                  <a:pt x="1406383" y="571540"/>
                </a:cubicBezTo>
                <a:cubicBezTo>
                  <a:pt x="1404388" y="571540"/>
                  <a:pt x="1404388" y="573535"/>
                  <a:pt x="1404388" y="577527"/>
                </a:cubicBezTo>
                <a:cubicBezTo>
                  <a:pt x="1404388" y="581518"/>
                  <a:pt x="1410373" y="579523"/>
                  <a:pt x="1410373" y="579523"/>
                </a:cubicBezTo>
                <a:cubicBezTo>
                  <a:pt x="1410373" y="579523"/>
                  <a:pt x="1410373" y="579523"/>
                  <a:pt x="1412368" y="581518"/>
                </a:cubicBezTo>
                <a:cubicBezTo>
                  <a:pt x="1412368" y="581518"/>
                  <a:pt x="1416358" y="587506"/>
                  <a:pt x="1420348" y="589502"/>
                </a:cubicBezTo>
                <a:cubicBezTo>
                  <a:pt x="1424338" y="591497"/>
                  <a:pt x="1426333" y="595489"/>
                  <a:pt x="1426333" y="599480"/>
                </a:cubicBezTo>
                <a:cubicBezTo>
                  <a:pt x="1426333" y="603472"/>
                  <a:pt x="1430323" y="605468"/>
                  <a:pt x="1430323" y="605468"/>
                </a:cubicBezTo>
                <a:cubicBezTo>
                  <a:pt x="1432319" y="605468"/>
                  <a:pt x="1438304" y="607463"/>
                  <a:pt x="1442294" y="607463"/>
                </a:cubicBezTo>
                <a:cubicBezTo>
                  <a:pt x="1444289" y="607463"/>
                  <a:pt x="1446284" y="609459"/>
                  <a:pt x="1448279" y="613451"/>
                </a:cubicBezTo>
                <a:cubicBezTo>
                  <a:pt x="1452269" y="615447"/>
                  <a:pt x="1456259" y="613451"/>
                  <a:pt x="1456259" y="609459"/>
                </a:cubicBezTo>
                <a:cubicBezTo>
                  <a:pt x="1458254" y="605468"/>
                  <a:pt x="1454264" y="603472"/>
                  <a:pt x="1450274" y="605468"/>
                </a:cubicBezTo>
                <a:cubicBezTo>
                  <a:pt x="1446284" y="605468"/>
                  <a:pt x="1440299" y="601476"/>
                  <a:pt x="1440299" y="601476"/>
                </a:cubicBezTo>
                <a:cubicBezTo>
                  <a:pt x="1440299" y="601476"/>
                  <a:pt x="1434314" y="597485"/>
                  <a:pt x="1432319" y="595489"/>
                </a:cubicBezTo>
                <a:cubicBezTo>
                  <a:pt x="1428328" y="593493"/>
                  <a:pt x="1426333" y="589502"/>
                  <a:pt x="1424338" y="587506"/>
                </a:cubicBezTo>
                <a:cubicBezTo>
                  <a:pt x="1424338" y="585510"/>
                  <a:pt x="1420348" y="583514"/>
                  <a:pt x="1418353" y="581518"/>
                </a:cubicBezTo>
                <a:cubicBezTo>
                  <a:pt x="1416358" y="581518"/>
                  <a:pt x="1414363" y="577527"/>
                  <a:pt x="1414363" y="575531"/>
                </a:cubicBezTo>
                <a:cubicBezTo>
                  <a:pt x="1414363" y="571540"/>
                  <a:pt x="1420348" y="573535"/>
                  <a:pt x="1424338" y="573535"/>
                </a:cubicBezTo>
                <a:cubicBezTo>
                  <a:pt x="1428328" y="573535"/>
                  <a:pt x="1428328" y="567548"/>
                  <a:pt x="1428328" y="567548"/>
                </a:cubicBezTo>
                <a:cubicBezTo>
                  <a:pt x="1428328" y="567548"/>
                  <a:pt x="1428328" y="559565"/>
                  <a:pt x="1424338" y="557569"/>
                </a:cubicBezTo>
                <a:cubicBezTo>
                  <a:pt x="1420348" y="557569"/>
                  <a:pt x="1420348" y="553578"/>
                  <a:pt x="1420348" y="549586"/>
                </a:cubicBezTo>
                <a:cubicBezTo>
                  <a:pt x="1420348" y="547590"/>
                  <a:pt x="1418353" y="545595"/>
                  <a:pt x="1412368" y="543599"/>
                </a:cubicBezTo>
                <a:cubicBezTo>
                  <a:pt x="1408378" y="539607"/>
                  <a:pt x="1408378" y="539607"/>
                  <a:pt x="1406383" y="533620"/>
                </a:cubicBezTo>
                <a:cubicBezTo>
                  <a:pt x="1404388" y="527633"/>
                  <a:pt x="1410373" y="523641"/>
                  <a:pt x="1410373" y="523641"/>
                </a:cubicBezTo>
                <a:cubicBezTo>
                  <a:pt x="1410373" y="523641"/>
                  <a:pt x="1408378" y="519649"/>
                  <a:pt x="1408378" y="515658"/>
                </a:cubicBezTo>
                <a:cubicBezTo>
                  <a:pt x="1408378" y="511666"/>
                  <a:pt x="1398403" y="505679"/>
                  <a:pt x="1396408" y="503683"/>
                </a:cubicBezTo>
                <a:cubicBezTo>
                  <a:pt x="1394413" y="503683"/>
                  <a:pt x="1384437" y="503683"/>
                  <a:pt x="1380447" y="501688"/>
                </a:cubicBezTo>
                <a:cubicBezTo>
                  <a:pt x="1374462" y="499692"/>
                  <a:pt x="1374462" y="491709"/>
                  <a:pt x="1374462" y="489713"/>
                </a:cubicBezTo>
                <a:cubicBezTo>
                  <a:pt x="1374462" y="487717"/>
                  <a:pt x="1368477" y="485721"/>
                  <a:pt x="1368477" y="485721"/>
                </a:cubicBezTo>
                <a:cubicBezTo>
                  <a:pt x="1366482" y="483726"/>
                  <a:pt x="1362492" y="485721"/>
                  <a:pt x="1358502" y="485721"/>
                </a:cubicBezTo>
                <a:cubicBezTo>
                  <a:pt x="1356507" y="485721"/>
                  <a:pt x="1348527" y="483726"/>
                  <a:pt x="1344537" y="483726"/>
                </a:cubicBezTo>
                <a:cubicBezTo>
                  <a:pt x="1342541" y="483726"/>
                  <a:pt x="1342541" y="481730"/>
                  <a:pt x="1342541" y="479734"/>
                </a:cubicBezTo>
                <a:cubicBezTo>
                  <a:pt x="1342541" y="477738"/>
                  <a:pt x="1340546" y="473747"/>
                  <a:pt x="1340546" y="473747"/>
                </a:cubicBezTo>
                <a:cubicBezTo>
                  <a:pt x="1338551" y="471751"/>
                  <a:pt x="1334561" y="467759"/>
                  <a:pt x="1334561" y="465764"/>
                </a:cubicBezTo>
                <a:cubicBezTo>
                  <a:pt x="1334561" y="463768"/>
                  <a:pt x="1336556" y="459776"/>
                  <a:pt x="1338551" y="459776"/>
                </a:cubicBezTo>
                <a:cubicBezTo>
                  <a:pt x="1338551" y="459776"/>
                  <a:pt x="1336556" y="449797"/>
                  <a:pt x="1336556" y="449797"/>
                </a:cubicBezTo>
                <a:cubicBezTo>
                  <a:pt x="1336556" y="449797"/>
                  <a:pt x="1334561" y="441814"/>
                  <a:pt x="1332566" y="439819"/>
                </a:cubicBezTo>
                <a:cubicBezTo>
                  <a:pt x="1330571" y="439819"/>
                  <a:pt x="1330571" y="435827"/>
                  <a:pt x="1330571" y="435827"/>
                </a:cubicBezTo>
                <a:cubicBezTo>
                  <a:pt x="1330571" y="435827"/>
                  <a:pt x="1330571" y="431835"/>
                  <a:pt x="1328576" y="431835"/>
                </a:cubicBezTo>
                <a:cubicBezTo>
                  <a:pt x="1326581" y="431835"/>
                  <a:pt x="1326581" y="425848"/>
                  <a:pt x="1326581" y="423852"/>
                </a:cubicBezTo>
                <a:cubicBezTo>
                  <a:pt x="1326581" y="423852"/>
                  <a:pt x="1324586" y="421857"/>
                  <a:pt x="1324586" y="419861"/>
                </a:cubicBezTo>
                <a:cubicBezTo>
                  <a:pt x="1324586" y="417865"/>
                  <a:pt x="1328576" y="417865"/>
                  <a:pt x="1328576" y="417865"/>
                </a:cubicBezTo>
                <a:cubicBezTo>
                  <a:pt x="1328576" y="417865"/>
                  <a:pt x="1330571" y="421857"/>
                  <a:pt x="1334561" y="421857"/>
                </a:cubicBezTo>
                <a:cubicBezTo>
                  <a:pt x="1338551" y="421857"/>
                  <a:pt x="1338551" y="415869"/>
                  <a:pt x="1338551" y="415869"/>
                </a:cubicBezTo>
                <a:cubicBezTo>
                  <a:pt x="1338551" y="415869"/>
                  <a:pt x="1340546" y="413874"/>
                  <a:pt x="1342541" y="415869"/>
                </a:cubicBezTo>
                <a:cubicBezTo>
                  <a:pt x="1344537" y="417865"/>
                  <a:pt x="1348527" y="413874"/>
                  <a:pt x="1348527" y="413874"/>
                </a:cubicBezTo>
                <a:cubicBezTo>
                  <a:pt x="1348527" y="413874"/>
                  <a:pt x="1348527" y="413874"/>
                  <a:pt x="1354512" y="411878"/>
                </a:cubicBezTo>
                <a:cubicBezTo>
                  <a:pt x="1354512" y="411878"/>
                  <a:pt x="1356507" y="411878"/>
                  <a:pt x="1364487" y="411878"/>
                </a:cubicBezTo>
                <a:cubicBezTo>
                  <a:pt x="1372467" y="411878"/>
                  <a:pt x="1372467" y="415869"/>
                  <a:pt x="1378452" y="415869"/>
                </a:cubicBezTo>
                <a:cubicBezTo>
                  <a:pt x="1384437" y="415869"/>
                  <a:pt x="1390423" y="413874"/>
                  <a:pt x="1390423" y="413874"/>
                </a:cubicBezTo>
                <a:cubicBezTo>
                  <a:pt x="1390423" y="413874"/>
                  <a:pt x="1390423" y="413874"/>
                  <a:pt x="1398403" y="409882"/>
                </a:cubicBezTo>
                <a:cubicBezTo>
                  <a:pt x="1398403" y="409882"/>
                  <a:pt x="1404388" y="407886"/>
                  <a:pt x="1408378" y="405890"/>
                </a:cubicBezTo>
                <a:cubicBezTo>
                  <a:pt x="1412368" y="405890"/>
                  <a:pt x="1420348" y="407886"/>
                  <a:pt x="1420348" y="407886"/>
                </a:cubicBezTo>
                <a:cubicBezTo>
                  <a:pt x="1420348" y="407886"/>
                  <a:pt x="1426333" y="413874"/>
                  <a:pt x="1428328" y="413874"/>
                </a:cubicBezTo>
                <a:cubicBezTo>
                  <a:pt x="1428328" y="413874"/>
                  <a:pt x="1434314" y="411878"/>
                  <a:pt x="1434314" y="409882"/>
                </a:cubicBezTo>
                <a:cubicBezTo>
                  <a:pt x="1436309" y="407886"/>
                  <a:pt x="1438304" y="407886"/>
                  <a:pt x="1438304" y="407886"/>
                </a:cubicBezTo>
                <a:cubicBezTo>
                  <a:pt x="1438304" y="407886"/>
                  <a:pt x="1444289" y="409882"/>
                  <a:pt x="1446284" y="405890"/>
                </a:cubicBezTo>
                <a:cubicBezTo>
                  <a:pt x="1448279" y="403895"/>
                  <a:pt x="1452269" y="405890"/>
                  <a:pt x="1452269" y="405890"/>
                </a:cubicBezTo>
                <a:cubicBezTo>
                  <a:pt x="1452269" y="405890"/>
                  <a:pt x="1458254" y="405890"/>
                  <a:pt x="1462244" y="405890"/>
                </a:cubicBezTo>
                <a:cubicBezTo>
                  <a:pt x="1466234" y="405890"/>
                  <a:pt x="1464239" y="409882"/>
                  <a:pt x="1462244" y="409882"/>
                </a:cubicBezTo>
                <a:cubicBezTo>
                  <a:pt x="1460249" y="411878"/>
                  <a:pt x="1460249" y="413874"/>
                  <a:pt x="1464239" y="413874"/>
                </a:cubicBezTo>
                <a:cubicBezTo>
                  <a:pt x="1468229" y="413874"/>
                  <a:pt x="1468229" y="409882"/>
                  <a:pt x="1468229" y="409882"/>
                </a:cubicBezTo>
                <a:cubicBezTo>
                  <a:pt x="1468229" y="409882"/>
                  <a:pt x="1470224" y="405890"/>
                  <a:pt x="1468229" y="401899"/>
                </a:cubicBezTo>
                <a:cubicBezTo>
                  <a:pt x="1466234" y="401899"/>
                  <a:pt x="1462244" y="397907"/>
                  <a:pt x="1462244" y="397907"/>
                </a:cubicBezTo>
                <a:cubicBezTo>
                  <a:pt x="1462244" y="397907"/>
                  <a:pt x="1462244" y="397907"/>
                  <a:pt x="1456259" y="395912"/>
                </a:cubicBezTo>
                <a:cubicBezTo>
                  <a:pt x="1456259" y="395912"/>
                  <a:pt x="1456259" y="393916"/>
                  <a:pt x="1454264" y="391920"/>
                </a:cubicBezTo>
                <a:cubicBezTo>
                  <a:pt x="1452269" y="391920"/>
                  <a:pt x="1448279" y="389924"/>
                  <a:pt x="1446284" y="389924"/>
                </a:cubicBezTo>
                <a:cubicBezTo>
                  <a:pt x="1444289" y="387928"/>
                  <a:pt x="1444289" y="387928"/>
                  <a:pt x="1440299" y="387928"/>
                </a:cubicBezTo>
                <a:cubicBezTo>
                  <a:pt x="1436309" y="387928"/>
                  <a:pt x="1436309" y="387928"/>
                  <a:pt x="1434314" y="383937"/>
                </a:cubicBezTo>
                <a:cubicBezTo>
                  <a:pt x="1432319" y="381941"/>
                  <a:pt x="1434314" y="381941"/>
                  <a:pt x="1436309" y="381941"/>
                </a:cubicBezTo>
                <a:cubicBezTo>
                  <a:pt x="1440299" y="381941"/>
                  <a:pt x="1440299" y="379945"/>
                  <a:pt x="1440299" y="377950"/>
                </a:cubicBezTo>
                <a:cubicBezTo>
                  <a:pt x="1436309" y="375954"/>
                  <a:pt x="1440299" y="373958"/>
                  <a:pt x="1444289" y="375954"/>
                </a:cubicBezTo>
                <a:cubicBezTo>
                  <a:pt x="1446284" y="377950"/>
                  <a:pt x="1446284" y="375954"/>
                  <a:pt x="1448279" y="375954"/>
                </a:cubicBezTo>
                <a:cubicBezTo>
                  <a:pt x="1450274" y="373958"/>
                  <a:pt x="1450274" y="375954"/>
                  <a:pt x="1452269" y="379945"/>
                </a:cubicBezTo>
                <a:cubicBezTo>
                  <a:pt x="1454264" y="381941"/>
                  <a:pt x="1458254" y="379945"/>
                  <a:pt x="1458254" y="379945"/>
                </a:cubicBezTo>
                <a:cubicBezTo>
                  <a:pt x="1458254" y="379945"/>
                  <a:pt x="1454264" y="375954"/>
                  <a:pt x="1454264" y="375954"/>
                </a:cubicBezTo>
                <a:cubicBezTo>
                  <a:pt x="1452269" y="373958"/>
                  <a:pt x="1452269" y="371962"/>
                  <a:pt x="1448279" y="371962"/>
                </a:cubicBezTo>
                <a:cubicBezTo>
                  <a:pt x="1444289" y="371962"/>
                  <a:pt x="1444289" y="371962"/>
                  <a:pt x="1444289" y="369967"/>
                </a:cubicBezTo>
                <a:cubicBezTo>
                  <a:pt x="1444289" y="367971"/>
                  <a:pt x="1438304" y="367971"/>
                  <a:pt x="1436309" y="367971"/>
                </a:cubicBezTo>
                <a:cubicBezTo>
                  <a:pt x="1432319" y="367971"/>
                  <a:pt x="1432319" y="365975"/>
                  <a:pt x="1432319" y="365975"/>
                </a:cubicBezTo>
                <a:cubicBezTo>
                  <a:pt x="1436309" y="365975"/>
                  <a:pt x="1434314" y="361983"/>
                  <a:pt x="1434314" y="361983"/>
                </a:cubicBezTo>
                <a:cubicBezTo>
                  <a:pt x="1434314" y="361983"/>
                  <a:pt x="1432319" y="359988"/>
                  <a:pt x="1432319" y="355996"/>
                </a:cubicBezTo>
                <a:cubicBezTo>
                  <a:pt x="1432319" y="354000"/>
                  <a:pt x="1436309" y="355996"/>
                  <a:pt x="1440299" y="355996"/>
                </a:cubicBezTo>
                <a:cubicBezTo>
                  <a:pt x="1444289" y="355996"/>
                  <a:pt x="1444289" y="354000"/>
                  <a:pt x="1444289" y="352005"/>
                </a:cubicBezTo>
                <a:cubicBezTo>
                  <a:pt x="1444289" y="350009"/>
                  <a:pt x="1444289" y="350009"/>
                  <a:pt x="1448279" y="350009"/>
                </a:cubicBezTo>
                <a:cubicBezTo>
                  <a:pt x="1452269" y="350009"/>
                  <a:pt x="1452269" y="354000"/>
                  <a:pt x="1450274" y="354000"/>
                </a:cubicBezTo>
                <a:cubicBezTo>
                  <a:pt x="1448279" y="355996"/>
                  <a:pt x="1450274" y="357992"/>
                  <a:pt x="1448279" y="357992"/>
                </a:cubicBezTo>
                <a:cubicBezTo>
                  <a:pt x="1444289" y="357992"/>
                  <a:pt x="1444289" y="361983"/>
                  <a:pt x="1446284" y="363979"/>
                </a:cubicBezTo>
                <a:cubicBezTo>
                  <a:pt x="1448279" y="363979"/>
                  <a:pt x="1448279" y="365975"/>
                  <a:pt x="1448279" y="367971"/>
                </a:cubicBezTo>
                <a:cubicBezTo>
                  <a:pt x="1450274" y="367971"/>
                  <a:pt x="1452269" y="365975"/>
                  <a:pt x="1452269" y="361983"/>
                </a:cubicBezTo>
                <a:cubicBezTo>
                  <a:pt x="1452269" y="359988"/>
                  <a:pt x="1456259" y="359988"/>
                  <a:pt x="1456259" y="359988"/>
                </a:cubicBezTo>
                <a:cubicBezTo>
                  <a:pt x="1456259" y="359988"/>
                  <a:pt x="1458254" y="357992"/>
                  <a:pt x="1458254" y="355996"/>
                </a:cubicBezTo>
                <a:cubicBezTo>
                  <a:pt x="1458254" y="354000"/>
                  <a:pt x="1458254" y="352005"/>
                  <a:pt x="1464239" y="350009"/>
                </a:cubicBezTo>
                <a:cubicBezTo>
                  <a:pt x="1468229" y="350009"/>
                  <a:pt x="1466234" y="346017"/>
                  <a:pt x="1466234" y="346017"/>
                </a:cubicBezTo>
                <a:cubicBezTo>
                  <a:pt x="1466234" y="346017"/>
                  <a:pt x="1462244" y="346017"/>
                  <a:pt x="1460249" y="344021"/>
                </a:cubicBezTo>
                <a:cubicBezTo>
                  <a:pt x="1458254" y="344021"/>
                  <a:pt x="1454264" y="344021"/>
                  <a:pt x="1452269" y="344021"/>
                </a:cubicBezTo>
                <a:cubicBezTo>
                  <a:pt x="1452269" y="344021"/>
                  <a:pt x="1448279" y="342026"/>
                  <a:pt x="1452269" y="340030"/>
                </a:cubicBezTo>
                <a:cubicBezTo>
                  <a:pt x="1458254" y="338034"/>
                  <a:pt x="1464239" y="340030"/>
                  <a:pt x="1470224" y="342026"/>
                </a:cubicBezTo>
                <a:cubicBezTo>
                  <a:pt x="1474214" y="344021"/>
                  <a:pt x="1476209" y="340030"/>
                  <a:pt x="1476209" y="340030"/>
                </a:cubicBezTo>
                <a:cubicBezTo>
                  <a:pt x="1476209" y="340030"/>
                  <a:pt x="1474214" y="338034"/>
                  <a:pt x="1478205" y="336038"/>
                </a:cubicBezTo>
                <a:cubicBezTo>
                  <a:pt x="1480200" y="332047"/>
                  <a:pt x="1484190" y="332047"/>
                  <a:pt x="1484190" y="332047"/>
                </a:cubicBezTo>
                <a:cubicBezTo>
                  <a:pt x="1484190" y="332047"/>
                  <a:pt x="1484190" y="332047"/>
                  <a:pt x="1486185" y="330051"/>
                </a:cubicBezTo>
                <a:cubicBezTo>
                  <a:pt x="1486185" y="330051"/>
                  <a:pt x="1486185" y="330051"/>
                  <a:pt x="1488180" y="328055"/>
                </a:cubicBezTo>
                <a:cubicBezTo>
                  <a:pt x="1488180" y="328055"/>
                  <a:pt x="1488180" y="328055"/>
                  <a:pt x="1492170" y="324064"/>
                </a:cubicBezTo>
                <a:cubicBezTo>
                  <a:pt x="1492170" y="324064"/>
                  <a:pt x="1492170" y="324064"/>
                  <a:pt x="1496160" y="322068"/>
                </a:cubicBezTo>
                <a:cubicBezTo>
                  <a:pt x="1496160" y="322068"/>
                  <a:pt x="1496160" y="322068"/>
                  <a:pt x="1500150" y="320072"/>
                </a:cubicBezTo>
                <a:cubicBezTo>
                  <a:pt x="1504140" y="318076"/>
                  <a:pt x="1504140" y="322068"/>
                  <a:pt x="1504140" y="326060"/>
                </a:cubicBezTo>
                <a:cubicBezTo>
                  <a:pt x="1504140" y="330051"/>
                  <a:pt x="1508130" y="328055"/>
                  <a:pt x="1510125" y="326060"/>
                </a:cubicBezTo>
                <a:cubicBezTo>
                  <a:pt x="1514115" y="322068"/>
                  <a:pt x="1526086" y="324064"/>
                  <a:pt x="1526086" y="324064"/>
                </a:cubicBezTo>
                <a:cubicBezTo>
                  <a:pt x="1526086" y="324064"/>
                  <a:pt x="1532071" y="324064"/>
                  <a:pt x="1532071" y="322068"/>
                </a:cubicBezTo>
                <a:cubicBezTo>
                  <a:pt x="1532071" y="318076"/>
                  <a:pt x="1538056" y="318076"/>
                  <a:pt x="1538056" y="322068"/>
                </a:cubicBezTo>
                <a:cubicBezTo>
                  <a:pt x="1540051" y="324064"/>
                  <a:pt x="1544041" y="322068"/>
                  <a:pt x="1544041" y="320072"/>
                </a:cubicBezTo>
                <a:cubicBezTo>
                  <a:pt x="1546036" y="318076"/>
                  <a:pt x="1554016" y="318076"/>
                  <a:pt x="1558006" y="320072"/>
                </a:cubicBezTo>
                <a:cubicBezTo>
                  <a:pt x="1560001" y="322068"/>
                  <a:pt x="1567982" y="318076"/>
                  <a:pt x="1567982" y="318076"/>
                </a:cubicBezTo>
                <a:cubicBezTo>
                  <a:pt x="1567982" y="318076"/>
                  <a:pt x="1571972" y="316081"/>
                  <a:pt x="1573967" y="318076"/>
                </a:cubicBezTo>
                <a:cubicBezTo>
                  <a:pt x="1575962" y="322068"/>
                  <a:pt x="1577957" y="320072"/>
                  <a:pt x="1579952" y="316081"/>
                </a:cubicBezTo>
                <a:cubicBezTo>
                  <a:pt x="1581947" y="312089"/>
                  <a:pt x="1587932" y="314085"/>
                  <a:pt x="1587932" y="314085"/>
                </a:cubicBezTo>
                <a:cubicBezTo>
                  <a:pt x="1587932" y="314085"/>
                  <a:pt x="1591922" y="316081"/>
                  <a:pt x="1593917" y="314085"/>
                </a:cubicBezTo>
                <a:cubicBezTo>
                  <a:pt x="1593917" y="312089"/>
                  <a:pt x="1595912" y="312089"/>
                  <a:pt x="1595912" y="312089"/>
                </a:cubicBezTo>
                <a:cubicBezTo>
                  <a:pt x="1595912" y="312089"/>
                  <a:pt x="1599902" y="312089"/>
                  <a:pt x="1599902" y="308098"/>
                </a:cubicBezTo>
                <a:cubicBezTo>
                  <a:pt x="1599902" y="306102"/>
                  <a:pt x="1595912" y="306102"/>
                  <a:pt x="1593917" y="308098"/>
                </a:cubicBezTo>
                <a:cubicBezTo>
                  <a:pt x="1591922" y="308098"/>
                  <a:pt x="1589927" y="310093"/>
                  <a:pt x="1583942" y="308098"/>
                </a:cubicBezTo>
                <a:cubicBezTo>
                  <a:pt x="1579952" y="306102"/>
                  <a:pt x="1581947" y="310093"/>
                  <a:pt x="1577957" y="310093"/>
                </a:cubicBezTo>
                <a:cubicBezTo>
                  <a:pt x="1575962" y="312089"/>
                  <a:pt x="1575962" y="308098"/>
                  <a:pt x="1575962" y="308098"/>
                </a:cubicBezTo>
                <a:cubicBezTo>
                  <a:pt x="1575962" y="308098"/>
                  <a:pt x="1577957" y="304106"/>
                  <a:pt x="1575962" y="302110"/>
                </a:cubicBezTo>
                <a:cubicBezTo>
                  <a:pt x="1575962" y="300114"/>
                  <a:pt x="1577957" y="300114"/>
                  <a:pt x="1577957" y="300114"/>
                </a:cubicBezTo>
                <a:cubicBezTo>
                  <a:pt x="1577957" y="300114"/>
                  <a:pt x="1579952" y="298119"/>
                  <a:pt x="1579952" y="296123"/>
                </a:cubicBezTo>
                <a:cubicBezTo>
                  <a:pt x="1577957" y="292131"/>
                  <a:pt x="1579952" y="292131"/>
                  <a:pt x="1583942" y="292131"/>
                </a:cubicBezTo>
                <a:cubicBezTo>
                  <a:pt x="1587932" y="292131"/>
                  <a:pt x="1587932" y="296123"/>
                  <a:pt x="1587932" y="300114"/>
                </a:cubicBezTo>
                <a:cubicBezTo>
                  <a:pt x="1587932" y="304106"/>
                  <a:pt x="1595912" y="298119"/>
                  <a:pt x="1595912" y="298119"/>
                </a:cubicBezTo>
                <a:cubicBezTo>
                  <a:pt x="1595912" y="298119"/>
                  <a:pt x="1593917" y="294127"/>
                  <a:pt x="1599902" y="296123"/>
                </a:cubicBezTo>
                <a:cubicBezTo>
                  <a:pt x="1607882" y="296123"/>
                  <a:pt x="1607882" y="300114"/>
                  <a:pt x="1613868" y="300114"/>
                </a:cubicBezTo>
                <a:cubicBezTo>
                  <a:pt x="1617858" y="300114"/>
                  <a:pt x="1615863" y="298119"/>
                  <a:pt x="1615863" y="298119"/>
                </a:cubicBezTo>
                <a:cubicBezTo>
                  <a:pt x="1615863" y="298119"/>
                  <a:pt x="1613868" y="294127"/>
                  <a:pt x="1615863" y="292131"/>
                </a:cubicBezTo>
                <a:cubicBezTo>
                  <a:pt x="1619853" y="292131"/>
                  <a:pt x="1619853" y="296123"/>
                  <a:pt x="1625838" y="296123"/>
                </a:cubicBezTo>
                <a:cubicBezTo>
                  <a:pt x="1629828" y="298119"/>
                  <a:pt x="1629828" y="294127"/>
                  <a:pt x="1631823" y="294127"/>
                </a:cubicBezTo>
                <a:cubicBezTo>
                  <a:pt x="1633818" y="292131"/>
                  <a:pt x="1635813" y="296123"/>
                  <a:pt x="1639803" y="294127"/>
                </a:cubicBezTo>
                <a:cubicBezTo>
                  <a:pt x="1643793" y="294127"/>
                  <a:pt x="1639803" y="292131"/>
                  <a:pt x="1639803" y="292131"/>
                </a:cubicBezTo>
                <a:cubicBezTo>
                  <a:pt x="1639803" y="292131"/>
                  <a:pt x="1635813" y="290136"/>
                  <a:pt x="1633818" y="288140"/>
                </a:cubicBezTo>
                <a:cubicBezTo>
                  <a:pt x="1631823" y="284148"/>
                  <a:pt x="1635813" y="284148"/>
                  <a:pt x="1635813" y="284148"/>
                </a:cubicBezTo>
                <a:cubicBezTo>
                  <a:pt x="1635813" y="284148"/>
                  <a:pt x="1639803" y="284148"/>
                  <a:pt x="1639803" y="282153"/>
                </a:cubicBezTo>
                <a:cubicBezTo>
                  <a:pt x="1639803" y="278161"/>
                  <a:pt x="1641798" y="278161"/>
                  <a:pt x="1645788" y="284148"/>
                </a:cubicBezTo>
                <a:cubicBezTo>
                  <a:pt x="1647783" y="288140"/>
                  <a:pt x="1651773" y="284148"/>
                  <a:pt x="1651773" y="284148"/>
                </a:cubicBezTo>
                <a:cubicBezTo>
                  <a:pt x="1651773" y="284148"/>
                  <a:pt x="1651773" y="284148"/>
                  <a:pt x="1653768" y="282153"/>
                </a:cubicBezTo>
                <a:cubicBezTo>
                  <a:pt x="1657759" y="282153"/>
                  <a:pt x="1655764" y="288140"/>
                  <a:pt x="1655764" y="288140"/>
                </a:cubicBezTo>
                <a:cubicBezTo>
                  <a:pt x="1655764" y="288140"/>
                  <a:pt x="1651773" y="288140"/>
                  <a:pt x="1653768" y="292131"/>
                </a:cubicBezTo>
                <a:cubicBezTo>
                  <a:pt x="1655764" y="294127"/>
                  <a:pt x="1651773" y="294127"/>
                  <a:pt x="1647783" y="292131"/>
                </a:cubicBezTo>
                <a:cubicBezTo>
                  <a:pt x="1645788" y="292131"/>
                  <a:pt x="1645788" y="296123"/>
                  <a:pt x="1647783" y="300114"/>
                </a:cubicBezTo>
                <a:cubicBezTo>
                  <a:pt x="1649778" y="304106"/>
                  <a:pt x="1643793" y="306102"/>
                  <a:pt x="1643793" y="310093"/>
                </a:cubicBezTo>
                <a:cubicBezTo>
                  <a:pt x="1645788" y="314085"/>
                  <a:pt x="1651773" y="308098"/>
                  <a:pt x="1651773" y="308098"/>
                </a:cubicBezTo>
                <a:cubicBezTo>
                  <a:pt x="1653768" y="306102"/>
                  <a:pt x="1653768" y="304106"/>
                  <a:pt x="1655764" y="304106"/>
                </a:cubicBezTo>
                <a:cubicBezTo>
                  <a:pt x="1655764" y="304106"/>
                  <a:pt x="1657759" y="306102"/>
                  <a:pt x="1655764" y="312089"/>
                </a:cubicBezTo>
                <a:cubicBezTo>
                  <a:pt x="1655764" y="316081"/>
                  <a:pt x="1661749" y="310093"/>
                  <a:pt x="1661749" y="310093"/>
                </a:cubicBezTo>
                <a:cubicBezTo>
                  <a:pt x="1661749" y="310093"/>
                  <a:pt x="1663744" y="308098"/>
                  <a:pt x="1665739" y="308098"/>
                </a:cubicBezTo>
                <a:cubicBezTo>
                  <a:pt x="1667734" y="308098"/>
                  <a:pt x="1669729" y="308098"/>
                  <a:pt x="1669729" y="308098"/>
                </a:cubicBezTo>
                <a:cubicBezTo>
                  <a:pt x="1669729" y="308098"/>
                  <a:pt x="1669729" y="306102"/>
                  <a:pt x="1671724" y="304106"/>
                </a:cubicBezTo>
                <a:cubicBezTo>
                  <a:pt x="1673719" y="302110"/>
                  <a:pt x="1675714" y="302110"/>
                  <a:pt x="1677709" y="306102"/>
                </a:cubicBezTo>
                <a:cubicBezTo>
                  <a:pt x="1679704" y="308098"/>
                  <a:pt x="1683694" y="304106"/>
                  <a:pt x="1683694" y="304106"/>
                </a:cubicBezTo>
                <a:cubicBezTo>
                  <a:pt x="1683694" y="304106"/>
                  <a:pt x="1683694" y="302110"/>
                  <a:pt x="1685689" y="302110"/>
                </a:cubicBezTo>
                <a:cubicBezTo>
                  <a:pt x="1689679" y="302110"/>
                  <a:pt x="1689679" y="300114"/>
                  <a:pt x="1689679" y="298119"/>
                </a:cubicBezTo>
                <a:cubicBezTo>
                  <a:pt x="1689679" y="294127"/>
                  <a:pt x="1691674" y="294127"/>
                  <a:pt x="1695664" y="296123"/>
                </a:cubicBezTo>
                <a:cubicBezTo>
                  <a:pt x="1699655" y="298119"/>
                  <a:pt x="1699655" y="296123"/>
                  <a:pt x="1703645" y="292131"/>
                </a:cubicBezTo>
                <a:cubicBezTo>
                  <a:pt x="1707635" y="292131"/>
                  <a:pt x="1709630" y="294127"/>
                  <a:pt x="1709630" y="296123"/>
                </a:cubicBezTo>
                <a:cubicBezTo>
                  <a:pt x="1709630" y="298119"/>
                  <a:pt x="1713620" y="298119"/>
                  <a:pt x="1715615" y="296123"/>
                </a:cubicBezTo>
                <a:cubicBezTo>
                  <a:pt x="1717610" y="296123"/>
                  <a:pt x="1721600" y="298119"/>
                  <a:pt x="1721600" y="300114"/>
                </a:cubicBezTo>
                <a:cubicBezTo>
                  <a:pt x="1721600" y="300114"/>
                  <a:pt x="1727585" y="300114"/>
                  <a:pt x="1727585" y="300114"/>
                </a:cubicBezTo>
                <a:cubicBezTo>
                  <a:pt x="1727585" y="300114"/>
                  <a:pt x="1727585" y="298119"/>
                  <a:pt x="1731575" y="300114"/>
                </a:cubicBezTo>
                <a:cubicBezTo>
                  <a:pt x="1733570" y="302110"/>
                  <a:pt x="1731575" y="308098"/>
                  <a:pt x="1731575" y="314085"/>
                </a:cubicBezTo>
                <a:cubicBezTo>
                  <a:pt x="1727585" y="320072"/>
                  <a:pt x="1735565" y="316081"/>
                  <a:pt x="1735565" y="312089"/>
                </a:cubicBezTo>
                <a:cubicBezTo>
                  <a:pt x="1737560" y="310093"/>
                  <a:pt x="1737560" y="308098"/>
                  <a:pt x="1735565" y="306102"/>
                </a:cubicBezTo>
                <a:cubicBezTo>
                  <a:pt x="1733570" y="306102"/>
                  <a:pt x="1733570" y="304106"/>
                  <a:pt x="1733570" y="300114"/>
                </a:cubicBezTo>
                <a:cubicBezTo>
                  <a:pt x="1733570" y="296123"/>
                  <a:pt x="1729580" y="296123"/>
                  <a:pt x="1729580" y="296123"/>
                </a:cubicBezTo>
                <a:cubicBezTo>
                  <a:pt x="1729580" y="296123"/>
                  <a:pt x="1727585" y="296123"/>
                  <a:pt x="1725590" y="296123"/>
                </a:cubicBezTo>
                <a:cubicBezTo>
                  <a:pt x="1723595" y="296123"/>
                  <a:pt x="1719605" y="296123"/>
                  <a:pt x="1717610" y="292131"/>
                </a:cubicBezTo>
                <a:cubicBezTo>
                  <a:pt x="1715615" y="290136"/>
                  <a:pt x="1707635" y="290136"/>
                  <a:pt x="1707635" y="288140"/>
                </a:cubicBezTo>
                <a:cubicBezTo>
                  <a:pt x="1705640" y="286144"/>
                  <a:pt x="1699655" y="284148"/>
                  <a:pt x="1701650" y="280157"/>
                </a:cubicBezTo>
                <a:cubicBezTo>
                  <a:pt x="1705640" y="278161"/>
                  <a:pt x="1709630" y="280157"/>
                  <a:pt x="1711625" y="280157"/>
                </a:cubicBezTo>
                <a:cubicBezTo>
                  <a:pt x="1713620" y="280157"/>
                  <a:pt x="1711625" y="280157"/>
                  <a:pt x="1717610" y="282153"/>
                </a:cubicBezTo>
                <a:cubicBezTo>
                  <a:pt x="1721600" y="284148"/>
                  <a:pt x="1723595" y="284148"/>
                  <a:pt x="1725590" y="280157"/>
                </a:cubicBezTo>
                <a:cubicBezTo>
                  <a:pt x="1727585" y="278161"/>
                  <a:pt x="1733570" y="280157"/>
                  <a:pt x="1737560" y="284148"/>
                </a:cubicBezTo>
                <a:cubicBezTo>
                  <a:pt x="1743545" y="286144"/>
                  <a:pt x="1743545" y="282153"/>
                  <a:pt x="1743545" y="282153"/>
                </a:cubicBezTo>
                <a:cubicBezTo>
                  <a:pt x="1743545" y="282153"/>
                  <a:pt x="1745541" y="280157"/>
                  <a:pt x="1749531" y="278161"/>
                </a:cubicBezTo>
                <a:cubicBezTo>
                  <a:pt x="1751526" y="278161"/>
                  <a:pt x="1751526" y="278161"/>
                  <a:pt x="1757511" y="286144"/>
                </a:cubicBezTo>
                <a:cubicBezTo>
                  <a:pt x="1763496" y="292131"/>
                  <a:pt x="1761501" y="286144"/>
                  <a:pt x="1765491" y="286144"/>
                </a:cubicBezTo>
                <a:cubicBezTo>
                  <a:pt x="1769481" y="284148"/>
                  <a:pt x="1771476" y="288140"/>
                  <a:pt x="1773471" y="290136"/>
                </a:cubicBezTo>
                <a:cubicBezTo>
                  <a:pt x="1775466" y="292131"/>
                  <a:pt x="1781451" y="294127"/>
                  <a:pt x="1785441" y="292131"/>
                </a:cubicBezTo>
                <a:cubicBezTo>
                  <a:pt x="1787436" y="290136"/>
                  <a:pt x="1783446" y="288140"/>
                  <a:pt x="1779456" y="288140"/>
                </a:cubicBezTo>
                <a:cubicBezTo>
                  <a:pt x="1777461" y="288140"/>
                  <a:pt x="1773471" y="286144"/>
                  <a:pt x="1773471" y="284148"/>
                </a:cubicBezTo>
                <a:cubicBezTo>
                  <a:pt x="1773471" y="280157"/>
                  <a:pt x="1767486" y="280157"/>
                  <a:pt x="1765491" y="280157"/>
                </a:cubicBezTo>
                <a:cubicBezTo>
                  <a:pt x="1761501" y="282153"/>
                  <a:pt x="1759506" y="282153"/>
                  <a:pt x="1757511" y="280157"/>
                </a:cubicBezTo>
                <a:cubicBezTo>
                  <a:pt x="1753521" y="278161"/>
                  <a:pt x="1751526" y="274169"/>
                  <a:pt x="1757511" y="274169"/>
                </a:cubicBezTo>
                <a:cubicBezTo>
                  <a:pt x="1765491" y="274169"/>
                  <a:pt x="1759506" y="268182"/>
                  <a:pt x="1759506" y="268182"/>
                </a:cubicBezTo>
                <a:cubicBezTo>
                  <a:pt x="1759506" y="268182"/>
                  <a:pt x="1757511" y="264191"/>
                  <a:pt x="1755516" y="264191"/>
                </a:cubicBezTo>
                <a:cubicBezTo>
                  <a:pt x="1753521" y="264191"/>
                  <a:pt x="1749531" y="264191"/>
                  <a:pt x="1749531" y="260199"/>
                </a:cubicBezTo>
                <a:cubicBezTo>
                  <a:pt x="1747536" y="258203"/>
                  <a:pt x="1749531" y="258203"/>
                  <a:pt x="1753521" y="258203"/>
                </a:cubicBezTo>
                <a:cubicBezTo>
                  <a:pt x="1755516" y="256207"/>
                  <a:pt x="1757511" y="250220"/>
                  <a:pt x="1757511" y="246229"/>
                </a:cubicBezTo>
                <a:cubicBezTo>
                  <a:pt x="1757511" y="242237"/>
                  <a:pt x="1761501" y="240241"/>
                  <a:pt x="1765491" y="242237"/>
                </a:cubicBezTo>
                <a:cubicBezTo>
                  <a:pt x="1769481" y="242237"/>
                  <a:pt x="1769481" y="236250"/>
                  <a:pt x="1771476" y="234254"/>
                </a:cubicBezTo>
                <a:cubicBezTo>
                  <a:pt x="1771476" y="230262"/>
                  <a:pt x="1775466" y="228267"/>
                  <a:pt x="1779456" y="226271"/>
                </a:cubicBezTo>
                <a:cubicBezTo>
                  <a:pt x="1783446" y="226271"/>
                  <a:pt x="1787436" y="224275"/>
                  <a:pt x="1785441" y="220284"/>
                </a:cubicBezTo>
                <a:cubicBezTo>
                  <a:pt x="1785441" y="220284"/>
                  <a:pt x="1791427" y="218288"/>
                  <a:pt x="1793422" y="220284"/>
                </a:cubicBezTo>
                <a:cubicBezTo>
                  <a:pt x="1795417" y="220284"/>
                  <a:pt x="1797412" y="218288"/>
                  <a:pt x="1801402" y="212300"/>
                </a:cubicBezTo>
                <a:cubicBezTo>
                  <a:pt x="1802399" y="210305"/>
                  <a:pt x="1804394" y="210305"/>
                  <a:pt x="1806140" y="210804"/>
                </a:cubicBezTo>
                <a:close/>
                <a:moveTo>
                  <a:pt x="1568847" y="194815"/>
                </a:moveTo>
                <a:cubicBezTo>
                  <a:pt x="1572816" y="192434"/>
                  <a:pt x="1574800" y="197196"/>
                  <a:pt x="1570831" y="197196"/>
                </a:cubicBezTo>
                <a:cubicBezTo>
                  <a:pt x="1566862" y="197196"/>
                  <a:pt x="1568847" y="194815"/>
                  <a:pt x="1568847" y="194815"/>
                </a:cubicBezTo>
                <a:close/>
                <a:moveTo>
                  <a:pt x="1871826" y="188635"/>
                </a:moveTo>
                <a:cubicBezTo>
                  <a:pt x="1873110" y="188125"/>
                  <a:pt x="1874651" y="188125"/>
                  <a:pt x="1875678" y="190166"/>
                </a:cubicBezTo>
                <a:cubicBezTo>
                  <a:pt x="1877733" y="194248"/>
                  <a:pt x="1877733" y="190166"/>
                  <a:pt x="1881841" y="192207"/>
                </a:cubicBezTo>
                <a:cubicBezTo>
                  <a:pt x="1885950" y="194248"/>
                  <a:pt x="1879787" y="196289"/>
                  <a:pt x="1879787" y="198330"/>
                </a:cubicBezTo>
                <a:cubicBezTo>
                  <a:pt x="1879787" y="198330"/>
                  <a:pt x="1875678" y="200371"/>
                  <a:pt x="1875678" y="198330"/>
                </a:cubicBezTo>
                <a:cubicBezTo>
                  <a:pt x="1873624" y="198330"/>
                  <a:pt x="1871569" y="198330"/>
                  <a:pt x="1871569" y="198330"/>
                </a:cubicBezTo>
                <a:cubicBezTo>
                  <a:pt x="1869515" y="200371"/>
                  <a:pt x="1865406" y="198330"/>
                  <a:pt x="1863352" y="198330"/>
                </a:cubicBezTo>
                <a:cubicBezTo>
                  <a:pt x="1863352" y="198330"/>
                  <a:pt x="1859243" y="198330"/>
                  <a:pt x="1859243" y="198330"/>
                </a:cubicBezTo>
                <a:cubicBezTo>
                  <a:pt x="1859243" y="198330"/>
                  <a:pt x="1859243" y="198330"/>
                  <a:pt x="1857188" y="198330"/>
                </a:cubicBezTo>
                <a:cubicBezTo>
                  <a:pt x="1857188" y="198330"/>
                  <a:pt x="1851025" y="198330"/>
                  <a:pt x="1851025" y="194248"/>
                </a:cubicBezTo>
                <a:cubicBezTo>
                  <a:pt x="1851025" y="192207"/>
                  <a:pt x="1855134" y="194248"/>
                  <a:pt x="1855134" y="194248"/>
                </a:cubicBezTo>
                <a:cubicBezTo>
                  <a:pt x="1855134" y="196289"/>
                  <a:pt x="1861297" y="194248"/>
                  <a:pt x="1861297" y="192207"/>
                </a:cubicBezTo>
                <a:cubicBezTo>
                  <a:pt x="1861297" y="190166"/>
                  <a:pt x="1863352" y="190166"/>
                  <a:pt x="1865406" y="192207"/>
                </a:cubicBezTo>
                <a:cubicBezTo>
                  <a:pt x="1867461" y="194248"/>
                  <a:pt x="1869515" y="192207"/>
                  <a:pt x="1869515" y="190166"/>
                </a:cubicBezTo>
                <a:cubicBezTo>
                  <a:pt x="1869515" y="190166"/>
                  <a:pt x="1870542" y="189145"/>
                  <a:pt x="1871826" y="188635"/>
                </a:cubicBezTo>
                <a:close/>
                <a:moveTo>
                  <a:pt x="1851706" y="178147"/>
                </a:moveTo>
                <a:cubicBezTo>
                  <a:pt x="1855788" y="178147"/>
                  <a:pt x="1853747" y="182229"/>
                  <a:pt x="1853747" y="182229"/>
                </a:cubicBezTo>
                <a:cubicBezTo>
                  <a:pt x="1853747" y="182229"/>
                  <a:pt x="1853747" y="186311"/>
                  <a:pt x="1853747" y="186311"/>
                </a:cubicBezTo>
                <a:cubicBezTo>
                  <a:pt x="1851706" y="186311"/>
                  <a:pt x="1851706" y="188352"/>
                  <a:pt x="1851706" y="188352"/>
                </a:cubicBezTo>
                <a:cubicBezTo>
                  <a:pt x="1851706" y="192434"/>
                  <a:pt x="1851706" y="192434"/>
                  <a:pt x="1849665" y="192434"/>
                </a:cubicBezTo>
                <a:cubicBezTo>
                  <a:pt x="1847624" y="192434"/>
                  <a:pt x="1845583" y="190393"/>
                  <a:pt x="1843541" y="188352"/>
                </a:cubicBezTo>
                <a:cubicBezTo>
                  <a:pt x="1841500" y="184270"/>
                  <a:pt x="1843541" y="184270"/>
                  <a:pt x="1845583" y="182229"/>
                </a:cubicBezTo>
                <a:cubicBezTo>
                  <a:pt x="1847624" y="182229"/>
                  <a:pt x="1849665" y="182229"/>
                  <a:pt x="1849665" y="182229"/>
                </a:cubicBezTo>
                <a:cubicBezTo>
                  <a:pt x="1849665" y="182229"/>
                  <a:pt x="1849665" y="180188"/>
                  <a:pt x="1851706" y="178147"/>
                </a:cubicBezTo>
                <a:close/>
                <a:moveTo>
                  <a:pt x="1811413" y="161102"/>
                </a:moveTo>
                <a:cubicBezTo>
                  <a:pt x="1815344" y="163107"/>
                  <a:pt x="1819275" y="175139"/>
                  <a:pt x="1819275" y="179150"/>
                </a:cubicBezTo>
                <a:cubicBezTo>
                  <a:pt x="1819275" y="181155"/>
                  <a:pt x="1811413" y="189176"/>
                  <a:pt x="1807482" y="187171"/>
                </a:cubicBezTo>
                <a:cubicBezTo>
                  <a:pt x="1805517" y="187171"/>
                  <a:pt x="1803551" y="187171"/>
                  <a:pt x="1803551" y="189176"/>
                </a:cubicBezTo>
                <a:cubicBezTo>
                  <a:pt x="1803551" y="189176"/>
                  <a:pt x="1801586" y="191181"/>
                  <a:pt x="1799620" y="191181"/>
                </a:cubicBezTo>
                <a:cubicBezTo>
                  <a:pt x="1795690" y="191181"/>
                  <a:pt x="1787828" y="191181"/>
                  <a:pt x="1787828" y="191181"/>
                </a:cubicBezTo>
                <a:cubicBezTo>
                  <a:pt x="1785862" y="193186"/>
                  <a:pt x="1781931" y="195192"/>
                  <a:pt x="1779966" y="193186"/>
                </a:cubicBezTo>
                <a:cubicBezTo>
                  <a:pt x="1778000" y="191181"/>
                  <a:pt x="1776035" y="193186"/>
                  <a:pt x="1774069" y="195192"/>
                </a:cubicBezTo>
                <a:cubicBezTo>
                  <a:pt x="1774069" y="197197"/>
                  <a:pt x="1770138" y="197197"/>
                  <a:pt x="1770138" y="195192"/>
                </a:cubicBezTo>
                <a:cubicBezTo>
                  <a:pt x="1768173" y="193186"/>
                  <a:pt x="1766207" y="193186"/>
                  <a:pt x="1764242" y="195192"/>
                </a:cubicBezTo>
                <a:cubicBezTo>
                  <a:pt x="1762276" y="197197"/>
                  <a:pt x="1758345" y="195192"/>
                  <a:pt x="1758345" y="195192"/>
                </a:cubicBezTo>
                <a:cubicBezTo>
                  <a:pt x="1758345" y="195192"/>
                  <a:pt x="1756380" y="195192"/>
                  <a:pt x="1746553" y="195192"/>
                </a:cubicBezTo>
                <a:cubicBezTo>
                  <a:pt x="1736725" y="197197"/>
                  <a:pt x="1738691" y="197197"/>
                  <a:pt x="1738691" y="193186"/>
                </a:cubicBezTo>
                <a:cubicBezTo>
                  <a:pt x="1738691" y="189176"/>
                  <a:pt x="1748518" y="185165"/>
                  <a:pt x="1748518" y="185165"/>
                </a:cubicBezTo>
                <a:cubicBezTo>
                  <a:pt x="1750484" y="187171"/>
                  <a:pt x="1750484" y="183160"/>
                  <a:pt x="1750484" y="177144"/>
                </a:cubicBezTo>
                <a:cubicBezTo>
                  <a:pt x="1752449" y="173134"/>
                  <a:pt x="1756380" y="173134"/>
                  <a:pt x="1760311" y="171129"/>
                </a:cubicBezTo>
                <a:cubicBezTo>
                  <a:pt x="1764242" y="169123"/>
                  <a:pt x="1764242" y="173134"/>
                  <a:pt x="1766207" y="175139"/>
                </a:cubicBezTo>
                <a:cubicBezTo>
                  <a:pt x="1768173" y="177144"/>
                  <a:pt x="1770138" y="177144"/>
                  <a:pt x="1772104" y="171129"/>
                </a:cubicBezTo>
                <a:cubicBezTo>
                  <a:pt x="1774069" y="165113"/>
                  <a:pt x="1783897" y="165113"/>
                  <a:pt x="1783897" y="167118"/>
                </a:cubicBezTo>
                <a:cubicBezTo>
                  <a:pt x="1785862" y="169123"/>
                  <a:pt x="1789793" y="167118"/>
                  <a:pt x="1789793" y="167118"/>
                </a:cubicBezTo>
                <a:cubicBezTo>
                  <a:pt x="1789793" y="167118"/>
                  <a:pt x="1791759" y="165113"/>
                  <a:pt x="1795690" y="165113"/>
                </a:cubicBezTo>
                <a:cubicBezTo>
                  <a:pt x="1797655" y="165113"/>
                  <a:pt x="1799620" y="165113"/>
                  <a:pt x="1799620" y="171129"/>
                </a:cubicBezTo>
                <a:cubicBezTo>
                  <a:pt x="1799620" y="177144"/>
                  <a:pt x="1801586" y="175139"/>
                  <a:pt x="1805517" y="175139"/>
                </a:cubicBezTo>
                <a:cubicBezTo>
                  <a:pt x="1811413" y="175139"/>
                  <a:pt x="1807482" y="169123"/>
                  <a:pt x="1807482" y="169123"/>
                </a:cubicBezTo>
                <a:cubicBezTo>
                  <a:pt x="1807482" y="169123"/>
                  <a:pt x="1805517" y="159097"/>
                  <a:pt x="1811413" y="161102"/>
                </a:cubicBezTo>
                <a:close/>
                <a:moveTo>
                  <a:pt x="1745821" y="124328"/>
                </a:moveTo>
                <a:cubicBezTo>
                  <a:pt x="1748080" y="124079"/>
                  <a:pt x="1750591" y="124578"/>
                  <a:pt x="1751595" y="124578"/>
                </a:cubicBezTo>
                <a:cubicBezTo>
                  <a:pt x="1753604" y="122584"/>
                  <a:pt x="1755613" y="124578"/>
                  <a:pt x="1755613" y="126571"/>
                </a:cubicBezTo>
                <a:cubicBezTo>
                  <a:pt x="1755613" y="130558"/>
                  <a:pt x="1755613" y="128565"/>
                  <a:pt x="1759630" y="130558"/>
                </a:cubicBezTo>
                <a:cubicBezTo>
                  <a:pt x="1761639" y="132552"/>
                  <a:pt x="1759630" y="140526"/>
                  <a:pt x="1759630" y="144514"/>
                </a:cubicBezTo>
                <a:cubicBezTo>
                  <a:pt x="1759630" y="148501"/>
                  <a:pt x="1759630" y="148501"/>
                  <a:pt x="1761639" y="148501"/>
                </a:cubicBezTo>
                <a:cubicBezTo>
                  <a:pt x="1763647" y="150494"/>
                  <a:pt x="1765656" y="146507"/>
                  <a:pt x="1765656" y="144514"/>
                </a:cubicBezTo>
                <a:cubicBezTo>
                  <a:pt x="1763647" y="142520"/>
                  <a:pt x="1765656" y="136539"/>
                  <a:pt x="1767665" y="136539"/>
                </a:cubicBezTo>
                <a:cubicBezTo>
                  <a:pt x="1769673" y="136539"/>
                  <a:pt x="1771682" y="140526"/>
                  <a:pt x="1773691" y="142520"/>
                </a:cubicBezTo>
                <a:cubicBezTo>
                  <a:pt x="1773691" y="144514"/>
                  <a:pt x="1775699" y="144514"/>
                  <a:pt x="1775699" y="142520"/>
                </a:cubicBezTo>
                <a:cubicBezTo>
                  <a:pt x="1775699" y="140526"/>
                  <a:pt x="1777708" y="138533"/>
                  <a:pt x="1779717" y="140526"/>
                </a:cubicBezTo>
                <a:cubicBezTo>
                  <a:pt x="1783734" y="140526"/>
                  <a:pt x="1781726" y="144514"/>
                  <a:pt x="1785743" y="146507"/>
                </a:cubicBezTo>
                <a:cubicBezTo>
                  <a:pt x="1787752" y="148501"/>
                  <a:pt x="1787752" y="148501"/>
                  <a:pt x="1789760" y="150494"/>
                </a:cubicBezTo>
                <a:cubicBezTo>
                  <a:pt x="1791769" y="152488"/>
                  <a:pt x="1795786" y="152488"/>
                  <a:pt x="1797795" y="150494"/>
                </a:cubicBezTo>
                <a:cubicBezTo>
                  <a:pt x="1799804" y="148501"/>
                  <a:pt x="1801812" y="154482"/>
                  <a:pt x="1799804" y="156475"/>
                </a:cubicBezTo>
                <a:cubicBezTo>
                  <a:pt x="1799804" y="160462"/>
                  <a:pt x="1795786" y="160462"/>
                  <a:pt x="1789760" y="160462"/>
                </a:cubicBezTo>
                <a:cubicBezTo>
                  <a:pt x="1785743" y="160462"/>
                  <a:pt x="1783734" y="156475"/>
                  <a:pt x="1783734" y="154482"/>
                </a:cubicBezTo>
                <a:cubicBezTo>
                  <a:pt x="1783734" y="150494"/>
                  <a:pt x="1775699" y="148501"/>
                  <a:pt x="1773691" y="150494"/>
                </a:cubicBezTo>
                <a:cubicBezTo>
                  <a:pt x="1769673" y="150494"/>
                  <a:pt x="1765656" y="156475"/>
                  <a:pt x="1759630" y="158469"/>
                </a:cubicBezTo>
                <a:cubicBezTo>
                  <a:pt x="1753604" y="160462"/>
                  <a:pt x="1745569" y="156475"/>
                  <a:pt x="1741552" y="154482"/>
                </a:cubicBezTo>
                <a:cubicBezTo>
                  <a:pt x="1737535" y="152488"/>
                  <a:pt x="1731509" y="150494"/>
                  <a:pt x="1729500" y="156475"/>
                </a:cubicBezTo>
                <a:cubicBezTo>
                  <a:pt x="1727491" y="160462"/>
                  <a:pt x="1733517" y="162456"/>
                  <a:pt x="1737535" y="164450"/>
                </a:cubicBezTo>
                <a:cubicBezTo>
                  <a:pt x="1743561" y="164450"/>
                  <a:pt x="1741552" y="168437"/>
                  <a:pt x="1741552" y="168437"/>
                </a:cubicBezTo>
                <a:cubicBezTo>
                  <a:pt x="1741552" y="168437"/>
                  <a:pt x="1741552" y="172424"/>
                  <a:pt x="1739543" y="176411"/>
                </a:cubicBezTo>
                <a:cubicBezTo>
                  <a:pt x="1735526" y="178405"/>
                  <a:pt x="1731509" y="178405"/>
                  <a:pt x="1727491" y="178405"/>
                </a:cubicBezTo>
                <a:cubicBezTo>
                  <a:pt x="1721465" y="176411"/>
                  <a:pt x="1721465" y="178405"/>
                  <a:pt x="1719457" y="180398"/>
                </a:cubicBezTo>
                <a:cubicBezTo>
                  <a:pt x="1717448" y="182392"/>
                  <a:pt x="1721465" y="184386"/>
                  <a:pt x="1725483" y="184386"/>
                </a:cubicBezTo>
                <a:cubicBezTo>
                  <a:pt x="1729500" y="182392"/>
                  <a:pt x="1731509" y="188373"/>
                  <a:pt x="1731509" y="190366"/>
                </a:cubicBezTo>
                <a:cubicBezTo>
                  <a:pt x="1729500" y="192360"/>
                  <a:pt x="1731509" y="194354"/>
                  <a:pt x="1731509" y="194354"/>
                </a:cubicBezTo>
                <a:cubicBezTo>
                  <a:pt x="1731509" y="194354"/>
                  <a:pt x="1731509" y="194354"/>
                  <a:pt x="1731509" y="198341"/>
                </a:cubicBezTo>
                <a:cubicBezTo>
                  <a:pt x="1731509" y="202328"/>
                  <a:pt x="1723474" y="202328"/>
                  <a:pt x="1721465" y="202328"/>
                </a:cubicBezTo>
                <a:cubicBezTo>
                  <a:pt x="1717448" y="202328"/>
                  <a:pt x="1715439" y="202328"/>
                  <a:pt x="1715439" y="204322"/>
                </a:cubicBezTo>
                <a:cubicBezTo>
                  <a:pt x="1715439" y="206315"/>
                  <a:pt x="1711422" y="208309"/>
                  <a:pt x="1707405" y="208309"/>
                </a:cubicBezTo>
                <a:cubicBezTo>
                  <a:pt x="1703387" y="208309"/>
                  <a:pt x="1703387" y="202328"/>
                  <a:pt x="1703387" y="198341"/>
                </a:cubicBezTo>
                <a:cubicBezTo>
                  <a:pt x="1703387" y="194354"/>
                  <a:pt x="1705396" y="192360"/>
                  <a:pt x="1705396" y="192360"/>
                </a:cubicBezTo>
                <a:cubicBezTo>
                  <a:pt x="1707405" y="190366"/>
                  <a:pt x="1705396" y="188373"/>
                  <a:pt x="1705396" y="184386"/>
                </a:cubicBezTo>
                <a:cubicBezTo>
                  <a:pt x="1705396" y="180398"/>
                  <a:pt x="1707405" y="172424"/>
                  <a:pt x="1707405" y="168437"/>
                </a:cubicBezTo>
                <a:cubicBezTo>
                  <a:pt x="1709413" y="164450"/>
                  <a:pt x="1715439" y="164450"/>
                  <a:pt x="1719457" y="164450"/>
                </a:cubicBezTo>
                <a:cubicBezTo>
                  <a:pt x="1723474" y="162456"/>
                  <a:pt x="1717448" y="160462"/>
                  <a:pt x="1715439" y="156475"/>
                </a:cubicBezTo>
                <a:cubicBezTo>
                  <a:pt x="1715439" y="154482"/>
                  <a:pt x="1719457" y="148501"/>
                  <a:pt x="1719457" y="148501"/>
                </a:cubicBezTo>
                <a:cubicBezTo>
                  <a:pt x="1719457" y="148501"/>
                  <a:pt x="1725483" y="142520"/>
                  <a:pt x="1727491" y="142520"/>
                </a:cubicBezTo>
                <a:cubicBezTo>
                  <a:pt x="1727491" y="142520"/>
                  <a:pt x="1729500" y="140526"/>
                  <a:pt x="1727491" y="138533"/>
                </a:cubicBezTo>
                <a:cubicBezTo>
                  <a:pt x="1727491" y="134546"/>
                  <a:pt x="1729500" y="130558"/>
                  <a:pt x="1731509" y="130558"/>
                </a:cubicBezTo>
                <a:cubicBezTo>
                  <a:pt x="1733517" y="130558"/>
                  <a:pt x="1735526" y="134546"/>
                  <a:pt x="1735526" y="134546"/>
                </a:cubicBezTo>
                <a:cubicBezTo>
                  <a:pt x="1735526" y="134546"/>
                  <a:pt x="1735526" y="144514"/>
                  <a:pt x="1739543" y="144514"/>
                </a:cubicBezTo>
                <a:cubicBezTo>
                  <a:pt x="1743561" y="144514"/>
                  <a:pt x="1741552" y="136539"/>
                  <a:pt x="1741552" y="136539"/>
                </a:cubicBezTo>
                <a:cubicBezTo>
                  <a:pt x="1741552" y="136539"/>
                  <a:pt x="1739543" y="134546"/>
                  <a:pt x="1741552" y="128565"/>
                </a:cubicBezTo>
                <a:cubicBezTo>
                  <a:pt x="1741552" y="125574"/>
                  <a:pt x="1743561" y="124578"/>
                  <a:pt x="1745821" y="124328"/>
                </a:cubicBezTo>
                <a:close/>
                <a:moveTo>
                  <a:pt x="1180782" y="115610"/>
                </a:moveTo>
                <a:cubicBezTo>
                  <a:pt x="1181258" y="116120"/>
                  <a:pt x="1181734" y="117141"/>
                  <a:pt x="1181734" y="117141"/>
                </a:cubicBezTo>
                <a:cubicBezTo>
                  <a:pt x="1181734" y="117141"/>
                  <a:pt x="1183639" y="117141"/>
                  <a:pt x="1183639" y="119182"/>
                </a:cubicBezTo>
                <a:cubicBezTo>
                  <a:pt x="1185544" y="121223"/>
                  <a:pt x="1187449" y="121223"/>
                  <a:pt x="1187449" y="121223"/>
                </a:cubicBezTo>
                <a:cubicBezTo>
                  <a:pt x="1187449" y="121223"/>
                  <a:pt x="1187449" y="121223"/>
                  <a:pt x="1191259" y="121223"/>
                </a:cubicBezTo>
                <a:cubicBezTo>
                  <a:pt x="1191259" y="121223"/>
                  <a:pt x="1193164" y="123264"/>
                  <a:pt x="1195069" y="123264"/>
                </a:cubicBezTo>
                <a:cubicBezTo>
                  <a:pt x="1196974" y="121223"/>
                  <a:pt x="1196974" y="123264"/>
                  <a:pt x="1195069" y="125305"/>
                </a:cubicBezTo>
                <a:cubicBezTo>
                  <a:pt x="1195069" y="127346"/>
                  <a:pt x="1191259" y="127346"/>
                  <a:pt x="1187449" y="127346"/>
                </a:cubicBezTo>
                <a:cubicBezTo>
                  <a:pt x="1185544" y="127346"/>
                  <a:pt x="1183639" y="123264"/>
                  <a:pt x="1183639" y="123264"/>
                </a:cubicBezTo>
                <a:cubicBezTo>
                  <a:pt x="1183639" y="123264"/>
                  <a:pt x="1177924" y="121223"/>
                  <a:pt x="1179829" y="117141"/>
                </a:cubicBezTo>
                <a:cubicBezTo>
                  <a:pt x="1179829" y="115100"/>
                  <a:pt x="1180306" y="115100"/>
                  <a:pt x="1180782" y="115610"/>
                </a:cubicBezTo>
                <a:close/>
                <a:moveTo>
                  <a:pt x="581025" y="98772"/>
                </a:moveTo>
                <a:cubicBezTo>
                  <a:pt x="581025" y="98772"/>
                  <a:pt x="582613" y="98772"/>
                  <a:pt x="582613" y="100889"/>
                </a:cubicBezTo>
                <a:cubicBezTo>
                  <a:pt x="582613" y="105122"/>
                  <a:pt x="581025" y="105122"/>
                  <a:pt x="579438" y="103005"/>
                </a:cubicBezTo>
                <a:cubicBezTo>
                  <a:pt x="579438" y="100889"/>
                  <a:pt x="581025" y="98772"/>
                  <a:pt x="581025" y="98772"/>
                </a:cubicBezTo>
                <a:close/>
                <a:moveTo>
                  <a:pt x="796131" y="90834"/>
                </a:moveTo>
                <a:cubicBezTo>
                  <a:pt x="796131" y="90834"/>
                  <a:pt x="797983" y="90834"/>
                  <a:pt x="799835" y="92818"/>
                </a:cubicBezTo>
                <a:cubicBezTo>
                  <a:pt x="801687" y="94803"/>
                  <a:pt x="801687" y="100756"/>
                  <a:pt x="801687" y="102740"/>
                </a:cubicBezTo>
                <a:cubicBezTo>
                  <a:pt x="801687" y="106709"/>
                  <a:pt x="797983" y="106709"/>
                  <a:pt x="796131" y="102740"/>
                </a:cubicBezTo>
                <a:cubicBezTo>
                  <a:pt x="794279" y="100756"/>
                  <a:pt x="790574" y="100756"/>
                  <a:pt x="792426" y="96787"/>
                </a:cubicBezTo>
                <a:cubicBezTo>
                  <a:pt x="792426" y="92818"/>
                  <a:pt x="796131" y="90834"/>
                  <a:pt x="796131" y="90834"/>
                </a:cubicBezTo>
                <a:close/>
                <a:moveTo>
                  <a:pt x="617084" y="90834"/>
                </a:moveTo>
                <a:cubicBezTo>
                  <a:pt x="619012" y="90834"/>
                  <a:pt x="622868" y="94803"/>
                  <a:pt x="624796" y="98771"/>
                </a:cubicBezTo>
                <a:cubicBezTo>
                  <a:pt x="624796" y="102740"/>
                  <a:pt x="626724" y="100756"/>
                  <a:pt x="626724" y="102740"/>
                </a:cubicBezTo>
                <a:cubicBezTo>
                  <a:pt x="628651" y="104725"/>
                  <a:pt x="624796" y="106709"/>
                  <a:pt x="622868" y="106709"/>
                </a:cubicBezTo>
                <a:cubicBezTo>
                  <a:pt x="620940" y="106709"/>
                  <a:pt x="613229" y="106709"/>
                  <a:pt x="613229" y="104725"/>
                </a:cubicBezTo>
                <a:cubicBezTo>
                  <a:pt x="611301" y="104725"/>
                  <a:pt x="607446" y="104725"/>
                  <a:pt x="605518" y="104725"/>
                </a:cubicBezTo>
                <a:cubicBezTo>
                  <a:pt x="601663" y="106709"/>
                  <a:pt x="601663" y="104725"/>
                  <a:pt x="601663" y="100756"/>
                </a:cubicBezTo>
                <a:cubicBezTo>
                  <a:pt x="601663" y="98771"/>
                  <a:pt x="605518" y="100756"/>
                  <a:pt x="605518" y="100756"/>
                </a:cubicBezTo>
                <a:cubicBezTo>
                  <a:pt x="605518" y="100756"/>
                  <a:pt x="607446" y="100756"/>
                  <a:pt x="609374" y="98771"/>
                </a:cubicBezTo>
                <a:cubicBezTo>
                  <a:pt x="611301" y="98771"/>
                  <a:pt x="613229" y="96787"/>
                  <a:pt x="613229" y="94803"/>
                </a:cubicBezTo>
                <a:cubicBezTo>
                  <a:pt x="613229" y="92818"/>
                  <a:pt x="613229" y="90834"/>
                  <a:pt x="617084" y="90834"/>
                </a:cubicBezTo>
                <a:close/>
                <a:moveTo>
                  <a:pt x="584729" y="90834"/>
                </a:moveTo>
                <a:cubicBezTo>
                  <a:pt x="586846" y="90834"/>
                  <a:pt x="586846" y="92818"/>
                  <a:pt x="586846" y="94803"/>
                </a:cubicBezTo>
                <a:cubicBezTo>
                  <a:pt x="588963" y="96787"/>
                  <a:pt x="588963" y="96787"/>
                  <a:pt x="586846" y="96787"/>
                </a:cubicBezTo>
                <a:cubicBezTo>
                  <a:pt x="586846" y="98772"/>
                  <a:pt x="582613" y="98772"/>
                  <a:pt x="582613" y="94803"/>
                </a:cubicBezTo>
                <a:cubicBezTo>
                  <a:pt x="582613" y="90834"/>
                  <a:pt x="584729" y="90834"/>
                  <a:pt x="584729" y="90834"/>
                </a:cubicBezTo>
                <a:close/>
                <a:moveTo>
                  <a:pt x="1624660" y="84484"/>
                </a:moveTo>
                <a:cubicBezTo>
                  <a:pt x="1624660" y="84484"/>
                  <a:pt x="1628658" y="84484"/>
                  <a:pt x="1628658" y="86478"/>
                </a:cubicBezTo>
                <a:cubicBezTo>
                  <a:pt x="1628658" y="90465"/>
                  <a:pt x="1630657" y="88471"/>
                  <a:pt x="1634655" y="90465"/>
                </a:cubicBezTo>
                <a:cubicBezTo>
                  <a:pt x="1638653" y="92458"/>
                  <a:pt x="1642651" y="98439"/>
                  <a:pt x="1644650" y="100433"/>
                </a:cubicBezTo>
                <a:cubicBezTo>
                  <a:pt x="1644650" y="102426"/>
                  <a:pt x="1644650" y="106414"/>
                  <a:pt x="1642651" y="110401"/>
                </a:cubicBezTo>
                <a:cubicBezTo>
                  <a:pt x="1638653" y="114388"/>
                  <a:pt x="1636654" y="116382"/>
                  <a:pt x="1634655" y="116382"/>
                </a:cubicBezTo>
                <a:cubicBezTo>
                  <a:pt x="1634655" y="116382"/>
                  <a:pt x="1630657" y="118375"/>
                  <a:pt x="1632656" y="118375"/>
                </a:cubicBezTo>
                <a:cubicBezTo>
                  <a:pt x="1634655" y="120369"/>
                  <a:pt x="1638653" y="120369"/>
                  <a:pt x="1640652" y="118375"/>
                </a:cubicBezTo>
                <a:cubicBezTo>
                  <a:pt x="1640652" y="118375"/>
                  <a:pt x="1644650" y="116382"/>
                  <a:pt x="1646649" y="114388"/>
                </a:cubicBezTo>
                <a:cubicBezTo>
                  <a:pt x="1648648" y="110401"/>
                  <a:pt x="1652647" y="108407"/>
                  <a:pt x="1650647" y="102426"/>
                </a:cubicBezTo>
                <a:cubicBezTo>
                  <a:pt x="1650647" y="102426"/>
                  <a:pt x="1646649" y="96446"/>
                  <a:pt x="1650647" y="94452"/>
                </a:cubicBezTo>
                <a:cubicBezTo>
                  <a:pt x="1654646" y="92458"/>
                  <a:pt x="1660643" y="92458"/>
                  <a:pt x="1660643" y="96446"/>
                </a:cubicBezTo>
                <a:cubicBezTo>
                  <a:pt x="1662642" y="100433"/>
                  <a:pt x="1664641" y="100433"/>
                  <a:pt x="1666640" y="100433"/>
                </a:cubicBezTo>
                <a:cubicBezTo>
                  <a:pt x="1668639" y="100433"/>
                  <a:pt x="1670638" y="100433"/>
                  <a:pt x="1670638" y="100433"/>
                </a:cubicBezTo>
                <a:cubicBezTo>
                  <a:pt x="1670638" y="100433"/>
                  <a:pt x="1676635" y="96446"/>
                  <a:pt x="1676635" y="98439"/>
                </a:cubicBezTo>
                <a:cubicBezTo>
                  <a:pt x="1678635" y="100433"/>
                  <a:pt x="1678635" y="100433"/>
                  <a:pt x="1680634" y="100433"/>
                </a:cubicBezTo>
                <a:cubicBezTo>
                  <a:pt x="1682633" y="100433"/>
                  <a:pt x="1686631" y="104420"/>
                  <a:pt x="1686631" y="106414"/>
                </a:cubicBezTo>
                <a:cubicBezTo>
                  <a:pt x="1686631" y="110401"/>
                  <a:pt x="1686631" y="112394"/>
                  <a:pt x="1686631" y="112394"/>
                </a:cubicBezTo>
                <a:cubicBezTo>
                  <a:pt x="1690629" y="112394"/>
                  <a:pt x="1690629" y="116382"/>
                  <a:pt x="1690629" y="118375"/>
                </a:cubicBezTo>
                <a:cubicBezTo>
                  <a:pt x="1690629" y="122362"/>
                  <a:pt x="1690629" y="124356"/>
                  <a:pt x="1692628" y="126350"/>
                </a:cubicBezTo>
                <a:cubicBezTo>
                  <a:pt x="1694627" y="130337"/>
                  <a:pt x="1692628" y="134324"/>
                  <a:pt x="1690629" y="136318"/>
                </a:cubicBezTo>
                <a:cubicBezTo>
                  <a:pt x="1688630" y="136318"/>
                  <a:pt x="1686631" y="140305"/>
                  <a:pt x="1690629" y="144292"/>
                </a:cubicBezTo>
                <a:cubicBezTo>
                  <a:pt x="1694627" y="148279"/>
                  <a:pt x="1698625" y="156254"/>
                  <a:pt x="1698625" y="158247"/>
                </a:cubicBezTo>
                <a:cubicBezTo>
                  <a:pt x="1696626" y="160241"/>
                  <a:pt x="1694627" y="164228"/>
                  <a:pt x="1694627" y="164228"/>
                </a:cubicBezTo>
                <a:cubicBezTo>
                  <a:pt x="1694627" y="164228"/>
                  <a:pt x="1686631" y="170209"/>
                  <a:pt x="1682633" y="168215"/>
                </a:cubicBezTo>
                <a:cubicBezTo>
                  <a:pt x="1678635" y="166222"/>
                  <a:pt x="1672637" y="166222"/>
                  <a:pt x="1670638" y="168215"/>
                </a:cubicBezTo>
                <a:cubicBezTo>
                  <a:pt x="1668639" y="168215"/>
                  <a:pt x="1658644" y="168215"/>
                  <a:pt x="1658644" y="168215"/>
                </a:cubicBezTo>
                <a:cubicBezTo>
                  <a:pt x="1658644" y="168215"/>
                  <a:pt x="1648648" y="168215"/>
                  <a:pt x="1646649" y="166222"/>
                </a:cubicBezTo>
                <a:cubicBezTo>
                  <a:pt x="1644650" y="162235"/>
                  <a:pt x="1642651" y="162235"/>
                  <a:pt x="1638653" y="162235"/>
                </a:cubicBezTo>
                <a:cubicBezTo>
                  <a:pt x="1636654" y="162235"/>
                  <a:pt x="1630657" y="160241"/>
                  <a:pt x="1628658" y="158247"/>
                </a:cubicBezTo>
                <a:cubicBezTo>
                  <a:pt x="1628658" y="156254"/>
                  <a:pt x="1622660" y="154260"/>
                  <a:pt x="1622660" y="154260"/>
                </a:cubicBezTo>
                <a:cubicBezTo>
                  <a:pt x="1612665" y="152266"/>
                  <a:pt x="1612665" y="152266"/>
                  <a:pt x="1612665" y="152266"/>
                </a:cubicBezTo>
                <a:cubicBezTo>
                  <a:pt x="1612665" y="152266"/>
                  <a:pt x="1610666" y="150273"/>
                  <a:pt x="1606668" y="148279"/>
                </a:cubicBezTo>
                <a:cubicBezTo>
                  <a:pt x="1604669" y="148279"/>
                  <a:pt x="1600671" y="146286"/>
                  <a:pt x="1598672" y="146286"/>
                </a:cubicBezTo>
                <a:cubicBezTo>
                  <a:pt x="1594673" y="148279"/>
                  <a:pt x="1586677" y="148279"/>
                  <a:pt x="1582679" y="148279"/>
                </a:cubicBezTo>
                <a:cubicBezTo>
                  <a:pt x="1578681" y="148279"/>
                  <a:pt x="1564687" y="140305"/>
                  <a:pt x="1566686" y="134324"/>
                </a:cubicBezTo>
                <a:cubicBezTo>
                  <a:pt x="1566686" y="128343"/>
                  <a:pt x="1566686" y="126350"/>
                  <a:pt x="1566686" y="126350"/>
                </a:cubicBezTo>
                <a:cubicBezTo>
                  <a:pt x="1566686" y="126350"/>
                  <a:pt x="1568685" y="124356"/>
                  <a:pt x="1564687" y="126350"/>
                </a:cubicBezTo>
                <a:cubicBezTo>
                  <a:pt x="1560689" y="126350"/>
                  <a:pt x="1556691" y="126350"/>
                  <a:pt x="1552693" y="126350"/>
                </a:cubicBezTo>
                <a:cubicBezTo>
                  <a:pt x="1548695" y="126350"/>
                  <a:pt x="1542697" y="126350"/>
                  <a:pt x="1540698" y="126350"/>
                </a:cubicBezTo>
                <a:cubicBezTo>
                  <a:pt x="1538699" y="126350"/>
                  <a:pt x="1532702" y="126350"/>
                  <a:pt x="1532702" y="122362"/>
                </a:cubicBezTo>
                <a:cubicBezTo>
                  <a:pt x="1530703" y="118375"/>
                  <a:pt x="1526705" y="116382"/>
                  <a:pt x="1524706" y="118375"/>
                </a:cubicBezTo>
                <a:cubicBezTo>
                  <a:pt x="1522707" y="122362"/>
                  <a:pt x="1512711" y="122362"/>
                  <a:pt x="1514710" y="120369"/>
                </a:cubicBezTo>
                <a:cubicBezTo>
                  <a:pt x="1516710" y="118375"/>
                  <a:pt x="1516710" y="118375"/>
                  <a:pt x="1516710" y="118375"/>
                </a:cubicBezTo>
                <a:cubicBezTo>
                  <a:pt x="1516710" y="118375"/>
                  <a:pt x="1516710" y="116382"/>
                  <a:pt x="1512711" y="116382"/>
                </a:cubicBezTo>
                <a:cubicBezTo>
                  <a:pt x="1508713" y="116382"/>
                  <a:pt x="1508713" y="114388"/>
                  <a:pt x="1510712" y="114388"/>
                </a:cubicBezTo>
                <a:cubicBezTo>
                  <a:pt x="1512711" y="112394"/>
                  <a:pt x="1514710" y="112394"/>
                  <a:pt x="1514710" y="108407"/>
                </a:cubicBezTo>
                <a:cubicBezTo>
                  <a:pt x="1512711" y="106414"/>
                  <a:pt x="1506714" y="106414"/>
                  <a:pt x="1506714" y="106414"/>
                </a:cubicBezTo>
                <a:cubicBezTo>
                  <a:pt x="1506714" y="106414"/>
                  <a:pt x="1502716" y="108407"/>
                  <a:pt x="1498718" y="108407"/>
                </a:cubicBezTo>
                <a:cubicBezTo>
                  <a:pt x="1496719" y="106414"/>
                  <a:pt x="1494720" y="106414"/>
                  <a:pt x="1494720" y="104420"/>
                </a:cubicBezTo>
                <a:cubicBezTo>
                  <a:pt x="1494720" y="100433"/>
                  <a:pt x="1490722" y="102426"/>
                  <a:pt x="1490722" y="102426"/>
                </a:cubicBezTo>
                <a:cubicBezTo>
                  <a:pt x="1490722" y="102426"/>
                  <a:pt x="1486723" y="106414"/>
                  <a:pt x="1486723" y="100433"/>
                </a:cubicBezTo>
                <a:lnTo>
                  <a:pt x="1486723" y="98439"/>
                </a:lnTo>
                <a:cubicBezTo>
                  <a:pt x="1486723" y="98439"/>
                  <a:pt x="1482725" y="92458"/>
                  <a:pt x="1484724" y="92458"/>
                </a:cubicBezTo>
                <a:cubicBezTo>
                  <a:pt x="1488722" y="92458"/>
                  <a:pt x="1490722" y="92458"/>
                  <a:pt x="1492721" y="94452"/>
                </a:cubicBezTo>
                <a:cubicBezTo>
                  <a:pt x="1494720" y="96446"/>
                  <a:pt x="1496719" y="94452"/>
                  <a:pt x="1498718" y="92458"/>
                </a:cubicBezTo>
                <a:cubicBezTo>
                  <a:pt x="1498718" y="92458"/>
                  <a:pt x="1502716" y="92458"/>
                  <a:pt x="1506714" y="94452"/>
                </a:cubicBezTo>
                <a:cubicBezTo>
                  <a:pt x="1508713" y="96446"/>
                  <a:pt x="1512711" y="96446"/>
                  <a:pt x="1514710" y="96446"/>
                </a:cubicBezTo>
                <a:cubicBezTo>
                  <a:pt x="1516710" y="94452"/>
                  <a:pt x="1522707" y="96446"/>
                  <a:pt x="1520708" y="98439"/>
                </a:cubicBezTo>
                <a:cubicBezTo>
                  <a:pt x="1518709" y="100433"/>
                  <a:pt x="1518709" y="100433"/>
                  <a:pt x="1520708" y="100433"/>
                </a:cubicBezTo>
                <a:cubicBezTo>
                  <a:pt x="1522707" y="98439"/>
                  <a:pt x="1538699" y="96446"/>
                  <a:pt x="1542697" y="100433"/>
                </a:cubicBezTo>
                <a:cubicBezTo>
                  <a:pt x="1546696" y="104420"/>
                  <a:pt x="1548695" y="108407"/>
                  <a:pt x="1546696" y="110401"/>
                </a:cubicBezTo>
                <a:cubicBezTo>
                  <a:pt x="1544697" y="114388"/>
                  <a:pt x="1538699" y="114388"/>
                  <a:pt x="1538699" y="114388"/>
                </a:cubicBezTo>
                <a:cubicBezTo>
                  <a:pt x="1538699" y="114388"/>
                  <a:pt x="1534701" y="114388"/>
                  <a:pt x="1534701" y="116382"/>
                </a:cubicBezTo>
                <a:cubicBezTo>
                  <a:pt x="1534701" y="120369"/>
                  <a:pt x="1538699" y="118375"/>
                  <a:pt x="1544697" y="118375"/>
                </a:cubicBezTo>
                <a:cubicBezTo>
                  <a:pt x="1550694" y="116382"/>
                  <a:pt x="1554692" y="114388"/>
                  <a:pt x="1554692" y="114388"/>
                </a:cubicBezTo>
                <a:cubicBezTo>
                  <a:pt x="1554692" y="112394"/>
                  <a:pt x="1564687" y="112394"/>
                  <a:pt x="1564687" y="112394"/>
                </a:cubicBezTo>
                <a:cubicBezTo>
                  <a:pt x="1564687" y="112394"/>
                  <a:pt x="1568685" y="112394"/>
                  <a:pt x="1568685" y="110401"/>
                </a:cubicBezTo>
                <a:cubicBezTo>
                  <a:pt x="1568685" y="108407"/>
                  <a:pt x="1566686" y="104420"/>
                  <a:pt x="1568685" y="100433"/>
                </a:cubicBezTo>
                <a:cubicBezTo>
                  <a:pt x="1572684" y="94452"/>
                  <a:pt x="1576682" y="94452"/>
                  <a:pt x="1576682" y="94452"/>
                </a:cubicBezTo>
                <a:cubicBezTo>
                  <a:pt x="1576682" y="94452"/>
                  <a:pt x="1580680" y="92458"/>
                  <a:pt x="1580680" y="94452"/>
                </a:cubicBezTo>
                <a:cubicBezTo>
                  <a:pt x="1580680" y="96446"/>
                  <a:pt x="1586677" y="96446"/>
                  <a:pt x="1586677" y="94452"/>
                </a:cubicBezTo>
                <a:cubicBezTo>
                  <a:pt x="1588676" y="94452"/>
                  <a:pt x="1590675" y="92458"/>
                  <a:pt x="1594673" y="92458"/>
                </a:cubicBezTo>
                <a:cubicBezTo>
                  <a:pt x="1600671" y="92458"/>
                  <a:pt x="1602670" y="92458"/>
                  <a:pt x="1606668" y="90465"/>
                </a:cubicBezTo>
                <a:cubicBezTo>
                  <a:pt x="1608667" y="88471"/>
                  <a:pt x="1610666" y="86478"/>
                  <a:pt x="1614664" y="86478"/>
                </a:cubicBezTo>
                <a:cubicBezTo>
                  <a:pt x="1618662" y="88471"/>
                  <a:pt x="1624660" y="84484"/>
                  <a:pt x="1624660" y="84484"/>
                </a:cubicBezTo>
                <a:close/>
                <a:moveTo>
                  <a:pt x="685272" y="82897"/>
                </a:moveTo>
                <a:cubicBezTo>
                  <a:pt x="685272" y="82897"/>
                  <a:pt x="687388" y="82897"/>
                  <a:pt x="687388" y="85014"/>
                </a:cubicBezTo>
                <a:cubicBezTo>
                  <a:pt x="687388" y="87130"/>
                  <a:pt x="687388" y="89247"/>
                  <a:pt x="685272" y="89247"/>
                </a:cubicBezTo>
                <a:cubicBezTo>
                  <a:pt x="683155" y="89247"/>
                  <a:pt x="681038" y="87130"/>
                  <a:pt x="683155" y="85014"/>
                </a:cubicBezTo>
                <a:cubicBezTo>
                  <a:pt x="683155" y="82897"/>
                  <a:pt x="685272" y="82897"/>
                  <a:pt x="685272" y="82897"/>
                </a:cubicBezTo>
                <a:close/>
                <a:moveTo>
                  <a:pt x="706438" y="81309"/>
                </a:moveTo>
                <a:cubicBezTo>
                  <a:pt x="712788" y="83293"/>
                  <a:pt x="708555" y="87262"/>
                  <a:pt x="706438" y="89247"/>
                </a:cubicBezTo>
                <a:cubicBezTo>
                  <a:pt x="704322" y="89247"/>
                  <a:pt x="700088" y="87262"/>
                  <a:pt x="702205" y="83293"/>
                </a:cubicBezTo>
                <a:cubicBezTo>
                  <a:pt x="704322" y="81309"/>
                  <a:pt x="706438" y="81309"/>
                  <a:pt x="706438" y="81309"/>
                </a:cubicBezTo>
                <a:close/>
                <a:moveTo>
                  <a:pt x="591079" y="81309"/>
                </a:moveTo>
                <a:cubicBezTo>
                  <a:pt x="591079" y="81309"/>
                  <a:pt x="597429" y="81309"/>
                  <a:pt x="599546" y="81309"/>
                </a:cubicBezTo>
                <a:cubicBezTo>
                  <a:pt x="601663" y="83350"/>
                  <a:pt x="601663" y="87432"/>
                  <a:pt x="599546" y="87432"/>
                </a:cubicBezTo>
                <a:cubicBezTo>
                  <a:pt x="597429" y="87432"/>
                  <a:pt x="595313" y="91515"/>
                  <a:pt x="595313" y="93556"/>
                </a:cubicBezTo>
                <a:cubicBezTo>
                  <a:pt x="595313" y="95597"/>
                  <a:pt x="595313" y="95597"/>
                  <a:pt x="591079" y="95597"/>
                </a:cubicBezTo>
                <a:cubicBezTo>
                  <a:pt x="591079" y="95597"/>
                  <a:pt x="586846" y="93556"/>
                  <a:pt x="584729" y="89474"/>
                </a:cubicBezTo>
                <a:cubicBezTo>
                  <a:pt x="582613" y="85391"/>
                  <a:pt x="588963" y="85391"/>
                  <a:pt x="588963" y="85391"/>
                </a:cubicBezTo>
                <a:cubicBezTo>
                  <a:pt x="588963" y="85391"/>
                  <a:pt x="588963" y="85391"/>
                  <a:pt x="591079" y="85391"/>
                </a:cubicBezTo>
                <a:cubicBezTo>
                  <a:pt x="591079" y="85391"/>
                  <a:pt x="591079" y="81309"/>
                  <a:pt x="591079" y="81309"/>
                </a:cubicBezTo>
                <a:close/>
                <a:moveTo>
                  <a:pt x="690563" y="77076"/>
                </a:moveTo>
                <a:cubicBezTo>
                  <a:pt x="690563" y="74959"/>
                  <a:pt x="692945" y="77076"/>
                  <a:pt x="692945" y="77076"/>
                </a:cubicBezTo>
                <a:cubicBezTo>
                  <a:pt x="692945" y="77076"/>
                  <a:pt x="695326" y="77076"/>
                  <a:pt x="695326" y="77076"/>
                </a:cubicBezTo>
                <a:cubicBezTo>
                  <a:pt x="695326" y="79192"/>
                  <a:pt x="695326" y="81309"/>
                  <a:pt x="692945" y="81309"/>
                </a:cubicBezTo>
                <a:cubicBezTo>
                  <a:pt x="690563" y="81309"/>
                  <a:pt x="690563" y="81309"/>
                  <a:pt x="690563" y="77076"/>
                </a:cubicBezTo>
                <a:close/>
                <a:moveTo>
                  <a:pt x="656666" y="76547"/>
                </a:moveTo>
                <a:cubicBezTo>
                  <a:pt x="662549" y="76547"/>
                  <a:pt x="662549" y="80780"/>
                  <a:pt x="662549" y="80780"/>
                </a:cubicBezTo>
                <a:cubicBezTo>
                  <a:pt x="662549" y="80780"/>
                  <a:pt x="664510" y="80780"/>
                  <a:pt x="664510" y="82897"/>
                </a:cubicBezTo>
                <a:cubicBezTo>
                  <a:pt x="666471" y="82897"/>
                  <a:pt x="668432" y="82897"/>
                  <a:pt x="672354" y="82897"/>
                </a:cubicBezTo>
                <a:cubicBezTo>
                  <a:pt x="674315" y="82897"/>
                  <a:pt x="674315" y="85014"/>
                  <a:pt x="674315" y="85014"/>
                </a:cubicBezTo>
                <a:cubicBezTo>
                  <a:pt x="676276" y="87130"/>
                  <a:pt x="674315" y="89247"/>
                  <a:pt x="672354" y="89247"/>
                </a:cubicBezTo>
                <a:cubicBezTo>
                  <a:pt x="670393" y="91364"/>
                  <a:pt x="670393" y="93480"/>
                  <a:pt x="670393" y="93480"/>
                </a:cubicBezTo>
                <a:cubicBezTo>
                  <a:pt x="670393" y="95597"/>
                  <a:pt x="668432" y="95597"/>
                  <a:pt x="666471" y="95597"/>
                </a:cubicBezTo>
                <a:cubicBezTo>
                  <a:pt x="664510" y="93480"/>
                  <a:pt x="660588" y="95597"/>
                  <a:pt x="658627" y="93480"/>
                </a:cubicBezTo>
                <a:cubicBezTo>
                  <a:pt x="658627" y="93480"/>
                  <a:pt x="654705" y="93480"/>
                  <a:pt x="648821" y="93480"/>
                </a:cubicBezTo>
                <a:cubicBezTo>
                  <a:pt x="644899" y="93480"/>
                  <a:pt x="642938" y="93480"/>
                  <a:pt x="642938" y="89247"/>
                </a:cubicBezTo>
                <a:cubicBezTo>
                  <a:pt x="642938" y="85014"/>
                  <a:pt x="650782" y="87130"/>
                  <a:pt x="650782" y="87130"/>
                </a:cubicBezTo>
                <a:cubicBezTo>
                  <a:pt x="650782" y="87130"/>
                  <a:pt x="652744" y="89247"/>
                  <a:pt x="654705" y="89247"/>
                </a:cubicBezTo>
                <a:cubicBezTo>
                  <a:pt x="656666" y="87130"/>
                  <a:pt x="656666" y="85014"/>
                  <a:pt x="654705" y="85014"/>
                </a:cubicBezTo>
                <a:cubicBezTo>
                  <a:pt x="652744" y="85014"/>
                  <a:pt x="650782" y="82897"/>
                  <a:pt x="650782" y="80780"/>
                </a:cubicBezTo>
                <a:cubicBezTo>
                  <a:pt x="648821" y="76547"/>
                  <a:pt x="652744" y="76547"/>
                  <a:pt x="656666" y="76547"/>
                </a:cubicBezTo>
                <a:close/>
                <a:moveTo>
                  <a:pt x="768784" y="73372"/>
                </a:moveTo>
                <a:cubicBezTo>
                  <a:pt x="768784" y="73372"/>
                  <a:pt x="772825" y="73372"/>
                  <a:pt x="778886" y="73372"/>
                </a:cubicBezTo>
                <a:cubicBezTo>
                  <a:pt x="784947" y="73372"/>
                  <a:pt x="786968" y="75356"/>
                  <a:pt x="788988" y="77341"/>
                </a:cubicBezTo>
                <a:cubicBezTo>
                  <a:pt x="788988" y="81310"/>
                  <a:pt x="786968" y="81310"/>
                  <a:pt x="784947" y="83294"/>
                </a:cubicBezTo>
                <a:cubicBezTo>
                  <a:pt x="780906" y="83294"/>
                  <a:pt x="776866" y="81310"/>
                  <a:pt x="774845" y="81310"/>
                </a:cubicBezTo>
                <a:cubicBezTo>
                  <a:pt x="772825" y="83294"/>
                  <a:pt x="776866" y="87263"/>
                  <a:pt x="778886" y="89247"/>
                </a:cubicBezTo>
                <a:cubicBezTo>
                  <a:pt x="778886" y="91232"/>
                  <a:pt x="774845" y="91232"/>
                  <a:pt x="770804" y="89247"/>
                </a:cubicBezTo>
                <a:cubicBezTo>
                  <a:pt x="768784" y="87263"/>
                  <a:pt x="768784" y="89247"/>
                  <a:pt x="768784" y="93216"/>
                </a:cubicBezTo>
                <a:cubicBezTo>
                  <a:pt x="768784" y="95201"/>
                  <a:pt x="762722" y="97185"/>
                  <a:pt x="758681" y="95201"/>
                </a:cubicBezTo>
                <a:cubicBezTo>
                  <a:pt x="756661" y="95201"/>
                  <a:pt x="752620" y="89247"/>
                  <a:pt x="748579" y="87263"/>
                </a:cubicBezTo>
                <a:lnTo>
                  <a:pt x="746867" y="83899"/>
                </a:lnTo>
                <a:lnTo>
                  <a:pt x="746867" y="91231"/>
                </a:lnTo>
                <a:cubicBezTo>
                  <a:pt x="748877" y="91231"/>
                  <a:pt x="750888" y="97184"/>
                  <a:pt x="746867" y="97184"/>
                </a:cubicBezTo>
                <a:cubicBezTo>
                  <a:pt x="744856" y="97184"/>
                  <a:pt x="736812" y="97184"/>
                  <a:pt x="736812" y="97184"/>
                </a:cubicBezTo>
                <a:cubicBezTo>
                  <a:pt x="736812" y="97184"/>
                  <a:pt x="730780" y="95200"/>
                  <a:pt x="730780" y="97184"/>
                </a:cubicBezTo>
                <a:cubicBezTo>
                  <a:pt x="728769" y="97184"/>
                  <a:pt x="722736" y="95200"/>
                  <a:pt x="720725" y="93215"/>
                </a:cubicBezTo>
                <a:cubicBezTo>
                  <a:pt x="720725" y="93215"/>
                  <a:pt x="720725" y="91231"/>
                  <a:pt x="722736" y="89246"/>
                </a:cubicBezTo>
                <a:cubicBezTo>
                  <a:pt x="724747" y="89246"/>
                  <a:pt x="724747" y="87262"/>
                  <a:pt x="724747" y="85278"/>
                </a:cubicBezTo>
                <a:cubicBezTo>
                  <a:pt x="724747" y="85278"/>
                  <a:pt x="722736" y="81309"/>
                  <a:pt x="724747" y="81309"/>
                </a:cubicBezTo>
                <a:cubicBezTo>
                  <a:pt x="728769" y="81309"/>
                  <a:pt x="730780" y="81309"/>
                  <a:pt x="732790" y="83293"/>
                </a:cubicBezTo>
                <a:cubicBezTo>
                  <a:pt x="732790" y="85278"/>
                  <a:pt x="736812" y="85278"/>
                  <a:pt x="738823" y="83293"/>
                </a:cubicBezTo>
                <a:cubicBezTo>
                  <a:pt x="738823" y="83293"/>
                  <a:pt x="738823" y="81309"/>
                  <a:pt x="740834" y="81309"/>
                </a:cubicBezTo>
                <a:lnTo>
                  <a:pt x="746496" y="83172"/>
                </a:lnTo>
                <a:lnTo>
                  <a:pt x="744538" y="79325"/>
                </a:lnTo>
                <a:cubicBezTo>
                  <a:pt x="746559" y="73372"/>
                  <a:pt x="750600" y="75356"/>
                  <a:pt x="750600" y="75356"/>
                </a:cubicBezTo>
                <a:lnTo>
                  <a:pt x="758681" y="75356"/>
                </a:lnTo>
                <a:cubicBezTo>
                  <a:pt x="758681" y="75356"/>
                  <a:pt x="758681" y="75356"/>
                  <a:pt x="760702" y="75356"/>
                </a:cubicBezTo>
                <a:cubicBezTo>
                  <a:pt x="760702" y="73372"/>
                  <a:pt x="762722" y="73372"/>
                  <a:pt x="764743" y="75356"/>
                </a:cubicBezTo>
                <a:cubicBezTo>
                  <a:pt x="766763" y="75356"/>
                  <a:pt x="768784" y="73372"/>
                  <a:pt x="768784" y="73372"/>
                </a:cubicBezTo>
                <a:close/>
                <a:moveTo>
                  <a:pt x="704851" y="73372"/>
                </a:moveTo>
                <a:cubicBezTo>
                  <a:pt x="704851" y="73372"/>
                  <a:pt x="706438" y="74959"/>
                  <a:pt x="706438" y="76547"/>
                </a:cubicBezTo>
                <a:cubicBezTo>
                  <a:pt x="706438" y="76547"/>
                  <a:pt x="703263" y="76547"/>
                  <a:pt x="703263" y="76547"/>
                </a:cubicBezTo>
                <a:cubicBezTo>
                  <a:pt x="703263" y="74959"/>
                  <a:pt x="704851" y="73372"/>
                  <a:pt x="704851" y="73372"/>
                </a:cubicBezTo>
                <a:close/>
                <a:moveTo>
                  <a:pt x="718186" y="70196"/>
                </a:moveTo>
                <a:cubicBezTo>
                  <a:pt x="719297" y="70196"/>
                  <a:pt x="720408" y="70726"/>
                  <a:pt x="720408" y="70726"/>
                </a:cubicBezTo>
                <a:cubicBezTo>
                  <a:pt x="720408" y="70726"/>
                  <a:pt x="722631" y="68609"/>
                  <a:pt x="724854" y="70726"/>
                </a:cubicBezTo>
                <a:cubicBezTo>
                  <a:pt x="727076" y="70726"/>
                  <a:pt x="727076" y="74959"/>
                  <a:pt x="727076" y="77076"/>
                </a:cubicBezTo>
                <a:cubicBezTo>
                  <a:pt x="727076" y="81309"/>
                  <a:pt x="724854" y="79192"/>
                  <a:pt x="724854" y="79192"/>
                </a:cubicBezTo>
                <a:cubicBezTo>
                  <a:pt x="724854" y="79192"/>
                  <a:pt x="722631" y="79192"/>
                  <a:pt x="720408" y="77076"/>
                </a:cubicBezTo>
                <a:cubicBezTo>
                  <a:pt x="715963" y="77076"/>
                  <a:pt x="715963" y="77076"/>
                  <a:pt x="715963" y="72842"/>
                </a:cubicBezTo>
                <a:cubicBezTo>
                  <a:pt x="715963" y="70726"/>
                  <a:pt x="717075" y="70196"/>
                  <a:pt x="718186" y="70196"/>
                </a:cubicBezTo>
                <a:close/>
                <a:moveTo>
                  <a:pt x="696119" y="67339"/>
                </a:moveTo>
                <a:cubicBezTo>
                  <a:pt x="700088" y="67339"/>
                  <a:pt x="700088" y="69244"/>
                  <a:pt x="700088" y="71149"/>
                </a:cubicBezTo>
                <a:cubicBezTo>
                  <a:pt x="700088" y="73054"/>
                  <a:pt x="700088" y="73054"/>
                  <a:pt x="700088" y="73054"/>
                </a:cubicBezTo>
                <a:cubicBezTo>
                  <a:pt x="700088" y="73054"/>
                  <a:pt x="692150" y="74959"/>
                  <a:pt x="692150" y="71149"/>
                </a:cubicBezTo>
                <a:cubicBezTo>
                  <a:pt x="692150" y="67339"/>
                  <a:pt x="694135" y="65434"/>
                  <a:pt x="696119" y="67339"/>
                </a:cubicBezTo>
                <a:close/>
                <a:moveTo>
                  <a:pt x="705248" y="65434"/>
                </a:moveTo>
                <a:cubicBezTo>
                  <a:pt x="705248" y="65434"/>
                  <a:pt x="711201" y="67418"/>
                  <a:pt x="709217" y="69403"/>
                </a:cubicBezTo>
                <a:cubicBezTo>
                  <a:pt x="707232" y="73372"/>
                  <a:pt x="703263" y="69403"/>
                  <a:pt x="703263" y="67418"/>
                </a:cubicBezTo>
                <a:cubicBezTo>
                  <a:pt x="703263" y="65434"/>
                  <a:pt x="705248" y="65434"/>
                  <a:pt x="705248" y="65434"/>
                </a:cubicBezTo>
                <a:close/>
                <a:moveTo>
                  <a:pt x="675142" y="65335"/>
                </a:moveTo>
                <a:cubicBezTo>
                  <a:pt x="676162" y="65335"/>
                  <a:pt x="677183" y="65831"/>
                  <a:pt x="677183" y="65831"/>
                </a:cubicBezTo>
                <a:cubicBezTo>
                  <a:pt x="677183" y="65831"/>
                  <a:pt x="679224" y="65831"/>
                  <a:pt x="681265" y="67816"/>
                </a:cubicBezTo>
                <a:cubicBezTo>
                  <a:pt x="683306" y="67816"/>
                  <a:pt x="685347" y="69800"/>
                  <a:pt x="685347" y="71784"/>
                </a:cubicBezTo>
                <a:cubicBezTo>
                  <a:pt x="687388" y="75753"/>
                  <a:pt x="687388" y="77738"/>
                  <a:pt x="683306" y="79722"/>
                </a:cubicBezTo>
                <a:cubicBezTo>
                  <a:pt x="679224" y="79722"/>
                  <a:pt x="677183" y="77738"/>
                  <a:pt x="677183" y="75753"/>
                </a:cubicBezTo>
                <a:cubicBezTo>
                  <a:pt x="677183" y="73769"/>
                  <a:pt x="675141" y="69800"/>
                  <a:pt x="673100" y="67816"/>
                </a:cubicBezTo>
                <a:cubicBezTo>
                  <a:pt x="673100" y="65831"/>
                  <a:pt x="674121" y="65335"/>
                  <a:pt x="675142" y="65335"/>
                </a:cubicBezTo>
                <a:close/>
                <a:moveTo>
                  <a:pt x="780521" y="63846"/>
                </a:moveTo>
                <a:cubicBezTo>
                  <a:pt x="782637" y="63846"/>
                  <a:pt x="782637" y="63846"/>
                  <a:pt x="782637" y="67021"/>
                </a:cubicBezTo>
                <a:cubicBezTo>
                  <a:pt x="782637" y="68608"/>
                  <a:pt x="776287" y="68608"/>
                  <a:pt x="776287" y="67021"/>
                </a:cubicBezTo>
                <a:cubicBezTo>
                  <a:pt x="776287" y="63846"/>
                  <a:pt x="780521" y="63846"/>
                  <a:pt x="780521" y="63846"/>
                </a:cubicBezTo>
                <a:close/>
                <a:moveTo>
                  <a:pt x="752248" y="63846"/>
                </a:moveTo>
                <a:cubicBezTo>
                  <a:pt x="760412" y="63846"/>
                  <a:pt x="760412" y="67656"/>
                  <a:pt x="756330" y="69561"/>
                </a:cubicBezTo>
                <a:cubicBezTo>
                  <a:pt x="752248" y="73371"/>
                  <a:pt x="748165" y="71466"/>
                  <a:pt x="748165" y="67656"/>
                </a:cubicBezTo>
                <a:cubicBezTo>
                  <a:pt x="746124" y="63846"/>
                  <a:pt x="752248" y="63846"/>
                  <a:pt x="752248" y="63846"/>
                </a:cubicBezTo>
                <a:close/>
                <a:moveTo>
                  <a:pt x="657225" y="60989"/>
                </a:moveTo>
                <a:cubicBezTo>
                  <a:pt x="657225" y="59084"/>
                  <a:pt x="661194" y="60989"/>
                  <a:pt x="661194" y="60989"/>
                </a:cubicBezTo>
                <a:cubicBezTo>
                  <a:pt x="661194" y="60989"/>
                  <a:pt x="665163" y="60989"/>
                  <a:pt x="665163" y="62894"/>
                </a:cubicBezTo>
                <a:cubicBezTo>
                  <a:pt x="665163" y="66704"/>
                  <a:pt x="663179" y="68609"/>
                  <a:pt x="663179" y="68609"/>
                </a:cubicBezTo>
                <a:cubicBezTo>
                  <a:pt x="659210" y="68609"/>
                  <a:pt x="657225" y="64799"/>
                  <a:pt x="657225" y="60989"/>
                </a:cubicBezTo>
                <a:close/>
                <a:moveTo>
                  <a:pt x="726831" y="56363"/>
                </a:moveTo>
                <a:cubicBezTo>
                  <a:pt x="726831" y="58404"/>
                  <a:pt x="728907" y="58404"/>
                  <a:pt x="730983" y="60445"/>
                </a:cubicBezTo>
                <a:cubicBezTo>
                  <a:pt x="733059" y="60445"/>
                  <a:pt x="735135" y="58404"/>
                  <a:pt x="739287" y="60445"/>
                </a:cubicBezTo>
                <a:cubicBezTo>
                  <a:pt x="741363" y="60445"/>
                  <a:pt x="741363" y="64528"/>
                  <a:pt x="739287" y="66569"/>
                </a:cubicBezTo>
                <a:cubicBezTo>
                  <a:pt x="739287" y="68610"/>
                  <a:pt x="730983" y="66569"/>
                  <a:pt x="728907" y="64528"/>
                </a:cubicBezTo>
                <a:cubicBezTo>
                  <a:pt x="726831" y="64528"/>
                  <a:pt x="722679" y="66569"/>
                  <a:pt x="718527" y="66569"/>
                </a:cubicBezTo>
                <a:cubicBezTo>
                  <a:pt x="716451" y="66569"/>
                  <a:pt x="714375" y="64528"/>
                  <a:pt x="714375" y="62487"/>
                </a:cubicBezTo>
                <a:cubicBezTo>
                  <a:pt x="714375" y="60445"/>
                  <a:pt x="718527" y="60445"/>
                  <a:pt x="718527" y="60445"/>
                </a:cubicBezTo>
                <a:cubicBezTo>
                  <a:pt x="718527" y="60445"/>
                  <a:pt x="720603" y="58404"/>
                  <a:pt x="720603" y="58404"/>
                </a:cubicBezTo>
                <a:cubicBezTo>
                  <a:pt x="722679" y="58404"/>
                  <a:pt x="722679" y="58404"/>
                  <a:pt x="722679" y="58404"/>
                </a:cubicBezTo>
                <a:cubicBezTo>
                  <a:pt x="722679" y="56363"/>
                  <a:pt x="726831" y="54322"/>
                  <a:pt x="726831" y="56363"/>
                </a:cubicBezTo>
                <a:close/>
                <a:moveTo>
                  <a:pt x="684213" y="53264"/>
                </a:moveTo>
                <a:lnTo>
                  <a:pt x="688182" y="55380"/>
                </a:lnTo>
                <a:cubicBezTo>
                  <a:pt x="688182" y="55380"/>
                  <a:pt x="690166" y="55380"/>
                  <a:pt x="694135" y="53264"/>
                </a:cubicBezTo>
                <a:cubicBezTo>
                  <a:pt x="696119" y="51147"/>
                  <a:pt x="702072" y="57497"/>
                  <a:pt x="702072" y="57497"/>
                </a:cubicBezTo>
                <a:cubicBezTo>
                  <a:pt x="702072" y="57497"/>
                  <a:pt x="706041" y="57497"/>
                  <a:pt x="708026" y="57497"/>
                </a:cubicBezTo>
                <a:cubicBezTo>
                  <a:pt x="710010" y="57497"/>
                  <a:pt x="708026" y="55380"/>
                  <a:pt x="710010" y="55380"/>
                </a:cubicBezTo>
                <a:cubicBezTo>
                  <a:pt x="710010" y="55380"/>
                  <a:pt x="711994" y="55380"/>
                  <a:pt x="713979" y="55380"/>
                </a:cubicBezTo>
                <a:cubicBezTo>
                  <a:pt x="715963" y="59614"/>
                  <a:pt x="710010" y="63847"/>
                  <a:pt x="710010" y="61730"/>
                </a:cubicBezTo>
                <a:cubicBezTo>
                  <a:pt x="710010" y="59614"/>
                  <a:pt x="700088" y="61730"/>
                  <a:pt x="700088" y="61730"/>
                </a:cubicBezTo>
                <a:cubicBezTo>
                  <a:pt x="700088" y="61730"/>
                  <a:pt x="696119" y="61730"/>
                  <a:pt x="694135" y="59614"/>
                </a:cubicBezTo>
                <a:cubicBezTo>
                  <a:pt x="692150" y="59614"/>
                  <a:pt x="688182" y="59614"/>
                  <a:pt x="682228" y="59614"/>
                </a:cubicBezTo>
                <a:cubicBezTo>
                  <a:pt x="676275" y="59614"/>
                  <a:pt x="676275" y="57497"/>
                  <a:pt x="678260" y="55380"/>
                </a:cubicBezTo>
                <a:cubicBezTo>
                  <a:pt x="678260" y="53264"/>
                  <a:pt x="684213" y="53264"/>
                  <a:pt x="684213" y="53264"/>
                </a:cubicBezTo>
                <a:close/>
                <a:moveTo>
                  <a:pt x="844498" y="51146"/>
                </a:moveTo>
                <a:cubicBezTo>
                  <a:pt x="844498" y="53107"/>
                  <a:pt x="848493" y="53107"/>
                  <a:pt x="850490" y="53107"/>
                </a:cubicBezTo>
                <a:cubicBezTo>
                  <a:pt x="852487" y="53107"/>
                  <a:pt x="852487" y="58990"/>
                  <a:pt x="852487" y="62912"/>
                </a:cubicBezTo>
                <a:cubicBezTo>
                  <a:pt x="852487" y="66834"/>
                  <a:pt x="852487" y="66834"/>
                  <a:pt x="850490" y="66834"/>
                </a:cubicBezTo>
                <a:cubicBezTo>
                  <a:pt x="848493" y="66834"/>
                  <a:pt x="848493" y="68795"/>
                  <a:pt x="848493" y="70756"/>
                </a:cubicBezTo>
                <a:cubicBezTo>
                  <a:pt x="848493" y="72717"/>
                  <a:pt x="844498" y="74678"/>
                  <a:pt x="844498" y="74678"/>
                </a:cubicBezTo>
                <a:cubicBezTo>
                  <a:pt x="844498" y="74678"/>
                  <a:pt x="842501" y="76639"/>
                  <a:pt x="840504" y="78600"/>
                </a:cubicBezTo>
                <a:cubicBezTo>
                  <a:pt x="840504" y="80561"/>
                  <a:pt x="830518" y="80561"/>
                  <a:pt x="824527" y="80561"/>
                </a:cubicBezTo>
                <a:cubicBezTo>
                  <a:pt x="820532" y="80561"/>
                  <a:pt x="820532" y="76639"/>
                  <a:pt x="820532" y="74678"/>
                </a:cubicBezTo>
                <a:cubicBezTo>
                  <a:pt x="818535" y="72717"/>
                  <a:pt x="812543" y="76639"/>
                  <a:pt x="806552" y="80561"/>
                </a:cubicBezTo>
                <a:cubicBezTo>
                  <a:pt x="802557" y="84483"/>
                  <a:pt x="798563" y="78600"/>
                  <a:pt x="794569" y="76639"/>
                </a:cubicBezTo>
                <a:cubicBezTo>
                  <a:pt x="790574" y="72717"/>
                  <a:pt x="792571" y="68795"/>
                  <a:pt x="794569" y="64873"/>
                </a:cubicBezTo>
                <a:cubicBezTo>
                  <a:pt x="794569" y="62912"/>
                  <a:pt x="794569" y="62912"/>
                  <a:pt x="796566" y="57029"/>
                </a:cubicBezTo>
                <a:cubicBezTo>
                  <a:pt x="798563" y="51146"/>
                  <a:pt x="808549" y="53107"/>
                  <a:pt x="808549" y="53107"/>
                </a:cubicBezTo>
                <a:cubicBezTo>
                  <a:pt x="808549" y="53107"/>
                  <a:pt x="808549" y="53107"/>
                  <a:pt x="808549" y="55068"/>
                </a:cubicBezTo>
                <a:cubicBezTo>
                  <a:pt x="810546" y="55068"/>
                  <a:pt x="810546" y="55068"/>
                  <a:pt x="814541" y="55068"/>
                </a:cubicBezTo>
                <a:cubicBezTo>
                  <a:pt x="816538" y="55068"/>
                  <a:pt x="818535" y="57029"/>
                  <a:pt x="822529" y="57029"/>
                </a:cubicBezTo>
                <a:cubicBezTo>
                  <a:pt x="826524" y="57029"/>
                  <a:pt x="834513" y="55068"/>
                  <a:pt x="834513" y="55068"/>
                </a:cubicBezTo>
                <a:cubicBezTo>
                  <a:pt x="834513" y="55068"/>
                  <a:pt x="840504" y="51146"/>
                  <a:pt x="844498" y="51146"/>
                </a:cubicBezTo>
                <a:close/>
                <a:moveTo>
                  <a:pt x="1215284" y="49559"/>
                </a:moveTo>
                <a:cubicBezTo>
                  <a:pt x="1215284" y="49559"/>
                  <a:pt x="1217295" y="49559"/>
                  <a:pt x="1219306" y="49559"/>
                </a:cubicBezTo>
                <a:cubicBezTo>
                  <a:pt x="1223327" y="51543"/>
                  <a:pt x="1221317" y="49559"/>
                  <a:pt x="1225338" y="49559"/>
                </a:cubicBezTo>
                <a:cubicBezTo>
                  <a:pt x="1229360" y="49559"/>
                  <a:pt x="1231371" y="53528"/>
                  <a:pt x="1231371" y="53528"/>
                </a:cubicBezTo>
                <a:cubicBezTo>
                  <a:pt x="1231371" y="53528"/>
                  <a:pt x="1237404" y="53528"/>
                  <a:pt x="1241425" y="53528"/>
                </a:cubicBezTo>
                <a:cubicBezTo>
                  <a:pt x="1241425" y="53528"/>
                  <a:pt x="1241425" y="59481"/>
                  <a:pt x="1241425" y="61465"/>
                </a:cubicBezTo>
                <a:cubicBezTo>
                  <a:pt x="1241425" y="63450"/>
                  <a:pt x="1237404" y="63450"/>
                  <a:pt x="1237404" y="63450"/>
                </a:cubicBezTo>
                <a:cubicBezTo>
                  <a:pt x="1237404" y="63450"/>
                  <a:pt x="1229360" y="65434"/>
                  <a:pt x="1227349" y="61465"/>
                </a:cubicBezTo>
                <a:cubicBezTo>
                  <a:pt x="1225338" y="59481"/>
                  <a:pt x="1219306" y="59481"/>
                  <a:pt x="1215284" y="57496"/>
                </a:cubicBezTo>
                <a:cubicBezTo>
                  <a:pt x="1211262" y="57496"/>
                  <a:pt x="1211262" y="55512"/>
                  <a:pt x="1211262" y="51543"/>
                </a:cubicBezTo>
                <a:cubicBezTo>
                  <a:pt x="1211262" y="49559"/>
                  <a:pt x="1215284" y="49559"/>
                  <a:pt x="1215284" y="49559"/>
                </a:cubicBezTo>
                <a:close/>
                <a:moveTo>
                  <a:pt x="533362" y="49559"/>
                </a:moveTo>
                <a:cubicBezTo>
                  <a:pt x="537388" y="49559"/>
                  <a:pt x="543429" y="49559"/>
                  <a:pt x="543429" y="51570"/>
                </a:cubicBezTo>
                <a:cubicBezTo>
                  <a:pt x="545442" y="53581"/>
                  <a:pt x="547455" y="53581"/>
                  <a:pt x="547455" y="51570"/>
                </a:cubicBezTo>
                <a:cubicBezTo>
                  <a:pt x="547455" y="51570"/>
                  <a:pt x="553496" y="53581"/>
                  <a:pt x="553496" y="53581"/>
                </a:cubicBezTo>
                <a:cubicBezTo>
                  <a:pt x="553496" y="53581"/>
                  <a:pt x="555509" y="53581"/>
                  <a:pt x="555509" y="53581"/>
                </a:cubicBezTo>
                <a:cubicBezTo>
                  <a:pt x="555509" y="51570"/>
                  <a:pt x="557523" y="51570"/>
                  <a:pt x="557523" y="53581"/>
                </a:cubicBezTo>
                <a:cubicBezTo>
                  <a:pt x="559536" y="55592"/>
                  <a:pt x="561549" y="55592"/>
                  <a:pt x="561549" y="57602"/>
                </a:cubicBezTo>
                <a:cubicBezTo>
                  <a:pt x="563563" y="57602"/>
                  <a:pt x="563563" y="59613"/>
                  <a:pt x="563563" y="63635"/>
                </a:cubicBezTo>
                <a:cubicBezTo>
                  <a:pt x="563563" y="65646"/>
                  <a:pt x="561549" y="65646"/>
                  <a:pt x="561549" y="63635"/>
                </a:cubicBezTo>
                <a:cubicBezTo>
                  <a:pt x="559536" y="63635"/>
                  <a:pt x="559536" y="61624"/>
                  <a:pt x="557523" y="61624"/>
                </a:cubicBezTo>
                <a:cubicBezTo>
                  <a:pt x="553496" y="61624"/>
                  <a:pt x="553496" y="63635"/>
                  <a:pt x="549469" y="61624"/>
                </a:cubicBezTo>
                <a:cubicBezTo>
                  <a:pt x="547455" y="61624"/>
                  <a:pt x="547455" y="61624"/>
                  <a:pt x="547455" y="59613"/>
                </a:cubicBezTo>
                <a:cubicBezTo>
                  <a:pt x="545442" y="59613"/>
                  <a:pt x="545442" y="57602"/>
                  <a:pt x="543429" y="57602"/>
                </a:cubicBezTo>
                <a:cubicBezTo>
                  <a:pt x="541415" y="57602"/>
                  <a:pt x="539402" y="59613"/>
                  <a:pt x="537388" y="61624"/>
                </a:cubicBezTo>
                <a:cubicBezTo>
                  <a:pt x="537388" y="63635"/>
                  <a:pt x="535375" y="67657"/>
                  <a:pt x="535375" y="67657"/>
                </a:cubicBezTo>
                <a:cubicBezTo>
                  <a:pt x="535375" y="67657"/>
                  <a:pt x="533362" y="71678"/>
                  <a:pt x="533362" y="67657"/>
                </a:cubicBezTo>
                <a:cubicBezTo>
                  <a:pt x="531348" y="65646"/>
                  <a:pt x="529335" y="65646"/>
                  <a:pt x="525308" y="67657"/>
                </a:cubicBezTo>
                <a:cubicBezTo>
                  <a:pt x="523294" y="69668"/>
                  <a:pt x="523294" y="71678"/>
                  <a:pt x="521281" y="71678"/>
                </a:cubicBezTo>
                <a:cubicBezTo>
                  <a:pt x="519268" y="71678"/>
                  <a:pt x="517254" y="73689"/>
                  <a:pt x="517254" y="75700"/>
                </a:cubicBezTo>
                <a:cubicBezTo>
                  <a:pt x="517254" y="77711"/>
                  <a:pt x="517254" y="77711"/>
                  <a:pt x="513227" y="79722"/>
                </a:cubicBezTo>
                <a:cubicBezTo>
                  <a:pt x="511214" y="79722"/>
                  <a:pt x="509201" y="77711"/>
                  <a:pt x="507187" y="75700"/>
                </a:cubicBezTo>
                <a:cubicBezTo>
                  <a:pt x="507187" y="73689"/>
                  <a:pt x="509201" y="69668"/>
                  <a:pt x="507187" y="69668"/>
                </a:cubicBezTo>
                <a:cubicBezTo>
                  <a:pt x="505174" y="69668"/>
                  <a:pt x="503160" y="71678"/>
                  <a:pt x="503160" y="73689"/>
                </a:cubicBezTo>
                <a:cubicBezTo>
                  <a:pt x="503160" y="73689"/>
                  <a:pt x="501147" y="75700"/>
                  <a:pt x="499133" y="75700"/>
                </a:cubicBezTo>
                <a:cubicBezTo>
                  <a:pt x="497120" y="75700"/>
                  <a:pt x="495107" y="75700"/>
                  <a:pt x="495107" y="73689"/>
                </a:cubicBezTo>
                <a:cubicBezTo>
                  <a:pt x="493093" y="71678"/>
                  <a:pt x="491080" y="71678"/>
                  <a:pt x="491080" y="71678"/>
                </a:cubicBezTo>
                <a:cubicBezTo>
                  <a:pt x="491080" y="71678"/>
                  <a:pt x="485040" y="71678"/>
                  <a:pt x="485040" y="69668"/>
                </a:cubicBezTo>
                <a:cubicBezTo>
                  <a:pt x="485040" y="69668"/>
                  <a:pt x="481013" y="65646"/>
                  <a:pt x="487053" y="65646"/>
                </a:cubicBezTo>
                <a:cubicBezTo>
                  <a:pt x="491080" y="65646"/>
                  <a:pt x="489066" y="67657"/>
                  <a:pt x="491080" y="67657"/>
                </a:cubicBezTo>
                <a:cubicBezTo>
                  <a:pt x="495107" y="65646"/>
                  <a:pt x="497120" y="65646"/>
                  <a:pt x="499133" y="65646"/>
                </a:cubicBezTo>
                <a:cubicBezTo>
                  <a:pt x="501147" y="65646"/>
                  <a:pt x="503160" y="65646"/>
                  <a:pt x="503160" y="65646"/>
                </a:cubicBezTo>
                <a:cubicBezTo>
                  <a:pt x="505174" y="67657"/>
                  <a:pt x="505174" y="65646"/>
                  <a:pt x="505174" y="65646"/>
                </a:cubicBezTo>
                <a:cubicBezTo>
                  <a:pt x="505174" y="65646"/>
                  <a:pt x="509201" y="63635"/>
                  <a:pt x="509201" y="65646"/>
                </a:cubicBezTo>
                <a:cubicBezTo>
                  <a:pt x="509201" y="65646"/>
                  <a:pt x="511214" y="65646"/>
                  <a:pt x="513227" y="63635"/>
                </a:cubicBezTo>
                <a:cubicBezTo>
                  <a:pt x="513227" y="63635"/>
                  <a:pt x="515241" y="63635"/>
                  <a:pt x="515241" y="63635"/>
                </a:cubicBezTo>
                <a:cubicBezTo>
                  <a:pt x="515241" y="63635"/>
                  <a:pt x="517254" y="61624"/>
                  <a:pt x="519268" y="61624"/>
                </a:cubicBezTo>
                <a:cubicBezTo>
                  <a:pt x="521281" y="61624"/>
                  <a:pt x="523294" y="61624"/>
                  <a:pt x="525308" y="59613"/>
                </a:cubicBezTo>
                <a:cubicBezTo>
                  <a:pt x="527321" y="55592"/>
                  <a:pt x="527321" y="51570"/>
                  <a:pt x="533362" y="49559"/>
                </a:cubicBezTo>
                <a:close/>
                <a:moveTo>
                  <a:pt x="780617" y="48425"/>
                </a:moveTo>
                <a:cubicBezTo>
                  <a:pt x="782637" y="50466"/>
                  <a:pt x="780617" y="52507"/>
                  <a:pt x="780617" y="52507"/>
                </a:cubicBezTo>
                <a:cubicBezTo>
                  <a:pt x="780617" y="52507"/>
                  <a:pt x="776576" y="56589"/>
                  <a:pt x="774555" y="58630"/>
                </a:cubicBezTo>
                <a:cubicBezTo>
                  <a:pt x="770515" y="60671"/>
                  <a:pt x="760412" y="60671"/>
                  <a:pt x="760412" y="54548"/>
                </a:cubicBezTo>
                <a:cubicBezTo>
                  <a:pt x="760412" y="50466"/>
                  <a:pt x="766474" y="52507"/>
                  <a:pt x="766474" y="52507"/>
                </a:cubicBezTo>
                <a:cubicBezTo>
                  <a:pt x="772535" y="54548"/>
                  <a:pt x="772535" y="50466"/>
                  <a:pt x="772535" y="50466"/>
                </a:cubicBezTo>
                <a:cubicBezTo>
                  <a:pt x="774555" y="48425"/>
                  <a:pt x="778596" y="46384"/>
                  <a:pt x="780617" y="48425"/>
                </a:cubicBezTo>
                <a:close/>
                <a:moveTo>
                  <a:pt x="593066" y="48399"/>
                </a:moveTo>
                <a:cubicBezTo>
                  <a:pt x="595043" y="46384"/>
                  <a:pt x="597020" y="50414"/>
                  <a:pt x="597020" y="50414"/>
                </a:cubicBezTo>
                <a:cubicBezTo>
                  <a:pt x="597020" y="50414"/>
                  <a:pt x="595043" y="54444"/>
                  <a:pt x="597020" y="54444"/>
                </a:cubicBezTo>
                <a:cubicBezTo>
                  <a:pt x="600973" y="52429"/>
                  <a:pt x="600973" y="50414"/>
                  <a:pt x="600973" y="50414"/>
                </a:cubicBezTo>
                <a:cubicBezTo>
                  <a:pt x="600973" y="50414"/>
                  <a:pt x="600973" y="46384"/>
                  <a:pt x="604927" y="48399"/>
                </a:cubicBezTo>
                <a:cubicBezTo>
                  <a:pt x="606904" y="48399"/>
                  <a:pt x="606904" y="56459"/>
                  <a:pt x="604927" y="56459"/>
                </a:cubicBezTo>
                <a:cubicBezTo>
                  <a:pt x="602950" y="56459"/>
                  <a:pt x="600973" y="58473"/>
                  <a:pt x="600973" y="58473"/>
                </a:cubicBezTo>
                <a:cubicBezTo>
                  <a:pt x="598996" y="58473"/>
                  <a:pt x="597020" y="60488"/>
                  <a:pt x="597020" y="60488"/>
                </a:cubicBezTo>
                <a:cubicBezTo>
                  <a:pt x="598996" y="62503"/>
                  <a:pt x="600973" y="60488"/>
                  <a:pt x="602950" y="60488"/>
                </a:cubicBezTo>
                <a:cubicBezTo>
                  <a:pt x="602950" y="58473"/>
                  <a:pt x="604927" y="58473"/>
                  <a:pt x="606904" y="58473"/>
                </a:cubicBezTo>
                <a:cubicBezTo>
                  <a:pt x="608881" y="58473"/>
                  <a:pt x="612835" y="58473"/>
                  <a:pt x="612835" y="58473"/>
                </a:cubicBezTo>
                <a:cubicBezTo>
                  <a:pt x="612835" y="56459"/>
                  <a:pt x="616788" y="56459"/>
                  <a:pt x="616788" y="56459"/>
                </a:cubicBezTo>
                <a:cubicBezTo>
                  <a:pt x="618765" y="58473"/>
                  <a:pt x="618765" y="58473"/>
                  <a:pt x="618765" y="58473"/>
                </a:cubicBezTo>
                <a:cubicBezTo>
                  <a:pt x="618765" y="58473"/>
                  <a:pt x="618765" y="60488"/>
                  <a:pt x="620742" y="58473"/>
                </a:cubicBezTo>
                <a:cubicBezTo>
                  <a:pt x="624696" y="58473"/>
                  <a:pt x="628650" y="62503"/>
                  <a:pt x="628650" y="62503"/>
                </a:cubicBezTo>
                <a:cubicBezTo>
                  <a:pt x="628650" y="64518"/>
                  <a:pt x="626673" y="66533"/>
                  <a:pt x="622720" y="68548"/>
                </a:cubicBezTo>
                <a:cubicBezTo>
                  <a:pt x="618765" y="70563"/>
                  <a:pt x="616788" y="72578"/>
                  <a:pt x="612835" y="72578"/>
                </a:cubicBezTo>
                <a:cubicBezTo>
                  <a:pt x="608881" y="72578"/>
                  <a:pt x="602950" y="70563"/>
                  <a:pt x="600973" y="72578"/>
                </a:cubicBezTo>
                <a:cubicBezTo>
                  <a:pt x="598996" y="72578"/>
                  <a:pt x="597020" y="72578"/>
                  <a:pt x="595043" y="72578"/>
                </a:cubicBezTo>
                <a:cubicBezTo>
                  <a:pt x="595043" y="72578"/>
                  <a:pt x="591089" y="72578"/>
                  <a:pt x="591089" y="74593"/>
                </a:cubicBezTo>
                <a:cubicBezTo>
                  <a:pt x="591089" y="74593"/>
                  <a:pt x="589112" y="76608"/>
                  <a:pt x="587135" y="76608"/>
                </a:cubicBezTo>
                <a:cubicBezTo>
                  <a:pt x="583181" y="76608"/>
                  <a:pt x="579228" y="76608"/>
                  <a:pt x="573297" y="76608"/>
                </a:cubicBezTo>
                <a:cubicBezTo>
                  <a:pt x="569343" y="78623"/>
                  <a:pt x="571320" y="80638"/>
                  <a:pt x="571320" y="82653"/>
                </a:cubicBezTo>
                <a:cubicBezTo>
                  <a:pt x="573297" y="84667"/>
                  <a:pt x="575274" y="84667"/>
                  <a:pt x="575274" y="88697"/>
                </a:cubicBezTo>
                <a:cubicBezTo>
                  <a:pt x="575274" y="90712"/>
                  <a:pt x="575274" y="92727"/>
                  <a:pt x="571320" y="90712"/>
                </a:cubicBezTo>
                <a:cubicBezTo>
                  <a:pt x="569343" y="90712"/>
                  <a:pt x="565389" y="88697"/>
                  <a:pt x="565389" y="90712"/>
                </a:cubicBezTo>
                <a:cubicBezTo>
                  <a:pt x="563412" y="92727"/>
                  <a:pt x="565389" y="94742"/>
                  <a:pt x="563412" y="94742"/>
                </a:cubicBezTo>
                <a:cubicBezTo>
                  <a:pt x="559459" y="92727"/>
                  <a:pt x="559459" y="92727"/>
                  <a:pt x="557482" y="92727"/>
                </a:cubicBezTo>
                <a:cubicBezTo>
                  <a:pt x="555505" y="92727"/>
                  <a:pt x="553528" y="94742"/>
                  <a:pt x="553528" y="96757"/>
                </a:cubicBezTo>
                <a:cubicBezTo>
                  <a:pt x="551551" y="96757"/>
                  <a:pt x="549574" y="98772"/>
                  <a:pt x="545621" y="96757"/>
                </a:cubicBezTo>
                <a:cubicBezTo>
                  <a:pt x="543644" y="96757"/>
                  <a:pt x="543644" y="92727"/>
                  <a:pt x="545621" y="90712"/>
                </a:cubicBezTo>
                <a:cubicBezTo>
                  <a:pt x="545621" y="90712"/>
                  <a:pt x="549574" y="88697"/>
                  <a:pt x="549574" y="88697"/>
                </a:cubicBezTo>
                <a:cubicBezTo>
                  <a:pt x="549574" y="88697"/>
                  <a:pt x="551551" y="86682"/>
                  <a:pt x="551551" y="84667"/>
                </a:cubicBezTo>
                <a:cubicBezTo>
                  <a:pt x="549574" y="84667"/>
                  <a:pt x="543644" y="86682"/>
                  <a:pt x="541667" y="86682"/>
                </a:cubicBezTo>
                <a:cubicBezTo>
                  <a:pt x="539690" y="88697"/>
                  <a:pt x="533759" y="94742"/>
                  <a:pt x="529805" y="90712"/>
                </a:cubicBezTo>
                <a:cubicBezTo>
                  <a:pt x="527829" y="84667"/>
                  <a:pt x="523875" y="84667"/>
                  <a:pt x="523875" y="84667"/>
                </a:cubicBezTo>
                <a:cubicBezTo>
                  <a:pt x="523875" y="84667"/>
                  <a:pt x="523875" y="80638"/>
                  <a:pt x="525852" y="80638"/>
                </a:cubicBezTo>
                <a:cubicBezTo>
                  <a:pt x="527829" y="78623"/>
                  <a:pt x="533759" y="76608"/>
                  <a:pt x="535736" y="78623"/>
                </a:cubicBezTo>
                <a:cubicBezTo>
                  <a:pt x="535736" y="80638"/>
                  <a:pt x="539690" y="82653"/>
                  <a:pt x="541667" y="80638"/>
                </a:cubicBezTo>
                <a:cubicBezTo>
                  <a:pt x="543644" y="80638"/>
                  <a:pt x="545621" y="80638"/>
                  <a:pt x="545621" y="78623"/>
                </a:cubicBezTo>
                <a:cubicBezTo>
                  <a:pt x="543644" y="76608"/>
                  <a:pt x="541667" y="76608"/>
                  <a:pt x="541667" y="74593"/>
                </a:cubicBezTo>
                <a:cubicBezTo>
                  <a:pt x="539690" y="72578"/>
                  <a:pt x="537713" y="70563"/>
                  <a:pt x="539690" y="70563"/>
                </a:cubicBezTo>
                <a:cubicBezTo>
                  <a:pt x="543644" y="68548"/>
                  <a:pt x="545621" y="68548"/>
                  <a:pt x="547597" y="70563"/>
                </a:cubicBezTo>
                <a:cubicBezTo>
                  <a:pt x="547597" y="70563"/>
                  <a:pt x="549574" y="68548"/>
                  <a:pt x="551551" y="68548"/>
                </a:cubicBezTo>
                <a:cubicBezTo>
                  <a:pt x="551551" y="66533"/>
                  <a:pt x="553528" y="66533"/>
                  <a:pt x="557482" y="68548"/>
                </a:cubicBezTo>
                <a:cubicBezTo>
                  <a:pt x="557482" y="68548"/>
                  <a:pt x="563412" y="68548"/>
                  <a:pt x="563412" y="68548"/>
                </a:cubicBezTo>
                <a:cubicBezTo>
                  <a:pt x="569343" y="68548"/>
                  <a:pt x="569343" y="68548"/>
                  <a:pt x="569343" y="68548"/>
                </a:cubicBezTo>
                <a:cubicBezTo>
                  <a:pt x="569343" y="68548"/>
                  <a:pt x="571320" y="68548"/>
                  <a:pt x="573297" y="66533"/>
                </a:cubicBezTo>
                <a:cubicBezTo>
                  <a:pt x="575274" y="66533"/>
                  <a:pt x="579228" y="66533"/>
                  <a:pt x="579228" y="64518"/>
                </a:cubicBezTo>
                <a:cubicBezTo>
                  <a:pt x="579228" y="62503"/>
                  <a:pt x="577251" y="60488"/>
                  <a:pt x="575274" y="60488"/>
                </a:cubicBezTo>
                <a:cubicBezTo>
                  <a:pt x="571320" y="60488"/>
                  <a:pt x="569343" y="58473"/>
                  <a:pt x="569343" y="54444"/>
                </a:cubicBezTo>
                <a:cubicBezTo>
                  <a:pt x="571320" y="52429"/>
                  <a:pt x="577251" y="52429"/>
                  <a:pt x="577251" y="52429"/>
                </a:cubicBezTo>
                <a:cubicBezTo>
                  <a:pt x="577251" y="52429"/>
                  <a:pt x="581204" y="52429"/>
                  <a:pt x="585158" y="50414"/>
                </a:cubicBezTo>
                <a:cubicBezTo>
                  <a:pt x="587135" y="50414"/>
                  <a:pt x="591089" y="50414"/>
                  <a:pt x="593066" y="48399"/>
                </a:cubicBezTo>
                <a:close/>
                <a:moveTo>
                  <a:pt x="764222" y="43209"/>
                </a:moveTo>
                <a:lnTo>
                  <a:pt x="764222" y="45193"/>
                </a:lnTo>
                <a:cubicBezTo>
                  <a:pt x="764222" y="45193"/>
                  <a:pt x="766127" y="47177"/>
                  <a:pt x="768032" y="49162"/>
                </a:cubicBezTo>
                <a:cubicBezTo>
                  <a:pt x="769937" y="51146"/>
                  <a:pt x="764222" y="49162"/>
                  <a:pt x="764222" y="49162"/>
                </a:cubicBezTo>
                <a:cubicBezTo>
                  <a:pt x="764222" y="49162"/>
                  <a:pt x="764222" y="49162"/>
                  <a:pt x="762317" y="49162"/>
                </a:cubicBezTo>
                <a:cubicBezTo>
                  <a:pt x="760412" y="49162"/>
                  <a:pt x="760412" y="49162"/>
                  <a:pt x="760412" y="45193"/>
                </a:cubicBezTo>
                <a:cubicBezTo>
                  <a:pt x="760412" y="43209"/>
                  <a:pt x="764222" y="43209"/>
                  <a:pt x="764222" y="43209"/>
                </a:cubicBezTo>
                <a:close/>
                <a:moveTo>
                  <a:pt x="688270" y="40467"/>
                </a:moveTo>
                <a:cubicBezTo>
                  <a:pt x="694356" y="38447"/>
                  <a:pt x="698413" y="42488"/>
                  <a:pt x="706526" y="44508"/>
                </a:cubicBezTo>
                <a:cubicBezTo>
                  <a:pt x="712612" y="44508"/>
                  <a:pt x="712612" y="42488"/>
                  <a:pt x="716669" y="42488"/>
                </a:cubicBezTo>
                <a:cubicBezTo>
                  <a:pt x="722754" y="42488"/>
                  <a:pt x="724783" y="44508"/>
                  <a:pt x="724783" y="46529"/>
                </a:cubicBezTo>
                <a:cubicBezTo>
                  <a:pt x="726811" y="48549"/>
                  <a:pt x="730868" y="48549"/>
                  <a:pt x="732897" y="48549"/>
                </a:cubicBezTo>
                <a:cubicBezTo>
                  <a:pt x="734925" y="48549"/>
                  <a:pt x="738982" y="50570"/>
                  <a:pt x="743039" y="50570"/>
                </a:cubicBezTo>
                <a:cubicBezTo>
                  <a:pt x="745067" y="52590"/>
                  <a:pt x="747096" y="54611"/>
                  <a:pt x="749124" y="52590"/>
                </a:cubicBezTo>
                <a:cubicBezTo>
                  <a:pt x="753181" y="52590"/>
                  <a:pt x="757238" y="54611"/>
                  <a:pt x="757238" y="56631"/>
                </a:cubicBezTo>
                <a:cubicBezTo>
                  <a:pt x="755210" y="56631"/>
                  <a:pt x="753181" y="60672"/>
                  <a:pt x="751153" y="60672"/>
                </a:cubicBezTo>
                <a:cubicBezTo>
                  <a:pt x="747096" y="60672"/>
                  <a:pt x="745067" y="60672"/>
                  <a:pt x="743039" y="56631"/>
                </a:cubicBezTo>
                <a:cubicBezTo>
                  <a:pt x="738982" y="52590"/>
                  <a:pt x="732897" y="52590"/>
                  <a:pt x="730868" y="52590"/>
                </a:cubicBezTo>
                <a:cubicBezTo>
                  <a:pt x="728840" y="52590"/>
                  <a:pt x="726811" y="54611"/>
                  <a:pt x="726811" y="54611"/>
                </a:cubicBezTo>
                <a:cubicBezTo>
                  <a:pt x="724783" y="56631"/>
                  <a:pt x="720726" y="54611"/>
                  <a:pt x="720726" y="54611"/>
                </a:cubicBezTo>
                <a:cubicBezTo>
                  <a:pt x="720726" y="54611"/>
                  <a:pt x="714640" y="54611"/>
                  <a:pt x="710583" y="52590"/>
                </a:cubicBezTo>
                <a:cubicBezTo>
                  <a:pt x="708555" y="52590"/>
                  <a:pt x="706526" y="50570"/>
                  <a:pt x="704498" y="50570"/>
                </a:cubicBezTo>
                <a:cubicBezTo>
                  <a:pt x="702469" y="48549"/>
                  <a:pt x="700441" y="48549"/>
                  <a:pt x="698413" y="50570"/>
                </a:cubicBezTo>
                <a:cubicBezTo>
                  <a:pt x="696384" y="50570"/>
                  <a:pt x="692327" y="48549"/>
                  <a:pt x="692327" y="48549"/>
                </a:cubicBezTo>
                <a:cubicBezTo>
                  <a:pt x="692327" y="46529"/>
                  <a:pt x="688270" y="46529"/>
                  <a:pt x="686242" y="48549"/>
                </a:cubicBezTo>
                <a:cubicBezTo>
                  <a:pt x="684213" y="50570"/>
                  <a:pt x="684213" y="42488"/>
                  <a:pt x="684213" y="42488"/>
                </a:cubicBezTo>
                <a:cubicBezTo>
                  <a:pt x="684213" y="42488"/>
                  <a:pt x="684213" y="40467"/>
                  <a:pt x="688270" y="40467"/>
                </a:cubicBezTo>
                <a:close/>
                <a:moveTo>
                  <a:pt x="722685" y="38843"/>
                </a:moveTo>
                <a:cubicBezTo>
                  <a:pt x="722685" y="36859"/>
                  <a:pt x="728568" y="38843"/>
                  <a:pt x="728568" y="38843"/>
                </a:cubicBezTo>
                <a:cubicBezTo>
                  <a:pt x="730530" y="36859"/>
                  <a:pt x="732491" y="36859"/>
                  <a:pt x="734452" y="38843"/>
                </a:cubicBezTo>
                <a:cubicBezTo>
                  <a:pt x="734452" y="38843"/>
                  <a:pt x="738374" y="42812"/>
                  <a:pt x="738374" y="42812"/>
                </a:cubicBezTo>
                <a:cubicBezTo>
                  <a:pt x="738374" y="42812"/>
                  <a:pt x="740335" y="42812"/>
                  <a:pt x="744257" y="44796"/>
                </a:cubicBezTo>
                <a:cubicBezTo>
                  <a:pt x="746218" y="44796"/>
                  <a:pt x="748179" y="44796"/>
                  <a:pt x="748179" y="44796"/>
                </a:cubicBezTo>
                <a:cubicBezTo>
                  <a:pt x="748179" y="44796"/>
                  <a:pt x="752101" y="44796"/>
                  <a:pt x="752101" y="46781"/>
                </a:cubicBezTo>
                <a:cubicBezTo>
                  <a:pt x="754062" y="46781"/>
                  <a:pt x="754062" y="50750"/>
                  <a:pt x="752101" y="50750"/>
                </a:cubicBezTo>
                <a:cubicBezTo>
                  <a:pt x="750140" y="52734"/>
                  <a:pt x="748179" y="50750"/>
                  <a:pt x="746218" y="48765"/>
                </a:cubicBezTo>
                <a:cubicBezTo>
                  <a:pt x="746218" y="46781"/>
                  <a:pt x="742296" y="46781"/>
                  <a:pt x="740335" y="46781"/>
                </a:cubicBezTo>
                <a:cubicBezTo>
                  <a:pt x="738374" y="46781"/>
                  <a:pt x="736413" y="44796"/>
                  <a:pt x="736413" y="44796"/>
                </a:cubicBezTo>
                <a:cubicBezTo>
                  <a:pt x="736413" y="42812"/>
                  <a:pt x="730530" y="42812"/>
                  <a:pt x="728568" y="42812"/>
                </a:cubicBezTo>
                <a:cubicBezTo>
                  <a:pt x="726607" y="42812"/>
                  <a:pt x="720724" y="40828"/>
                  <a:pt x="722685" y="38843"/>
                </a:cubicBezTo>
                <a:close/>
                <a:moveTo>
                  <a:pt x="828146" y="38446"/>
                </a:moveTo>
                <a:cubicBezTo>
                  <a:pt x="828146" y="38446"/>
                  <a:pt x="833966" y="38446"/>
                  <a:pt x="835907" y="38446"/>
                </a:cubicBezTo>
                <a:cubicBezTo>
                  <a:pt x="837847" y="40563"/>
                  <a:pt x="839787" y="42679"/>
                  <a:pt x="837847" y="42679"/>
                </a:cubicBezTo>
                <a:cubicBezTo>
                  <a:pt x="835907" y="42679"/>
                  <a:pt x="833966" y="46913"/>
                  <a:pt x="832026" y="46913"/>
                </a:cubicBezTo>
                <a:cubicBezTo>
                  <a:pt x="832026" y="49029"/>
                  <a:pt x="830086" y="51146"/>
                  <a:pt x="828146" y="51146"/>
                </a:cubicBezTo>
                <a:cubicBezTo>
                  <a:pt x="824265" y="51146"/>
                  <a:pt x="820384" y="51146"/>
                  <a:pt x="820384" y="51146"/>
                </a:cubicBezTo>
                <a:cubicBezTo>
                  <a:pt x="818444" y="49029"/>
                  <a:pt x="816504" y="49029"/>
                  <a:pt x="816504" y="49029"/>
                </a:cubicBezTo>
                <a:cubicBezTo>
                  <a:pt x="816504" y="49029"/>
                  <a:pt x="808743" y="51146"/>
                  <a:pt x="806803" y="49029"/>
                </a:cubicBezTo>
                <a:cubicBezTo>
                  <a:pt x="806803" y="49029"/>
                  <a:pt x="806803" y="49029"/>
                  <a:pt x="806803" y="46913"/>
                </a:cubicBezTo>
                <a:cubicBezTo>
                  <a:pt x="804862" y="46913"/>
                  <a:pt x="818444" y="46913"/>
                  <a:pt x="828146" y="38446"/>
                </a:cubicBezTo>
                <a:close/>
                <a:moveTo>
                  <a:pt x="758560" y="35271"/>
                </a:moveTo>
                <a:cubicBezTo>
                  <a:pt x="760412" y="35271"/>
                  <a:pt x="760412" y="35271"/>
                  <a:pt x="760412" y="37255"/>
                </a:cubicBezTo>
                <a:cubicBezTo>
                  <a:pt x="760412" y="41224"/>
                  <a:pt x="758560" y="41224"/>
                  <a:pt x="754856" y="43208"/>
                </a:cubicBezTo>
                <a:cubicBezTo>
                  <a:pt x="751151" y="43208"/>
                  <a:pt x="749299" y="43208"/>
                  <a:pt x="749299" y="39239"/>
                </a:cubicBezTo>
                <a:cubicBezTo>
                  <a:pt x="749299" y="35271"/>
                  <a:pt x="753004" y="37255"/>
                  <a:pt x="753004" y="37255"/>
                </a:cubicBezTo>
                <a:cubicBezTo>
                  <a:pt x="754856" y="37255"/>
                  <a:pt x="756708" y="37255"/>
                  <a:pt x="758560" y="35271"/>
                </a:cubicBezTo>
                <a:close/>
                <a:moveTo>
                  <a:pt x="906065" y="30509"/>
                </a:moveTo>
                <a:cubicBezTo>
                  <a:pt x="912018" y="32573"/>
                  <a:pt x="912018" y="34636"/>
                  <a:pt x="912018" y="34636"/>
                </a:cubicBezTo>
                <a:cubicBezTo>
                  <a:pt x="912018" y="34636"/>
                  <a:pt x="912018" y="38764"/>
                  <a:pt x="914003" y="42891"/>
                </a:cubicBezTo>
                <a:cubicBezTo>
                  <a:pt x="915987" y="47019"/>
                  <a:pt x="914003" y="53210"/>
                  <a:pt x="914003" y="55274"/>
                </a:cubicBezTo>
                <a:cubicBezTo>
                  <a:pt x="914003" y="59401"/>
                  <a:pt x="912018" y="59401"/>
                  <a:pt x="910034" y="59401"/>
                </a:cubicBezTo>
                <a:cubicBezTo>
                  <a:pt x="908050" y="59401"/>
                  <a:pt x="904081" y="61465"/>
                  <a:pt x="904081" y="63529"/>
                </a:cubicBezTo>
                <a:cubicBezTo>
                  <a:pt x="904081" y="63529"/>
                  <a:pt x="898128" y="63529"/>
                  <a:pt x="898128" y="63529"/>
                </a:cubicBezTo>
                <a:cubicBezTo>
                  <a:pt x="898128" y="63529"/>
                  <a:pt x="894159" y="63529"/>
                  <a:pt x="892175" y="65593"/>
                </a:cubicBezTo>
                <a:cubicBezTo>
                  <a:pt x="890190" y="67656"/>
                  <a:pt x="884237" y="65593"/>
                  <a:pt x="882253" y="65593"/>
                </a:cubicBezTo>
                <a:cubicBezTo>
                  <a:pt x="878284" y="65593"/>
                  <a:pt x="878284" y="67656"/>
                  <a:pt x="878284" y="69720"/>
                </a:cubicBezTo>
                <a:cubicBezTo>
                  <a:pt x="876299" y="71784"/>
                  <a:pt x="872331" y="67656"/>
                  <a:pt x="872331" y="67656"/>
                </a:cubicBezTo>
                <a:cubicBezTo>
                  <a:pt x="872331" y="67656"/>
                  <a:pt x="870346" y="65593"/>
                  <a:pt x="868362" y="65593"/>
                </a:cubicBezTo>
                <a:cubicBezTo>
                  <a:pt x="866377" y="65593"/>
                  <a:pt x="860424" y="63529"/>
                  <a:pt x="860424" y="59401"/>
                </a:cubicBezTo>
                <a:cubicBezTo>
                  <a:pt x="860424" y="53210"/>
                  <a:pt x="866377" y="51146"/>
                  <a:pt x="866377" y="51146"/>
                </a:cubicBezTo>
                <a:lnTo>
                  <a:pt x="870346" y="51146"/>
                </a:lnTo>
                <a:cubicBezTo>
                  <a:pt x="870346" y="51146"/>
                  <a:pt x="868362" y="47019"/>
                  <a:pt x="872331" y="47019"/>
                </a:cubicBezTo>
                <a:cubicBezTo>
                  <a:pt x="874315" y="47019"/>
                  <a:pt x="874315" y="49083"/>
                  <a:pt x="874315" y="49083"/>
                </a:cubicBezTo>
                <a:cubicBezTo>
                  <a:pt x="874315" y="49083"/>
                  <a:pt x="876299" y="49083"/>
                  <a:pt x="878284" y="49083"/>
                </a:cubicBezTo>
                <a:cubicBezTo>
                  <a:pt x="880268" y="47019"/>
                  <a:pt x="882253" y="49083"/>
                  <a:pt x="882253" y="49083"/>
                </a:cubicBezTo>
                <a:cubicBezTo>
                  <a:pt x="882253" y="49083"/>
                  <a:pt x="888206" y="49083"/>
                  <a:pt x="890190" y="49083"/>
                </a:cubicBezTo>
                <a:cubicBezTo>
                  <a:pt x="892175" y="47019"/>
                  <a:pt x="890190" y="40828"/>
                  <a:pt x="890190" y="38764"/>
                </a:cubicBezTo>
                <a:cubicBezTo>
                  <a:pt x="890190" y="34636"/>
                  <a:pt x="896143" y="32573"/>
                  <a:pt x="896143" y="32573"/>
                </a:cubicBezTo>
                <a:cubicBezTo>
                  <a:pt x="896143" y="32573"/>
                  <a:pt x="902096" y="30509"/>
                  <a:pt x="906065" y="30509"/>
                </a:cubicBezTo>
                <a:close/>
                <a:moveTo>
                  <a:pt x="599017" y="30509"/>
                </a:moveTo>
                <a:cubicBezTo>
                  <a:pt x="600869" y="30509"/>
                  <a:pt x="606426" y="30509"/>
                  <a:pt x="606426" y="34591"/>
                </a:cubicBezTo>
                <a:cubicBezTo>
                  <a:pt x="604574" y="36632"/>
                  <a:pt x="604574" y="34591"/>
                  <a:pt x="602721" y="38674"/>
                </a:cubicBezTo>
                <a:cubicBezTo>
                  <a:pt x="602721" y="40715"/>
                  <a:pt x="602721" y="42756"/>
                  <a:pt x="600869" y="44797"/>
                </a:cubicBezTo>
                <a:cubicBezTo>
                  <a:pt x="597165" y="44797"/>
                  <a:pt x="595313" y="44797"/>
                  <a:pt x="595313" y="42756"/>
                </a:cubicBezTo>
                <a:cubicBezTo>
                  <a:pt x="595313" y="38674"/>
                  <a:pt x="595313" y="36632"/>
                  <a:pt x="595313" y="36632"/>
                </a:cubicBezTo>
                <a:cubicBezTo>
                  <a:pt x="595313" y="36632"/>
                  <a:pt x="595313" y="30509"/>
                  <a:pt x="599017" y="30509"/>
                </a:cubicBezTo>
                <a:close/>
                <a:moveTo>
                  <a:pt x="1572668" y="26729"/>
                </a:moveTo>
                <a:cubicBezTo>
                  <a:pt x="1575892" y="27220"/>
                  <a:pt x="1579365" y="28692"/>
                  <a:pt x="1582341" y="31637"/>
                </a:cubicBezTo>
                <a:cubicBezTo>
                  <a:pt x="1588294" y="37528"/>
                  <a:pt x="1586310" y="37528"/>
                  <a:pt x="1588294" y="37528"/>
                </a:cubicBezTo>
                <a:cubicBezTo>
                  <a:pt x="1592263" y="39491"/>
                  <a:pt x="1594248" y="39491"/>
                  <a:pt x="1594248" y="43418"/>
                </a:cubicBezTo>
                <a:cubicBezTo>
                  <a:pt x="1596232" y="45382"/>
                  <a:pt x="1596232" y="47345"/>
                  <a:pt x="1600201" y="47345"/>
                </a:cubicBezTo>
                <a:cubicBezTo>
                  <a:pt x="1602185" y="47345"/>
                  <a:pt x="1604169" y="51272"/>
                  <a:pt x="1604169" y="51272"/>
                </a:cubicBezTo>
                <a:cubicBezTo>
                  <a:pt x="1604169" y="51272"/>
                  <a:pt x="1604169" y="51272"/>
                  <a:pt x="1606154" y="51272"/>
                </a:cubicBezTo>
                <a:cubicBezTo>
                  <a:pt x="1610123" y="53236"/>
                  <a:pt x="1610123" y="53236"/>
                  <a:pt x="1610123" y="53236"/>
                </a:cubicBezTo>
                <a:cubicBezTo>
                  <a:pt x="1610123" y="53236"/>
                  <a:pt x="1614091" y="55199"/>
                  <a:pt x="1618060" y="55199"/>
                </a:cubicBezTo>
                <a:cubicBezTo>
                  <a:pt x="1622029" y="55199"/>
                  <a:pt x="1624013" y="55199"/>
                  <a:pt x="1624013" y="59126"/>
                </a:cubicBezTo>
                <a:cubicBezTo>
                  <a:pt x="1622029" y="61089"/>
                  <a:pt x="1618060" y="61089"/>
                  <a:pt x="1618060" y="61089"/>
                </a:cubicBezTo>
                <a:cubicBezTo>
                  <a:pt x="1618060" y="61089"/>
                  <a:pt x="1614091" y="61089"/>
                  <a:pt x="1612107" y="65016"/>
                </a:cubicBezTo>
                <a:cubicBezTo>
                  <a:pt x="1612107" y="68943"/>
                  <a:pt x="1614091" y="70907"/>
                  <a:pt x="1616076" y="72870"/>
                </a:cubicBezTo>
                <a:cubicBezTo>
                  <a:pt x="1616076" y="76797"/>
                  <a:pt x="1618060" y="78761"/>
                  <a:pt x="1618060" y="78761"/>
                </a:cubicBezTo>
                <a:lnTo>
                  <a:pt x="1618060" y="80724"/>
                </a:lnTo>
                <a:cubicBezTo>
                  <a:pt x="1616076" y="82688"/>
                  <a:pt x="1610123" y="86615"/>
                  <a:pt x="1610123" y="86615"/>
                </a:cubicBezTo>
                <a:cubicBezTo>
                  <a:pt x="1610123" y="86615"/>
                  <a:pt x="1608138" y="86615"/>
                  <a:pt x="1604169" y="86615"/>
                </a:cubicBezTo>
                <a:cubicBezTo>
                  <a:pt x="1600201" y="86615"/>
                  <a:pt x="1588294" y="86615"/>
                  <a:pt x="1588294" y="86615"/>
                </a:cubicBezTo>
                <a:cubicBezTo>
                  <a:pt x="1588294" y="86615"/>
                  <a:pt x="1580357" y="88578"/>
                  <a:pt x="1578372" y="90542"/>
                </a:cubicBezTo>
                <a:cubicBezTo>
                  <a:pt x="1576388" y="92505"/>
                  <a:pt x="1572419" y="92505"/>
                  <a:pt x="1570435" y="92505"/>
                </a:cubicBezTo>
                <a:cubicBezTo>
                  <a:pt x="1566466" y="92505"/>
                  <a:pt x="1556544" y="92505"/>
                  <a:pt x="1554560" y="96432"/>
                </a:cubicBezTo>
                <a:cubicBezTo>
                  <a:pt x="1552575" y="100359"/>
                  <a:pt x="1542654" y="96432"/>
                  <a:pt x="1542654" y="96432"/>
                </a:cubicBezTo>
                <a:cubicBezTo>
                  <a:pt x="1542654" y="96432"/>
                  <a:pt x="1538685" y="92505"/>
                  <a:pt x="1536700" y="92505"/>
                </a:cubicBezTo>
                <a:cubicBezTo>
                  <a:pt x="1532732" y="94469"/>
                  <a:pt x="1530747" y="92505"/>
                  <a:pt x="1530747" y="92505"/>
                </a:cubicBezTo>
                <a:cubicBezTo>
                  <a:pt x="1530747" y="88578"/>
                  <a:pt x="1524794" y="88578"/>
                  <a:pt x="1522810" y="90542"/>
                </a:cubicBezTo>
                <a:cubicBezTo>
                  <a:pt x="1520825" y="92505"/>
                  <a:pt x="1516857" y="92505"/>
                  <a:pt x="1516857" y="90542"/>
                </a:cubicBezTo>
                <a:cubicBezTo>
                  <a:pt x="1514872" y="88578"/>
                  <a:pt x="1516857" y="88578"/>
                  <a:pt x="1512888" y="88578"/>
                </a:cubicBezTo>
                <a:cubicBezTo>
                  <a:pt x="1508919" y="88578"/>
                  <a:pt x="1506935" y="92505"/>
                  <a:pt x="1506935" y="88578"/>
                </a:cubicBezTo>
                <a:cubicBezTo>
                  <a:pt x="1504950" y="82688"/>
                  <a:pt x="1502966" y="82688"/>
                  <a:pt x="1500982" y="82688"/>
                </a:cubicBezTo>
                <a:cubicBezTo>
                  <a:pt x="1498997" y="82688"/>
                  <a:pt x="1489075" y="84651"/>
                  <a:pt x="1493044" y="78761"/>
                </a:cubicBezTo>
                <a:cubicBezTo>
                  <a:pt x="1493044" y="78761"/>
                  <a:pt x="1495028" y="74834"/>
                  <a:pt x="1500982" y="72870"/>
                </a:cubicBezTo>
                <a:cubicBezTo>
                  <a:pt x="1506935" y="72870"/>
                  <a:pt x="1512888" y="74834"/>
                  <a:pt x="1514872" y="70907"/>
                </a:cubicBezTo>
                <a:cubicBezTo>
                  <a:pt x="1514872" y="66980"/>
                  <a:pt x="1512888" y="63053"/>
                  <a:pt x="1514872" y="59126"/>
                </a:cubicBezTo>
                <a:cubicBezTo>
                  <a:pt x="1516857" y="57163"/>
                  <a:pt x="1522810" y="55199"/>
                  <a:pt x="1522810" y="55199"/>
                </a:cubicBezTo>
                <a:cubicBezTo>
                  <a:pt x="1522810" y="55199"/>
                  <a:pt x="1538685" y="51272"/>
                  <a:pt x="1548607" y="45382"/>
                </a:cubicBezTo>
                <a:cubicBezTo>
                  <a:pt x="1558529" y="41455"/>
                  <a:pt x="1560513" y="39491"/>
                  <a:pt x="1560513" y="39491"/>
                </a:cubicBezTo>
                <a:cubicBezTo>
                  <a:pt x="1560513" y="39491"/>
                  <a:pt x="1558529" y="29674"/>
                  <a:pt x="1564482" y="27710"/>
                </a:cubicBezTo>
                <a:cubicBezTo>
                  <a:pt x="1566466" y="26729"/>
                  <a:pt x="1569443" y="26238"/>
                  <a:pt x="1572668" y="26729"/>
                </a:cubicBezTo>
                <a:close/>
                <a:moveTo>
                  <a:pt x="753109" y="11459"/>
                </a:moveTo>
                <a:cubicBezTo>
                  <a:pt x="753109" y="21228"/>
                  <a:pt x="765174" y="32951"/>
                  <a:pt x="765174" y="32951"/>
                </a:cubicBezTo>
                <a:cubicBezTo>
                  <a:pt x="763163" y="32951"/>
                  <a:pt x="761153" y="32951"/>
                  <a:pt x="761153" y="32951"/>
                </a:cubicBezTo>
                <a:cubicBezTo>
                  <a:pt x="761153" y="32951"/>
                  <a:pt x="759142" y="30997"/>
                  <a:pt x="759142" y="29044"/>
                </a:cubicBezTo>
                <a:cubicBezTo>
                  <a:pt x="759142" y="29044"/>
                  <a:pt x="755120" y="25136"/>
                  <a:pt x="755120" y="27090"/>
                </a:cubicBezTo>
                <a:cubicBezTo>
                  <a:pt x="753109" y="27090"/>
                  <a:pt x="751098" y="27090"/>
                  <a:pt x="751098" y="25136"/>
                </a:cubicBezTo>
                <a:cubicBezTo>
                  <a:pt x="751098" y="23182"/>
                  <a:pt x="749088" y="23182"/>
                  <a:pt x="749088" y="23182"/>
                </a:cubicBezTo>
                <a:cubicBezTo>
                  <a:pt x="749088" y="23182"/>
                  <a:pt x="747077" y="25136"/>
                  <a:pt x="745066" y="23182"/>
                </a:cubicBezTo>
                <a:cubicBezTo>
                  <a:pt x="745066" y="21228"/>
                  <a:pt x="741044" y="23182"/>
                  <a:pt x="741044" y="23182"/>
                </a:cubicBezTo>
                <a:cubicBezTo>
                  <a:pt x="739033" y="25136"/>
                  <a:pt x="737023" y="23182"/>
                  <a:pt x="735012" y="23182"/>
                </a:cubicBezTo>
                <a:cubicBezTo>
                  <a:pt x="733001" y="23182"/>
                  <a:pt x="733001" y="25136"/>
                  <a:pt x="735012" y="25136"/>
                </a:cubicBezTo>
                <a:cubicBezTo>
                  <a:pt x="737023" y="27090"/>
                  <a:pt x="743055" y="29044"/>
                  <a:pt x="745066" y="29044"/>
                </a:cubicBezTo>
                <a:cubicBezTo>
                  <a:pt x="747077" y="30997"/>
                  <a:pt x="751098" y="29044"/>
                  <a:pt x="753109" y="29044"/>
                </a:cubicBezTo>
                <a:cubicBezTo>
                  <a:pt x="755120" y="29044"/>
                  <a:pt x="755120" y="30997"/>
                  <a:pt x="753109" y="32951"/>
                </a:cubicBezTo>
                <a:cubicBezTo>
                  <a:pt x="751098" y="34905"/>
                  <a:pt x="745066" y="34905"/>
                  <a:pt x="745066" y="34905"/>
                </a:cubicBezTo>
                <a:cubicBezTo>
                  <a:pt x="743055" y="34905"/>
                  <a:pt x="739033" y="34905"/>
                  <a:pt x="737023" y="34905"/>
                </a:cubicBezTo>
                <a:cubicBezTo>
                  <a:pt x="737023" y="34905"/>
                  <a:pt x="730990" y="34905"/>
                  <a:pt x="730990" y="34905"/>
                </a:cubicBezTo>
                <a:cubicBezTo>
                  <a:pt x="730990" y="34905"/>
                  <a:pt x="726968" y="32951"/>
                  <a:pt x="724958" y="32951"/>
                </a:cubicBezTo>
                <a:cubicBezTo>
                  <a:pt x="720936" y="32951"/>
                  <a:pt x="716914" y="32951"/>
                  <a:pt x="714903" y="34905"/>
                </a:cubicBezTo>
                <a:cubicBezTo>
                  <a:pt x="714903" y="36859"/>
                  <a:pt x="708871" y="34905"/>
                  <a:pt x="706860" y="30997"/>
                </a:cubicBezTo>
                <a:cubicBezTo>
                  <a:pt x="704849" y="27090"/>
                  <a:pt x="708871" y="25136"/>
                  <a:pt x="708871" y="25136"/>
                </a:cubicBezTo>
                <a:cubicBezTo>
                  <a:pt x="708871" y="25136"/>
                  <a:pt x="708871" y="27090"/>
                  <a:pt x="710882" y="27090"/>
                </a:cubicBezTo>
                <a:cubicBezTo>
                  <a:pt x="714903" y="27090"/>
                  <a:pt x="716914" y="29044"/>
                  <a:pt x="718925" y="29044"/>
                </a:cubicBezTo>
                <a:cubicBezTo>
                  <a:pt x="722947" y="29044"/>
                  <a:pt x="720936" y="27090"/>
                  <a:pt x="720936" y="25136"/>
                </a:cubicBezTo>
                <a:cubicBezTo>
                  <a:pt x="720936" y="21228"/>
                  <a:pt x="726968" y="23182"/>
                  <a:pt x="728979" y="23182"/>
                </a:cubicBezTo>
                <a:cubicBezTo>
                  <a:pt x="730990" y="25136"/>
                  <a:pt x="730990" y="21228"/>
                  <a:pt x="730990" y="17320"/>
                </a:cubicBezTo>
                <a:cubicBezTo>
                  <a:pt x="730990" y="13413"/>
                  <a:pt x="739033" y="17320"/>
                  <a:pt x="743055" y="17320"/>
                </a:cubicBezTo>
                <a:cubicBezTo>
                  <a:pt x="745066" y="17320"/>
                  <a:pt x="747077" y="15367"/>
                  <a:pt x="749088" y="13413"/>
                </a:cubicBezTo>
                <a:cubicBezTo>
                  <a:pt x="749088" y="11459"/>
                  <a:pt x="751098" y="11459"/>
                  <a:pt x="753109" y="11459"/>
                </a:cubicBezTo>
                <a:close/>
                <a:moveTo>
                  <a:pt x="865822" y="800"/>
                </a:moveTo>
                <a:cubicBezTo>
                  <a:pt x="867833" y="800"/>
                  <a:pt x="869844" y="800"/>
                  <a:pt x="869844" y="800"/>
                </a:cubicBezTo>
                <a:cubicBezTo>
                  <a:pt x="869844" y="-1241"/>
                  <a:pt x="875876" y="800"/>
                  <a:pt x="877887" y="4882"/>
                </a:cubicBezTo>
                <a:cubicBezTo>
                  <a:pt x="877887" y="8964"/>
                  <a:pt x="873866" y="13046"/>
                  <a:pt x="869844" y="13046"/>
                </a:cubicBezTo>
                <a:cubicBezTo>
                  <a:pt x="867833" y="13046"/>
                  <a:pt x="861800" y="11005"/>
                  <a:pt x="861800" y="11005"/>
                </a:cubicBezTo>
                <a:cubicBezTo>
                  <a:pt x="859789" y="8964"/>
                  <a:pt x="857779" y="8964"/>
                  <a:pt x="857779" y="8964"/>
                </a:cubicBezTo>
                <a:cubicBezTo>
                  <a:pt x="857779" y="8964"/>
                  <a:pt x="851746" y="8964"/>
                  <a:pt x="849735" y="8964"/>
                </a:cubicBezTo>
                <a:cubicBezTo>
                  <a:pt x="847724" y="6923"/>
                  <a:pt x="847724" y="4882"/>
                  <a:pt x="847724" y="4882"/>
                </a:cubicBezTo>
                <a:cubicBezTo>
                  <a:pt x="851746" y="4882"/>
                  <a:pt x="851746" y="4882"/>
                  <a:pt x="851746" y="4882"/>
                </a:cubicBezTo>
                <a:cubicBezTo>
                  <a:pt x="851746" y="4882"/>
                  <a:pt x="853757" y="4882"/>
                  <a:pt x="857779" y="4882"/>
                </a:cubicBezTo>
                <a:cubicBezTo>
                  <a:pt x="859789" y="2841"/>
                  <a:pt x="865822" y="800"/>
                  <a:pt x="865822" y="800"/>
                </a:cubicBezTo>
                <a:close/>
              </a:path>
            </a:pathLst>
          </a:custGeom>
          <a:solidFill>
            <a:schemeClr val="bg1">
              <a:lumMod val="85000"/>
            </a:schemeClr>
          </a:solidFill>
          <a:ln w="3175">
            <a:solidFill>
              <a:schemeClr val="bg2">
                <a:lumMod val="20000"/>
                <a:lumOff val="80000"/>
              </a:scheme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srgbClr val="464646"/>
              </a:solidFill>
              <a:effectLst/>
              <a:uLnTx/>
              <a:uFillTx/>
              <a:latin typeface="Arial"/>
              <a:ea typeface="+mn-ea"/>
              <a:cs typeface="+mn-cs"/>
            </a:endParaRPr>
          </a:p>
        </p:txBody>
      </p:sp>
      <p:pic>
        <p:nvPicPr>
          <p:cNvPr id="209" name="Graphic 208" descr="Marker">
            <a:extLst>
              <a:ext uri="{FF2B5EF4-FFF2-40B4-BE49-F238E27FC236}">
                <a16:creationId xmlns:a16="http://schemas.microsoft.com/office/drawing/2014/main" id="{B378E1D9-8FC6-47BF-B394-E645E94E0AA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45425" y="3411665"/>
            <a:ext cx="1142826" cy="1142826"/>
          </a:xfrm>
          <a:prstGeom prst="rect">
            <a:avLst/>
          </a:prstGeom>
        </p:spPr>
      </p:pic>
      <p:pic>
        <p:nvPicPr>
          <p:cNvPr id="1026" name="Picture 2" descr="FLAGS OF SOUTH AMERICA – National Flags of South American Countries for  Kids, Kindergarten - YouTube">
            <a:extLst>
              <a:ext uri="{FF2B5EF4-FFF2-40B4-BE49-F238E27FC236}">
                <a16:creationId xmlns:a16="http://schemas.microsoft.com/office/drawing/2014/main" id="{AE287662-2B7E-4401-A9A1-9941411716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0985" y="3653398"/>
            <a:ext cx="390131" cy="316345"/>
          </a:xfrm>
          <a:prstGeom prst="ellipse">
            <a:avLst/>
          </a:prstGeom>
          <a:noFill/>
          <a:extLst>
            <a:ext uri="{909E8E84-426E-40DD-AFC4-6F175D3DCCD1}">
              <a14:hiddenFill xmlns:a14="http://schemas.microsoft.com/office/drawing/2010/main">
                <a:solidFill>
                  <a:srgbClr val="FFFFFF"/>
                </a:solidFill>
              </a14:hiddenFill>
            </a:ext>
          </a:extLst>
        </p:spPr>
      </p:pic>
      <p:sp>
        <p:nvSpPr>
          <p:cNvPr id="210" name="Speech Bubble: Rectangle with Corners Rounded 209">
            <a:extLst>
              <a:ext uri="{FF2B5EF4-FFF2-40B4-BE49-F238E27FC236}">
                <a16:creationId xmlns:a16="http://schemas.microsoft.com/office/drawing/2014/main" id="{25184572-CBE8-4F84-A67D-92A7EC992514}"/>
              </a:ext>
            </a:extLst>
          </p:cNvPr>
          <p:cNvSpPr/>
          <p:nvPr/>
        </p:nvSpPr>
        <p:spPr>
          <a:xfrm>
            <a:off x="3578060" y="3035824"/>
            <a:ext cx="1527155" cy="433235"/>
          </a:xfrm>
          <a:prstGeom prst="wedgeRoundRectCallout">
            <a:avLst>
              <a:gd name="adj1" fmla="val 37663"/>
              <a:gd name="adj2" fmla="val 88583"/>
              <a:gd name="adj3" fmla="val 16667"/>
            </a:avLst>
          </a:prstGeom>
          <a:solidFill>
            <a:srgbClr val="008D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25519">
              <a:defRPr/>
            </a:pPr>
            <a:r>
              <a:rPr lang="en-US" sz="1100" b="1" dirty="0">
                <a:solidFill>
                  <a:schemeClr val="bg1"/>
                </a:solidFill>
                <a:cs typeface="Arial" panose="020B0604020202020204" pitchFamily="34" charset="0"/>
              </a:rPr>
              <a:t>South America</a:t>
            </a:r>
          </a:p>
          <a:p>
            <a:pPr algn="ctr" defTabSz="1625519">
              <a:defRPr/>
            </a:pPr>
            <a:r>
              <a:rPr lang="en-US" sz="1100" b="1" dirty="0">
                <a:solidFill>
                  <a:schemeClr val="bg1"/>
                </a:solidFill>
                <a:cs typeface="Arial" panose="020B0604020202020204" pitchFamily="34" charset="0"/>
              </a:rPr>
              <a:t>(N=487,878)</a:t>
            </a:r>
          </a:p>
        </p:txBody>
      </p:sp>
      <p:pic>
        <p:nvPicPr>
          <p:cNvPr id="212" name="Graphic 211" descr="Marker">
            <a:extLst>
              <a:ext uri="{FF2B5EF4-FFF2-40B4-BE49-F238E27FC236}">
                <a16:creationId xmlns:a16="http://schemas.microsoft.com/office/drawing/2014/main" id="{A2AC1C91-746B-431A-BA06-28F28FC4CE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01805" y="2484435"/>
            <a:ext cx="1142826" cy="1142826"/>
          </a:xfrm>
          <a:prstGeom prst="rect">
            <a:avLst/>
          </a:prstGeom>
        </p:spPr>
      </p:pic>
      <p:sp>
        <p:nvSpPr>
          <p:cNvPr id="215" name="Speech Bubble: Rectangle with Corners Rounded 214">
            <a:extLst>
              <a:ext uri="{FF2B5EF4-FFF2-40B4-BE49-F238E27FC236}">
                <a16:creationId xmlns:a16="http://schemas.microsoft.com/office/drawing/2014/main" id="{2547F880-6793-4346-A8B2-632DABD867A7}"/>
              </a:ext>
            </a:extLst>
          </p:cNvPr>
          <p:cNvSpPr/>
          <p:nvPr/>
        </p:nvSpPr>
        <p:spPr>
          <a:xfrm>
            <a:off x="7341180" y="2109190"/>
            <a:ext cx="1527155" cy="433235"/>
          </a:xfrm>
          <a:prstGeom prst="wedgeRoundRectCallout">
            <a:avLst>
              <a:gd name="adj1" fmla="val 37663"/>
              <a:gd name="adj2" fmla="val 88583"/>
              <a:gd name="adj3" fmla="val 16667"/>
            </a:avLst>
          </a:prstGeom>
          <a:solidFill>
            <a:srgbClr val="008D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25519">
              <a:defRPr/>
            </a:pPr>
            <a:r>
              <a:rPr lang="en-US" sz="1100" b="1" dirty="0">
                <a:solidFill>
                  <a:schemeClr val="bg1"/>
                </a:solidFill>
                <a:cs typeface="Arial" panose="020B0604020202020204" pitchFamily="34" charset="0"/>
              </a:rPr>
              <a:t>Asia</a:t>
            </a:r>
          </a:p>
          <a:p>
            <a:pPr algn="ctr" defTabSz="1625519">
              <a:defRPr/>
            </a:pPr>
            <a:r>
              <a:rPr lang="en-US" sz="1100" b="1" dirty="0">
                <a:solidFill>
                  <a:schemeClr val="bg1"/>
                </a:solidFill>
                <a:cs typeface="Arial" panose="020B0604020202020204" pitchFamily="34" charset="0"/>
              </a:rPr>
              <a:t>(N=76,819)</a:t>
            </a:r>
          </a:p>
        </p:txBody>
      </p:sp>
      <p:pic>
        <p:nvPicPr>
          <p:cNvPr id="1030" name="Picture 6" descr="Asia flags background stock vector. Illustration of bahrain - 170730592">
            <a:extLst>
              <a:ext uri="{FF2B5EF4-FFF2-40B4-BE49-F238E27FC236}">
                <a16:creationId xmlns:a16="http://schemas.microsoft.com/office/drawing/2014/main" id="{E2A885EF-F14D-4F36-BBCC-3D3EEAE200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9489" y="2670133"/>
            <a:ext cx="449126" cy="453254"/>
          </a:xfrm>
          <a:prstGeom prst="ellipse">
            <a:avLst/>
          </a:prstGeom>
          <a:noFill/>
          <a:extLst>
            <a:ext uri="{909E8E84-426E-40DD-AFC4-6F175D3DCCD1}">
              <a14:hiddenFill xmlns:a14="http://schemas.microsoft.com/office/drawing/2010/main">
                <a:solidFill>
                  <a:srgbClr val="FFFFFF"/>
                </a:solidFill>
              </a14:hiddenFill>
            </a:ext>
          </a:extLst>
        </p:spPr>
      </p:pic>
      <p:pic>
        <p:nvPicPr>
          <p:cNvPr id="221" name="Graphic 220" descr="Marker">
            <a:extLst>
              <a:ext uri="{FF2B5EF4-FFF2-40B4-BE49-F238E27FC236}">
                <a16:creationId xmlns:a16="http://schemas.microsoft.com/office/drawing/2014/main" id="{21CB3580-AF7B-4039-B812-5D081FDFA56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54506" y="2707625"/>
            <a:ext cx="1142826" cy="1142826"/>
          </a:xfrm>
          <a:prstGeom prst="rect">
            <a:avLst/>
          </a:prstGeom>
        </p:spPr>
      </p:pic>
      <p:sp>
        <p:nvSpPr>
          <p:cNvPr id="222" name="Speech Bubble: Rectangle with Corners Rounded 221">
            <a:extLst>
              <a:ext uri="{FF2B5EF4-FFF2-40B4-BE49-F238E27FC236}">
                <a16:creationId xmlns:a16="http://schemas.microsoft.com/office/drawing/2014/main" id="{E5F08A7F-5BAA-4293-B107-C8CC66ADD174}"/>
              </a:ext>
            </a:extLst>
          </p:cNvPr>
          <p:cNvSpPr/>
          <p:nvPr/>
        </p:nvSpPr>
        <p:spPr>
          <a:xfrm>
            <a:off x="5083417" y="2351524"/>
            <a:ext cx="1527155" cy="433235"/>
          </a:xfrm>
          <a:prstGeom prst="wedgeRoundRectCallout">
            <a:avLst>
              <a:gd name="adj1" fmla="val 37663"/>
              <a:gd name="adj2" fmla="val 88583"/>
              <a:gd name="adj3" fmla="val 16667"/>
            </a:avLst>
          </a:prstGeom>
          <a:solidFill>
            <a:srgbClr val="008D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25519">
              <a:defRPr/>
            </a:pPr>
            <a:r>
              <a:rPr lang="en-US" sz="1100" b="1" dirty="0">
                <a:solidFill>
                  <a:schemeClr val="bg1"/>
                </a:solidFill>
                <a:cs typeface="Arial" panose="020B0604020202020204" pitchFamily="34" charset="0"/>
              </a:rPr>
              <a:t>Africa </a:t>
            </a:r>
          </a:p>
          <a:p>
            <a:pPr algn="ctr" defTabSz="1625519">
              <a:defRPr/>
            </a:pPr>
            <a:r>
              <a:rPr lang="en-US" sz="1100" b="1" dirty="0">
                <a:solidFill>
                  <a:schemeClr val="bg1"/>
                </a:solidFill>
                <a:cs typeface="Arial" panose="020B0604020202020204" pitchFamily="34" charset="0"/>
              </a:rPr>
              <a:t>(N=14,259)</a:t>
            </a:r>
          </a:p>
        </p:txBody>
      </p:sp>
      <p:pic>
        <p:nvPicPr>
          <p:cNvPr id="223" name="Picture 4" descr="Africa Flags Globe Clipart Africa Flag Video - Combined African Flags PNG  Image | Transparent PNG Free Download on SeekPNG">
            <a:extLst>
              <a:ext uri="{FF2B5EF4-FFF2-40B4-BE49-F238E27FC236}">
                <a16:creationId xmlns:a16="http://schemas.microsoft.com/office/drawing/2014/main" id="{3674DC43-4BCE-499C-9994-5375A8F8272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14794" y="2898481"/>
            <a:ext cx="434907" cy="456130"/>
          </a:xfrm>
          <a:prstGeom prst="ellipse">
            <a:avLst/>
          </a:prstGeom>
          <a:solidFill>
            <a:schemeClr val="accent1">
              <a:lumMod val="60000"/>
              <a:lumOff val="40000"/>
            </a:schemeClr>
          </a:solidFill>
        </p:spPr>
      </p:pic>
      <p:sp>
        <p:nvSpPr>
          <p:cNvPr id="224" name="Rounded Rectangle 15">
            <a:extLst>
              <a:ext uri="{FF2B5EF4-FFF2-40B4-BE49-F238E27FC236}">
                <a16:creationId xmlns:a16="http://schemas.microsoft.com/office/drawing/2014/main" id="{053F7A19-A35A-4264-B055-15CFDE161E39}"/>
              </a:ext>
            </a:extLst>
          </p:cNvPr>
          <p:cNvSpPr/>
          <p:nvPr/>
        </p:nvSpPr>
        <p:spPr>
          <a:xfrm>
            <a:off x="419629" y="2504965"/>
            <a:ext cx="2304845" cy="2768711"/>
          </a:xfrm>
          <a:prstGeom prst="roundRect">
            <a:avLst>
              <a:gd name="adj" fmla="val 2345"/>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400">
              <a:spcBef>
                <a:spcPts val="600"/>
              </a:spcBef>
              <a:spcAft>
                <a:spcPts val="600"/>
              </a:spcAft>
            </a:pPr>
            <a:r>
              <a:rPr lang="en-IN" sz="1000" b="1" dirty="0">
                <a:solidFill>
                  <a:srgbClr val="464646"/>
                </a:solidFill>
              </a:rPr>
              <a:t>Key Insights</a:t>
            </a:r>
          </a:p>
          <a:p>
            <a:pPr marL="228600" lvl="1" indent="-228600" defTabSz="914400">
              <a:spcBef>
                <a:spcPts val="600"/>
              </a:spcBef>
              <a:spcAft>
                <a:spcPts val="600"/>
              </a:spcAft>
              <a:buClr>
                <a:srgbClr val="008DC2"/>
              </a:buClr>
              <a:buSzPct val="100000"/>
              <a:buFont typeface="Wingdings" panose="05000000000000000000" pitchFamily="2" charset="2"/>
              <a:buChar char=""/>
            </a:pPr>
            <a:r>
              <a:rPr lang="en-US" sz="1000" dirty="0">
                <a:solidFill>
                  <a:srgbClr val="464646"/>
                </a:solidFill>
              </a:rPr>
              <a:t>The top countries in South America with most number of cases in 2021 are: Brazil, Peru, Nicaragua, Colombia, and Paraguay</a:t>
            </a:r>
            <a:endParaRPr lang="en-US" sz="1000" baseline="30000" dirty="0">
              <a:solidFill>
                <a:srgbClr val="464646"/>
              </a:solidFill>
            </a:endParaRPr>
          </a:p>
          <a:p>
            <a:pPr marL="228600" lvl="1" indent="-228600">
              <a:spcBef>
                <a:spcPts val="600"/>
              </a:spcBef>
              <a:spcAft>
                <a:spcPts val="600"/>
              </a:spcAft>
              <a:buClr>
                <a:srgbClr val="008DC2"/>
              </a:buClr>
              <a:buSzPct val="100000"/>
              <a:buFont typeface="Wingdings" panose="05000000000000000000" pitchFamily="2" charset="2"/>
              <a:buChar char=""/>
            </a:pPr>
            <a:r>
              <a:rPr lang="en-US" sz="1000" dirty="0">
                <a:solidFill>
                  <a:srgbClr val="464646"/>
                </a:solidFill>
              </a:rPr>
              <a:t>Out of total cases in South America, 87% (N=426,592) are located in Brazil (2021)</a:t>
            </a:r>
          </a:p>
          <a:p>
            <a:pPr marL="228600" lvl="1" indent="-228600" defTabSz="914400">
              <a:spcBef>
                <a:spcPts val="600"/>
              </a:spcBef>
              <a:spcAft>
                <a:spcPts val="600"/>
              </a:spcAft>
              <a:buClr>
                <a:srgbClr val="008DC2"/>
              </a:buClr>
              <a:buSzPct val="100000"/>
              <a:buFont typeface="Wingdings" panose="05000000000000000000" pitchFamily="2" charset="2"/>
              <a:buChar char=""/>
            </a:pPr>
            <a:r>
              <a:rPr lang="en-US" sz="1000" dirty="0">
                <a:solidFill>
                  <a:srgbClr val="464646"/>
                </a:solidFill>
              </a:rPr>
              <a:t>Out of total cases in 2021 in Asia, around 70% are located in SEA region. Mostly in Vietnam (N=24,000), and the Philippines (N=17,630)</a:t>
            </a:r>
          </a:p>
        </p:txBody>
      </p:sp>
      <p:sp>
        <p:nvSpPr>
          <p:cNvPr id="219" name="TextBox 218">
            <a:extLst>
              <a:ext uri="{FF2B5EF4-FFF2-40B4-BE49-F238E27FC236}">
                <a16:creationId xmlns:a16="http://schemas.microsoft.com/office/drawing/2014/main" id="{6663FE5F-AACD-4E92-8C1B-B2711A3DEE70}"/>
              </a:ext>
            </a:extLst>
          </p:cNvPr>
          <p:cNvSpPr txBox="1"/>
          <p:nvPr/>
        </p:nvSpPr>
        <p:spPr>
          <a:xfrm>
            <a:off x="1478352" y="6091751"/>
            <a:ext cx="10358330" cy="461665"/>
          </a:xfrm>
          <a:prstGeom prst="rect">
            <a:avLst/>
          </a:prstGeom>
          <a:noFill/>
        </p:spPr>
        <p:txBody>
          <a:bodyPr wrap="square" rtlCol="0">
            <a:spAutoFit/>
          </a:bodyPr>
          <a:lstStyle/>
          <a:p>
            <a:pPr marL="171450" indent="-171450">
              <a:buFont typeface="Arial" panose="020B0604020202020204" pitchFamily="34" charset="0"/>
              <a:buChar char="•"/>
            </a:pPr>
            <a:r>
              <a:rPr lang="en-IN" sz="800" dirty="0"/>
              <a:t>Data for countries like Saint-Martin, Saint-Barthelemy, Martinique, </a:t>
            </a:r>
            <a:r>
              <a:rPr lang="en-US" sz="800" dirty="0"/>
              <a:t>Bangladesh, India, Indonesia, Myanmar, Ethiopia, Mayotte, Mauritius, Mauritania or Senegal, </a:t>
            </a:r>
            <a:r>
              <a:rPr lang="en-US" sz="800" b="0" i="0" dirty="0">
                <a:effectLst/>
                <a:latin typeface="Helvetica Neue"/>
              </a:rPr>
              <a:t>Federated States of Micronesia, the Republic of the Marshall Islands, Wallis and Futuna, Fiji</a:t>
            </a:r>
            <a:r>
              <a:rPr lang="en-IN" sz="800" dirty="0"/>
              <a:t> are not updated</a:t>
            </a:r>
          </a:p>
          <a:p>
            <a:pPr marL="171450" indent="-171450">
              <a:buFont typeface="Arial" panose="020B0604020202020204" pitchFamily="34" charset="0"/>
              <a:buChar char="•"/>
            </a:pPr>
            <a:r>
              <a:rPr lang="en-IN" sz="800" dirty="0"/>
              <a:t>Australia and the Pacific has only around 312 cases in total</a:t>
            </a:r>
          </a:p>
        </p:txBody>
      </p:sp>
      <p:sp>
        <p:nvSpPr>
          <p:cNvPr id="205" name="PhilipsSource5">
            <a:extLst>
              <a:ext uri="{FF2B5EF4-FFF2-40B4-BE49-F238E27FC236}">
                <a16:creationId xmlns:a16="http://schemas.microsoft.com/office/drawing/2014/main" id="{AC7EB794-EAE5-47E3-BF41-15BF4C0D2599}"/>
              </a:ext>
            </a:extLst>
          </p:cNvPr>
          <p:cNvSpPr/>
          <p:nvPr/>
        </p:nvSpPr>
        <p:spPr>
          <a:xfrm>
            <a:off x="1567492" y="6378965"/>
            <a:ext cx="4932861" cy="328423"/>
          </a:xfrm>
          <a:prstGeom prst="rect">
            <a:avLst/>
          </a:prstGeom>
          <a:noFill/>
          <a:ln w="25400" cap="flat" cmpd="sng" algn="ctr">
            <a:noFill/>
            <a:prstDash val="soli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defTabSz="1219170"/>
            <a:r>
              <a:rPr lang="en-US" sz="1067" i="1" dirty="0">
                <a:solidFill>
                  <a:srgbClr val="B9B9B9"/>
                </a:solidFill>
                <a:latin typeface="Calibri" panose="020F0502020204030204" pitchFamily="34" charset="0"/>
              </a:rPr>
              <a:t> </a:t>
            </a:r>
          </a:p>
          <a:p>
            <a:pPr defTabSz="1219170"/>
            <a:r>
              <a:rPr lang="en-US" sz="1067" i="1" dirty="0">
                <a:solidFill>
                  <a:srgbClr val="B9B9B9"/>
                </a:solidFill>
                <a:latin typeface="Calibri" panose="020F0502020204030204" pitchFamily="34" charset="0"/>
              </a:rPr>
              <a:t>Source: ECDC; PAHO; </a:t>
            </a:r>
            <a:r>
              <a:rPr lang="en-US" sz="1067" i="1" dirty="0" err="1">
                <a:solidFill>
                  <a:srgbClr val="B9B9B9"/>
                </a:solidFill>
                <a:latin typeface="Calibri" panose="020F0502020204030204" pitchFamily="34" charset="0"/>
              </a:rPr>
              <a:t>Sehatnegeriku</a:t>
            </a:r>
            <a:r>
              <a:rPr lang="en-US" sz="1067" i="1" dirty="0">
                <a:solidFill>
                  <a:srgbClr val="B9B9B9"/>
                </a:solidFill>
                <a:latin typeface="Calibri" panose="020F0502020204030204" pitchFamily="34" charset="0"/>
              </a:rPr>
              <a:t>; NVBDCP</a:t>
            </a:r>
          </a:p>
        </p:txBody>
      </p:sp>
      <p:sp>
        <p:nvSpPr>
          <p:cNvPr id="206" name="TextBox 205">
            <a:extLst>
              <a:ext uri="{FF2B5EF4-FFF2-40B4-BE49-F238E27FC236}">
                <a16:creationId xmlns:a16="http://schemas.microsoft.com/office/drawing/2014/main" id="{186B976C-7755-4BCE-9D4D-D9768DA2DC1C}"/>
              </a:ext>
            </a:extLst>
          </p:cNvPr>
          <p:cNvSpPr txBox="1"/>
          <p:nvPr/>
        </p:nvSpPr>
        <p:spPr>
          <a:xfrm>
            <a:off x="8929331" y="6477063"/>
            <a:ext cx="1865275" cy="215444"/>
          </a:xfrm>
          <a:prstGeom prst="rect">
            <a:avLst/>
          </a:prstGeom>
          <a:noFill/>
        </p:spPr>
        <p:txBody>
          <a:bodyPr wrap="square" rtlCol="0">
            <a:spAutoFit/>
          </a:bodyPr>
          <a:lstStyle/>
          <a:p>
            <a:r>
              <a:rPr lang="en-IN" sz="800" i="1" dirty="0"/>
              <a:t>Recent data, updated on may 2021</a:t>
            </a:r>
          </a:p>
        </p:txBody>
      </p:sp>
      <p:sp>
        <p:nvSpPr>
          <p:cNvPr id="3" name="Rectangle 2">
            <a:extLst>
              <a:ext uri="{FF2B5EF4-FFF2-40B4-BE49-F238E27FC236}">
                <a16:creationId xmlns:a16="http://schemas.microsoft.com/office/drawing/2014/main" id="{4B84F3D4-5F92-448B-9E27-6B3E1FF03B68}"/>
              </a:ext>
            </a:extLst>
          </p:cNvPr>
          <p:cNvSpPr/>
          <p:nvPr/>
        </p:nvSpPr>
        <p:spPr>
          <a:xfrm>
            <a:off x="11713931" y="5184709"/>
            <a:ext cx="166255" cy="133984"/>
          </a:xfrm>
          <a:prstGeom prst="rect">
            <a:avLst/>
          </a:prstGeom>
          <a:solidFill>
            <a:srgbClr val="7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24" name="TextBox 1023">
            <a:extLst>
              <a:ext uri="{FF2B5EF4-FFF2-40B4-BE49-F238E27FC236}">
                <a16:creationId xmlns:a16="http://schemas.microsoft.com/office/drawing/2014/main" id="{8EE9443B-4054-4BE2-B810-DEE82EBD06AB}"/>
              </a:ext>
            </a:extLst>
          </p:cNvPr>
          <p:cNvSpPr txBox="1"/>
          <p:nvPr/>
        </p:nvSpPr>
        <p:spPr>
          <a:xfrm>
            <a:off x="10948770" y="5145086"/>
            <a:ext cx="1044789" cy="215444"/>
          </a:xfrm>
          <a:prstGeom prst="rect">
            <a:avLst/>
          </a:prstGeom>
          <a:noFill/>
        </p:spPr>
        <p:txBody>
          <a:bodyPr wrap="square" rtlCol="0">
            <a:spAutoFit/>
          </a:bodyPr>
          <a:lstStyle/>
          <a:p>
            <a:r>
              <a:rPr lang="en-IN" sz="800" dirty="0"/>
              <a:t>Higher cases</a:t>
            </a:r>
          </a:p>
        </p:txBody>
      </p:sp>
      <p:sp>
        <p:nvSpPr>
          <p:cNvPr id="211" name="Rectangle 210">
            <a:extLst>
              <a:ext uri="{FF2B5EF4-FFF2-40B4-BE49-F238E27FC236}">
                <a16:creationId xmlns:a16="http://schemas.microsoft.com/office/drawing/2014/main" id="{1B167803-EA79-4328-AB37-5719B33D1211}"/>
              </a:ext>
            </a:extLst>
          </p:cNvPr>
          <p:cNvSpPr/>
          <p:nvPr/>
        </p:nvSpPr>
        <p:spPr>
          <a:xfrm>
            <a:off x="11713931" y="5379041"/>
            <a:ext cx="166255" cy="133984"/>
          </a:xfrm>
          <a:prstGeom prst="rect">
            <a:avLst/>
          </a:prstGeom>
          <a:solidFill>
            <a:srgbClr val="F62E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4" name="TextBox 213">
            <a:extLst>
              <a:ext uri="{FF2B5EF4-FFF2-40B4-BE49-F238E27FC236}">
                <a16:creationId xmlns:a16="http://schemas.microsoft.com/office/drawing/2014/main" id="{299D6F77-CA09-4E82-95DE-1BEAF2CABD2B}"/>
              </a:ext>
            </a:extLst>
          </p:cNvPr>
          <p:cNvSpPr txBox="1"/>
          <p:nvPr/>
        </p:nvSpPr>
        <p:spPr>
          <a:xfrm>
            <a:off x="10948770" y="5339418"/>
            <a:ext cx="1044789" cy="215444"/>
          </a:xfrm>
          <a:prstGeom prst="rect">
            <a:avLst/>
          </a:prstGeom>
          <a:noFill/>
        </p:spPr>
        <p:txBody>
          <a:bodyPr wrap="square" rtlCol="0">
            <a:spAutoFit/>
          </a:bodyPr>
          <a:lstStyle/>
          <a:p>
            <a:r>
              <a:rPr lang="en-IN" sz="800" dirty="0"/>
              <a:t>Milder cases</a:t>
            </a:r>
          </a:p>
        </p:txBody>
      </p:sp>
      <p:sp>
        <p:nvSpPr>
          <p:cNvPr id="216" name="Rectangle 215">
            <a:extLst>
              <a:ext uri="{FF2B5EF4-FFF2-40B4-BE49-F238E27FC236}">
                <a16:creationId xmlns:a16="http://schemas.microsoft.com/office/drawing/2014/main" id="{2E5C2748-5767-4CBE-9166-332168540D27}"/>
              </a:ext>
            </a:extLst>
          </p:cNvPr>
          <p:cNvSpPr/>
          <p:nvPr/>
        </p:nvSpPr>
        <p:spPr>
          <a:xfrm>
            <a:off x="11713931" y="5589545"/>
            <a:ext cx="166255" cy="133984"/>
          </a:xfrm>
          <a:prstGeom prst="rect">
            <a:avLst/>
          </a:prstGeom>
          <a:solidFill>
            <a:srgbClr val="FF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7" name="TextBox 216">
            <a:extLst>
              <a:ext uri="{FF2B5EF4-FFF2-40B4-BE49-F238E27FC236}">
                <a16:creationId xmlns:a16="http://schemas.microsoft.com/office/drawing/2014/main" id="{1C46C4DF-CEED-42C0-8472-6478F77635FD}"/>
              </a:ext>
            </a:extLst>
          </p:cNvPr>
          <p:cNvSpPr txBox="1"/>
          <p:nvPr/>
        </p:nvSpPr>
        <p:spPr>
          <a:xfrm>
            <a:off x="10948770" y="5549922"/>
            <a:ext cx="1044789" cy="215444"/>
          </a:xfrm>
          <a:prstGeom prst="rect">
            <a:avLst/>
          </a:prstGeom>
          <a:noFill/>
        </p:spPr>
        <p:txBody>
          <a:bodyPr wrap="square" rtlCol="0">
            <a:spAutoFit/>
          </a:bodyPr>
          <a:lstStyle/>
          <a:p>
            <a:r>
              <a:rPr lang="en-IN" sz="800" dirty="0"/>
              <a:t>Lower cases</a:t>
            </a:r>
          </a:p>
        </p:txBody>
      </p:sp>
    </p:spTree>
    <p:extLst>
      <p:ext uri="{BB962C8B-B14F-4D97-AF65-F5344CB8AC3E}">
        <p14:creationId xmlns:p14="http://schemas.microsoft.com/office/powerpoint/2010/main" val="115697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untry Wise Distribution</a:t>
            </a:r>
          </a:p>
        </p:txBody>
      </p:sp>
      <p:sp>
        <p:nvSpPr>
          <p:cNvPr id="9" name="Text Placeholder 8"/>
          <p:cNvSpPr>
            <a:spLocks noGrp="1"/>
          </p:cNvSpPr>
          <p:nvPr>
            <p:ph type="body" sz="quarter" idx="10"/>
          </p:nvPr>
        </p:nvSpPr>
        <p:spPr>
          <a:xfrm>
            <a:off x="1596852" y="5956942"/>
            <a:ext cx="8552873" cy="332798"/>
          </a:xfrm>
        </p:spPr>
        <p:txBody>
          <a:bodyPr/>
          <a:lstStyle/>
          <a:p>
            <a:r>
              <a:rPr lang="en-IN" dirty="0"/>
              <a:t>In some countries like Laos, Singapore, Bangladesh, Taiwan, Nepal, and China the total number of cases are very low, and makes up to a combined number of only 327 cases in 2021.</a:t>
            </a:r>
          </a:p>
        </p:txBody>
      </p:sp>
      <p:sp>
        <p:nvSpPr>
          <p:cNvPr id="11" name="Text Placeholder 10"/>
          <p:cNvSpPr>
            <a:spLocks noGrp="1"/>
          </p:cNvSpPr>
          <p:nvPr>
            <p:ph type="body" sz="quarter" idx="11"/>
          </p:nvPr>
        </p:nvSpPr>
        <p:spPr/>
        <p:txBody>
          <a:bodyPr/>
          <a:lstStyle/>
          <a:p>
            <a:r>
              <a:rPr lang="en-IN" dirty="0"/>
              <a:t>African Union has the highest growth rate of Dengue among all the regions, and more than 100% new cases were recorded with in a month. However, in most of the other countries, a pronounced decrement in cases is observed in since 2020.</a:t>
            </a:r>
          </a:p>
        </p:txBody>
      </p:sp>
      <p:sp>
        <p:nvSpPr>
          <p:cNvPr id="4" name="Rounded Rectangle 3"/>
          <p:cNvSpPr/>
          <p:nvPr/>
        </p:nvSpPr>
        <p:spPr>
          <a:xfrm>
            <a:off x="190006" y="1600199"/>
            <a:ext cx="3971991" cy="4430139"/>
          </a:xfrm>
          <a:prstGeom prst="roundRect">
            <a:avLst>
              <a:gd name="adj" fmla="val 2345"/>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ounded Rectangle 4"/>
          <p:cNvSpPr/>
          <p:nvPr/>
        </p:nvSpPr>
        <p:spPr>
          <a:xfrm>
            <a:off x="4225875" y="1595334"/>
            <a:ext cx="3945086" cy="4421781"/>
          </a:xfrm>
          <a:prstGeom prst="roundRect">
            <a:avLst>
              <a:gd name="adj" fmla="val 2345"/>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ounded Rectangle 5"/>
          <p:cNvSpPr/>
          <p:nvPr/>
        </p:nvSpPr>
        <p:spPr>
          <a:xfrm>
            <a:off x="8243850" y="1600199"/>
            <a:ext cx="3669778" cy="4421781"/>
          </a:xfrm>
          <a:prstGeom prst="roundRect">
            <a:avLst>
              <a:gd name="adj" fmla="val 2345"/>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2" name="Chart 11"/>
          <p:cNvGraphicFramePr/>
          <p:nvPr>
            <p:extLst>
              <p:ext uri="{D42A27DB-BD31-4B8C-83A1-F6EECF244321}">
                <p14:modId xmlns:p14="http://schemas.microsoft.com/office/powerpoint/2010/main" val="990255540"/>
              </p:ext>
            </p:extLst>
          </p:nvPr>
        </p:nvGraphicFramePr>
        <p:xfrm>
          <a:off x="744494" y="1849874"/>
          <a:ext cx="2691649" cy="2547028"/>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46"/>
          <p:cNvSpPr>
            <a:spLocks noChangeArrowheads="1"/>
          </p:cNvSpPr>
          <p:nvPr/>
        </p:nvSpPr>
        <p:spPr bwMode="gray">
          <a:xfrm>
            <a:off x="840581" y="1677781"/>
            <a:ext cx="2595562" cy="305212"/>
          </a:xfrm>
          <a:prstGeom prst="rect">
            <a:avLst/>
          </a:prstGeom>
          <a:noFill/>
          <a:ln w="12700">
            <a:noFill/>
            <a:miter lim="800000"/>
            <a:headEnd/>
            <a:tailEnd/>
          </a:ln>
        </p:spPr>
        <p:txBody>
          <a:bodyPr wrap="square" lIns="90488" tIns="44450" rIns="90488" bIns="4445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8DC2"/>
                </a:solidFill>
                <a:latin typeface="Arial"/>
                <a:cs typeface="Calibri" pitchFamily="34" charset="0"/>
                <a:sym typeface="Calibri" panose="020F0502020204030204" pitchFamily="34" charset="0"/>
              </a:rPr>
              <a:t>South America</a:t>
            </a:r>
            <a:endParaRPr kumimoji="0" lang="en-US" sz="1400" b="1" i="0" u="none" strike="noStrike" kern="1200" cap="none" spc="0" normalizeH="0" baseline="0" noProof="0" dirty="0">
              <a:ln>
                <a:noFill/>
              </a:ln>
              <a:solidFill>
                <a:srgbClr val="008DC2"/>
              </a:solidFill>
              <a:effectLst/>
              <a:uLnTx/>
              <a:uFillTx/>
              <a:latin typeface="Arial"/>
              <a:ea typeface="+mn-ea"/>
              <a:cs typeface="Calibri" pitchFamily="34" charset="0"/>
              <a:sym typeface="Calibri" panose="020F0502020204030204" pitchFamily="34" charset="0"/>
            </a:endParaRPr>
          </a:p>
        </p:txBody>
      </p:sp>
      <p:sp>
        <p:nvSpPr>
          <p:cNvPr id="19" name="Rectangle 46"/>
          <p:cNvSpPr>
            <a:spLocks noChangeArrowheads="1"/>
          </p:cNvSpPr>
          <p:nvPr/>
        </p:nvSpPr>
        <p:spPr bwMode="gray">
          <a:xfrm>
            <a:off x="4797145" y="1677781"/>
            <a:ext cx="2595562" cy="305212"/>
          </a:xfrm>
          <a:prstGeom prst="rect">
            <a:avLst/>
          </a:prstGeom>
          <a:noFill/>
          <a:ln w="12700">
            <a:noFill/>
            <a:miter lim="800000"/>
            <a:headEnd/>
            <a:tailEnd/>
          </a:ln>
        </p:spPr>
        <p:txBody>
          <a:bodyPr wrap="square" lIns="90488" tIns="44450" rIns="90488" bIns="4445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8DC2"/>
                </a:solidFill>
                <a:latin typeface="Arial"/>
                <a:cs typeface="Calibri" pitchFamily="34" charset="0"/>
                <a:sym typeface="Calibri" panose="020F0502020204030204" pitchFamily="34" charset="0"/>
              </a:rPr>
              <a:t>Asia</a:t>
            </a:r>
            <a:endParaRPr kumimoji="0" lang="en-US" sz="1400" b="1" i="0" u="none" strike="noStrike" kern="1200" cap="none" spc="0" normalizeH="0" baseline="0" noProof="0" dirty="0">
              <a:ln>
                <a:noFill/>
              </a:ln>
              <a:solidFill>
                <a:srgbClr val="008DC2"/>
              </a:solidFill>
              <a:effectLst/>
              <a:uLnTx/>
              <a:uFillTx/>
              <a:latin typeface="Arial"/>
              <a:ea typeface="+mn-ea"/>
              <a:cs typeface="Calibri" pitchFamily="34" charset="0"/>
              <a:sym typeface="Calibri" panose="020F0502020204030204" pitchFamily="34" charset="0"/>
            </a:endParaRPr>
          </a:p>
        </p:txBody>
      </p:sp>
      <p:sp>
        <p:nvSpPr>
          <p:cNvPr id="20" name="Rectangle 46"/>
          <p:cNvSpPr>
            <a:spLocks noChangeArrowheads="1"/>
          </p:cNvSpPr>
          <p:nvPr/>
        </p:nvSpPr>
        <p:spPr bwMode="gray">
          <a:xfrm>
            <a:off x="8851944" y="1677781"/>
            <a:ext cx="2595562" cy="305212"/>
          </a:xfrm>
          <a:prstGeom prst="rect">
            <a:avLst/>
          </a:prstGeom>
          <a:noFill/>
          <a:ln w="12700">
            <a:noFill/>
            <a:miter lim="800000"/>
            <a:headEnd/>
            <a:tailEnd/>
          </a:ln>
        </p:spPr>
        <p:txBody>
          <a:bodyPr wrap="square" lIns="90488" tIns="44450" rIns="90488" bIns="4445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8DC2"/>
                </a:solidFill>
                <a:latin typeface="Arial"/>
                <a:cs typeface="Calibri" pitchFamily="34" charset="0"/>
                <a:sym typeface="Calibri" panose="020F0502020204030204" pitchFamily="34" charset="0"/>
              </a:rPr>
              <a:t>Africa</a:t>
            </a:r>
            <a:endParaRPr kumimoji="0" lang="en-US" sz="1400" b="1" i="0" u="none" strike="noStrike" kern="1200" cap="none" spc="0" normalizeH="0" baseline="0" noProof="0" dirty="0">
              <a:ln>
                <a:noFill/>
              </a:ln>
              <a:solidFill>
                <a:srgbClr val="008DC2"/>
              </a:solidFill>
              <a:effectLst/>
              <a:uLnTx/>
              <a:uFillTx/>
              <a:latin typeface="Arial"/>
              <a:ea typeface="+mn-ea"/>
              <a:cs typeface="Calibri" pitchFamily="34" charset="0"/>
              <a:sym typeface="Calibri" panose="020F0502020204030204" pitchFamily="34" charset="0"/>
            </a:endParaRPr>
          </a:p>
        </p:txBody>
      </p:sp>
      <p:cxnSp>
        <p:nvCxnSpPr>
          <p:cNvPr id="21" name="Straight Connector 20"/>
          <p:cNvCxnSpPr/>
          <p:nvPr/>
        </p:nvCxnSpPr>
        <p:spPr>
          <a:xfrm>
            <a:off x="321711" y="2049558"/>
            <a:ext cx="36333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278275" y="2049558"/>
            <a:ext cx="36333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234839" y="2049558"/>
            <a:ext cx="3633302"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6" name="Chart 25">
            <a:extLst>
              <a:ext uri="{FF2B5EF4-FFF2-40B4-BE49-F238E27FC236}">
                <a16:creationId xmlns:a16="http://schemas.microsoft.com/office/drawing/2014/main" id="{2D65E73F-A399-4460-8D21-D89A45E0ACDD}"/>
              </a:ext>
            </a:extLst>
          </p:cNvPr>
          <p:cNvGraphicFramePr/>
          <p:nvPr>
            <p:extLst>
              <p:ext uri="{D42A27DB-BD31-4B8C-83A1-F6EECF244321}">
                <p14:modId xmlns:p14="http://schemas.microsoft.com/office/powerpoint/2010/main" val="1428838006"/>
              </p:ext>
            </p:extLst>
          </p:nvPr>
        </p:nvGraphicFramePr>
        <p:xfrm>
          <a:off x="4393371" y="1808403"/>
          <a:ext cx="3600066" cy="258363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a:extLst>
              <a:ext uri="{FF2B5EF4-FFF2-40B4-BE49-F238E27FC236}">
                <a16:creationId xmlns:a16="http://schemas.microsoft.com/office/drawing/2014/main" id="{B5A87BD0-6DB9-446C-975E-C70A22EBA86C}"/>
              </a:ext>
            </a:extLst>
          </p:cNvPr>
          <p:cNvGraphicFramePr/>
          <p:nvPr>
            <p:extLst>
              <p:ext uri="{D42A27DB-BD31-4B8C-83A1-F6EECF244321}">
                <p14:modId xmlns:p14="http://schemas.microsoft.com/office/powerpoint/2010/main" val="4028733510"/>
              </p:ext>
            </p:extLst>
          </p:nvPr>
        </p:nvGraphicFramePr>
        <p:xfrm>
          <a:off x="8960200" y="1824025"/>
          <a:ext cx="2391219" cy="2642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Object 4">
            <a:extLst>
              <a:ext uri="{FF2B5EF4-FFF2-40B4-BE49-F238E27FC236}">
                <a16:creationId xmlns:a16="http://schemas.microsoft.com/office/drawing/2014/main" id="{2AF78160-0749-4580-861E-95E8789D51BD}"/>
              </a:ext>
            </a:extLst>
          </p:cNvPr>
          <p:cNvGraphicFramePr>
            <a:graphicFrameLocks noChangeAspect="1"/>
          </p:cNvGraphicFramePr>
          <p:nvPr>
            <p:extLst>
              <p:ext uri="{D42A27DB-BD31-4B8C-83A1-F6EECF244321}">
                <p14:modId xmlns:p14="http://schemas.microsoft.com/office/powerpoint/2010/main" val="2985786565"/>
              </p:ext>
            </p:extLst>
          </p:nvPr>
        </p:nvGraphicFramePr>
        <p:xfrm>
          <a:off x="186961" y="4091890"/>
          <a:ext cx="3956564" cy="2188123"/>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Connector 6">
            <a:extLst>
              <a:ext uri="{FF2B5EF4-FFF2-40B4-BE49-F238E27FC236}">
                <a16:creationId xmlns:a16="http://schemas.microsoft.com/office/drawing/2014/main" id="{C104A662-BC5E-4517-A1C2-FB02D85D5EE5}"/>
              </a:ext>
            </a:extLst>
          </p:cNvPr>
          <p:cNvCxnSpPr>
            <a:cxnSpLocks/>
          </p:cNvCxnSpPr>
          <p:nvPr/>
        </p:nvCxnSpPr>
        <p:spPr>
          <a:xfrm>
            <a:off x="278372" y="4108438"/>
            <a:ext cx="3748683" cy="3237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369D58-6684-4900-9987-92394880A811}"/>
              </a:ext>
            </a:extLst>
          </p:cNvPr>
          <p:cNvCxnSpPr/>
          <p:nvPr/>
        </p:nvCxnSpPr>
        <p:spPr>
          <a:xfrm>
            <a:off x="4398522" y="4140812"/>
            <a:ext cx="3394953"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38" name="Object 4">
            <a:extLst>
              <a:ext uri="{FF2B5EF4-FFF2-40B4-BE49-F238E27FC236}">
                <a16:creationId xmlns:a16="http://schemas.microsoft.com/office/drawing/2014/main" id="{D6CDF045-431A-47A1-A567-A1AD55001E11}"/>
              </a:ext>
            </a:extLst>
          </p:cNvPr>
          <p:cNvGraphicFramePr>
            <a:graphicFrameLocks noChangeAspect="1"/>
          </p:cNvGraphicFramePr>
          <p:nvPr>
            <p:extLst>
              <p:ext uri="{D42A27DB-BD31-4B8C-83A1-F6EECF244321}">
                <p14:modId xmlns:p14="http://schemas.microsoft.com/office/powerpoint/2010/main" val="2704018177"/>
              </p:ext>
            </p:extLst>
          </p:nvPr>
        </p:nvGraphicFramePr>
        <p:xfrm>
          <a:off x="8195886" y="4183245"/>
          <a:ext cx="3690311" cy="2188123"/>
        </p:xfrm>
        <a:graphic>
          <a:graphicData uri="http://schemas.openxmlformats.org/drawingml/2006/chart">
            <c:chart xmlns:c="http://schemas.openxmlformats.org/drawingml/2006/chart" xmlns:r="http://schemas.openxmlformats.org/officeDocument/2006/relationships" r:id="rId7"/>
          </a:graphicData>
        </a:graphic>
      </p:graphicFrame>
      <p:cxnSp>
        <p:nvCxnSpPr>
          <p:cNvPr id="39" name="Straight Connector 38">
            <a:extLst>
              <a:ext uri="{FF2B5EF4-FFF2-40B4-BE49-F238E27FC236}">
                <a16:creationId xmlns:a16="http://schemas.microsoft.com/office/drawing/2014/main" id="{EC42B40A-E196-40F2-B346-5D2B33998EB1}"/>
              </a:ext>
            </a:extLst>
          </p:cNvPr>
          <p:cNvCxnSpPr/>
          <p:nvPr/>
        </p:nvCxnSpPr>
        <p:spPr>
          <a:xfrm>
            <a:off x="8315634" y="4108438"/>
            <a:ext cx="3394953"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aphicFrame>
        <p:nvGraphicFramePr>
          <p:cNvPr id="41" name="Object 4">
            <a:extLst>
              <a:ext uri="{FF2B5EF4-FFF2-40B4-BE49-F238E27FC236}">
                <a16:creationId xmlns:a16="http://schemas.microsoft.com/office/drawing/2014/main" id="{2426E24C-C812-45B0-8973-6C20B17BE1F6}"/>
              </a:ext>
            </a:extLst>
          </p:cNvPr>
          <p:cNvGraphicFramePr>
            <a:graphicFrameLocks noChangeAspect="1"/>
          </p:cNvGraphicFramePr>
          <p:nvPr>
            <p:extLst>
              <p:ext uri="{D42A27DB-BD31-4B8C-83A1-F6EECF244321}">
                <p14:modId xmlns:p14="http://schemas.microsoft.com/office/powerpoint/2010/main" val="1024452423"/>
              </p:ext>
            </p:extLst>
          </p:nvPr>
        </p:nvGraphicFramePr>
        <p:xfrm>
          <a:off x="4293992" y="4190124"/>
          <a:ext cx="3842391" cy="2188123"/>
        </p:xfrm>
        <a:graphic>
          <a:graphicData uri="http://schemas.openxmlformats.org/drawingml/2006/chart">
            <c:chart xmlns:c="http://schemas.openxmlformats.org/drawingml/2006/chart" xmlns:r="http://schemas.openxmlformats.org/officeDocument/2006/relationships" r:id="rId8"/>
          </a:graphicData>
        </a:graphic>
      </p:graphicFrame>
      <p:pic>
        <p:nvPicPr>
          <p:cNvPr id="24" name="Picture 2" descr="FLAGS OF SOUTH AMERICA – National Flags of South American Countries for  Kids, Kindergarten - YouTube">
            <a:extLst>
              <a:ext uri="{FF2B5EF4-FFF2-40B4-BE49-F238E27FC236}">
                <a16:creationId xmlns:a16="http://schemas.microsoft.com/office/drawing/2014/main" id="{F03B621B-DB97-47F9-86D7-6C794ABC3A1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9881" y="1515236"/>
            <a:ext cx="449126" cy="403780"/>
          </a:xfrm>
          <a:prstGeom prst="ellipse">
            <a:avLst/>
          </a:prstGeom>
          <a:noFill/>
          <a:extLst>
            <a:ext uri="{909E8E84-426E-40DD-AFC4-6F175D3DCCD1}">
              <a14:hiddenFill xmlns:a14="http://schemas.microsoft.com/office/drawing/2010/main">
                <a:solidFill>
                  <a:srgbClr val="FFFFFF"/>
                </a:solidFill>
              </a14:hiddenFill>
            </a:ext>
          </a:extLst>
        </p:spPr>
      </p:pic>
      <p:pic>
        <p:nvPicPr>
          <p:cNvPr id="25" name="Picture 4" descr="Africa Flags Globe Clipart Africa Flag Video - Combined African Flags PNG  Image | Transparent PNG Free Download on SeekPNG">
            <a:extLst>
              <a:ext uri="{FF2B5EF4-FFF2-40B4-BE49-F238E27FC236}">
                <a16:creationId xmlns:a16="http://schemas.microsoft.com/office/drawing/2014/main" id="{CAF36720-6036-4170-99E3-171D6BE436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83577" y="1432135"/>
            <a:ext cx="434907" cy="456130"/>
          </a:xfrm>
          <a:prstGeom prst="ellipse">
            <a:avLst/>
          </a:prstGeom>
          <a:solidFill>
            <a:schemeClr val="accent1">
              <a:lumMod val="60000"/>
              <a:lumOff val="40000"/>
            </a:schemeClr>
          </a:solidFill>
        </p:spPr>
      </p:pic>
      <p:pic>
        <p:nvPicPr>
          <p:cNvPr id="27" name="Picture 6" descr="Asia flags background stock vector. Illustration of bahrain - 170730592">
            <a:extLst>
              <a:ext uri="{FF2B5EF4-FFF2-40B4-BE49-F238E27FC236}">
                <a16:creationId xmlns:a16="http://schemas.microsoft.com/office/drawing/2014/main" id="{20A5D22C-D368-4DC3-B5EF-CC6397B83A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90527" y="1473543"/>
            <a:ext cx="449126" cy="453254"/>
          </a:xfrm>
          <a:prstGeom prst="ellipse">
            <a:avLst/>
          </a:prstGeom>
          <a:noFill/>
          <a:extLst>
            <a:ext uri="{909E8E84-426E-40DD-AFC4-6F175D3DCCD1}">
              <a14:hiddenFill xmlns:a14="http://schemas.microsoft.com/office/drawing/2010/main">
                <a:solidFill>
                  <a:srgbClr val="FFFFFF"/>
                </a:solidFill>
              </a14:hiddenFill>
            </a:ext>
          </a:extLst>
        </p:spPr>
      </p:pic>
      <p:sp>
        <p:nvSpPr>
          <p:cNvPr id="28" name="PhilipsSource5">
            <a:extLst>
              <a:ext uri="{FF2B5EF4-FFF2-40B4-BE49-F238E27FC236}">
                <a16:creationId xmlns:a16="http://schemas.microsoft.com/office/drawing/2014/main" id="{C6C2D76D-2543-4897-AC63-B3C9DEC2BFE8}"/>
              </a:ext>
            </a:extLst>
          </p:cNvPr>
          <p:cNvSpPr/>
          <p:nvPr/>
        </p:nvSpPr>
        <p:spPr>
          <a:xfrm>
            <a:off x="1567492" y="6378965"/>
            <a:ext cx="4932861" cy="328423"/>
          </a:xfrm>
          <a:prstGeom prst="rect">
            <a:avLst/>
          </a:prstGeom>
          <a:noFill/>
          <a:ln w="25400" cap="flat" cmpd="sng" algn="ctr">
            <a:noFill/>
            <a:prstDash val="soli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defTabSz="1219170"/>
            <a:r>
              <a:rPr lang="en-US" sz="1067" i="1" dirty="0">
                <a:solidFill>
                  <a:srgbClr val="B9B9B9"/>
                </a:solidFill>
                <a:latin typeface="Calibri" panose="020F0502020204030204" pitchFamily="34" charset="0"/>
              </a:rPr>
              <a:t> </a:t>
            </a:r>
          </a:p>
          <a:p>
            <a:pPr defTabSz="1219170"/>
            <a:r>
              <a:rPr lang="en-US" sz="1067" i="1" dirty="0">
                <a:solidFill>
                  <a:srgbClr val="B9B9B9"/>
                </a:solidFill>
                <a:latin typeface="Calibri" panose="020F0502020204030204" pitchFamily="34" charset="0"/>
              </a:rPr>
              <a:t>Source: ECDC; PAHO; </a:t>
            </a:r>
            <a:r>
              <a:rPr lang="en-US" sz="1067" i="1" dirty="0" err="1">
                <a:solidFill>
                  <a:srgbClr val="B9B9B9"/>
                </a:solidFill>
                <a:latin typeface="Calibri" panose="020F0502020204030204" pitchFamily="34" charset="0"/>
              </a:rPr>
              <a:t>Sehatnegeriku</a:t>
            </a:r>
            <a:r>
              <a:rPr lang="en-US" sz="1067" i="1" dirty="0">
                <a:solidFill>
                  <a:srgbClr val="B9B9B9"/>
                </a:solidFill>
                <a:latin typeface="Calibri" panose="020F0502020204030204" pitchFamily="34" charset="0"/>
              </a:rPr>
              <a:t>; NVBDCP; </a:t>
            </a:r>
            <a:r>
              <a:rPr lang="en-US" sz="1067" i="1" dirty="0" err="1">
                <a:solidFill>
                  <a:srgbClr val="B9B9B9"/>
                </a:solidFill>
                <a:latin typeface="Calibri" panose="020F0502020204030204" pitchFamily="34" charset="0"/>
              </a:rPr>
              <a:t>Unitedengue</a:t>
            </a:r>
            <a:endParaRPr lang="en-US" sz="1067" i="1" dirty="0">
              <a:solidFill>
                <a:srgbClr val="B9B9B9"/>
              </a:solidFill>
              <a:latin typeface="Calibri" panose="020F0502020204030204" pitchFamily="34" charset="0"/>
            </a:endParaRPr>
          </a:p>
        </p:txBody>
      </p:sp>
    </p:spTree>
    <p:extLst>
      <p:ext uri="{BB962C8B-B14F-4D97-AF65-F5344CB8AC3E}">
        <p14:creationId xmlns:p14="http://schemas.microsoft.com/office/powerpoint/2010/main" val="1074983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712" y="144536"/>
            <a:ext cx="11546915" cy="640080"/>
          </a:xfrm>
        </p:spPr>
        <p:txBody>
          <a:bodyPr/>
          <a:lstStyle/>
          <a:p>
            <a:r>
              <a:rPr lang="en-IN" dirty="0"/>
              <a:t>Disease Burden and Epidemiology</a:t>
            </a:r>
          </a:p>
        </p:txBody>
      </p:sp>
      <p:sp>
        <p:nvSpPr>
          <p:cNvPr id="11" name="Text Placeholder 10"/>
          <p:cNvSpPr>
            <a:spLocks noGrp="1"/>
          </p:cNvSpPr>
          <p:nvPr>
            <p:ph type="body" sz="quarter" idx="11"/>
          </p:nvPr>
        </p:nvSpPr>
        <p:spPr/>
        <p:txBody>
          <a:bodyPr/>
          <a:lstStyle/>
          <a:p>
            <a:r>
              <a:rPr lang="en-US" dirty="0"/>
              <a:t>Around 3 billion people (40%) in the world, live in areas with risk of dengue. Southern parts of Africa is expected to be at higher risk in future due to favorable temperature of dengue virus and increasing rainfall.</a:t>
            </a:r>
            <a:endParaRPr lang="en-IN" dirty="0"/>
          </a:p>
        </p:txBody>
      </p:sp>
      <p:sp>
        <p:nvSpPr>
          <p:cNvPr id="5" name="Oval 4">
            <a:extLst>
              <a:ext uri="{FF2B5EF4-FFF2-40B4-BE49-F238E27FC236}">
                <a16:creationId xmlns:a16="http://schemas.microsoft.com/office/drawing/2014/main" id="{96E72E93-FAFD-460A-B2CC-E243C84C1EDF}"/>
              </a:ext>
            </a:extLst>
          </p:cNvPr>
          <p:cNvSpPr/>
          <p:nvPr/>
        </p:nvSpPr>
        <p:spPr>
          <a:xfrm>
            <a:off x="311218" y="1818686"/>
            <a:ext cx="534425" cy="532672"/>
          </a:xfrm>
          <a:prstGeom prst="ellipse">
            <a:avLst/>
          </a:prstGeom>
          <a:solidFill>
            <a:schemeClr val="accent1"/>
          </a:soli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000" b="1" dirty="0"/>
              <a:t>1</a:t>
            </a:r>
            <a:endParaRPr lang="en-US" sz="1000" b="1" dirty="0"/>
          </a:p>
        </p:txBody>
      </p:sp>
      <p:sp>
        <p:nvSpPr>
          <p:cNvPr id="6" name="TextBox 5">
            <a:extLst>
              <a:ext uri="{FF2B5EF4-FFF2-40B4-BE49-F238E27FC236}">
                <a16:creationId xmlns:a16="http://schemas.microsoft.com/office/drawing/2014/main" id="{1A396112-10FB-4B8E-A91D-3809EE463DAE}"/>
              </a:ext>
            </a:extLst>
          </p:cNvPr>
          <p:cNvSpPr txBox="1"/>
          <p:nvPr/>
        </p:nvSpPr>
        <p:spPr>
          <a:xfrm>
            <a:off x="988140" y="1951388"/>
            <a:ext cx="2854928" cy="221018"/>
          </a:xfrm>
          <a:prstGeom prst="rect">
            <a:avLst/>
          </a:prstGeom>
          <a:noFill/>
        </p:spPr>
        <p:txBody>
          <a:bodyPr wrap="square" lIns="0" tIns="0" rIns="0" bIns="36000" rtlCol="0">
            <a:spAutoFit/>
          </a:bodyPr>
          <a:lstStyle/>
          <a:p>
            <a:r>
              <a:rPr lang="en-US" sz="1200" b="1" dirty="0">
                <a:solidFill>
                  <a:schemeClr val="accent1"/>
                </a:solidFill>
              </a:rPr>
              <a:t>Epidemiology</a:t>
            </a:r>
          </a:p>
        </p:txBody>
      </p:sp>
      <p:sp>
        <p:nvSpPr>
          <p:cNvPr id="7" name="TextBox 6">
            <a:extLst>
              <a:ext uri="{FF2B5EF4-FFF2-40B4-BE49-F238E27FC236}">
                <a16:creationId xmlns:a16="http://schemas.microsoft.com/office/drawing/2014/main" id="{0023F600-A7D0-40D9-B06B-E3BCACA35C0E}"/>
              </a:ext>
            </a:extLst>
          </p:cNvPr>
          <p:cNvSpPr txBox="1"/>
          <p:nvPr/>
        </p:nvSpPr>
        <p:spPr>
          <a:xfrm>
            <a:off x="988139" y="2145741"/>
            <a:ext cx="4766116" cy="2178285"/>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a:lnSpc>
                <a:spcPts val="1300"/>
              </a:lnSpc>
            </a:pPr>
            <a:r>
              <a:rPr lang="en-US" dirty="0"/>
              <a:t>Dengue has emerged as a worldwide problem since the 1960s, and the disease is common in many popular tourist destinations in the Caribbean (including Puerto Rico), Central and South America, Southeast Asia, and the Pacific Islands</a:t>
            </a:r>
          </a:p>
          <a:p>
            <a:pPr>
              <a:lnSpc>
                <a:spcPts val="1300"/>
              </a:lnSpc>
            </a:pPr>
            <a:r>
              <a:rPr lang="en-US" dirty="0"/>
              <a:t>Around 3 billion people (40%) in the world, live in areas with risk of dengue</a:t>
            </a:r>
          </a:p>
          <a:p>
            <a:pPr>
              <a:lnSpc>
                <a:spcPts val="1300"/>
              </a:lnSpc>
            </a:pPr>
            <a:r>
              <a:rPr lang="en-US" dirty="0"/>
              <a:t>Transmission of dengue depends on periodicity, with varies among different regions. Southeast Asia peaks in three to five years (peak time in Thailand and Myanmar is from May to October and June to December in Malaysia and Vietnam) whereas Brazil peaks in four to five years</a:t>
            </a:r>
          </a:p>
          <a:p>
            <a:pPr>
              <a:lnSpc>
                <a:spcPts val="1300"/>
              </a:lnSpc>
            </a:pPr>
            <a:r>
              <a:rPr lang="en-US" dirty="0"/>
              <a:t>However, dengue circulates year-round in tropical and subtropical areas and is highly interrelated with temperature, rainfall, and vector fluctuation with seasonality.</a:t>
            </a:r>
          </a:p>
          <a:p>
            <a:pPr>
              <a:lnSpc>
                <a:spcPts val="1300"/>
              </a:lnSpc>
            </a:pPr>
            <a:endParaRPr lang="en-US" dirty="0"/>
          </a:p>
        </p:txBody>
      </p:sp>
      <p:sp>
        <p:nvSpPr>
          <p:cNvPr id="13" name="Oval 12">
            <a:extLst>
              <a:ext uri="{FF2B5EF4-FFF2-40B4-BE49-F238E27FC236}">
                <a16:creationId xmlns:a16="http://schemas.microsoft.com/office/drawing/2014/main" id="{FEE3BCC9-402E-4947-B0D3-CF6D1D55A31F}"/>
              </a:ext>
            </a:extLst>
          </p:cNvPr>
          <p:cNvSpPr/>
          <p:nvPr/>
        </p:nvSpPr>
        <p:spPr>
          <a:xfrm>
            <a:off x="6079176" y="1848487"/>
            <a:ext cx="534425" cy="532672"/>
          </a:xfrm>
          <a:prstGeom prst="ellipse">
            <a:avLst/>
          </a:prstGeom>
          <a:solidFill>
            <a:schemeClr val="accent1"/>
          </a:soli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000" b="1" dirty="0"/>
              <a:t>3</a:t>
            </a:r>
            <a:endParaRPr lang="en-US" sz="1000" b="1" dirty="0"/>
          </a:p>
        </p:txBody>
      </p:sp>
      <p:sp>
        <p:nvSpPr>
          <p:cNvPr id="14" name="TextBox 13">
            <a:extLst>
              <a:ext uri="{FF2B5EF4-FFF2-40B4-BE49-F238E27FC236}">
                <a16:creationId xmlns:a16="http://schemas.microsoft.com/office/drawing/2014/main" id="{57726A55-77CF-4E04-A09A-B429FC48DA00}"/>
              </a:ext>
            </a:extLst>
          </p:cNvPr>
          <p:cNvSpPr txBox="1"/>
          <p:nvPr/>
        </p:nvSpPr>
        <p:spPr>
          <a:xfrm>
            <a:off x="6874090" y="1951388"/>
            <a:ext cx="3428847" cy="221018"/>
          </a:xfrm>
          <a:prstGeom prst="rect">
            <a:avLst/>
          </a:prstGeom>
          <a:noFill/>
        </p:spPr>
        <p:txBody>
          <a:bodyPr wrap="square" lIns="0" tIns="0" rIns="0" bIns="36000" rtlCol="0">
            <a:spAutoFit/>
          </a:bodyPr>
          <a:lstStyle/>
          <a:p>
            <a:r>
              <a:rPr lang="en-US" sz="1200" b="1" dirty="0">
                <a:solidFill>
                  <a:schemeClr val="accent1"/>
                </a:solidFill>
              </a:rPr>
              <a:t>Global burden of dengue</a:t>
            </a:r>
          </a:p>
        </p:txBody>
      </p:sp>
      <p:sp>
        <p:nvSpPr>
          <p:cNvPr id="15" name="TextBox 14">
            <a:extLst>
              <a:ext uri="{FF2B5EF4-FFF2-40B4-BE49-F238E27FC236}">
                <a16:creationId xmlns:a16="http://schemas.microsoft.com/office/drawing/2014/main" id="{D6608579-B2F4-4C7E-9878-B9CB3474B63A}"/>
              </a:ext>
            </a:extLst>
          </p:cNvPr>
          <p:cNvSpPr txBox="1"/>
          <p:nvPr/>
        </p:nvSpPr>
        <p:spPr>
          <a:xfrm>
            <a:off x="6799976" y="2145741"/>
            <a:ext cx="5069482" cy="1844860"/>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a:lnSpc>
                <a:spcPts val="1300"/>
              </a:lnSpc>
            </a:pPr>
            <a:r>
              <a:rPr lang="en-IN" dirty="0"/>
              <a:t>As per WHO, reported cases of dengue has increased over eight folds, </a:t>
            </a:r>
            <a:r>
              <a:rPr lang="en-US" dirty="0"/>
              <a:t>from 505,430 cases in 2000, to over 2.4 million in 2010, and 5.2 million in 2019</a:t>
            </a:r>
          </a:p>
          <a:p>
            <a:pPr>
              <a:lnSpc>
                <a:spcPts val="1300"/>
              </a:lnSpc>
            </a:pPr>
            <a:r>
              <a:rPr lang="en-US" dirty="0"/>
              <a:t>Increased mortality rate between the year 2000 and 2015 from 960 to 4032.</a:t>
            </a:r>
          </a:p>
          <a:p>
            <a:pPr>
              <a:lnSpc>
                <a:spcPts val="1300"/>
              </a:lnSpc>
            </a:pPr>
            <a:r>
              <a:rPr lang="en-US" dirty="0"/>
              <a:t>Around 50% of the world’s population is now at risk. There are an estimated 100-400 million infections each year</a:t>
            </a:r>
          </a:p>
          <a:p>
            <a:pPr>
              <a:lnSpc>
                <a:spcPts val="1300"/>
              </a:lnSpc>
            </a:pPr>
            <a:r>
              <a:rPr lang="en-US" dirty="0"/>
              <a:t>Almost 53% reduction in severe dengue cases was recorded during 2017. After 2016, due to post-Zika outbreak there was a significant decline of cases of dengue and the exact factors are not known</a:t>
            </a:r>
          </a:p>
          <a:p>
            <a:pPr>
              <a:lnSpc>
                <a:spcPts val="1300"/>
              </a:lnSpc>
            </a:pPr>
            <a:r>
              <a:rPr lang="en-US" dirty="0"/>
              <a:t>All four dengue virus serotypes (DENV-1, DENV-2, DENV-3, and DENV-4) are mostly circulating in the Southern region of America, and increasing the severity of the disease</a:t>
            </a:r>
            <a:endParaRPr lang="en-IN" dirty="0"/>
          </a:p>
        </p:txBody>
      </p:sp>
      <p:sp>
        <p:nvSpPr>
          <p:cNvPr id="20" name="Oval 19">
            <a:extLst>
              <a:ext uri="{FF2B5EF4-FFF2-40B4-BE49-F238E27FC236}">
                <a16:creationId xmlns:a16="http://schemas.microsoft.com/office/drawing/2014/main" id="{32513CD5-DF47-4A2F-893F-AC236DBD8247}"/>
              </a:ext>
            </a:extLst>
          </p:cNvPr>
          <p:cNvSpPr/>
          <p:nvPr/>
        </p:nvSpPr>
        <p:spPr>
          <a:xfrm>
            <a:off x="310403" y="4329554"/>
            <a:ext cx="534425" cy="532672"/>
          </a:xfrm>
          <a:prstGeom prst="ellipse">
            <a:avLst/>
          </a:prstGeom>
          <a:solidFill>
            <a:schemeClr val="accent1"/>
          </a:soli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000" b="1" dirty="0"/>
              <a:t>2</a:t>
            </a:r>
            <a:endParaRPr lang="en-US" sz="1000" b="1" dirty="0"/>
          </a:p>
        </p:txBody>
      </p:sp>
      <p:sp>
        <p:nvSpPr>
          <p:cNvPr id="21" name="TextBox 20">
            <a:extLst>
              <a:ext uri="{FF2B5EF4-FFF2-40B4-BE49-F238E27FC236}">
                <a16:creationId xmlns:a16="http://schemas.microsoft.com/office/drawing/2014/main" id="{B197704A-D14D-402E-917E-C977622EA8D4}"/>
              </a:ext>
            </a:extLst>
          </p:cNvPr>
          <p:cNvSpPr txBox="1"/>
          <p:nvPr/>
        </p:nvSpPr>
        <p:spPr>
          <a:xfrm>
            <a:off x="987325" y="4462256"/>
            <a:ext cx="2854928" cy="221018"/>
          </a:xfrm>
          <a:prstGeom prst="rect">
            <a:avLst/>
          </a:prstGeom>
          <a:noFill/>
        </p:spPr>
        <p:txBody>
          <a:bodyPr wrap="square" lIns="0" tIns="0" rIns="0" bIns="36000" rtlCol="0">
            <a:spAutoFit/>
          </a:bodyPr>
          <a:lstStyle/>
          <a:p>
            <a:r>
              <a:rPr lang="en-US" sz="1200" b="1" dirty="0">
                <a:solidFill>
                  <a:schemeClr val="accent1"/>
                </a:solidFill>
              </a:rPr>
              <a:t>Risk factors</a:t>
            </a:r>
          </a:p>
        </p:txBody>
      </p:sp>
      <p:sp>
        <p:nvSpPr>
          <p:cNvPr id="22" name="TextBox 21">
            <a:extLst>
              <a:ext uri="{FF2B5EF4-FFF2-40B4-BE49-F238E27FC236}">
                <a16:creationId xmlns:a16="http://schemas.microsoft.com/office/drawing/2014/main" id="{29553EBA-511B-4EDF-9020-B5BD0FAEC70E}"/>
              </a:ext>
            </a:extLst>
          </p:cNvPr>
          <p:cNvSpPr txBox="1"/>
          <p:nvPr/>
        </p:nvSpPr>
        <p:spPr>
          <a:xfrm>
            <a:off x="987324" y="4656609"/>
            <a:ext cx="4766116" cy="1844860"/>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a:lnSpc>
                <a:spcPts val="1300"/>
              </a:lnSpc>
            </a:pPr>
            <a:r>
              <a:rPr lang="en-US" dirty="0"/>
              <a:t>Infection rate is higher in young adults in non-endemic areas. While in endemic districts, children have the highest incidence rate and make up 85% of total cases in Thailand, which is mainly in the aged 8- to 9-years group</a:t>
            </a:r>
          </a:p>
          <a:p>
            <a:pPr>
              <a:lnSpc>
                <a:spcPts val="1300"/>
              </a:lnSpc>
            </a:pPr>
            <a:r>
              <a:rPr lang="en-US" dirty="0"/>
              <a:t>DHF has become the main reason for hospitalization and death for children. Humans are the principal amplifying hosts of DENV</a:t>
            </a:r>
          </a:p>
          <a:p>
            <a:pPr>
              <a:lnSpc>
                <a:spcPts val="1300"/>
              </a:lnSpc>
            </a:pPr>
            <a:r>
              <a:rPr lang="en-US" dirty="0"/>
              <a:t>In addition, once infected, the person may enter unapparent infection with a probability of &gt;50%. The ratio of unapparent to apparent infection reached 2.2:1. Unapparent infections play a significant role in transmission.</a:t>
            </a:r>
          </a:p>
          <a:p>
            <a:pPr>
              <a:lnSpc>
                <a:spcPts val="1300"/>
              </a:lnSpc>
            </a:pPr>
            <a:endParaRPr lang="en-US" dirty="0"/>
          </a:p>
          <a:p>
            <a:pPr>
              <a:lnSpc>
                <a:spcPts val="1300"/>
              </a:lnSpc>
            </a:pPr>
            <a:endParaRPr lang="en-US" dirty="0"/>
          </a:p>
        </p:txBody>
      </p:sp>
      <p:sp>
        <p:nvSpPr>
          <p:cNvPr id="23" name="Oval 22">
            <a:extLst>
              <a:ext uri="{FF2B5EF4-FFF2-40B4-BE49-F238E27FC236}">
                <a16:creationId xmlns:a16="http://schemas.microsoft.com/office/drawing/2014/main" id="{7B843EB0-191C-4062-9B78-0BF64DE630EA}"/>
              </a:ext>
            </a:extLst>
          </p:cNvPr>
          <p:cNvSpPr/>
          <p:nvPr/>
        </p:nvSpPr>
        <p:spPr>
          <a:xfrm>
            <a:off x="6079176" y="4329554"/>
            <a:ext cx="534425" cy="532672"/>
          </a:xfrm>
          <a:prstGeom prst="ellipse">
            <a:avLst/>
          </a:prstGeom>
          <a:solidFill>
            <a:schemeClr val="accent1"/>
          </a:solidFill>
          <a:ln w="63500">
            <a:solidFill>
              <a:schemeClr val="bg1"/>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1000" b="1" dirty="0"/>
              <a:t>4</a:t>
            </a:r>
            <a:endParaRPr lang="en-US" sz="1000" b="1" dirty="0"/>
          </a:p>
        </p:txBody>
      </p:sp>
      <p:sp>
        <p:nvSpPr>
          <p:cNvPr id="24" name="TextBox 23">
            <a:extLst>
              <a:ext uri="{FF2B5EF4-FFF2-40B4-BE49-F238E27FC236}">
                <a16:creationId xmlns:a16="http://schemas.microsoft.com/office/drawing/2014/main" id="{DA77507B-E7F7-4819-9475-67FBDF7155DC}"/>
              </a:ext>
            </a:extLst>
          </p:cNvPr>
          <p:cNvSpPr txBox="1"/>
          <p:nvPr/>
        </p:nvSpPr>
        <p:spPr>
          <a:xfrm>
            <a:off x="6799976" y="4467674"/>
            <a:ext cx="2854928" cy="221018"/>
          </a:xfrm>
          <a:prstGeom prst="rect">
            <a:avLst/>
          </a:prstGeom>
          <a:noFill/>
        </p:spPr>
        <p:txBody>
          <a:bodyPr wrap="square" lIns="0" tIns="0" rIns="0" bIns="36000" rtlCol="0">
            <a:spAutoFit/>
          </a:bodyPr>
          <a:lstStyle/>
          <a:p>
            <a:r>
              <a:rPr lang="en-US" sz="1200" b="1" dirty="0">
                <a:solidFill>
                  <a:schemeClr val="accent1"/>
                </a:solidFill>
              </a:rPr>
              <a:t>Future prospects</a:t>
            </a:r>
          </a:p>
        </p:txBody>
      </p:sp>
      <p:sp>
        <p:nvSpPr>
          <p:cNvPr id="25" name="TextBox 24">
            <a:extLst>
              <a:ext uri="{FF2B5EF4-FFF2-40B4-BE49-F238E27FC236}">
                <a16:creationId xmlns:a16="http://schemas.microsoft.com/office/drawing/2014/main" id="{5639C242-3092-4BCE-9674-B64B68EC7A1F}"/>
              </a:ext>
            </a:extLst>
          </p:cNvPr>
          <p:cNvSpPr txBox="1"/>
          <p:nvPr/>
        </p:nvSpPr>
        <p:spPr>
          <a:xfrm>
            <a:off x="6799975" y="4662027"/>
            <a:ext cx="4908364" cy="1678148"/>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a:lnSpc>
                <a:spcPts val="1300"/>
              </a:lnSpc>
            </a:pPr>
            <a:r>
              <a:rPr lang="en-US" dirty="0"/>
              <a:t>Much of the southeastern USA, coastal eastern China and Japan is predicted to become suitable by 2050</a:t>
            </a:r>
          </a:p>
          <a:p>
            <a:pPr>
              <a:lnSpc>
                <a:spcPts val="1300"/>
              </a:lnSpc>
            </a:pPr>
            <a:r>
              <a:rPr lang="en-US" dirty="0"/>
              <a:t>Southern Africa, and Sahel in West Africa is likely to see the biggest change in dengue risk due to the favorable temperatures and increased rainfall</a:t>
            </a:r>
          </a:p>
          <a:p>
            <a:pPr>
              <a:lnSpc>
                <a:spcPts val="1300"/>
              </a:lnSpc>
            </a:pPr>
            <a:r>
              <a:rPr lang="en-US" dirty="0"/>
              <a:t>Areas in central East Africa, and India are predicted to see declining suitability as it is becoming hotter and drier</a:t>
            </a:r>
          </a:p>
          <a:p>
            <a:pPr>
              <a:lnSpc>
                <a:spcPts val="1300"/>
              </a:lnSpc>
            </a:pPr>
            <a:r>
              <a:rPr lang="en-US" dirty="0"/>
              <a:t>Europe is expected to get increased number of cases from 0.22% in 2015 to only 0.62% in 2080</a:t>
            </a:r>
          </a:p>
          <a:p>
            <a:pPr>
              <a:lnSpc>
                <a:spcPts val="1300"/>
              </a:lnSpc>
            </a:pPr>
            <a:r>
              <a:rPr lang="en-US" dirty="0"/>
              <a:t>Globally, 2.25 billion more people will be at risk of dengue in 2080</a:t>
            </a:r>
          </a:p>
        </p:txBody>
      </p:sp>
      <p:sp>
        <p:nvSpPr>
          <p:cNvPr id="18" name="PhilipsSource5">
            <a:extLst>
              <a:ext uri="{FF2B5EF4-FFF2-40B4-BE49-F238E27FC236}">
                <a16:creationId xmlns:a16="http://schemas.microsoft.com/office/drawing/2014/main" id="{80243D7B-FC27-4614-AF9E-6F15751ACAB2}"/>
              </a:ext>
            </a:extLst>
          </p:cNvPr>
          <p:cNvSpPr/>
          <p:nvPr/>
        </p:nvSpPr>
        <p:spPr>
          <a:xfrm>
            <a:off x="1567492" y="6378965"/>
            <a:ext cx="4932861" cy="328423"/>
          </a:xfrm>
          <a:prstGeom prst="rect">
            <a:avLst/>
          </a:prstGeom>
          <a:noFill/>
          <a:ln w="25400" cap="flat" cmpd="sng" algn="ctr">
            <a:noFill/>
            <a:prstDash val="soli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defTabSz="1219170"/>
            <a:r>
              <a:rPr lang="en-US" sz="1067" i="1" dirty="0">
                <a:solidFill>
                  <a:srgbClr val="B9B9B9"/>
                </a:solidFill>
                <a:latin typeface="Calibri" panose="020F0502020204030204" pitchFamily="34" charset="0"/>
              </a:rPr>
              <a:t> </a:t>
            </a:r>
          </a:p>
          <a:p>
            <a:pPr defTabSz="1219170"/>
            <a:r>
              <a:rPr lang="en-US" sz="1067" i="1" dirty="0">
                <a:solidFill>
                  <a:srgbClr val="B9B9B9"/>
                </a:solidFill>
                <a:latin typeface="Calibri" panose="020F0502020204030204" pitchFamily="34" charset="0"/>
              </a:rPr>
              <a:t>Source: CDC; WHO; ScienceDirect; Nature</a:t>
            </a:r>
          </a:p>
        </p:txBody>
      </p:sp>
      <p:cxnSp>
        <p:nvCxnSpPr>
          <p:cNvPr id="26" name="Straight Connector 25">
            <a:extLst>
              <a:ext uri="{FF2B5EF4-FFF2-40B4-BE49-F238E27FC236}">
                <a16:creationId xmlns:a16="http://schemas.microsoft.com/office/drawing/2014/main" id="{4FC0C62D-CE60-4442-B318-DEA86779D6FB}"/>
              </a:ext>
            </a:extLst>
          </p:cNvPr>
          <p:cNvCxnSpPr>
            <a:cxnSpLocks/>
          </p:cNvCxnSpPr>
          <p:nvPr/>
        </p:nvCxnSpPr>
        <p:spPr>
          <a:xfrm>
            <a:off x="5938980" y="1951388"/>
            <a:ext cx="0" cy="444941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F4B3341-9BEA-4043-B522-CEB3E699FC50}"/>
              </a:ext>
            </a:extLst>
          </p:cNvPr>
          <p:cNvCxnSpPr>
            <a:cxnSpLocks/>
          </p:cNvCxnSpPr>
          <p:nvPr/>
        </p:nvCxnSpPr>
        <p:spPr>
          <a:xfrm>
            <a:off x="914400" y="4248727"/>
            <a:ext cx="10999227"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722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US" dirty="0"/>
              <a:t>Major player and the marketed Dengue vaccine</a:t>
            </a:r>
          </a:p>
        </p:txBody>
      </p:sp>
      <p:pic>
        <p:nvPicPr>
          <p:cNvPr id="8" name="Picture Placeholder 7">
            <a:extLst>
              <a:ext uri="{FF2B5EF4-FFF2-40B4-BE49-F238E27FC236}">
                <a16:creationId xmlns:a16="http://schemas.microsoft.com/office/drawing/2014/main" id="{0AC43F96-9F6A-46E7-AA38-D431035A082C}"/>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t="4023" b="4023"/>
          <a:stretch>
            <a:fillRect/>
          </a:stretch>
        </p:blipFill>
        <p:spPr/>
      </p:pic>
    </p:spTree>
    <p:extLst>
      <p:ext uri="{BB962C8B-B14F-4D97-AF65-F5344CB8AC3E}">
        <p14:creationId xmlns:p14="http://schemas.microsoft.com/office/powerpoint/2010/main" val="2712574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E8D8AD52-D4C9-4692-A63C-86508F7C6670}"/>
              </a:ext>
            </a:extLst>
          </p:cNvPr>
          <p:cNvSpPr txBox="1"/>
          <p:nvPr/>
        </p:nvSpPr>
        <p:spPr>
          <a:xfrm>
            <a:off x="6186135" y="1076979"/>
            <a:ext cx="5446695" cy="323256"/>
          </a:xfrm>
          <a:prstGeom prst="rect">
            <a:avLst/>
          </a:prstGeom>
          <a:solidFill>
            <a:schemeClr val="accent2"/>
          </a:solidFill>
        </p:spPr>
        <p:txBody>
          <a:bodyPr wrap="square" lIns="0" rIns="0" rtlCol="0" anchor="b">
            <a:noAutofit/>
          </a:bodyPr>
          <a:lstStyle/>
          <a:p>
            <a:pPr algn="ctr" defTabSz="1219170"/>
            <a:r>
              <a:rPr lang="en-US" sz="1400" b="1" dirty="0" err="1">
                <a:solidFill>
                  <a:schemeClr val="bg1"/>
                </a:solidFill>
                <a:latin typeface="Calibri"/>
              </a:rPr>
              <a:t>Dengvaxia</a:t>
            </a:r>
            <a:r>
              <a:rPr lang="en-US" sz="1400" b="1" dirty="0">
                <a:solidFill>
                  <a:schemeClr val="bg1"/>
                </a:solidFill>
                <a:latin typeface="Calibri"/>
              </a:rPr>
              <a:t> Vaccines</a:t>
            </a:r>
          </a:p>
        </p:txBody>
      </p:sp>
      <p:cxnSp>
        <p:nvCxnSpPr>
          <p:cNvPr id="19" name="Straight Connector 18">
            <a:extLst>
              <a:ext uri="{FF2B5EF4-FFF2-40B4-BE49-F238E27FC236}">
                <a16:creationId xmlns:a16="http://schemas.microsoft.com/office/drawing/2014/main" id="{41406A26-09EB-485A-BAAD-2BEB8F13A24D}"/>
              </a:ext>
            </a:extLst>
          </p:cNvPr>
          <p:cNvCxnSpPr>
            <a:cxnSpLocks/>
          </p:cNvCxnSpPr>
          <p:nvPr/>
        </p:nvCxnSpPr>
        <p:spPr>
          <a:xfrm flipV="1">
            <a:off x="606275" y="1420981"/>
            <a:ext cx="5213245" cy="46774"/>
          </a:xfrm>
          <a:prstGeom prst="line">
            <a:avLst/>
          </a:prstGeom>
          <a:ln>
            <a:solidFill>
              <a:srgbClr val="B9B9B9"/>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F7EC734-9A49-46D6-953F-69A9968D2DE5}"/>
              </a:ext>
            </a:extLst>
          </p:cNvPr>
          <p:cNvCxnSpPr>
            <a:cxnSpLocks/>
          </p:cNvCxnSpPr>
          <p:nvPr/>
        </p:nvCxnSpPr>
        <p:spPr>
          <a:xfrm flipV="1">
            <a:off x="6186135" y="1413166"/>
            <a:ext cx="5470156" cy="12411"/>
          </a:xfrm>
          <a:prstGeom prst="line">
            <a:avLst/>
          </a:prstGeom>
          <a:ln>
            <a:solidFill>
              <a:srgbClr val="B9B9B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8DE4E3B-C0AC-48EF-911A-07E95E632616}"/>
              </a:ext>
            </a:extLst>
          </p:cNvPr>
          <p:cNvCxnSpPr>
            <a:cxnSpLocks/>
          </p:cNvCxnSpPr>
          <p:nvPr/>
        </p:nvCxnSpPr>
        <p:spPr>
          <a:xfrm>
            <a:off x="5971724" y="1449283"/>
            <a:ext cx="0" cy="4997699"/>
          </a:xfrm>
          <a:prstGeom prst="line">
            <a:avLst/>
          </a:prstGeom>
          <a:ln>
            <a:solidFill>
              <a:srgbClr val="B9B9B9"/>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551A186-01D4-415A-8E8D-3C91C9D73439}"/>
              </a:ext>
            </a:extLst>
          </p:cNvPr>
          <p:cNvSpPr txBox="1"/>
          <p:nvPr/>
        </p:nvSpPr>
        <p:spPr>
          <a:xfrm>
            <a:off x="2215302" y="1683380"/>
            <a:ext cx="3670106" cy="707886"/>
          </a:xfrm>
          <a:prstGeom prst="rect">
            <a:avLst/>
          </a:prstGeom>
          <a:noFill/>
        </p:spPr>
        <p:txBody>
          <a:bodyPr wrap="square" rtlCol="0">
            <a:spAutoFit/>
          </a:bodyPr>
          <a:lstStyle/>
          <a:p>
            <a:pPr defTabSz="1219170" fontAlgn="b"/>
            <a:r>
              <a:rPr lang="en-US" sz="1000" dirty="0">
                <a:solidFill>
                  <a:srgbClr val="000000"/>
                </a:solidFill>
                <a:latin typeface="Calibri" panose="020F0502020204030204" pitchFamily="34" charset="0"/>
              </a:rPr>
              <a:t>A healthcare company based in France. The Company focuses on engaging in the research, development, manufacture, and marketing of therapeutic solutions. The three operating segments are: Pharmaceuticals, Consumer Healthcare (CHC), and Vaccines</a:t>
            </a:r>
          </a:p>
        </p:txBody>
      </p:sp>
      <p:sp>
        <p:nvSpPr>
          <p:cNvPr id="31" name="TextBox 30">
            <a:extLst>
              <a:ext uri="{FF2B5EF4-FFF2-40B4-BE49-F238E27FC236}">
                <a16:creationId xmlns:a16="http://schemas.microsoft.com/office/drawing/2014/main" id="{E1DD2410-527E-467D-B236-BFE765C9F340}"/>
              </a:ext>
            </a:extLst>
          </p:cNvPr>
          <p:cNvSpPr txBox="1"/>
          <p:nvPr/>
        </p:nvSpPr>
        <p:spPr>
          <a:xfrm>
            <a:off x="2210668" y="2728482"/>
            <a:ext cx="3608852"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Paris, France</a:t>
            </a:r>
          </a:p>
        </p:txBody>
      </p:sp>
      <p:sp>
        <p:nvSpPr>
          <p:cNvPr id="32" name="TextBox 31">
            <a:extLst>
              <a:ext uri="{FF2B5EF4-FFF2-40B4-BE49-F238E27FC236}">
                <a16:creationId xmlns:a16="http://schemas.microsoft.com/office/drawing/2014/main" id="{47381733-22FB-497D-B408-507572EA6640}"/>
              </a:ext>
            </a:extLst>
          </p:cNvPr>
          <p:cNvSpPr txBox="1"/>
          <p:nvPr/>
        </p:nvSpPr>
        <p:spPr>
          <a:xfrm>
            <a:off x="2210668" y="3308447"/>
            <a:ext cx="3608852"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20 August 2004</a:t>
            </a:r>
          </a:p>
        </p:txBody>
      </p:sp>
      <p:sp>
        <p:nvSpPr>
          <p:cNvPr id="33" name="TextBox 32">
            <a:extLst>
              <a:ext uri="{FF2B5EF4-FFF2-40B4-BE49-F238E27FC236}">
                <a16:creationId xmlns:a16="http://schemas.microsoft.com/office/drawing/2014/main" id="{F957F1ED-2585-4963-81C3-E1156615F9C7}"/>
              </a:ext>
            </a:extLst>
          </p:cNvPr>
          <p:cNvSpPr txBox="1"/>
          <p:nvPr/>
        </p:nvSpPr>
        <p:spPr>
          <a:xfrm>
            <a:off x="2210668" y="3801017"/>
            <a:ext cx="3608852"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100,000+</a:t>
            </a:r>
          </a:p>
        </p:txBody>
      </p:sp>
      <p:sp>
        <p:nvSpPr>
          <p:cNvPr id="34" name="TextBox 33">
            <a:extLst>
              <a:ext uri="{FF2B5EF4-FFF2-40B4-BE49-F238E27FC236}">
                <a16:creationId xmlns:a16="http://schemas.microsoft.com/office/drawing/2014/main" id="{DECD4497-17F9-4F76-A887-10405686F684}"/>
              </a:ext>
            </a:extLst>
          </p:cNvPr>
          <p:cNvSpPr txBox="1"/>
          <p:nvPr/>
        </p:nvSpPr>
        <p:spPr>
          <a:xfrm>
            <a:off x="1029508" y="1779209"/>
            <a:ext cx="1135869" cy="461665"/>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Business operations : </a:t>
            </a:r>
          </a:p>
        </p:txBody>
      </p:sp>
      <p:cxnSp>
        <p:nvCxnSpPr>
          <p:cNvPr id="35" name="Straight Connector 34">
            <a:extLst>
              <a:ext uri="{FF2B5EF4-FFF2-40B4-BE49-F238E27FC236}">
                <a16:creationId xmlns:a16="http://schemas.microsoft.com/office/drawing/2014/main" id="{250993C2-F9D0-47BE-BF8E-882E0430D0CB}"/>
              </a:ext>
            </a:extLst>
          </p:cNvPr>
          <p:cNvCxnSpPr>
            <a:cxnSpLocks/>
          </p:cNvCxnSpPr>
          <p:nvPr/>
        </p:nvCxnSpPr>
        <p:spPr>
          <a:xfrm>
            <a:off x="622016" y="2561571"/>
            <a:ext cx="5044774" cy="11343"/>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C6121EB-BD5E-4922-89F0-AA98E90DBB21}"/>
              </a:ext>
            </a:extLst>
          </p:cNvPr>
          <p:cNvCxnSpPr>
            <a:cxnSpLocks/>
          </p:cNvCxnSpPr>
          <p:nvPr/>
        </p:nvCxnSpPr>
        <p:spPr>
          <a:xfrm>
            <a:off x="694881" y="3705924"/>
            <a:ext cx="5044774" cy="46562"/>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9D08E195-9DCB-47CE-9BC4-25F72DB1DB9E}"/>
              </a:ext>
            </a:extLst>
          </p:cNvPr>
          <p:cNvSpPr txBox="1"/>
          <p:nvPr/>
        </p:nvSpPr>
        <p:spPr>
          <a:xfrm>
            <a:off x="1025235" y="2755264"/>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Headquarter : </a:t>
            </a:r>
          </a:p>
        </p:txBody>
      </p:sp>
      <p:sp>
        <p:nvSpPr>
          <p:cNvPr id="38" name="TextBox 37">
            <a:extLst>
              <a:ext uri="{FF2B5EF4-FFF2-40B4-BE49-F238E27FC236}">
                <a16:creationId xmlns:a16="http://schemas.microsoft.com/office/drawing/2014/main" id="{7C5A4C8F-03E0-4F42-BF77-154ADD120E92}"/>
              </a:ext>
            </a:extLst>
          </p:cNvPr>
          <p:cNvSpPr txBox="1"/>
          <p:nvPr/>
        </p:nvSpPr>
        <p:spPr>
          <a:xfrm>
            <a:off x="1025233" y="3297064"/>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Founded : </a:t>
            </a:r>
          </a:p>
        </p:txBody>
      </p:sp>
      <p:sp>
        <p:nvSpPr>
          <p:cNvPr id="39" name="TextBox 38">
            <a:extLst>
              <a:ext uri="{FF2B5EF4-FFF2-40B4-BE49-F238E27FC236}">
                <a16:creationId xmlns:a16="http://schemas.microsoft.com/office/drawing/2014/main" id="{AC9C5BD4-5687-4240-B03C-7FAB9633C9C3}"/>
              </a:ext>
            </a:extLst>
          </p:cNvPr>
          <p:cNvSpPr txBox="1"/>
          <p:nvPr/>
        </p:nvSpPr>
        <p:spPr>
          <a:xfrm>
            <a:off x="1025234" y="3778012"/>
            <a:ext cx="1219403" cy="461665"/>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Number of employees : </a:t>
            </a:r>
          </a:p>
        </p:txBody>
      </p:sp>
      <p:cxnSp>
        <p:nvCxnSpPr>
          <p:cNvPr id="40" name="Straight Connector 39">
            <a:extLst>
              <a:ext uri="{FF2B5EF4-FFF2-40B4-BE49-F238E27FC236}">
                <a16:creationId xmlns:a16="http://schemas.microsoft.com/office/drawing/2014/main" id="{A6D897E7-E3B7-422F-A4A7-604352AB06A6}"/>
              </a:ext>
            </a:extLst>
          </p:cNvPr>
          <p:cNvCxnSpPr>
            <a:cxnSpLocks/>
          </p:cNvCxnSpPr>
          <p:nvPr/>
        </p:nvCxnSpPr>
        <p:spPr>
          <a:xfrm>
            <a:off x="622016" y="3137799"/>
            <a:ext cx="5044774" cy="24765"/>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239591D-761A-4418-ADC1-AD87C90FC9D9}"/>
              </a:ext>
            </a:extLst>
          </p:cNvPr>
          <p:cNvCxnSpPr>
            <a:cxnSpLocks/>
          </p:cNvCxnSpPr>
          <p:nvPr/>
        </p:nvCxnSpPr>
        <p:spPr>
          <a:xfrm>
            <a:off x="609853" y="4282355"/>
            <a:ext cx="5129802" cy="30208"/>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D612FFD-71AE-4169-AD08-86DB366213F8}"/>
              </a:ext>
            </a:extLst>
          </p:cNvPr>
          <p:cNvSpPr txBox="1"/>
          <p:nvPr/>
        </p:nvSpPr>
        <p:spPr>
          <a:xfrm>
            <a:off x="2210668" y="4394084"/>
            <a:ext cx="3608852"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32.538 Billion</a:t>
            </a:r>
          </a:p>
        </p:txBody>
      </p:sp>
      <p:sp>
        <p:nvSpPr>
          <p:cNvPr id="43" name="TextBox 42">
            <a:extLst>
              <a:ext uri="{FF2B5EF4-FFF2-40B4-BE49-F238E27FC236}">
                <a16:creationId xmlns:a16="http://schemas.microsoft.com/office/drawing/2014/main" id="{106F74CB-8BA7-44E1-B9BB-08FE53410547}"/>
              </a:ext>
            </a:extLst>
          </p:cNvPr>
          <p:cNvSpPr txBox="1"/>
          <p:nvPr/>
        </p:nvSpPr>
        <p:spPr>
          <a:xfrm>
            <a:off x="1025233" y="4389592"/>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Revenue: </a:t>
            </a:r>
          </a:p>
        </p:txBody>
      </p:sp>
      <p:sp>
        <p:nvSpPr>
          <p:cNvPr id="44" name="TextBox 43">
            <a:extLst>
              <a:ext uri="{FF2B5EF4-FFF2-40B4-BE49-F238E27FC236}">
                <a16:creationId xmlns:a16="http://schemas.microsoft.com/office/drawing/2014/main" id="{7CCF6756-F137-4EB9-B958-5B43ADA4DC95}"/>
              </a:ext>
            </a:extLst>
          </p:cNvPr>
          <p:cNvSpPr txBox="1"/>
          <p:nvPr/>
        </p:nvSpPr>
        <p:spPr>
          <a:xfrm>
            <a:off x="1025233" y="5269334"/>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Partners : </a:t>
            </a:r>
          </a:p>
        </p:txBody>
      </p:sp>
      <p:cxnSp>
        <p:nvCxnSpPr>
          <p:cNvPr id="45" name="Straight Connector 44">
            <a:extLst>
              <a:ext uri="{FF2B5EF4-FFF2-40B4-BE49-F238E27FC236}">
                <a16:creationId xmlns:a16="http://schemas.microsoft.com/office/drawing/2014/main" id="{0ADD0695-4F1E-4515-9C8C-753EE1F87B73}"/>
              </a:ext>
            </a:extLst>
          </p:cNvPr>
          <p:cNvCxnSpPr>
            <a:cxnSpLocks/>
          </p:cNvCxnSpPr>
          <p:nvPr/>
        </p:nvCxnSpPr>
        <p:spPr>
          <a:xfrm>
            <a:off x="579324" y="4755102"/>
            <a:ext cx="5160331" cy="22637"/>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E36182D2-60A4-4870-BEAA-82531A577E73}"/>
              </a:ext>
            </a:extLst>
          </p:cNvPr>
          <p:cNvPicPr>
            <a:picLocks noChangeAspect="1"/>
          </p:cNvPicPr>
          <p:nvPr/>
        </p:nvPicPr>
        <p:blipFill>
          <a:blip r:embed="rId3"/>
          <a:stretch>
            <a:fillRect/>
          </a:stretch>
        </p:blipFill>
        <p:spPr>
          <a:xfrm>
            <a:off x="3497019" y="5757767"/>
            <a:ext cx="1082742" cy="441117"/>
          </a:xfrm>
          <a:prstGeom prst="rect">
            <a:avLst/>
          </a:prstGeom>
        </p:spPr>
      </p:pic>
      <p:pic>
        <p:nvPicPr>
          <p:cNvPr id="49" name="Picture 48">
            <a:extLst>
              <a:ext uri="{FF2B5EF4-FFF2-40B4-BE49-F238E27FC236}">
                <a16:creationId xmlns:a16="http://schemas.microsoft.com/office/drawing/2014/main" id="{4ECFD0D5-BAD8-47F6-92E3-000E98FB3F2F}"/>
              </a:ext>
            </a:extLst>
          </p:cNvPr>
          <p:cNvPicPr>
            <a:picLocks noChangeAspect="1"/>
          </p:cNvPicPr>
          <p:nvPr/>
        </p:nvPicPr>
        <p:blipFill>
          <a:blip r:embed="rId4"/>
          <a:stretch>
            <a:fillRect/>
          </a:stretch>
        </p:blipFill>
        <p:spPr>
          <a:xfrm>
            <a:off x="2302421" y="4923610"/>
            <a:ext cx="637134" cy="398084"/>
          </a:xfrm>
          <a:prstGeom prst="rect">
            <a:avLst/>
          </a:prstGeom>
        </p:spPr>
      </p:pic>
      <p:pic>
        <p:nvPicPr>
          <p:cNvPr id="51" name="Picture 50">
            <a:extLst>
              <a:ext uri="{FF2B5EF4-FFF2-40B4-BE49-F238E27FC236}">
                <a16:creationId xmlns:a16="http://schemas.microsoft.com/office/drawing/2014/main" id="{4885A514-21CC-4667-9712-F29F93D8E3C3}"/>
              </a:ext>
            </a:extLst>
          </p:cNvPr>
          <p:cNvPicPr>
            <a:picLocks noChangeAspect="1"/>
          </p:cNvPicPr>
          <p:nvPr/>
        </p:nvPicPr>
        <p:blipFill>
          <a:blip r:embed="rId5"/>
          <a:stretch>
            <a:fillRect/>
          </a:stretch>
        </p:blipFill>
        <p:spPr>
          <a:xfrm>
            <a:off x="3383104" y="4938863"/>
            <a:ext cx="1219402" cy="296408"/>
          </a:xfrm>
          <a:prstGeom prst="rect">
            <a:avLst/>
          </a:prstGeom>
        </p:spPr>
      </p:pic>
      <p:pic>
        <p:nvPicPr>
          <p:cNvPr id="53" name="Picture 52">
            <a:extLst>
              <a:ext uri="{FF2B5EF4-FFF2-40B4-BE49-F238E27FC236}">
                <a16:creationId xmlns:a16="http://schemas.microsoft.com/office/drawing/2014/main" id="{77B8B27A-F3D5-4C84-9AC0-0AB10A31407B}"/>
              </a:ext>
            </a:extLst>
          </p:cNvPr>
          <p:cNvPicPr>
            <a:picLocks noChangeAspect="1"/>
          </p:cNvPicPr>
          <p:nvPr/>
        </p:nvPicPr>
        <p:blipFill>
          <a:blip r:embed="rId6"/>
          <a:stretch>
            <a:fillRect/>
          </a:stretch>
        </p:blipFill>
        <p:spPr>
          <a:xfrm>
            <a:off x="4868165" y="4945467"/>
            <a:ext cx="721964" cy="266861"/>
          </a:xfrm>
          <a:prstGeom prst="rect">
            <a:avLst/>
          </a:prstGeom>
        </p:spPr>
      </p:pic>
      <p:pic>
        <p:nvPicPr>
          <p:cNvPr id="55" name="Picture 54">
            <a:extLst>
              <a:ext uri="{FF2B5EF4-FFF2-40B4-BE49-F238E27FC236}">
                <a16:creationId xmlns:a16="http://schemas.microsoft.com/office/drawing/2014/main" id="{F77F5039-017F-470F-B150-C592259579FE}"/>
              </a:ext>
            </a:extLst>
          </p:cNvPr>
          <p:cNvPicPr>
            <a:picLocks noChangeAspect="1"/>
          </p:cNvPicPr>
          <p:nvPr/>
        </p:nvPicPr>
        <p:blipFill>
          <a:blip r:embed="rId7"/>
          <a:stretch>
            <a:fillRect/>
          </a:stretch>
        </p:blipFill>
        <p:spPr>
          <a:xfrm>
            <a:off x="4879528" y="5888958"/>
            <a:ext cx="860127" cy="363800"/>
          </a:xfrm>
          <a:prstGeom prst="rect">
            <a:avLst/>
          </a:prstGeom>
        </p:spPr>
      </p:pic>
      <p:pic>
        <p:nvPicPr>
          <p:cNvPr id="57" name="Picture 56">
            <a:extLst>
              <a:ext uri="{FF2B5EF4-FFF2-40B4-BE49-F238E27FC236}">
                <a16:creationId xmlns:a16="http://schemas.microsoft.com/office/drawing/2014/main" id="{7FE6F0F5-D83E-4028-A49C-4A8777B5ED6F}"/>
              </a:ext>
            </a:extLst>
          </p:cNvPr>
          <p:cNvPicPr>
            <a:picLocks noChangeAspect="1"/>
          </p:cNvPicPr>
          <p:nvPr/>
        </p:nvPicPr>
        <p:blipFill>
          <a:blip r:embed="rId8"/>
          <a:stretch>
            <a:fillRect/>
          </a:stretch>
        </p:blipFill>
        <p:spPr>
          <a:xfrm>
            <a:off x="2205714" y="5430733"/>
            <a:ext cx="1042122" cy="300243"/>
          </a:xfrm>
          <a:prstGeom prst="rect">
            <a:avLst/>
          </a:prstGeom>
        </p:spPr>
      </p:pic>
      <p:pic>
        <p:nvPicPr>
          <p:cNvPr id="59" name="Picture 58">
            <a:extLst>
              <a:ext uri="{FF2B5EF4-FFF2-40B4-BE49-F238E27FC236}">
                <a16:creationId xmlns:a16="http://schemas.microsoft.com/office/drawing/2014/main" id="{9591F3EC-F4E6-447F-95C4-DC896CC7251C}"/>
              </a:ext>
            </a:extLst>
          </p:cNvPr>
          <p:cNvPicPr>
            <a:picLocks noChangeAspect="1"/>
          </p:cNvPicPr>
          <p:nvPr/>
        </p:nvPicPr>
        <p:blipFill>
          <a:blip r:embed="rId9"/>
          <a:stretch>
            <a:fillRect/>
          </a:stretch>
        </p:blipFill>
        <p:spPr>
          <a:xfrm>
            <a:off x="3570525" y="5428678"/>
            <a:ext cx="1221057" cy="276999"/>
          </a:xfrm>
          <a:prstGeom prst="rect">
            <a:avLst/>
          </a:prstGeom>
        </p:spPr>
      </p:pic>
      <p:pic>
        <p:nvPicPr>
          <p:cNvPr id="61" name="Picture 60">
            <a:extLst>
              <a:ext uri="{FF2B5EF4-FFF2-40B4-BE49-F238E27FC236}">
                <a16:creationId xmlns:a16="http://schemas.microsoft.com/office/drawing/2014/main" id="{61F8D3B1-3D19-4B9E-90C3-B3A176B223CE}"/>
              </a:ext>
            </a:extLst>
          </p:cNvPr>
          <p:cNvPicPr>
            <a:picLocks noChangeAspect="1"/>
          </p:cNvPicPr>
          <p:nvPr/>
        </p:nvPicPr>
        <p:blipFill>
          <a:blip r:embed="rId10"/>
          <a:stretch>
            <a:fillRect/>
          </a:stretch>
        </p:blipFill>
        <p:spPr>
          <a:xfrm>
            <a:off x="4978415" y="5298103"/>
            <a:ext cx="660786" cy="465036"/>
          </a:xfrm>
          <a:prstGeom prst="rect">
            <a:avLst/>
          </a:prstGeom>
        </p:spPr>
      </p:pic>
      <p:pic>
        <p:nvPicPr>
          <p:cNvPr id="63" name="Picture 62">
            <a:extLst>
              <a:ext uri="{FF2B5EF4-FFF2-40B4-BE49-F238E27FC236}">
                <a16:creationId xmlns:a16="http://schemas.microsoft.com/office/drawing/2014/main" id="{A6231D23-8C25-4A5D-96B4-AF5CDAD8E56F}"/>
              </a:ext>
            </a:extLst>
          </p:cNvPr>
          <p:cNvPicPr>
            <a:picLocks noChangeAspect="1"/>
          </p:cNvPicPr>
          <p:nvPr/>
        </p:nvPicPr>
        <p:blipFill>
          <a:blip r:embed="rId11"/>
          <a:stretch>
            <a:fillRect/>
          </a:stretch>
        </p:blipFill>
        <p:spPr>
          <a:xfrm>
            <a:off x="2250883" y="5856219"/>
            <a:ext cx="790597" cy="362357"/>
          </a:xfrm>
          <a:prstGeom prst="rect">
            <a:avLst/>
          </a:prstGeom>
        </p:spPr>
      </p:pic>
      <p:pic>
        <p:nvPicPr>
          <p:cNvPr id="3076" name="Picture 4" descr="Sanofi logo vector">
            <a:extLst>
              <a:ext uri="{FF2B5EF4-FFF2-40B4-BE49-F238E27FC236}">
                <a16:creationId xmlns:a16="http://schemas.microsoft.com/office/drawing/2014/main" id="{A42F49C0-31FD-46ED-A76A-7BC0629669B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310200" y="88858"/>
            <a:ext cx="806854" cy="806854"/>
          </a:xfrm>
          <a:prstGeom prst="ellipse">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019CD3A0-E79A-48EB-9BBD-733B714E0EEA}"/>
              </a:ext>
            </a:extLst>
          </p:cNvPr>
          <p:cNvSpPr txBox="1"/>
          <p:nvPr/>
        </p:nvSpPr>
        <p:spPr>
          <a:xfrm>
            <a:off x="7516428" y="1494525"/>
            <a:ext cx="4284261" cy="553998"/>
          </a:xfrm>
          <a:prstGeom prst="rect">
            <a:avLst/>
          </a:prstGeom>
          <a:noFill/>
        </p:spPr>
        <p:txBody>
          <a:bodyPr wrap="square" rtlCol="0">
            <a:spAutoFit/>
          </a:bodyPr>
          <a:lstStyle/>
          <a:p>
            <a:pPr marL="285750" indent="-285750" defTabSz="1219170" fontAlgn="b">
              <a:buFont typeface="Arial" panose="020B0604020202020204" pitchFamily="34" charset="0"/>
              <a:buChar char="•"/>
            </a:pPr>
            <a:r>
              <a:rPr lang="en-US" sz="1000" dirty="0" err="1">
                <a:solidFill>
                  <a:srgbClr val="000000"/>
                </a:solidFill>
                <a:latin typeface="Calibri" panose="020F0502020204030204" pitchFamily="34" charset="0"/>
              </a:rPr>
              <a:t>Dengvaxia</a:t>
            </a:r>
            <a:r>
              <a:rPr lang="en-US" sz="1000" dirty="0">
                <a:solidFill>
                  <a:srgbClr val="000000"/>
                </a:solidFill>
                <a:latin typeface="Calibri" panose="020F0502020204030204" pitchFamily="34" charset="0"/>
              </a:rPr>
              <a:t>® is licensed in 20 countries</a:t>
            </a:r>
          </a:p>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A live attenuated tetravalent vaccine consists of chimera (pre-membrane, and envelope genes of all four DENV types)</a:t>
            </a:r>
          </a:p>
        </p:txBody>
      </p:sp>
      <p:sp>
        <p:nvSpPr>
          <p:cNvPr id="67" name="TextBox 66">
            <a:extLst>
              <a:ext uri="{FF2B5EF4-FFF2-40B4-BE49-F238E27FC236}">
                <a16:creationId xmlns:a16="http://schemas.microsoft.com/office/drawing/2014/main" id="{FECC997E-D9A3-4D7B-AAF7-B6418C70B594}"/>
              </a:ext>
            </a:extLst>
          </p:cNvPr>
          <p:cNvSpPr txBox="1"/>
          <p:nvPr/>
        </p:nvSpPr>
        <p:spPr>
          <a:xfrm>
            <a:off x="6505954" y="1665844"/>
            <a:ext cx="1135869"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Key Facts : </a:t>
            </a:r>
          </a:p>
        </p:txBody>
      </p:sp>
      <p:cxnSp>
        <p:nvCxnSpPr>
          <p:cNvPr id="68" name="Straight Connector 67">
            <a:extLst>
              <a:ext uri="{FF2B5EF4-FFF2-40B4-BE49-F238E27FC236}">
                <a16:creationId xmlns:a16="http://schemas.microsoft.com/office/drawing/2014/main" id="{A43F5F8C-BE46-427F-932D-B0AD04BC1D7A}"/>
              </a:ext>
            </a:extLst>
          </p:cNvPr>
          <p:cNvCxnSpPr>
            <a:cxnSpLocks/>
          </p:cNvCxnSpPr>
          <p:nvPr/>
        </p:nvCxnSpPr>
        <p:spPr>
          <a:xfrm>
            <a:off x="6258908" y="2250394"/>
            <a:ext cx="5425092" cy="28823"/>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DEBFBA92-AD4D-4349-B382-1907AF84500B}"/>
              </a:ext>
            </a:extLst>
          </p:cNvPr>
          <p:cNvSpPr txBox="1"/>
          <p:nvPr/>
        </p:nvSpPr>
        <p:spPr>
          <a:xfrm>
            <a:off x="7516428" y="2384932"/>
            <a:ext cx="4575419" cy="400110"/>
          </a:xfrm>
          <a:prstGeom prst="rect">
            <a:avLst/>
          </a:prstGeom>
          <a:noFill/>
        </p:spPr>
        <p:txBody>
          <a:bodyPr wrap="square" rtlCol="0">
            <a:spAutoFit/>
          </a:bodyPr>
          <a:lstStyle/>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Three doses (0.5 mL each) at an interval of six months</a:t>
            </a:r>
          </a:p>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Approved for use in individuals from 9 to 16 years of age</a:t>
            </a:r>
          </a:p>
        </p:txBody>
      </p:sp>
      <p:sp>
        <p:nvSpPr>
          <p:cNvPr id="70" name="TextBox 69">
            <a:extLst>
              <a:ext uri="{FF2B5EF4-FFF2-40B4-BE49-F238E27FC236}">
                <a16:creationId xmlns:a16="http://schemas.microsoft.com/office/drawing/2014/main" id="{4DADB1F5-7234-4CDF-B740-EC8CE88C6598}"/>
              </a:ext>
            </a:extLst>
          </p:cNvPr>
          <p:cNvSpPr txBox="1"/>
          <p:nvPr/>
        </p:nvSpPr>
        <p:spPr>
          <a:xfrm>
            <a:off x="6508054" y="2474544"/>
            <a:ext cx="1135869"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Dosage : </a:t>
            </a:r>
          </a:p>
        </p:txBody>
      </p:sp>
      <p:sp>
        <p:nvSpPr>
          <p:cNvPr id="72" name="TextBox 71">
            <a:extLst>
              <a:ext uri="{FF2B5EF4-FFF2-40B4-BE49-F238E27FC236}">
                <a16:creationId xmlns:a16="http://schemas.microsoft.com/office/drawing/2014/main" id="{58D6C150-91EE-4F2B-A00C-6955394680D5}"/>
              </a:ext>
            </a:extLst>
          </p:cNvPr>
          <p:cNvSpPr txBox="1"/>
          <p:nvPr/>
        </p:nvSpPr>
        <p:spPr>
          <a:xfrm>
            <a:off x="7516429" y="2976479"/>
            <a:ext cx="4248878" cy="400110"/>
          </a:xfrm>
          <a:prstGeom prst="rect">
            <a:avLst/>
          </a:prstGeom>
          <a:noFill/>
        </p:spPr>
        <p:txBody>
          <a:bodyPr wrap="square" rtlCol="0">
            <a:spAutoFit/>
          </a:bodyPr>
          <a:lstStyle/>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The efficacy of </a:t>
            </a:r>
            <a:r>
              <a:rPr lang="en-US" sz="1000" dirty="0" err="1">
                <a:solidFill>
                  <a:srgbClr val="000000"/>
                </a:solidFill>
                <a:latin typeface="Calibri" panose="020F0502020204030204" pitchFamily="34" charset="0"/>
              </a:rPr>
              <a:t>Dengvaxia</a:t>
            </a:r>
            <a:r>
              <a:rPr lang="en-US" sz="1000" dirty="0">
                <a:solidFill>
                  <a:srgbClr val="000000"/>
                </a:solidFill>
                <a:latin typeface="Calibri" panose="020F0502020204030204" pitchFamily="34" charset="0"/>
              </a:rPr>
              <a:t> against severe dengue in seropositive vaccinees in the phase 3 trials was 84%</a:t>
            </a:r>
          </a:p>
        </p:txBody>
      </p:sp>
      <p:sp>
        <p:nvSpPr>
          <p:cNvPr id="73" name="TextBox 72">
            <a:extLst>
              <a:ext uri="{FF2B5EF4-FFF2-40B4-BE49-F238E27FC236}">
                <a16:creationId xmlns:a16="http://schemas.microsoft.com/office/drawing/2014/main" id="{8D3CD713-646D-4ED1-9628-536DF7F87062}"/>
              </a:ext>
            </a:extLst>
          </p:cNvPr>
          <p:cNvSpPr txBox="1"/>
          <p:nvPr/>
        </p:nvSpPr>
        <p:spPr>
          <a:xfrm>
            <a:off x="6509434" y="3041127"/>
            <a:ext cx="1135869"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Efficacy : </a:t>
            </a:r>
          </a:p>
        </p:txBody>
      </p:sp>
      <p:sp>
        <p:nvSpPr>
          <p:cNvPr id="75" name="TextBox 74">
            <a:extLst>
              <a:ext uri="{FF2B5EF4-FFF2-40B4-BE49-F238E27FC236}">
                <a16:creationId xmlns:a16="http://schemas.microsoft.com/office/drawing/2014/main" id="{1D135DF2-7811-45B0-AE9C-EA62055C480B}"/>
              </a:ext>
            </a:extLst>
          </p:cNvPr>
          <p:cNvSpPr txBox="1"/>
          <p:nvPr/>
        </p:nvSpPr>
        <p:spPr>
          <a:xfrm>
            <a:off x="7516428" y="4244754"/>
            <a:ext cx="4338218" cy="1169551"/>
          </a:xfrm>
          <a:prstGeom prst="rect">
            <a:avLst/>
          </a:prstGeom>
          <a:noFill/>
        </p:spPr>
        <p:txBody>
          <a:bodyPr wrap="square" rtlCol="0">
            <a:spAutoFit/>
          </a:bodyPr>
          <a:lstStyle/>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Majority of non-serious adverse reactions initiated within 3 days of injection and resolved within 3 days</a:t>
            </a:r>
          </a:p>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In a safety trial, two subjects in DENGVAXIA group (0.2%) and none in the placebo group reported non-serious Grade 3 adverse reactions</a:t>
            </a:r>
          </a:p>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The safety and effectiveness of DENGVAXIA have not been established in people who travel from dengue nonendemic area to dengue endemic areas</a:t>
            </a:r>
          </a:p>
        </p:txBody>
      </p:sp>
      <p:sp>
        <p:nvSpPr>
          <p:cNvPr id="76" name="TextBox 75">
            <a:extLst>
              <a:ext uri="{FF2B5EF4-FFF2-40B4-BE49-F238E27FC236}">
                <a16:creationId xmlns:a16="http://schemas.microsoft.com/office/drawing/2014/main" id="{4B6177F9-365D-4B03-A34B-B0F30CCFFE03}"/>
              </a:ext>
            </a:extLst>
          </p:cNvPr>
          <p:cNvSpPr txBox="1"/>
          <p:nvPr/>
        </p:nvSpPr>
        <p:spPr>
          <a:xfrm>
            <a:off x="6539688" y="4633550"/>
            <a:ext cx="1135869"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Safety : </a:t>
            </a:r>
          </a:p>
        </p:txBody>
      </p:sp>
      <p:sp>
        <p:nvSpPr>
          <p:cNvPr id="78" name="TextBox 77">
            <a:extLst>
              <a:ext uri="{FF2B5EF4-FFF2-40B4-BE49-F238E27FC236}">
                <a16:creationId xmlns:a16="http://schemas.microsoft.com/office/drawing/2014/main" id="{527E09EF-39CE-4777-B1A2-1049627454C5}"/>
              </a:ext>
            </a:extLst>
          </p:cNvPr>
          <p:cNvSpPr txBox="1"/>
          <p:nvPr/>
        </p:nvSpPr>
        <p:spPr>
          <a:xfrm>
            <a:off x="7539173" y="5653957"/>
            <a:ext cx="4057608" cy="553998"/>
          </a:xfrm>
          <a:prstGeom prst="rect">
            <a:avLst/>
          </a:prstGeom>
          <a:noFill/>
        </p:spPr>
        <p:txBody>
          <a:bodyPr wrap="square" rtlCol="0">
            <a:spAutoFit/>
          </a:bodyPr>
          <a:lstStyle/>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All the countries considering vaccination, pre-vaccination screening is recommended strategy as only persons with evidence of a past dengue infection must be vaccinated</a:t>
            </a:r>
          </a:p>
        </p:txBody>
      </p:sp>
      <p:sp>
        <p:nvSpPr>
          <p:cNvPr id="80" name="TextBox 79">
            <a:extLst>
              <a:ext uri="{FF2B5EF4-FFF2-40B4-BE49-F238E27FC236}">
                <a16:creationId xmlns:a16="http://schemas.microsoft.com/office/drawing/2014/main" id="{EDDABC6C-786E-4617-B0A9-36A3FFFBC1C3}"/>
              </a:ext>
            </a:extLst>
          </p:cNvPr>
          <p:cNvSpPr txBox="1"/>
          <p:nvPr/>
        </p:nvSpPr>
        <p:spPr>
          <a:xfrm>
            <a:off x="6514991" y="5678153"/>
            <a:ext cx="1024182" cy="461665"/>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Regulatory </a:t>
            </a:r>
          </a:p>
          <a:p>
            <a:pPr defTabSz="1219170" fontAlgn="b"/>
            <a:r>
              <a:rPr lang="en-US" sz="1200" b="1" dirty="0">
                <a:solidFill>
                  <a:srgbClr val="000000"/>
                </a:solidFill>
                <a:latin typeface="Arial" panose="020B0604020202020204" pitchFamily="34" charset="0"/>
                <a:cs typeface="Arial" panose="020B0604020202020204" pitchFamily="34" charset="0"/>
              </a:rPr>
              <a:t>advice : </a:t>
            </a:r>
          </a:p>
        </p:txBody>
      </p:sp>
      <p:sp>
        <p:nvSpPr>
          <p:cNvPr id="92" name="PhilipsSource5">
            <a:extLst>
              <a:ext uri="{FF2B5EF4-FFF2-40B4-BE49-F238E27FC236}">
                <a16:creationId xmlns:a16="http://schemas.microsoft.com/office/drawing/2014/main" id="{6F7B1DB7-4AE5-40D1-A3B7-470497991CB2}"/>
              </a:ext>
            </a:extLst>
          </p:cNvPr>
          <p:cNvSpPr/>
          <p:nvPr/>
        </p:nvSpPr>
        <p:spPr>
          <a:xfrm>
            <a:off x="1567492" y="6378965"/>
            <a:ext cx="4932861" cy="328423"/>
          </a:xfrm>
          <a:prstGeom prst="rect">
            <a:avLst/>
          </a:prstGeom>
          <a:noFill/>
          <a:ln w="25400" cap="flat" cmpd="sng" algn="ctr">
            <a:noFill/>
            <a:prstDash val="soli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defTabSz="1219170"/>
            <a:r>
              <a:rPr lang="en-US" sz="1067" i="1" dirty="0">
                <a:solidFill>
                  <a:srgbClr val="B9B9B9"/>
                </a:solidFill>
                <a:latin typeface="Calibri" panose="020F0502020204030204" pitchFamily="34" charset="0"/>
              </a:rPr>
              <a:t> </a:t>
            </a:r>
          </a:p>
          <a:p>
            <a:pPr defTabSz="1219170"/>
            <a:r>
              <a:rPr lang="en-US" sz="1067" i="1" dirty="0">
                <a:solidFill>
                  <a:srgbClr val="B9B9B9"/>
                </a:solidFill>
                <a:latin typeface="Calibri" panose="020F0502020204030204" pitchFamily="34" charset="0"/>
              </a:rPr>
              <a:t>Source: FDA; The Lancet; NCBI; WHO; </a:t>
            </a:r>
            <a:r>
              <a:rPr lang="en-US" sz="1067" i="1" dirty="0" err="1">
                <a:solidFill>
                  <a:srgbClr val="B9B9B9"/>
                </a:solidFill>
                <a:latin typeface="Calibri" panose="020F0502020204030204" pitchFamily="34" charset="0"/>
              </a:rPr>
              <a:t>SanofI</a:t>
            </a:r>
            <a:r>
              <a:rPr lang="en-US" sz="1067" i="1" dirty="0">
                <a:solidFill>
                  <a:srgbClr val="B9B9B9"/>
                </a:solidFill>
                <a:latin typeface="Calibri" panose="020F0502020204030204" pitchFamily="34" charset="0"/>
              </a:rPr>
              <a:t>; Wikipedia; Macrotrends; Reuters</a:t>
            </a:r>
          </a:p>
        </p:txBody>
      </p:sp>
      <p:sp>
        <p:nvSpPr>
          <p:cNvPr id="90" name="Title 89">
            <a:extLst>
              <a:ext uri="{FF2B5EF4-FFF2-40B4-BE49-F238E27FC236}">
                <a16:creationId xmlns:a16="http://schemas.microsoft.com/office/drawing/2014/main" id="{47CCBA9E-2103-4293-A105-1FFB23868A0A}"/>
              </a:ext>
            </a:extLst>
          </p:cNvPr>
          <p:cNvSpPr>
            <a:spLocks noGrp="1"/>
          </p:cNvSpPr>
          <p:nvPr>
            <p:ph type="title"/>
          </p:nvPr>
        </p:nvSpPr>
        <p:spPr/>
        <p:txBody>
          <a:bodyPr/>
          <a:lstStyle/>
          <a:p>
            <a:r>
              <a:rPr lang="en-IN" dirty="0"/>
              <a:t>Major Player and The Marketed Dengue Vaccine</a:t>
            </a:r>
          </a:p>
        </p:txBody>
      </p:sp>
      <p:pic>
        <p:nvPicPr>
          <p:cNvPr id="3080" name="Picture 8" descr="Dose Logo High Res Stock Images | Shutterstock">
            <a:extLst>
              <a:ext uri="{FF2B5EF4-FFF2-40B4-BE49-F238E27FC236}">
                <a16:creationId xmlns:a16="http://schemas.microsoft.com/office/drawing/2014/main" id="{A095A9BA-2CF6-44EF-AEE3-0035395B9571}"/>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5751" b="25509"/>
          <a:stretch/>
        </p:blipFill>
        <p:spPr bwMode="auto">
          <a:xfrm>
            <a:off x="6027872" y="2472909"/>
            <a:ext cx="511816" cy="323764"/>
          </a:xfrm>
          <a:prstGeom prst="ellipse">
            <a:avLst/>
          </a:prstGeom>
          <a:noFill/>
          <a:extLst>
            <a:ext uri="{909E8E84-426E-40DD-AFC4-6F175D3DCCD1}">
              <a14:hiddenFill xmlns:a14="http://schemas.microsoft.com/office/drawing/2010/main">
                <a:solidFill>
                  <a:srgbClr val="FFFFFF"/>
                </a:solidFill>
              </a14:hiddenFill>
            </a:ext>
          </a:extLst>
        </p:spPr>
      </p:pic>
      <p:pic>
        <p:nvPicPr>
          <p:cNvPr id="3082" name="Picture 10" descr="Bullseye With Target Symbol Icon. Trendy Bullseye With Target Symbol Logo  Concept On White Background From Productivity Collection Stock Vector -  Illustration of winner, focus: 131170189">
            <a:extLst>
              <a:ext uri="{FF2B5EF4-FFF2-40B4-BE49-F238E27FC236}">
                <a16:creationId xmlns:a16="http://schemas.microsoft.com/office/drawing/2014/main" id="{3FC2BB87-A07A-46C4-B0FE-AD8B8981C6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26118" y="3010425"/>
            <a:ext cx="321839" cy="321839"/>
          </a:xfrm>
          <a:prstGeom prst="ellipse">
            <a:avLst/>
          </a:prstGeom>
          <a:noFill/>
          <a:extLst>
            <a:ext uri="{909E8E84-426E-40DD-AFC4-6F175D3DCCD1}">
              <a14:hiddenFill xmlns:a14="http://schemas.microsoft.com/office/drawing/2010/main">
                <a:solidFill>
                  <a:srgbClr val="FFFFFF"/>
                </a:solidFill>
              </a14:hiddenFill>
            </a:ext>
          </a:extLst>
        </p:spPr>
      </p:pic>
      <p:pic>
        <p:nvPicPr>
          <p:cNvPr id="3084" name="Picture 12" descr="Health Icon Png, Transparent Png - 2000x2000(#858449) - PngFind">
            <a:extLst>
              <a:ext uri="{FF2B5EF4-FFF2-40B4-BE49-F238E27FC236}">
                <a16:creationId xmlns:a16="http://schemas.microsoft.com/office/drawing/2014/main" id="{099682C1-AABD-489F-8714-AFF3C30FBB6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66958" y="4583181"/>
            <a:ext cx="321839" cy="396561"/>
          </a:xfrm>
          <a:prstGeom prst="rect">
            <a:avLst/>
          </a:prstGeom>
          <a:noFill/>
          <a:extLst>
            <a:ext uri="{909E8E84-426E-40DD-AFC4-6F175D3DCCD1}">
              <a14:hiddenFill xmlns:a14="http://schemas.microsoft.com/office/drawing/2010/main">
                <a:solidFill>
                  <a:srgbClr val="FFFFFF"/>
                </a:solidFill>
              </a14:hiddenFill>
            </a:ext>
          </a:extLst>
        </p:spPr>
      </p:pic>
      <p:cxnSp>
        <p:nvCxnSpPr>
          <p:cNvPr id="106" name="Straight Connector 105">
            <a:extLst>
              <a:ext uri="{FF2B5EF4-FFF2-40B4-BE49-F238E27FC236}">
                <a16:creationId xmlns:a16="http://schemas.microsoft.com/office/drawing/2014/main" id="{195BE295-0E9A-4D9B-9080-E45ECB83E65A}"/>
              </a:ext>
            </a:extLst>
          </p:cNvPr>
          <p:cNvCxnSpPr>
            <a:cxnSpLocks/>
          </p:cNvCxnSpPr>
          <p:nvPr/>
        </p:nvCxnSpPr>
        <p:spPr>
          <a:xfrm flipV="1">
            <a:off x="6258908" y="2850832"/>
            <a:ext cx="5454719" cy="20825"/>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D6AAA05-C090-46D0-926C-E037F2FAD8A8}"/>
              </a:ext>
            </a:extLst>
          </p:cNvPr>
          <p:cNvCxnSpPr>
            <a:cxnSpLocks/>
          </p:cNvCxnSpPr>
          <p:nvPr/>
        </p:nvCxnSpPr>
        <p:spPr>
          <a:xfrm>
            <a:off x="6239183" y="4175981"/>
            <a:ext cx="5474444" cy="4899"/>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03580FF-5C1B-4EF6-85EA-0906C4B6CA85}"/>
              </a:ext>
            </a:extLst>
          </p:cNvPr>
          <p:cNvCxnSpPr>
            <a:cxnSpLocks/>
          </p:cNvCxnSpPr>
          <p:nvPr/>
        </p:nvCxnSpPr>
        <p:spPr>
          <a:xfrm>
            <a:off x="6258908" y="5527293"/>
            <a:ext cx="5595738" cy="0"/>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pic>
        <p:nvPicPr>
          <p:cNvPr id="3090" name="Picture 18" descr="Interesting Facts Icon Isolated On White Background Stock Illustration -  Download Image Now - iStock">
            <a:extLst>
              <a:ext uri="{FF2B5EF4-FFF2-40B4-BE49-F238E27FC236}">
                <a16:creationId xmlns:a16="http://schemas.microsoft.com/office/drawing/2014/main" id="{5E13694B-07AD-44EF-A0EB-245BD722514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3611" t="15598" r="13829" b="16449"/>
          <a:stretch/>
        </p:blipFill>
        <p:spPr bwMode="auto">
          <a:xfrm>
            <a:off x="6165727" y="1607790"/>
            <a:ext cx="334626" cy="31338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Black Business Logo - LogoDix">
            <a:extLst>
              <a:ext uri="{FF2B5EF4-FFF2-40B4-BE49-F238E27FC236}">
                <a16:creationId xmlns:a16="http://schemas.microsoft.com/office/drawing/2014/main" id="{52D5406F-C84A-4690-AC92-C66B23588A4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5853" t="8713" r="11843" b="39564"/>
          <a:stretch/>
        </p:blipFill>
        <p:spPr bwMode="auto">
          <a:xfrm>
            <a:off x="570297" y="5227799"/>
            <a:ext cx="400391" cy="27699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Operations Icon, Vector Business Management Royalty Free Cliparts, Vectors,  And Stock Illustration. Image 88928997.">
            <a:extLst>
              <a:ext uri="{FF2B5EF4-FFF2-40B4-BE49-F238E27FC236}">
                <a16:creationId xmlns:a16="http://schemas.microsoft.com/office/drawing/2014/main" id="{D9D01066-C3FF-4B2D-B1A5-A26819F687F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2597" t="7542" r="13184" b="14241"/>
          <a:stretch/>
        </p:blipFill>
        <p:spPr bwMode="auto">
          <a:xfrm>
            <a:off x="551471" y="1805585"/>
            <a:ext cx="394565" cy="41581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Under Construction Icon – Free Download, PNG and Vector">
            <a:extLst>
              <a:ext uri="{FF2B5EF4-FFF2-40B4-BE49-F238E27FC236}">
                <a16:creationId xmlns:a16="http://schemas.microsoft.com/office/drawing/2014/main" id="{02387FD7-C7DB-464D-91C2-FC9FDAE9A72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73318" y="3299889"/>
            <a:ext cx="361780" cy="36178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Employees Icon Clipart , Png Download - Employees Icon , Free Transparent  Clipart - ClipartKey">
            <a:extLst>
              <a:ext uri="{FF2B5EF4-FFF2-40B4-BE49-F238E27FC236}">
                <a16:creationId xmlns:a16="http://schemas.microsoft.com/office/drawing/2014/main" id="{535018BD-00F3-4387-A5FB-CE9059B0AF7E}"/>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1151" t="23869" r="10199" b="25260"/>
          <a:stretch/>
        </p:blipFill>
        <p:spPr bwMode="auto">
          <a:xfrm>
            <a:off x="431859" y="3839194"/>
            <a:ext cx="613725" cy="355492"/>
          </a:xfrm>
          <a:prstGeom prst="ellipse">
            <a:avLst/>
          </a:prstGeom>
          <a:noFill/>
          <a:extLst>
            <a:ext uri="{909E8E84-426E-40DD-AFC4-6F175D3DCCD1}">
              <a14:hiddenFill xmlns:a14="http://schemas.microsoft.com/office/drawing/2010/main">
                <a:solidFill>
                  <a:srgbClr val="FFFFFF"/>
                </a:solidFill>
              </a14:hiddenFill>
            </a:ext>
          </a:extLst>
        </p:spPr>
      </p:pic>
      <p:pic>
        <p:nvPicPr>
          <p:cNvPr id="1042" name="Picture 18" descr="Icon Revenue Stock Illustrations – 22,227 Icon Revenue Stock Illustrations,  Vectors &amp;amp; Clipart - Dreamstime">
            <a:extLst>
              <a:ext uri="{FF2B5EF4-FFF2-40B4-BE49-F238E27FC236}">
                <a16:creationId xmlns:a16="http://schemas.microsoft.com/office/drawing/2014/main" id="{D75802AB-967B-4D01-9C23-882E1C4952D9}"/>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7689" t="14966" r="15973" b="17320"/>
          <a:stretch/>
        </p:blipFill>
        <p:spPr bwMode="auto">
          <a:xfrm>
            <a:off x="579324" y="4319337"/>
            <a:ext cx="318797" cy="32540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eadquarter Logo Vector Images (over 100)">
            <a:extLst>
              <a:ext uri="{FF2B5EF4-FFF2-40B4-BE49-F238E27FC236}">
                <a16:creationId xmlns:a16="http://schemas.microsoft.com/office/drawing/2014/main" id="{EC3442E3-0873-4CA0-9307-CC7A3FF7137F}"/>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8408" t="15810" r="8047" b="12106"/>
          <a:stretch/>
        </p:blipFill>
        <p:spPr bwMode="auto">
          <a:xfrm>
            <a:off x="537724" y="2681953"/>
            <a:ext cx="422061" cy="382454"/>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7980B044-5C14-4E21-B6B0-2052B2EE59FA}"/>
              </a:ext>
            </a:extLst>
          </p:cNvPr>
          <p:cNvSpPr txBox="1"/>
          <p:nvPr/>
        </p:nvSpPr>
        <p:spPr>
          <a:xfrm>
            <a:off x="615479" y="1079253"/>
            <a:ext cx="5204042" cy="323256"/>
          </a:xfrm>
          <a:prstGeom prst="rect">
            <a:avLst/>
          </a:prstGeom>
          <a:solidFill>
            <a:schemeClr val="accent2"/>
          </a:solidFill>
        </p:spPr>
        <p:txBody>
          <a:bodyPr wrap="square" lIns="0" rIns="0" rtlCol="0" anchor="b">
            <a:noAutofit/>
          </a:bodyPr>
          <a:lstStyle/>
          <a:p>
            <a:pPr algn="ctr" defTabSz="1219170"/>
            <a:r>
              <a:rPr lang="en-US" sz="1400" b="1" dirty="0">
                <a:solidFill>
                  <a:schemeClr val="bg1"/>
                </a:solidFill>
                <a:latin typeface="Calibri"/>
              </a:rPr>
              <a:t>Company Overview</a:t>
            </a:r>
          </a:p>
        </p:txBody>
      </p:sp>
      <p:sp>
        <p:nvSpPr>
          <p:cNvPr id="95" name="TextBox 94">
            <a:extLst>
              <a:ext uri="{FF2B5EF4-FFF2-40B4-BE49-F238E27FC236}">
                <a16:creationId xmlns:a16="http://schemas.microsoft.com/office/drawing/2014/main" id="{BF4265B6-F9EE-4209-BDC1-CFD0B66D0F65}"/>
              </a:ext>
            </a:extLst>
          </p:cNvPr>
          <p:cNvSpPr txBox="1"/>
          <p:nvPr/>
        </p:nvSpPr>
        <p:spPr>
          <a:xfrm>
            <a:off x="7521313" y="3614572"/>
            <a:ext cx="4338218" cy="400110"/>
          </a:xfrm>
          <a:prstGeom prst="rect">
            <a:avLst/>
          </a:prstGeom>
          <a:noFill/>
        </p:spPr>
        <p:txBody>
          <a:bodyPr wrap="square" rtlCol="0">
            <a:spAutoFit/>
          </a:bodyPr>
          <a:lstStyle/>
          <a:p>
            <a:pPr marL="285750" indent="-285750" defTabSz="1219170" fontAlgn="b">
              <a:buFont typeface="Arial" panose="020B0604020202020204" pitchFamily="34" charset="0"/>
              <a:buChar char="•"/>
            </a:pPr>
            <a:r>
              <a:rPr lang="en-US" sz="1000" dirty="0">
                <a:solidFill>
                  <a:srgbClr val="000000"/>
                </a:solidFill>
                <a:latin typeface="Calibri" panose="020F0502020204030204" pitchFamily="34" charset="0"/>
              </a:rPr>
              <a:t>False negative tuberculin purified protein derivative (PPD) test results may occur within 1 month of vaccination</a:t>
            </a:r>
          </a:p>
        </p:txBody>
      </p:sp>
      <p:cxnSp>
        <p:nvCxnSpPr>
          <p:cNvPr id="96" name="Straight Connector 95">
            <a:extLst>
              <a:ext uri="{FF2B5EF4-FFF2-40B4-BE49-F238E27FC236}">
                <a16:creationId xmlns:a16="http://schemas.microsoft.com/office/drawing/2014/main" id="{D8CD2910-FAF4-40DF-81BE-76F3988FD3C4}"/>
              </a:ext>
            </a:extLst>
          </p:cNvPr>
          <p:cNvCxnSpPr>
            <a:cxnSpLocks/>
          </p:cNvCxnSpPr>
          <p:nvPr/>
        </p:nvCxnSpPr>
        <p:spPr>
          <a:xfrm>
            <a:off x="6165727" y="3395536"/>
            <a:ext cx="5561506" cy="4900"/>
          </a:xfrm>
          <a:prstGeom prst="line">
            <a:avLst/>
          </a:prstGeom>
          <a:ln w="6350">
            <a:solidFill>
              <a:srgbClr val="B9B9B9"/>
            </a:solidFill>
            <a:prstDash val="dash"/>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4EA102BC-A0CE-4956-8D80-CEABE4ADC2A1}"/>
              </a:ext>
            </a:extLst>
          </p:cNvPr>
          <p:cNvSpPr txBox="1"/>
          <p:nvPr/>
        </p:nvSpPr>
        <p:spPr>
          <a:xfrm>
            <a:off x="6508053" y="3520746"/>
            <a:ext cx="1135869" cy="461665"/>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Drug Interaction : </a:t>
            </a:r>
          </a:p>
        </p:txBody>
      </p:sp>
      <p:pic>
        <p:nvPicPr>
          <p:cNvPr id="1028" name="Picture 4" descr="Pill Icon Png #237980 - Free Icons Library">
            <a:extLst>
              <a:ext uri="{FF2B5EF4-FFF2-40B4-BE49-F238E27FC236}">
                <a16:creationId xmlns:a16="http://schemas.microsoft.com/office/drawing/2014/main" id="{81214BC2-38EF-4F9C-B047-CFBB732174B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096000" y="3557772"/>
            <a:ext cx="390734" cy="390734"/>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C6F7DCE5-8A5D-495B-AC4D-78D2D36E39DA}"/>
              </a:ext>
            </a:extLst>
          </p:cNvPr>
          <p:cNvSpPr/>
          <p:nvPr/>
        </p:nvSpPr>
        <p:spPr>
          <a:xfrm>
            <a:off x="2004291" y="4855349"/>
            <a:ext cx="3911286" cy="15916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 name="Picture 2" descr="Download Free png Regulations icon png 6 » PNG Image - DLPNG.com">
            <a:extLst>
              <a:ext uri="{FF2B5EF4-FFF2-40B4-BE49-F238E27FC236}">
                <a16:creationId xmlns:a16="http://schemas.microsoft.com/office/drawing/2014/main" id="{4EC00608-A86B-438A-A509-A584B938496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135684" y="5719773"/>
            <a:ext cx="369327" cy="369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623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US" dirty="0"/>
              <a:t>Future market and pipeline products</a:t>
            </a:r>
            <a:endParaRPr lang="en-IN" dirty="0"/>
          </a:p>
        </p:txBody>
      </p:sp>
      <p:pic>
        <p:nvPicPr>
          <p:cNvPr id="20" name="Picture Placeholder 19">
            <a:extLst>
              <a:ext uri="{FF2B5EF4-FFF2-40B4-BE49-F238E27FC236}">
                <a16:creationId xmlns:a16="http://schemas.microsoft.com/office/drawing/2014/main" id="{BE02B14D-39EE-4AB2-BE15-7AC778D46E40}"/>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3188" r="13188"/>
          <a:stretch>
            <a:fillRect/>
          </a:stretch>
        </p:blipFill>
        <p:spPr/>
      </p:pic>
    </p:spTree>
    <p:extLst>
      <p:ext uri="{BB962C8B-B14F-4D97-AF65-F5344CB8AC3E}">
        <p14:creationId xmlns:p14="http://schemas.microsoft.com/office/powerpoint/2010/main" val="5563185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6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Ej6qQB1T_ytLzZstpSeIA"/>
</p:tagLst>
</file>

<file path=ppt/tags/tag179.xml><?xml version="1.0" encoding="utf-8"?>
<p:tagLst xmlns:a="http://schemas.openxmlformats.org/drawingml/2006/main" xmlns:r="http://schemas.openxmlformats.org/officeDocument/2006/relationships" xmlns:p="http://schemas.openxmlformats.org/presentationml/2006/main">
  <p:tag name="FONT" val="TitleSlideTitleFontC"/>
  <p:tag name="FONTSETCLASSNAME" val="FontSet1"/>
  <p:tag name="COLORS" val="-2;-2;-2;-2;TitleSlideTitleFontColorLight;-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TitleOnTitleSlide"/>
  <p:tag name="SHAPECLASSPROTECTIONTYPE" val="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Subtitle"/>
  <p:tag name="SHAPECLASSPROTECTIONTYPE" val="31"/>
</p:tagLst>
</file>

<file path=ppt/tags/tag181.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Footer"/>
  <p:tag name="SHAPECLASSPROTECTIONTYPE" val="31"/>
</p:tagLst>
</file>

<file path=ppt/tags/tag182.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PageNumber"/>
  <p:tag name="SHAPECLASSPROTECTIONTYPE" val="31"/>
</p:tagLst>
</file>

<file path=ppt/tags/tag183.xml><?xml version="1.0" encoding="utf-8"?>
<p:tagLst xmlns:a="http://schemas.openxmlformats.org/drawingml/2006/main" xmlns:r="http://schemas.openxmlformats.org/officeDocument/2006/relationships" xmlns:p="http://schemas.openxmlformats.org/presentationml/2006/main">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1"/>
  <p:tag name="SHAPECLASSNAME" val="HiddenDate"/>
  <p:tag name="SHAPECLASSPROTECTIONTYPE" val="3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bsIIfxPQCyzBaYYCpkKx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il_2018">
  <a:themeElements>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2.xml><?xml version="1.0" encoding="utf-8"?>
<a:theme xmlns:a="http://schemas.openxmlformats.org/drawingml/2006/main" name="1_Grail_2018">
  <a:themeElements>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3.xml><?xml version="1.0" encoding="utf-8"?>
<a:theme xmlns:a="http://schemas.openxmlformats.org/drawingml/2006/main" name="2_Grail_2018">
  <a:themeElements>
    <a:clrScheme name="Custom 2">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F0000"/>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4.xml><?xml version="1.0" encoding="utf-8"?>
<a:theme xmlns:a="http://schemas.openxmlformats.org/drawingml/2006/main" name="3_Grail_2018">
  <a:themeElements>
    <a:clrScheme name="Custom 1">
      <a:dk1>
        <a:srgbClr val="464646"/>
      </a:dk1>
      <a:lt1>
        <a:srgbClr val="FFFFFF"/>
      </a:lt1>
      <a:dk2>
        <a:srgbClr val="5E5E5E"/>
      </a:dk2>
      <a:lt2>
        <a:srgbClr val="BBB6B6"/>
      </a:lt2>
      <a:accent1>
        <a:srgbClr val="FF0000"/>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5.xml><?xml version="1.0" encoding="utf-8"?>
<a:theme xmlns:a="http://schemas.openxmlformats.org/drawingml/2006/main" name="4_Grail_2018">
  <a:themeElements>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6.xml><?xml version="1.0" encoding="utf-8"?>
<a:theme xmlns:a="http://schemas.openxmlformats.org/drawingml/2006/main" name="External.blank.New (16:9)">
  <a:themeElements>
    <a:clrScheme name="Philips CSA v12">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91204_Neuro_SteerCo2_V9" id="{08AE361F-D3A9-499F-8DEE-AA8D498013B2}" vid="{7D4DAA93-13F6-450D-8C0E-CFF186321747}"/>
    </a:ext>
  </a:extLst>
</a:theme>
</file>

<file path=ppt/theme/theme7.xml><?xml version="1.0" encoding="utf-8"?>
<a:theme xmlns:a="http://schemas.openxmlformats.org/drawingml/2006/main" name="5_Grail_2018">
  <a:themeElements>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04</TotalTime>
  <Words>2158</Words>
  <Application>Microsoft Office PowerPoint</Application>
  <PresentationFormat>Widescreen</PresentationFormat>
  <Paragraphs>214</Paragraphs>
  <Slides>11</Slides>
  <Notes>1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8" baseType="lpstr">
      <vt:lpstr>Arial</vt:lpstr>
      <vt:lpstr>Berlin Sans FB</vt:lpstr>
      <vt:lpstr>Calibri</vt:lpstr>
      <vt:lpstr>Calibri Light</vt:lpstr>
      <vt:lpstr>Helvetica</vt:lpstr>
      <vt:lpstr>Helvetica Neue</vt:lpstr>
      <vt:lpstr>Symbol</vt:lpstr>
      <vt:lpstr>Trebuchet MS</vt:lpstr>
      <vt:lpstr>Wingdings</vt:lpstr>
      <vt:lpstr>Grail_2018</vt:lpstr>
      <vt:lpstr>1_Grail_2018</vt:lpstr>
      <vt:lpstr>2_Grail_2018</vt:lpstr>
      <vt:lpstr>3_Grail_2018</vt:lpstr>
      <vt:lpstr>4_Grail_2018</vt:lpstr>
      <vt:lpstr>External.blank.New (16:9)</vt:lpstr>
      <vt:lpstr>5_Grail_2018</vt:lpstr>
      <vt:lpstr>think-cell Slide</vt:lpstr>
      <vt:lpstr>Dengue Vaccines</vt:lpstr>
      <vt:lpstr>Executive summary</vt:lpstr>
      <vt:lpstr>PowerPoint Presentation</vt:lpstr>
      <vt:lpstr>The top five countries with highest number of dengue cases are Brazil, Vietnam, Peru, the Philippines, and Nicaragua. </vt:lpstr>
      <vt:lpstr>Country Wise Distribution</vt:lpstr>
      <vt:lpstr>Disease Burden and Epidemiology</vt:lpstr>
      <vt:lpstr>PowerPoint Presentation</vt:lpstr>
      <vt:lpstr>Major Player and The Marketed Dengue Vaccine</vt:lpstr>
      <vt:lpstr>PowerPoint Presentation</vt:lpstr>
      <vt:lpstr>Future Market and Pipeline Produc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TEEK YADAV</dc:creator>
  <cp:lastModifiedBy>PRATEEK YADAV</cp:lastModifiedBy>
  <cp:revision>126</cp:revision>
  <dcterms:created xsi:type="dcterms:W3CDTF">2021-06-01T14:20:51Z</dcterms:created>
  <dcterms:modified xsi:type="dcterms:W3CDTF">2021-06-04T18:30:46Z</dcterms:modified>
</cp:coreProperties>
</file>